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2.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3.xml" ContentType="application/vnd.openxmlformats-officedocument.them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heme/theme4.xml" ContentType="application/vnd.openxmlformats-officedocument.theme+xml"/>
  <Override PartName="/ppt/tags/tag15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58.xml" ContentType="application/vnd.openxmlformats-officedocument.presentationml.tags+xml"/>
  <Override PartName="/ppt/notesSlides/notesSlide4.xml" ContentType="application/vnd.openxmlformats-officedocument.presentationml.notesSlide+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notesSlides/notesSlide6.xml" ContentType="application/vnd.openxmlformats-officedocument.presentationml.notesSlide+xml"/>
  <Override PartName="/ppt/charts/chart2.xml" ContentType="application/vnd.openxmlformats-officedocument.drawingml.chart+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notesSlides/notesSlide7.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notesSlides/notesSlide8.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notesSlides/notesSlide9.xml" ContentType="application/vnd.openxmlformats-officedocument.presentationml.notesSlide+xml"/>
  <Override PartName="/ppt/tags/tag369.xml" ContentType="application/vnd.openxmlformats-officedocument.presentationml.tags+xml"/>
  <Override PartName="/ppt/notesSlides/notesSlide10.xml" ContentType="application/vnd.openxmlformats-officedocument.presentationml.notesSlide+xml"/>
  <Override PartName="/ppt/tags/tag370.xml" ContentType="application/vnd.openxmlformats-officedocument.presentationml.tags+xml"/>
  <Override PartName="/ppt/tags/tag371.xml" ContentType="application/vnd.openxmlformats-officedocument.presentationml.tags+xml"/>
  <Override PartName="/ppt/notesSlides/notesSlide11.xml" ContentType="application/vnd.openxmlformats-officedocument.presentationml.notesSlide+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notesSlides/notesSlide12.xml" ContentType="application/vnd.openxmlformats-officedocument.presentationml.notesSlide+xml"/>
  <Override PartName="/ppt/charts/chart8.xml" ContentType="application/vnd.openxmlformats-officedocument.drawingml.chart+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notesSlides/notesSlide13.xml" ContentType="application/vnd.openxmlformats-officedocument.presentationml.notesSlide+xml"/>
  <Override PartName="/ppt/charts/chart9.xml" ContentType="application/vnd.openxmlformats-officedocument.drawingml.chart+xml"/>
  <Override PartName="/ppt/tags/tag431.xml" ContentType="application/vnd.openxmlformats-officedocument.presentationml.tags+xml"/>
  <Override PartName="/ppt/notesSlides/notesSlide14.xml" ContentType="application/vnd.openxmlformats-officedocument.presentationml.notesSlide+xml"/>
  <Override PartName="/ppt/tags/tag432.xml" ContentType="application/vnd.openxmlformats-officedocument.presentationml.tags+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07" r:id="rId2"/>
    <p:sldMasterId id="2147483754" r:id="rId3"/>
  </p:sldMasterIdLst>
  <p:notesMasterIdLst>
    <p:notesMasterId r:id="rId20"/>
  </p:notesMasterIdLst>
  <p:sldIdLst>
    <p:sldId id="4294" r:id="rId4"/>
    <p:sldId id="2147481079" r:id="rId5"/>
    <p:sldId id="2147481254" r:id="rId6"/>
    <p:sldId id="2147481265" r:id="rId7"/>
    <p:sldId id="2147481213" r:id="rId8"/>
    <p:sldId id="2147481233" r:id="rId9"/>
    <p:sldId id="2147481264" r:id="rId10"/>
    <p:sldId id="2147481263" r:id="rId11"/>
    <p:sldId id="2147481201" r:id="rId12"/>
    <p:sldId id="2146847815" r:id="rId13"/>
    <p:sldId id="2147480952" r:id="rId14"/>
    <p:sldId id="2146846260" r:id="rId15"/>
    <p:sldId id="2147481009" r:id="rId16"/>
    <p:sldId id="2147481005" r:id="rId17"/>
    <p:sldId id="2147480933" r:id="rId18"/>
    <p:sldId id="316"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8EDD39C-6D84-DCBE-4533-37D591E7666A}" name="Adelaine Bhattacharjee" initials="AB" userId="S::Adelaine.Bhattacharjee@auroraer.com::dfe041bf-8b6f-4ce3-ad23-e51db92c814c"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9B3924A-0E99-426D-A9EC-E22D7BFBE5E7}" v="42852" dt="2024-09-27T21:04:22.654"/>
    <p1510:client id="{CFACC09A-01CE-40EA-BBF9-9500A3CF64A3}" v="12" dt="2024-09-27T20:09:27.69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microsoft.com/office/2015/10/relationships/revisionInfo" Target="revisionInfo.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viewProps" Target="viewProps.xml"/><Relationship Id="rId27"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delaine Bhattacharjee" userId="dfe041bf-8b6f-4ce3-ad23-e51db92c814c" providerId="ADAL" clId="{CFACC09A-01CE-40EA-BBF9-9500A3CF64A3}"/>
    <pc:docChg chg="undo custSel modSld">
      <pc:chgData name="Adelaine Bhattacharjee" userId="dfe041bf-8b6f-4ce3-ad23-e51db92c814c" providerId="ADAL" clId="{CFACC09A-01CE-40EA-BBF9-9500A3CF64A3}" dt="2024-09-27T20:09:27.699" v="9" actId="2085"/>
      <pc:docMkLst>
        <pc:docMk/>
      </pc:docMkLst>
      <pc:sldChg chg="modSp mod">
        <pc:chgData name="Adelaine Bhattacharjee" userId="dfe041bf-8b6f-4ce3-ad23-e51db92c814c" providerId="ADAL" clId="{CFACC09A-01CE-40EA-BBF9-9500A3CF64A3}" dt="2024-09-27T20:07:13.301" v="5" actId="2085"/>
        <pc:sldMkLst>
          <pc:docMk/>
          <pc:sldMk cId="363950016" sldId="2147481213"/>
        </pc:sldMkLst>
        <pc:spChg chg="mod">
          <ac:chgData name="Adelaine Bhattacharjee" userId="dfe041bf-8b6f-4ce3-ad23-e51db92c814c" providerId="ADAL" clId="{CFACC09A-01CE-40EA-BBF9-9500A3CF64A3}" dt="2024-09-27T20:07:13.301" v="5" actId="2085"/>
          <ac:spMkLst>
            <pc:docMk/>
            <pc:sldMk cId="363950016" sldId="2147481213"/>
            <ac:spMk id="58" creationId="{BF98DD8C-06E5-3671-4679-9549B45F5F82}"/>
          </ac:spMkLst>
        </pc:spChg>
        <pc:graphicFrameChg chg="modGraphic">
          <ac:chgData name="Adelaine Bhattacharjee" userId="dfe041bf-8b6f-4ce3-ad23-e51db92c814c" providerId="ADAL" clId="{CFACC09A-01CE-40EA-BBF9-9500A3CF64A3}" dt="2024-09-27T20:06:31.964" v="4" actId="207"/>
          <ac:graphicFrameMkLst>
            <pc:docMk/>
            <pc:sldMk cId="363950016" sldId="2147481213"/>
            <ac:graphicFrameMk id="9" creationId="{3123EFC3-86AA-4AC9-BFEB-F34E5A0D555D}"/>
          </ac:graphicFrameMkLst>
        </pc:graphicFrameChg>
      </pc:sldChg>
      <pc:sldChg chg="modSp mod">
        <pc:chgData name="Adelaine Bhattacharjee" userId="dfe041bf-8b6f-4ce3-ad23-e51db92c814c" providerId="ADAL" clId="{CFACC09A-01CE-40EA-BBF9-9500A3CF64A3}" dt="2024-09-27T20:08:08.699" v="8" actId="207"/>
        <pc:sldMkLst>
          <pc:docMk/>
          <pc:sldMk cId="3680074227" sldId="2147481233"/>
        </pc:sldMkLst>
        <pc:spChg chg="mod">
          <ac:chgData name="Adelaine Bhattacharjee" userId="dfe041bf-8b6f-4ce3-ad23-e51db92c814c" providerId="ADAL" clId="{CFACC09A-01CE-40EA-BBF9-9500A3CF64A3}" dt="2024-09-27T20:07:51.652" v="6" actId="2085"/>
          <ac:spMkLst>
            <pc:docMk/>
            <pc:sldMk cId="3680074227" sldId="2147481233"/>
            <ac:spMk id="21" creationId="{9459DD10-A60F-9A41-5A0A-268D7AC27216}"/>
          </ac:spMkLst>
        </pc:spChg>
        <pc:spChg chg="mod">
          <ac:chgData name="Adelaine Bhattacharjee" userId="dfe041bf-8b6f-4ce3-ad23-e51db92c814c" providerId="ADAL" clId="{CFACC09A-01CE-40EA-BBF9-9500A3CF64A3}" dt="2024-09-27T20:08:08.699" v="8" actId="207"/>
          <ac:spMkLst>
            <pc:docMk/>
            <pc:sldMk cId="3680074227" sldId="2147481233"/>
            <ac:spMk id="175" creationId="{F62E693E-1D2C-82F1-C198-335C51D9875D}"/>
          </ac:spMkLst>
        </pc:spChg>
      </pc:sldChg>
      <pc:sldChg chg="modSp mod">
        <pc:chgData name="Adelaine Bhattacharjee" userId="dfe041bf-8b6f-4ce3-ad23-e51db92c814c" providerId="ADAL" clId="{CFACC09A-01CE-40EA-BBF9-9500A3CF64A3}" dt="2024-09-27T20:01:06.700" v="2" actId="207"/>
        <pc:sldMkLst>
          <pc:docMk/>
          <pc:sldMk cId="1989000855" sldId="2147481254"/>
        </pc:sldMkLst>
        <pc:spChg chg="mod">
          <ac:chgData name="Adelaine Bhattacharjee" userId="dfe041bf-8b6f-4ce3-ad23-e51db92c814c" providerId="ADAL" clId="{CFACC09A-01CE-40EA-BBF9-9500A3CF64A3}" dt="2024-09-27T20:01:06.700" v="2" actId="207"/>
          <ac:spMkLst>
            <pc:docMk/>
            <pc:sldMk cId="1989000855" sldId="2147481254"/>
            <ac:spMk id="3" creationId="{525CF360-6DF9-A054-902B-747216A8092B}"/>
          </ac:spMkLst>
        </pc:spChg>
      </pc:sldChg>
      <pc:sldChg chg="modSp mod">
        <pc:chgData name="Adelaine Bhattacharjee" userId="dfe041bf-8b6f-4ce3-ad23-e51db92c814c" providerId="ADAL" clId="{CFACC09A-01CE-40EA-BBF9-9500A3CF64A3}" dt="2024-09-27T20:09:27.699" v="9" actId="2085"/>
        <pc:sldMkLst>
          <pc:docMk/>
          <pc:sldMk cId="2778662480" sldId="2147481264"/>
        </pc:sldMkLst>
        <pc:spChg chg="mod">
          <ac:chgData name="Adelaine Bhattacharjee" userId="dfe041bf-8b6f-4ce3-ad23-e51db92c814c" providerId="ADAL" clId="{CFACC09A-01CE-40EA-BBF9-9500A3CF64A3}" dt="2024-09-27T20:09:27.699" v="9" actId="2085"/>
          <ac:spMkLst>
            <pc:docMk/>
            <pc:sldMk cId="2778662480" sldId="2147481264"/>
            <ac:spMk id="148" creationId="{754FC970-A567-AF68-7DF7-88D928B7604F}"/>
          </ac:spMkLst>
        </pc:spChg>
      </pc:sldChg>
    </pc:docChg>
  </pc:docChgLst>
  <pc:docChgLst>
    <pc:chgData name="Kyndal Mayes" userId="142911e9-0388-46d2-be9a-eb7bc2b8ac4b" providerId="ADAL" clId="{29B3924A-0E99-426D-A9EC-E22D7BFBE5E7}"/>
    <pc:docChg chg="undo custSel delSld modSld sldOrd delMainMaster modMainMaster">
      <pc:chgData name="Kyndal Mayes" userId="142911e9-0388-46d2-be9a-eb7bc2b8ac4b" providerId="ADAL" clId="{29B3924A-0E99-426D-A9EC-E22D7BFBE5E7}" dt="2024-09-27T19:40:10.175" v="81709" actId="20577"/>
      <pc:docMkLst>
        <pc:docMk/>
      </pc:docMkLst>
      <pc:sldChg chg="del">
        <pc:chgData name="Kyndal Mayes" userId="142911e9-0388-46d2-be9a-eb7bc2b8ac4b" providerId="ADAL" clId="{29B3924A-0E99-426D-A9EC-E22D7BFBE5E7}" dt="2024-09-27T15:43:55.728" v="2" actId="2696"/>
        <pc:sldMkLst>
          <pc:docMk/>
          <pc:sldMk cId="3469572045" sldId="256"/>
        </pc:sldMkLst>
      </pc:sldChg>
      <pc:sldChg chg="addSp modSp mod">
        <pc:chgData name="Kyndal Mayes" userId="142911e9-0388-46d2-be9a-eb7bc2b8ac4b" providerId="ADAL" clId="{29B3924A-0E99-426D-A9EC-E22D7BFBE5E7}" dt="2024-09-27T17:56:15.352" v="81596" actId="20577"/>
        <pc:sldMkLst>
          <pc:docMk/>
          <pc:sldMk cId="3632548388" sldId="4294"/>
        </pc:sldMkLst>
        <pc:spChg chg="add mod">
          <ac:chgData name="Kyndal Mayes" userId="142911e9-0388-46d2-be9a-eb7bc2b8ac4b" providerId="ADAL" clId="{29B3924A-0E99-426D-A9EC-E22D7BFBE5E7}" dt="2024-09-27T17:56:15.352" v="81596" actId="20577"/>
          <ac:spMkLst>
            <pc:docMk/>
            <pc:sldMk cId="3632548388" sldId="4294"/>
            <ac:spMk id="6" creationId="{7A697FEA-9DF9-7DF8-6057-8BF6A124317B}"/>
          </ac:spMkLst>
        </pc:spChg>
      </pc:sldChg>
      <pc:sldChg chg="ord">
        <pc:chgData name="Kyndal Mayes" userId="142911e9-0388-46d2-be9a-eb7bc2b8ac4b" providerId="ADAL" clId="{29B3924A-0E99-426D-A9EC-E22D7BFBE5E7}" dt="2024-09-27T18:52:12.189" v="81677"/>
        <pc:sldMkLst>
          <pc:docMk/>
          <pc:sldMk cId="2197752141" sldId="2146846260"/>
        </pc:sldMkLst>
      </pc:sldChg>
      <pc:sldChg chg="modSp mod">
        <pc:chgData name="Kyndal Mayes" userId="142911e9-0388-46d2-be9a-eb7bc2b8ac4b" providerId="ADAL" clId="{29B3924A-0E99-426D-A9EC-E22D7BFBE5E7}" dt="2024-09-27T19:40:10.175" v="81709" actId="20577"/>
        <pc:sldMkLst>
          <pc:docMk/>
          <pc:sldMk cId="1850456779" sldId="2147481009"/>
        </pc:sldMkLst>
        <pc:spChg chg="mod">
          <ac:chgData name="Kyndal Mayes" userId="142911e9-0388-46d2-be9a-eb7bc2b8ac4b" providerId="ADAL" clId="{29B3924A-0E99-426D-A9EC-E22D7BFBE5E7}" dt="2024-09-27T19:31:58.084" v="81685" actId="20577"/>
          <ac:spMkLst>
            <pc:docMk/>
            <pc:sldMk cId="1850456779" sldId="2147481009"/>
            <ac:spMk id="5" creationId="{669DC044-0EE2-DBE5-3317-416C0BF8A26B}"/>
          </ac:spMkLst>
        </pc:spChg>
        <pc:spChg chg="mod">
          <ac:chgData name="Kyndal Mayes" userId="142911e9-0388-46d2-be9a-eb7bc2b8ac4b" providerId="ADAL" clId="{29B3924A-0E99-426D-A9EC-E22D7BFBE5E7}" dt="2024-09-27T19:39:46.562" v="81702" actId="20577"/>
          <ac:spMkLst>
            <pc:docMk/>
            <pc:sldMk cId="1850456779" sldId="2147481009"/>
            <ac:spMk id="8" creationId="{56DD5816-EA7F-60B5-4729-2EA8850F146C}"/>
          </ac:spMkLst>
        </pc:spChg>
        <pc:spChg chg="mod">
          <ac:chgData name="Kyndal Mayes" userId="142911e9-0388-46d2-be9a-eb7bc2b8ac4b" providerId="ADAL" clId="{29B3924A-0E99-426D-A9EC-E22D7BFBE5E7}" dt="2024-09-27T19:40:10.175" v="81709" actId="20577"/>
          <ac:spMkLst>
            <pc:docMk/>
            <pc:sldMk cId="1850456779" sldId="2147481009"/>
            <ac:spMk id="16" creationId="{1EC47E11-5331-5BB5-A90D-D6232FDC5E0C}"/>
          </ac:spMkLst>
        </pc:spChg>
      </pc:sldChg>
      <pc:sldChg chg="addSp delSp modSp mod">
        <pc:chgData name="Kyndal Mayes" userId="142911e9-0388-46d2-be9a-eb7bc2b8ac4b" providerId="ADAL" clId="{29B3924A-0E99-426D-A9EC-E22D7BFBE5E7}" dt="2024-09-27T18:52:05.033" v="81675" actId="164"/>
        <pc:sldMkLst>
          <pc:docMk/>
          <pc:sldMk cId="1599176737" sldId="2147481079"/>
        </pc:sldMkLst>
        <pc:spChg chg="add mod">
          <ac:chgData name="Kyndal Mayes" userId="142911e9-0388-46d2-be9a-eb7bc2b8ac4b" providerId="ADAL" clId="{29B3924A-0E99-426D-A9EC-E22D7BFBE5E7}" dt="2024-09-27T18:52:05.033" v="81675" actId="164"/>
          <ac:spMkLst>
            <pc:docMk/>
            <pc:sldMk cId="1599176737" sldId="2147481079"/>
            <ac:spMk id="7" creationId="{FB87DCE0-19EE-4CE9-8C02-C8D7046B5245}"/>
          </ac:spMkLst>
        </pc:spChg>
        <pc:spChg chg="add del mod">
          <ac:chgData name="Kyndal Mayes" userId="142911e9-0388-46d2-be9a-eb7bc2b8ac4b" providerId="ADAL" clId="{29B3924A-0E99-426D-A9EC-E22D7BFBE5E7}" dt="2024-09-27T17:58:41.483" v="81600" actId="478"/>
          <ac:spMkLst>
            <pc:docMk/>
            <pc:sldMk cId="1599176737" sldId="2147481079"/>
            <ac:spMk id="9" creationId="{FB87DCE0-19EE-4CE9-8C02-C8D7046B5245}"/>
          </ac:spMkLst>
        </pc:spChg>
        <pc:spChg chg="add mod">
          <ac:chgData name="Kyndal Mayes" userId="142911e9-0388-46d2-be9a-eb7bc2b8ac4b" providerId="ADAL" clId="{29B3924A-0E99-426D-A9EC-E22D7BFBE5E7}" dt="2024-09-27T18:52:05.033" v="81675" actId="164"/>
          <ac:spMkLst>
            <pc:docMk/>
            <pc:sldMk cId="1599176737" sldId="2147481079"/>
            <ac:spMk id="10" creationId="{A2E70014-0062-4183-A6E8-028AA0A5B364}"/>
          </ac:spMkLst>
        </pc:spChg>
        <pc:spChg chg="add mod">
          <ac:chgData name="Kyndal Mayes" userId="142911e9-0388-46d2-be9a-eb7bc2b8ac4b" providerId="ADAL" clId="{29B3924A-0E99-426D-A9EC-E22D7BFBE5E7}" dt="2024-09-27T18:52:05.033" v="81675" actId="164"/>
          <ac:spMkLst>
            <pc:docMk/>
            <pc:sldMk cId="1599176737" sldId="2147481079"/>
            <ac:spMk id="11" creationId="{6B9CD782-E321-4EC8-A302-AD0BC65C60DA}"/>
          </ac:spMkLst>
        </pc:spChg>
        <pc:grpChg chg="add mod">
          <ac:chgData name="Kyndal Mayes" userId="142911e9-0388-46d2-be9a-eb7bc2b8ac4b" providerId="ADAL" clId="{29B3924A-0E99-426D-A9EC-E22D7BFBE5E7}" dt="2024-09-27T18:52:05.033" v="81675" actId="164"/>
          <ac:grpSpMkLst>
            <pc:docMk/>
            <pc:sldMk cId="1599176737" sldId="2147481079"/>
            <ac:grpSpMk id="12" creationId="{6CC80E6B-1327-761B-02FE-8BF02DC4CC4E}"/>
          </ac:grpSpMkLst>
        </pc:grpChg>
      </pc:sldChg>
      <pc:sldChg chg="del">
        <pc:chgData name="Kyndal Mayes" userId="142911e9-0388-46d2-be9a-eb7bc2b8ac4b" providerId="ADAL" clId="{29B3924A-0E99-426D-A9EC-E22D7BFBE5E7}" dt="2024-09-27T15:43:51.167" v="1" actId="2696"/>
        <pc:sldMkLst>
          <pc:docMk/>
          <pc:sldMk cId="1115489184" sldId="2147481125"/>
        </pc:sldMkLst>
      </pc:sldChg>
      <pc:sldChg chg="addSp modSp">
        <pc:chgData name="Kyndal Mayes" userId="142911e9-0388-46d2-be9a-eb7bc2b8ac4b" providerId="ADAL" clId="{29B3924A-0E99-426D-A9EC-E22D7BFBE5E7}" dt="2024-09-27T18:52:15.502" v="81678"/>
        <pc:sldMkLst>
          <pc:docMk/>
          <pc:sldMk cId="2269256971" sldId="2147481201"/>
        </pc:sldMkLst>
        <pc:spChg chg="mod">
          <ac:chgData name="Kyndal Mayes" userId="142911e9-0388-46d2-be9a-eb7bc2b8ac4b" providerId="ADAL" clId="{29B3924A-0E99-426D-A9EC-E22D7BFBE5E7}" dt="2024-09-27T18:52:15.502" v="81678"/>
          <ac:spMkLst>
            <pc:docMk/>
            <pc:sldMk cId="2269256971" sldId="2147481201"/>
            <ac:spMk id="5" creationId="{1E2C69CB-AA35-C2E5-6A5E-B1418A9EC30E}"/>
          </ac:spMkLst>
        </pc:spChg>
        <pc:spChg chg="mod">
          <ac:chgData name="Kyndal Mayes" userId="142911e9-0388-46d2-be9a-eb7bc2b8ac4b" providerId="ADAL" clId="{29B3924A-0E99-426D-A9EC-E22D7BFBE5E7}" dt="2024-09-27T18:52:15.502" v="81678"/>
          <ac:spMkLst>
            <pc:docMk/>
            <pc:sldMk cId="2269256971" sldId="2147481201"/>
            <ac:spMk id="6" creationId="{834D2050-E64E-1B8A-984C-6A8F054E1171}"/>
          </ac:spMkLst>
        </pc:spChg>
        <pc:spChg chg="mod">
          <ac:chgData name="Kyndal Mayes" userId="142911e9-0388-46d2-be9a-eb7bc2b8ac4b" providerId="ADAL" clId="{29B3924A-0E99-426D-A9EC-E22D7BFBE5E7}" dt="2024-09-27T18:52:15.502" v="81678"/>
          <ac:spMkLst>
            <pc:docMk/>
            <pc:sldMk cId="2269256971" sldId="2147481201"/>
            <ac:spMk id="7" creationId="{AA42794B-32A3-7BC6-BC76-2B3C34DA1772}"/>
          </ac:spMkLst>
        </pc:spChg>
        <pc:grpChg chg="add mod">
          <ac:chgData name="Kyndal Mayes" userId="142911e9-0388-46d2-be9a-eb7bc2b8ac4b" providerId="ADAL" clId="{29B3924A-0E99-426D-A9EC-E22D7BFBE5E7}" dt="2024-09-27T18:52:15.502" v="81678"/>
          <ac:grpSpMkLst>
            <pc:docMk/>
            <pc:sldMk cId="2269256971" sldId="2147481201"/>
            <ac:grpSpMk id="4" creationId="{BED9DF23-FE05-4199-996F-C4C901486996}"/>
          </ac:grpSpMkLst>
        </pc:grpChg>
      </pc:sldChg>
      <pc:sldChg chg="addSp delSp modSp mod">
        <pc:chgData name="Kyndal Mayes" userId="142911e9-0388-46d2-be9a-eb7bc2b8ac4b" providerId="ADAL" clId="{29B3924A-0E99-426D-A9EC-E22D7BFBE5E7}" dt="2024-09-27T16:23:04.513" v="2178" actId="1076"/>
        <pc:sldMkLst>
          <pc:docMk/>
          <pc:sldMk cId="363950016" sldId="2147481213"/>
        </pc:sldMkLst>
        <pc:spChg chg="mod ord">
          <ac:chgData name="Kyndal Mayes" userId="142911e9-0388-46d2-be9a-eb7bc2b8ac4b" providerId="ADAL" clId="{29B3924A-0E99-426D-A9EC-E22D7BFBE5E7}" dt="2024-09-27T16:21:31.407" v="2097"/>
          <ac:spMkLst>
            <pc:docMk/>
            <pc:sldMk cId="363950016" sldId="2147481213"/>
            <ac:spMk id="3" creationId="{00000000-0000-0000-0000-000000000000}"/>
          </ac:spMkLst>
        </pc:spChg>
        <pc:spChg chg="add del mod modVis">
          <ac:chgData name="Kyndal Mayes" userId="142911e9-0388-46d2-be9a-eb7bc2b8ac4b" providerId="ADAL" clId="{29B3924A-0E99-426D-A9EC-E22D7BFBE5E7}" dt="2024-09-27T16:19:29.653" v="432"/>
          <ac:spMkLst>
            <pc:docMk/>
            <pc:sldMk cId="363950016" sldId="2147481213"/>
            <ac:spMk id="4" creationId="{9AA9AC73-7465-0666-ADA2-FDE82F4472AD}"/>
          </ac:spMkLst>
        </pc:spChg>
        <pc:spChg chg="mod ord">
          <ac:chgData name="Kyndal Mayes" userId="142911e9-0388-46d2-be9a-eb7bc2b8ac4b" providerId="ADAL" clId="{29B3924A-0E99-426D-A9EC-E22D7BFBE5E7}" dt="2024-09-27T16:21:31.411" v="2105"/>
          <ac:spMkLst>
            <pc:docMk/>
            <pc:sldMk cId="363950016" sldId="2147481213"/>
            <ac:spMk id="5" creationId="{05380998-1587-CB0A-E67C-91977FBC7E9A}"/>
          </ac:spMkLst>
        </pc:spChg>
        <pc:spChg chg="mod ord">
          <ac:chgData name="Kyndal Mayes" userId="142911e9-0388-46d2-be9a-eb7bc2b8ac4b" providerId="ADAL" clId="{29B3924A-0E99-426D-A9EC-E22D7BFBE5E7}" dt="2024-09-27T16:21:31.405" v="2095"/>
          <ac:spMkLst>
            <pc:docMk/>
            <pc:sldMk cId="363950016" sldId="2147481213"/>
            <ac:spMk id="6" creationId="{00000000-0000-0000-0000-000000000000}"/>
          </ac:spMkLst>
        </pc:spChg>
        <pc:spChg chg="mod ord">
          <ac:chgData name="Kyndal Mayes" userId="142911e9-0388-46d2-be9a-eb7bc2b8ac4b" providerId="ADAL" clId="{29B3924A-0E99-426D-A9EC-E22D7BFBE5E7}" dt="2024-09-27T16:21:31.411" v="2107"/>
          <ac:spMkLst>
            <pc:docMk/>
            <pc:sldMk cId="363950016" sldId="2147481213"/>
            <ac:spMk id="8" creationId="{739F0855-7DC0-EC7F-D0DF-79C2EAA7BD87}"/>
          </ac:spMkLst>
        </pc:spChg>
        <pc:spChg chg="mod ord">
          <ac:chgData name="Kyndal Mayes" userId="142911e9-0388-46d2-be9a-eb7bc2b8ac4b" providerId="ADAL" clId="{29B3924A-0E99-426D-A9EC-E22D7BFBE5E7}" dt="2024-09-27T16:21:31.409" v="2101"/>
          <ac:spMkLst>
            <pc:docMk/>
            <pc:sldMk cId="363950016" sldId="2147481213"/>
            <ac:spMk id="11" creationId="{2295E4F1-787F-13A9-1CE4-AEDDD8A613E3}"/>
          </ac:spMkLst>
        </pc:spChg>
        <pc:spChg chg="mod ord">
          <ac:chgData name="Kyndal Mayes" userId="142911e9-0388-46d2-be9a-eb7bc2b8ac4b" providerId="ADAL" clId="{29B3924A-0E99-426D-A9EC-E22D7BFBE5E7}" dt="2024-09-27T16:21:31.410" v="2103"/>
          <ac:spMkLst>
            <pc:docMk/>
            <pc:sldMk cId="363950016" sldId="2147481213"/>
            <ac:spMk id="12" creationId="{8D258BEB-ACB3-30C1-A193-157658836062}"/>
          </ac:spMkLst>
        </pc:spChg>
        <pc:spChg chg="mod">
          <ac:chgData name="Kyndal Mayes" userId="142911e9-0388-46d2-be9a-eb7bc2b8ac4b" providerId="ADAL" clId="{29B3924A-0E99-426D-A9EC-E22D7BFBE5E7}" dt="2024-09-27T16:21:31.418" v="2112"/>
          <ac:spMkLst>
            <pc:docMk/>
            <pc:sldMk cId="363950016" sldId="2147481213"/>
            <ac:spMk id="15" creationId="{651F6550-DEFB-FC3E-CCA9-19FE76DDF699}"/>
          </ac:spMkLst>
        </pc:spChg>
        <pc:spChg chg="del mod ord">
          <ac:chgData name="Kyndal Mayes" userId="142911e9-0388-46d2-be9a-eb7bc2b8ac4b" providerId="ADAL" clId="{29B3924A-0E99-426D-A9EC-E22D7BFBE5E7}" dt="2024-09-27T16:20:40.600" v="557"/>
          <ac:spMkLst>
            <pc:docMk/>
            <pc:sldMk cId="363950016" sldId="2147481213"/>
            <ac:spMk id="27" creationId="{065762E2-E7E3-33D1-7D7E-769A37307544}"/>
          </ac:spMkLst>
        </pc:spChg>
        <pc:spChg chg="mod ord">
          <ac:chgData name="Kyndal Mayes" userId="142911e9-0388-46d2-be9a-eb7bc2b8ac4b" providerId="ADAL" clId="{29B3924A-0E99-426D-A9EC-E22D7BFBE5E7}" dt="2024-09-27T16:21:31.460" v="2171"/>
          <ac:spMkLst>
            <pc:docMk/>
            <pc:sldMk cId="363950016" sldId="2147481213"/>
            <ac:spMk id="28" creationId="{98AC6FBD-68D4-9C87-29F8-47E16FB46C7A}"/>
          </ac:spMkLst>
        </pc:spChg>
        <pc:spChg chg="add mod">
          <ac:chgData name="Kyndal Mayes" userId="142911e9-0388-46d2-be9a-eb7bc2b8ac4b" providerId="ADAL" clId="{29B3924A-0E99-426D-A9EC-E22D7BFBE5E7}" dt="2024-09-27T16:21:31.422" v="2116"/>
          <ac:spMkLst>
            <pc:docMk/>
            <pc:sldMk cId="363950016" sldId="2147481213"/>
            <ac:spMk id="29" creationId="{9F9869AF-B0F6-4E89-B216-4EC18C7334C2}"/>
          </ac:spMkLst>
        </pc:spChg>
        <pc:spChg chg="add del mod modVis">
          <ac:chgData name="Kyndal Mayes" userId="142911e9-0388-46d2-be9a-eb7bc2b8ac4b" providerId="ADAL" clId="{29B3924A-0E99-426D-A9EC-E22D7BFBE5E7}" dt="2024-09-27T16:21:00.097" v="897"/>
          <ac:spMkLst>
            <pc:docMk/>
            <pc:sldMk cId="363950016" sldId="2147481213"/>
            <ac:spMk id="30" creationId="{2EE29FBD-6883-291A-8E09-E0F902329261}"/>
          </ac:spMkLst>
        </pc:spChg>
        <pc:spChg chg="del mod ord">
          <ac:chgData name="Kyndal Mayes" userId="142911e9-0388-46d2-be9a-eb7bc2b8ac4b" providerId="ADAL" clId="{29B3924A-0E99-426D-A9EC-E22D7BFBE5E7}" dt="2024-09-27T16:20:40.604" v="559"/>
          <ac:spMkLst>
            <pc:docMk/>
            <pc:sldMk cId="363950016" sldId="2147481213"/>
            <ac:spMk id="32" creationId="{9F9869AF-B0F6-4E89-B216-4EC18C7334C2}"/>
          </ac:spMkLst>
        </pc:spChg>
        <pc:spChg chg="add mod">
          <ac:chgData name="Kyndal Mayes" userId="142911e9-0388-46d2-be9a-eb7bc2b8ac4b" providerId="ADAL" clId="{29B3924A-0E99-426D-A9EC-E22D7BFBE5E7}" dt="2024-09-27T16:21:31.422" v="2117"/>
          <ac:spMkLst>
            <pc:docMk/>
            <pc:sldMk cId="363950016" sldId="2147481213"/>
            <ac:spMk id="34" creationId="{9F9869AF-B0F6-4E89-B216-4EC18C7334C2}"/>
          </ac:spMkLst>
        </pc:spChg>
        <pc:spChg chg="add del mod modVis">
          <ac:chgData name="Kyndal Mayes" userId="142911e9-0388-46d2-be9a-eb7bc2b8ac4b" providerId="ADAL" clId="{29B3924A-0E99-426D-A9EC-E22D7BFBE5E7}" dt="2024-09-27T16:21:18.167" v="1159"/>
          <ac:spMkLst>
            <pc:docMk/>
            <pc:sldMk cId="363950016" sldId="2147481213"/>
            <ac:spMk id="35" creationId="{EC9AAC4E-0BB4-EBE0-BDE9-6BFE40D48CE6}"/>
          </ac:spMkLst>
        </pc:spChg>
        <pc:spChg chg="mod ord">
          <ac:chgData name="Kyndal Mayes" userId="142911e9-0388-46d2-be9a-eb7bc2b8ac4b" providerId="ADAL" clId="{29B3924A-0E99-426D-A9EC-E22D7BFBE5E7}" dt="2024-09-27T16:21:31.426" v="2122"/>
          <ac:spMkLst>
            <pc:docMk/>
            <pc:sldMk cId="363950016" sldId="2147481213"/>
            <ac:spMk id="41" creationId="{A937D807-6D39-FDBE-A8B3-AAEF43CD5088}"/>
          </ac:spMkLst>
        </pc:spChg>
        <pc:spChg chg="add mod">
          <ac:chgData name="Kyndal Mayes" userId="142911e9-0388-46d2-be9a-eb7bc2b8ac4b" providerId="ADAL" clId="{29B3924A-0E99-426D-A9EC-E22D7BFBE5E7}" dt="2024-09-27T16:21:31.423" v="2118"/>
          <ac:spMkLst>
            <pc:docMk/>
            <pc:sldMk cId="363950016" sldId="2147481213"/>
            <ac:spMk id="42" creationId="{9F9869AF-B0F6-4E89-B216-4EC18C7334C2}"/>
          </ac:spMkLst>
        </pc:spChg>
        <pc:spChg chg="add del mod modVis">
          <ac:chgData name="Kyndal Mayes" userId="142911e9-0388-46d2-be9a-eb7bc2b8ac4b" providerId="ADAL" clId="{29B3924A-0E99-426D-A9EC-E22D7BFBE5E7}" dt="2024-09-27T16:21:21.616" v="1425"/>
          <ac:spMkLst>
            <pc:docMk/>
            <pc:sldMk cId="363950016" sldId="2147481213"/>
            <ac:spMk id="43" creationId="{4C597137-5F15-9137-9A61-B5FA875F3A12}"/>
          </ac:spMkLst>
        </pc:spChg>
        <pc:spChg chg="mod">
          <ac:chgData name="Kyndal Mayes" userId="142911e9-0388-46d2-be9a-eb7bc2b8ac4b" providerId="ADAL" clId="{29B3924A-0E99-426D-A9EC-E22D7BFBE5E7}" dt="2024-09-27T16:21:31.420" v="2115"/>
          <ac:spMkLst>
            <pc:docMk/>
            <pc:sldMk cId="363950016" sldId="2147481213"/>
            <ac:spMk id="45" creationId="{9F9869AF-B0F6-4E89-B216-4EC18C7334C2}"/>
          </ac:spMkLst>
        </pc:spChg>
        <pc:spChg chg="add mod">
          <ac:chgData name="Kyndal Mayes" userId="142911e9-0388-46d2-be9a-eb7bc2b8ac4b" providerId="ADAL" clId="{29B3924A-0E99-426D-A9EC-E22D7BFBE5E7}" dt="2024-09-27T16:21:31.424" v="2119"/>
          <ac:spMkLst>
            <pc:docMk/>
            <pc:sldMk cId="363950016" sldId="2147481213"/>
            <ac:spMk id="47" creationId="{9F9869AF-B0F6-4E89-B216-4EC18C7334C2}"/>
          </ac:spMkLst>
        </pc:spChg>
        <pc:spChg chg="add del mod modVis">
          <ac:chgData name="Kyndal Mayes" userId="142911e9-0388-46d2-be9a-eb7bc2b8ac4b" providerId="ADAL" clId="{29B3924A-0E99-426D-A9EC-E22D7BFBE5E7}" dt="2024-09-27T16:21:25.295" v="1694"/>
          <ac:spMkLst>
            <pc:docMk/>
            <pc:sldMk cId="363950016" sldId="2147481213"/>
            <ac:spMk id="48" creationId="{B378A417-1B78-76CD-3FC7-DC6E25BE4240}"/>
          </ac:spMkLst>
        </pc:spChg>
        <pc:spChg chg="mod">
          <ac:chgData name="Kyndal Mayes" userId="142911e9-0388-46d2-be9a-eb7bc2b8ac4b" providerId="ADAL" clId="{29B3924A-0E99-426D-A9EC-E22D7BFBE5E7}" dt="2024-09-27T16:21:31.419" v="2113"/>
          <ac:spMkLst>
            <pc:docMk/>
            <pc:sldMk cId="363950016" sldId="2147481213"/>
            <ac:spMk id="50" creationId="{1D54B02C-4E5F-56B7-B43B-7F40CB828003}"/>
          </ac:spMkLst>
        </pc:spChg>
        <pc:spChg chg="add mod">
          <ac:chgData name="Kyndal Mayes" userId="142911e9-0388-46d2-be9a-eb7bc2b8ac4b" providerId="ADAL" clId="{29B3924A-0E99-426D-A9EC-E22D7BFBE5E7}" dt="2024-09-27T16:21:31.425" v="2120"/>
          <ac:spMkLst>
            <pc:docMk/>
            <pc:sldMk cId="363950016" sldId="2147481213"/>
            <ac:spMk id="52" creationId="{9F9869AF-B0F6-4E89-B216-4EC18C7334C2}"/>
          </ac:spMkLst>
        </pc:spChg>
        <pc:spChg chg="mod">
          <ac:chgData name="Kyndal Mayes" userId="142911e9-0388-46d2-be9a-eb7bc2b8ac4b" providerId="ADAL" clId="{29B3924A-0E99-426D-A9EC-E22D7BFBE5E7}" dt="2024-09-27T16:21:31.420" v="2114"/>
          <ac:spMkLst>
            <pc:docMk/>
            <pc:sldMk cId="363950016" sldId="2147481213"/>
            <ac:spMk id="53" creationId="{074EF44E-3018-2880-5A39-67B6B0CF3310}"/>
          </ac:spMkLst>
        </pc:spChg>
        <pc:spChg chg="add del mod modVis">
          <ac:chgData name="Kyndal Mayes" userId="142911e9-0388-46d2-be9a-eb7bc2b8ac4b" providerId="ADAL" clId="{29B3924A-0E99-426D-A9EC-E22D7BFBE5E7}" dt="2024-09-27T16:21:28.209" v="1967"/>
          <ac:spMkLst>
            <pc:docMk/>
            <pc:sldMk cId="363950016" sldId="2147481213"/>
            <ac:spMk id="54" creationId="{975DA06D-11F1-310F-340E-7C826F96D224}"/>
          </ac:spMkLst>
        </pc:spChg>
        <pc:spChg chg="add mod">
          <ac:chgData name="Kyndal Mayes" userId="142911e9-0388-46d2-be9a-eb7bc2b8ac4b" providerId="ADAL" clId="{29B3924A-0E99-426D-A9EC-E22D7BFBE5E7}" dt="2024-09-27T16:23:04.513" v="2178" actId="1076"/>
          <ac:spMkLst>
            <pc:docMk/>
            <pc:sldMk cId="363950016" sldId="2147481213"/>
            <ac:spMk id="58" creationId="{BF98DD8C-06E5-3671-4679-9549B45F5F82}"/>
          </ac:spMkLst>
        </pc:spChg>
        <pc:spChg chg="mod">
          <ac:chgData name="Kyndal Mayes" userId="142911e9-0388-46d2-be9a-eb7bc2b8ac4b" providerId="ADAL" clId="{29B3924A-0E99-426D-A9EC-E22D7BFBE5E7}" dt="2024-09-27T16:21:31.453" v="2158"/>
          <ac:spMkLst>
            <pc:docMk/>
            <pc:sldMk cId="363950016" sldId="2147481213"/>
            <ac:spMk id="81" creationId="{9F9869AF-B0F6-4E89-B216-4EC18C7334C2}"/>
          </ac:spMkLst>
        </pc:spChg>
        <pc:spChg chg="mod">
          <ac:chgData name="Kyndal Mayes" userId="142911e9-0388-46d2-be9a-eb7bc2b8ac4b" providerId="ADAL" clId="{29B3924A-0E99-426D-A9EC-E22D7BFBE5E7}" dt="2024-09-27T16:21:31.454" v="2159"/>
          <ac:spMkLst>
            <pc:docMk/>
            <pc:sldMk cId="363950016" sldId="2147481213"/>
            <ac:spMk id="83" creationId="{9F9869AF-B0F6-4E89-B216-4EC18C7334C2}"/>
          </ac:spMkLst>
        </pc:spChg>
        <pc:spChg chg="mod ord">
          <ac:chgData name="Kyndal Mayes" userId="142911e9-0388-46d2-be9a-eb7bc2b8ac4b" providerId="ADAL" clId="{29B3924A-0E99-426D-A9EC-E22D7BFBE5E7}" dt="2024-09-27T16:21:31.451" v="2155"/>
          <ac:spMkLst>
            <pc:docMk/>
            <pc:sldMk cId="363950016" sldId="2147481213"/>
            <ac:spMk id="85" creationId="{434F9C94-593D-6B7B-38B5-B7AD2CB409C8}"/>
          </ac:spMkLst>
        </pc:spChg>
        <pc:spChg chg="mod ord">
          <ac:chgData name="Kyndal Mayes" userId="142911e9-0388-46d2-be9a-eb7bc2b8ac4b" providerId="ADAL" clId="{29B3924A-0E99-426D-A9EC-E22D7BFBE5E7}" dt="2024-09-27T16:21:31.452" v="2157"/>
          <ac:spMkLst>
            <pc:docMk/>
            <pc:sldMk cId="363950016" sldId="2147481213"/>
            <ac:spMk id="86" creationId="{86D28794-08D8-8600-947F-193748006FEE}"/>
          </ac:spMkLst>
        </pc:spChg>
        <pc:spChg chg="del mod">
          <ac:chgData name="Kyndal Mayes" userId="142911e9-0388-46d2-be9a-eb7bc2b8ac4b" providerId="ADAL" clId="{29B3924A-0E99-426D-A9EC-E22D7BFBE5E7}" dt="2024-09-27T16:19:31.904" v="438"/>
          <ac:spMkLst>
            <pc:docMk/>
            <pc:sldMk cId="363950016" sldId="2147481213"/>
            <ac:spMk id="157" creationId="{9F9869AF-B0F6-4E89-B216-4EC18C7334C2}"/>
          </ac:spMkLst>
        </pc:spChg>
        <pc:spChg chg="del mod">
          <ac:chgData name="Kyndal Mayes" userId="142911e9-0388-46d2-be9a-eb7bc2b8ac4b" providerId="ADAL" clId="{29B3924A-0E99-426D-A9EC-E22D7BFBE5E7}" dt="2024-09-27T16:19:31.902" v="437"/>
          <ac:spMkLst>
            <pc:docMk/>
            <pc:sldMk cId="363950016" sldId="2147481213"/>
            <ac:spMk id="158" creationId="{9F9869AF-B0F6-4E89-B216-4EC18C7334C2}"/>
          </ac:spMkLst>
        </pc:spChg>
        <pc:spChg chg="del mod">
          <ac:chgData name="Kyndal Mayes" userId="142911e9-0388-46d2-be9a-eb7bc2b8ac4b" providerId="ADAL" clId="{29B3924A-0E99-426D-A9EC-E22D7BFBE5E7}" dt="2024-09-27T16:19:31.900" v="436"/>
          <ac:spMkLst>
            <pc:docMk/>
            <pc:sldMk cId="363950016" sldId="2147481213"/>
            <ac:spMk id="159" creationId="{9F9869AF-B0F6-4E89-B216-4EC18C7334C2}"/>
          </ac:spMkLst>
        </pc:spChg>
        <pc:spChg chg="del mod">
          <ac:chgData name="Kyndal Mayes" userId="142911e9-0388-46d2-be9a-eb7bc2b8ac4b" providerId="ADAL" clId="{29B3924A-0E99-426D-A9EC-E22D7BFBE5E7}" dt="2024-09-27T16:19:31.896" v="435"/>
          <ac:spMkLst>
            <pc:docMk/>
            <pc:sldMk cId="363950016" sldId="2147481213"/>
            <ac:spMk id="160" creationId="{9F9869AF-B0F6-4E89-B216-4EC18C7334C2}"/>
          </ac:spMkLst>
        </pc:spChg>
        <pc:spChg chg="mod ord">
          <ac:chgData name="Kyndal Mayes" userId="142911e9-0388-46d2-be9a-eb7bc2b8ac4b" providerId="ADAL" clId="{29B3924A-0E99-426D-A9EC-E22D7BFBE5E7}" dt="2024-09-27T16:21:31.455" v="2161"/>
          <ac:spMkLst>
            <pc:docMk/>
            <pc:sldMk cId="363950016" sldId="2147481213"/>
            <ac:spMk id="175" creationId="{F62E693E-1D2C-82F1-C198-335C51D9875D}"/>
          </ac:spMkLst>
        </pc:spChg>
        <pc:graphicFrameChg chg="mod">
          <ac:chgData name="Kyndal Mayes" userId="142911e9-0388-46d2-be9a-eb7bc2b8ac4b" providerId="ADAL" clId="{29B3924A-0E99-426D-A9EC-E22D7BFBE5E7}" dt="2024-09-27T16:21:31.461" v="2173"/>
          <ac:graphicFrameMkLst>
            <pc:docMk/>
            <pc:sldMk cId="363950016" sldId="2147481213"/>
            <ac:graphicFrameMk id="7" creationId="{00000000-0000-0000-0000-000000000000}"/>
          </ac:graphicFrameMkLst>
        </pc:graphicFrameChg>
        <pc:graphicFrameChg chg="mod ord modGraphic">
          <ac:chgData name="Kyndal Mayes" userId="142911e9-0388-46d2-be9a-eb7bc2b8ac4b" providerId="ADAL" clId="{29B3924A-0E99-426D-A9EC-E22D7BFBE5E7}" dt="2024-09-27T16:21:31.408" v="2099"/>
          <ac:graphicFrameMkLst>
            <pc:docMk/>
            <pc:sldMk cId="363950016" sldId="2147481213"/>
            <ac:graphicFrameMk id="9" creationId="{3123EFC3-86AA-4AC9-BFEB-F34E5A0D555D}"/>
          </ac:graphicFrameMkLst>
        </pc:graphicFrameChg>
        <pc:graphicFrameChg chg="add del mod ord">
          <ac:chgData name="Kyndal Mayes" userId="142911e9-0388-46d2-be9a-eb7bc2b8ac4b" providerId="ADAL" clId="{29B3924A-0E99-426D-A9EC-E22D7BFBE5E7}" dt="2024-09-27T16:19:31.965" v="449"/>
          <ac:graphicFrameMkLst>
            <pc:docMk/>
            <pc:sldMk cId="363950016" sldId="2147481213"/>
            <ac:graphicFrameMk id="16" creationId="{63531053-F382-1204-0E42-495FAD70F62A}"/>
          </ac:graphicFrameMkLst>
        </pc:graphicFrameChg>
        <pc:graphicFrameChg chg="add del mod ord">
          <ac:chgData name="Kyndal Mayes" userId="142911e9-0388-46d2-be9a-eb7bc2b8ac4b" providerId="ADAL" clId="{29B3924A-0E99-426D-A9EC-E22D7BFBE5E7}" dt="2024-09-27T16:20:40.607" v="561"/>
          <ac:graphicFrameMkLst>
            <pc:docMk/>
            <pc:sldMk cId="363950016" sldId="2147481213"/>
            <ac:graphicFrameMk id="20" creationId="{E86411FD-D803-DF01-E280-8FBD097629C1}"/>
          </ac:graphicFrameMkLst>
        </pc:graphicFrameChg>
        <pc:graphicFrameChg chg="add del mod ord">
          <ac:chgData name="Kyndal Mayes" userId="142911e9-0388-46d2-be9a-eb7bc2b8ac4b" providerId="ADAL" clId="{29B3924A-0E99-426D-A9EC-E22D7BFBE5E7}" dt="2024-09-27T16:20:57.811" v="655"/>
          <ac:graphicFrameMkLst>
            <pc:docMk/>
            <pc:sldMk cId="363950016" sldId="2147481213"/>
            <ac:graphicFrameMk id="25" creationId="{8E4258EA-B706-BEA3-9E27-95F64EB97D11}"/>
          </ac:graphicFrameMkLst>
        </pc:graphicFrameChg>
        <pc:graphicFrameChg chg="add del mod ord">
          <ac:chgData name="Kyndal Mayes" userId="142911e9-0388-46d2-be9a-eb7bc2b8ac4b" providerId="ADAL" clId="{29B3924A-0E99-426D-A9EC-E22D7BFBE5E7}" dt="2024-09-27T16:20:59.932" v="815"/>
          <ac:graphicFrameMkLst>
            <pc:docMk/>
            <pc:sldMk cId="363950016" sldId="2147481213"/>
            <ac:graphicFrameMk id="26" creationId="{E3E16B17-D733-44FB-08A4-F570EF9A5595}"/>
          </ac:graphicFrameMkLst>
        </pc:graphicFrameChg>
        <pc:graphicFrameChg chg="add del mod ord">
          <ac:chgData name="Kyndal Mayes" userId="142911e9-0388-46d2-be9a-eb7bc2b8ac4b" providerId="ADAL" clId="{29B3924A-0E99-426D-A9EC-E22D7BFBE5E7}" dt="2024-09-27T16:21:01.255" v="913"/>
          <ac:graphicFrameMkLst>
            <pc:docMk/>
            <pc:sldMk cId="363950016" sldId="2147481213"/>
            <ac:graphicFrameMk id="31" creationId="{04782645-5F0D-557D-307E-FE27729FD0D8}"/>
          </ac:graphicFrameMkLst>
        </pc:graphicFrameChg>
        <pc:graphicFrameChg chg="add del mod ord">
          <ac:chgData name="Kyndal Mayes" userId="142911e9-0388-46d2-be9a-eb7bc2b8ac4b" providerId="ADAL" clId="{29B3924A-0E99-426D-A9EC-E22D7BFBE5E7}" dt="2024-09-27T16:21:18.066" v="1076"/>
          <ac:graphicFrameMkLst>
            <pc:docMk/>
            <pc:sldMk cId="363950016" sldId="2147481213"/>
            <ac:graphicFrameMk id="33" creationId="{53A9B203-F517-5915-639E-5B9A83009748}"/>
          </ac:graphicFrameMkLst>
        </pc:graphicFrameChg>
        <pc:graphicFrameChg chg="add del mod ord">
          <ac:chgData name="Kyndal Mayes" userId="142911e9-0388-46d2-be9a-eb7bc2b8ac4b" providerId="ADAL" clId="{29B3924A-0E99-426D-A9EC-E22D7BFBE5E7}" dt="2024-09-27T16:21:20.053" v="1176"/>
          <ac:graphicFrameMkLst>
            <pc:docMk/>
            <pc:sldMk cId="363950016" sldId="2147481213"/>
            <ac:graphicFrameMk id="39" creationId="{63E19582-A79D-9B9E-1C67-0DDC47096E23}"/>
          </ac:graphicFrameMkLst>
        </pc:graphicFrameChg>
        <pc:graphicFrameChg chg="add del mod ord">
          <ac:chgData name="Kyndal Mayes" userId="142911e9-0388-46d2-be9a-eb7bc2b8ac4b" providerId="ADAL" clId="{29B3924A-0E99-426D-A9EC-E22D7BFBE5E7}" dt="2024-09-27T16:21:21.475" v="1341"/>
          <ac:graphicFrameMkLst>
            <pc:docMk/>
            <pc:sldMk cId="363950016" sldId="2147481213"/>
            <ac:graphicFrameMk id="40" creationId="{1ACCDA8A-193A-019A-42F3-1E7351F58F92}"/>
          </ac:graphicFrameMkLst>
        </pc:graphicFrameChg>
        <pc:graphicFrameChg chg="add del mod ord">
          <ac:chgData name="Kyndal Mayes" userId="142911e9-0388-46d2-be9a-eb7bc2b8ac4b" providerId="ADAL" clId="{29B3924A-0E99-426D-A9EC-E22D7BFBE5E7}" dt="2024-09-27T16:21:23.405" v="1443"/>
          <ac:graphicFrameMkLst>
            <pc:docMk/>
            <pc:sldMk cId="363950016" sldId="2147481213"/>
            <ac:graphicFrameMk id="44" creationId="{BE9318AB-17CF-368E-5E6B-0F00AB182163}"/>
          </ac:graphicFrameMkLst>
        </pc:graphicFrameChg>
        <pc:graphicFrameChg chg="add del mod ord">
          <ac:chgData name="Kyndal Mayes" userId="142911e9-0388-46d2-be9a-eb7bc2b8ac4b" providerId="ADAL" clId="{29B3924A-0E99-426D-A9EC-E22D7BFBE5E7}" dt="2024-09-27T16:21:25.083" v="1609"/>
          <ac:graphicFrameMkLst>
            <pc:docMk/>
            <pc:sldMk cId="363950016" sldId="2147481213"/>
            <ac:graphicFrameMk id="46" creationId="{86A94410-8EBF-02DE-8F6A-C29E78D9AC22}"/>
          </ac:graphicFrameMkLst>
        </pc:graphicFrameChg>
        <pc:graphicFrameChg chg="add del mod ord">
          <ac:chgData name="Kyndal Mayes" userId="142911e9-0388-46d2-be9a-eb7bc2b8ac4b" providerId="ADAL" clId="{29B3924A-0E99-426D-A9EC-E22D7BFBE5E7}" dt="2024-09-27T16:21:26.471" v="1713"/>
          <ac:graphicFrameMkLst>
            <pc:docMk/>
            <pc:sldMk cId="363950016" sldId="2147481213"/>
            <ac:graphicFrameMk id="49" creationId="{632F554D-CE2C-4504-F62E-68B0A5DC406F}"/>
          </ac:graphicFrameMkLst>
        </pc:graphicFrameChg>
        <pc:graphicFrameChg chg="add del mod ord">
          <ac:chgData name="Kyndal Mayes" userId="142911e9-0388-46d2-be9a-eb7bc2b8ac4b" providerId="ADAL" clId="{29B3924A-0E99-426D-A9EC-E22D7BFBE5E7}" dt="2024-09-27T16:21:28.103" v="1881"/>
          <ac:graphicFrameMkLst>
            <pc:docMk/>
            <pc:sldMk cId="363950016" sldId="2147481213"/>
            <ac:graphicFrameMk id="51" creationId="{C63A8506-77E8-0862-F3D3-EC54258A9789}"/>
          </ac:graphicFrameMkLst>
        </pc:graphicFrameChg>
        <pc:graphicFrameChg chg="add del mod ord">
          <ac:chgData name="Kyndal Mayes" userId="142911e9-0388-46d2-be9a-eb7bc2b8ac4b" providerId="ADAL" clId="{29B3924A-0E99-426D-A9EC-E22D7BFBE5E7}" dt="2024-09-27T16:21:29.490" v="1987"/>
          <ac:graphicFrameMkLst>
            <pc:docMk/>
            <pc:sldMk cId="363950016" sldId="2147481213"/>
            <ac:graphicFrameMk id="55" creationId="{43CA34E5-A363-5EC6-9848-8A4D0E18D6EF}"/>
          </ac:graphicFrameMkLst>
        </pc:graphicFrameChg>
        <pc:graphicFrameChg chg="add del mod ord">
          <ac:chgData name="Kyndal Mayes" userId="142911e9-0388-46d2-be9a-eb7bc2b8ac4b" providerId="ADAL" clId="{29B3924A-0E99-426D-A9EC-E22D7BFBE5E7}" dt="2024-09-27T16:21:31.294" v="2087"/>
          <ac:graphicFrameMkLst>
            <pc:docMk/>
            <pc:sldMk cId="363950016" sldId="2147481213"/>
            <ac:graphicFrameMk id="56" creationId="{AFE4E6D9-9CB9-424C-06AF-99D8656BCD1B}"/>
          </ac:graphicFrameMkLst>
        </pc:graphicFrameChg>
        <pc:graphicFrameChg chg="add mod ord">
          <ac:chgData name="Kyndal Mayes" userId="142911e9-0388-46d2-be9a-eb7bc2b8ac4b" providerId="ADAL" clId="{29B3924A-0E99-426D-A9EC-E22D7BFBE5E7}" dt="2024-09-27T16:21:31.415" v="2111"/>
          <ac:graphicFrameMkLst>
            <pc:docMk/>
            <pc:sldMk cId="363950016" sldId="2147481213"/>
            <ac:graphicFrameMk id="57" creationId="{4C5357FA-9A56-8538-FEAC-08E93B17B762}"/>
          </ac:graphicFrameMkLst>
        </pc:graphicFrameChg>
        <pc:graphicFrameChg chg="del">
          <ac:chgData name="Kyndal Mayes" userId="142911e9-0388-46d2-be9a-eb7bc2b8ac4b" providerId="ADAL" clId="{29B3924A-0E99-426D-A9EC-E22D7BFBE5E7}" dt="2024-09-27T16:19:29.509" v="345"/>
          <ac:graphicFrameMkLst>
            <pc:docMk/>
            <pc:sldMk cId="363950016" sldId="2147481213"/>
            <ac:graphicFrameMk id="65" creationId="{8C085187-1826-6D25-F0EB-06D905CF0250}"/>
          </ac:graphicFrameMkLst>
        </pc:graphicFrameChg>
        <pc:picChg chg="mod ord">
          <ac:chgData name="Kyndal Mayes" userId="142911e9-0388-46d2-be9a-eb7bc2b8ac4b" providerId="ADAL" clId="{29B3924A-0E99-426D-A9EC-E22D7BFBE5E7}" dt="2024-09-27T16:21:31.438" v="2134"/>
          <ac:picMkLst>
            <pc:docMk/>
            <pc:sldMk cId="363950016" sldId="2147481213"/>
            <ac:picMk id="10" creationId="{D153B30E-0D99-CD9A-0861-B59F926AF68B}"/>
          </ac:picMkLst>
        </pc:picChg>
        <pc:picChg chg="mod ord">
          <ac:chgData name="Kyndal Mayes" userId="142911e9-0388-46d2-be9a-eb7bc2b8ac4b" providerId="ADAL" clId="{29B3924A-0E99-426D-A9EC-E22D7BFBE5E7}" dt="2024-09-27T16:21:31.440" v="2136"/>
          <ac:picMkLst>
            <pc:docMk/>
            <pc:sldMk cId="363950016" sldId="2147481213"/>
            <ac:picMk id="13" creationId="{0B866E6E-D0E6-392C-0EDA-431B2CB36221}"/>
          </ac:picMkLst>
        </pc:picChg>
        <pc:picChg chg="mod ord">
          <ac:chgData name="Kyndal Mayes" userId="142911e9-0388-46d2-be9a-eb7bc2b8ac4b" providerId="ADAL" clId="{29B3924A-0E99-426D-A9EC-E22D7BFBE5E7}" dt="2024-09-27T16:21:31.442" v="2138"/>
          <ac:picMkLst>
            <pc:docMk/>
            <pc:sldMk cId="363950016" sldId="2147481213"/>
            <ac:picMk id="14" creationId="{2787FD39-BB73-5189-00D5-3CAD896100E5}"/>
          </ac:picMkLst>
        </pc:picChg>
        <pc:picChg chg="mod ord">
          <ac:chgData name="Kyndal Mayes" userId="142911e9-0388-46d2-be9a-eb7bc2b8ac4b" providerId="ADAL" clId="{29B3924A-0E99-426D-A9EC-E22D7BFBE5E7}" dt="2024-09-27T16:21:31.443" v="2140"/>
          <ac:picMkLst>
            <pc:docMk/>
            <pc:sldMk cId="363950016" sldId="2147481213"/>
            <ac:picMk id="17" creationId="{32D07AC0-3598-C1A2-53B6-E512AA128166}"/>
          </ac:picMkLst>
        </pc:picChg>
        <pc:picChg chg="mod ord">
          <ac:chgData name="Kyndal Mayes" userId="142911e9-0388-46d2-be9a-eb7bc2b8ac4b" providerId="ADAL" clId="{29B3924A-0E99-426D-A9EC-E22D7BFBE5E7}" dt="2024-09-27T16:21:31.444" v="2142"/>
          <ac:picMkLst>
            <pc:docMk/>
            <pc:sldMk cId="363950016" sldId="2147481213"/>
            <ac:picMk id="18" creationId="{BE0D3971-DEF6-FA34-035B-222D61AA684D}"/>
          </ac:picMkLst>
        </pc:picChg>
        <pc:picChg chg="mod ord">
          <ac:chgData name="Kyndal Mayes" userId="142911e9-0388-46d2-be9a-eb7bc2b8ac4b" providerId="ADAL" clId="{29B3924A-0E99-426D-A9EC-E22D7BFBE5E7}" dt="2024-09-27T16:21:31.445" v="2144"/>
          <ac:picMkLst>
            <pc:docMk/>
            <pc:sldMk cId="363950016" sldId="2147481213"/>
            <ac:picMk id="19" creationId="{DDC76E39-1CE0-3B1C-3714-7679AD8521C4}"/>
          </ac:picMkLst>
        </pc:picChg>
        <pc:picChg chg="mod">
          <ac:chgData name="Kyndal Mayes" userId="142911e9-0388-46d2-be9a-eb7bc2b8ac4b" providerId="ADAL" clId="{29B3924A-0E99-426D-A9EC-E22D7BFBE5E7}" dt="2024-09-27T16:21:31.446" v="2145"/>
          <ac:picMkLst>
            <pc:docMk/>
            <pc:sldMk cId="363950016" sldId="2147481213"/>
            <ac:picMk id="22" creationId="{8AD16FDB-2A57-46F3-232A-29850A65A5E6}"/>
          </ac:picMkLst>
        </pc:picChg>
        <pc:picChg chg="mod ord">
          <ac:chgData name="Kyndal Mayes" userId="142911e9-0388-46d2-be9a-eb7bc2b8ac4b" providerId="ADAL" clId="{29B3924A-0E99-426D-A9EC-E22D7BFBE5E7}" dt="2024-09-27T16:21:31.447" v="2147"/>
          <ac:picMkLst>
            <pc:docMk/>
            <pc:sldMk cId="363950016" sldId="2147481213"/>
            <ac:picMk id="23" creationId="{315C5DBE-2535-BCBC-8E8D-DD96CC2F5C87}"/>
          </ac:picMkLst>
        </pc:picChg>
        <pc:picChg chg="mod ord">
          <ac:chgData name="Kyndal Mayes" userId="142911e9-0388-46d2-be9a-eb7bc2b8ac4b" providerId="ADAL" clId="{29B3924A-0E99-426D-A9EC-E22D7BFBE5E7}" dt="2024-09-27T16:21:31.459" v="2169"/>
          <ac:picMkLst>
            <pc:docMk/>
            <pc:sldMk cId="363950016" sldId="2147481213"/>
            <ac:picMk id="24" creationId="{096F8C33-46CE-2030-BCD4-3D3D5B6136BE}"/>
          </ac:picMkLst>
        </pc:picChg>
        <pc:picChg chg="mod ord">
          <ac:chgData name="Kyndal Mayes" userId="142911e9-0388-46d2-be9a-eb7bc2b8ac4b" providerId="ADAL" clId="{29B3924A-0E99-426D-A9EC-E22D7BFBE5E7}" dt="2024-09-27T16:21:31.448" v="2149"/>
          <ac:picMkLst>
            <pc:docMk/>
            <pc:sldMk cId="363950016" sldId="2147481213"/>
            <ac:picMk id="36" creationId="{D8E0B9A4-873F-3DCE-547E-00443AD2971C}"/>
          </ac:picMkLst>
        </pc:picChg>
        <pc:picChg chg="mod ord">
          <ac:chgData name="Kyndal Mayes" userId="142911e9-0388-46d2-be9a-eb7bc2b8ac4b" providerId="ADAL" clId="{29B3924A-0E99-426D-A9EC-E22D7BFBE5E7}" dt="2024-09-27T16:21:31.449" v="2151"/>
          <ac:picMkLst>
            <pc:docMk/>
            <pc:sldMk cId="363950016" sldId="2147481213"/>
            <ac:picMk id="37" creationId="{01FFD27C-5F7E-9FEB-13F9-C7BE3597E09A}"/>
          </ac:picMkLst>
        </pc:picChg>
        <pc:picChg chg="mod ord">
          <ac:chgData name="Kyndal Mayes" userId="142911e9-0388-46d2-be9a-eb7bc2b8ac4b" providerId="ADAL" clId="{29B3924A-0E99-426D-A9EC-E22D7BFBE5E7}" dt="2024-09-27T16:21:31.450" v="2153"/>
          <ac:picMkLst>
            <pc:docMk/>
            <pc:sldMk cId="363950016" sldId="2147481213"/>
            <ac:picMk id="38" creationId="{497645C4-929B-CB8F-1D03-27B4585D2B36}"/>
          </ac:picMkLst>
        </pc:picChg>
        <pc:picChg chg="mod ord">
          <ac:chgData name="Kyndal Mayes" userId="142911e9-0388-46d2-be9a-eb7bc2b8ac4b" providerId="ADAL" clId="{29B3924A-0E99-426D-A9EC-E22D7BFBE5E7}" dt="2024-09-27T16:21:31.430" v="2124"/>
          <ac:picMkLst>
            <pc:docMk/>
            <pc:sldMk cId="363950016" sldId="2147481213"/>
            <ac:picMk id="90" creationId="{59FFDB02-BD69-C5B7-86E0-843E8FCE687D}"/>
          </ac:picMkLst>
        </pc:picChg>
        <pc:picChg chg="mod ord">
          <ac:chgData name="Kyndal Mayes" userId="142911e9-0388-46d2-be9a-eb7bc2b8ac4b" providerId="ADAL" clId="{29B3924A-0E99-426D-A9EC-E22D7BFBE5E7}" dt="2024-09-27T16:21:31.432" v="2126"/>
          <ac:picMkLst>
            <pc:docMk/>
            <pc:sldMk cId="363950016" sldId="2147481213"/>
            <ac:picMk id="93" creationId="{F313332D-D4CB-17B1-05AC-9AC7658FFBA8}"/>
          </ac:picMkLst>
        </pc:picChg>
        <pc:picChg chg="mod ord">
          <ac:chgData name="Kyndal Mayes" userId="142911e9-0388-46d2-be9a-eb7bc2b8ac4b" providerId="ADAL" clId="{29B3924A-0E99-426D-A9EC-E22D7BFBE5E7}" dt="2024-09-27T16:21:31.433" v="2128"/>
          <ac:picMkLst>
            <pc:docMk/>
            <pc:sldMk cId="363950016" sldId="2147481213"/>
            <ac:picMk id="150" creationId="{7D9C653E-05CD-A511-ECE2-C74D4B932EB3}"/>
          </ac:picMkLst>
        </pc:picChg>
        <pc:picChg chg="mod ord">
          <ac:chgData name="Kyndal Mayes" userId="142911e9-0388-46d2-be9a-eb7bc2b8ac4b" providerId="ADAL" clId="{29B3924A-0E99-426D-A9EC-E22D7BFBE5E7}" dt="2024-09-27T16:21:31.435" v="2130"/>
          <ac:picMkLst>
            <pc:docMk/>
            <pc:sldMk cId="363950016" sldId="2147481213"/>
            <ac:picMk id="165" creationId="{16B35B44-5A23-4227-3AE8-40B0EEF7AA78}"/>
          </ac:picMkLst>
        </pc:picChg>
        <pc:picChg chg="mod ord">
          <ac:chgData name="Kyndal Mayes" userId="142911e9-0388-46d2-be9a-eb7bc2b8ac4b" providerId="ADAL" clId="{29B3924A-0E99-426D-A9EC-E22D7BFBE5E7}" dt="2024-09-27T16:21:31.436" v="2132"/>
          <ac:picMkLst>
            <pc:docMk/>
            <pc:sldMk cId="363950016" sldId="2147481213"/>
            <ac:picMk id="167" creationId="{0B9EE277-0846-9ED0-9951-C915524008CC}"/>
          </ac:picMkLst>
        </pc:picChg>
        <pc:picChg chg="mod ord">
          <ac:chgData name="Kyndal Mayes" userId="142911e9-0388-46d2-be9a-eb7bc2b8ac4b" providerId="ADAL" clId="{29B3924A-0E99-426D-A9EC-E22D7BFBE5E7}" dt="2024-09-27T16:21:31.456" v="2163"/>
          <ac:picMkLst>
            <pc:docMk/>
            <pc:sldMk cId="363950016" sldId="2147481213"/>
            <ac:picMk id="176" creationId="{F840C25D-26AD-8327-F937-58AD9DAF8287}"/>
          </ac:picMkLst>
        </pc:picChg>
        <pc:picChg chg="mod">
          <ac:chgData name="Kyndal Mayes" userId="142911e9-0388-46d2-be9a-eb7bc2b8ac4b" providerId="ADAL" clId="{29B3924A-0E99-426D-A9EC-E22D7BFBE5E7}" dt="2024-09-27T16:21:31.456" v="2164"/>
          <ac:picMkLst>
            <pc:docMk/>
            <pc:sldMk cId="363950016" sldId="2147481213"/>
            <ac:picMk id="177" creationId="{ADE14421-6563-BF28-A8B1-8BD40C404B81}"/>
          </ac:picMkLst>
        </pc:picChg>
        <pc:picChg chg="mod ord">
          <ac:chgData name="Kyndal Mayes" userId="142911e9-0388-46d2-be9a-eb7bc2b8ac4b" providerId="ADAL" clId="{29B3924A-0E99-426D-A9EC-E22D7BFBE5E7}" dt="2024-09-27T16:21:31.458" v="2166"/>
          <ac:picMkLst>
            <pc:docMk/>
            <pc:sldMk cId="363950016" sldId="2147481213"/>
            <ac:picMk id="182" creationId="{FD78103A-34C6-E275-19B0-60A70F3568B2}"/>
          </ac:picMkLst>
        </pc:picChg>
        <pc:picChg chg="mod">
          <ac:chgData name="Kyndal Mayes" userId="142911e9-0388-46d2-be9a-eb7bc2b8ac4b" providerId="ADAL" clId="{29B3924A-0E99-426D-A9EC-E22D7BFBE5E7}" dt="2024-09-27T16:21:31.458" v="2167"/>
          <ac:picMkLst>
            <pc:docMk/>
            <pc:sldMk cId="363950016" sldId="2147481213"/>
            <ac:picMk id="183" creationId="{ADB05200-D404-A97A-709E-BC258BB75508}"/>
          </ac:picMkLst>
        </pc:picChg>
        <pc:cxnChg chg="mod">
          <ac:chgData name="Kyndal Mayes" userId="142911e9-0388-46d2-be9a-eb7bc2b8ac4b" providerId="ADAL" clId="{29B3924A-0E99-426D-A9EC-E22D7BFBE5E7}" dt="2024-09-27T16:21:31.404" v="2093"/>
          <ac:cxnSpMkLst>
            <pc:docMk/>
            <pc:sldMk cId="363950016" sldId="2147481213"/>
            <ac:cxnSpMk id="2" creationId="{3A06CF9C-85E8-8291-FBD3-8A65D5E0E187}"/>
          </ac:cxnSpMkLst>
        </pc:cxnChg>
        <pc:cxnChg chg="add mod ord">
          <ac:chgData name="Kyndal Mayes" userId="142911e9-0388-46d2-be9a-eb7bc2b8ac4b" providerId="ADAL" clId="{29B3924A-0E99-426D-A9EC-E22D7BFBE5E7}" dt="2024-09-27T16:21:31.413" v="2109"/>
          <ac:cxnSpMkLst>
            <pc:docMk/>
            <pc:sldMk cId="363950016" sldId="2147481213"/>
            <ac:cxnSpMk id="21" creationId="{4FC93AF2-4355-5CFB-3F88-E399E2624299}"/>
          </ac:cxnSpMkLst>
        </pc:cxnChg>
      </pc:sldChg>
      <pc:sldChg chg="addSp delSp modSp mod">
        <pc:chgData name="Kyndal Mayes" userId="142911e9-0388-46d2-be9a-eb7bc2b8ac4b" providerId="ADAL" clId="{29B3924A-0E99-426D-A9EC-E22D7BFBE5E7}" dt="2024-09-27T16:31:54.561" v="4515" actId="13926"/>
        <pc:sldMkLst>
          <pc:docMk/>
          <pc:sldMk cId="3680074227" sldId="2147481233"/>
        </pc:sldMkLst>
        <pc:spChg chg="mod ord">
          <ac:chgData name="Kyndal Mayes" userId="142911e9-0388-46d2-be9a-eb7bc2b8ac4b" providerId="ADAL" clId="{29B3924A-0E99-426D-A9EC-E22D7BFBE5E7}" dt="2024-09-27T16:31:41.445" v="4434"/>
          <ac:spMkLst>
            <pc:docMk/>
            <pc:sldMk cId="3680074227" sldId="2147481233"/>
            <ac:spMk id="3" creationId="{00000000-0000-0000-0000-000000000000}"/>
          </ac:spMkLst>
        </pc:spChg>
        <pc:spChg chg="mod ord">
          <ac:chgData name="Kyndal Mayes" userId="142911e9-0388-46d2-be9a-eb7bc2b8ac4b" providerId="ADAL" clId="{29B3924A-0E99-426D-A9EC-E22D7BFBE5E7}" dt="2024-09-27T16:31:41.454" v="4442"/>
          <ac:spMkLst>
            <pc:docMk/>
            <pc:sldMk cId="3680074227" sldId="2147481233"/>
            <ac:spMk id="5" creationId="{05380998-1587-CB0A-E67C-91977FBC7E9A}"/>
          </ac:spMkLst>
        </pc:spChg>
        <pc:spChg chg="del mod ord">
          <ac:chgData name="Kyndal Mayes" userId="142911e9-0388-46d2-be9a-eb7bc2b8ac4b" providerId="ADAL" clId="{29B3924A-0E99-426D-A9EC-E22D7BFBE5E7}" dt="2024-09-27T16:31:20.085" v="2678"/>
          <ac:spMkLst>
            <pc:docMk/>
            <pc:sldMk cId="3680074227" sldId="2147481233"/>
            <ac:spMk id="6" creationId="{9F9869AF-B0F6-4E89-B216-4EC18C7334C2}"/>
          </ac:spMkLst>
        </pc:spChg>
        <pc:spChg chg="mod ord">
          <ac:chgData name="Kyndal Mayes" userId="142911e9-0388-46d2-be9a-eb7bc2b8ac4b" providerId="ADAL" clId="{29B3924A-0E99-426D-A9EC-E22D7BFBE5E7}" dt="2024-09-27T16:31:41.455" v="4444"/>
          <ac:spMkLst>
            <pc:docMk/>
            <pc:sldMk cId="3680074227" sldId="2147481233"/>
            <ac:spMk id="8" creationId="{739F0855-7DC0-EC7F-D0DF-79C2EAA7BD87}"/>
          </ac:spMkLst>
        </pc:spChg>
        <pc:spChg chg="add del mod modVis">
          <ac:chgData name="Kyndal Mayes" userId="142911e9-0388-46d2-be9a-eb7bc2b8ac4b" providerId="ADAL" clId="{29B3924A-0E99-426D-A9EC-E22D7BFBE5E7}" dt="2024-09-27T16:30:41.764" v="2408"/>
          <ac:spMkLst>
            <pc:docMk/>
            <pc:sldMk cId="3680074227" sldId="2147481233"/>
            <ac:spMk id="10" creationId="{E8E438B1-DD19-4467-2934-ACAD02C10493}"/>
          </ac:spMkLst>
        </pc:spChg>
        <pc:spChg chg="mod ord">
          <ac:chgData name="Kyndal Mayes" userId="142911e9-0388-46d2-be9a-eb7bc2b8ac4b" providerId="ADAL" clId="{29B3924A-0E99-426D-A9EC-E22D7BFBE5E7}" dt="2024-09-27T16:31:41.449" v="4438"/>
          <ac:spMkLst>
            <pc:docMk/>
            <pc:sldMk cId="3680074227" sldId="2147481233"/>
            <ac:spMk id="11" creationId="{2295E4F1-787F-13A9-1CE4-AEDDD8A613E3}"/>
          </ac:spMkLst>
        </pc:spChg>
        <pc:spChg chg="mod ord">
          <ac:chgData name="Kyndal Mayes" userId="142911e9-0388-46d2-be9a-eb7bc2b8ac4b" providerId="ADAL" clId="{29B3924A-0E99-426D-A9EC-E22D7BFBE5E7}" dt="2024-09-27T16:31:41.452" v="4440"/>
          <ac:spMkLst>
            <pc:docMk/>
            <pc:sldMk cId="3680074227" sldId="2147481233"/>
            <ac:spMk id="12" creationId="{8D258BEB-ACB3-30C1-A193-157658836062}"/>
          </ac:spMkLst>
        </pc:spChg>
        <pc:spChg chg="mod">
          <ac:chgData name="Kyndal Mayes" userId="142911e9-0388-46d2-be9a-eb7bc2b8ac4b" providerId="ADAL" clId="{29B3924A-0E99-426D-A9EC-E22D7BFBE5E7}" dt="2024-09-27T16:31:41.462" v="4449"/>
          <ac:spMkLst>
            <pc:docMk/>
            <pc:sldMk cId="3680074227" sldId="2147481233"/>
            <ac:spMk id="15" creationId="{651F6550-DEFB-FC3E-CCA9-19FE76DDF699}"/>
          </ac:spMkLst>
        </pc:spChg>
        <pc:spChg chg="add del mod modVis">
          <ac:chgData name="Kyndal Mayes" userId="142911e9-0388-46d2-be9a-eb7bc2b8ac4b" providerId="ADAL" clId="{29B3924A-0E99-426D-A9EC-E22D7BFBE5E7}" dt="2024-09-27T16:30:43.612" v="2544"/>
          <ac:spMkLst>
            <pc:docMk/>
            <pc:sldMk cId="3680074227" sldId="2147481233"/>
            <ac:spMk id="16" creationId="{F7B413A3-4734-631A-1A1A-F029545A850B}"/>
          </ac:spMkLst>
        </pc:spChg>
        <pc:spChg chg="mod ord">
          <ac:chgData name="Kyndal Mayes" userId="142911e9-0388-46d2-be9a-eb7bc2b8ac4b" providerId="ADAL" clId="{29B3924A-0E99-426D-A9EC-E22D7BFBE5E7}" dt="2024-09-27T16:31:41.513" v="4503"/>
          <ac:spMkLst>
            <pc:docMk/>
            <pc:sldMk cId="3680074227" sldId="2147481233"/>
            <ac:spMk id="17" creationId="{1174CC08-E359-0B3B-7C8D-E345846EE04C}"/>
          </ac:spMkLst>
        </pc:spChg>
        <pc:spChg chg="add mod ord">
          <ac:chgData name="Kyndal Mayes" userId="142911e9-0388-46d2-be9a-eb7bc2b8ac4b" providerId="ADAL" clId="{29B3924A-0E99-426D-A9EC-E22D7BFBE5E7}" dt="2024-09-27T16:31:41.519" v="4507"/>
          <ac:spMkLst>
            <pc:docMk/>
            <pc:sldMk cId="3680074227" sldId="2147481233"/>
            <ac:spMk id="21" creationId="{9459DD10-A60F-9A41-5A0A-268D7AC27216}"/>
          </ac:spMkLst>
        </pc:spChg>
        <pc:spChg chg="add mod">
          <ac:chgData name="Kyndal Mayes" userId="142911e9-0388-46d2-be9a-eb7bc2b8ac4b" providerId="ADAL" clId="{29B3924A-0E99-426D-A9EC-E22D7BFBE5E7}" dt="2024-09-27T16:31:41.466" v="4452"/>
          <ac:spMkLst>
            <pc:docMk/>
            <pc:sldMk cId="3680074227" sldId="2147481233"/>
            <ac:spMk id="30" creationId="{9F9869AF-B0F6-4E89-B216-4EC18C7334C2}"/>
          </ac:spMkLst>
        </pc:spChg>
        <pc:spChg chg="add del mod modVis">
          <ac:chgData name="Kyndal Mayes" userId="142911e9-0388-46d2-be9a-eb7bc2b8ac4b" providerId="ADAL" clId="{29B3924A-0E99-426D-A9EC-E22D7BFBE5E7}" dt="2024-09-27T16:31:24.856" v="2923"/>
          <ac:spMkLst>
            <pc:docMk/>
            <pc:sldMk cId="3680074227" sldId="2147481233"/>
            <ac:spMk id="31" creationId="{770E143E-0BA5-CCDC-7F4E-9855F525EAF9}"/>
          </ac:spMkLst>
        </pc:spChg>
        <pc:spChg chg="add mod">
          <ac:chgData name="Kyndal Mayes" userId="142911e9-0388-46d2-be9a-eb7bc2b8ac4b" providerId="ADAL" clId="{29B3924A-0E99-426D-A9EC-E22D7BFBE5E7}" dt="2024-09-27T16:31:41.467" v="4453"/>
          <ac:spMkLst>
            <pc:docMk/>
            <pc:sldMk cId="3680074227" sldId="2147481233"/>
            <ac:spMk id="34" creationId="{9F9869AF-B0F6-4E89-B216-4EC18C7334C2}"/>
          </ac:spMkLst>
        </pc:spChg>
        <pc:spChg chg="add del mod modVis">
          <ac:chgData name="Kyndal Mayes" userId="142911e9-0388-46d2-be9a-eb7bc2b8ac4b" providerId="ADAL" clId="{29B3924A-0E99-426D-A9EC-E22D7BFBE5E7}" dt="2024-09-27T16:31:28.415" v="3174"/>
          <ac:spMkLst>
            <pc:docMk/>
            <pc:sldMk cId="3680074227" sldId="2147481233"/>
            <ac:spMk id="35" creationId="{A481410B-A342-4831-7283-7F045642E0BA}"/>
          </ac:spMkLst>
        </pc:spChg>
        <pc:spChg chg="mod ord">
          <ac:chgData name="Kyndal Mayes" userId="142911e9-0388-46d2-be9a-eb7bc2b8ac4b" providerId="ADAL" clId="{29B3924A-0E99-426D-A9EC-E22D7BFBE5E7}" dt="2024-09-27T16:31:41.473" v="4459"/>
          <ac:spMkLst>
            <pc:docMk/>
            <pc:sldMk cId="3680074227" sldId="2147481233"/>
            <ac:spMk id="41" creationId="{A937D807-6D39-FDBE-A8B3-AAEF43CD5088}"/>
          </ac:spMkLst>
        </pc:spChg>
        <pc:spChg chg="add mod">
          <ac:chgData name="Kyndal Mayes" userId="142911e9-0388-46d2-be9a-eb7bc2b8ac4b" providerId="ADAL" clId="{29B3924A-0E99-426D-A9EC-E22D7BFBE5E7}" dt="2024-09-27T16:31:41.468" v="4454"/>
          <ac:spMkLst>
            <pc:docMk/>
            <pc:sldMk cId="3680074227" sldId="2147481233"/>
            <ac:spMk id="42" creationId="{9F9869AF-B0F6-4E89-B216-4EC18C7334C2}"/>
          </ac:spMkLst>
        </pc:spChg>
        <pc:spChg chg="add del mod modVis">
          <ac:chgData name="Kyndal Mayes" userId="142911e9-0388-46d2-be9a-eb7bc2b8ac4b" providerId="ADAL" clId="{29B3924A-0E99-426D-A9EC-E22D7BFBE5E7}" dt="2024-09-27T16:31:31.724" v="3520"/>
          <ac:spMkLst>
            <pc:docMk/>
            <pc:sldMk cId="3680074227" sldId="2147481233"/>
            <ac:spMk id="43" creationId="{6DDC017D-4C9C-1AF4-B2AF-44B950548960}"/>
          </ac:spMkLst>
        </pc:spChg>
        <pc:spChg chg="add mod">
          <ac:chgData name="Kyndal Mayes" userId="142911e9-0388-46d2-be9a-eb7bc2b8ac4b" providerId="ADAL" clId="{29B3924A-0E99-426D-A9EC-E22D7BFBE5E7}" dt="2024-09-27T16:31:41.469" v="4455"/>
          <ac:spMkLst>
            <pc:docMk/>
            <pc:sldMk cId="3680074227" sldId="2147481233"/>
            <ac:spMk id="46" creationId="{9F9869AF-B0F6-4E89-B216-4EC18C7334C2}"/>
          </ac:spMkLst>
        </pc:spChg>
        <pc:spChg chg="add del mod modVis">
          <ac:chgData name="Kyndal Mayes" userId="142911e9-0388-46d2-be9a-eb7bc2b8ac4b" providerId="ADAL" clId="{29B3924A-0E99-426D-A9EC-E22D7BFBE5E7}" dt="2024-09-27T16:31:34.309" v="3779"/>
          <ac:spMkLst>
            <pc:docMk/>
            <pc:sldMk cId="3680074227" sldId="2147481233"/>
            <ac:spMk id="47" creationId="{A366043C-8745-A534-E215-41993016AF05}"/>
          </ac:spMkLst>
        </pc:spChg>
        <pc:spChg chg="del mod ord">
          <ac:chgData name="Kyndal Mayes" userId="142911e9-0388-46d2-be9a-eb7bc2b8ac4b" providerId="ADAL" clId="{29B3924A-0E99-426D-A9EC-E22D7BFBE5E7}" dt="2024-09-27T16:31:20.113" v="2688"/>
          <ac:spMkLst>
            <pc:docMk/>
            <pc:sldMk cId="3680074227" sldId="2147481233"/>
            <ac:spMk id="49" creationId="{9F9869AF-B0F6-4E89-B216-4EC18C7334C2}"/>
          </ac:spMkLst>
        </pc:spChg>
        <pc:spChg chg="add mod">
          <ac:chgData name="Kyndal Mayes" userId="142911e9-0388-46d2-be9a-eb7bc2b8ac4b" providerId="ADAL" clId="{29B3924A-0E99-426D-A9EC-E22D7BFBE5E7}" dt="2024-09-27T16:31:41.471" v="4456"/>
          <ac:spMkLst>
            <pc:docMk/>
            <pc:sldMk cId="3680074227" sldId="2147481233"/>
            <ac:spMk id="51" creationId="{9F9869AF-B0F6-4E89-B216-4EC18C7334C2}"/>
          </ac:spMkLst>
        </pc:spChg>
        <pc:spChg chg="add del mod modVis">
          <ac:chgData name="Kyndal Mayes" userId="142911e9-0388-46d2-be9a-eb7bc2b8ac4b" providerId="ADAL" clId="{29B3924A-0E99-426D-A9EC-E22D7BFBE5E7}" dt="2024-09-27T16:31:36.608" v="4042"/>
          <ac:spMkLst>
            <pc:docMk/>
            <pc:sldMk cId="3680074227" sldId="2147481233"/>
            <ac:spMk id="52" creationId="{1E125D60-DA4E-78CA-653E-D2ECEEFC784A}"/>
          </ac:spMkLst>
        </pc:spChg>
        <pc:spChg chg="add mod">
          <ac:chgData name="Kyndal Mayes" userId="142911e9-0388-46d2-be9a-eb7bc2b8ac4b" providerId="ADAL" clId="{29B3924A-0E99-426D-A9EC-E22D7BFBE5E7}" dt="2024-09-27T16:31:41.472" v="4457"/>
          <ac:spMkLst>
            <pc:docMk/>
            <pc:sldMk cId="3680074227" sldId="2147481233"/>
            <ac:spMk id="55" creationId="{9F9869AF-B0F6-4E89-B216-4EC18C7334C2}"/>
          </ac:spMkLst>
        </pc:spChg>
        <pc:spChg chg="del mod ord">
          <ac:chgData name="Kyndal Mayes" userId="142911e9-0388-46d2-be9a-eb7bc2b8ac4b" providerId="ADAL" clId="{29B3924A-0E99-426D-A9EC-E22D7BFBE5E7}" dt="2024-09-27T16:31:20.099" v="2682"/>
          <ac:spMkLst>
            <pc:docMk/>
            <pc:sldMk cId="3680074227" sldId="2147481233"/>
            <ac:spMk id="56" creationId="{9F9869AF-B0F6-4E89-B216-4EC18C7334C2}"/>
          </ac:spMkLst>
        </pc:spChg>
        <pc:spChg chg="del mod ord">
          <ac:chgData name="Kyndal Mayes" userId="142911e9-0388-46d2-be9a-eb7bc2b8ac4b" providerId="ADAL" clId="{29B3924A-0E99-426D-A9EC-E22D7BFBE5E7}" dt="2024-09-27T16:31:20.109" v="2686"/>
          <ac:spMkLst>
            <pc:docMk/>
            <pc:sldMk cId="3680074227" sldId="2147481233"/>
            <ac:spMk id="57" creationId="{9F9869AF-B0F6-4E89-B216-4EC18C7334C2}"/>
          </ac:spMkLst>
        </pc:spChg>
        <pc:spChg chg="add del mod modVis">
          <ac:chgData name="Kyndal Mayes" userId="142911e9-0388-46d2-be9a-eb7bc2b8ac4b" providerId="ADAL" clId="{29B3924A-0E99-426D-A9EC-E22D7BFBE5E7}" dt="2024-09-27T16:31:38.872" v="4309"/>
          <ac:spMkLst>
            <pc:docMk/>
            <pc:sldMk cId="3680074227" sldId="2147481233"/>
            <ac:spMk id="58" creationId="{5D73DCFE-8E75-9119-16B0-6A647B78DF54}"/>
          </ac:spMkLst>
        </pc:spChg>
        <pc:spChg chg="mod">
          <ac:chgData name="Kyndal Mayes" userId="142911e9-0388-46d2-be9a-eb7bc2b8ac4b" providerId="ADAL" clId="{29B3924A-0E99-426D-A9EC-E22D7BFBE5E7}" dt="2024-09-27T16:31:41.464" v="4450"/>
          <ac:spMkLst>
            <pc:docMk/>
            <pc:sldMk cId="3680074227" sldId="2147481233"/>
            <ac:spMk id="61" creationId="{E57C70DB-E800-551C-78F9-D1544E68959D}"/>
          </ac:spMkLst>
        </pc:spChg>
        <pc:spChg chg="mod">
          <ac:chgData name="Kyndal Mayes" userId="142911e9-0388-46d2-be9a-eb7bc2b8ac4b" providerId="ADAL" clId="{29B3924A-0E99-426D-A9EC-E22D7BFBE5E7}" dt="2024-09-27T16:31:41.465" v="4451"/>
          <ac:spMkLst>
            <pc:docMk/>
            <pc:sldMk cId="3680074227" sldId="2147481233"/>
            <ac:spMk id="64" creationId="{83E23345-DB16-1A18-EE98-06445FED0876}"/>
          </ac:spMkLst>
        </pc:spChg>
        <pc:spChg chg="del mod ord">
          <ac:chgData name="Kyndal Mayes" userId="142911e9-0388-46d2-be9a-eb7bc2b8ac4b" providerId="ADAL" clId="{29B3924A-0E99-426D-A9EC-E22D7BFBE5E7}" dt="2024-09-27T16:31:20.091" v="2680"/>
          <ac:spMkLst>
            <pc:docMk/>
            <pc:sldMk cId="3680074227" sldId="2147481233"/>
            <ac:spMk id="70" creationId="{9F9869AF-B0F6-4E89-B216-4EC18C7334C2}"/>
          </ac:spMkLst>
        </pc:spChg>
        <pc:spChg chg="del mod ord">
          <ac:chgData name="Kyndal Mayes" userId="142911e9-0388-46d2-be9a-eb7bc2b8ac4b" providerId="ADAL" clId="{29B3924A-0E99-426D-A9EC-E22D7BFBE5E7}" dt="2024-09-27T16:31:20.105" v="2684"/>
          <ac:spMkLst>
            <pc:docMk/>
            <pc:sldMk cId="3680074227" sldId="2147481233"/>
            <ac:spMk id="71" creationId="{9F9869AF-B0F6-4E89-B216-4EC18C7334C2}"/>
          </ac:spMkLst>
        </pc:spChg>
        <pc:spChg chg="mod">
          <ac:chgData name="Kyndal Mayes" userId="142911e9-0388-46d2-be9a-eb7bc2b8ac4b" providerId="ADAL" clId="{29B3924A-0E99-426D-A9EC-E22D7BFBE5E7}" dt="2024-09-27T16:31:41.493" v="4484"/>
          <ac:spMkLst>
            <pc:docMk/>
            <pc:sldMk cId="3680074227" sldId="2147481233"/>
            <ac:spMk id="81" creationId="{9F9869AF-B0F6-4E89-B216-4EC18C7334C2}"/>
          </ac:spMkLst>
        </pc:spChg>
        <pc:spChg chg="mod">
          <ac:chgData name="Kyndal Mayes" userId="142911e9-0388-46d2-be9a-eb7bc2b8ac4b" providerId="ADAL" clId="{29B3924A-0E99-426D-A9EC-E22D7BFBE5E7}" dt="2024-09-27T16:31:41.497" v="4485"/>
          <ac:spMkLst>
            <pc:docMk/>
            <pc:sldMk cId="3680074227" sldId="2147481233"/>
            <ac:spMk id="83" creationId="{9F9869AF-B0F6-4E89-B216-4EC18C7334C2}"/>
          </ac:spMkLst>
        </pc:spChg>
        <pc:spChg chg="mod ord">
          <ac:chgData name="Kyndal Mayes" userId="142911e9-0388-46d2-be9a-eb7bc2b8ac4b" providerId="ADAL" clId="{29B3924A-0E99-426D-A9EC-E22D7BFBE5E7}" dt="2024-09-27T16:31:41.491" v="4481"/>
          <ac:spMkLst>
            <pc:docMk/>
            <pc:sldMk cId="3680074227" sldId="2147481233"/>
            <ac:spMk id="85" creationId="{434F9C94-593D-6B7B-38B5-B7AD2CB409C8}"/>
          </ac:spMkLst>
        </pc:spChg>
        <pc:spChg chg="mod ord">
          <ac:chgData name="Kyndal Mayes" userId="142911e9-0388-46d2-be9a-eb7bc2b8ac4b" providerId="ADAL" clId="{29B3924A-0E99-426D-A9EC-E22D7BFBE5E7}" dt="2024-09-27T16:31:41.492" v="4483"/>
          <ac:spMkLst>
            <pc:docMk/>
            <pc:sldMk cId="3680074227" sldId="2147481233"/>
            <ac:spMk id="86" creationId="{86D28794-08D8-8600-947F-193748006FEE}"/>
          </ac:spMkLst>
        </pc:spChg>
        <pc:spChg chg="del mod">
          <ac:chgData name="Kyndal Mayes" userId="142911e9-0388-46d2-be9a-eb7bc2b8ac4b" providerId="ADAL" clId="{29B3924A-0E99-426D-A9EC-E22D7BFBE5E7}" dt="2024-09-27T16:30:45.916" v="2549"/>
          <ac:spMkLst>
            <pc:docMk/>
            <pc:sldMk cId="3680074227" sldId="2147481233"/>
            <ac:spMk id="157" creationId="{9F9869AF-B0F6-4E89-B216-4EC18C7334C2}"/>
          </ac:spMkLst>
        </pc:spChg>
        <pc:spChg chg="del mod">
          <ac:chgData name="Kyndal Mayes" userId="142911e9-0388-46d2-be9a-eb7bc2b8ac4b" providerId="ADAL" clId="{29B3924A-0E99-426D-A9EC-E22D7BFBE5E7}" dt="2024-09-27T16:30:45.919" v="2550"/>
          <ac:spMkLst>
            <pc:docMk/>
            <pc:sldMk cId="3680074227" sldId="2147481233"/>
            <ac:spMk id="158" creationId="{9F9869AF-B0F6-4E89-B216-4EC18C7334C2}"/>
          </ac:spMkLst>
        </pc:spChg>
        <pc:spChg chg="del mod">
          <ac:chgData name="Kyndal Mayes" userId="142911e9-0388-46d2-be9a-eb7bc2b8ac4b" providerId="ADAL" clId="{29B3924A-0E99-426D-A9EC-E22D7BFBE5E7}" dt="2024-09-27T16:30:45.915" v="2548"/>
          <ac:spMkLst>
            <pc:docMk/>
            <pc:sldMk cId="3680074227" sldId="2147481233"/>
            <ac:spMk id="159" creationId="{9F9869AF-B0F6-4E89-B216-4EC18C7334C2}"/>
          </ac:spMkLst>
        </pc:spChg>
        <pc:spChg chg="del mod">
          <ac:chgData name="Kyndal Mayes" userId="142911e9-0388-46d2-be9a-eb7bc2b8ac4b" providerId="ADAL" clId="{29B3924A-0E99-426D-A9EC-E22D7BFBE5E7}" dt="2024-09-27T16:30:45.913" v="2547"/>
          <ac:spMkLst>
            <pc:docMk/>
            <pc:sldMk cId="3680074227" sldId="2147481233"/>
            <ac:spMk id="160" creationId="{9F9869AF-B0F6-4E89-B216-4EC18C7334C2}"/>
          </ac:spMkLst>
        </pc:spChg>
        <pc:spChg chg="mod ord">
          <ac:chgData name="Kyndal Mayes" userId="142911e9-0388-46d2-be9a-eb7bc2b8ac4b" providerId="ADAL" clId="{29B3924A-0E99-426D-A9EC-E22D7BFBE5E7}" dt="2024-09-27T16:31:54.561" v="4515" actId="13926"/>
          <ac:spMkLst>
            <pc:docMk/>
            <pc:sldMk cId="3680074227" sldId="2147481233"/>
            <ac:spMk id="175" creationId="{F62E693E-1D2C-82F1-C198-335C51D9875D}"/>
          </ac:spMkLst>
        </pc:spChg>
        <pc:graphicFrameChg chg="mod">
          <ac:chgData name="Kyndal Mayes" userId="142911e9-0388-46d2-be9a-eb7bc2b8ac4b" providerId="ADAL" clId="{29B3924A-0E99-426D-A9EC-E22D7BFBE5E7}" dt="2024-09-27T16:31:41.521" v="4509"/>
          <ac:graphicFrameMkLst>
            <pc:docMk/>
            <pc:sldMk cId="3680074227" sldId="2147481233"/>
            <ac:graphicFrameMk id="7" creationId="{00000000-0000-0000-0000-000000000000}"/>
          </ac:graphicFrameMkLst>
        </pc:graphicFrameChg>
        <pc:graphicFrameChg chg="mod ord modGraphic">
          <ac:chgData name="Kyndal Mayes" userId="142911e9-0388-46d2-be9a-eb7bc2b8ac4b" providerId="ADAL" clId="{29B3924A-0E99-426D-A9EC-E22D7BFBE5E7}" dt="2024-09-27T16:31:41.447" v="4436"/>
          <ac:graphicFrameMkLst>
            <pc:docMk/>
            <pc:sldMk cId="3680074227" sldId="2147481233"/>
            <ac:graphicFrameMk id="9" creationId="{3123EFC3-86AA-4AC9-BFEB-F34E5A0D555D}"/>
          </ac:graphicFrameMkLst>
        </pc:graphicFrameChg>
        <pc:graphicFrameChg chg="add del mod ord">
          <ac:chgData name="Kyndal Mayes" userId="142911e9-0388-46d2-be9a-eb7bc2b8ac4b" providerId="ADAL" clId="{29B3924A-0E99-426D-A9EC-E22D7BFBE5E7}" dt="2024-09-27T16:30:43.363" v="2455"/>
          <ac:graphicFrameMkLst>
            <pc:docMk/>
            <pc:sldMk cId="3680074227" sldId="2147481233"/>
            <ac:graphicFrameMk id="14" creationId="{AECA342E-DFE7-0998-9D01-B97DBBAA7565}"/>
          </ac:graphicFrameMkLst>
        </pc:graphicFrameChg>
        <pc:graphicFrameChg chg="add del mod ord">
          <ac:chgData name="Kyndal Mayes" userId="142911e9-0388-46d2-be9a-eb7bc2b8ac4b" providerId="ADAL" clId="{29B3924A-0E99-426D-A9EC-E22D7BFBE5E7}" dt="2024-09-27T16:30:45.987" v="2564"/>
          <ac:graphicFrameMkLst>
            <pc:docMk/>
            <pc:sldMk cId="3680074227" sldId="2147481233"/>
            <ac:graphicFrameMk id="18" creationId="{AF722914-749C-190C-7638-737B6F5CCB26}"/>
          </ac:graphicFrameMkLst>
        </pc:graphicFrameChg>
        <pc:graphicFrameChg chg="add del mod ord">
          <ac:chgData name="Kyndal Mayes" userId="142911e9-0388-46d2-be9a-eb7bc2b8ac4b" providerId="ADAL" clId="{29B3924A-0E99-426D-A9EC-E22D7BFBE5E7}" dt="2024-09-27T16:31:20.120" v="2690"/>
          <ac:graphicFrameMkLst>
            <pc:docMk/>
            <pc:sldMk cId="3680074227" sldId="2147481233"/>
            <ac:graphicFrameMk id="20" creationId="{059AF9A6-28FA-B336-ED1B-9EE49B8086F3}"/>
          </ac:graphicFrameMkLst>
        </pc:graphicFrameChg>
        <pc:graphicFrameChg chg="add del mod ord">
          <ac:chgData name="Kyndal Mayes" userId="142911e9-0388-46d2-be9a-eb7bc2b8ac4b" providerId="ADAL" clId="{29B3924A-0E99-426D-A9EC-E22D7BFBE5E7}" dt="2024-09-27T16:31:24.738" v="2845"/>
          <ac:graphicFrameMkLst>
            <pc:docMk/>
            <pc:sldMk cId="3680074227" sldId="2147481233"/>
            <ac:graphicFrameMk id="29" creationId="{0992C193-698D-0122-91A8-0CD16FBDBF78}"/>
          </ac:graphicFrameMkLst>
        </pc:graphicFrameChg>
        <pc:graphicFrameChg chg="add del mod ord">
          <ac:chgData name="Kyndal Mayes" userId="142911e9-0388-46d2-be9a-eb7bc2b8ac4b" providerId="ADAL" clId="{29B3924A-0E99-426D-A9EC-E22D7BFBE5E7}" dt="2024-09-27T16:31:26.998" v="2938"/>
          <ac:graphicFrameMkLst>
            <pc:docMk/>
            <pc:sldMk cId="3680074227" sldId="2147481233"/>
            <ac:graphicFrameMk id="32" creationId="{CC458A41-D6C6-1FB9-D5AB-3BBFA98EDEA2}"/>
          </ac:graphicFrameMkLst>
        </pc:graphicFrameChg>
        <pc:graphicFrameChg chg="add del mod ord">
          <ac:chgData name="Kyndal Mayes" userId="142911e9-0388-46d2-be9a-eb7bc2b8ac4b" providerId="ADAL" clId="{29B3924A-0E99-426D-A9EC-E22D7BFBE5E7}" dt="2024-09-27T16:31:28.270" v="3095"/>
          <ac:graphicFrameMkLst>
            <pc:docMk/>
            <pc:sldMk cId="3680074227" sldId="2147481233"/>
            <ac:graphicFrameMk id="33" creationId="{0AFCB03A-2B9A-0807-C475-1D58124E4403}"/>
          </ac:graphicFrameMkLst>
        </pc:graphicFrameChg>
        <pc:graphicFrameChg chg="add del mod ord">
          <ac:chgData name="Kyndal Mayes" userId="142911e9-0388-46d2-be9a-eb7bc2b8ac4b" providerId="ADAL" clId="{29B3924A-0E99-426D-A9EC-E22D7BFBE5E7}" dt="2024-09-27T16:31:28.943" v="3189"/>
          <ac:graphicFrameMkLst>
            <pc:docMk/>
            <pc:sldMk cId="3680074227" sldId="2147481233"/>
            <ac:graphicFrameMk id="37" creationId="{271C414F-30BC-61A9-E262-F7FC94D14FD9}"/>
          </ac:graphicFrameMkLst>
        </pc:graphicFrameChg>
        <pc:graphicFrameChg chg="add del mod ord">
          <ac:chgData name="Kyndal Mayes" userId="142911e9-0388-46d2-be9a-eb7bc2b8ac4b" providerId="ADAL" clId="{29B3924A-0E99-426D-A9EC-E22D7BFBE5E7}" dt="2024-09-27T16:31:29.891" v="3281"/>
          <ac:graphicFrameMkLst>
            <pc:docMk/>
            <pc:sldMk cId="3680074227" sldId="2147481233"/>
            <ac:graphicFrameMk id="39" creationId="{5C463E6E-6DAF-3C72-6FF6-129D5F8C167B}"/>
          </ac:graphicFrameMkLst>
        </pc:graphicFrameChg>
        <pc:graphicFrameChg chg="add del mod ord">
          <ac:chgData name="Kyndal Mayes" userId="142911e9-0388-46d2-be9a-eb7bc2b8ac4b" providerId="ADAL" clId="{29B3924A-0E99-426D-A9EC-E22D7BFBE5E7}" dt="2024-09-27T16:31:31.521" v="3440"/>
          <ac:graphicFrameMkLst>
            <pc:docMk/>
            <pc:sldMk cId="3680074227" sldId="2147481233"/>
            <ac:graphicFrameMk id="40" creationId="{9423ADFF-C5E3-1EBB-97DC-E0B9753136E7}"/>
          </ac:graphicFrameMkLst>
        </pc:graphicFrameChg>
        <pc:graphicFrameChg chg="add del mod ord">
          <ac:chgData name="Kyndal Mayes" userId="142911e9-0388-46d2-be9a-eb7bc2b8ac4b" providerId="ADAL" clId="{29B3924A-0E99-426D-A9EC-E22D7BFBE5E7}" dt="2024-09-27T16:31:32.738" v="3537"/>
          <ac:graphicFrameMkLst>
            <pc:docMk/>
            <pc:sldMk cId="3680074227" sldId="2147481233"/>
            <ac:graphicFrameMk id="44" creationId="{2E17B088-2392-E04F-6323-37D737C8E2D3}"/>
          </ac:graphicFrameMkLst>
        </pc:graphicFrameChg>
        <pc:graphicFrameChg chg="add del mod ord">
          <ac:chgData name="Kyndal Mayes" userId="142911e9-0388-46d2-be9a-eb7bc2b8ac4b" providerId="ADAL" clId="{29B3924A-0E99-426D-A9EC-E22D7BFBE5E7}" dt="2024-09-27T16:31:34.155" v="3698"/>
          <ac:graphicFrameMkLst>
            <pc:docMk/>
            <pc:sldMk cId="3680074227" sldId="2147481233"/>
            <ac:graphicFrameMk id="45" creationId="{06B1E660-7517-807F-9C89-9E1976726B81}"/>
          </ac:graphicFrameMkLst>
        </pc:graphicFrameChg>
        <pc:graphicFrameChg chg="add del mod ord">
          <ac:chgData name="Kyndal Mayes" userId="142911e9-0388-46d2-be9a-eb7bc2b8ac4b" providerId="ADAL" clId="{29B3924A-0E99-426D-A9EC-E22D7BFBE5E7}" dt="2024-09-27T16:31:35.384" v="3797"/>
          <ac:graphicFrameMkLst>
            <pc:docMk/>
            <pc:sldMk cId="3680074227" sldId="2147481233"/>
            <ac:graphicFrameMk id="48" creationId="{96D6BAF8-EECF-8A78-D74F-127DAD26FC6C}"/>
          </ac:graphicFrameMkLst>
        </pc:graphicFrameChg>
        <pc:graphicFrameChg chg="add del mod ord">
          <ac:chgData name="Kyndal Mayes" userId="142911e9-0388-46d2-be9a-eb7bc2b8ac4b" providerId="ADAL" clId="{29B3924A-0E99-426D-A9EC-E22D7BFBE5E7}" dt="2024-09-27T16:31:36.480" v="3960"/>
          <ac:graphicFrameMkLst>
            <pc:docMk/>
            <pc:sldMk cId="3680074227" sldId="2147481233"/>
            <ac:graphicFrameMk id="50" creationId="{AE93B465-F461-838D-1620-61AE9F7FA6FA}"/>
          </ac:graphicFrameMkLst>
        </pc:graphicFrameChg>
        <pc:graphicFrameChg chg="add del mod ord">
          <ac:chgData name="Kyndal Mayes" userId="142911e9-0388-46d2-be9a-eb7bc2b8ac4b" providerId="ADAL" clId="{29B3924A-0E99-426D-A9EC-E22D7BFBE5E7}" dt="2024-09-27T16:31:37.645" v="4061"/>
          <ac:graphicFrameMkLst>
            <pc:docMk/>
            <pc:sldMk cId="3680074227" sldId="2147481233"/>
            <ac:graphicFrameMk id="53" creationId="{761057BE-A418-2B97-F40A-5139C231CF17}"/>
          </ac:graphicFrameMkLst>
        </pc:graphicFrameChg>
        <pc:graphicFrameChg chg="add del mod ord">
          <ac:chgData name="Kyndal Mayes" userId="142911e9-0388-46d2-be9a-eb7bc2b8ac4b" providerId="ADAL" clId="{29B3924A-0E99-426D-A9EC-E22D7BFBE5E7}" dt="2024-09-27T16:31:38.723" v="4226"/>
          <ac:graphicFrameMkLst>
            <pc:docMk/>
            <pc:sldMk cId="3680074227" sldId="2147481233"/>
            <ac:graphicFrameMk id="54" creationId="{5867A742-2FB6-8645-EDBA-8B0A43BF2EFC}"/>
          </ac:graphicFrameMkLst>
        </pc:graphicFrameChg>
        <pc:graphicFrameChg chg="add del mod ord">
          <ac:chgData name="Kyndal Mayes" userId="142911e9-0388-46d2-be9a-eb7bc2b8ac4b" providerId="ADAL" clId="{29B3924A-0E99-426D-A9EC-E22D7BFBE5E7}" dt="2024-09-27T16:31:39.620" v="4329"/>
          <ac:graphicFrameMkLst>
            <pc:docMk/>
            <pc:sldMk cId="3680074227" sldId="2147481233"/>
            <ac:graphicFrameMk id="59" creationId="{E0E8A9A7-C106-DBED-915C-BB656325066A}"/>
          </ac:graphicFrameMkLst>
        </pc:graphicFrameChg>
        <pc:graphicFrameChg chg="add del mod ord">
          <ac:chgData name="Kyndal Mayes" userId="142911e9-0388-46d2-be9a-eb7bc2b8ac4b" providerId="ADAL" clId="{29B3924A-0E99-426D-A9EC-E22D7BFBE5E7}" dt="2024-09-27T16:31:41.318" v="4426"/>
          <ac:graphicFrameMkLst>
            <pc:docMk/>
            <pc:sldMk cId="3680074227" sldId="2147481233"/>
            <ac:graphicFrameMk id="60" creationId="{48A52C19-40A4-7705-2B91-D1C5CEA2264B}"/>
          </ac:graphicFrameMkLst>
        </pc:graphicFrameChg>
        <pc:graphicFrameChg chg="add mod ord">
          <ac:chgData name="Kyndal Mayes" userId="142911e9-0388-46d2-be9a-eb7bc2b8ac4b" providerId="ADAL" clId="{29B3924A-0E99-426D-A9EC-E22D7BFBE5E7}" dt="2024-09-27T16:31:41.459" v="4448"/>
          <ac:graphicFrameMkLst>
            <pc:docMk/>
            <pc:sldMk cId="3680074227" sldId="2147481233"/>
            <ac:graphicFrameMk id="62" creationId="{F80B1695-CD65-1EB7-BB1F-F81CA47C5AC2}"/>
          </ac:graphicFrameMkLst>
        </pc:graphicFrameChg>
        <pc:graphicFrameChg chg="del">
          <ac:chgData name="Kyndal Mayes" userId="142911e9-0388-46d2-be9a-eb7bc2b8ac4b" providerId="ADAL" clId="{29B3924A-0E99-426D-A9EC-E22D7BFBE5E7}" dt="2024-09-27T16:30:41.473" v="2319"/>
          <ac:graphicFrameMkLst>
            <pc:docMk/>
            <pc:sldMk cId="3680074227" sldId="2147481233"/>
            <ac:graphicFrameMk id="72" creationId="{503E45B7-7E16-33A9-184C-1F17822DF122}"/>
          </ac:graphicFrameMkLst>
        </pc:graphicFrameChg>
        <pc:picChg chg="mod ord">
          <ac:chgData name="Kyndal Mayes" userId="142911e9-0388-46d2-be9a-eb7bc2b8ac4b" providerId="ADAL" clId="{29B3924A-0E99-426D-A9EC-E22D7BFBE5E7}" dt="2024-09-27T16:31:41.516" v="4505"/>
          <ac:picMkLst>
            <pc:docMk/>
            <pc:sldMk cId="3680074227" sldId="2147481233"/>
            <ac:picMk id="2" creationId="{B3736A1C-FC87-ECFC-9952-8EA013D671DD}"/>
          </ac:picMkLst>
        </pc:picChg>
        <pc:picChg chg="mod ord">
          <ac:chgData name="Kyndal Mayes" userId="142911e9-0388-46d2-be9a-eb7bc2b8ac4b" providerId="ADAL" clId="{29B3924A-0E99-426D-A9EC-E22D7BFBE5E7}" dt="2024-09-27T16:31:41.482" v="4471"/>
          <ac:picMkLst>
            <pc:docMk/>
            <pc:sldMk cId="3680074227" sldId="2147481233"/>
            <ac:picMk id="13" creationId="{0B866E6E-D0E6-392C-0EDA-431B2CB36221}"/>
          </ac:picMkLst>
        </pc:picChg>
        <pc:picChg chg="mod">
          <ac:chgData name="Kyndal Mayes" userId="142911e9-0388-46d2-be9a-eb7bc2b8ac4b" providerId="ADAL" clId="{29B3924A-0E99-426D-A9EC-E22D7BFBE5E7}" dt="2024-09-27T16:31:41.483" v="4472"/>
          <ac:picMkLst>
            <pc:docMk/>
            <pc:sldMk cId="3680074227" sldId="2147481233"/>
            <ac:picMk id="19" creationId="{DDC76E39-1CE0-3B1C-3714-7679AD8521C4}"/>
          </ac:picMkLst>
        </pc:picChg>
        <pc:picChg chg="mod">
          <ac:chgData name="Kyndal Mayes" userId="142911e9-0388-46d2-be9a-eb7bc2b8ac4b" providerId="ADAL" clId="{29B3924A-0E99-426D-A9EC-E22D7BFBE5E7}" dt="2024-09-27T16:31:41.484" v="4473"/>
          <ac:picMkLst>
            <pc:docMk/>
            <pc:sldMk cId="3680074227" sldId="2147481233"/>
            <ac:picMk id="22" creationId="{8AD16FDB-2A57-46F3-232A-29850A65A5E6}"/>
          </ac:picMkLst>
        </pc:picChg>
        <pc:picChg chg="mod ord">
          <ac:chgData name="Kyndal Mayes" userId="142911e9-0388-46d2-be9a-eb7bc2b8ac4b" providerId="ADAL" clId="{29B3924A-0E99-426D-A9EC-E22D7BFBE5E7}" dt="2024-09-27T16:31:41.486" v="4475"/>
          <ac:picMkLst>
            <pc:docMk/>
            <pc:sldMk cId="3680074227" sldId="2147481233"/>
            <ac:picMk id="23" creationId="{315C5DBE-2535-BCBC-8E8D-DD96CC2F5C87}"/>
          </ac:picMkLst>
        </pc:picChg>
        <pc:picChg chg="mod ord">
          <ac:chgData name="Kyndal Mayes" userId="142911e9-0388-46d2-be9a-eb7bc2b8ac4b" providerId="ADAL" clId="{29B3924A-0E99-426D-A9EC-E22D7BFBE5E7}" dt="2024-09-27T16:31:41.503" v="4491"/>
          <ac:picMkLst>
            <pc:docMk/>
            <pc:sldMk cId="3680074227" sldId="2147481233"/>
            <ac:picMk id="24" creationId="{096F8C33-46CE-2030-BCD4-3D3D5B6136BE}"/>
          </ac:picMkLst>
        </pc:picChg>
        <pc:picChg chg="mod ord">
          <ac:chgData name="Kyndal Mayes" userId="142911e9-0388-46d2-be9a-eb7bc2b8ac4b" providerId="ADAL" clId="{29B3924A-0E99-426D-A9EC-E22D7BFBE5E7}" dt="2024-09-27T16:31:41.508" v="4497"/>
          <ac:picMkLst>
            <pc:docMk/>
            <pc:sldMk cId="3680074227" sldId="2147481233"/>
            <ac:picMk id="25" creationId="{3B4D8176-2FDC-B6BB-BB2F-4655AC22EEBC}"/>
          </ac:picMkLst>
        </pc:picChg>
        <pc:picChg chg="mod ord">
          <ac:chgData name="Kyndal Mayes" userId="142911e9-0388-46d2-be9a-eb7bc2b8ac4b" providerId="ADAL" clId="{29B3924A-0E99-426D-A9EC-E22D7BFBE5E7}" dt="2024-09-27T16:31:41.509" v="4499"/>
          <ac:picMkLst>
            <pc:docMk/>
            <pc:sldMk cId="3680074227" sldId="2147481233"/>
            <ac:picMk id="26" creationId="{0C8CD6AD-6DA9-DFC7-DDF3-831B00BFB89E}"/>
          </ac:picMkLst>
        </pc:picChg>
        <pc:picChg chg="mod ord">
          <ac:chgData name="Kyndal Mayes" userId="142911e9-0388-46d2-be9a-eb7bc2b8ac4b" providerId="ADAL" clId="{29B3924A-0E99-426D-A9EC-E22D7BFBE5E7}" dt="2024-09-27T16:31:41.512" v="4501"/>
          <ac:picMkLst>
            <pc:docMk/>
            <pc:sldMk cId="3680074227" sldId="2147481233"/>
            <ac:picMk id="28" creationId="{3912891A-9C12-4BA8-EB5E-83E381260FD1}"/>
          </ac:picMkLst>
        </pc:picChg>
        <pc:picChg chg="mod ord">
          <ac:chgData name="Kyndal Mayes" userId="142911e9-0388-46d2-be9a-eb7bc2b8ac4b" providerId="ADAL" clId="{29B3924A-0E99-426D-A9EC-E22D7BFBE5E7}" dt="2024-09-27T16:31:41.488" v="4477"/>
          <ac:picMkLst>
            <pc:docMk/>
            <pc:sldMk cId="3680074227" sldId="2147481233"/>
            <ac:picMk id="36" creationId="{D8E0B9A4-873F-3DCE-547E-00443AD2971C}"/>
          </ac:picMkLst>
        </pc:picChg>
        <pc:picChg chg="mod ord">
          <ac:chgData name="Kyndal Mayes" userId="142911e9-0388-46d2-be9a-eb7bc2b8ac4b" providerId="ADAL" clId="{29B3924A-0E99-426D-A9EC-E22D7BFBE5E7}" dt="2024-09-27T16:31:41.490" v="4479"/>
          <ac:picMkLst>
            <pc:docMk/>
            <pc:sldMk cId="3680074227" sldId="2147481233"/>
            <ac:picMk id="38" creationId="{497645C4-929B-CB8F-1D03-27B4585D2B36}"/>
          </ac:picMkLst>
        </pc:picChg>
        <pc:picChg chg="mod ord">
          <ac:chgData name="Kyndal Mayes" userId="142911e9-0388-46d2-be9a-eb7bc2b8ac4b" providerId="ADAL" clId="{29B3924A-0E99-426D-A9EC-E22D7BFBE5E7}" dt="2024-09-27T16:31:41.504" v="4493"/>
          <ac:picMkLst>
            <pc:docMk/>
            <pc:sldMk cId="3680074227" sldId="2147481233"/>
            <ac:picMk id="87" creationId="{9333A4B0-1E79-36E6-3521-B95BA4A5B0A0}"/>
          </ac:picMkLst>
        </pc:picChg>
        <pc:picChg chg="mod ord">
          <ac:chgData name="Kyndal Mayes" userId="142911e9-0388-46d2-be9a-eb7bc2b8ac4b" providerId="ADAL" clId="{29B3924A-0E99-426D-A9EC-E22D7BFBE5E7}" dt="2024-09-27T16:31:41.506" v="4495"/>
          <ac:picMkLst>
            <pc:docMk/>
            <pc:sldMk cId="3680074227" sldId="2147481233"/>
            <ac:picMk id="88" creationId="{E4E57811-E038-BECB-6723-0F6B62DA2498}"/>
          </ac:picMkLst>
        </pc:picChg>
        <pc:picChg chg="mod ord">
          <ac:chgData name="Kyndal Mayes" userId="142911e9-0388-46d2-be9a-eb7bc2b8ac4b" providerId="ADAL" clId="{29B3924A-0E99-426D-A9EC-E22D7BFBE5E7}" dt="2024-09-27T16:31:41.475" v="4461"/>
          <ac:picMkLst>
            <pc:docMk/>
            <pc:sldMk cId="3680074227" sldId="2147481233"/>
            <ac:picMk id="90" creationId="{59FFDB02-BD69-C5B7-86E0-843E8FCE687D}"/>
          </ac:picMkLst>
        </pc:picChg>
        <pc:picChg chg="mod ord">
          <ac:chgData name="Kyndal Mayes" userId="142911e9-0388-46d2-be9a-eb7bc2b8ac4b" providerId="ADAL" clId="{29B3924A-0E99-426D-A9EC-E22D7BFBE5E7}" dt="2024-09-27T16:31:41.477" v="4463"/>
          <ac:picMkLst>
            <pc:docMk/>
            <pc:sldMk cId="3680074227" sldId="2147481233"/>
            <ac:picMk id="93" creationId="{F313332D-D4CB-17B1-05AC-9AC7658FFBA8}"/>
          </ac:picMkLst>
        </pc:picChg>
        <pc:picChg chg="mod ord">
          <ac:chgData name="Kyndal Mayes" userId="142911e9-0388-46d2-be9a-eb7bc2b8ac4b" providerId="ADAL" clId="{29B3924A-0E99-426D-A9EC-E22D7BFBE5E7}" dt="2024-09-27T16:31:41.478" v="4465"/>
          <ac:picMkLst>
            <pc:docMk/>
            <pc:sldMk cId="3680074227" sldId="2147481233"/>
            <ac:picMk id="150" creationId="{7D9C653E-05CD-A511-ECE2-C74D4B932EB3}"/>
          </ac:picMkLst>
        </pc:picChg>
        <pc:picChg chg="mod ord">
          <ac:chgData name="Kyndal Mayes" userId="142911e9-0388-46d2-be9a-eb7bc2b8ac4b" providerId="ADAL" clId="{29B3924A-0E99-426D-A9EC-E22D7BFBE5E7}" dt="2024-09-27T16:31:41.480" v="4467"/>
          <ac:picMkLst>
            <pc:docMk/>
            <pc:sldMk cId="3680074227" sldId="2147481233"/>
            <ac:picMk id="165" creationId="{16B35B44-5A23-4227-3AE8-40B0EEF7AA78}"/>
          </ac:picMkLst>
        </pc:picChg>
        <pc:picChg chg="mod ord">
          <ac:chgData name="Kyndal Mayes" userId="142911e9-0388-46d2-be9a-eb7bc2b8ac4b" providerId="ADAL" clId="{29B3924A-0E99-426D-A9EC-E22D7BFBE5E7}" dt="2024-09-27T16:31:41.481" v="4469"/>
          <ac:picMkLst>
            <pc:docMk/>
            <pc:sldMk cId="3680074227" sldId="2147481233"/>
            <ac:picMk id="167" creationId="{0B9EE277-0846-9ED0-9951-C915524008CC}"/>
          </ac:picMkLst>
        </pc:picChg>
        <pc:picChg chg="mod">
          <ac:chgData name="Kyndal Mayes" userId="142911e9-0388-46d2-be9a-eb7bc2b8ac4b" providerId="ADAL" clId="{29B3924A-0E99-426D-A9EC-E22D7BFBE5E7}" dt="2024-09-27T16:31:41.500" v="4488"/>
          <ac:picMkLst>
            <pc:docMk/>
            <pc:sldMk cId="3680074227" sldId="2147481233"/>
            <ac:picMk id="177" creationId="{ADE14421-6563-BF28-A8B1-8BD40C404B81}"/>
          </ac:picMkLst>
        </pc:picChg>
        <pc:picChg chg="mod">
          <ac:chgData name="Kyndal Mayes" userId="142911e9-0388-46d2-be9a-eb7bc2b8ac4b" providerId="ADAL" clId="{29B3924A-0E99-426D-A9EC-E22D7BFBE5E7}" dt="2024-09-27T16:31:41.501" v="4489"/>
          <ac:picMkLst>
            <pc:docMk/>
            <pc:sldMk cId="3680074227" sldId="2147481233"/>
            <ac:picMk id="183" creationId="{ADB05200-D404-A97A-709E-BC258BB75508}"/>
          </ac:picMkLst>
        </pc:picChg>
        <pc:cxnChg chg="mod">
          <ac:chgData name="Kyndal Mayes" userId="142911e9-0388-46d2-be9a-eb7bc2b8ac4b" providerId="ADAL" clId="{29B3924A-0E99-426D-A9EC-E22D7BFBE5E7}" dt="2024-09-27T16:31:41.443" v="4432"/>
          <ac:cxnSpMkLst>
            <pc:docMk/>
            <pc:sldMk cId="3680074227" sldId="2147481233"/>
            <ac:cxnSpMk id="4" creationId="{EBEEF9D8-0267-DEF7-A3A7-2F62FF117109}"/>
          </ac:cxnSpMkLst>
        </pc:cxnChg>
        <pc:cxnChg chg="add mod ord">
          <ac:chgData name="Kyndal Mayes" userId="142911e9-0388-46d2-be9a-eb7bc2b8ac4b" providerId="ADAL" clId="{29B3924A-0E99-426D-A9EC-E22D7BFBE5E7}" dt="2024-09-27T16:31:41.456" v="4446"/>
          <ac:cxnSpMkLst>
            <pc:docMk/>
            <pc:sldMk cId="3680074227" sldId="2147481233"/>
            <ac:cxnSpMk id="27" creationId="{28A75AC8-A100-741B-16B1-67C4A1840983}"/>
          </ac:cxnSpMkLst>
        </pc:cxnChg>
      </pc:sldChg>
      <pc:sldChg chg="modSp mod">
        <pc:chgData name="Kyndal Mayes" userId="142911e9-0388-46d2-be9a-eb7bc2b8ac4b" providerId="ADAL" clId="{29B3924A-0E99-426D-A9EC-E22D7BFBE5E7}" dt="2024-09-27T16:11:20.313" v="73" actId="13926"/>
        <pc:sldMkLst>
          <pc:docMk/>
          <pc:sldMk cId="1989000855" sldId="2147481254"/>
        </pc:sldMkLst>
        <pc:spChg chg="mod">
          <ac:chgData name="Kyndal Mayes" userId="142911e9-0388-46d2-be9a-eb7bc2b8ac4b" providerId="ADAL" clId="{29B3924A-0E99-426D-A9EC-E22D7BFBE5E7}" dt="2024-09-27T16:06:55.054" v="34" actId="13926"/>
          <ac:spMkLst>
            <pc:docMk/>
            <pc:sldMk cId="1989000855" sldId="2147481254"/>
            <ac:spMk id="2" creationId="{38C0A228-CA31-B5FE-853E-24ACBB95F412}"/>
          </ac:spMkLst>
        </pc:spChg>
        <pc:spChg chg="mod">
          <ac:chgData name="Kyndal Mayes" userId="142911e9-0388-46d2-be9a-eb7bc2b8ac4b" providerId="ADAL" clId="{29B3924A-0E99-426D-A9EC-E22D7BFBE5E7}" dt="2024-09-27T16:11:20.313" v="73" actId="13926"/>
          <ac:spMkLst>
            <pc:docMk/>
            <pc:sldMk cId="1989000855" sldId="2147481254"/>
            <ac:spMk id="3" creationId="{525CF360-6DF9-A054-902B-747216A8092B}"/>
          </ac:spMkLst>
        </pc:spChg>
      </pc:sldChg>
      <pc:sldChg chg="addSp delSp modSp mod">
        <pc:chgData name="Kyndal Mayes" userId="142911e9-0388-46d2-be9a-eb7bc2b8ac4b" providerId="ADAL" clId="{29B3924A-0E99-426D-A9EC-E22D7BFBE5E7}" dt="2024-09-27T19:37:17.215" v="81700" actId="14100"/>
        <pc:sldMkLst>
          <pc:docMk/>
          <pc:sldMk cId="2807376235" sldId="2147481263"/>
        </pc:sldMkLst>
        <pc:spChg chg="mod ord">
          <ac:chgData name="Kyndal Mayes" userId="142911e9-0388-46d2-be9a-eb7bc2b8ac4b" providerId="ADAL" clId="{29B3924A-0E99-426D-A9EC-E22D7BFBE5E7}" dt="2024-09-27T17:52:20.815" v="81583"/>
          <ac:spMkLst>
            <pc:docMk/>
            <pc:sldMk cId="2807376235" sldId="2147481263"/>
            <ac:spMk id="2" creationId="{DD61AC4A-D8D6-EB80-E57E-4D3DB0A4B662}"/>
          </ac:spMkLst>
        </pc:spChg>
        <pc:spChg chg="mod ord">
          <ac:chgData name="Kyndal Mayes" userId="142911e9-0388-46d2-be9a-eb7bc2b8ac4b" providerId="ADAL" clId="{29B3924A-0E99-426D-A9EC-E22D7BFBE5E7}" dt="2024-09-27T17:52:20.768" v="81436"/>
          <ac:spMkLst>
            <pc:docMk/>
            <pc:sldMk cId="2807376235" sldId="2147481263"/>
            <ac:spMk id="3" creationId="{557B0943-DD3D-0B08-EC0E-F0B1D4269B68}"/>
          </ac:spMkLst>
        </pc:spChg>
        <pc:spChg chg="mod ord">
          <ac:chgData name="Kyndal Mayes" userId="142911e9-0388-46d2-be9a-eb7bc2b8ac4b" providerId="ADAL" clId="{29B3924A-0E99-426D-A9EC-E22D7BFBE5E7}" dt="2024-09-27T17:52:20.815" v="81585"/>
          <ac:spMkLst>
            <pc:docMk/>
            <pc:sldMk cId="2807376235" sldId="2147481263"/>
            <ac:spMk id="4" creationId="{CEC8A4FC-9495-E60B-0F29-D4A923C31208}"/>
          </ac:spMkLst>
        </pc:spChg>
        <pc:spChg chg="mod ord">
          <ac:chgData name="Kyndal Mayes" userId="142911e9-0388-46d2-be9a-eb7bc2b8ac4b" providerId="ADAL" clId="{29B3924A-0E99-426D-A9EC-E22D7BFBE5E7}" dt="2024-09-27T17:52:20.768" v="81434"/>
          <ac:spMkLst>
            <pc:docMk/>
            <pc:sldMk cId="2807376235" sldId="2147481263"/>
            <ac:spMk id="5" creationId="{1C9A25AD-923E-788B-17FA-A2743CC6938E}"/>
          </ac:spMkLst>
        </pc:spChg>
        <pc:spChg chg="mod ord">
          <ac:chgData name="Kyndal Mayes" userId="142911e9-0388-46d2-be9a-eb7bc2b8ac4b" providerId="ADAL" clId="{29B3924A-0E99-426D-A9EC-E22D7BFBE5E7}" dt="2024-09-27T17:52:20.768" v="81438"/>
          <ac:spMkLst>
            <pc:docMk/>
            <pc:sldMk cId="2807376235" sldId="2147481263"/>
            <ac:spMk id="6" creationId="{F4D7A616-B0B6-03CE-E83D-94E1D6B0A8DA}"/>
          </ac:spMkLst>
        </pc:spChg>
        <pc:spChg chg="mod ord">
          <ac:chgData name="Kyndal Mayes" userId="142911e9-0388-46d2-be9a-eb7bc2b8ac4b" providerId="ADAL" clId="{29B3924A-0E99-426D-A9EC-E22D7BFBE5E7}" dt="2024-09-27T17:52:20.768" v="81440"/>
          <ac:spMkLst>
            <pc:docMk/>
            <pc:sldMk cId="2807376235" sldId="2147481263"/>
            <ac:spMk id="7" creationId="{1BDCA2F7-8E89-B7A3-F6D4-9922362A4A56}"/>
          </ac:spMkLst>
        </pc:spChg>
        <pc:spChg chg="mod ord">
          <ac:chgData name="Kyndal Mayes" userId="142911e9-0388-46d2-be9a-eb7bc2b8ac4b" providerId="ADAL" clId="{29B3924A-0E99-426D-A9EC-E22D7BFBE5E7}" dt="2024-09-27T17:52:20.768" v="81442"/>
          <ac:spMkLst>
            <pc:docMk/>
            <pc:sldMk cId="2807376235" sldId="2147481263"/>
            <ac:spMk id="8" creationId="{E21FE390-9098-9704-9490-586705BDD43D}"/>
          </ac:spMkLst>
        </pc:spChg>
        <pc:spChg chg="add del mod modVis">
          <ac:chgData name="Kyndal Mayes" userId="142911e9-0388-46d2-be9a-eb7bc2b8ac4b" providerId="ADAL" clId="{29B3924A-0E99-426D-A9EC-E22D7BFBE5E7}" dt="2024-09-27T16:44:19.998" v="15797"/>
          <ac:spMkLst>
            <pc:docMk/>
            <pc:sldMk cId="2807376235" sldId="2147481263"/>
            <ac:spMk id="10" creationId="{A5CA23B1-4160-4D34-6C38-2BD424980CD9}"/>
          </ac:spMkLst>
        </pc:spChg>
        <pc:spChg chg="add mod ord">
          <ac:chgData name="Kyndal Mayes" userId="142911e9-0388-46d2-be9a-eb7bc2b8ac4b" providerId="ADAL" clId="{29B3924A-0E99-426D-A9EC-E22D7BFBE5E7}" dt="2024-09-27T16:44:19.998" v="15797"/>
          <ac:spMkLst>
            <pc:docMk/>
            <pc:sldMk cId="2807376235" sldId="2147481263"/>
            <ac:spMk id="11" creationId="{9F9869AF-B0F6-4E89-B216-4EC18C7334C2}"/>
          </ac:spMkLst>
        </pc:spChg>
        <pc:spChg chg="add del mod modVis">
          <ac:chgData name="Kyndal Mayes" userId="142911e9-0388-46d2-be9a-eb7bc2b8ac4b" providerId="ADAL" clId="{29B3924A-0E99-426D-A9EC-E22D7BFBE5E7}" dt="2024-09-27T16:44:18.997" v="15598" actId="962"/>
          <ac:spMkLst>
            <pc:docMk/>
            <pc:sldMk cId="2807376235" sldId="2147481263"/>
            <ac:spMk id="13" creationId="{14AAE622-FDE8-D17E-4651-78728ABC6678}"/>
          </ac:spMkLst>
        </pc:spChg>
        <pc:spChg chg="add del mod modVis">
          <ac:chgData name="Kyndal Mayes" userId="142911e9-0388-46d2-be9a-eb7bc2b8ac4b" providerId="ADAL" clId="{29B3924A-0E99-426D-A9EC-E22D7BFBE5E7}" dt="2024-09-27T16:44:18.947" v="15514" actId="962"/>
          <ac:spMkLst>
            <pc:docMk/>
            <pc:sldMk cId="2807376235" sldId="2147481263"/>
            <ac:spMk id="16" creationId="{EF1DE881-3304-52F2-DE8B-C99D4DC74C0E}"/>
          </ac:spMkLst>
        </pc:spChg>
        <pc:spChg chg="add mod ord">
          <ac:chgData name="Kyndal Mayes" userId="142911e9-0388-46d2-be9a-eb7bc2b8ac4b" providerId="ADAL" clId="{29B3924A-0E99-426D-A9EC-E22D7BFBE5E7}" dt="2024-09-27T16:44:18.920" v="15483" actId="139"/>
          <ac:spMkLst>
            <pc:docMk/>
            <pc:sldMk cId="2807376235" sldId="2147481263"/>
            <ac:spMk id="17" creationId="{9F9869AF-B0F6-4E89-B216-4EC18C7334C2}"/>
          </ac:spMkLst>
        </pc:spChg>
        <pc:spChg chg="mod ord">
          <ac:chgData name="Kyndal Mayes" userId="142911e9-0388-46d2-be9a-eb7bc2b8ac4b" providerId="ADAL" clId="{29B3924A-0E99-426D-A9EC-E22D7BFBE5E7}" dt="2024-09-27T17:52:20.768" v="81457"/>
          <ac:spMkLst>
            <pc:docMk/>
            <pc:sldMk cId="2807376235" sldId="2147481263"/>
            <ac:spMk id="19" creationId="{9F9869AF-B0F6-4E89-B216-4EC18C7334C2}"/>
          </ac:spMkLst>
        </pc:spChg>
        <pc:spChg chg="mod ord">
          <ac:chgData name="Kyndal Mayes" userId="142911e9-0388-46d2-be9a-eb7bc2b8ac4b" providerId="ADAL" clId="{29B3924A-0E99-426D-A9EC-E22D7BFBE5E7}" dt="2024-09-27T17:52:20.768" v="81458"/>
          <ac:spMkLst>
            <pc:docMk/>
            <pc:sldMk cId="2807376235" sldId="2147481263"/>
            <ac:spMk id="20" creationId="{9F9869AF-B0F6-4E89-B216-4EC18C7334C2}"/>
          </ac:spMkLst>
        </pc:spChg>
        <pc:spChg chg="mod ord">
          <ac:chgData name="Kyndal Mayes" userId="142911e9-0388-46d2-be9a-eb7bc2b8ac4b" providerId="ADAL" clId="{29B3924A-0E99-426D-A9EC-E22D7BFBE5E7}" dt="2024-09-27T17:52:20.768" v="81461"/>
          <ac:spMkLst>
            <pc:docMk/>
            <pc:sldMk cId="2807376235" sldId="2147481263"/>
            <ac:spMk id="21" creationId="{9F9869AF-B0F6-4E89-B216-4EC18C7334C2}"/>
          </ac:spMkLst>
        </pc:spChg>
        <pc:spChg chg="mod">
          <ac:chgData name="Kyndal Mayes" userId="142911e9-0388-46d2-be9a-eb7bc2b8ac4b" providerId="ADAL" clId="{29B3924A-0E99-426D-A9EC-E22D7BFBE5E7}" dt="2024-09-27T17:52:20.768" v="81462"/>
          <ac:spMkLst>
            <pc:docMk/>
            <pc:sldMk cId="2807376235" sldId="2147481263"/>
            <ac:spMk id="22" creationId="{9F9869AF-B0F6-4E89-B216-4EC18C7334C2}"/>
          </ac:spMkLst>
        </pc:spChg>
        <pc:spChg chg="add del mod modVis">
          <ac:chgData name="Kyndal Mayes" userId="142911e9-0388-46d2-be9a-eb7bc2b8ac4b" providerId="ADAL" clId="{29B3924A-0E99-426D-A9EC-E22D7BFBE5E7}" dt="2024-09-27T16:44:18.020" v="15398" actId="962"/>
          <ac:spMkLst>
            <pc:docMk/>
            <pc:sldMk cId="2807376235" sldId="2147481263"/>
            <ac:spMk id="23" creationId="{3FCF7A52-3B45-2651-E08D-669347DE6B47}"/>
          </ac:spMkLst>
        </pc:spChg>
        <pc:spChg chg="mod">
          <ac:chgData name="Kyndal Mayes" userId="142911e9-0388-46d2-be9a-eb7bc2b8ac4b" providerId="ADAL" clId="{29B3924A-0E99-426D-A9EC-E22D7BFBE5E7}" dt="2024-09-27T17:52:20.784" v="81494"/>
          <ac:spMkLst>
            <pc:docMk/>
            <pc:sldMk cId="2807376235" sldId="2147481263"/>
            <ac:spMk id="25" creationId="{9F9869AF-B0F6-4E89-B216-4EC18C7334C2}"/>
          </ac:spMkLst>
        </pc:spChg>
        <pc:spChg chg="add del mod modVis">
          <ac:chgData name="Kyndal Mayes" userId="142911e9-0388-46d2-be9a-eb7bc2b8ac4b" providerId="ADAL" clId="{29B3924A-0E99-426D-A9EC-E22D7BFBE5E7}" dt="2024-09-27T16:44:17.936" v="15302" actId="962"/>
          <ac:spMkLst>
            <pc:docMk/>
            <pc:sldMk cId="2807376235" sldId="2147481263"/>
            <ac:spMk id="27" creationId="{DA447789-0D5B-2339-8609-C7487516263E}"/>
          </ac:spMkLst>
        </pc:spChg>
        <pc:spChg chg="mod ord">
          <ac:chgData name="Kyndal Mayes" userId="142911e9-0388-46d2-be9a-eb7bc2b8ac4b" providerId="ADAL" clId="{29B3924A-0E99-426D-A9EC-E22D7BFBE5E7}" dt="2024-09-27T17:52:20.784" v="81483"/>
          <ac:spMkLst>
            <pc:docMk/>
            <pc:sldMk cId="2807376235" sldId="2147481263"/>
            <ac:spMk id="28" creationId="{1E9E3C7C-8129-71C3-F489-54835C561F79}"/>
          </ac:spMkLst>
        </pc:spChg>
        <pc:spChg chg="mod">
          <ac:chgData name="Kyndal Mayes" userId="142911e9-0388-46d2-be9a-eb7bc2b8ac4b" providerId="ADAL" clId="{29B3924A-0E99-426D-A9EC-E22D7BFBE5E7}" dt="2024-09-27T17:52:20.784" v="81495"/>
          <ac:spMkLst>
            <pc:docMk/>
            <pc:sldMk cId="2807376235" sldId="2147481263"/>
            <ac:spMk id="29" creationId="{320493DD-3C21-8B33-59F9-B02A303F47E1}"/>
          </ac:spMkLst>
        </pc:spChg>
        <pc:spChg chg="add mod">
          <ac:chgData name="Kyndal Mayes" userId="142911e9-0388-46d2-be9a-eb7bc2b8ac4b" providerId="ADAL" clId="{29B3924A-0E99-426D-A9EC-E22D7BFBE5E7}" dt="2024-09-27T16:44:17.879" v="15270" actId="139"/>
          <ac:spMkLst>
            <pc:docMk/>
            <pc:sldMk cId="2807376235" sldId="2147481263"/>
            <ac:spMk id="30" creationId="{9F9869AF-B0F6-4E89-B216-4EC18C7334C2}"/>
          </ac:spMkLst>
        </pc:spChg>
        <pc:spChg chg="mod ord">
          <ac:chgData name="Kyndal Mayes" userId="142911e9-0388-46d2-be9a-eb7bc2b8ac4b" providerId="ADAL" clId="{29B3924A-0E99-426D-A9EC-E22D7BFBE5E7}" dt="2024-09-27T17:52:20.784" v="81485"/>
          <ac:spMkLst>
            <pc:docMk/>
            <pc:sldMk cId="2807376235" sldId="2147481263"/>
            <ac:spMk id="32" creationId="{8CE4AFE0-DF3F-C09D-E22B-3D31E73F8ECF}"/>
          </ac:spMkLst>
        </pc:spChg>
        <pc:spChg chg="mod">
          <ac:chgData name="Kyndal Mayes" userId="142911e9-0388-46d2-be9a-eb7bc2b8ac4b" providerId="ADAL" clId="{29B3924A-0E99-426D-A9EC-E22D7BFBE5E7}" dt="2024-09-27T17:52:20.784" v="81496"/>
          <ac:spMkLst>
            <pc:docMk/>
            <pc:sldMk cId="2807376235" sldId="2147481263"/>
            <ac:spMk id="33" creationId="{E8B44F85-AE63-ABEC-60AC-5587EA452054}"/>
          </ac:spMkLst>
        </pc:spChg>
        <pc:spChg chg="mod">
          <ac:chgData name="Kyndal Mayes" userId="142911e9-0388-46d2-be9a-eb7bc2b8ac4b" providerId="ADAL" clId="{29B3924A-0E99-426D-A9EC-E22D7BFBE5E7}" dt="2024-09-27T17:52:20.784" v="81497"/>
          <ac:spMkLst>
            <pc:docMk/>
            <pc:sldMk cId="2807376235" sldId="2147481263"/>
            <ac:spMk id="34" creationId="{29A54523-17E1-0932-404C-41C7577920B4}"/>
          </ac:spMkLst>
        </pc:spChg>
        <pc:spChg chg="mod">
          <ac:chgData name="Kyndal Mayes" userId="142911e9-0388-46d2-be9a-eb7bc2b8ac4b" providerId="ADAL" clId="{29B3924A-0E99-426D-A9EC-E22D7BFBE5E7}" dt="2024-09-27T17:52:20.784" v="81498"/>
          <ac:spMkLst>
            <pc:docMk/>
            <pc:sldMk cId="2807376235" sldId="2147481263"/>
            <ac:spMk id="35" creationId="{FCBE6AFA-1DC0-46D8-7777-A6234AF29A5E}"/>
          </ac:spMkLst>
        </pc:spChg>
        <pc:spChg chg="mod">
          <ac:chgData name="Kyndal Mayes" userId="142911e9-0388-46d2-be9a-eb7bc2b8ac4b" providerId="ADAL" clId="{29B3924A-0E99-426D-A9EC-E22D7BFBE5E7}" dt="2024-09-27T17:52:20.784" v="81499"/>
          <ac:spMkLst>
            <pc:docMk/>
            <pc:sldMk cId="2807376235" sldId="2147481263"/>
            <ac:spMk id="36" creationId="{3F98DAC7-4B64-BDA3-81E8-BDA3D1247A98}"/>
          </ac:spMkLst>
        </pc:spChg>
        <pc:spChg chg="del mod">
          <ac:chgData name="Kyndal Mayes" userId="142911e9-0388-46d2-be9a-eb7bc2b8ac4b" providerId="ADAL" clId="{29B3924A-0E99-426D-A9EC-E22D7BFBE5E7}" dt="2024-09-27T17:50:25.393" v="63930"/>
          <ac:spMkLst>
            <pc:docMk/>
            <pc:sldMk cId="2807376235" sldId="2147481263"/>
            <ac:spMk id="37" creationId="{9F9869AF-B0F6-4E89-B216-4EC18C7334C2}"/>
          </ac:spMkLst>
        </pc:spChg>
        <pc:spChg chg="del mod">
          <ac:chgData name="Kyndal Mayes" userId="142911e9-0388-46d2-be9a-eb7bc2b8ac4b" providerId="ADAL" clId="{29B3924A-0E99-426D-A9EC-E22D7BFBE5E7}" dt="2024-09-27T17:50:26.328" v="64226"/>
          <ac:spMkLst>
            <pc:docMk/>
            <pc:sldMk cId="2807376235" sldId="2147481263"/>
            <ac:spMk id="38" creationId="{9F9869AF-B0F6-4E89-B216-4EC18C7334C2}"/>
          </ac:spMkLst>
        </pc:spChg>
        <pc:spChg chg="mod ord">
          <ac:chgData name="Kyndal Mayes" userId="142911e9-0388-46d2-be9a-eb7bc2b8ac4b" providerId="ADAL" clId="{29B3924A-0E99-426D-A9EC-E22D7BFBE5E7}" dt="2024-09-27T17:52:20.784" v="81487"/>
          <ac:spMkLst>
            <pc:docMk/>
            <pc:sldMk cId="2807376235" sldId="2147481263"/>
            <ac:spMk id="39" creationId="{3138F2E8-D6F7-4FEA-1ED6-F83E07C93251}"/>
          </ac:spMkLst>
        </pc:spChg>
        <pc:spChg chg="mod ord">
          <ac:chgData name="Kyndal Mayes" userId="142911e9-0388-46d2-be9a-eb7bc2b8ac4b" providerId="ADAL" clId="{29B3924A-0E99-426D-A9EC-E22D7BFBE5E7}" dt="2024-09-27T17:52:20.784" v="81489"/>
          <ac:spMkLst>
            <pc:docMk/>
            <pc:sldMk cId="2807376235" sldId="2147481263"/>
            <ac:spMk id="40" creationId="{4318FD40-90B2-BB4F-E3FD-993714296A2E}"/>
          </ac:spMkLst>
        </pc:spChg>
        <pc:spChg chg="mod ord">
          <ac:chgData name="Kyndal Mayes" userId="142911e9-0388-46d2-be9a-eb7bc2b8ac4b" providerId="ADAL" clId="{29B3924A-0E99-426D-A9EC-E22D7BFBE5E7}" dt="2024-09-27T17:52:20.784" v="81491"/>
          <ac:spMkLst>
            <pc:docMk/>
            <pc:sldMk cId="2807376235" sldId="2147481263"/>
            <ac:spMk id="41" creationId="{D58AF833-5A4B-AA8D-5E08-1DDA802F621F}"/>
          </ac:spMkLst>
        </pc:spChg>
        <pc:spChg chg="mod ord">
          <ac:chgData name="Kyndal Mayes" userId="142911e9-0388-46d2-be9a-eb7bc2b8ac4b" providerId="ADAL" clId="{29B3924A-0E99-426D-A9EC-E22D7BFBE5E7}" dt="2024-09-27T17:52:20.784" v="81493"/>
          <ac:spMkLst>
            <pc:docMk/>
            <pc:sldMk cId="2807376235" sldId="2147481263"/>
            <ac:spMk id="42" creationId="{68C40247-3A71-8302-21E0-5B2352256070}"/>
          </ac:spMkLst>
        </pc:spChg>
        <pc:spChg chg="del mod">
          <ac:chgData name="Kyndal Mayes" userId="142911e9-0388-46d2-be9a-eb7bc2b8ac4b" providerId="ADAL" clId="{29B3924A-0E99-426D-A9EC-E22D7BFBE5E7}" dt="2024-09-27T17:50:30.532" v="65181"/>
          <ac:spMkLst>
            <pc:docMk/>
            <pc:sldMk cId="2807376235" sldId="2147481263"/>
            <ac:spMk id="43" creationId="{9F9869AF-B0F6-4E89-B216-4EC18C7334C2}"/>
          </ac:spMkLst>
        </pc:spChg>
        <pc:spChg chg="del mod">
          <ac:chgData name="Kyndal Mayes" userId="142911e9-0388-46d2-be9a-eb7bc2b8ac4b" providerId="ADAL" clId="{29B3924A-0E99-426D-A9EC-E22D7BFBE5E7}" dt="2024-09-27T17:50:34.569" v="66402"/>
          <ac:spMkLst>
            <pc:docMk/>
            <pc:sldMk cId="2807376235" sldId="2147481263"/>
            <ac:spMk id="44" creationId="{9F9869AF-B0F6-4E89-B216-4EC18C7334C2}"/>
          </ac:spMkLst>
        </pc:spChg>
        <pc:spChg chg="del mod">
          <ac:chgData name="Kyndal Mayes" userId="142911e9-0388-46d2-be9a-eb7bc2b8ac4b" providerId="ADAL" clId="{29B3924A-0E99-426D-A9EC-E22D7BFBE5E7}" dt="2024-09-27T17:50:37.463" v="67017"/>
          <ac:spMkLst>
            <pc:docMk/>
            <pc:sldMk cId="2807376235" sldId="2147481263"/>
            <ac:spMk id="45" creationId="{9F9869AF-B0F6-4E89-B216-4EC18C7334C2}"/>
          </ac:spMkLst>
        </pc:spChg>
        <pc:spChg chg="del mod">
          <ac:chgData name="Kyndal Mayes" userId="142911e9-0388-46d2-be9a-eb7bc2b8ac4b" providerId="ADAL" clId="{29B3924A-0E99-426D-A9EC-E22D7BFBE5E7}" dt="2024-09-27T17:50:48.702" v="67913"/>
          <ac:spMkLst>
            <pc:docMk/>
            <pc:sldMk cId="2807376235" sldId="2147481263"/>
            <ac:spMk id="46" creationId="{9F9869AF-B0F6-4E89-B216-4EC18C7334C2}"/>
          </ac:spMkLst>
        </pc:spChg>
        <pc:spChg chg="del mod">
          <ac:chgData name="Kyndal Mayes" userId="142911e9-0388-46d2-be9a-eb7bc2b8ac4b" providerId="ADAL" clId="{29B3924A-0E99-426D-A9EC-E22D7BFBE5E7}" dt="2024-09-27T17:50:49" v="68197"/>
          <ac:spMkLst>
            <pc:docMk/>
            <pc:sldMk cId="2807376235" sldId="2147481263"/>
            <ac:spMk id="47" creationId="{9F9869AF-B0F6-4E89-B216-4EC18C7334C2}"/>
          </ac:spMkLst>
        </pc:spChg>
        <pc:spChg chg="add del mod modVis">
          <ac:chgData name="Kyndal Mayes" userId="142911e9-0388-46d2-be9a-eb7bc2b8ac4b" providerId="ADAL" clId="{29B3924A-0E99-426D-A9EC-E22D7BFBE5E7}" dt="2024-09-27T16:44:16.884" v="15183" actId="962"/>
          <ac:spMkLst>
            <pc:docMk/>
            <pc:sldMk cId="2807376235" sldId="2147481263"/>
            <ac:spMk id="48" creationId="{9463DF2A-ED61-2766-5F7B-EE1647CC0A2B}"/>
          </ac:spMkLst>
        </pc:spChg>
        <pc:spChg chg="add del mod modVis">
          <ac:chgData name="Kyndal Mayes" userId="142911e9-0388-46d2-be9a-eb7bc2b8ac4b" providerId="ADAL" clId="{29B3924A-0E99-426D-A9EC-E22D7BFBE5E7}" dt="2024-09-27T16:44:16.828" v="15089" actId="962"/>
          <ac:spMkLst>
            <pc:docMk/>
            <pc:sldMk cId="2807376235" sldId="2147481263"/>
            <ac:spMk id="50" creationId="{03854111-641E-6C99-B7C9-4F0F312EF3F9}"/>
          </ac:spMkLst>
        </pc:spChg>
        <pc:spChg chg="mod ord">
          <ac:chgData name="Kyndal Mayes" userId="142911e9-0388-46d2-be9a-eb7bc2b8ac4b" providerId="ADAL" clId="{29B3924A-0E99-426D-A9EC-E22D7BFBE5E7}" dt="2024-09-27T17:52:20.768" v="81460"/>
          <ac:spMkLst>
            <pc:docMk/>
            <pc:sldMk cId="2807376235" sldId="2147481263"/>
            <ac:spMk id="51" creationId="{9F9869AF-B0F6-4E89-B216-4EC18C7334C2}"/>
          </ac:spMkLst>
        </pc:spChg>
        <pc:spChg chg="add del mod modVis">
          <ac:chgData name="Kyndal Mayes" userId="142911e9-0388-46d2-be9a-eb7bc2b8ac4b" providerId="ADAL" clId="{29B3924A-0E99-426D-A9EC-E22D7BFBE5E7}" dt="2024-09-27T16:44:15.861" v="15000" actId="962"/>
          <ac:spMkLst>
            <pc:docMk/>
            <pc:sldMk cId="2807376235" sldId="2147481263"/>
            <ac:spMk id="53" creationId="{F2D683FA-91DB-F1FB-8250-5357C32165DD}"/>
          </ac:spMkLst>
        </pc:spChg>
        <pc:spChg chg="add del mod modVis">
          <ac:chgData name="Kyndal Mayes" userId="142911e9-0388-46d2-be9a-eb7bc2b8ac4b" providerId="ADAL" clId="{29B3924A-0E99-426D-A9EC-E22D7BFBE5E7}" dt="2024-09-27T16:44:15.814" v="14896" actId="962"/>
          <ac:spMkLst>
            <pc:docMk/>
            <pc:sldMk cId="2807376235" sldId="2147481263"/>
            <ac:spMk id="56" creationId="{5D88547D-5F19-2AF5-0B75-EB537AE4CCCA}"/>
          </ac:spMkLst>
        </pc:spChg>
        <pc:spChg chg="mod ord">
          <ac:chgData name="Kyndal Mayes" userId="142911e9-0388-46d2-be9a-eb7bc2b8ac4b" providerId="ADAL" clId="{29B3924A-0E99-426D-A9EC-E22D7BFBE5E7}" dt="2024-09-27T17:52:20.768" v="81464"/>
          <ac:spMkLst>
            <pc:docMk/>
            <pc:sldMk cId="2807376235" sldId="2147481263"/>
            <ac:spMk id="57" creationId="{9F9869AF-B0F6-4E89-B216-4EC18C7334C2}"/>
          </ac:spMkLst>
        </pc:spChg>
        <pc:spChg chg="add mod ord">
          <ac:chgData name="Kyndal Mayes" userId="142911e9-0388-46d2-be9a-eb7bc2b8ac4b" providerId="ADAL" clId="{29B3924A-0E99-426D-A9EC-E22D7BFBE5E7}" dt="2024-09-27T16:44:15.742" v="14865" actId="139"/>
          <ac:spMkLst>
            <pc:docMk/>
            <pc:sldMk cId="2807376235" sldId="2147481263"/>
            <ac:spMk id="58" creationId="{9F9869AF-B0F6-4E89-B216-4EC18C7334C2}"/>
          </ac:spMkLst>
        </pc:spChg>
        <pc:spChg chg="add del mod modVis">
          <ac:chgData name="Kyndal Mayes" userId="142911e9-0388-46d2-be9a-eb7bc2b8ac4b" providerId="ADAL" clId="{29B3924A-0E99-426D-A9EC-E22D7BFBE5E7}" dt="2024-09-27T16:44:14.601" v="14778" actId="962"/>
          <ac:spMkLst>
            <pc:docMk/>
            <pc:sldMk cId="2807376235" sldId="2147481263"/>
            <ac:spMk id="61" creationId="{96A43003-2364-D6EE-FA09-DD2087632E42}"/>
          </ac:spMkLst>
        </pc:spChg>
        <pc:spChg chg="add del mod modVis">
          <ac:chgData name="Kyndal Mayes" userId="142911e9-0388-46d2-be9a-eb7bc2b8ac4b" providerId="ADAL" clId="{29B3924A-0E99-426D-A9EC-E22D7BFBE5E7}" dt="2024-09-27T16:44:13.414" v="14675" actId="962"/>
          <ac:spMkLst>
            <pc:docMk/>
            <pc:sldMk cId="2807376235" sldId="2147481263"/>
            <ac:spMk id="63" creationId="{A3871CD5-0CE6-D0B1-94F8-0E40EF5FF535}"/>
          </ac:spMkLst>
        </pc:spChg>
        <pc:spChg chg="add del mod modVis">
          <ac:chgData name="Kyndal Mayes" userId="142911e9-0388-46d2-be9a-eb7bc2b8ac4b" providerId="ADAL" clId="{29B3924A-0E99-426D-A9EC-E22D7BFBE5E7}" dt="2024-09-27T16:44:13.320" v="14585" actId="962"/>
          <ac:spMkLst>
            <pc:docMk/>
            <pc:sldMk cId="2807376235" sldId="2147481263"/>
            <ac:spMk id="65" creationId="{259EB171-44A7-7CC2-63B4-72B6E38A8C77}"/>
          </ac:spMkLst>
        </pc:spChg>
        <pc:spChg chg="add del mod modVis">
          <ac:chgData name="Kyndal Mayes" userId="142911e9-0388-46d2-be9a-eb7bc2b8ac4b" providerId="ADAL" clId="{29B3924A-0E99-426D-A9EC-E22D7BFBE5E7}" dt="2024-09-27T16:44:12.218" v="14493" actId="962"/>
          <ac:spMkLst>
            <pc:docMk/>
            <pc:sldMk cId="2807376235" sldId="2147481263"/>
            <ac:spMk id="67" creationId="{E1FC306D-3492-753A-667E-7D553ABB8DE2}"/>
          </ac:spMkLst>
        </pc:spChg>
        <pc:spChg chg="add del mod modVis">
          <ac:chgData name="Kyndal Mayes" userId="142911e9-0388-46d2-be9a-eb7bc2b8ac4b" providerId="ADAL" clId="{29B3924A-0E99-426D-A9EC-E22D7BFBE5E7}" dt="2024-09-27T16:44:55.229" v="16163"/>
          <ac:spMkLst>
            <pc:docMk/>
            <pc:sldMk cId="2807376235" sldId="2147481263"/>
            <ac:spMk id="70" creationId="{28AD473C-0385-A903-ECA6-16A11701A47E}"/>
          </ac:spMkLst>
        </pc:spChg>
        <pc:spChg chg="mod ord">
          <ac:chgData name="Kyndal Mayes" userId="142911e9-0388-46d2-be9a-eb7bc2b8ac4b" providerId="ADAL" clId="{29B3924A-0E99-426D-A9EC-E22D7BFBE5E7}" dt="2024-09-27T17:52:20.784" v="81527"/>
          <ac:spMkLst>
            <pc:docMk/>
            <pc:sldMk cId="2807376235" sldId="2147481263"/>
            <ac:spMk id="71" creationId="{9F9869AF-B0F6-4E89-B216-4EC18C7334C2}"/>
          </ac:spMkLst>
        </pc:spChg>
        <pc:spChg chg="add mod ord">
          <ac:chgData name="Kyndal Mayes" userId="142911e9-0388-46d2-be9a-eb7bc2b8ac4b" providerId="ADAL" clId="{29B3924A-0E99-426D-A9EC-E22D7BFBE5E7}" dt="2024-09-27T17:52:20.768" v="81465"/>
          <ac:spMkLst>
            <pc:docMk/>
            <pc:sldMk cId="2807376235" sldId="2147481263"/>
            <ac:spMk id="72" creationId="{9F9869AF-B0F6-4E89-B216-4EC18C7334C2}"/>
          </ac:spMkLst>
        </pc:spChg>
        <pc:spChg chg="add del mod modVis">
          <ac:chgData name="Kyndal Mayes" userId="142911e9-0388-46d2-be9a-eb7bc2b8ac4b" providerId="ADAL" clId="{29B3924A-0E99-426D-A9EC-E22D7BFBE5E7}" dt="2024-09-27T16:44:58.578" v="16366"/>
          <ac:spMkLst>
            <pc:docMk/>
            <pc:sldMk cId="2807376235" sldId="2147481263"/>
            <ac:spMk id="74" creationId="{8F3889CB-6FC1-E3E0-5B33-63F70D48FB59}"/>
          </ac:spMkLst>
        </pc:spChg>
        <pc:spChg chg="add del mod modVis">
          <ac:chgData name="Kyndal Mayes" userId="142911e9-0388-46d2-be9a-eb7bc2b8ac4b" providerId="ADAL" clId="{29B3924A-0E99-426D-A9EC-E22D7BFBE5E7}" dt="2024-09-27T16:45:00.749" v="16561"/>
          <ac:spMkLst>
            <pc:docMk/>
            <pc:sldMk cId="2807376235" sldId="2147481263"/>
            <ac:spMk id="76" creationId="{0346D0C4-FFCB-F52C-7EE6-AF0916E30876}"/>
          </ac:spMkLst>
        </pc:spChg>
        <pc:spChg chg="add del mod modVis">
          <ac:chgData name="Kyndal Mayes" userId="142911e9-0388-46d2-be9a-eb7bc2b8ac4b" providerId="ADAL" clId="{29B3924A-0E99-426D-A9EC-E22D7BFBE5E7}" dt="2024-09-27T16:45:07.609" v="16756"/>
          <ac:spMkLst>
            <pc:docMk/>
            <pc:sldMk cId="2807376235" sldId="2147481263"/>
            <ac:spMk id="78" creationId="{F6691EAA-269E-231E-D758-1E4586515DF2}"/>
          </ac:spMkLst>
        </pc:spChg>
        <pc:spChg chg="add del mod modVis">
          <ac:chgData name="Kyndal Mayes" userId="142911e9-0388-46d2-be9a-eb7bc2b8ac4b" providerId="ADAL" clId="{29B3924A-0E99-426D-A9EC-E22D7BFBE5E7}" dt="2024-09-27T16:45:15.157" v="17009"/>
          <ac:spMkLst>
            <pc:docMk/>
            <pc:sldMk cId="2807376235" sldId="2147481263"/>
            <ac:spMk id="80" creationId="{701E83F7-7F57-4DD1-EE31-13C17314536C}"/>
          </ac:spMkLst>
        </pc:spChg>
        <pc:spChg chg="add mod ord">
          <ac:chgData name="Kyndal Mayes" userId="142911e9-0388-46d2-be9a-eb7bc2b8ac4b" providerId="ADAL" clId="{29B3924A-0E99-426D-A9EC-E22D7BFBE5E7}" dt="2024-09-27T17:52:20.768" v="81466"/>
          <ac:spMkLst>
            <pc:docMk/>
            <pc:sldMk cId="2807376235" sldId="2147481263"/>
            <ac:spMk id="81" creationId="{9F9869AF-B0F6-4E89-B216-4EC18C7334C2}"/>
          </ac:spMkLst>
        </pc:spChg>
        <pc:spChg chg="add del mod modVis">
          <ac:chgData name="Kyndal Mayes" userId="142911e9-0388-46d2-be9a-eb7bc2b8ac4b" providerId="ADAL" clId="{29B3924A-0E99-426D-A9EC-E22D7BFBE5E7}" dt="2024-09-27T16:45:16.921" v="17231"/>
          <ac:spMkLst>
            <pc:docMk/>
            <pc:sldMk cId="2807376235" sldId="2147481263"/>
            <ac:spMk id="83" creationId="{F4C10C61-DD9F-6878-14AE-9A9CBE9609E6}"/>
          </ac:spMkLst>
        </pc:spChg>
        <pc:spChg chg="mod ord">
          <ac:chgData name="Kyndal Mayes" userId="142911e9-0388-46d2-be9a-eb7bc2b8ac4b" providerId="ADAL" clId="{29B3924A-0E99-426D-A9EC-E22D7BFBE5E7}" dt="2024-09-27T17:52:20.784" v="81522"/>
          <ac:spMkLst>
            <pc:docMk/>
            <pc:sldMk cId="2807376235" sldId="2147481263"/>
            <ac:spMk id="84" creationId="{9F9869AF-B0F6-4E89-B216-4EC18C7334C2}"/>
          </ac:spMkLst>
        </pc:spChg>
        <pc:spChg chg="mod ord">
          <ac:chgData name="Kyndal Mayes" userId="142911e9-0388-46d2-be9a-eb7bc2b8ac4b" providerId="ADAL" clId="{29B3924A-0E99-426D-A9EC-E22D7BFBE5E7}" dt="2024-09-27T17:52:20.784" v="81524"/>
          <ac:spMkLst>
            <pc:docMk/>
            <pc:sldMk cId="2807376235" sldId="2147481263"/>
            <ac:spMk id="85" creationId="{9F9869AF-B0F6-4E89-B216-4EC18C7334C2}"/>
          </ac:spMkLst>
        </pc:spChg>
        <pc:spChg chg="mod ord">
          <ac:chgData name="Kyndal Mayes" userId="142911e9-0388-46d2-be9a-eb7bc2b8ac4b" providerId="ADAL" clId="{29B3924A-0E99-426D-A9EC-E22D7BFBE5E7}" dt="2024-09-27T17:52:20.784" v="81525"/>
          <ac:spMkLst>
            <pc:docMk/>
            <pc:sldMk cId="2807376235" sldId="2147481263"/>
            <ac:spMk id="86" creationId="{9F9869AF-B0F6-4E89-B216-4EC18C7334C2}"/>
          </ac:spMkLst>
        </pc:spChg>
        <pc:spChg chg="add del mod modVis">
          <ac:chgData name="Kyndal Mayes" userId="142911e9-0388-46d2-be9a-eb7bc2b8ac4b" providerId="ADAL" clId="{29B3924A-0E99-426D-A9EC-E22D7BFBE5E7}" dt="2024-09-27T16:45:18.764" v="17431"/>
          <ac:spMkLst>
            <pc:docMk/>
            <pc:sldMk cId="2807376235" sldId="2147481263"/>
            <ac:spMk id="90" creationId="{5BD68C03-0E45-7BBE-C10B-323EEC3F73A6}"/>
          </ac:spMkLst>
        </pc:spChg>
        <pc:spChg chg="add del mod modVis">
          <ac:chgData name="Kyndal Mayes" userId="142911e9-0388-46d2-be9a-eb7bc2b8ac4b" providerId="ADAL" clId="{29B3924A-0E99-426D-A9EC-E22D7BFBE5E7}" dt="2024-09-27T16:45:19.949" v="17667"/>
          <ac:spMkLst>
            <pc:docMk/>
            <pc:sldMk cId="2807376235" sldId="2147481263"/>
            <ac:spMk id="92" creationId="{BF94B910-287E-1C0C-0A4A-8E886A3C5B87}"/>
          </ac:spMkLst>
        </pc:spChg>
        <pc:spChg chg="add del mod modVis">
          <ac:chgData name="Kyndal Mayes" userId="142911e9-0388-46d2-be9a-eb7bc2b8ac4b" providerId="ADAL" clId="{29B3924A-0E99-426D-A9EC-E22D7BFBE5E7}" dt="2024-09-27T16:45:21.636" v="17926"/>
          <ac:spMkLst>
            <pc:docMk/>
            <pc:sldMk cId="2807376235" sldId="2147481263"/>
            <ac:spMk id="95" creationId="{FBA200BF-2F70-7C8B-7198-FC7039E35669}"/>
          </ac:spMkLst>
        </pc:spChg>
        <pc:spChg chg="add mod ord">
          <ac:chgData name="Kyndal Mayes" userId="142911e9-0388-46d2-be9a-eb7bc2b8ac4b" providerId="ADAL" clId="{29B3924A-0E99-426D-A9EC-E22D7BFBE5E7}" dt="2024-09-27T17:52:20.768" v="81467"/>
          <ac:spMkLst>
            <pc:docMk/>
            <pc:sldMk cId="2807376235" sldId="2147481263"/>
            <ac:spMk id="96" creationId="{9F9869AF-B0F6-4E89-B216-4EC18C7334C2}"/>
          </ac:spMkLst>
        </pc:spChg>
        <pc:spChg chg="mod ord">
          <ac:chgData name="Kyndal Mayes" userId="142911e9-0388-46d2-be9a-eb7bc2b8ac4b" providerId="ADAL" clId="{29B3924A-0E99-426D-A9EC-E22D7BFBE5E7}" dt="2024-09-27T17:52:20.768" v="81463"/>
          <ac:spMkLst>
            <pc:docMk/>
            <pc:sldMk cId="2807376235" sldId="2147481263"/>
            <ac:spMk id="97" creationId="{9F9869AF-B0F6-4E89-B216-4EC18C7334C2}"/>
          </ac:spMkLst>
        </pc:spChg>
        <pc:spChg chg="add del mod modVis">
          <ac:chgData name="Kyndal Mayes" userId="142911e9-0388-46d2-be9a-eb7bc2b8ac4b" providerId="ADAL" clId="{29B3924A-0E99-426D-A9EC-E22D7BFBE5E7}" dt="2024-09-27T16:45:22.851" v="18163"/>
          <ac:spMkLst>
            <pc:docMk/>
            <pc:sldMk cId="2807376235" sldId="2147481263"/>
            <ac:spMk id="99" creationId="{1F81BD28-A26B-E8E2-E391-51B7BBECBF76}"/>
          </ac:spMkLst>
        </pc:spChg>
        <pc:spChg chg="mod ord">
          <ac:chgData name="Kyndal Mayes" userId="142911e9-0388-46d2-be9a-eb7bc2b8ac4b" providerId="ADAL" clId="{29B3924A-0E99-426D-A9EC-E22D7BFBE5E7}" dt="2024-09-27T17:52:20.800" v="81565"/>
          <ac:spMkLst>
            <pc:docMk/>
            <pc:sldMk cId="2807376235" sldId="2147481263"/>
            <ac:spMk id="101" creationId="{9F9869AF-B0F6-4E89-B216-4EC18C7334C2}"/>
          </ac:spMkLst>
        </pc:spChg>
        <pc:spChg chg="del mod">
          <ac:chgData name="Kyndal Mayes" userId="142911e9-0388-46d2-be9a-eb7bc2b8ac4b" providerId="ADAL" clId="{29B3924A-0E99-426D-A9EC-E22D7BFBE5E7}" dt="2024-09-27T17:50:30.799" v="65473"/>
          <ac:spMkLst>
            <pc:docMk/>
            <pc:sldMk cId="2807376235" sldId="2147481263"/>
            <ac:spMk id="103" creationId="{9F9869AF-B0F6-4E89-B216-4EC18C7334C2}"/>
          </ac:spMkLst>
        </pc:spChg>
        <pc:spChg chg="add del mod modVis">
          <ac:chgData name="Kyndal Mayes" userId="142911e9-0388-46d2-be9a-eb7bc2b8ac4b" providerId="ADAL" clId="{29B3924A-0E99-426D-A9EC-E22D7BFBE5E7}" dt="2024-09-27T16:45:24.005" v="18425"/>
          <ac:spMkLst>
            <pc:docMk/>
            <pc:sldMk cId="2807376235" sldId="2147481263"/>
            <ac:spMk id="104" creationId="{D21508AC-9550-F868-841A-BFD1CEC8041B}"/>
          </ac:spMkLst>
        </pc:spChg>
        <pc:spChg chg="add mod ord">
          <ac:chgData name="Kyndal Mayes" userId="142911e9-0388-46d2-be9a-eb7bc2b8ac4b" providerId="ADAL" clId="{29B3924A-0E99-426D-A9EC-E22D7BFBE5E7}" dt="2024-09-27T17:52:20.768" v="81468"/>
          <ac:spMkLst>
            <pc:docMk/>
            <pc:sldMk cId="2807376235" sldId="2147481263"/>
            <ac:spMk id="105" creationId="{9F9869AF-B0F6-4E89-B216-4EC18C7334C2}"/>
          </ac:spMkLst>
        </pc:spChg>
        <pc:spChg chg="mod ord">
          <ac:chgData name="Kyndal Mayes" userId="142911e9-0388-46d2-be9a-eb7bc2b8ac4b" providerId="ADAL" clId="{29B3924A-0E99-426D-A9EC-E22D7BFBE5E7}" dt="2024-09-27T17:52:20.800" v="81556"/>
          <ac:spMkLst>
            <pc:docMk/>
            <pc:sldMk cId="2807376235" sldId="2147481263"/>
            <ac:spMk id="106" creationId="{9F9869AF-B0F6-4E89-B216-4EC18C7334C2}"/>
          </ac:spMkLst>
        </pc:spChg>
        <pc:spChg chg="mod ord">
          <ac:chgData name="Kyndal Mayes" userId="142911e9-0388-46d2-be9a-eb7bc2b8ac4b" providerId="ADAL" clId="{29B3924A-0E99-426D-A9EC-E22D7BFBE5E7}" dt="2024-09-27T17:52:20.800" v="81557"/>
          <ac:spMkLst>
            <pc:docMk/>
            <pc:sldMk cId="2807376235" sldId="2147481263"/>
            <ac:spMk id="107" creationId="{9F9869AF-B0F6-4E89-B216-4EC18C7334C2}"/>
          </ac:spMkLst>
        </pc:spChg>
        <pc:spChg chg="mod ord">
          <ac:chgData name="Kyndal Mayes" userId="142911e9-0388-46d2-be9a-eb7bc2b8ac4b" providerId="ADAL" clId="{29B3924A-0E99-426D-A9EC-E22D7BFBE5E7}" dt="2024-09-27T17:52:20.800" v="81558"/>
          <ac:spMkLst>
            <pc:docMk/>
            <pc:sldMk cId="2807376235" sldId="2147481263"/>
            <ac:spMk id="109" creationId="{9F9869AF-B0F6-4E89-B216-4EC18C7334C2}"/>
          </ac:spMkLst>
        </pc:spChg>
        <pc:spChg chg="mod ord">
          <ac:chgData name="Kyndal Mayes" userId="142911e9-0388-46d2-be9a-eb7bc2b8ac4b" providerId="ADAL" clId="{29B3924A-0E99-426D-A9EC-E22D7BFBE5E7}" dt="2024-09-27T17:52:20.800" v="81559"/>
          <ac:spMkLst>
            <pc:docMk/>
            <pc:sldMk cId="2807376235" sldId="2147481263"/>
            <ac:spMk id="110" creationId="{9F9869AF-B0F6-4E89-B216-4EC18C7334C2}"/>
          </ac:spMkLst>
        </pc:spChg>
        <pc:spChg chg="mod ord">
          <ac:chgData name="Kyndal Mayes" userId="142911e9-0388-46d2-be9a-eb7bc2b8ac4b" providerId="ADAL" clId="{29B3924A-0E99-426D-A9EC-E22D7BFBE5E7}" dt="2024-09-27T17:52:20.800" v="81562"/>
          <ac:spMkLst>
            <pc:docMk/>
            <pc:sldMk cId="2807376235" sldId="2147481263"/>
            <ac:spMk id="111" creationId="{9F9869AF-B0F6-4E89-B216-4EC18C7334C2}"/>
          </ac:spMkLst>
        </pc:spChg>
        <pc:spChg chg="mod ord">
          <ac:chgData name="Kyndal Mayes" userId="142911e9-0388-46d2-be9a-eb7bc2b8ac4b" providerId="ADAL" clId="{29B3924A-0E99-426D-A9EC-E22D7BFBE5E7}" dt="2024-09-27T17:52:20.800" v="81563"/>
          <ac:spMkLst>
            <pc:docMk/>
            <pc:sldMk cId="2807376235" sldId="2147481263"/>
            <ac:spMk id="112" creationId="{9F9869AF-B0F6-4E89-B216-4EC18C7334C2}"/>
          </ac:spMkLst>
        </pc:spChg>
        <pc:spChg chg="del mod ord">
          <ac:chgData name="Kyndal Mayes" userId="142911e9-0388-46d2-be9a-eb7bc2b8ac4b" providerId="ADAL" clId="{29B3924A-0E99-426D-A9EC-E22D7BFBE5E7}" dt="2024-09-27T16:49:24.283" v="53470"/>
          <ac:spMkLst>
            <pc:docMk/>
            <pc:sldMk cId="2807376235" sldId="2147481263"/>
            <ac:spMk id="113" creationId="{9F9869AF-B0F6-4E89-B216-4EC18C7334C2}"/>
          </ac:spMkLst>
        </pc:spChg>
        <pc:spChg chg="mod ord">
          <ac:chgData name="Kyndal Mayes" userId="142911e9-0388-46d2-be9a-eb7bc2b8ac4b" providerId="ADAL" clId="{29B3924A-0E99-426D-A9EC-E22D7BFBE5E7}" dt="2024-09-27T17:52:20.800" v="81568"/>
          <ac:spMkLst>
            <pc:docMk/>
            <pc:sldMk cId="2807376235" sldId="2147481263"/>
            <ac:spMk id="114" creationId="{9F9869AF-B0F6-4E89-B216-4EC18C7334C2}"/>
          </ac:spMkLst>
        </pc:spChg>
        <pc:spChg chg="del mod">
          <ac:chgData name="Kyndal Mayes" userId="142911e9-0388-46d2-be9a-eb7bc2b8ac4b" providerId="ADAL" clId="{29B3924A-0E99-426D-A9EC-E22D7BFBE5E7}" dt="2024-09-27T17:51:12.481" v="72456"/>
          <ac:spMkLst>
            <pc:docMk/>
            <pc:sldMk cId="2807376235" sldId="2147481263"/>
            <ac:spMk id="115" creationId="{9F9869AF-B0F6-4E89-B216-4EC18C7334C2}"/>
          </ac:spMkLst>
        </pc:spChg>
        <pc:spChg chg="del mod">
          <ac:chgData name="Kyndal Mayes" userId="142911e9-0388-46d2-be9a-eb7bc2b8ac4b" providerId="ADAL" clId="{29B3924A-0E99-426D-A9EC-E22D7BFBE5E7}" dt="2024-09-27T17:51:40.615" v="79657"/>
          <ac:spMkLst>
            <pc:docMk/>
            <pc:sldMk cId="2807376235" sldId="2147481263"/>
            <ac:spMk id="116" creationId="{9F9869AF-B0F6-4E89-B216-4EC18C7334C2}"/>
          </ac:spMkLst>
        </pc:spChg>
        <pc:spChg chg="del mod">
          <ac:chgData name="Kyndal Mayes" userId="142911e9-0388-46d2-be9a-eb7bc2b8ac4b" providerId="ADAL" clId="{29B3924A-0E99-426D-A9EC-E22D7BFBE5E7}" dt="2024-09-27T17:51:19.477" v="73990"/>
          <ac:spMkLst>
            <pc:docMk/>
            <pc:sldMk cId="2807376235" sldId="2147481263"/>
            <ac:spMk id="117" creationId="{9F9869AF-B0F6-4E89-B216-4EC18C7334C2}"/>
          </ac:spMkLst>
        </pc:spChg>
        <pc:spChg chg="del mod">
          <ac:chgData name="Kyndal Mayes" userId="142911e9-0388-46d2-be9a-eb7bc2b8ac4b" providerId="ADAL" clId="{29B3924A-0E99-426D-A9EC-E22D7BFBE5E7}" dt="2024-09-27T17:51:23.758" v="75277"/>
          <ac:spMkLst>
            <pc:docMk/>
            <pc:sldMk cId="2807376235" sldId="2147481263"/>
            <ac:spMk id="118" creationId="{9F9869AF-B0F6-4E89-B216-4EC18C7334C2}"/>
          </ac:spMkLst>
        </pc:spChg>
        <pc:spChg chg="del mod">
          <ac:chgData name="Kyndal Mayes" userId="142911e9-0388-46d2-be9a-eb7bc2b8ac4b" providerId="ADAL" clId="{29B3924A-0E99-426D-A9EC-E22D7BFBE5E7}" dt="2024-09-27T17:51:27.500" v="76480"/>
          <ac:spMkLst>
            <pc:docMk/>
            <pc:sldMk cId="2807376235" sldId="2147481263"/>
            <ac:spMk id="119" creationId="{9F9869AF-B0F6-4E89-B216-4EC18C7334C2}"/>
          </ac:spMkLst>
        </pc:spChg>
        <pc:spChg chg="del mod">
          <ac:chgData name="Kyndal Mayes" userId="142911e9-0388-46d2-be9a-eb7bc2b8ac4b" providerId="ADAL" clId="{29B3924A-0E99-426D-A9EC-E22D7BFBE5E7}" dt="2024-09-27T17:51:31.818" v="77383"/>
          <ac:spMkLst>
            <pc:docMk/>
            <pc:sldMk cId="2807376235" sldId="2147481263"/>
            <ac:spMk id="120" creationId="{9F9869AF-B0F6-4E89-B216-4EC18C7334C2}"/>
          </ac:spMkLst>
        </pc:spChg>
        <pc:spChg chg="del mod">
          <ac:chgData name="Kyndal Mayes" userId="142911e9-0388-46d2-be9a-eb7bc2b8ac4b" providerId="ADAL" clId="{29B3924A-0E99-426D-A9EC-E22D7BFBE5E7}" dt="2024-09-27T17:51:32.085" v="77660"/>
          <ac:spMkLst>
            <pc:docMk/>
            <pc:sldMk cId="2807376235" sldId="2147481263"/>
            <ac:spMk id="121" creationId="{9F9869AF-B0F6-4E89-B216-4EC18C7334C2}"/>
          </ac:spMkLst>
        </pc:spChg>
        <pc:spChg chg="del mod">
          <ac:chgData name="Kyndal Mayes" userId="142911e9-0388-46d2-be9a-eb7bc2b8ac4b" providerId="ADAL" clId="{29B3924A-0E99-426D-A9EC-E22D7BFBE5E7}" dt="2024-09-27T17:51:36.151" v="78537"/>
          <ac:spMkLst>
            <pc:docMk/>
            <pc:sldMk cId="2807376235" sldId="2147481263"/>
            <ac:spMk id="122" creationId="{9F9869AF-B0F6-4E89-B216-4EC18C7334C2}"/>
          </ac:spMkLst>
        </pc:spChg>
        <pc:spChg chg="add del mod modVis">
          <ac:chgData name="Kyndal Mayes" userId="142911e9-0388-46d2-be9a-eb7bc2b8ac4b" providerId="ADAL" clId="{29B3924A-0E99-426D-A9EC-E22D7BFBE5E7}" dt="2024-09-27T16:45:24.958" v="18643"/>
          <ac:spMkLst>
            <pc:docMk/>
            <pc:sldMk cId="2807376235" sldId="2147481263"/>
            <ac:spMk id="123" creationId="{677C6AEF-B47E-3781-3058-FFDD640B2667}"/>
          </ac:spMkLst>
        </pc:spChg>
        <pc:spChg chg="add del mod modVis">
          <ac:chgData name="Kyndal Mayes" userId="142911e9-0388-46d2-be9a-eb7bc2b8ac4b" providerId="ADAL" clId="{29B3924A-0E99-426D-A9EC-E22D7BFBE5E7}" dt="2024-09-27T16:45:26.918" v="18849"/>
          <ac:spMkLst>
            <pc:docMk/>
            <pc:sldMk cId="2807376235" sldId="2147481263"/>
            <ac:spMk id="126" creationId="{D62882D3-655D-492B-EACA-BCA576D138D0}"/>
          </ac:spMkLst>
        </pc:spChg>
        <pc:spChg chg="add del mod modVis">
          <ac:chgData name="Kyndal Mayes" userId="142911e9-0388-46d2-be9a-eb7bc2b8ac4b" providerId="ADAL" clId="{29B3924A-0E99-426D-A9EC-E22D7BFBE5E7}" dt="2024-09-27T16:45:27.980" v="19081"/>
          <ac:spMkLst>
            <pc:docMk/>
            <pc:sldMk cId="2807376235" sldId="2147481263"/>
            <ac:spMk id="128" creationId="{202E5730-28EC-093F-8C02-7E6AD0D16420}"/>
          </ac:spMkLst>
        </pc:spChg>
        <pc:spChg chg="add del mod modVis">
          <ac:chgData name="Kyndal Mayes" userId="142911e9-0388-46d2-be9a-eb7bc2b8ac4b" providerId="ADAL" clId="{29B3924A-0E99-426D-A9EC-E22D7BFBE5E7}" dt="2024-09-27T16:45:30.231" v="19347"/>
          <ac:spMkLst>
            <pc:docMk/>
            <pc:sldMk cId="2807376235" sldId="2147481263"/>
            <ac:spMk id="131" creationId="{B6E17094-644C-C2D2-A833-87702E49DD07}"/>
          </ac:spMkLst>
        </pc:spChg>
        <pc:spChg chg="add mod ord">
          <ac:chgData name="Kyndal Mayes" userId="142911e9-0388-46d2-be9a-eb7bc2b8ac4b" providerId="ADAL" clId="{29B3924A-0E99-426D-A9EC-E22D7BFBE5E7}" dt="2024-09-27T17:52:20.768" v="81469"/>
          <ac:spMkLst>
            <pc:docMk/>
            <pc:sldMk cId="2807376235" sldId="2147481263"/>
            <ac:spMk id="132" creationId="{9F9869AF-B0F6-4E89-B216-4EC18C7334C2}"/>
          </ac:spMkLst>
        </pc:spChg>
        <pc:spChg chg="mod ord">
          <ac:chgData name="Kyndal Mayes" userId="142911e9-0388-46d2-be9a-eb7bc2b8ac4b" providerId="ADAL" clId="{29B3924A-0E99-426D-A9EC-E22D7BFBE5E7}" dt="2024-09-27T17:52:20.784" v="81501"/>
          <ac:spMkLst>
            <pc:docMk/>
            <pc:sldMk cId="2807376235" sldId="2147481263"/>
            <ac:spMk id="134" creationId="{78FDADA8-A9B4-FA46-06E3-042B31FC9F68}"/>
          </ac:spMkLst>
        </pc:spChg>
        <pc:spChg chg="mod ord">
          <ac:chgData name="Kyndal Mayes" userId="142911e9-0388-46d2-be9a-eb7bc2b8ac4b" providerId="ADAL" clId="{29B3924A-0E99-426D-A9EC-E22D7BFBE5E7}" dt="2024-09-27T17:52:20.784" v="81503"/>
          <ac:spMkLst>
            <pc:docMk/>
            <pc:sldMk cId="2807376235" sldId="2147481263"/>
            <ac:spMk id="135" creationId="{47E5ADB1-172F-5033-CD72-C3BCD36B1B4E}"/>
          </ac:spMkLst>
        </pc:spChg>
        <pc:spChg chg="mod ord">
          <ac:chgData name="Kyndal Mayes" userId="142911e9-0388-46d2-be9a-eb7bc2b8ac4b" providerId="ADAL" clId="{29B3924A-0E99-426D-A9EC-E22D7BFBE5E7}" dt="2024-09-27T17:52:20.784" v="81505"/>
          <ac:spMkLst>
            <pc:docMk/>
            <pc:sldMk cId="2807376235" sldId="2147481263"/>
            <ac:spMk id="136" creationId="{1F59EBB9-7F1F-8E3C-4E41-AB24B47ECBB1}"/>
          </ac:spMkLst>
        </pc:spChg>
        <pc:spChg chg="mod ord">
          <ac:chgData name="Kyndal Mayes" userId="142911e9-0388-46d2-be9a-eb7bc2b8ac4b" providerId="ADAL" clId="{29B3924A-0E99-426D-A9EC-E22D7BFBE5E7}" dt="2024-09-27T17:52:20.784" v="81507"/>
          <ac:spMkLst>
            <pc:docMk/>
            <pc:sldMk cId="2807376235" sldId="2147481263"/>
            <ac:spMk id="137" creationId="{B3205A10-0DBD-1F17-7A60-8EECFBDCD1FC}"/>
          </ac:spMkLst>
        </pc:spChg>
        <pc:spChg chg="add del mod modVis">
          <ac:chgData name="Kyndal Mayes" userId="142911e9-0388-46d2-be9a-eb7bc2b8ac4b" providerId="ADAL" clId="{29B3924A-0E99-426D-A9EC-E22D7BFBE5E7}" dt="2024-09-27T16:45:31.873" v="19570"/>
          <ac:spMkLst>
            <pc:docMk/>
            <pc:sldMk cId="2807376235" sldId="2147481263"/>
            <ac:spMk id="138" creationId="{2C0183EB-3FDA-1296-EC88-C3DB2EDE68E1}"/>
          </ac:spMkLst>
        </pc:spChg>
        <pc:spChg chg="add del mod modVis">
          <ac:chgData name="Kyndal Mayes" userId="142911e9-0388-46d2-be9a-eb7bc2b8ac4b" providerId="ADAL" clId="{29B3924A-0E99-426D-A9EC-E22D7BFBE5E7}" dt="2024-09-27T16:45:33.619" v="19839"/>
          <ac:spMkLst>
            <pc:docMk/>
            <pc:sldMk cId="2807376235" sldId="2147481263"/>
            <ac:spMk id="140" creationId="{0220B868-4896-1756-B0C7-4FD76AB85CD9}"/>
          </ac:spMkLst>
        </pc:spChg>
        <pc:spChg chg="add mod">
          <ac:chgData name="Kyndal Mayes" userId="142911e9-0388-46d2-be9a-eb7bc2b8ac4b" providerId="ADAL" clId="{29B3924A-0E99-426D-A9EC-E22D7BFBE5E7}" dt="2024-09-27T17:52:20.768" v="81470"/>
          <ac:spMkLst>
            <pc:docMk/>
            <pc:sldMk cId="2807376235" sldId="2147481263"/>
            <ac:spMk id="141" creationId="{9F9869AF-B0F6-4E89-B216-4EC18C7334C2}"/>
          </ac:spMkLst>
        </pc:spChg>
        <pc:spChg chg="add del mod modVis">
          <ac:chgData name="Kyndal Mayes" userId="142911e9-0388-46d2-be9a-eb7bc2b8ac4b" providerId="ADAL" clId="{29B3924A-0E99-426D-A9EC-E22D7BFBE5E7}" dt="2024-09-27T16:45:35.138" v="20056"/>
          <ac:spMkLst>
            <pc:docMk/>
            <pc:sldMk cId="2807376235" sldId="2147481263"/>
            <ac:spMk id="143" creationId="{2E1A23F7-637A-1F67-EC90-AF288EDAA337}"/>
          </ac:spMkLst>
        </pc:spChg>
        <pc:spChg chg="add del mod modVis">
          <ac:chgData name="Kyndal Mayes" userId="142911e9-0388-46d2-be9a-eb7bc2b8ac4b" providerId="ADAL" clId="{29B3924A-0E99-426D-A9EC-E22D7BFBE5E7}" dt="2024-09-27T16:45:36.270" v="20269"/>
          <ac:spMkLst>
            <pc:docMk/>
            <pc:sldMk cId="2807376235" sldId="2147481263"/>
            <ac:spMk id="145" creationId="{F54231D5-1FCA-228A-8248-ECEE245E621D}"/>
          </ac:spMkLst>
        </pc:spChg>
        <pc:spChg chg="add del mod modVis">
          <ac:chgData name="Kyndal Mayes" userId="142911e9-0388-46d2-be9a-eb7bc2b8ac4b" providerId="ADAL" clId="{29B3924A-0E99-426D-A9EC-E22D7BFBE5E7}" dt="2024-09-27T16:45:37.537" v="20498"/>
          <ac:spMkLst>
            <pc:docMk/>
            <pc:sldMk cId="2807376235" sldId="2147481263"/>
            <ac:spMk id="147" creationId="{29F6BA16-9B28-1BF3-CC7B-248E4637C621}"/>
          </ac:spMkLst>
        </pc:spChg>
        <pc:spChg chg="add del mod modVis">
          <ac:chgData name="Kyndal Mayes" userId="142911e9-0388-46d2-be9a-eb7bc2b8ac4b" providerId="ADAL" clId="{29B3924A-0E99-426D-A9EC-E22D7BFBE5E7}" dt="2024-09-27T16:45:46.752" v="20722"/>
          <ac:spMkLst>
            <pc:docMk/>
            <pc:sldMk cId="2807376235" sldId="2147481263"/>
            <ac:spMk id="149" creationId="{9E48BA70-4703-E802-70C6-C3A8EF9F6795}"/>
          </ac:spMkLst>
        </pc:spChg>
        <pc:spChg chg="add del mod modVis">
          <ac:chgData name="Kyndal Mayes" userId="142911e9-0388-46d2-be9a-eb7bc2b8ac4b" providerId="ADAL" clId="{29B3924A-0E99-426D-A9EC-E22D7BFBE5E7}" dt="2024-09-27T16:45:47.274" v="20945"/>
          <ac:spMkLst>
            <pc:docMk/>
            <pc:sldMk cId="2807376235" sldId="2147481263"/>
            <ac:spMk id="151" creationId="{8286C5EE-CED9-AE1D-6585-E3854D2DBC19}"/>
          </ac:spMkLst>
        </pc:spChg>
        <pc:spChg chg="add del mod modVis">
          <ac:chgData name="Kyndal Mayes" userId="142911e9-0388-46d2-be9a-eb7bc2b8ac4b" providerId="ADAL" clId="{29B3924A-0E99-426D-A9EC-E22D7BFBE5E7}" dt="2024-09-27T16:45:49.566" v="21158"/>
          <ac:spMkLst>
            <pc:docMk/>
            <pc:sldMk cId="2807376235" sldId="2147481263"/>
            <ac:spMk id="153" creationId="{812F9894-CE6F-8E16-C68F-2DE1132DD65D}"/>
          </ac:spMkLst>
        </pc:spChg>
        <pc:spChg chg="add del mod modVis">
          <ac:chgData name="Kyndal Mayes" userId="142911e9-0388-46d2-be9a-eb7bc2b8ac4b" providerId="ADAL" clId="{29B3924A-0E99-426D-A9EC-E22D7BFBE5E7}" dt="2024-09-27T16:45:52.024" v="21382"/>
          <ac:spMkLst>
            <pc:docMk/>
            <pc:sldMk cId="2807376235" sldId="2147481263"/>
            <ac:spMk id="155" creationId="{23F59799-0A10-6BFF-752C-0FFCF3A206F7}"/>
          </ac:spMkLst>
        </pc:spChg>
        <pc:spChg chg="add del mod modVis">
          <ac:chgData name="Kyndal Mayes" userId="142911e9-0388-46d2-be9a-eb7bc2b8ac4b" providerId="ADAL" clId="{29B3924A-0E99-426D-A9EC-E22D7BFBE5E7}" dt="2024-09-27T16:45:54.397" v="21595"/>
          <ac:spMkLst>
            <pc:docMk/>
            <pc:sldMk cId="2807376235" sldId="2147481263"/>
            <ac:spMk id="157" creationId="{F6986E40-048C-DD2E-0E1A-B7F1402A079E}"/>
          </ac:spMkLst>
        </pc:spChg>
        <pc:spChg chg="add del mod modVis">
          <ac:chgData name="Kyndal Mayes" userId="142911e9-0388-46d2-be9a-eb7bc2b8ac4b" providerId="ADAL" clId="{29B3924A-0E99-426D-A9EC-E22D7BFBE5E7}" dt="2024-09-27T16:46:00.832" v="21813"/>
          <ac:spMkLst>
            <pc:docMk/>
            <pc:sldMk cId="2807376235" sldId="2147481263"/>
            <ac:spMk id="159" creationId="{1D4BF3EA-1F4F-2212-0B95-1B3CD135F029}"/>
          </ac:spMkLst>
        </pc:spChg>
        <pc:spChg chg="add del mod modVis">
          <ac:chgData name="Kyndal Mayes" userId="142911e9-0388-46d2-be9a-eb7bc2b8ac4b" providerId="ADAL" clId="{29B3924A-0E99-426D-A9EC-E22D7BFBE5E7}" dt="2024-09-27T16:46:01.942" v="22084"/>
          <ac:spMkLst>
            <pc:docMk/>
            <pc:sldMk cId="2807376235" sldId="2147481263"/>
            <ac:spMk id="161" creationId="{1F21E226-096B-19E7-2DD7-7342DA4DC1C7}"/>
          </ac:spMkLst>
        </pc:spChg>
        <pc:spChg chg="add mod ord">
          <ac:chgData name="Kyndal Mayes" userId="142911e9-0388-46d2-be9a-eb7bc2b8ac4b" providerId="ADAL" clId="{29B3924A-0E99-426D-A9EC-E22D7BFBE5E7}" dt="2024-09-27T17:52:20.768" v="81471"/>
          <ac:spMkLst>
            <pc:docMk/>
            <pc:sldMk cId="2807376235" sldId="2147481263"/>
            <ac:spMk id="162" creationId="{9F9869AF-B0F6-4E89-B216-4EC18C7334C2}"/>
          </ac:spMkLst>
        </pc:spChg>
        <pc:spChg chg="add del mod modVis">
          <ac:chgData name="Kyndal Mayes" userId="142911e9-0388-46d2-be9a-eb7bc2b8ac4b" providerId="ADAL" clId="{29B3924A-0E99-426D-A9EC-E22D7BFBE5E7}" dt="2024-09-27T16:46:03.248" v="22303"/>
          <ac:spMkLst>
            <pc:docMk/>
            <pc:sldMk cId="2807376235" sldId="2147481263"/>
            <ac:spMk id="164" creationId="{9CAAFA20-F556-29BC-D88C-EA2FB096B3D8}"/>
          </ac:spMkLst>
        </pc:spChg>
        <pc:spChg chg="add del mod modVis">
          <ac:chgData name="Kyndal Mayes" userId="142911e9-0388-46d2-be9a-eb7bc2b8ac4b" providerId="ADAL" clId="{29B3924A-0E99-426D-A9EC-E22D7BFBE5E7}" dt="2024-09-27T16:46:05.262" v="22576"/>
          <ac:spMkLst>
            <pc:docMk/>
            <pc:sldMk cId="2807376235" sldId="2147481263"/>
            <ac:spMk id="166" creationId="{2444A00E-AA79-F9E1-1873-F5D15BAC9682}"/>
          </ac:spMkLst>
        </pc:spChg>
        <pc:spChg chg="add mod">
          <ac:chgData name="Kyndal Mayes" userId="142911e9-0388-46d2-be9a-eb7bc2b8ac4b" providerId="ADAL" clId="{29B3924A-0E99-426D-A9EC-E22D7BFBE5E7}" dt="2024-09-27T17:52:20.768" v="81472"/>
          <ac:spMkLst>
            <pc:docMk/>
            <pc:sldMk cId="2807376235" sldId="2147481263"/>
            <ac:spMk id="167" creationId="{9F9869AF-B0F6-4E89-B216-4EC18C7334C2}"/>
          </ac:spMkLst>
        </pc:spChg>
        <pc:spChg chg="add del mod modVis">
          <ac:chgData name="Kyndal Mayes" userId="142911e9-0388-46d2-be9a-eb7bc2b8ac4b" providerId="ADAL" clId="{29B3924A-0E99-426D-A9EC-E22D7BFBE5E7}" dt="2024-09-27T16:46:06.987" v="22858"/>
          <ac:spMkLst>
            <pc:docMk/>
            <pc:sldMk cId="2807376235" sldId="2147481263"/>
            <ac:spMk id="169" creationId="{05912DEB-4CD5-AB05-8765-A6E228C17F5E}"/>
          </ac:spMkLst>
        </pc:spChg>
        <pc:spChg chg="add mod ord">
          <ac:chgData name="Kyndal Mayes" userId="142911e9-0388-46d2-be9a-eb7bc2b8ac4b" providerId="ADAL" clId="{29B3924A-0E99-426D-A9EC-E22D7BFBE5E7}" dt="2024-09-27T17:52:20.768" v="81473"/>
          <ac:spMkLst>
            <pc:docMk/>
            <pc:sldMk cId="2807376235" sldId="2147481263"/>
            <ac:spMk id="170" creationId="{9F9869AF-B0F6-4E89-B216-4EC18C7334C2}"/>
          </ac:spMkLst>
        </pc:spChg>
        <pc:spChg chg="add del mod modVis">
          <ac:chgData name="Kyndal Mayes" userId="142911e9-0388-46d2-be9a-eb7bc2b8ac4b" providerId="ADAL" clId="{29B3924A-0E99-426D-A9EC-E22D7BFBE5E7}" dt="2024-09-27T16:46:07.697" v="23078"/>
          <ac:spMkLst>
            <pc:docMk/>
            <pc:sldMk cId="2807376235" sldId="2147481263"/>
            <ac:spMk id="172" creationId="{DC9C83A6-EB09-ED0A-3415-D58C8D35A8AE}"/>
          </ac:spMkLst>
        </pc:spChg>
        <pc:spChg chg="add del mod modVis">
          <ac:chgData name="Kyndal Mayes" userId="142911e9-0388-46d2-be9a-eb7bc2b8ac4b" providerId="ADAL" clId="{29B3924A-0E99-426D-A9EC-E22D7BFBE5E7}" dt="2024-09-27T16:46:09.368" v="23298"/>
          <ac:spMkLst>
            <pc:docMk/>
            <pc:sldMk cId="2807376235" sldId="2147481263"/>
            <ac:spMk id="174" creationId="{B60B358E-C4FD-7921-D1BA-DFC6D040315E}"/>
          </ac:spMkLst>
        </pc:spChg>
        <pc:spChg chg="add del mod modVis">
          <ac:chgData name="Kyndal Mayes" userId="142911e9-0388-46d2-be9a-eb7bc2b8ac4b" providerId="ADAL" clId="{29B3924A-0E99-426D-A9EC-E22D7BFBE5E7}" dt="2024-09-27T16:46:11.067" v="23546"/>
          <ac:spMkLst>
            <pc:docMk/>
            <pc:sldMk cId="2807376235" sldId="2147481263"/>
            <ac:spMk id="176" creationId="{F3E5A403-6CF2-92ED-6CE7-D5E8B6748F48}"/>
          </ac:spMkLst>
        </pc:spChg>
        <pc:spChg chg="add del mod modVis">
          <ac:chgData name="Kyndal Mayes" userId="142911e9-0388-46d2-be9a-eb7bc2b8ac4b" providerId="ADAL" clId="{29B3924A-0E99-426D-A9EC-E22D7BFBE5E7}" dt="2024-09-27T16:46:11.781" v="23825"/>
          <ac:spMkLst>
            <pc:docMk/>
            <pc:sldMk cId="2807376235" sldId="2147481263"/>
            <ac:spMk id="179" creationId="{1D8D1458-51B4-2E70-5E4D-C7B6274D10F6}"/>
          </ac:spMkLst>
        </pc:spChg>
        <pc:spChg chg="add mod ord">
          <ac:chgData name="Kyndal Mayes" userId="142911e9-0388-46d2-be9a-eb7bc2b8ac4b" providerId="ADAL" clId="{29B3924A-0E99-426D-A9EC-E22D7BFBE5E7}" dt="2024-09-27T17:52:20.768" v="81474"/>
          <ac:spMkLst>
            <pc:docMk/>
            <pc:sldMk cId="2807376235" sldId="2147481263"/>
            <ac:spMk id="180" creationId="{9F9869AF-B0F6-4E89-B216-4EC18C7334C2}"/>
          </ac:spMkLst>
        </pc:spChg>
        <pc:spChg chg="add del mod modVis">
          <ac:chgData name="Kyndal Mayes" userId="142911e9-0388-46d2-be9a-eb7bc2b8ac4b" providerId="ADAL" clId="{29B3924A-0E99-426D-A9EC-E22D7BFBE5E7}" dt="2024-09-27T16:46:13.216" v="24068"/>
          <ac:spMkLst>
            <pc:docMk/>
            <pc:sldMk cId="2807376235" sldId="2147481263"/>
            <ac:spMk id="182" creationId="{8AB16952-1E30-61C8-712F-90D0E9D8916C}"/>
          </ac:spMkLst>
        </pc:spChg>
        <pc:spChg chg="del mod">
          <ac:chgData name="Kyndal Mayes" userId="142911e9-0388-46d2-be9a-eb7bc2b8ac4b" providerId="ADAL" clId="{29B3924A-0E99-426D-A9EC-E22D7BFBE5E7}" dt="2024-09-27T17:50:54.671" v="69179"/>
          <ac:spMkLst>
            <pc:docMk/>
            <pc:sldMk cId="2807376235" sldId="2147481263"/>
            <ac:spMk id="185" creationId="{9F9869AF-B0F6-4E89-B216-4EC18C7334C2}"/>
          </ac:spMkLst>
        </pc:spChg>
        <pc:spChg chg="del mod">
          <ac:chgData name="Kyndal Mayes" userId="142911e9-0388-46d2-be9a-eb7bc2b8ac4b" providerId="ADAL" clId="{29B3924A-0E99-426D-A9EC-E22D7BFBE5E7}" dt="2024-09-27T17:50:55.763" v="69462"/>
          <ac:spMkLst>
            <pc:docMk/>
            <pc:sldMk cId="2807376235" sldId="2147481263"/>
            <ac:spMk id="186" creationId="{9F9869AF-B0F6-4E89-B216-4EC18C7334C2}"/>
          </ac:spMkLst>
        </pc:spChg>
        <pc:spChg chg="del mod">
          <ac:chgData name="Kyndal Mayes" userId="142911e9-0388-46d2-be9a-eb7bc2b8ac4b" providerId="ADAL" clId="{29B3924A-0E99-426D-A9EC-E22D7BFBE5E7}" dt="2024-09-27T17:50:59.879" v="70357"/>
          <ac:spMkLst>
            <pc:docMk/>
            <pc:sldMk cId="2807376235" sldId="2147481263"/>
            <ac:spMk id="187" creationId="{9F9869AF-B0F6-4E89-B216-4EC18C7334C2}"/>
          </ac:spMkLst>
        </pc:spChg>
        <pc:spChg chg="del mod">
          <ac:chgData name="Kyndal Mayes" userId="142911e9-0388-46d2-be9a-eb7bc2b8ac4b" providerId="ADAL" clId="{29B3924A-0E99-426D-A9EC-E22D7BFBE5E7}" dt="2024-09-27T17:51:00.194" v="70636"/>
          <ac:spMkLst>
            <pc:docMk/>
            <pc:sldMk cId="2807376235" sldId="2147481263"/>
            <ac:spMk id="188" creationId="{9F9869AF-B0F6-4E89-B216-4EC18C7334C2}"/>
          </ac:spMkLst>
        </pc:spChg>
        <pc:spChg chg="del mod">
          <ac:chgData name="Kyndal Mayes" userId="142911e9-0388-46d2-be9a-eb7bc2b8ac4b" providerId="ADAL" clId="{29B3924A-0E99-426D-A9EC-E22D7BFBE5E7}" dt="2024-09-27T17:51:08.349" v="71501"/>
          <ac:spMkLst>
            <pc:docMk/>
            <pc:sldMk cId="2807376235" sldId="2147481263"/>
            <ac:spMk id="189" creationId="{9F9869AF-B0F6-4E89-B216-4EC18C7334C2}"/>
          </ac:spMkLst>
        </pc:spChg>
        <pc:spChg chg="add del mod modVis">
          <ac:chgData name="Kyndal Mayes" userId="142911e9-0388-46d2-be9a-eb7bc2b8ac4b" providerId="ADAL" clId="{29B3924A-0E99-426D-A9EC-E22D7BFBE5E7}" dt="2024-09-27T16:46:14.123" v="24351"/>
          <ac:spMkLst>
            <pc:docMk/>
            <pc:sldMk cId="2807376235" sldId="2147481263"/>
            <ac:spMk id="190" creationId="{D455C242-DCE8-6E18-1D6C-9B791092ACDB}"/>
          </ac:spMkLst>
        </pc:spChg>
        <pc:spChg chg="add mod">
          <ac:chgData name="Kyndal Mayes" userId="142911e9-0388-46d2-be9a-eb7bc2b8ac4b" providerId="ADAL" clId="{29B3924A-0E99-426D-A9EC-E22D7BFBE5E7}" dt="2024-09-27T17:52:20.768" v="81475"/>
          <ac:spMkLst>
            <pc:docMk/>
            <pc:sldMk cId="2807376235" sldId="2147481263"/>
            <ac:spMk id="191" creationId="{9F9869AF-B0F6-4E89-B216-4EC18C7334C2}"/>
          </ac:spMkLst>
        </pc:spChg>
        <pc:spChg chg="add del mod modVis">
          <ac:chgData name="Kyndal Mayes" userId="142911e9-0388-46d2-be9a-eb7bc2b8ac4b" providerId="ADAL" clId="{29B3924A-0E99-426D-A9EC-E22D7BFBE5E7}" dt="2024-09-27T16:46:17.562" v="24598"/>
          <ac:spMkLst>
            <pc:docMk/>
            <pc:sldMk cId="2807376235" sldId="2147481263"/>
            <ac:spMk id="193" creationId="{BDA7D6CD-A071-FDAD-B296-68A79DCDBDD2}"/>
          </ac:spMkLst>
        </pc:spChg>
        <pc:spChg chg="mod ord">
          <ac:chgData name="Kyndal Mayes" userId="142911e9-0388-46d2-be9a-eb7bc2b8ac4b" providerId="ADAL" clId="{29B3924A-0E99-426D-A9EC-E22D7BFBE5E7}" dt="2024-09-27T17:52:20.784" v="81523"/>
          <ac:spMkLst>
            <pc:docMk/>
            <pc:sldMk cId="2807376235" sldId="2147481263"/>
            <ac:spMk id="195" creationId="{9F9869AF-B0F6-4E89-B216-4EC18C7334C2}"/>
          </ac:spMkLst>
        </pc:spChg>
        <pc:spChg chg="add del mod modVis">
          <ac:chgData name="Kyndal Mayes" userId="142911e9-0388-46d2-be9a-eb7bc2b8ac4b" providerId="ADAL" clId="{29B3924A-0E99-426D-A9EC-E22D7BFBE5E7}" dt="2024-09-27T16:46:18.847" v="24823"/>
          <ac:spMkLst>
            <pc:docMk/>
            <pc:sldMk cId="2807376235" sldId="2147481263"/>
            <ac:spMk id="196" creationId="{62309BF7-2FB6-5FB6-1035-246DF2AA752A}"/>
          </ac:spMkLst>
        </pc:spChg>
        <pc:spChg chg="add del mod modVis">
          <ac:chgData name="Kyndal Mayes" userId="142911e9-0388-46d2-be9a-eb7bc2b8ac4b" providerId="ADAL" clId="{29B3924A-0E99-426D-A9EC-E22D7BFBE5E7}" dt="2024-09-27T16:46:20.362" v="25106"/>
          <ac:spMkLst>
            <pc:docMk/>
            <pc:sldMk cId="2807376235" sldId="2147481263"/>
            <ac:spMk id="198" creationId="{AC14CA0B-2250-C43F-35EA-400DBF076FA9}"/>
          </ac:spMkLst>
        </pc:spChg>
        <pc:spChg chg="add mod">
          <ac:chgData name="Kyndal Mayes" userId="142911e9-0388-46d2-be9a-eb7bc2b8ac4b" providerId="ADAL" clId="{29B3924A-0E99-426D-A9EC-E22D7BFBE5E7}" dt="2024-09-27T17:52:20.768" v="81476"/>
          <ac:spMkLst>
            <pc:docMk/>
            <pc:sldMk cId="2807376235" sldId="2147481263"/>
            <ac:spMk id="199" creationId="{9F9869AF-B0F6-4E89-B216-4EC18C7334C2}"/>
          </ac:spMkLst>
        </pc:spChg>
        <pc:spChg chg="del mod">
          <ac:chgData name="Kyndal Mayes" userId="142911e9-0388-46d2-be9a-eb7bc2b8ac4b" providerId="ADAL" clId="{29B3924A-0E99-426D-A9EC-E22D7BFBE5E7}" dt="2024-09-27T17:51:27.233" v="76199"/>
          <ac:spMkLst>
            <pc:docMk/>
            <pc:sldMk cId="2807376235" sldId="2147481263"/>
            <ac:spMk id="201" creationId="{29EE3F40-3D41-5AF3-77D9-E21BCCC7A86D}"/>
          </ac:spMkLst>
        </pc:spChg>
        <pc:spChg chg="del mod">
          <ac:chgData name="Kyndal Mayes" userId="142911e9-0388-46d2-be9a-eb7bc2b8ac4b" providerId="ADAL" clId="{29B3924A-0E99-426D-A9EC-E22D7BFBE5E7}" dt="2024-09-27T17:51:36.387" v="78810"/>
          <ac:spMkLst>
            <pc:docMk/>
            <pc:sldMk cId="2807376235" sldId="2147481263"/>
            <ac:spMk id="202" creationId="{DEF09ECF-BDE5-7FF5-DBA8-CA96AFEF8C46}"/>
          </ac:spMkLst>
        </pc:spChg>
        <pc:spChg chg="add del mod modVis">
          <ac:chgData name="Kyndal Mayes" userId="142911e9-0388-46d2-be9a-eb7bc2b8ac4b" providerId="ADAL" clId="{29B3924A-0E99-426D-A9EC-E22D7BFBE5E7}" dt="2024-09-27T16:46:21.506" v="25393"/>
          <ac:spMkLst>
            <pc:docMk/>
            <pc:sldMk cId="2807376235" sldId="2147481263"/>
            <ac:spMk id="203" creationId="{59E2024E-4C37-48C6-B82D-7175F415609F}"/>
          </ac:spMkLst>
        </pc:spChg>
        <pc:spChg chg="add del mod modVis">
          <ac:chgData name="Kyndal Mayes" userId="142911e9-0388-46d2-be9a-eb7bc2b8ac4b" providerId="ADAL" clId="{29B3924A-0E99-426D-A9EC-E22D7BFBE5E7}" dt="2024-09-27T16:46:22.709" v="25622"/>
          <ac:spMkLst>
            <pc:docMk/>
            <pc:sldMk cId="2807376235" sldId="2147481263"/>
            <ac:spMk id="207" creationId="{CDC10CBD-0B30-4F51-7A72-9434A11F1973}"/>
          </ac:spMkLst>
        </pc:spChg>
        <pc:spChg chg="mod ord">
          <ac:chgData name="Kyndal Mayes" userId="142911e9-0388-46d2-be9a-eb7bc2b8ac4b" providerId="ADAL" clId="{29B3924A-0E99-426D-A9EC-E22D7BFBE5E7}" dt="2024-09-27T17:52:20.800" v="81561"/>
          <ac:spMkLst>
            <pc:docMk/>
            <pc:sldMk cId="2807376235" sldId="2147481263"/>
            <ac:spMk id="208" creationId="{A95FCD81-3791-25AF-A3DF-08869EA2193E}"/>
          </ac:spMkLst>
        </pc:spChg>
        <pc:spChg chg="mod ord">
          <ac:chgData name="Kyndal Mayes" userId="142911e9-0388-46d2-be9a-eb7bc2b8ac4b" providerId="ADAL" clId="{29B3924A-0E99-426D-A9EC-E22D7BFBE5E7}" dt="2024-09-27T17:52:20.800" v="81567"/>
          <ac:spMkLst>
            <pc:docMk/>
            <pc:sldMk cId="2807376235" sldId="2147481263"/>
            <ac:spMk id="209" creationId="{B30D0ABE-42BD-C143-87E3-3C9A18E69433}"/>
          </ac:spMkLst>
        </pc:spChg>
        <pc:spChg chg="add del mod modVis">
          <ac:chgData name="Kyndal Mayes" userId="142911e9-0388-46d2-be9a-eb7bc2b8ac4b" providerId="ADAL" clId="{29B3924A-0E99-426D-A9EC-E22D7BFBE5E7}" dt="2024-09-27T16:46:24.291" v="25909"/>
          <ac:spMkLst>
            <pc:docMk/>
            <pc:sldMk cId="2807376235" sldId="2147481263"/>
            <ac:spMk id="211" creationId="{BA1ACEC2-1326-BE67-942C-AA2F57969C06}"/>
          </ac:spMkLst>
        </pc:spChg>
        <pc:spChg chg="add mod">
          <ac:chgData name="Kyndal Mayes" userId="142911e9-0388-46d2-be9a-eb7bc2b8ac4b" providerId="ADAL" clId="{29B3924A-0E99-426D-A9EC-E22D7BFBE5E7}" dt="2024-09-27T17:52:20.768" v="81477"/>
          <ac:spMkLst>
            <pc:docMk/>
            <pc:sldMk cId="2807376235" sldId="2147481263"/>
            <ac:spMk id="212" creationId="{9F9869AF-B0F6-4E89-B216-4EC18C7334C2}"/>
          </ac:spMkLst>
        </pc:spChg>
        <pc:spChg chg="add del mod modVis">
          <ac:chgData name="Kyndal Mayes" userId="142911e9-0388-46d2-be9a-eb7bc2b8ac4b" providerId="ADAL" clId="{29B3924A-0E99-426D-A9EC-E22D7BFBE5E7}" dt="2024-09-27T16:46:25.359" v="26144"/>
          <ac:spMkLst>
            <pc:docMk/>
            <pc:sldMk cId="2807376235" sldId="2147481263"/>
            <ac:spMk id="214" creationId="{DBC3C756-8980-061D-4454-1A0CD5F45AA8}"/>
          </ac:spMkLst>
        </pc:spChg>
        <pc:spChg chg="add del mod modVis">
          <ac:chgData name="Kyndal Mayes" userId="142911e9-0388-46d2-be9a-eb7bc2b8ac4b" providerId="ADAL" clId="{29B3924A-0E99-426D-A9EC-E22D7BFBE5E7}" dt="2024-09-27T16:46:27.519" v="26375"/>
          <ac:spMkLst>
            <pc:docMk/>
            <pc:sldMk cId="2807376235" sldId="2147481263"/>
            <ac:spMk id="216" creationId="{29F5442E-EC2A-B188-A6EF-E39D468FEDE6}"/>
          </ac:spMkLst>
        </pc:spChg>
        <pc:spChg chg="add del mod modVis">
          <ac:chgData name="Kyndal Mayes" userId="142911e9-0388-46d2-be9a-eb7bc2b8ac4b" providerId="ADAL" clId="{29B3924A-0E99-426D-A9EC-E22D7BFBE5E7}" dt="2024-09-27T16:46:31.607" v="26664"/>
          <ac:spMkLst>
            <pc:docMk/>
            <pc:sldMk cId="2807376235" sldId="2147481263"/>
            <ac:spMk id="218" creationId="{ED99D51D-31BD-F0FD-2E53-5EA964A1D452}"/>
          </ac:spMkLst>
        </pc:spChg>
        <pc:spChg chg="add mod">
          <ac:chgData name="Kyndal Mayes" userId="142911e9-0388-46d2-be9a-eb7bc2b8ac4b" providerId="ADAL" clId="{29B3924A-0E99-426D-A9EC-E22D7BFBE5E7}" dt="2024-09-27T17:52:20.784" v="81478"/>
          <ac:spMkLst>
            <pc:docMk/>
            <pc:sldMk cId="2807376235" sldId="2147481263"/>
            <ac:spMk id="219" creationId="{9F9869AF-B0F6-4E89-B216-4EC18C7334C2}"/>
          </ac:spMkLst>
        </pc:spChg>
        <pc:spChg chg="add del mod modVis">
          <ac:chgData name="Kyndal Mayes" userId="142911e9-0388-46d2-be9a-eb7bc2b8ac4b" providerId="ADAL" clId="{29B3924A-0E99-426D-A9EC-E22D7BFBE5E7}" dt="2024-09-27T16:46:33.093" v="26901"/>
          <ac:spMkLst>
            <pc:docMk/>
            <pc:sldMk cId="2807376235" sldId="2147481263"/>
            <ac:spMk id="221" creationId="{CDB926EF-2E10-144B-51CD-D7D8EA5B6B90}"/>
          </ac:spMkLst>
        </pc:spChg>
        <pc:spChg chg="add del mod modVis">
          <ac:chgData name="Kyndal Mayes" userId="142911e9-0388-46d2-be9a-eb7bc2b8ac4b" providerId="ADAL" clId="{29B3924A-0E99-426D-A9EC-E22D7BFBE5E7}" dt="2024-09-27T16:46:34.122" v="27192"/>
          <ac:spMkLst>
            <pc:docMk/>
            <pc:sldMk cId="2807376235" sldId="2147481263"/>
            <ac:spMk id="223" creationId="{61BDEADF-0EFF-5B64-FA21-F343343C0E4F}"/>
          </ac:spMkLst>
        </pc:spChg>
        <pc:spChg chg="add mod">
          <ac:chgData name="Kyndal Mayes" userId="142911e9-0388-46d2-be9a-eb7bc2b8ac4b" providerId="ADAL" clId="{29B3924A-0E99-426D-A9EC-E22D7BFBE5E7}" dt="2024-09-27T17:52:20.784" v="81479"/>
          <ac:spMkLst>
            <pc:docMk/>
            <pc:sldMk cId="2807376235" sldId="2147481263"/>
            <ac:spMk id="224" creationId="{9F9869AF-B0F6-4E89-B216-4EC18C7334C2}"/>
          </ac:spMkLst>
        </pc:spChg>
        <pc:spChg chg="add del mod modVis">
          <ac:chgData name="Kyndal Mayes" userId="142911e9-0388-46d2-be9a-eb7bc2b8ac4b" providerId="ADAL" clId="{29B3924A-0E99-426D-A9EC-E22D7BFBE5E7}" dt="2024-09-27T16:46:35.398" v="27431"/>
          <ac:spMkLst>
            <pc:docMk/>
            <pc:sldMk cId="2807376235" sldId="2147481263"/>
            <ac:spMk id="226" creationId="{98E22989-0556-B3D4-F390-BA996E01667A}"/>
          </ac:spMkLst>
        </pc:spChg>
        <pc:spChg chg="add del mod modVis">
          <ac:chgData name="Kyndal Mayes" userId="142911e9-0388-46d2-be9a-eb7bc2b8ac4b" providerId="ADAL" clId="{29B3924A-0E99-426D-A9EC-E22D7BFBE5E7}" dt="2024-09-27T16:46:36.762" v="27724"/>
          <ac:spMkLst>
            <pc:docMk/>
            <pc:sldMk cId="2807376235" sldId="2147481263"/>
            <ac:spMk id="228" creationId="{D53F1D18-5EC7-EBEE-E731-4ED73EA59835}"/>
          </ac:spMkLst>
        </pc:spChg>
        <pc:spChg chg="mod ord">
          <ac:chgData name="Kyndal Mayes" userId="142911e9-0388-46d2-be9a-eb7bc2b8ac4b" providerId="ADAL" clId="{29B3924A-0E99-426D-A9EC-E22D7BFBE5E7}" dt="2024-09-27T17:52:20.800" v="81564"/>
          <ac:spMkLst>
            <pc:docMk/>
            <pc:sldMk cId="2807376235" sldId="2147481263"/>
            <ac:spMk id="229" creationId="{9F9869AF-B0F6-4E89-B216-4EC18C7334C2}"/>
          </ac:spMkLst>
        </pc:spChg>
        <pc:spChg chg="add mod ord">
          <ac:chgData name="Kyndal Mayes" userId="142911e9-0388-46d2-be9a-eb7bc2b8ac4b" providerId="ADAL" clId="{29B3924A-0E99-426D-A9EC-E22D7BFBE5E7}" dt="2024-09-27T17:52:20.784" v="81480"/>
          <ac:spMkLst>
            <pc:docMk/>
            <pc:sldMk cId="2807376235" sldId="2147481263"/>
            <ac:spMk id="230" creationId="{9F9869AF-B0F6-4E89-B216-4EC18C7334C2}"/>
          </ac:spMkLst>
        </pc:spChg>
        <pc:spChg chg="add del mod modVis">
          <ac:chgData name="Kyndal Mayes" userId="142911e9-0388-46d2-be9a-eb7bc2b8ac4b" providerId="ADAL" clId="{29B3924A-0E99-426D-A9EC-E22D7BFBE5E7}" dt="2024-09-27T16:46:38.112" v="27968"/>
          <ac:spMkLst>
            <pc:docMk/>
            <pc:sldMk cId="2807376235" sldId="2147481263"/>
            <ac:spMk id="232" creationId="{CCFF5C42-03C9-3322-2E28-99382E0756D0}"/>
          </ac:spMkLst>
        </pc:spChg>
        <pc:spChg chg="add del mod modVis">
          <ac:chgData name="Kyndal Mayes" userId="142911e9-0388-46d2-be9a-eb7bc2b8ac4b" providerId="ADAL" clId="{29B3924A-0E99-426D-A9EC-E22D7BFBE5E7}" dt="2024-09-27T16:46:39.350" v="28206"/>
          <ac:spMkLst>
            <pc:docMk/>
            <pc:sldMk cId="2807376235" sldId="2147481263"/>
            <ac:spMk id="234" creationId="{4BBC13EE-533A-1BCF-2FE9-75E79DCB7AD8}"/>
          </ac:spMkLst>
        </pc:spChg>
        <pc:spChg chg="add del mod modVis">
          <ac:chgData name="Kyndal Mayes" userId="142911e9-0388-46d2-be9a-eb7bc2b8ac4b" providerId="ADAL" clId="{29B3924A-0E99-426D-A9EC-E22D7BFBE5E7}" dt="2024-09-27T16:46:40.276" v="28450"/>
          <ac:spMkLst>
            <pc:docMk/>
            <pc:sldMk cId="2807376235" sldId="2147481263"/>
            <ac:spMk id="236" creationId="{65240AF7-1078-3C5D-6B04-24FDB4BB14D3}"/>
          </ac:spMkLst>
        </pc:spChg>
        <pc:spChg chg="add del mod modVis">
          <ac:chgData name="Kyndal Mayes" userId="142911e9-0388-46d2-be9a-eb7bc2b8ac4b" providerId="ADAL" clId="{29B3924A-0E99-426D-A9EC-E22D7BFBE5E7}" dt="2024-09-27T16:46:41.607" v="28747"/>
          <ac:spMkLst>
            <pc:docMk/>
            <pc:sldMk cId="2807376235" sldId="2147481263"/>
            <ac:spMk id="238" creationId="{87FEC4C6-69C9-4757-4851-99E08246ED71}"/>
          </ac:spMkLst>
        </pc:spChg>
        <pc:spChg chg="add mod">
          <ac:chgData name="Kyndal Mayes" userId="142911e9-0388-46d2-be9a-eb7bc2b8ac4b" providerId="ADAL" clId="{29B3924A-0E99-426D-A9EC-E22D7BFBE5E7}" dt="2024-09-27T17:52:20.784" v="81481"/>
          <ac:spMkLst>
            <pc:docMk/>
            <pc:sldMk cId="2807376235" sldId="2147481263"/>
            <ac:spMk id="239" creationId="{9F9869AF-B0F6-4E89-B216-4EC18C7334C2}"/>
          </ac:spMkLst>
        </pc:spChg>
        <pc:spChg chg="add del mod modVis">
          <ac:chgData name="Kyndal Mayes" userId="142911e9-0388-46d2-be9a-eb7bc2b8ac4b" providerId="ADAL" clId="{29B3924A-0E99-426D-A9EC-E22D7BFBE5E7}" dt="2024-09-27T16:46:42.659" v="28991"/>
          <ac:spMkLst>
            <pc:docMk/>
            <pc:sldMk cId="2807376235" sldId="2147481263"/>
            <ac:spMk id="241" creationId="{94839499-2B8E-DE48-6B84-016C192CA5B6}"/>
          </ac:spMkLst>
        </pc:spChg>
        <pc:spChg chg="mod ord">
          <ac:chgData name="Kyndal Mayes" userId="142911e9-0388-46d2-be9a-eb7bc2b8ac4b" providerId="ADAL" clId="{29B3924A-0E99-426D-A9EC-E22D7BFBE5E7}" dt="2024-09-27T19:35:36.099" v="81687" actId="1076"/>
          <ac:spMkLst>
            <pc:docMk/>
            <pc:sldMk cId="2807376235" sldId="2147481263"/>
            <ac:spMk id="242" creationId="{E79C8B20-52D6-AE1B-B5F4-F2E7DB1A9ABF}"/>
          </ac:spMkLst>
        </pc:spChg>
        <pc:spChg chg="mod ord">
          <ac:chgData name="Kyndal Mayes" userId="142911e9-0388-46d2-be9a-eb7bc2b8ac4b" providerId="ADAL" clId="{29B3924A-0E99-426D-A9EC-E22D7BFBE5E7}" dt="2024-09-27T17:52:20.768" v="81446"/>
          <ac:spMkLst>
            <pc:docMk/>
            <pc:sldMk cId="2807376235" sldId="2147481263"/>
            <ac:spMk id="243" creationId="{46D8282B-EE0A-5999-10AC-394F7395B823}"/>
          </ac:spMkLst>
        </pc:spChg>
        <pc:spChg chg="mod ord">
          <ac:chgData name="Kyndal Mayes" userId="142911e9-0388-46d2-be9a-eb7bc2b8ac4b" providerId="ADAL" clId="{29B3924A-0E99-426D-A9EC-E22D7BFBE5E7}" dt="2024-09-27T17:52:20.768" v="81448"/>
          <ac:spMkLst>
            <pc:docMk/>
            <pc:sldMk cId="2807376235" sldId="2147481263"/>
            <ac:spMk id="244" creationId="{10D958ED-364A-9C8E-2806-D2C04BED1D8F}"/>
          </ac:spMkLst>
        </pc:spChg>
        <pc:spChg chg="add del mod modVis">
          <ac:chgData name="Kyndal Mayes" userId="142911e9-0388-46d2-be9a-eb7bc2b8ac4b" providerId="ADAL" clId="{29B3924A-0E99-426D-A9EC-E22D7BFBE5E7}" dt="2024-09-27T16:46:43.883" v="29231"/>
          <ac:spMkLst>
            <pc:docMk/>
            <pc:sldMk cId="2807376235" sldId="2147481263"/>
            <ac:spMk id="246" creationId="{2B018491-94BF-E3FE-C6AD-F6103165C0EA}"/>
          </ac:spMkLst>
        </pc:spChg>
        <pc:spChg chg="add del mod modVis">
          <ac:chgData name="Kyndal Mayes" userId="142911e9-0388-46d2-be9a-eb7bc2b8ac4b" providerId="ADAL" clId="{29B3924A-0E99-426D-A9EC-E22D7BFBE5E7}" dt="2024-09-27T16:46:44.901" v="29483"/>
          <ac:spMkLst>
            <pc:docMk/>
            <pc:sldMk cId="2807376235" sldId="2147481263"/>
            <ac:spMk id="248" creationId="{E61FB61A-D94E-A9C6-38C7-62422665D015}"/>
          </ac:spMkLst>
        </pc:spChg>
        <pc:spChg chg="add del mod modVis">
          <ac:chgData name="Kyndal Mayes" userId="142911e9-0388-46d2-be9a-eb7bc2b8ac4b" providerId="ADAL" clId="{29B3924A-0E99-426D-A9EC-E22D7BFBE5E7}" dt="2024-09-27T16:46:47.141" v="29728"/>
          <ac:spMkLst>
            <pc:docMk/>
            <pc:sldMk cId="2807376235" sldId="2147481263"/>
            <ac:spMk id="250" creationId="{C7C02E8C-8E02-091D-4D99-9DA8040A5056}"/>
          </ac:spMkLst>
        </pc:spChg>
        <pc:spChg chg="add del mod modVis">
          <ac:chgData name="Kyndal Mayes" userId="142911e9-0388-46d2-be9a-eb7bc2b8ac4b" providerId="ADAL" clId="{29B3924A-0E99-426D-A9EC-E22D7BFBE5E7}" dt="2024-09-27T16:46:55.756" v="30131"/>
          <ac:spMkLst>
            <pc:docMk/>
            <pc:sldMk cId="2807376235" sldId="2147481263"/>
            <ac:spMk id="252" creationId="{6EFD9F10-ED5B-991E-2B29-CC842D33A943}"/>
          </ac:spMkLst>
        </pc:spChg>
        <pc:spChg chg="add mod">
          <ac:chgData name="Kyndal Mayes" userId="142911e9-0388-46d2-be9a-eb7bc2b8ac4b" providerId="ADAL" clId="{29B3924A-0E99-426D-A9EC-E22D7BFBE5E7}" dt="2024-09-27T17:52:20.800" v="81528"/>
          <ac:spMkLst>
            <pc:docMk/>
            <pc:sldMk cId="2807376235" sldId="2147481263"/>
            <ac:spMk id="254" creationId="{9F9869AF-B0F6-4E89-B216-4EC18C7334C2}"/>
          </ac:spMkLst>
        </pc:spChg>
        <pc:spChg chg="add del mod modVis">
          <ac:chgData name="Kyndal Mayes" userId="142911e9-0388-46d2-be9a-eb7bc2b8ac4b" providerId="ADAL" clId="{29B3924A-0E99-426D-A9EC-E22D7BFBE5E7}" dt="2024-09-27T16:46:58.647" v="30353"/>
          <ac:spMkLst>
            <pc:docMk/>
            <pc:sldMk cId="2807376235" sldId="2147481263"/>
            <ac:spMk id="256" creationId="{5CA17A81-19AD-C606-F997-EA32286B6E35}"/>
          </ac:spMkLst>
        </pc:spChg>
        <pc:spChg chg="add del mod modVis">
          <ac:chgData name="Kyndal Mayes" userId="142911e9-0388-46d2-be9a-eb7bc2b8ac4b" providerId="ADAL" clId="{29B3924A-0E99-426D-A9EC-E22D7BFBE5E7}" dt="2024-09-27T16:47:01.659" v="30571"/>
          <ac:spMkLst>
            <pc:docMk/>
            <pc:sldMk cId="2807376235" sldId="2147481263"/>
            <ac:spMk id="258" creationId="{F5A0623B-2AD7-85CF-33D9-BB6C6523E92E}"/>
          </ac:spMkLst>
        </pc:spChg>
        <pc:spChg chg="add del mod modVis">
          <ac:chgData name="Kyndal Mayes" userId="142911e9-0388-46d2-be9a-eb7bc2b8ac4b" providerId="ADAL" clId="{29B3924A-0E99-426D-A9EC-E22D7BFBE5E7}" dt="2024-09-27T16:47:03.213" v="30856"/>
          <ac:spMkLst>
            <pc:docMk/>
            <pc:sldMk cId="2807376235" sldId="2147481263"/>
            <ac:spMk id="260" creationId="{28D60B74-11C4-DB8D-D190-595988007487}"/>
          </ac:spMkLst>
        </pc:spChg>
        <pc:spChg chg="add del mod modVis">
          <ac:chgData name="Kyndal Mayes" userId="142911e9-0388-46d2-be9a-eb7bc2b8ac4b" providerId="ADAL" clId="{29B3924A-0E99-426D-A9EC-E22D7BFBE5E7}" dt="2024-09-27T16:47:05.897" v="31082"/>
          <ac:spMkLst>
            <pc:docMk/>
            <pc:sldMk cId="2807376235" sldId="2147481263"/>
            <ac:spMk id="265" creationId="{D0E24CF5-97BC-49AE-B4FF-989BEC5A0FB1}"/>
          </ac:spMkLst>
        </pc:spChg>
        <pc:spChg chg="add del mod modVis">
          <ac:chgData name="Kyndal Mayes" userId="142911e9-0388-46d2-be9a-eb7bc2b8ac4b" providerId="ADAL" clId="{29B3924A-0E99-426D-A9EC-E22D7BFBE5E7}" dt="2024-09-27T16:47:07.073" v="31363"/>
          <ac:spMkLst>
            <pc:docMk/>
            <pc:sldMk cId="2807376235" sldId="2147481263"/>
            <ac:spMk id="267" creationId="{842FE0D4-F79A-0E65-B4C8-3AB4E59132A5}"/>
          </ac:spMkLst>
        </pc:spChg>
        <pc:spChg chg="add mod">
          <ac:chgData name="Kyndal Mayes" userId="142911e9-0388-46d2-be9a-eb7bc2b8ac4b" providerId="ADAL" clId="{29B3924A-0E99-426D-A9EC-E22D7BFBE5E7}" dt="2024-09-27T17:52:20.800" v="81529"/>
          <ac:spMkLst>
            <pc:docMk/>
            <pc:sldMk cId="2807376235" sldId="2147481263"/>
            <ac:spMk id="268" creationId="{9F9869AF-B0F6-4E89-B216-4EC18C7334C2}"/>
          </ac:spMkLst>
        </pc:spChg>
        <pc:spChg chg="add del mod modVis">
          <ac:chgData name="Kyndal Mayes" userId="142911e9-0388-46d2-be9a-eb7bc2b8ac4b" providerId="ADAL" clId="{29B3924A-0E99-426D-A9EC-E22D7BFBE5E7}" dt="2024-09-27T16:47:08.412" v="31592"/>
          <ac:spMkLst>
            <pc:docMk/>
            <pc:sldMk cId="2807376235" sldId="2147481263"/>
            <ac:spMk id="270" creationId="{EF8B706B-4EA9-636E-2A4E-FA51D7FCD95E}"/>
          </ac:spMkLst>
        </pc:spChg>
        <pc:spChg chg="add del mod modVis">
          <ac:chgData name="Kyndal Mayes" userId="142911e9-0388-46d2-be9a-eb7bc2b8ac4b" providerId="ADAL" clId="{29B3924A-0E99-426D-A9EC-E22D7BFBE5E7}" dt="2024-09-27T16:47:09.177" v="31875"/>
          <ac:spMkLst>
            <pc:docMk/>
            <pc:sldMk cId="2807376235" sldId="2147481263"/>
            <ac:spMk id="272" creationId="{D98287E9-EA4F-A6B9-D5B8-369A38AC1E02}"/>
          </ac:spMkLst>
        </pc:spChg>
        <pc:spChg chg="add mod ord">
          <ac:chgData name="Kyndal Mayes" userId="142911e9-0388-46d2-be9a-eb7bc2b8ac4b" providerId="ADAL" clId="{29B3924A-0E99-426D-A9EC-E22D7BFBE5E7}" dt="2024-09-27T17:52:20.800" v="81530"/>
          <ac:spMkLst>
            <pc:docMk/>
            <pc:sldMk cId="2807376235" sldId="2147481263"/>
            <ac:spMk id="273" creationId="{9F9869AF-B0F6-4E89-B216-4EC18C7334C2}"/>
          </ac:spMkLst>
        </pc:spChg>
        <pc:spChg chg="add del mod modVis">
          <ac:chgData name="Kyndal Mayes" userId="142911e9-0388-46d2-be9a-eb7bc2b8ac4b" providerId="ADAL" clId="{29B3924A-0E99-426D-A9EC-E22D7BFBE5E7}" dt="2024-09-27T16:47:10.778" v="32119"/>
          <ac:spMkLst>
            <pc:docMk/>
            <pc:sldMk cId="2807376235" sldId="2147481263"/>
            <ac:spMk id="275" creationId="{3462EBB9-FCF3-9031-A669-FB106C6BEDC2}"/>
          </ac:spMkLst>
        </pc:spChg>
        <pc:spChg chg="add del mod modVis">
          <ac:chgData name="Kyndal Mayes" userId="142911e9-0388-46d2-be9a-eb7bc2b8ac4b" providerId="ADAL" clId="{29B3924A-0E99-426D-A9EC-E22D7BFBE5E7}" dt="2024-09-27T16:47:11.834" v="32405"/>
          <ac:spMkLst>
            <pc:docMk/>
            <pc:sldMk cId="2807376235" sldId="2147481263"/>
            <ac:spMk id="277" creationId="{19529AFB-E546-5E8B-18D3-267C365837D5}"/>
          </ac:spMkLst>
        </pc:spChg>
        <pc:spChg chg="add mod ord">
          <ac:chgData name="Kyndal Mayes" userId="142911e9-0388-46d2-be9a-eb7bc2b8ac4b" providerId="ADAL" clId="{29B3924A-0E99-426D-A9EC-E22D7BFBE5E7}" dt="2024-09-27T17:52:20.800" v="81531"/>
          <ac:spMkLst>
            <pc:docMk/>
            <pc:sldMk cId="2807376235" sldId="2147481263"/>
            <ac:spMk id="278" creationId="{9F9869AF-B0F6-4E89-B216-4EC18C7334C2}"/>
          </ac:spMkLst>
        </pc:spChg>
        <pc:spChg chg="add del mod modVis">
          <ac:chgData name="Kyndal Mayes" userId="142911e9-0388-46d2-be9a-eb7bc2b8ac4b" providerId="ADAL" clId="{29B3924A-0E99-426D-A9EC-E22D7BFBE5E7}" dt="2024-09-27T16:47:12.536" v="32649"/>
          <ac:spMkLst>
            <pc:docMk/>
            <pc:sldMk cId="2807376235" sldId="2147481263"/>
            <ac:spMk id="280" creationId="{E0E24204-51E6-AFA3-2B7A-9934EDCB4625}"/>
          </ac:spMkLst>
        </pc:spChg>
        <pc:spChg chg="add del mod modVis">
          <ac:chgData name="Kyndal Mayes" userId="142911e9-0388-46d2-be9a-eb7bc2b8ac4b" providerId="ADAL" clId="{29B3924A-0E99-426D-A9EC-E22D7BFBE5E7}" dt="2024-09-27T16:47:13.638" v="32918"/>
          <ac:spMkLst>
            <pc:docMk/>
            <pc:sldMk cId="2807376235" sldId="2147481263"/>
            <ac:spMk id="282" creationId="{638F8051-C5FA-4B88-24D9-4D7D9C08ECC6}"/>
          </ac:spMkLst>
        </pc:spChg>
        <pc:spChg chg="add del mod modVis">
          <ac:chgData name="Kyndal Mayes" userId="142911e9-0388-46d2-be9a-eb7bc2b8ac4b" providerId="ADAL" clId="{29B3924A-0E99-426D-A9EC-E22D7BFBE5E7}" dt="2024-09-27T16:47:14.180" v="33148"/>
          <ac:spMkLst>
            <pc:docMk/>
            <pc:sldMk cId="2807376235" sldId="2147481263"/>
            <ac:spMk id="284" creationId="{B881ABFC-4EAE-10A3-032A-D06625496D6A}"/>
          </ac:spMkLst>
        </pc:spChg>
        <pc:spChg chg="add del mod modVis">
          <ac:chgData name="Kyndal Mayes" userId="142911e9-0388-46d2-be9a-eb7bc2b8ac4b" providerId="ADAL" clId="{29B3924A-0E99-426D-A9EC-E22D7BFBE5E7}" dt="2024-09-27T16:47:16.557" v="33378"/>
          <ac:spMkLst>
            <pc:docMk/>
            <pc:sldMk cId="2807376235" sldId="2147481263"/>
            <ac:spMk id="286" creationId="{67E05E03-4C07-35B7-90DF-9630AC8ED56E}"/>
          </ac:spMkLst>
        </pc:spChg>
        <pc:spChg chg="add del mod modVis">
          <ac:chgData name="Kyndal Mayes" userId="142911e9-0388-46d2-be9a-eb7bc2b8ac4b" providerId="ADAL" clId="{29B3924A-0E99-426D-A9EC-E22D7BFBE5E7}" dt="2024-09-27T16:47:18.694" v="33614"/>
          <ac:spMkLst>
            <pc:docMk/>
            <pc:sldMk cId="2807376235" sldId="2147481263"/>
            <ac:spMk id="288" creationId="{C2993DBC-4277-18F8-1A6D-573FF4B71498}"/>
          </ac:spMkLst>
        </pc:spChg>
        <pc:spChg chg="add del mod modVis">
          <ac:chgData name="Kyndal Mayes" userId="142911e9-0388-46d2-be9a-eb7bc2b8ac4b" providerId="ADAL" clId="{29B3924A-0E99-426D-A9EC-E22D7BFBE5E7}" dt="2024-09-27T16:47:19.604" v="33902"/>
          <ac:spMkLst>
            <pc:docMk/>
            <pc:sldMk cId="2807376235" sldId="2147481263"/>
            <ac:spMk id="290" creationId="{2C5CC9C9-7028-DE89-4E72-56C7A49DE30A}"/>
          </ac:spMkLst>
        </pc:spChg>
        <pc:spChg chg="add mod">
          <ac:chgData name="Kyndal Mayes" userId="142911e9-0388-46d2-be9a-eb7bc2b8ac4b" providerId="ADAL" clId="{29B3924A-0E99-426D-A9EC-E22D7BFBE5E7}" dt="2024-09-27T17:52:20.800" v="81532"/>
          <ac:spMkLst>
            <pc:docMk/>
            <pc:sldMk cId="2807376235" sldId="2147481263"/>
            <ac:spMk id="291" creationId="{9F9869AF-B0F6-4E89-B216-4EC18C7334C2}"/>
          </ac:spMkLst>
        </pc:spChg>
        <pc:spChg chg="add del mod modVis">
          <ac:chgData name="Kyndal Mayes" userId="142911e9-0388-46d2-be9a-eb7bc2b8ac4b" providerId="ADAL" clId="{29B3924A-0E99-426D-A9EC-E22D7BFBE5E7}" dt="2024-09-27T16:47:21.320" v="34152"/>
          <ac:spMkLst>
            <pc:docMk/>
            <pc:sldMk cId="2807376235" sldId="2147481263"/>
            <ac:spMk id="293" creationId="{55F5CF7F-3643-7331-7FFE-B3D01455ACF1}"/>
          </ac:spMkLst>
        </pc:spChg>
        <pc:spChg chg="add del mod modVis">
          <ac:chgData name="Kyndal Mayes" userId="142911e9-0388-46d2-be9a-eb7bc2b8ac4b" providerId="ADAL" clId="{29B3924A-0E99-426D-A9EC-E22D7BFBE5E7}" dt="2024-09-27T16:47:23.183" v="34443"/>
          <ac:spMkLst>
            <pc:docMk/>
            <pc:sldMk cId="2807376235" sldId="2147481263"/>
            <ac:spMk id="295" creationId="{C14DBD7E-6BAD-2B23-8254-C044740B59E1}"/>
          </ac:spMkLst>
        </pc:spChg>
        <pc:spChg chg="add mod">
          <ac:chgData name="Kyndal Mayes" userId="142911e9-0388-46d2-be9a-eb7bc2b8ac4b" providerId="ADAL" clId="{29B3924A-0E99-426D-A9EC-E22D7BFBE5E7}" dt="2024-09-27T17:52:20.800" v="81533"/>
          <ac:spMkLst>
            <pc:docMk/>
            <pc:sldMk cId="2807376235" sldId="2147481263"/>
            <ac:spMk id="296" creationId="{9F9869AF-B0F6-4E89-B216-4EC18C7334C2}"/>
          </ac:spMkLst>
        </pc:spChg>
        <pc:spChg chg="add del mod modVis">
          <ac:chgData name="Kyndal Mayes" userId="142911e9-0388-46d2-be9a-eb7bc2b8ac4b" providerId="ADAL" clId="{29B3924A-0E99-426D-A9EC-E22D7BFBE5E7}" dt="2024-09-27T16:47:25.243" v="34681"/>
          <ac:spMkLst>
            <pc:docMk/>
            <pc:sldMk cId="2807376235" sldId="2147481263"/>
            <ac:spMk id="298" creationId="{C94EA45B-51DA-F6C5-194E-C0D310EDE848}"/>
          </ac:spMkLst>
        </pc:spChg>
        <pc:spChg chg="add del mod modVis">
          <ac:chgData name="Kyndal Mayes" userId="142911e9-0388-46d2-be9a-eb7bc2b8ac4b" providerId="ADAL" clId="{29B3924A-0E99-426D-A9EC-E22D7BFBE5E7}" dt="2024-09-27T16:47:26.701" v="34915"/>
          <ac:spMkLst>
            <pc:docMk/>
            <pc:sldMk cId="2807376235" sldId="2147481263"/>
            <ac:spMk id="300" creationId="{E02E3A42-A65E-C5F4-19D8-C4442C600882}"/>
          </ac:spMkLst>
        </pc:spChg>
        <pc:spChg chg="add del mod modVis">
          <ac:chgData name="Kyndal Mayes" userId="142911e9-0388-46d2-be9a-eb7bc2b8ac4b" providerId="ADAL" clId="{29B3924A-0E99-426D-A9EC-E22D7BFBE5E7}" dt="2024-09-27T16:47:28.356" v="35156"/>
          <ac:spMkLst>
            <pc:docMk/>
            <pc:sldMk cId="2807376235" sldId="2147481263"/>
            <ac:spMk id="302" creationId="{38358B76-4FF6-9EBD-DD11-91C0AB92A936}"/>
          </ac:spMkLst>
        </pc:spChg>
        <pc:spChg chg="add del mod modVis">
          <ac:chgData name="Kyndal Mayes" userId="142911e9-0388-46d2-be9a-eb7bc2b8ac4b" providerId="ADAL" clId="{29B3924A-0E99-426D-A9EC-E22D7BFBE5E7}" dt="2024-09-27T16:47:29.418" v="35396"/>
          <ac:spMkLst>
            <pc:docMk/>
            <pc:sldMk cId="2807376235" sldId="2147481263"/>
            <ac:spMk id="304" creationId="{EA23A55E-854B-ABCD-1FED-F6BDA8F0A178}"/>
          </ac:spMkLst>
        </pc:spChg>
        <pc:spChg chg="add del mod modVis">
          <ac:chgData name="Kyndal Mayes" userId="142911e9-0388-46d2-be9a-eb7bc2b8ac4b" providerId="ADAL" clId="{29B3924A-0E99-426D-A9EC-E22D7BFBE5E7}" dt="2024-09-27T16:47:30.364" v="35688"/>
          <ac:spMkLst>
            <pc:docMk/>
            <pc:sldMk cId="2807376235" sldId="2147481263"/>
            <ac:spMk id="306" creationId="{86009D3B-4854-0A61-2C33-DB07967AF41C}"/>
          </ac:spMkLst>
        </pc:spChg>
        <pc:spChg chg="add mod ord">
          <ac:chgData name="Kyndal Mayes" userId="142911e9-0388-46d2-be9a-eb7bc2b8ac4b" providerId="ADAL" clId="{29B3924A-0E99-426D-A9EC-E22D7BFBE5E7}" dt="2024-09-27T17:52:20.800" v="81535"/>
          <ac:spMkLst>
            <pc:docMk/>
            <pc:sldMk cId="2807376235" sldId="2147481263"/>
            <ac:spMk id="307" creationId="{9F9869AF-B0F6-4E89-B216-4EC18C7334C2}"/>
          </ac:spMkLst>
        </pc:spChg>
        <pc:spChg chg="add del mod modVis">
          <ac:chgData name="Kyndal Mayes" userId="142911e9-0388-46d2-be9a-eb7bc2b8ac4b" providerId="ADAL" clId="{29B3924A-0E99-426D-A9EC-E22D7BFBE5E7}" dt="2024-09-27T16:47:32.056" v="35930"/>
          <ac:spMkLst>
            <pc:docMk/>
            <pc:sldMk cId="2807376235" sldId="2147481263"/>
            <ac:spMk id="309" creationId="{78FB9418-1337-93ED-A87C-C985B51CF7E9}"/>
          </ac:spMkLst>
        </pc:spChg>
        <pc:spChg chg="add del mod modVis">
          <ac:chgData name="Kyndal Mayes" userId="142911e9-0388-46d2-be9a-eb7bc2b8ac4b" providerId="ADAL" clId="{29B3924A-0E99-426D-A9EC-E22D7BFBE5E7}" dt="2024-09-27T16:47:33.321" v="36166"/>
          <ac:spMkLst>
            <pc:docMk/>
            <pc:sldMk cId="2807376235" sldId="2147481263"/>
            <ac:spMk id="311" creationId="{FFD820F5-839F-4F62-BED0-B9DC52B789FE}"/>
          </ac:spMkLst>
        </pc:spChg>
        <pc:spChg chg="add del mod modVis">
          <ac:chgData name="Kyndal Mayes" userId="142911e9-0388-46d2-be9a-eb7bc2b8ac4b" providerId="ADAL" clId="{29B3924A-0E99-426D-A9EC-E22D7BFBE5E7}" dt="2024-09-27T16:47:38.755" v="36422"/>
          <ac:spMkLst>
            <pc:docMk/>
            <pc:sldMk cId="2807376235" sldId="2147481263"/>
            <ac:spMk id="313" creationId="{7754796A-8DB5-1E05-1127-3CC294C4CC82}"/>
          </ac:spMkLst>
        </pc:spChg>
        <pc:spChg chg="add del mod modVis">
          <ac:chgData name="Kyndal Mayes" userId="142911e9-0388-46d2-be9a-eb7bc2b8ac4b" providerId="ADAL" clId="{29B3924A-0E99-426D-A9EC-E22D7BFBE5E7}" dt="2024-09-27T16:47:40.504" v="36716"/>
          <ac:spMkLst>
            <pc:docMk/>
            <pc:sldMk cId="2807376235" sldId="2147481263"/>
            <ac:spMk id="315" creationId="{624179F1-F185-B1E4-B5C7-F7B9EC61B753}"/>
          </ac:spMkLst>
        </pc:spChg>
        <pc:spChg chg="add mod">
          <ac:chgData name="Kyndal Mayes" userId="142911e9-0388-46d2-be9a-eb7bc2b8ac4b" providerId="ADAL" clId="{29B3924A-0E99-426D-A9EC-E22D7BFBE5E7}" dt="2024-09-27T17:52:20.800" v="81536"/>
          <ac:spMkLst>
            <pc:docMk/>
            <pc:sldMk cId="2807376235" sldId="2147481263"/>
            <ac:spMk id="316" creationId="{9F9869AF-B0F6-4E89-B216-4EC18C7334C2}"/>
          </ac:spMkLst>
        </pc:spChg>
        <pc:spChg chg="add del mod modVis">
          <ac:chgData name="Kyndal Mayes" userId="142911e9-0388-46d2-be9a-eb7bc2b8ac4b" providerId="ADAL" clId="{29B3924A-0E99-426D-A9EC-E22D7BFBE5E7}" dt="2024-09-27T16:47:42.066" v="36958"/>
          <ac:spMkLst>
            <pc:docMk/>
            <pc:sldMk cId="2807376235" sldId="2147481263"/>
            <ac:spMk id="318" creationId="{5C217882-3661-BAFF-AAF7-D6FC0EFC510B}"/>
          </ac:spMkLst>
        </pc:spChg>
        <pc:spChg chg="add del mod modVis">
          <ac:chgData name="Kyndal Mayes" userId="142911e9-0388-46d2-be9a-eb7bc2b8ac4b" providerId="ADAL" clId="{29B3924A-0E99-426D-A9EC-E22D7BFBE5E7}" dt="2024-09-27T16:47:43.029" v="37254"/>
          <ac:spMkLst>
            <pc:docMk/>
            <pc:sldMk cId="2807376235" sldId="2147481263"/>
            <ac:spMk id="320" creationId="{35BE3C6D-3FD5-F97D-1D37-62EEE3E2FCB7}"/>
          </ac:spMkLst>
        </pc:spChg>
        <pc:spChg chg="add mod">
          <ac:chgData name="Kyndal Mayes" userId="142911e9-0388-46d2-be9a-eb7bc2b8ac4b" providerId="ADAL" clId="{29B3924A-0E99-426D-A9EC-E22D7BFBE5E7}" dt="2024-09-27T17:52:20.800" v="81537"/>
          <ac:spMkLst>
            <pc:docMk/>
            <pc:sldMk cId="2807376235" sldId="2147481263"/>
            <ac:spMk id="321" creationId="{9F9869AF-B0F6-4E89-B216-4EC18C7334C2}"/>
          </ac:spMkLst>
        </pc:spChg>
        <pc:spChg chg="add del mod modVis">
          <ac:chgData name="Kyndal Mayes" userId="142911e9-0388-46d2-be9a-eb7bc2b8ac4b" providerId="ADAL" clId="{29B3924A-0E99-426D-A9EC-E22D7BFBE5E7}" dt="2024-09-27T16:47:44.705" v="37498"/>
          <ac:spMkLst>
            <pc:docMk/>
            <pc:sldMk cId="2807376235" sldId="2147481263"/>
            <ac:spMk id="323" creationId="{5F47134E-A6A6-72CA-3172-1E3A041A2738}"/>
          </ac:spMkLst>
        </pc:spChg>
        <pc:spChg chg="add del mod modVis">
          <ac:chgData name="Kyndal Mayes" userId="142911e9-0388-46d2-be9a-eb7bc2b8ac4b" providerId="ADAL" clId="{29B3924A-0E99-426D-A9EC-E22D7BFBE5E7}" dt="2024-09-27T16:47:46.393" v="37796"/>
          <ac:spMkLst>
            <pc:docMk/>
            <pc:sldMk cId="2807376235" sldId="2147481263"/>
            <ac:spMk id="325" creationId="{7B4BDE53-97E1-7726-FB65-2AA3ECE00CD2}"/>
          </ac:spMkLst>
        </pc:spChg>
        <pc:spChg chg="add mod">
          <ac:chgData name="Kyndal Mayes" userId="142911e9-0388-46d2-be9a-eb7bc2b8ac4b" providerId="ADAL" clId="{29B3924A-0E99-426D-A9EC-E22D7BFBE5E7}" dt="2024-09-27T17:52:20.800" v="81538"/>
          <ac:spMkLst>
            <pc:docMk/>
            <pc:sldMk cId="2807376235" sldId="2147481263"/>
            <ac:spMk id="326" creationId="{9F9869AF-B0F6-4E89-B216-4EC18C7334C2}"/>
          </ac:spMkLst>
        </pc:spChg>
        <pc:spChg chg="add del mod modVis">
          <ac:chgData name="Kyndal Mayes" userId="142911e9-0388-46d2-be9a-eb7bc2b8ac4b" providerId="ADAL" clId="{29B3924A-0E99-426D-A9EC-E22D7BFBE5E7}" dt="2024-09-27T16:47:47.966" v="38042"/>
          <ac:spMkLst>
            <pc:docMk/>
            <pc:sldMk cId="2807376235" sldId="2147481263"/>
            <ac:spMk id="328" creationId="{AC520C6F-16AC-8727-056D-2678468E8AF3}"/>
          </ac:spMkLst>
        </pc:spChg>
        <pc:spChg chg="add del mod modVis">
          <ac:chgData name="Kyndal Mayes" userId="142911e9-0388-46d2-be9a-eb7bc2b8ac4b" providerId="ADAL" clId="{29B3924A-0E99-426D-A9EC-E22D7BFBE5E7}" dt="2024-09-27T16:47:49.859" v="38342"/>
          <ac:spMkLst>
            <pc:docMk/>
            <pc:sldMk cId="2807376235" sldId="2147481263"/>
            <ac:spMk id="330" creationId="{1CC1EFCB-F721-A890-ADC8-A64D259093D8}"/>
          </ac:spMkLst>
        </pc:spChg>
        <pc:spChg chg="add mod">
          <ac:chgData name="Kyndal Mayes" userId="142911e9-0388-46d2-be9a-eb7bc2b8ac4b" providerId="ADAL" clId="{29B3924A-0E99-426D-A9EC-E22D7BFBE5E7}" dt="2024-09-27T17:52:20.800" v="81539"/>
          <ac:spMkLst>
            <pc:docMk/>
            <pc:sldMk cId="2807376235" sldId="2147481263"/>
            <ac:spMk id="331" creationId="{9F9869AF-B0F6-4E89-B216-4EC18C7334C2}"/>
          </ac:spMkLst>
        </pc:spChg>
        <pc:spChg chg="add del mod modVis">
          <ac:chgData name="Kyndal Mayes" userId="142911e9-0388-46d2-be9a-eb7bc2b8ac4b" providerId="ADAL" clId="{29B3924A-0E99-426D-A9EC-E22D7BFBE5E7}" dt="2024-09-27T16:47:50.921" v="38590"/>
          <ac:spMkLst>
            <pc:docMk/>
            <pc:sldMk cId="2807376235" sldId="2147481263"/>
            <ac:spMk id="333" creationId="{2F0D82DB-B593-C979-2B86-1B0446454433}"/>
          </ac:spMkLst>
        </pc:spChg>
        <pc:spChg chg="add del mod modVis">
          <ac:chgData name="Kyndal Mayes" userId="142911e9-0388-46d2-be9a-eb7bc2b8ac4b" providerId="ADAL" clId="{29B3924A-0E99-426D-A9EC-E22D7BFBE5E7}" dt="2024-09-27T16:47:52.045" v="38892"/>
          <ac:spMkLst>
            <pc:docMk/>
            <pc:sldMk cId="2807376235" sldId="2147481263"/>
            <ac:spMk id="335" creationId="{2716D80E-19D6-A0DB-BC01-8F8BE73FE332}"/>
          </ac:spMkLst>
        </pc:spChg>
        <pc:spChg chg="add mod">
          <ac:chgData name="Kyndal Mayes" userId="142911e9-0388-46d2-be9a-eb7bc2b8ac4b" providerId="ADAL" clId="{29B3924A-0E99-426D-A9EC-E22D7BFBE5E7}" dt="2024-09-27T17:52:20.800" v="81540"/>
          <ac:spMkLst>
            <pc:docMk/>
            <pc:sldMk cId="2807376235" sldId="2147481263"/>
            <ac:spMk id="336" creationId="{9F9869AF-B0F6-4E89-B216-4EC18C7334C2}"/>
          </ac:spMkLst>
        </pc:spChg>
        <pc:spChg chg="add del mod modVis">
          <ac:chgData name="Kyndal Mayes" userId="142911e9-0388-46d2-be9a-eb7bc2b8ac4b" providerId="ADAL" clId="{29B3924A-0E99-426D-A9EC-E22D7BFBE5E7}" dt="2024-09-27T16:47:54.050" v="39176"/>
          <ac:spMkLst>
            <pc:docMk/>
            <pc:sldMk cId="2807376235" sldId="2147481263"/>
            <ac:spMk id="338" creationId="{EA34A9F2-9671-2BBC-9702-A51A2598BFD5}"/>
          </ac:spMkLst>
        </pc:spChg>
        <pc:spChg chg="add del mod modVis">
          <ac:chgData name="Kyndal Mayes" userId="142911e9-0388-46d2-be9a-eb7bc2b8ac4b" providerId="ADAL" clId="{29B3924A-0E99-426D-A9EC-E22D7BFBE5E7}" dt="2024-09-27T16:47:56.201" v="39484"/>
          <ac:spMkLst>
            <pc:docMk/>
            <pc:sldMk cId="2807376235" sldId="2147481263"/>
            <ac:spMk id="342" creationId="{EDEB3A7D-51AC-44CF-F344-0C0A7B45FB73}"/>
          </ac:spMkLst>
        </pc:spChg>
        <pc:spChg chg="add mod">
          <ac:chgData name="Kyndal Mayes" userId="142911e9-0388-46d2-be9a-eb7bc2b8ac4b" providerId="ADAL" clId="{29B3924A-0E99-426D-A9EC-E22D7BFBE5E7}" dt="2024-09-27T17:52:20.800" v="81541"/>
          <ac:spMkLst>
            <pc:docMk/>
            <pc:sldMk cId="2807376235" sldId="2147481263"/>
            <ac:spMk id="343" creationId="{9F9869AF-B0F6-4E89-B216-4EC18C7334C2}"/>
          </ac:spMkLst>
        </pc:spChg>
        <pc:spChg chg="add del mod modVis">
          <ac:chgData name="Kyndal Mayes" userId="142911e9-0388-46d2-be9a-eb7bc2b8ac4b" providerId="ADAL" clId="{29B3924A-0E99-426D-A9EC-E22D7BFBE5E7}" dt="2024-09-27T16:47:57.722" v="39744"/>
          <ac:spMkLst>
            <pc:docMk/>
            <pc:sldMk cId="2807376235" sldId="2147481263"/>
            <ac:spMk id="345" creationId="{BE2E0416-7ADF-B195-3F7F-F24FFB7444A4}"/>
          </ac:spMkLst>
        </pc:spChg>
        <pc:spChg chg="add del mod modVis">
          <ac:chgData name="Kyndal Mayes" userId="142911e9-0388-46d2-be9a-eb7bc2b8ac4b" providerId="ADAL" clId="{29B3924A-0E99-426D-A9EC-E22D7BFBE5E7}" dt="2024-09-27T16:47:59.236" v="40052"/>
          <ac:spMkLst>
            <pc:docMk/>
            <pc:sldMk cId="2807376235" sldId="2147481263"/>
            <ac:spMk id="347" creationId="{177AA1E6-B66A-CD07-9737-E8B3A3AD4618}"/>
          </ac:spMkLst>
        </pc:spChg>
        <pc:spChg chg="add mod">
          <ac:chgData name="Kyndal Mayes" userId="142911e9-0388-46d2-be9a-eb7bc2b8ac4b" providerId="ADAL" clId="{29B3924A-0E99-426D-A9EC-E22D7BFBE5E7}" dt="2024-09-27T17:52:20.800" v="81542"/>
          <ac:spMkLst>
            <pc:docMk/>
            <pc:sldMk cId="2807376235" sldId="2147481263"/>
            <ac:spMk id="348" creationId="{9F9869AF-B0F6-4E89-B216-4EC18C7334C2}"/>
          </ac:spMkLst>
        </pc:spChg>
        <pc:spChg chg="add del mod modVis">
          <ac:chgData name="Kyndal Mayes" userId="142911e9-0388-46d2-be9a-eb7bc2b8ac4b" providerId="ADAL" clId="{29B3924A-0E99-426D-A9EC-E22D7BFBE5E7}" dt="2024-09-27T16:48:00.887" v="40326"/>
          <ac:spMkLst>
            <pc:docMk/>
            <pc:sldMk cId="2807376235" sldId="2147481263"/>
            <ac:spMk id="350" creationId="{D5CDD54E-C63C-69A6-0708-C38CD3151D4E}"/>
          </ac:spMkLst>
        </pc:spChg>
        <pc:spChg chg="add del mod modVis">
          <ac:chgData name="Kyndal Mayes" userId="142911e9-0388-46d2-be9a-eb7bc2b8ac4b" providerId="ADAL" clId="{29B3924A-0E99-426D-A9EC-E22D7BFBE5E7}" dt="2024-09-27T16:48:01.716" v="40638"/>
          <ac:spMkLst>
            <pc:docMk/>
            <pc:sldMk cId="2807376235" sldId="2147481263"/>
            <ac:spMk id="353" creationId="{F26DFFD6-25BA-B5B1-99C7-2839D45732E6}"/>
          </ac:spMkLst>
        </pc:spChg>
        <pc:spChg chg="add mod">
          <ac:chgData name="Kyndal Mayes" userId="142911e9-0388-46d2-be9a-eb7bc2b8ac4b" providerId="ADAL" clId="{29B3924A-0E99-426D-A9EC-E22D7BFBE5E7}" dt="2024-09-27T17:52:20.800" v="81543"/>
          <ac:spMkLst>
            <pc:docMk/>
            <pc:sldMk cId="2807376235" sldId="2147481263"/>
            <ac:spMk id="354" creationId="{9F9869AF-B0F6-4E89-B216-4EC18C7334C2}"/>
          </ac:spMkLst>
        </pc:spChg>
        <pc:spChg chg="add del mod modVis">
          <ac:chgData name="Kyndal Mayes" userId="142911e9-0388-46d2-be9a-eb7bc2b8ac4b" providerId="ADAL" clId="{29B3924A-0E99-426D-A9EC-E22D7BFBE5E7}" dt="2024-09-27T16:48:03.274" v="40920"/>
          <ac:spMkLst>
            <pc:docMk/>
            <pc:sldMk cId="2807376235" sldId="2147481263"/>
            <ac:spMk id="356" creationId="{86E6DAFA-3226-9498-F699-0279F1FA9AD3}"/>
          </ac:spMkLst>
        </pc:spChg>
        <pc:spChg chg="add del mod modVis">
          <ac:chgData name="Kyndal Mayes" userId="142911e9-0388-46d2-be9a-eb7bc2b8ac4b" providerId="ADAL" clId="{29B3924A-0E99-426D-A9EC-E22D7BFBE5E7}" dt="2024-09-27T16:48:06.448" v="41236"/>
          <ac:spMkLst>
            <pc:docMk/>
            <pc:sldMk cId="2807376235" sldId="2147481263"/>
            <ac:spMk id="359" creationId="{3A6F905D-E360-5A2E-0F23-D220C9A0F70D}"/>
          </ac:spMkLst>
        </pc:spChg>
        <pc:spChg chg="add mod">
          <ac:chgData name="Kyndal Mayes" userId="142911e9-0388-46d2-be9a-eb7bc2b8ac4b" providerId="ADAL" clId="{29B3924A-0E99-426D-A9EC-E22D7BFBE5E7}" dt="2024-09-27T17:52:20.800" v="81544"/>
          <ac:spMkLst>
            <pc:docMk/>
            <pc:sldMk cId="2807376235" sldId="2147481263"/>
            <ac:spMk id="360" creationId="{9F9869AF-B0F6-4E89-B216-4EC18C7334C2}"/>
          </ac:spMkLst>
        </pc:spChg>
        <pc:spChg chg="add del mod modVis">
          <ac:chgData name="Kyndal Mayes" userId="142911e9-0388-46d2-be9a-eb7bc2b8ac4b" providerId="ADAL" clId="{29B3924A-0E99-426D-A9EC-E22D7BFBE5E7}" dt="2024-09-27T16:48:08.076" v="41500"/>
          <ac:spMkLst>
            <pc:docMk/>
            <pc:sldMk cId="2807376235" sldId="2147481263"/>
            <ac:spMk id="362" creationId="{6922BEAE-EDD6-1552-C2FA-D540D77DD82E}"/>
          </ac:spMkLst>
        </pc:spChg>
        <pc:spChg chg="add del mod modVis">
          <ac:chgData name="Kyndal Mayes" userId="142911e9-0388-46d2-be9a-eb7bc2b8ac4b" providerId="ADAL" clId="{29B3924A-0E99-426D-A9EC-E22D7BFBE5E7}" dt="2024-09-27T16:48:09.944" v="41760"/>
          <ac:spMkLst>
            <pc:docMk/>
            <pc:sldMk cId="2807376235" sldId="2147481263"/>
            <ac:spMk id="364" creationId="{9726DB67-E675-9F1B-6B0B-D00B2B13F30C}"/>
          </ac:spMkLst>
        </pc:spChg>
        <pc:spChg chg="add del mod modVis">
          <ac:chgData name="Kyndal Mayes" userId="142911e9-0388-46d2-be9a-eb7bc2b8ac4b" providerId="ADAL" clId="{29B3924A-0E99-426D-A9EC-E22D7BFBE5E7}" dt="2024-09-27T16:48:11.179" v="42026"/>
          <ac:spMkLst>
            <pc:docMk/>
            <pc:sldMk cId="2807376235" sldId="2147481263"/>
            <ac:spMk id="366" creationId="{FDFF1E45-8396-8D25-715A-55D099A0E16B}"/>
          </ac:spMkLst>
        </pc:spChg>
        <pc:spChg chg="add del mod modVis">
          <ac:chgData name="Kyndal Mayes" userId="142911e9-0388-46d2-be9a-eb7bc2b8ac4b" providerId="ADAL" clId="{29B3924A-0E99-426D-A9EC-E22D7BFBE5E7}" dt="2024-09-27T16:48:12.397" v="42344"/>
          <ac:spMkLst>
            <pc:docMk/>
            <pc:sldMk cId="2807376235" sldId="2147481263"/>
            <ac:spMk id="368" creationId="{9C2D1E55-9A47-C5B0-C191-401FF8E18CE0}"/>
          </ac:spMkLst>
        </pc:spChg>
        <pc:spChg chg="add mod ord">
          <ac:chgData name="Kyndal Mayes" userId="142911e9-0388-46d2-be9a-eb7bc2b8ac4b" providerId="ADAL" clId="{29B3924A-0E99-426D-A9EC-E22D7BFBE5E7}" dt="2024-09-27T17:52:20.800" v="81545"/>
          <ac:spMkLst>
            <pc:docMk/>
            <pc:sldMk cId="2807376235" sldId="2147481263"/>
            <ac:spMk id="369" creationId="{9F9869AF-B0F6-4E89-B216-4EC18C7334C2}"/>
          </ac:spMkLst>
        </pc:spChg>
        <pc:spChg chg="add del mod modVis">
          <ac:chgData name="Kyndal Mayes" userId="142911e9-0388-46d2-be9a-eb7bc2b8ac4b" providerId="ADAL" clId="{29B3924A-0E99-426D-A9EC-E22D7BFBE5E7}" dt="2024-09-27T16:48:13.838" v="42613"/>
          <ac:spMkLst>
            <pc:docMk/>
            <pc:sldMk cId="2807376235" sldId="2147481263"/>
            <ac:spMk id="371" creationId="{97914299-06BC-7406-86DE-5911BE7AF5DF}"/>
          </ac:spMkLst>
        </pc:spChg>
        <pc:spChg chg="add del mod modVis">
          <ac:chgData name="Kyndal Mayes" userId="142911e9-0388-46d2-be9a-eb7bc2b8ac4b" providerId="ADAL" clId="{29B3924A-0E99-426D-A9EC-E22D7BFBE5E7}" dt="2024-09-27T16:48:15.422" v="42876"/>
          <ac:spMkLst>
            <pc:docMk/>
            <pc:sldMk cId="2807376235" sldId="2147481263"/>
            <ac:spMk id="373" creationId="{D892E11A-539A-794D-510E-D24B6AD79FBF}"/>
          </ac:spMkLst>
        </pc:spChg>
        <pc:spChg chg="add del mod modVis">
          <ac:chgData name="Kyndal Mayes" userId="142911e9-0388-46d2-be9a-eb7bc2b8ac4b" providerId="ADAL" clId="{29B3924A-0E99-426D-A9EC-E22D7BFBE5E7}" dt="2024-09-27T16:48:16.256" v="43145"/>
          <ac:spMkLst>
            <pc:docMk/>
            <pc:sldMk cId="2807376235" sldId="2147481263"/>
            <ac:spMk id="375" creationId="{6DDBB3A6-67A1-2857-4395-77914795F72D}"/>
          </ac:spMkLst>
        </pc:spChg>
        <pc:spChg chg="add del mod modVis">
          <ac:chgData name="Kyndal Mayes" userId="142911e9-0388-46d2-be9a-eb7bc2b8ac4b" providerId="ADAL" clId="{29B3924A-0E99-426D-A9EC-E22D7BFBE5E7}" dt="2024-09-27T16:48:18.353" v="43466"/>
          <ac:spMkLst>
            <pc:docMk/>
            <pc:sldMk cId="2807376235" sldId="2147481263"/>
            <ac:spMk id="377" creationId="{29AC19FA-E8CD-9694-DFD2-6BD8D8529A46}"/>
          </ac:spMkLst>
        </pc:spChg>
        <pc:spChg chg="add mod">
          <ac:chgData name="Kyndal Mayes" userId="142911e9-0388-46d2-be9a-eb7bc2b8ac4b" providerId="ADAL" clId="{29B3924A-0E99-426D-A9EC-E22D7BFBE5E7}" dt="2024-09-27T17:52:20.800" v="81546"/>
          <ac:spMkLst>
            <pc:docMk/>
            <pc:sldMk cId="2807376235" sldId="2147481263"/>
            <ac:spMk id="378" creationId="{9F9869AF-B0F6-4E89-B216-4EC18C7334C2}"/>
          </ac:spMkLst>
        </pc:spChg>
        <pc:spChg chg="add del mod modVis">
          <ac:chgData name="Kyndal Mayes" userId="142911e9-0388-46d2-be9a-eb7bc2b8ac4b" providerId="ADAL" clId="{29B3924A-0E99-426D-A9EC-E22D7BFBE5E7}" dt="2024-09-27T16:48:20.293" v="43745"/>
          <ac:spMkLst>
            <pc:docMk/>
            <pc:sldMk cId="2807376235" sldId="2147481263"/>
            <ac:spMk id="380" creationId="{7436B7AD-5071-64FE-A1D5-54FDA6BCA73A}"/>
          </ac:spMkLst>
        </pc:spChg>
        <pc:spChg chg="add del mod modVis">
          <ac:chgData name="Kyndal Mayes" userId="142911e9-0388-46d2-be9a-eb7bc2b8ac4b" providerId="ADAL" clId="{29B3924A-0E99-426D-A9EC-E22D7BFBE5E7}" dt="2024-09-27T16:48:21.625" v="44067"/>
          <ac:spMkLst>
            <pc:docMk/>
            <pc:sldMk cId="2807376235" sldId="2147481263"/>
            <ac:spMk id="382" creationId="{EB10E721-E32B-F1F3-825C-DD0F3241081F}"/>
          </ac:spMkLst>
        </pc:spChg>
        <pc:spChg chg="add mod">
          <ac:chgData name="Kyndal Mayes" userId="142911e9-0388-46d2-be9a-eb7bc2b8ac4b" providerId="ADAL" clId="{29B3924A-0E99-426D-A9EC-E22D7BFBE5E7}" dt="2024-09-27T17:52:20.800" v="81547"/>
          <ac:spMkLst>
            <pc:docMk/>
            <pc:sldMk cId="2807376235" sldId="2147481263"/>
            <ac:spMk id="383" creationId="{9F9869AF-B0F6-4E89-B216-4EC18C7334C2}"/>
          </ac:spMkLst>
        </pc:spChg>
        <pc:spChg chg="add del mod modVis">
          <ac:chgData name="Kyndal Mayes" userId="142911e9-0388-46d2-be9a-eb7bc2b8ac4b" providerId="ADAL" clId="{29B3924A-0E99-426D-A9EC-E22D7BFBE5E7}" dt="2024-09-27T16:48:24.306" v="44337"/>
          <ac:spMkLst>
            <pc:docMk/>
            <pc:sldMk cId="2807376235" sldId="2147481263"/>
            <ac:spMk id="385" creationId="{625F5C81-5C89-DA33-2397-4E654592F89C}"/>
          </ac:spMkLst>
        </pc:spChg>
        <pc:spChg chg="add del mod modVis">
          <ac:chgData name="Kyndal Mayes" userId="142911e9-0388-46d2-be9a-eb7bc2b8ac4b" providerId="ADAL" clId="{29B3924A-0E99-426D-A9EC-E22D7BFBE5E7}" dt="2024-09-27T16:48:43.758" v="44603"/>
          <ac:spMkLst>
            <pc:docMk/>
            <pc:sldMk cId="2807376235" sldId="2147481263"/>
            <ac:spMk id="387" creationId="{D447E231-AEBA-9915-1EA4-EC1BA109D7D9}"/>
          </ac:spMkLst>
        </pc:spChg>
        <pc:spChg chg="add del mod modVis">
          <ac:chgData name="Kyndal Mayes" userId="142911e9-0388-46d2-be9a-eb7bc2b8ac4b" providerId="ADAL" clId="{29B3924A-0E99-426D-A9EC-E22D7BFBE5E7}" dt="2024-09-27T16:48:45.673" v="45000"/>
          <ac:spMkLst>
            <pc:docMk/>
            <pc:sldMk cId="2807376235" sldId="2147481263"/>
            <ac:spMk id="389" creationId="{CA21911B-143E-B5A1-AF13-6EE6BA4E3C5B}"/>
          </ac:spMkLst>
        </pc:spChg>
        <pc:spChg chg="add del mod modVis">
          <ac:chgData name="Kyndal Mayes" userId="142911e9-0388-46d2-be9a-eb7bc2b8ac4b" providerId="ADAL" clId="{29B3924A-0E99-426D-A9EC-E22D7BFBE5E7}" dt="2024-09-27T16:48:46.584" v="45264"/>
          <ac:spMkLst>
            <pc:docMk/>
            <pc:sldMk cId="2807376235" sldId="2147481263"/>
            <ac:spMk id="391" creationId="{18F95C13-AB1E-C4CB-3E4B-1C1B3AF902D6}"/>
          </ac:spMkLst>
        </pc:spChg>
        <pc:spChg chg="add del mod modVis">
          <ac:chgData name="Kyndal Mayes" userId="142911e9-0388-46d2-be9a-eb7bc2b8ac4b" providerId="ADAL" clId="{29B3924A-0E99-426D-A9EC-E22D7BFBE5E7}" dt="2024-09-27T16:48:48.028" v="45574"/>
          <ac:spMkLst>
            <pc:docMk/>
            <pc:sldMk cId="2807376235" sldId="2147481263"/>
            <ac:spMk id="393" creationId="{7FDB5916-B970-8B31-0CE2-02A233685FD9}"/>
          </ac:spMkLst>
        </pc:spChg>
        <pc:spChg chg="add del mod modVis">
          <ac:chgData name="Kyndal Mayes" userId="142911e9-0388-46d2-be9a-eb7bc2b8ac4b" providerId="ADAL" clId="{29B3924A-0E99-426D-A9EC-E22D7BFBE5E7}" dt="2024-09-27T16:48:48.738" v="45842"/>
          <ac:spMkLst>
            <pc:docMk/>
            <pc:sldMk cId="2807376235" sldId="2147481263"/>
            <ac:spMk id="397" creationId="{5C9C2B66-A2E2-C3B9-25CB-40E918636000}"/>
          </ac:spMkLst>
        </pc:spChg>
        <pc:spChg chg="add del mod modVis">
          <ac:chgData name="Kyndal Mayes" userId="142911e9-0388-46d2-be9a-eb7bc2b8ac4b" providerId="ADAL" clId="{29B3924A-0E99-426D-A9EC-E22D7BFBE5E7}" dt="2024-09-27T16:48:50.382" v="46168"/>
          <ac:spMkLst>
            <pc:docMk/>
            <pc:sldMk cId="2807376235" sldId="2147481263"/>
            <ac:spMk id="399" creationId="{E91AE08D-E7FB-E6B1-452B-2EB47726C9E4}"/>
          </ac:spMkLst>
        </pc:spChg>
        <pc:spChg chg="add mod ord">
          <ac:chgData name="Kyndal Mayes" userId="142911e9-0388-46d2-be9a-eb7bc2b8ac4b" providerId="ADAL" clId="{29B3924A-0E99-426D-A9EC-E22D7BFBE5E7}" dt="2024-09-27T17:52:20.815" v="81569"/>
          <ac:spMkLst>
            <pc:docMk/>
            <pc:sldMk cId="2807376235" sldId="2147481263"/>
            <ac:spMk id="400" creationId="{9F9869AF-B0F6-4E89-B216-4EC18C7334C2}"/>
          </ac:spMkLst>
        </pc:spChg>
        <pc:spChg chg="add del mod modVis">
          <ac:chgData name="Kyndal Mayes" userId="142911e9-0388-46d2-be9a-eb7bc2b8ac4b" providerId="ADAL" clId="{29B3924A-0E99-426D-A9EC-E22D7BFBE5E7}" dt="2024-09-27T16:48:51.939" v="46459"/>
          <ac:spMkLst>
            <pc:docMk/>
            <pc:sldMk cId="2807376235" sldId="2147481263"/>
            <ac:spMk id="402" creationId="{535A1450-002D-AC3A-0679-AE1A553A9E2B}"/>
          </ac:spMkLst>
        </pc:spChg>
        <pc:spChg chg="add del mod modVis">
          <ac:chgData name="Kyndal Mayes" userId="142911e9-0388-46d2-be9a-eb7bc2b8ac4b" providerId="ADAL" clId="{29B3924A-0E99-426D-A9EC-E22D7BFBE5E7}" dt="2024-09-27T16:48:53.835" v="46788"/>
          <ac:spMkLst>
            <pc:docMk/>
            <pc:sldMk cId="2807376235" sldId="2147481263"/>
            <ac:spMk id="404" creationId="{27C45CEE-ADD9-4A8D-F0AF-319EB8914F34}"/>
          </ac:spMkLst>
        </pc:spChg>
        <pc:spChg chg="add mod ord">
          <ac:chgData name="Kyndal Mayes" userId="142911e9-0388-46d2-be9a-eb7bc2b8ac4b" providerId="ADAL" clId="{29B3924A-0E99-426D-A9EC-E22D7BFBE5E7}" dt="2024-09-27T17:52:20.815" v="81570"/>
          <ac:spMkLst>
            <pc:docMk/>
            <pc:sldMk cId="2807376235" sldId="2147481263"/>
            <ac:spMk id="405" creationId="{9F9869AF-B0F6-4E89-B216-4EC18C7334C2}"/>
          </ac:spMkLst>
        </pc:spChg>
        <pc:spChg chg="add del mod modVis">
          <ac:chgData name="Kyndal Mayes" userId="142911e9-0388-46d2-be9a-eb7bc2b8ac4b" providerId="ADAL" clId="{29B3924A-0E99-426D-A9EC-E22D7BFBE5E7}" dt="2024-09-27T16:48:55.483" v="47070"/>
          <ac:spMkLst>
            <pc:docMk/>
            <pc:sldMk cId="2807376235" sldId="2147481263"/>
            <ac:spMk id="407" creationId="{8C0DB035-4B86-74D7-DE93-123B466A6E87}"/>
          </ac:spMkLst>
        </pc:spChg>
        <pc:spChg chg="add del mod modVis">
          <ac:chgData name="Kyndal Mayes" userId="142911e9-0388-46d2-be9a-eb7bc2b8ac4b" providerId="ADAL" clId="{29B3924A-0E99-426D-A9EC-E22D7BFBE5E7}" dt="2024-09-27T16:48:56.528" v="47344"/>
          <ac:spMkLst>
            <pc:docMk/>
            <pc:sldMk cId="2807376235" sldId="2147481263"/>
            <ac:spMk id="409" creationId="{C77C5929-3456-1BED-0F16-FD45CC7B8918}"/>
          </ac:spMkLst>
        </pc:spChg>
        <pc:spChg chg="add del mod modVis">
          <ac:chgData name="Kyndal Mayes" userId="142911e9-0388-46d2-be9a-eb7bc2b8ac4b" providerId="ADAL" clId="{29B3924A-0E99-426D-A9EC-E22D7BFBE5E7}" dt="2024-09-27T16:48:57.633" v="47632"/>
          <ac:spMkLst>
            <pc:docMk/>
            <pc:sldMk cId="2807376235" sldId="2147481263"/>
            <ac:spMk id="411" creationId="{C7C3FB6B-59F2-86E6-6D1F-7831D8371A94}"/>
          </ac:spMkLst>
        </pc:spChg>
        <pc:spChg chg="add del mod modVis">
          <ac:chgData name="Kyndal Mayes" userId="142911e9-0388-46d2-be9a-eb7bc2b8ac4b" providerId="ADAL" clId="{29B3924A-0E99-426D-A9EC-E22D7BFBE5E7}" dt="2024-09-27T16:48:58.920" v="47906"/>
          <ac:spMkLst>
            <pc:docMk/>
            <pc:sldMk cId="2807376235" sldId="2147481263"/>
            <ac:spMk id="413" creationId="{712EE9CC-0459-E422-FBAC-11C4E8856D2C}"/>
          </ac:spMkLst>
        </pc:spChg>
        <pc:spChg chg="add del mod modVis">
          <ac:chgData name="Kyndal Mayes" userId="142911e9-0388-46d2-be9a-eb7bc2b8ac4b" providerId="ADAL" clId="{29B3924A-0E99-426D-A9EC-E22D7BFBE5E7}" dt="2024-09-27T16:48:59.969" v="48202"/>
          <ac:spMkLst>
            <pc:docMk/>
            <pc:sldMk cId="2807376235" sldId="2147481263"/>
            <ac:spMk id="415" creationId="{F1A9AD33-5AED-1872-2FCD-A106E85098E6}"/>
          </ac:spMkLst>
        </pc:spChg>
        <pc:spChg chg="add del mod modVis">
          <ac:chgData name="Kyndal Mayes" userId="142911e9-0388-46d2-be9a-eb7bc2b8ac4b" providerId="ADAL" clId="{29B3924A-0E99-426D-A9EC-E22D7BFBE5E7}" dt="2024-09-27T16:49:01.105" v="48534"/>
          <ac:spMkLst>
            <pc:docMk/>
            <pc:sldMk cId="2807376235" sldId="2147481263"/>
            <ac:spMk id="417" creationId="{A36430D8-BFF1-CF3B-DDA3-4191AB800813}"/>
          </ac:spMkLst>
        </pc:spChg>
        <pc:spChg chg="add mod ord">
          <ac:chgData name="Kyndal Mayes" userId="142911e9-0388-46d2-be9a-eb7bc2b8ac4b" providerId="ADAL" clId="{29B3924A-0E99-426D-A9EC-E22D7BFBE5E7}" dt="2024-09-27T17:52:20.815" v="81571"/>
          <ac:spMkLst>
            <pc:docMk/>
            <pc:sldMk cId="2807376235" sldId="2147481263"/>
            <ac:spMk id="418" creationId="{9F9869AF-B0F6-4E89-B216-4EC18C7334C2}"/>
          </ac:spMkLst>
        </pc:spChg>
        <pc:spChg chg="add del mod modVis">
          <ac:chgData name="Kyndal Mayes" userId="142911e9-0388-46d2-be9a-eb7bc2b8ac4b" providerId="ADAL" clId="{29B3924A-0E99-426D-A9EC-E22D7BFBE5E7}" dt="2024-09-27T16:49:02.373" v="48823"/>
          <ac:spMkLst>
            <pc:docMk/>
            <pc:sldMk cId="2807376235" sldId="2147481263"/>
            <ac:spMk id="420" creationId="{F6E68F16-0FA1-F551-0EFA-01C827A9CC63}"/>
          </ac:spMkLst>
        </pc:spChg>
        <pc:spChg chg="add del mod modVis">
          <ac:chgData name="Kyndal Mayes" userId="142911e9-0388-46d2-be9a-eb7bc2b8ac4b" providerId="ADAL" clId="{29B3924A-0E99-426D-A9EC-E22D7BFBE5E7}" dt="2024-09-27T16:49:03.102" v="49158"/>
          <ac:spMkLst>
            <pc:docMk/>
            <pc:sldMk cId="2807376235" sldId="2147481263"/>
            <ac:spMk id="422" creationId="{8F3CBC9E-6504-064E-B46A-C165EE0EAF6B}"/>
          </ac:spMkLst>
        </pc:spChg>
        <pc:spChg chg="add mod ord">
          <ac:chgData name="Kyndal Mayes" userId="142911e9-0388-46d2-be9a-eb7bc2b8ac4b" providerId="ADAL" clId="{29B3924A-0E99-426D-A9EC-E22D7BFBE5E7}" dt="2024-09-27T17:52:20.815" v="81572"/>
          <ac:spMkLst>
            <pc:docMk/>
            <pc:sldMk cId="2807376235" sldId="2147481263"/>
            <ac:spMk id="423" creationId="{9F9869AF-B0F6-4E89-B216-4EC18C7334C2}"/>
          </ac:spMkLst>
        </pc:spChg>
        <pc:spChg chg="add del mod modVis">
          <ac:chgData name="Kyndal Mayes" userId="142911e9-0388-46d2-be9a-eb7bc2b8ac4b" providerId="ADAL" clId="{29B3924A-0E99-426D-A9EC-E22D7BFBE5E7}" dt="2024-09-27T16:49:03.922" v="49444"/>
          <ac:spMkLst>
            <pc:docMk/>
            <pc:sldMk cId="2807376235" sldId="2147481263"/>
            <ac:spMk id="425" creationId="{C9502908-8DAD-C2EB-26E8-2F6A0C69100F}"/>
          </ac:spMkLst>
        </pc:spChg>
        <pc:spChg chg="add del mod modVis">
          <ac:chgData name="Kyndal Mayes" userId="142911e9-0388-46d2-be9a-eb7bc2b8ac4b" providerId="ADAL" clId="{29B3924A-0E99-426D-A9EC-E22D7BFBE5E7}" dt="2024-09-27T16:49:05.768" v="49724"/>
          <ac:spMkLst>
            <pc:docMk/>
            <pc:sldMk cId="2807376235" sldId="2147481263"/>
            <ac:spMk id="427" creationId="{6246999D-2A56-097E-A8F6-956D30FA69C8}"/>
          </ac:spMkLst>
        </pc:spChg>
        <pc:spChg chg="add del mod modVis">
          <ac:chgData name="Kyndal Mayes" userId="142911e9-0388-46d2-be9a-eb7bc2b8ac4b" providerId="ADAL" clId="{29B3924A-0E99-426D-A9EC-E22D7BFBE5E7}" dt="2024-09-27T16:49:06.873" v="50032"/>
          <ac:spMkLst>
            <pc:docMk/>
            <pc:sldMk cId="2807376235" sldId="2147481263"/>
            <ac:spMk id="429" creationId="{E0298ECA-2A5A-29B7-BFE0-DCBFE1201604}"/>
          </ac:spMkLst>
        </pc:spChg>
        <pc:spChg chg="add del mod modVis">
          <ac:chgData name="Kyndal Mayes" userId="142911e9-0388-46d2-be9a-eb7bc2b8ac4b" providerId="ADAL" clId="{29B3924A-0E99-426D-A9EC-E22D7BFBE5E7}" dt="2024-09-27T16:49:08.072" v="50312"/>
          <ac:spMkLst>
            <pc:docMk/>
            <pc:sldMk cId="2807376235" sldId="2147481263"/>
            <ac:spMk id="431" creationId="{AD22A434-8592-C46A-895D-FF22E62E6D47}"/>
          </ac:spMkLst>
        </pc:spChg>
        <pc:spChg chg="add del mod modVis">
          <ac:chgData name="Kyndal Mayes" userId="142911e9-0388-46d2-be9a-eb7bc2b8ac4b" providerId="ADAL" clId="{29B3924A-0E99-426D-A9EC-E22D7BFBE5E7}" dt="2024-09-27T16:49:09.272" v="50604"/>
          <ac:spMkLst>
            <pc:docMk/>
            <pc:sldMk cId="2807376235" sldId="2147481263"/>
            <ac:spMk id="433" creationId="{E45D8B2A-574E-C98A-96C1-1403F292C657}"/>
          </ac:spMkLst>
        </pc:spChg>
        <pc:spChg chg="add del mod modVis">
          <ac:chgData name="Kyndal Mayes" userId="142911e9-0388-46d2-be9a-eb7bc2b8ac4b" providerId="ADAL" clId="{29B3924A-0E99-426D-A9EC-E22D7BFBE5E7}" dt="2024-09-27T16:49:10.305" v="50884"/>
          <ac:spMkLst>
            <pc:docMk/>
            <pc:sldMk cId="2807376235" sldId="2147481263"/>
            <ac:spMk id="435" creationId="{9DDC0377-58BA-B903-8AEA-F62752FD5F0C}"/>
          </ac:spMkLst>
        </pc:spChg>
        <pc:spChg chg="add del mod modVis">
          <ac:chgData name="Kyndal Mayes" userId="142911e9-0388-46d2-be9a-eb7bc2b8ac4b" providerId="ADAL" clId="{29B3924A-0E99-426D-A9EC-E22D7BFBE5E7}" dt="2024-09-27T16:49:12.270" v="51177"/>
          <ac:spMkLst>
            <pc:docMk/>
            <pc:sldMk cId="2807376235" sldId="2147481263"/>
            <ac:spMk id="437" creationId="{46230E02-1D8E-44F9-D732-8C7B3D83D68F}"/>
          </ac:spMkLst>
        </pc:spChg>
        <pc:spChg chg="add del mod modVis">
          <ac:chgData name="Kyndal Mayes" userId="142911e9-0388-46d2-be9a-eb7bc2b8ac4b" providerId="ADAL" clId="{29B3924A-0E99-426D-A9EC-E22D7BFBE5E7}" dt="2024-09-27T16:49:14.225" v="51457"/>
          <ac:spMkLst>
            <pc:docMk/>
            <pc:sldMk cId="2807376235" sldId="2147481263"/>
            <ac:spMk id="439" creationId="{90F799ED-76D8-551F-36F4-3D13EC50CF4C}"/>
          </ac:spMkLst>
        </pc:spChg>
        <pc:spChg chg="add del mod modVis">
          <ac:chgData name="Kyndal Mayes" userId="142911e9-0388-46d2-be9a-eb7bc2b8ac4b" providerId="ADAL" clId="{29B3924A-0E99-426D-A9EC-E22D7BFBE5E7}" dt="2024-09-27T16:49:16.382" v="51750"/>
          <ac:spMkLst>
            <pc:docMk/>
            <pc:sldMk cId="2807376235" sldId="2147481263"/>
            <ac:spMk id="441" creationId="{FF992B0E-732D-02AB-5787-7A0B86B8155F}"/>
          </ac:spMkLst>
        </pc:spChg>
        <pc:spChg chg="add del mod modVis">
          <ac:chgData name="Kyndal Mayes" userId="142911e9-0388-46d2-be9a-eb7bc2b8ac4b" providerId="ADAL" clId="{29B3924A-0E99-426D-A9EC-E22D7BFBE5E7}" dt="2024-09-27T16:49:17.473" v="52030"/>
          <ac:spMkLst>
            <pc:docMk/>
            <pc:sldMk cId="2807376235" sldId="2147481263"/>
            <ac:spMk id="443" creationId="{090982D7-023A-9786-A983-6BDBA0DC10FA}"/>
          </ac:spMkLst>
        </pc:spChg>
        <pc:spChg chg="add del mod modVis">
          <ac:chgData name="Kyndal Mayes" userId="142911e9-0388-46d2-be9a-eb7bc2b8ac4b" providerId="ADAL" clId="{29B3924A-0E99-426D-A9EC-E22D7BFBE5E7}" dt="2024-09-27T16:49:19.105" v="52316"/>
          <ac:spMkLst>
            <pc:docMk/>
            <pc:sldMk cId="2807376235" sldId="2147481263"/>
            <ac:spMk id="445" creationId="{9238B9A2-92B5-6325-86FB-5FDE997F329F}"/>
          </ac:spMkLst>
        </pc:spChg>
        <pc:spChg chg="add del mod modVis">
          <ac:chgData name="Kyndal Mayes" userId="142911e9-0388-46d2-be9a-eb7bc2b8ac4b" providerId="ADAL" clId="{29B3924A-0E99-426D-A9EC-E22D7BFBE5E7}" dt="2024-09-27T16:49:20.128" v="52654"/>
          <ac:spMkLst>
            <pc:docMk/>
            <pc:sldMk cId="2807376235" sldId="2147481263"/>
            <ac:spMk id="447" creationId="{533FE484-13FC-D175-F19D-3AEBBC1F98EC}"/>
          </ac:spMkLst>
        </pc:spChg>
        <pc:spChg chg="add mod ord">
          <ac:chgData name="Kyndal Mayes" userId="142911e9-0388-46d2-be9a-eb7bc2b8ac4b" providerId="ADAL" clId="{29B3924A-0E99-426D-A9EC-E22D7BFBE5E7}" dt="2024-09-27T17:52:20.815" v="81573"/>
          <ac:spMkLst>
            <pc:docMk/>
            <pc:sldMk cId="2807376235" sldId="2147481263"/>
            <ac:spMk id="448" creationId="{9F9869AF-B0F6-4E89-B216-4EC18C7334C2}"/>
          </ac:spMkLst>
        </pc:spChg>
        <pc:spChg chg="add del mod modVis">
          <ac:chgData name="Kyndal Mayes" userId="142911e9-0388-46d2-be9a-eb7bc2b8ac4b" providerId="ADAL" clId="{29B3924A-0E99-426D-A9EC-E22D7BFBE5E7}" dt="2024-09-27T16:49:21.332" v="52957"/>
          <ac:spMkLst>
            <pc:docMk/>
            <pc:sldMk cId="2807376235" sldId="2147481263"/>
            <ac:spMk id="450" creationId="{FEFDAAC0-B00B-74B1-24D6-808C3D2D1F36}"/>
          </ac:spMkLst>
        </pc:spChg>
        <pc:spChg chg="add del mod modVis">
          <ac:chgData name="Kyndal Mayes" userId="142911e9-0388-46d2-be9a-eb7bc2b8ac4b" providerId="ADAL" clId="{29B3924A-0E99-426D-A9EC-E22D7BFBE5E7}" dt="2024-09-27T16:49:22.592" v="53298"/>
          <ac:spMkLst>
            <pc:docMk/>
            <pc:sldMk cId="2807376235" sldId="2147481263"/>
            <ac:spMk id="452" creationId="{BA14EBF9-FDBB-5177-B24D-55B86341FD8F}"/>
          </ac:spMkLst>
        </pc:spChg>
        <pc:spChg chg="add mod ord">
          <ac:chgData name="Kyndal Mayes" userId="142911e9-0388-46d2-be9a-eb7bc2b8ac4b" providerId="ADAL" clId="{29B3924A-0E99-426D-A9EC-E22D7BFBE5E7}" dt="2024-09-27T17:52:20.815" v="81574"/>
          <ac:spMkLst>
            <pc:docMk/>
            <pc:sldMk cId="2807376235" sldId="2147481263"/>
            <ac:spMk id="453" creationId="{9F9869AF-B0F6-4E89-B216-4EC18C7334C2}"/>
          </ac:spMkLst>
        </pc:spChg>
        <pc:spChg chg="add del mod modVis">
          <ac:chgData name="Kyndal Mayes" userId="142911e9-0388-46d2-be9a-eb7bc2b8ac4b" providerId="ADAL" clId="{29B3924A-0E99-426D-A9EC-E22D7BFBE5E7}" dt="2024-09-27T16:49:24.601" v="53718"/>
          <ac:spMkLst>
            <pc:docMk/>
            <pc:sldMk cId="2807376235" sldId="2147481263"/>
            <ac:spMk id="455" creationId="{D65FA9F3-A571-84CE-8B1F-7A0DDDA083D6}"/>
          </ac:spMkLst>
        </pc:spChg>
        <pc:spChg chg="add mod ord">
          <ac:chgData name="Kyndal Mayes" userId="142911e9-0388-46d2-be9a-eb7bc2b8ac4b" providerId="ADAL" clId="{29B3924A-0E99-426D-A9EC-E22D7BFBE5E7}" dt="2024-09-27T17:52:20.815" v="81575"/>
          <ac:spMkLst>
            <pc:docMk/>
            <pc:sldMk cId="2807376235" sldId="2147481263"/>
            <ac:spMk id="456" creationId="{9F9869AF-B0F6-4E89-B216-4EC18C7334C2}"/>
          </ac:spMkLst>
        </pc:spChg>
        <pc:spChg chg="add mod ord">
          <ac:chgData name="Kyndal Mayes" userId="142911e9-0388-46d2-be9a-eb7bc2b8ac4b" providerId="ADAL" clId="{29B3924A-0E99-426D-A9EC-E22D7BFBE5E7}" dt="2024-09-27T17:52:20.815" v="81576"/>
          <ac:spMkLst>
            <pc:docMk/>
            <pc:sldMk cId="2807376235" sldId="2147481263"/>
            <ac:spMk id="457" creationId="{9F9869AF-B0F6-4E89-B216-4EC18C7334C2}"/>
          </ac:spMkLst>
        </pc:spChg>
        <pc:spChg chg="add del mod modVis">
          <ac:chgData name="Kyndal Mayes" userId="142911e9-0388-46d2-be9a-eb7bc2b8ac4b" providerId="ADAL" clId="{29B3924A-0E99-426D-A9EC-E22D7BFBE5E7}" dt="2024-09-27T16:49:25.053" v="54006"/>
          <ac:spMkLst>
            <pc:docMk/>
            <pc:sldMk cId="2807376235" sldId="2147481263"/>
            <ac:spMk id="459" creationId="{3D07E427-26F0-B165-C355-129D689B3C4F}"/>
          </ac:spMkLst>
        </pc:spChg>
        <pc:spChg chg="add del mod modVis">
          <ac:chgData name="Kyndal Mayes" userId="142911e9-0388-46d2-be9a-eb7bc2b8ac4b" providerId="ADAL" clId="{29B3924A-0E99-426D-A9EC-E22D7BFBE5E7}" dt="2024-09-27T16:49:28.532" v="54352"/>
          <ac:spMkLst>
            <pc:docMk/>
            <pc:sldMk cId="2807376235" sldId="2147481263"/>
            <ac:spMk id="461" creationId="{B9747696-E6EF-1354-C285-328836420627}"/>
          </ac:spMkLst>
        </pc:spChg>
        <pc:spChg chg="add mod ord">
          <ac:chgData name="Kyndal Mayes" userId="142911e9-0388-46d2-be9a-eb7bc2b8ac4b" providerId="ADAL" clId="{29B3924A-0E99-426D-A9EC-E22D7BFBE5E7}" dt="2024-09-27T17:52:20.815" v="81577"/>
          <ac:spMkLst>
            <pc:docMk/>
            <pc:sldMk cId="2807376235" sldId="2147481263"/>
            <ac:spMk id="462" creationId="{9F9869AF-B0F6-4E89-B216-4EC18C7334C2}"/>
          </ac:spMkLst>
        </pc:spChg>
        <pc:spChg chg="add del mod modVis">
          <ac:chgData name="Kyndal Mayes" userId="142911e9-0388-46d2-be9a-eb7bc2b8ac4b" providerId="ADAL" clId="{29B3924A-0E99-426D-A9EC-E22D7BFBE5E7}" dt="2024-09-27T16:49:29.682" v="54667"/>
          <ac:spMkLst>
            <pc:docMk/>
            <pc:sldMk cId="2807376235" sldId="2147481263"/>
            <ac:spMk id="464" creationId="{39F60453-1858-8A54-CD93-E726910DDD0F}"/>
          </ac:spMkLst>
        </pc:spChg>
        <pc:spChg chg="add del mod modVis">
          <ac:chgData name="Kyndal Mayes" userId="142911e9-0388-46d2-be9a-eb7bc2b8ac4b" providerId="ADAL" clId="{29B3924A-0E99-426D-A9EC-E22D7BFBE5E7}" dt="2024-09-27T16:49:31.331" v="54960"/>
          <ac:spMkLst>
            <pc:docMk/>
            <pc:sldMk cId="2807376235" sldId="2147481263"/>
            <ac:spMk id="467" creationId="{3ADFB665-E20B-5357-6AAA-8A9BB327E6F5}"/>
          </ac:spMkLst>
        </pc:spChg>
        <pc:spChg chg="add del mod modVis">
          <ac:chgData name="Kyndal Mayes" userId="142911e9-0388-46d2-be9a-eb7bc2b8ac4b" providerId="ADAL" clId="{29B3924A-0E99-426D-A9EC-E22D7BFBE5E7}" dt="2024-09-27T16:49:32.244" v="55265"/>
          <ac:spMkLst>
            <pc:docMk/>
            <pc:sldMk cId="2807376235" sldId="2147481263"/>
            <ac:spMk id="469" creationId="{45D68A58-AAB9-3E27-9857-12A7918CC372}"/>
          </ac:spMkLst>
        </pc:spChg>
        <pc:spChg chg="add del mod modVis">
          <ac:chgData name="Kyndal Mayes" userId="142911e9-0388-46d2-be9a-eb7bc2b8ac4b" providerId="ADAL" clId="{29B3924A-0E99-426D-A9EC-E22D7BFBE5E7}" dt="2024-09-27T16:49:33.477" v="55558"/>
          <ac:spMkLst>
            <pc:docMk/>
            <pc:sldMk cId="2807376235" sldId="2147481263"/>
            <ac:spMk id="471" creationId="{CF398F38-7AFE-9D89-46B2-44BE818A4D91}"/>
          </ac:spMkLst>
        </pc:spChg>
        <pc:spChg chg="add del mod modVis">
          <ac:chgData name="Kyndal Mayes" userId="142911e9-0388-46d2-be9a-eb7bc2b8ac4b" providerId="ADAL" clId="{29B3924A-0E99-426D-A9EC-E22D7BFBE5E7}" dt="2024-09-27T16:49:34.943" v="55904"/>
          <ac:spMkLst>
            <pc:docMk/>
            <pc:sldMk cId="2807376235" sldId="2147481263"/>
            <ac:spMk id="473" creationId="{AFB2B526-2E3C-8EA7-0083-E6BB92D08C72}"/>
          </ac:spMkLst>
        </pc:spChg>
        <pc:spChg chg="add del mod modVis">
          <ac:chgData name="Kyndal Mayes" userId="142911e9-0388-46d2-be9a-eb7bc2b8ac4b" providerId="ADAL" clId="{29B3924A-0E99-426D-A9EC-E22D7BFBE5E7}" dt="2024-09-27T16:49:37.328" v="56202"/>
          <ac:spMkLst>
            <pc:docMk/>
            <pc:sldMk cId="2807376235" sldId="2147481263"/>
            <ac:spMk id="477" creationId="{AD99764B-2AA6-B10E-EC4C-EB5372189EC6}"/>
          </ac:spMkLst>
        </pc:spChg>
        <pc:spChg chg="add del mod modVis">
          <ac:chgData name="Kyndal Mayes" userId="142911e9-0388-46d2-be9a-eb7bc2b8ac4b" providerId="ADAL" clId="{29B3924A-0E99-426D-A9EC-E22D7BFBE5E7}" dt="2024-09-27T16:49:39.405" v="56509"/>
          <ac:spMkLst>
            <pc:docMk/>
            <pc:sldMk cId="2807376235" sldId="2147481263"/>
            <ac:spMk id="479" creationId="{F8348175-2F56-4657-934D-5FDDA0453264}"/>
          </ac:spMkLst>
        </pc:spChg>
        <pc:spChg chg="add del mod modVis">
          <ac:chgData name="Kyndal Mayes" userId="142911e9-0388-46d2-be9a-eb7bc2b8ac4b" providerId="ADAL" clId="{29B3924A-0E99-426D-A9EC-E22D7BFBE5E7}" dt="2024-09-27T16:49:40.713" v="56805"/>
          <ac:spMkLst>
            <pc:docMk/>
            <pc:sldMk cId="2807376235" sldId="2147481263"/>
            <ac:spMk id="481" creationId="{DDDD1F6D-B7D0-E568-3CC9-CF317E82C56D}"/>
          </ac:spMkLst>
        </pc:spChg>
        <pc:spChg chg="add del mod modVis">
          <ac:chgData name="Kyndal Mayes" userId="142911e9-0388-46d2-be9a-eb7bc2b8ac4b" providerId="ADAL" clId="{29B3924A-0E99-426D-A9EC-E22D7BFBE5E7}" dt="2024-09-27T16:49:41.915" v="57121"/>
          <ac:spMkLst>
            <pc:docMk/>
            <pc:sldMk cId="2807376235" sldId="2147481263"/>
            <ac:spMk id="483" creationId="{8509CD3B-0453-C0B4-2215-2569AB0A833A}"/>
          </ac:spMkLst>
        </pc:spChg>
        <pc:spChg chg="add del mod modVis">
          <ac:chgData name="Kyndal Mayes" userId="142911e9-0388-46d2-be9a-eb7bc2b8ac4b" providerId="ADAL" clId="{29B3924A-0E99-426D-A9EC-E22D7BFBE5E7}" dt="2024-09-27T16:49:44.358" v="57430"/>
          <ac:spMkLst>
            <pc:docMk/>
            <pc:sldMk cId="2807376235" sldId="2147481263"/>
            <ac:spMk id="485" creationId="{68FE4D6C-17C2-3018-0C62-684A9A8C7557}"/>
          </ac:spMkLst>
        </pc:spChg>
        <pc:spChg chg="add del mod modVis">
          <ac:chgData name="Kyndal Mayes" userId="142911e9-0388-46d2-be9a-eb7bc2b8ac4b" providerId="ADAL" clId="{29B3924A-0E99-426D-A9EC-E22D7BFBE5E7}" dt="2024-09-27T16:49:45.094" v="57784"/>
          <ac:spMkLst>
            <pc:docMk/>
            <pc:sldMk cId="2807376235" sldId="2147481263"/>
            <ac:spMk id="487" creationId="{C0A1BB3D-618E-F8CA-7F30-26A3F13A4B49}"/>
          </ac:spMkLst>
        </pc:spChg>
        <pc:spChg chg="add mod ord">
          <ac:chgData name="Kyndal Mayes" userId="142911e9-0388-46d2-be9a-eb7bc2b8ac4b" providerId="ADAL" clId="{29B3924A-0E99-426D-A9EC-E22D7BFBE5E7}" dt="2024-09-27T17:52:20.815" v="81578"/>
          <ac:spMkLst>
            <pc:docMk/>
            <pc:sldMk cId="2807376235" sldId="2147481263"/>
            <ac:spMk id="488" creationId="{9F9869AF-B0F6-4E89-B216-4EC18C7334C2}"/>
          </ac:spMkLst>
        </pc:spChg>
        <pc:spChg chg="add del mod modVis">
          <ac:chgData name="Kyndal Mayes" userId="142911e9-0388-46d2-be9a-eb7bc2b8ac4b" providerId="ADAL" clId="{29B3924A-0E99-426D-A9EC-E22D7BFBE5E7}" dt="2024-09-27T16:49:46.468" v="58143"/>
          <ac:spMkLst>
            <pc:docMk/>
            <pc:sldMk cId="2807376235" sldId="2147481263"/>
            <ac:spMk id="490" creationId="{29A1A14C-0B96-A3FF-0B17-AC73FC93983E}"/>
          </ac:spMkLst>
        </pc:spChg>
        <pc:spChg chg="add del mod modVis">
          <ac:chgData name="Kyndal Mayes" userId="142911e9-0388-46d2-be9a-eb7bc2b8ac4b" providerId="ADAL" clId="{29B3924A-0E99-426D-A9EC-E22D7BFBE5E7}" dt="2024-09-27T16:49:48.508" v="58502"/>
          <ac:spMkLst>
            <pc:docMk/>
            <pc:sldMk cId="2807376235" sldId="2147481263"/>
            <ac:spMk id="494" creationId="{36A9BDF8-CABC-4734-C6FC-2C0B08F8A1D4}"/>
          </ac:spMkLst>
        </pc:spChg>
        <pc:spChg chg="add mod">
          <ac:chgData name="Kyndal Mayes" userId="142911e9-0388-46d2-be9a-eb7bc2b8ac4b" providerId="ADAL" clId="{29B3924A-0E99-426D-A9EC-E22D7BFBE5E7}" dt="2024-09-27T17:52:20.815" v="81579"/>
          <ac:spMkLst>
            <pc:docMk/>
            <pc:sldMk cId="2807376235" sldId="2147481263"/>
            <ac:spMk id="495" creationId="{9F9869AF-B0F6-4E89-B216-4EC18C7334C2}"/>
          </ac:spMkLst>
        </pc:spChg>
        <pc:spChg chg="add del mod modVis">
          <ac:chgData name="Kyndal Mayes" userId="142911e9-0388-46d2-be9a-eb7bc2b8ac4b" providerId="ADAL" clId="{29B3924A-0E99-426D-A9EC-E22D7BFBE5E7}" dt="2024-09-27T16:49:49.764" v="58808"/>
          <ac:spMkLst>
            <pc:docMk/>
            <pc:sldMk cId="2807376235" sldId="2147481263"/>
            <ac:spMk id="497" creationId="{B3E24F6A-1FAC-4155-459E-A9C5D0EA9AF6}"/>
          </ac:spMkLst>
        </pc:spChg>
        <pc:spChg chg="add del mod modVis">
          <ac:chgData name="Kyndal Mayes" userId="142911e9-0388-46d2-be9a-eb7bc2b8ac4b" providerId="ADAL" clId="{29B3924A-0E99-426D-A9EC-E22D7BFBE5E7}" dt="2024-09-27T16:49:50.698" v="59114"/>
          <ac:spMkLst>
            <pc:docMk/>
            <pc:sldMk cId="2807376235" sldId="2147481263"/>
            <ac:spMk id="499" creationId="{3D7D77BF-DD60-C8ED-539F-C85BA85933E2}"/>
          </ac:spMkLst>
        </pc:spChg>
        <pc:spChg chg="add del mod modVis">
          <ac:chgData name="Kyndal Mayes" userId="142911e9-0388-46d2-be9a-eb7bc2b8ac4b" providerId="ADAL" clId="{29B3924A-0E99-426D-A9EC-E22D7BFBE5E7}" dt="2024-09-27T16:49:51.686" v="59421"/>
          <ac:spMkLst>
            <pc:docMk/>
            <pc:sldMk cId="2807376235" sldId="2147481263"/>
            <ac:spMk id="501" creationId="{59B3ECE4-D322-FB9F-2693-176EEB2E86DF}"/>
          </ac:spMkLst>
        </pc:spChg>
        <pc:spChg chg="add del mod modVis">
          <ac:chgData name="Kyndal Mayes" userId="142911e9-0388-46d2-be9a-eb7bc2b8ac4b" providerId="ADAL" clId="{29B3924A-0E99-426D-A9EC-E22D7BFBE5E7}" dt="2024-09-27T16:49:53.249" v="59782"/>
          <ac:spMkLst>
            <pc:docMk/>
            <pc:sldMk cId="2807376235" sldId="2147481263"/>
            <ac:spMk id="503" creationId="{1B1B476F-AA7D-26C2-118B-5F2DA506782C}"/>
          </ac:spMkLst>
        </pc:spChg>
        <pc:spChg chg="add mod">
          <ac:chgData name="Kyndal Mayes" userId="142911e9-0388-46d2-be9a-eb7bc2b8ac4b" providerId="ADAL" clId="{29B3924A-0E99-426D-A9EC-E22D7BFBE5E7}" dt="2024-09-27T17:52:20.815" v="81580"/>
          <ac:spMkLst>
            <pc:docMk/>
            <pc:sldMk cId="2807376235" sldId="2147481263"/>
            <ac:spMk id="504" creationId="{9F9869AF-B0F6-4E89-B216-4EC18C7334C2}"/>
          </ac:spMkLst>
        </pc:spChg>
        <pc:spChg chg="add del mod modVis">
          <ac:chgData name="Kyndal Mayes" userId="142911e9-0388-46d2-be9a-eb7bc2b8ac4b" providerId="ADAL" clId="{29B3924A-0E99-426D-A9EC-E22D7BFBE5E7}" dt="2024-09-27T16:49:54.688" v="60097"/>
          <ac:spMkLst>
            <pc:docMk/>
            <pc:sldMk cId="2807376235" sldId="2147481263"/>
            <ac:spMk id="506" creationId="{03F4789B-9A32-3726-29D8-04AAEE1E750F}"/>
          </ac:spMkLst>
        </pc:spChg>
        <pc:spChg chg="add del mod modVis">
          <ac:chgData name="Kyndal Mayes" userId="142911e9-0388-46d2-be9a-eb7bc2b8ac4b" providerId="ADAL" clId="{29B3924A-0E99-426D-A9EC-E22D7BFBE5E7}" dt="2024-09-27T16:49:56.197" v="60402"/>
          <ac:spMkLst>
            <pc:docMk/>
            <pc:sldMk cId="2807376235" sldId="2147481263"/>
            <ac:spMk id="508" creationId="{12432024-6555-8F4E-0DC8-4216038A1953}"/>
          </ac:spMkLst>
        </pc:spChg>
        <pc:spChg chg="add del mod modVis">
          <ac:chgData name="Kyndal Mayes" userId="142911e9-0388-46d2-be9a-eb7bc2b8ac4b" providerId="ADAL" clId="{29B3924A-0E99-426D-A9EC-E22D7BFBE5E7}" dt="2024-09-27T16:49:57.208" v="60713"/>
          <ac:spMkLst>
            <pc:docMk/>
            <pc:sldMk cId="2807376235" sldId="2147481263"/>
            <ac:spMk id="510" creationId="{D6734088-D283-926E-9635-DDE1BFEE27D0}"/>
          </ac:spMkLst>
        </pc:spChg>
        <pc:spChg chg="add del mod modVis">
          <ac:chgData name="Kyndal Mayes" userId="142911e9-0388-46d2-be9a-eb7bc2b8ac4b" providerId="ADAL" clId="{29B3924A-0E99-426D-A9EC-E22D7BFBE5E7}" dt="2024-09-27T16:49:57.948" v="61018"/>
          <ac:spMkLst>
            <pc:docMk/>
            <pc:sldMk cId="2807376235" sldId="2147481263"/>
            <ac:spMk id="512" creationId="{C56086AA-3AD3-FD9C-910E-28A83E944D0D}"/>
          </ac:spMkLst>
        </pc:spChg>
        <pc:spChg chg="add del mod modVis">
          <ac:chgData name="Kyndal Mayes" userId="142911e9-0388-46d2-be9a-eb7bc2b8ac4b" providerId="ADAL" clId="{29B3924A-0E99-426D-A9EC-E22D7BFBE5E7}" dt="2024-09-27T16:49:59.081" v="61329"/>
          <ac:spMkLst>
            <pc:docMk/>
            <pc:sldMk cId="2807376235" sldId="2147481263"/>
            <ac:spMk id="514" creationId="{C94259EC-32AF-AC34-8A6E-78EF6E1AE7CC}"/>
          </ac:spMkLst>
        </pc:spChg>
        <pc:spChg chg="add del mod modVis">
          <ac:chgData name="Kyndal Mayes" userId="142911e9-0388-46d2-be9a-eb7bc2b8ac4b" providerId="ADAL" clId="{29B3924A-0E99-426D-A9EC-E22D7BFBE5E7}" dt="2024-09-27T16:50:00.213" v="61692"/>
          <ac:spMkLst>
            <pc:docMk/>
            <pc:sldMk cId="2807376235" sldId="2147481263"/>
            <ac:spMk id="516" creationId="{EA7D8689-A690-B5C7-AC62-A4D477B0719E}"/>
          </ac:spMkLst>
        </pc:spChg>
        <pc:spChg chg="add mod ord">
          <ac:chgData name="Kyndal Mayes" userId="142911e9-0388-46d2-be9a-eb7bc2b8ac4b" providerId="ADAL" clId="{29B3924A-0E99-426D-A9EC-E22D7BFBE5E7}" dt="2024-09-27T17:52:20.815" v="81581"/>
          <ac:spMkLst>
            <pc:docMk/>
            <pc:sldMk cId="2807376235" sldId="2147481263"/>
            <ac:spMk id="517" creationId="{9F9869AF-B0F6-4E89-B216-4EC18C7334C2}"/>
          </ac:spMkLst>
        </pc:spChg>
        <pc:spChg chg="add del mod modVis">
          <ac:chgData name="Kyndal Mayes" userId="142911e9-0388-46d2-be9a-eb7bc2b8ac4b" providerId="ADAL" clId="{29B3924A-0E99-426D-A9EC-E22D7BFBE5E7}" dt="2024-09-27T16:50:01.913" v="62006"/>
          <ac:spMkLst>
            <pc:docMk/>
            <pc:sldMk cId="2807376235" sldId="2147481263"/>
            <ac:spMk id="519" creationId="{599BE4EA-489B-6377-BDD5-8ACA1B2D3B66}"/>
          </ac:spMkLst>
        </pc:spChg>
        <pc:spChg chg="add del mod modVis">
          <ac:chgData name="Kyndal Mayes" userId="142911e9-0388-46d2-be9a-eb7bc2b8ac4b" providerId="ADAL" clId="{29B3924A-0E99-426D-A9EC-E22D7BFBE5E7}" dt="2024-09-27T16:50:06.347" v="62314"/>
          <ac:spMkLst>
            <pc:docMk/>
            <pc:sldMk cId="2807376235" sldId="2147481263"/>
            <ac:spMk id="521" creationId="{0C48090F-2C5C-B4FD-1FF3-A92A815AE9C4}"/>
          </ac:spMkLst>
        </pc:spChg>
        <pc:spChg chg="add del mod modVis">
          <ac:chgData name="Kyndal Mayes" userId="142911e9-0388-46d2-be9a-eb7bc2b8ac4b" providerId="ADAL" clId="{29B3924A-0E99-426D-A9EC-E22D7BFBE5E7}" dt="2024-09-27T16:50:08.479" v="62629"/>
          <ac:spMkLst>
            <pc:docMk/>
            <pc:sldMk cId="2807376235" sldId="2147481263"/>
            <ac:spMk id="523" creationId="{B2CAF46A-8122-2AA4-2EF0-0C15D0197BFC}"/>
          </ac:spMkLst>
        </pc:spChg>
        <pc:spChg chg="add del mod modVis">
          <ac:chgData name="Kyndal Mayes" userId="142911e9-0388-46d2-be9a-eb7bc2b8ac4b" providerId="ADAL" clId="{29B3924A-0E99-426D-A9EC-E22D7BFBE5E7}" dt="2024-09-27T16:50:09.153" v="62943"/>
          <ac:spMkLst>
            <pc:docMk/>
            <pc:sldMk cId="2807376235" sldId="2147481263"/>
            <ac:spMk id="525" creationId="{BAF903D3-AE63-26E7-87C1-3520AADAEAD8}"/>
          </ac:spMkLst>
        </pc:spChg>
        <pc:spChg chg="add del mod modVis">
          <ac:chgData name="Kyndal Mayes" userId="142911e9-0388-46d2-be9a-eb7bc2b8ac4b" providerId="ADAL" clId="{29B3924A-0E99-426D-A9EC-E22D7BFBE5E7}" dt="2024-09-27T16:50:12.011" v="63251"/>
          <ac:spMkLst>
            <pc:docMk/>
            <pc:sldMk cId="2807376235" sldId="2147481263"/>
            <ac:spMk id="527" creationId="{7F1C5B63-5164-9216-A3B9-0FD38090FD41}"/>
          </ac:spMkLst>
        </pc:spChg>
        <pc:spChg chg="add del mod modVis">
          <ac:chgData name="Kyndal Mayes" userId="142911e9-0388-46d2-be9a-eb7bc2b8ac4b" providerId="ADAL" clId="{29B3924A-0E99-426D-A9EC-E22D7BFBE5E7}" dt="2024-09-27T17:50:22.081" v="63555"/>
          <ac:spMkLst>
            <pc:docMk/>
            <pc:sldMk cId="2807376235" sldId="2147481263"/>
            <ac:spMk id="529" creationId="{F8CC5744-0F26-8037-242C-88C5C0B63A53}"/>
          </ac:spMkLst>
        </pc:spChg>
        <pc:spChg chg="add del mod modVis">
          <ac:chgData name="Kyndal Mayes" userId="142911e9-0388-46d2-be9a-eb7bc2b8ac4b" providerId="ADAL" clId="{29B3924A-0E99-426D-A9EC-E22D7BFBE5E7}" dt="2024-09-27T17:50:24.381" v="63920"/>
          <ac:spMkLst>
            <pc:docMk/>
            <pc:sldMk cId="2807376235" sldId="2147481263"/>
            <ac:spMk id="531" creationId="{CA8D24D9-F130-DC06-0892-4839F0EE1CB0}"/>
          </ac:spMkLst>
        </pc:spChg>
        <pc:spChg chg="add del mod modVis">
          <ac:chgData name="Kyndal Mayes" userId="142911e9-0388-46d2-be9a-eb7bc2b8ac4b" providerId="ADAL" clId="{29B3924A-0E99-426D-A9EC-E22D7BFBE5E7}" dt="2024-09-27T17:50:25.601" v="64223"/>
          <ac:spMkLst>
            <pc:docMk/>
            <pc:sldMk cId="2807376235" sldId="2147481263"/>
            <ac:spMk id="533" creationId="{5C28D4F2-F89D-530B-44C9-0C2E52CD7E8D}"/>
          </ac:spMkLst>
        </pc:spChg>
        <pc:spChg chg="add del mod modVis">
          <ac:chgData name="Kyndal Mayes" userId="142911e9-0388-46d2-be9a-eb7bc2b8ac4b" providerId="ADAL" clId="{29B3924A-0E99-426D-A9EC-E22D7BFBE5E7}" dt="2024-09-27T17:50:26.499" v="64524"/>
          <ac:spMkLst>
            <pc:docMk/>
            <pc:sldMk cId="2807376235" sldId="2147481263"/>
            <ac:spMk id="535" creationId="{B369FDEF-4C49-624D-6E0A-C00E4E543031}"/>
          </ac:spMkLst>
        </pc:spChg>
        <pc:spChg chg="add del mod modVis">
          <ac:chgData name="Kyndal Mayes" userId="142911e9-0388-46d2-be9a-eb7bc2b8ac4b" providerId="ADAL" clId="{29B3924A-0E99-426D-A9EC-E22D7BFBE5E7}" dt="2024-09-27T17:50:27.637" v="64824"/>
          <ac:spMkLst>
            <pc:docMk/>
            <pc:sldMk cId="2807376235" sldId="2147481263"/>
            <ac:spMk id="537" creationId="{2B0D1E6B-B572-A7C2-E4FB-5A505F7BBCBB}"/>
          </ac:spMkLst>
        </pc:spChg>
        <pc:spChg chg="add del mod modVis">
          <ac:chgData name="Kyndal Mayes" userId="142911e9-0388-46d2-be9a-eb7bc2b8ac4b" providerId="ADAL" clId="{29B3924A-0E99-426D-A9EC-E22D7BFBE5E7}" dt="2024-09-27T17:50:29.113" v="65171"/>
          <ac:spMkLst>
            <pc:docMk/>
            <pc:sldMk cId="2807376235" sldId="2147481263"/>
            <ac:spMk id="539" creationId="{E34A1A5B-9139-9968-24AC-44CA15A56B6B}"/>
          </ac:spMkLst>
        </pc:spChg>
        <pc:spChg chg="add del mod modVis">
          <ac:chgData name="Kyndal Mayes" userId="142911e9-0388-46d2-be9a-eb7bc2b8ac4b" providerId="ADAL" clId="{29B3924A-0E99-426D-A9EC-E22D7BFBE5E7}" dt="2024-09-27T17:50:30.673" v="65470"/>
          <ac:spMkLst>
            <pc:docMk/>
            <pc:sldMk cId="2807376235" sldId="2147481263"/>
            <ac:spMk id="541" creationId="{AA48D814-A711-6E3D-5019-BD27D8274657}"/>
          </ac:spMkLst>
        </pc:spChg>
        <pc:spChg chg="add del mod modVis">
          <ac:chgData name="Kyndal Mayes" userId="142911e9-0388-46d2-be9a-eb7bc2b8ac4b" providerId="ADAL" clId="{29B3924A-0E99-426D-A9EC-E22D7BFBE5E7}" dt="2024-09-27T17:50:30.971" v="65767"/>
          <ac:spMkLst>
            <pc:docMk/>
            <pc:sldMk cId="2807376235" sldId="2147481263"/>
            <ac:spMk id="543" creationId="{6C2C62EC-8FFA-B80F-836C-B2165F565929}"/>
          </ac:spMkLst>
        </pc:spChg>
        <pc:spChg chg="add del mod modVis">
          <ac:chgData name="Kyndal Mayes" userId="142911e9-0388-46d2-be9a-eb7bc2b8ac4b" providerId="ADAL" clId="{29B3924A-0E99-426D-A9EC-E22D7BFBE5E7}" dt="2024-09-27T17:50:32.289" v="66063"/>
          <ac:spMkLst>
            <pc:docMk/>
            <pc:sldMk cId="2807376235" sldId="2147481263"/>
            <ac:spMk id="545" creationId="{050BC9AB-793B-1958-D0C3-A9F507373BF1}"/>
          </ac:spMkLst>
        </pc:spChg>
        <pc:spChg chg="add del mod modVis">
          <ac:chgData name="Kyndal Mayes" userId="142911e9-0388-46d2-be9a-eb7bc2b8ac4b" providerId="ADAL" clId="{29B3924A-0E99-426D-A9EC-E22D7BFBE5E7}" dt="2024-09-27T17:50:33.483" v="66392"/>
          <ac:spMkLst>
            <pc:docMk/>
            <pc:sldMk cId="2807376235" sldId="2147481263"/>
            <ac:spMk id="547" creationId="{ADB99F21-21AD-1105-0C0D-49097C07CA8A}"/>
          </ac:spMkLst>
        </pc:spChg>
        <pc:spChg chg="add del mod modVis">
          <ac:chgData name="Kyndal Mayes" userId="142911e9-0388-46d2-be9a-eb7bc2b8ac4b" providerId="ADAL" clId="{29B3924A-0E99-426D-A9EC-E22D7BFBE5E7}" dt="2024-09-27T17:50:34.710" v="66687"/>
          <ac:spMkLst>
            <pc:docMk/>
            <pc:sldMk cId="2807376235" sldId="2147481263"/>
            <ac:spMk id="549" creationId="{403025BA-E6E0-C2B8-C729-AE2011B90752}"/>
          </ac:spMkLst>
        </pc:spChg>
        <pc:spChg chg="add del mod modVis">
          <ac:chgData name="Kyndal Mayes" userId="142911e9-0388-46d2-be9a-eb7bc2b8ac4b" providerId="ADAL" clId="{29B3924A-0E99-426D-A9EC-E22D7BFBE5E7}" dt="2024-09-27T17:50:36.096" v="67007"/>
          <ac:spMkLst>
            <pc:docMk/>
            <pc:sldMk cId="2807376235" sldId="2147481263"/>
            <ac:spMk id="551" creationId="{BFB8E210-8606-B1D8-B8DA-BECE38CB7DC6}"/>
          </ac:spMkLst>
        </pc:spChg>
        <pc:spChg chg="add del mod modVis">
          <ac:chgData name="Kyndal Mayes" userId="142911e9-0388-46d2-be9a-eb7bc2b8ac4b" providerId="ADAL" clId="{29B3924A-0E99-426D-A9EC-E22D7BFBE5E7}" dt="2024-09-27T17:50:37.621" v="67300"/>
          <ac:spMkLst>
            <pc:docMk/>
            <pc:sldMk cId="2807376235" sldId="2147481263"/>
            <ac:spMk id="553" creationId="{992A7291-A567-547B-FCF9-EF2CCA895CEE}"/>
          </ac:spMkLst>
        </pc:spChg>
        <pc:spChg chg="add del mod modVis">
          <ac:chgData name="Kyndal Mayes" userId="142911e9-0388-46d2-be9a-eb7bc2b8ac4b" providerId="ADAL" clId="{29B3924A-0E99-426D-A9EC-E22D7BFBE5E7}" dt="2024-09-27T17:50:38.903" v="67592"/>
          <ac:spMkLst>
            <pc:docMk/>
            <pc:sldMk cId="2807376235" sldId="2147481263"/>
            <ac:spMk id="555" creationId="{1C71DDF3-EE89-C696-A311-CB96964901FF}"/>
          </ac:spMkLst>
        </pc:spChg>
        <pc:spChg chg="add del mod modVis">
          <ac:chgData name="Kyndal Mayes" userId="142911e9-0388-46d2-be9a-eb7bc2b8ac4b" providerId="ADAL" clId="{29B3924A-0E99-426D-A9EC-E22D7BFBE5E7}" dt="2024-09-27T17:50:41.012" v="67903"/>
          <ac:spMkLst>
            <pc:docMk/>
            <pc:sldMk cId="2807376235" sldId="2147481263"/>
            <ac:spMk id="557" creationId="{A15BF21B-074C-6BF6-4880-ED636EFEA2E4}"/>
          </ac:spMkLst>
        </pc:spChg>
        <pc:spChg chg="add del mod modVis">
          <ac:chgData name="Kyndal Mayes" userId="142911e9-0388-46d2-be9a-eb7bc2b8ac4b" providerId="ADAL" clId="{29B3924A-0E99-426D-A9EC-E22D7BFBE5E7}" dt="2024-09-27T17:50:48.846" v="68194"/>
          <ac:spMkLst>
            <pc:docMk/>
            <pc:sldMk cId="2807376235" sldId="2147481263"/>
            <ac:spMk id="559" creationId="{19EA841D-0BC8-C29E-F7AC-FD6F822F0CCE}"/>
          </ac:spMkLst>
        </pc:spChg>
        <pc:spChg chg="add del mod modVis">
          <ac:chgData name="Kyndal Mayes" userId="142911e9-0388-46d2-be9a-eb7bc2b8ac4b" providerId="ADAL" clId="{29B3924A-0E99-426D-A9EC-E22D7BFBE5E7}" dt="2024-09-27T17:50:49.204" v="68547"/>
          <ac:spMkLst>
            <pc:docMk/>
            <pc:sldMk cId="2807376235" sldId="2147481263"/>
            <ac:spMk id="561" creationId="{11D8AE02-1FA7-202E-259E-1FB92262147C}"/>
          </ac:spMkLst>
        </pc:spChg>
        <pc:spChg chg="add del mod modVis">
          <ac:chgData name="Kyndal Mayes" userId="142911e9-0388-46d2-be9a-eb7bc2b8ac4b" providerId="ADAL" clId="{29B3924A-0E99-426D-A9EC-E22D7BFBE5E7}" dt="2024-09-27T17:50:52.356" v="68838"/>
          <ac:spMkLst>
            <pc:docMk/>
            <pc:sldMk cId="2807376235" sldId="2147481263"/>
            <ac:spMk id="563" creationId="{34CFFB56-4CE4-29DC-DEED-E7BCA230B370}"/>
          </ac:spMkLst>
        </pc:spChg>
        <pc:spChg chg="add del mod modVis">
          <ac:chgData name="Kyndal Mayes" userId="142911e9-0388-46d2-be9a-eb7bc2b8ac4b" providerId="ADAL" clId="{29B3924A-0E99-426D-A9EC-E22D7BFBE5E7}" dt="2024-09-27T17:50:53.679" v="69169"/>
          <ac:spMkLst>
            <pc:docMk/>
            <pc:sldMk cId="2807376235" sldId="2147481263"/>
            <ac:spMk id="565" creationId="{7F67DE03-D31E-7B50-4DC4-DDC3CDBFEA1E}"/>
          </ac:spMkLst>
        </pc:spChg>
        <pc:spChg chg="add del mod modVis">
          <ac:chgData name="Kyndal Mayes" userId="142911e9-0388-46d2-be9a-eb7bc2b8ac4b" providerId="ADAL" clId="{29B3924A-0E99-426D-A9EC-E22D7BFBE5E7}" dt="2024-09-27T17:50:54.843" v="69459"/>
          <ac:spMkLst>
            <pc:docMk/>
            <pc:sldMk cId="2807376235" sldId="2147481263"/>
            <ac:spMk id="567" creationId="{F1204214-FAB5-E607-5E62-0557F80DC374}"/>
          </ac:spMkLst>
        </pc:spChg>
        <pc:spChg chg="add del mod modVis">
          <ac:chgData name="Kyndal Mayes" userId="142911e9-0388-46d2-be9a-eb7bc2b8ac4b" providerId="ADAL" clId="{29B3924A-0E99-426D-A9EC-E22D7BFBE5E7}" dt="2024-09-27T17:50:55.914" v="69747"/>
          <ac:spMkLst>
            <pc:docMk/>
            <pc:sldMk cId="2807376235" sldId="2147481263"/>
            <ac:spMk id="569" creationId="{663B0759-9AE2-9116-A334-D92A52180BFC}"/>
          </ac:spMkLst>
        </pc:spChg>
        <pc:spChg chg="add del mod modVis">
          <ac:chgData name="Kyndal Mayes" userId="142911e9-0388-46d2-be9a-eb7bc2b8ac4b" providerId="ADAL" clId="{29B3924A-0E99-426D-A9EC-E22D7BFBE5E7}" dt="2024-09-27T17:50:57.219" v="70034"/>
          <ac:spMkLst>
            <pc:docMk/>
            <pc:sldMk cId="2807376235" sldId="2147481263"/>
            <ac:spMk id="571" creationId="{627F4AE2-0431-52F5-69FC-754F952A81E8}"/>
          </ac:spMkLst>
        </pc:spChg>
        <pc:spChg chg="add del mod modVis">
          <ac:chgData name="Kyndal Mayes" userId="142911e9-0388-46d2-be9a-eb7bc2b8ac4b" providerId="ADAL" clId="{29B3924A-0E99-426D-A9EC-E22D7BFBE5E7}" dt="2024-09-27T17:50:58.714" v="70347"/>
          <ac:spMkLst>
            <pc:docMk/>
            <pc:sldMk cId="2807376235" sldId="2147481263"/>
            <ac:spMk id="573" creationId="{E9BFF626-6A86-14B7-D5DA-828EF042A91D}"/>
          </ac:spMkLst>
        </pc:spChg>
        <pc:spChg chg="add del mod modVis">
          <ac:chgData name="Kyndal Mayes" userId="142911e9-0388-46d2-be9a-eb7bc2b8ac4b" providerId="ADAL" clId="{29B3924A-0E99-426D-A9EC-E22D7BFBE5E7}" dt="2024-09-27T17:51:00.026" v="70633"/>
          <ac:spMkLst>
            <pc:docMk/>
            <pc:sldMk cId="2807376235" sldId="2147481263"/>
            <ac:spMk id="575" creationId="{0A169E86-3C10-641C-0FA9-20F889B7204B}"/>
          </ac:spMkLst>
        </pc:spChg>
        <pc:spChg chg="add del mod modVis">
          <ac:chgData name="Kyndal Mayes" userId="142911e9-0388-46d2-be9a-eb7bc2b8ac4b" providerId="ADAL" clId="{29B3924A-0E99-426D-A9EC-E22D7BFBE5E7}" dt="2024-09-27T17:51:00.399" v="70917"/>
          <ac:spMkLst>
            <pc:docMk/>
            <pc:sldMk cId="2807376235" sldId="2147481263"/>
            <ac:spMk id="577" creationId="{1775E18E-D16B-BACE-9D4B-0B3B44DDAF71}"/>
          </ac:spMkLst>
        </pc:spChg>
        <pc:spChg chg="add del mod modVis">
          <ac:chgData name="Kyndal Mayes" userId="142911e9-0388-46d2-be9a-eb7bc2b8ac4b" providerId="ADAL" clId="{29B3924A-0E99-426D-A9EC-E22D7BFBE5E7}" dt="2024-09-27T17:51:01.852" v="71200"/>
          <ac:spMkLst>
            <pc:docMk/>
            <pc:sldMk cId="2807376235" sldId="2147481263"/>
            <ac:spMk id="579" creationId="{751BAD94-BFF6-7136-FE58-2610A617D6B1}"/>
          </ac:spMkLst>
        </pc:spChg>
        <pc:spChg chg="add del mod modVis">
          <ac:chgData name="Kyndal Mayes" userId="142911e9-0388-46d2-be9a-eb7bc2b8ac4b" providerId="ADAL" clId="{29B3924A-0E99-426D-A9EC-E22D7BFBE5E7}" dt="2024-09-27T17:51:03.049" v="71491"/>
          <ac:spMkLst>
            <pc:docMk/>
            <pc:sldMk cId="2807376235" sldId="2147481263"/>
            <ac:spMk id="581" creationId="{775D2B4D-060F-F3AC-AA47-CCD9B5172E65}"/>
          </ac:spMkLst>
        </pc:spChg>
        <pc:spChg chg="add del mod modVis">
          <ac:chgData name="Kyndal Mayes" userId="142911e9-0388-46d2-be9a-eb7bc2b8ac4b" providerId="ADAL" clId="{29B3924A-0E99-426D-A9EC-E22D7BFBE5E7}" dt="2024-09-27T17:51:08.475" v="71781"/>
          <ac:spMkLst>
            <pc:docMk/>
            <pc:sldMk cId="2807376235" sldId="2147481263"/>
            <ac:spMk id="583" creationId="{8F5C7252-ACE2-30C6-CC58-F167C8B7ACA6}"/>
          </ac:spMkLst>
        </pc:spChg>
        <pc:spChg chg="add del mod modVis">
          <ac:chgData name="Kyndal Mayes" userId="142911e9-0388-46d2-be9a-eb7bc2b8ac4b" providerId="ADAL" clId="{29B3924A-0E99-426D-A9EC-E22D7BFBE5E7}" dt="2024-09-27T17:51:10.117" v="72076"/>
          <ac:spMkLst>
            <pc:docMk/>
            <pc:sldMk cId="2807376235" sldId="2147481263"/>
            <ac:spMk id="585" creationId="{53362DA5-E935-6778-C41F-1005ADA34F18}"/>
          </ac:spMkLst>
        </pc:spChg>
        <pc:spChg chg="add del mod modVis">
          <ac:chgData name="Kyndal Mayes" userId="142911e9-0388-46d2-be9a-eb7bc2b8ac4b" providerId="ADAL" clId="{29B3924A-0E99-426D-A9EC-E22D7BFBE5E7}" dt="2024-09-27T17:51:11.598" v="72446"/>
          <ac:spMkLst>
            <pc:docMk/>
            <pc:sldMk cId="2807376235" sldId="2147481263"/>
            <ac:spMk id="587" creationId="{787FF5A8-232B-5F5D-AF90-CC0D6DB57E6F}"/>
          </ac:spMkLst>
        </pc:spChg>
        <pc:spChg chg="add del mod modVis">
          <ac:chgData name="Kyndal Mayes" userId="142911e9-0388-46d2-be9a-eb7bc2b8ac4b" providerId="ADAL" clId="{29B3924A-0E99-426D-A9EC-E22D7BFBE5E7}" dt="2024-09-27T17:51:12.623" v="72740"/>
          <ac:spMkLst>
            <pc:docMk/>
            <pc:sldMk cId="2807376235" sldId="2147481263"/>
            <ac:spMk id="589" creationId="{83E4FB51-C294-6FAA-2E02-E6E729EC262C}"/>
          </ac:spMkLst>
        </pc:spChg>
        <pc:spChg chg="add del mod modVis">
          <ac:chgData name="Kyndal Mayes" userId="142911e9-0388-46d2-be9a-eb7bc2b8ac4b" providerId="ADAL" clId="{29B3924A-0E99-426D-A9EC-E22D7BFBE5E7}" dt="2024-09-27T17:51:14.186" v="73033"/>
          <ac:spMkLst>
            <pc:docMk/>
            <pc:sldMk cId="2807376235" sldId="2147481263"/>
            <ac:spMk id="591" creationId="{E81BC270-0C5C-97C6-DF32-F9F99E3DDB4B}"/>
          </ac:spMkLst>
        </pc:spChg>
        <pc:spChg chg="add del mod modVis">
          <ac:chgData name="Kyndal Mayes" userId="142911e9-0388-46d2-be9a-eb7bc2b8ac4b" providerId="ADAL" clId="{29B3924A-0E99-426D-A9EC-E22D7BFBE5E7}" dt="2024-09-27T17:51:15.818" v="73326"/>
          <ac:spMkLst>
            <pc:docMk/>
            <pc:sldMk cId="2807376235" sldId="2147481263"/>
            <ac:spMk id="593" creationId="{8CD15285-4C8B-DD2D-4398-C3344F18ED3F}"/>
          </ac:spMkLst>
        </pc:spChg>
        <pc:spChg chg="add del mod modVis">
          <ac:chgData name="Kyndal Mayes" userId="142911e9-0388-46d2-be9a-eb7bc2b8ac4b" providerId="ADAL" clId="{29B3924A-0E99-426D-A9EC-E22D7BFBE5E7}" dt="2024-09-27T17:51:17.460" v="73619"/>
          <ac:spMkLst>
            <pc:docMk/>
            <pc:sldMk cId="2807376235" sldId="2147481263"/>
            <ac:spMk id="595" creationId="{EB35A382-0F1E-40B8-0EB9-A64005AA65AD}"/>
          </ac:spMkLst>
        </pc:spChg>
        <pc:spChg chg="add del mod modVis">
          <ac:chgData name="Kyndal Mayes" userId="142911e9-0388-46d2-be9a-eb7bc2b8ac4b" providerId="ADAL" clId="{29B3924A-0E99-426D-A9EC-E22D7BFBE5E7}" dt="2024-09-27T17:51:18.612" v="73980"/>
          <ac:spMkLst>
            <pc:docMk/>
            <pc:sldMk cId="2807376235" sldId="2147481263"/>
            <ac:spMk id="597" creationId="{CFB6F14B-0BF6-C41A-334B-0C3AB4CC3D3A}"/>
          </ac:spMkLst>
        </pc:spChg>
        <pc:spChg chg="add del mod modVis">
          <ac:chgData name="Kyndal Mayes" userId="142911e9-0388-46d2-be9a-eb7bc2b8ac4b" providerId="ADAL" clId="{29B3924A-0E99-426D-A9EC-E22D7BFBE5E7}" dt="2024-09-27T17:51:19.620" v="74272"/>
          <ac:spMkLst>
            <pc:docMk/>
            <pc:sldMk cId="2807376235" sldId="2147481263"/>
            <ac:spMk id="599" creationId="{E68CE6DD-B8E6-C547-B04C-DDC7DCB4A04C}"/>
          </ac:spMkLst>
        </pc:spChg>
        <pc:spChg chg="add del mod modVis">
          <ac:chgData name="Kyndal Mayes" userId="142911e9-0388-46d2-be9a-eb7bc2b8ac4b" providerId="ADAL" clId="{29B3924A-0E99-426D-A9EC-E22D7BFBE5E7}" dt="2024-09-27T17:51:20.766" v="74563"/>
          <ac:spMkLst>
            <pc:docMk/>
            <pc:sldMk cId="2807376235" sldId="2147481263"/>
            <ac:spMk id="601" creationId="{F260155C-A73E-7ED1-A691-9F517F8D97AE}"/>
          </ac:spMkLst>
        </pc:spChg>
        <pc:spChg chg="add del mod modVis">
          <ac:chgData name="Kyndal Mayes" userId="142911e9-0388-46d2-be9a-eb7bc2b8ac4b" providerId="ADAL" clId="{29B3924A-0E99-426D-A9EC-E22D7BFBE5E7}" dt="2024-09-27T17:51:21.724" v="74915"/>
          <ac:spMkLst>
            <pc:docMk/>
            <pc:sldMk cId="2807376235" sldId="2147481263"/>
            <ac:spMk id="603" creationId="{F03AE668-BC7B-847E-3968-8E3B9C9072F2}"/>
          </ac:spMkLst>
        </pc:spChg>
        <pc:spChg chg="add del mod modVis">
          <ac:chgData name="Kyndal Mayes" userId="142911e9-0388-46d2-be9a-eb7bc2b8ac4b" providerId="ADAL" clId="{29B3924A-0E99-426D-A9EC-E22D7BFBE5E7}" dt="2024-09-27T17:51:22.807" v="75267"/>
          <ac:spMkLst>
            <pc:docMk/>
            <pc:sldMk cId="2807376235" sldId="2147481263"/>
            <ac:spMk id="605" creationId="{417C2549-1779-4AC0-ECB5-894FC829BEC4}"/>
          </ac:spMkLst>
        </pc:spChg>
        <pc:spChg chg="add del mod modVis">
          <ac:chgData name="Kyndal Mayes" userId="142911e9-0388-46d2-be9a-eb7bc2b8ac4b" providerId="ADAL" clId="{29B3924A-0E99-426D-A9EC-E22D7BFBE5E7}" dt="2024-09-27T17:51:23.963" v="75557"/>
          <ac:spMkLst>
            <pc:docMk/>
            <pc:sldMk cId="2807376235" sldId="2147481263"/>
            <ac:spMk id="607" creationId="{EF135A9B-D7EE-5870-1A7B-844F96963423}"/>
          </ac:spMkLst>
        </pc:spChg>
        <pc:spChg chg="add del mod modVis">
          <ac:chgData name="Kyndal Mayes" userId="142911e9-0388-46d2-be9a-eb7bc2b8ac4b" providerId="ADAL" clId="{29B3924A-0E99-426D-A9EC-E22D7BFBE5E7}" dt="2024-09-27T17:51:24.993" v="75846"/>
          <ac:spMkLst>
            <pc:docMk/>
            <pc:sldMk cId="2807376235" sldId="2147481263"/>
            <ac:spMk id="609" creationId="{6E2A30D0-01ED-9B45-AA9E-E26A6150CA7A}"/>
          </ac:spMkLst>
        </pc:spChg>
        <pc:spChg chg="add del mod modVis">
          <ac:chgData name="Kyndal Mayes" userId="142911e9-0388-46d2-be9a-eb7bc2b8ac4b" providerId="ADAL" clId="{29B3924A-0E99-426D-A9EC-E22D7BFBE5E7}" dt="2024-09-27T17:51:26.291" v="76189"/>
          <ac:spMkLst>
            <pc:docMk/>
            <pc:sldMk cId="2807376235" sldId="2147481263"/>
            <ac:spMk id="611" creationId="{C107585C-15DF-B7AC-E2A7-C4830C6E35FE}"/>
          </ac:spMkLst>
        </pc:spChg>
        <pc:spChg chg="add del mod modVis">
          <ac:chgData name="Kyndal Mayes" userId="142911e9-0388-46d2-be9a-eb7bc2b8ac4b" providerId="ADAL" clId="{29B3924A-0E99-426D-A9EC-E22D7BFBE5E7}" dt="2024-09-27T17:51:27.390" v="76477"/>
          <ac:spMkLst>
            <pc:docMk/>
            <pc:sldMk cId="2807376235" sldId="2147481263"/>
            <ac:spMk id="613" creationId="{63BFC9AB-7120-45BD-14E5-8E23CF21243B}"/>
          </ac:spMkLst>
        </pc:spChg>
        <pc:spChg chg="add del mod modVis">
          <ac:chgData name="Kyndal Mayes" userId="142911e9-0388-46d2-be9a-eb7bc2b8ac4b" providerId="ADAL" clId="{29B3924A-0E99-426D-A9EC-E22D7BFBE5E7}" dt="2024-09-27T17:51:27.688" v="76763"/>
          <ac:spMkLst>
            <pc:docMk/>
            <pc:sldMk cId="2807376235" sldId="2147481263"/>
            <ac:spMk id="615" creationId="{057BA82F-5932-3894-00B6-130E0C800325}"/>
          </ac:spMkLst>
        </pc:spChg>
        <pc:spChg chg="add del mod modVis">
          <ac:chgData name="Kyndal Mayes" userId="142911e9-0388-46d2-be9a-eb7bc2b8ac4b" providerId="ADAL" clId="{29B3924A-0E99-426D-A9EC-E22D7BFBE5E7}" dt="2024-09-27T17:51:28.756" v="77048"/>
          <ac:spMkLst>
            <pc:docMk/>
            <pc:sldMk cId="2807376235" sldId="2147481263"/>
            <ac:spMk id="617" creationId="{CFCD728A-4311-EDFB-CC2D-AB28D31CE252}"/>
          </ac:spMkLst>
        </pc:spChg>
        <pc:spChg chg="add del mod modVis">
          <ac:chgData name="Kyndal Mayes" userId="142911e9-0388-46d2-be9a-eb7bc2b8ac4b" providerId="ADAL" clId="{29B3924A-0E99-426D-A9EC-E22D7BFBE5E7}" dt="2024-09-27T17:51:29.919" v="77373"/>
          <ac:spMkLst>
            <pc:docMk/>
            <pc:sldMk cId="2807376235" sldId="2147481263"/>
            <ac:spMk id="619" creationId="{0681F57B-B48C-C107-5941-9850B7B75CBF}"/>
          </ac:spMkLst>
        </pc:spChg>
        <pc:spChg chg="add del mod modVis">
          <ac:chgData name="Kyndal Mayes" userId="142911e9-0388-46d2-be9a-eb7bc2b8ac4b" providerId="ADAL" clId="{29B3924A-0E99-426D-A9EC-E22D7BFBE5E7}" dt="2024-09-27T17:51:31.972" v="77657"/>
          <ac:spMkLst>
            <pc:docMk/>
            <pc:sldMk cId="2807376235" sldId="2147481263"/>
            <ac:spMk id="621" creationId="{AB65ADB5-C1AC-886A-8440-A3187AB84DFE}"/>
          </ac:spMkLst>
        </pc:spChg>
        <pc:spChg chg="add del mod modVis">
          <ac:chgData name="Kyndal Mayes" userId="142911e9-0388-46d2-be9a-eb7bc2b8ac4b" providerId="ADAL" clId="{29B3924A-0E99-426D-A9EC-E22D7BFBE5E7}" dt="2024-09-27T17:51:32.274" v="77939"/>
          <ac:spMkLst>
            <pc:docMk/>
            <pc:sldMk cId="2807376235" sldId="2147481263"/>
            <ac:spMk id="623" creationId="{85F394B9-7606-F769-73D9-0F4059B0D3D4}"/>
          </ac:spMkLst>
        </pc:spChg>
        <pc:spChg chg="add del mod modVis">
          <ac:chgData name="Kyndal Mayes" userId="142911e9-0388-46d2-be9a-eb7bc2b8ac4b" providerId="ADAL" clId="{29B3924A-0E99-426D-A9EC-E22D7BFBE5E7}" dt="2024-09-27T17:51:33.408" v="78220"/>
          <ac:spMkLst>
            <pc:docMk/>
            <pc:sldMk cId="2807376235" sldId="2147481263"/>
            <ac:spMk id="625" creationId="{0550E2AF-6A69-E060-8AE9-C1BDCE5D127E}"/>
          </ac:spMkLst>
        </pc:spChg>
        <pc:spChg chg="add del mod modVis">
          <ac:chgData name="Kyndal Mayes" userId="142911e9-0388-46d2-be9a-eb7bc2b8ac4b" providerId="ADAL" clId="{29B3924A-0E99-426D-A9EC-E22D7BFBE5E7}" dt="2024-09-27T17:51:34.635" v="78527"/>
          <ac:spMkLst>
            <pc:docMk/>
            <pc:sldMk cId="2807376235" sldId="2147481263"/>
            <ac:spMk id="627" creationId="{AB5947C1-D5CF-E744-CD61-4AEAE7901B0E}"/>
          </ac:spMkLst>
        </pc:spChg>
        <pc:spChg chg="add del mod modVis">
          <ac:chgData name="Kyndal Mayes" userId="142911e9-0388-46d2-be9a-eb7bc2b8ac4b" providerId="ADAL" clId="{29B3924A-0E99-426D-A9EC-E22D7BFBE5E7}" dt="2024-09-27T17:51:36.293" v="78807"/>
          <ac:spMkLst>
            <pc:docMk/>
            <pc:sldMk cId="2807376235" sldId="2147481263"/>
            <ac:spMk id="629" creationId="{3B82F986-E0BD-8312-8109-3A838F9ED625}"/>
          </ac:spMkLst>
        </pc:spChg>
        <pc:spChg chg="add del mod modVis">
          <ac:chgData name="Kyndal Mayes" userId="142911e9-0388-46d2-be9a-eb7bc2b8ac4b" providerId="ADAL" clId="{29B3924A-0E99-426D-A9EC-E22D7BFBE5E7}" dt="2024-09-27T17:51:36.543" v="79085"/>
          <ac:spMkLst>
            <pc:docMk/>
            <pc:sldMk cId="2807376235" sldId="2147481263"/>
            <ac:spMk id="631" creationId="{B67809C5-FAC7-CB82-37AA-9086D4B62C6D}"/>
          </ac:spMkLst>
        </pc:spChg>
        <pc:spChg chg="add del mod modVis">
          <ac:chgData name="Kyndal Mayes" userId="142911e9-0388-46d2-be9a-eb7bc2b8ac4b" providerId="ADAL" clId="{29B3924A-0E99-426D-A9EC-E22D7BFBE5E7}" dt="2024-09-27T17:51:38.211" v="79362"/>
          <ac:spMkLst>
            <pc:docMk/>
            <pc:sldMk cId="2807376235" sldId="2147481263"/>
            <ac:spMk id="633" creationId="{F6FD80EA-EB89-890F-BAFE-DAF6AD4A356C}"/>
          </ac:spMkLst>
        </pc:spChg>
        <pc:spChg chg="add del mod modVis">
          <ac:chgData name="Kyndal Mayes" userId="142911e9-0388-46d2-be9a-eb7bc2b8ac4b" providerId="ADAL" clId="{29B3924A-0E99-426D-A9EC-E22D7BFBE5E7}" dt="2024-09-27T17:51:39.374" v="79647"/>
          <ac:spMkLst>
            <pc:docMk/>
            <pc:sldMk cId="2807376235" sldId="2147481263"/>
            <ac:spMk id="635" creationId="{C11AACD9-B43F-86A2-518B-5BCFBAB1B4E6}"/>
          </ac:spMkLst>
        </pc:spChg>
        <pc:spChg chg="add del mod modVis">
          <ac:chgData name="Kyndal Mayes" userId="142911e9-0388-46d2-be9a-eb7bc2b8ac4b" providerId="ADAL" clId="{29B3924A-0E99-426D-A9EC-E22D7BFBE5E7}" dt="2024-09-27T17:51:40.929" v="80029"/>
          <ac:spMkLst>
            <pc:docMk/>
            <pc:sldMk cId="2807376235" sldId="2147481263"/>
            <ac:spMk id="637" creationId="{957055E8-BDD7-3E37-2F17-D6D3A008F9A1}"/>
          </ac:spMkLst>
        </pc:spChg>
        <pc:spChg chg="add del mod modVis">
          <ac:chgData name="Kyndal Mayes" userId="142911e9-0388-46d2-be9a-eb7bc2b8ac4b" providerId="ADAL" clId="{29B3924A-0E99-426D-A9EC-E22D7BFBE5E7}" dt="2024-09-27T17:51:48.314" v="80382"/>
          <ac:spMkLst>
            <pc:docMk/>
            <pc:sldMk cId="2807376235" sldId="2147481263"/>
            <ac:spMk id="640" creationId="{56661291-7239-6256-2625-BF43B958CB09}"/>
          </ac:spMkLst>
        </pc:spChg>
        <pc:spChg chg="add del mod modVis">
          <ac:chgData name="Kyndal Mayes" userId="142911e9-0388-46d2-be9a-eb7bc2b8ac4b" providerId="ADAL" clId="{29B3924A-0E99-426D-A9EC-E22D7BFBE5E7}" dt="2024-09-27T17:51:55.632" v="80672"/>
          <ac:spMkLst>
            <pc:docMk/>
            <pc:sldMk cId="2807376235" sldId="2147481263"/>
            <ac:spMk id="646" creationId="{EEB4B680-97CD-F9AF-21D1-DCA35419FF4E}"/>
          </ac:spMkLst>
        </pc:spChg>
        <pc:spChg chg="add del mod modVis">
          <ac:chgData name="Kyndal Mayes" userId="142911e9-0388-46d2-be9a-eb7bc2b8ac4b" providerId="ADAL" clId="{29B3924A-0E99-426D-A9EC-E22D7BFBE5E7}" dt="2024-09-27T17:52:06.490" v="80934"/>
          <ac:spMkLst>
            <pc:docMk/>
            <pc:sldMk cId="2807376235" sldId="2147481263"/>
            <ac:spMk id="648" creationId="{7F559EB5-BC62-FD93-5E91-EAA20810B583}"/>
          </ac:spMkLst>
        </pc:spChg>
        <pc:spChg chg="add del mod modVis">
          <ac:chgData name="Kyndal Mayes" userId="142911e9-0388-46d2-be9a-eb7bc2b8ac4b" providerId="ADAL" clId="{29B3924A-0E99-426D-A9EC-E22D7BFBE5E7}" dt="2024-09-27T17:52:14.187" v="81317"/>
          <ac:spMkLst>
            <pc:docMk/>
            <pc:sldMk cId="2807376235" sldId="2147481263"/>
            <ac:spMk id="650" creationId="{FC9176A3-E4B2-2C5D-FD8D-DCBCE27BD397}"/>
          </ac:spMkLst>
        </pc:spChg>
        <pc:spChg chg="add del mod modVis">
          <ac:chgData name="Kyndal Mayes" userId="142911e9-0388-46d2-be9a-eb7bc2b8ac4b" providerId="ADAL" clId="{29B3924A-0E99-426D-A9EC-E22D7BFBE5E7}" dt="2024-09-27T17:52:20.815" v="81587"/>
          <ac:spMkLst>
            <pc:docMk/>
            <pc:sldMk cId="2807376235" sldId="2147481263"/>
            <ac:spMk id="657" creationId="{7CC88B1D-7852-D42E-406F-24E0DBB99ADC}"/>
          </ac:spMkLst>
        </pc:spChg>
        <pc:spChg chg="del">
          <ac:chgData name="Kyndal Mayes" userId="142911e9-0388-46d2-be9a-eb7bc2b8ac4b" providerId="ADAL" clId="{29B3924A-0E99-426D-A9EC-E22D7BFBE5E7}" dt="2024-09-27T18:40:10.910" v="81647" actId="478"/>
          <ac:spMkLst>
            <pc:docMk/>
            <pc:sldMk cId="2807376235" sldId="2147481263"/>
            <ac:spMk id="659" creationId="{6B9CD782-E321-4EC8-A302-AD0BC65C60DA}"/>
          </ac:spMkLst>
        </pc:spChg>
        <pc:spChg chg="add mod">
          <ac:chgData name="Kyndal Mayes" userId="142911e9-0388-46d2-be9a-eb7bc2b8ac4b" providerId="ADAL" clId="{29B3924A-0E99-426D-A9EC-E22D7BFBE5E7}" dt="2024-09-27T19:37:03.288" v="81698" actId="14100"/>
          <ac:spMkLst>
            <pc:docMk/>
            <pc:sldMk cId="2807376235" sldId="2147481263"/>
            <ac:spMk id="660" creationId="{E35025F5-A2D9-1694-B0C7-4624723419EF}"/>
          </ac:spMkLst>
        </pc:spChg>
        <pc:spChg chg="add mod">
          <ac:chgData name="Kyndal Mayes" userId="142911e9-0388-46d2-be9a-eb7bc2b8ac4b" providerId="ADAL" clId="{29B3924A-0E99-426D-A9EC-E22D7BFBE5E7}" dt="2024-09-27T19:37:09.677" v="81699" actId="14100"/>
          <ac:spMkLst>
            <pc:docMk/>
            <pc:sldMk cId="2807376235" sldId="2147481263"/>
            <ac:spMk id="661" creationId="{3B22F9D6-EE23-F3D8-06E1-DEE45576BF5F}"/>
          </ac:spMkLst>
        </pc:spChg>
        <pc:spChg chg="add mod">
          <ac:chgData name="Kyndal Mayes" userId="142911e9-0388-46d2-be9a-eb7bc2b8ac4b" providerId="ADAL" clId="{29B3924A-0E99-426D-A9EC-E22D7BFBE5E7}" dt="2024-09-27T19:37:17.215" v="81700" actId="14100"/>
          <ac:spMkLst>
            <pc:docMk/>
            <pc:sldMk cId="2807376235" sldId="2147481263"/>
            <ac:spMk id="662" creationId="{B34D45ED-D44A-4063-2274-89CFEC077DC0}"/>
          </ac:spMkLst>
        </pc:spChg>
        <pc:graphicFrameChg chg="add del mod ord">
          <ac:chgData name="Kyndal Mayes" userId="142911e9-0388-46d2-be9a-eb7bc2b8ac4b" providerId="ADAL" clId="{29B3924A-0E99-426D-A9EC-E22D7BFBE5E7}" dt="2024-09-27T16:44:19.998" v="15797"/>
          <ac:graphicFrameMkLst>
            <pc:docMk/>
            <pc:sldMk cId="2807376235" sldId="2147481263"/>
            <ac:graphicFrameMk id="12" creationId="{7700F89F-1D52-6543-AEDE-72046BC59113}"/>
          </ac:graphicFrameMkLst>
        </pc:graphicFrameChg>
        <pc:graphicFrameChg chg="add del mod ord">
          <ac:chgData name="Kyndal Mayes" userId="142911e9-0388-46d2-be9a-eb7bc2b8ac4b" providerId="ADAL" clId="{29B3924A-0E99-426D-A9EC-E22D7BFBE5E7}" dt="2024-09-27T16:44:18.964" v="15566" actId="1076"/>
          <ac:graphicFrameMkLst>
            <pc:docMk/>
            <pc:sldMk cId="2807376235" sldId="2147481263"/>
            <ac:graphicFrameMk id="14" creationId="{13811F6F-4817-4FA1-359F-F0CBFDEA7806}"/>
          </ac:graphicFrameMkLst>
        </pc:graphicFrameChg>
        <pc:graphicFrameChg chg="mod">
          <ac:chgData name="Kyndal Mayes" userId="142911e9-0388-46d2-be9a-eb7bc2b8ac4b" providerId="ADAL" clId="{29B3924A-0E99-426D-A9EC-E22D7BFBE5E7}" dt="2024-09-27T17:52:20.815" v="81589"/>
          <ac:graphicFrameMkLst>
            <pc:docMk/>
            <pc:sldMk cId="2807376235" sldId="2147481263"/>
            <ac:graphicFrameMk id="15" creationId="{4E5644C9-A542-0369-4D5D-F269BFEEB860}"/>
          </ac:graphicFrameMkLst>
        </pc:graphicFrameChg>
        <pc:graphicFrameChg chg="add del mod ord">
          <ac:chgData name="Kyndal Mayes" userId="142911e9-0388-46d2-be9a-eb7bc2b8ac4b" providerId="ADAL" clId="{29B3924A-0E99-426D-A9EC-E22D7BFBE5E7}" dt="2024-09-27T16:44:18.873" v="15454" actId="1076"/>
          <ac:graphicFrameMkLst>
            <pc:docMk/>
            <pc:sldMk cId="2807376235" sldId="2147481263"/>
            <ac:graphicFrameMk id="18" creationId="{5B519345-27FB-A7E5-7810-EB6C7EBA8188}"/>
          </ac:graphicFrameMkLst>
        </pc:graphicFrameChg>
        <pc:graphicFrameChg chg="add del mod ord">
          <ac:chgData name="Kyndal Mayes" userId="142911e9-0388-46d2-be9a-eb7bc2b8ac4b" providerId="ADAL" clId="{29B3924A-0E99-426D-A9EC-E22D7BFBE5E7}" dt="2024-09-27T16:44:17.964" v="15356" actId="1076"/>
          <ac:graphicFrameMkLst>
            <pc:docMk/>
            <pc:sldMk cId="2807376235" sldId="2147481263"/>
            <ac:graphicFrameMk id="26" creationId="{5C6F92F9-4C59-C4C7-63E4-11D07B112A45}"/>
          </ac:graphicFrameMkLst>
        </pc:graphicFrameChg>
        <pc:graphicFrameChg chg="add del mod ord">
          <ac:chgData name="Kyndal Mayes" userId="142911e9-0388-46d2-be9a-eb7bc2b8ac4b" providerId="ADAL" clId="{29B3924A-0E99-426D-A9EC-E22D7BFBE5E7}" dt="2024-09-27T16:44:17.839" v="15241" actId="1076"/>
          <ac:graphicFrameMkLst>
            <pc:docMk/>
            <pc:sldMk cId="2807376235" sldId="2147481263"/>
            <ac:graphicFrameMk id="31" creationId="{DA0BB298-7646-848F-FFBF-AFFC55159800}"/>
          </ac:graphicFrameMkLst>
        </pc:graphicFrameChg>
        <pc:graphicFrameChg chg="add del mod ord">
          <ac:chgData name="Kyndal Mayes" userId="142911e9-0388-46d2-be9a-eb7bc2b8ac4b" providerId="ADAL" clId="{29B3924A-0E99-426D-A9EC-E22D7BFBE5E7}" dt="2024-09-27T16:44:16.846" v="15142" actId="1076"/>
          <ac:graphicFrameMkLst>
            <pc:docMk/>
            <pc:sldMk cId="2807376235" sldId="2147481263"/>
            <ac:graphicFrameMk id="49" creationId="{1A01AF1E-E0ED-85EC-B85E-88AF7454D80C}"/>
          </ac:graphicFrameMkLst>
        </pc:graphicFrameChg>
        <pc:graphicFrameChg chg="add del mod ord">
          <ac:chgData name="Kyndal Mayes" userId="142911e9-0388-46d2-be9a-eb7bc2b8ac4b" providerId="ADAL" clId="{29B3924A-0E99-426D-A9EC-E22D7BFBE5E7}" dt="2024-09-27T16:44:16.763" v="15057" actId="1076"/>
          <ac:graphicFrameMkLst>
            <pc:docMk/>
            <pc:sldMk cId="2807376235" sldId="2147481263"/>
            <ac:graphicFrameMk id="52" creationId="{9D2E27F6-7F17-F77E-E5A6-C31A7E690148}"/>
          </ac:graphicFrameMkLst>
        </pc:graphicFrameChg>
        <pc:graphicFrameChg chg="add del mod ord">
          <ac:chgData name="Kyndal Mayes" userId="142911e9-0388-46d2-be9a-eb7bc2b8ac4b" providerId="ADAL" clId="{29B3924A-0E99-426D-A9EC-E22D7BFBE5E7}" dt="2024-09-27T16:44:15.827" v="14950" actId="1076"/>
          <ac:graphicFrameMkLst>
            <pc:docMk/>
            <pc:sldMk cId="2807376235" sldId="2147481263"/>
            <ac:graphicFrameMk id="55" creationId="{61A22102-ACDF-9744-6F53-7304F6EB79D7}"/>
          </ac:graphicFrameMkLst>
        </pc:graphicFrameChg>
        <pc:graphicFrameChg chg="add del mod ord">
          <ac:chgData name="Kyndal Mayes" userId="142911e9-0388-46d2-be9a-eb7bc2b8ac4b" providerId="ADAL" clId="{29B3924A-0E99-426D-A9EC-E22D7BFBE5E7}" dt="2024-09-27T16:44:15.654" v="14836" actId="1076"/>
          <ac:graphicFrameMkLst>
            <pc:docMk/>
            <pc:sldMk cId="2807376235" sldId="2147481263"/>
            <ac:graphicFrameMk id="59" creationId="{66DF0DAE-EBA5-1B73-A392-2EAC6D82C86C}"/>
          </ac:graphicFrameMkLst>
        </pc:graphicFrameChg>
        <pc:graphicFrameChg chg="add del">
          <ac:chgData name="Kyndal Mayes" userId="142911e9-0388-46d2-be9a-eb7bc2b8ac4b" providerId="ADAL" clId="{29B3924A-0E99-426D-A9EC-E22D7BFBE5E7}" dt="2024-09-27T16:44:54.967" v="16031"/>
          <ac:graphicFrameMkLst>
            <pc:docMk/>
            <pc:sldMk cId="2807376235" sldId="2147481263"/>
            <ac:graphicFrameMk id="60" creationId="{CAF26977-F257-80EA-DCA4-0E958283713E}"/>
          </ac:graphicFrameMkLst>
        </pc:graphicFrameChg>
        <pc:graphicFrameChg chg="add del mod ord">
          <ac:chgData name="Kyndal Mayes" userId="142911e9-0388-46d2-be9a-eb7bc2b8ac4b" providerId="ADAL" clId="{29B3924A-0E99-426D-A9EC-E22D7BFBE5E7}" dt="2024-09-27T16:44:14.509" v="14734" actId="1076"/>
          <ac:graphicFrameMkLst>
            <pc:docMk/>
            <pc:sldMk cId="2807376235" sldId="2147481263"/>
            <ac:graphicFrameMk id="62" creationId="{EDF64183-5134-F9A0-318F-205927E928FC}"/>
          </ac:graphicFrameMkLst>
        </pc:graphicFrameChg>
        <pc:graphicFrameChg chg="add del mod ord">
          <ac:chgData name="Kyndal Mayes" userId="142911e9-0388-46d2-be9a-eb7bc2b8ac4b" providerId="ADAL" clId="{29B3924A-0E99-426D-A9EC-E22D7BFBE5E7}" dt="2024-09-27T16:44:13.356" v="14640" actId="1076"/>
          <ac:graphicFrameMkLst>
            <pc:docMk/>
            <pc:sldMk cId="2807376235" sldId="2147481263"/>
            <ac:graphicFrameMk id="64" creationId="{7FB67687-D05D-46FB-5356-96708D3C230C}"/>
          </ac:graphicFrameMkLst>
        </pc:graphicFrameChg>
        <pc:graphicFrameChg chg="add del mod ord">
          <ac:chgData name="Kyndal Mayes" userId="142911e9-0388-46d2-be9a-eb7bc2b8ac4b" providerId="ADAL" clId="{29B3924A-0E99-426D-A9EC-E22D7BFBE5E7}" dt="2024-09-27T16:44:13.218" v="14552" actId="1076"/>
          <ac:graphicFrameMkLst>
            <pc:docMk/>
            <pc:sldMk cId="2807376235" sldId="2147481263"/>
            <ac:graphicFrameMk id="66" creationId="{93A34723-4897-8350-A1E3-6AC60BC164D8}"/>
          </ac:graphicFrameMkLst>
        </pc:graphicFrameChg>
        <pc:graphicFrameChg chg="add mod ord">
          <ac:chgData name="Kyndal Mayes" userId="142911e9-0388-46d2-be9a-eb7bc2b8ac4b" providerId="ADAL" clId="{29B3924A-0E99-426D-A9EC-E22D7BFBE5E7}" dt="2024-09-27T16:44:12.169" v="14447" actId="1076"/>
          <ac:graphicFrameMkLst>
            <pc:docMk/>
            <pc:sldMk cId="2807376235" sldId="2147481263"/>
            <ac:graphicFrameMk id="69" creationId="{FDBBD6AD-3AED-FB81-50D5-268C82C01D71}"/>
          </ac:graphicFrameMkLst>
        </pc:graphicFrameChg>
        <pc:graphicFrameChg chg="add del mod ord">
          <ac:chgData name="Kyndal Mayes" userId="142911e9-0388-46d2-be9a-eb7bc2b8ac4b" providerId="ADAL" clId="{29B3924A-0E99-426D-A9EC-E22D7BFBE5E7}" dt="2024-09-27T16:44:58.311" v="16233"/>
          <ac:graphicFrameMkLst>
            <pc:docMk/>
            <pc:sldMk cId="2807376235" sldId="2147481263"/>
            <ac:graphicFrameMk id="73" creationId="{11236905-E634-F991-5F5C-BD3DA222ECF8}"/>
          </ac:graphicFrameMkLst>
        </pc:graphicFrameChg>
        <pc:graphicFrameChg chg="add del mod ord">
          <ac:chgData name="Kyndal Mayes" userId="142911e9-0388-46d2-be9a-eb7bc2b8ac4b" providerId="ADAL" clId="{29B3924A-0E99-426D-A9EC-E22D7BFBE5E7}" dt="2024-09-27T16:45:00.496" v="16428"/>
          <ac:graphicFrameMkLst>
            <pc:docMk/>
            <pc:sldMk cId="2807376235" sldId="2147481263"/>
            <ac:graphicFrameMk id="75" creationId="{18A899DC-8CEE-96E2-C710-5DCE22E3FBA9}"/>
          </ac:graphicFrameMkLst>
        </pc:graphicFrameChg>
        <pc:graphicFrameChg chg="add del mod ord">
          <ac:chgData name="Kyndal Mayes" userId="142911e9-0388-46d2-be9a-eb7bc2b8ac4b" providerId="ADAL" clId="{29B3924A-0E99-426D-A9EC-E22D7BFBE5E7}" dt="2024-09-27T16:45:07.416" v="16623"/>
          <ac:graphicFrameMkLst>
            <pc:docMk/>
            <pc:sldMk cId="2807376235" sldId="2147481263"/>
            <ac:graphicFrameMk id="77" creationId="{3FE6B239-EB27-9BA8-5E95-4954A5623D11}"/>
          </ac:graphicFrameMkLst>
        </pc:graphicFrameChg>
        <pc:graphicFrameChg chg="add del mod ord">
          <ac:chgData name="Kyndal Mayes" userId="142911e9-0388-46d2-be9a-eb7bc2b8ac4b" providerId="ADAL" clId="{29B3924A-0E99-426D-A9EC-E22D7BFBE5E7}" dt="2024-09-27T16:45:14.964" v="16875"/>
          <ac:graphicFrameMkLst>
            <pc:docMk/>
            <pc:sldMk cId="2807376235" sldId="2147481263"/>
            <ac:graphicFrameMk id="79" creationId="{79E0D268-6CA0-E547-F435-B4F32A59D0D4}"/>
          </ac:graphicFrameMkLst>
        </pc:graphicFrameChg>
        <pc:graphicFrameChg chg="add del mod ord">
          <ac:chgData name="Kyndal Mayes" userId="142911e9-0388-46d2-be9a-eb7bc2b8ac4b" providerId="ADAL" clId="{29B3924A-0E99-426D-A9EC-E22D7BFBE5E7}" dt="2024-09-27T16:45:16.655" v="17094"/>
          <ac:graphicFrameMkLst>
            <pc:docMk/>
            <pc:sldMk cId="2807376235" sldId="2147481263"/>
            <ac:graphicFrameMk id="82" creationId="{232D1E47-F661-DAB5-71C6-7849537065B3}"/>
          </ac:graphicFrameMkLst>
        </pc:graphicFrameChg>
        <pc:graphicFrameChg chg="del mod ord">
          <ac:chgData name="Kyndal Mayes" userId="142911e9-0388-46d2-be9a-eb7bc2b8ac4b" providerId="ADAL" clId="{29B3924A-0E99-426D-A9EC-E22D7BFBE5E7}" dt="2024-09-27T16:46:55.601" v="29968"/>
          <ac:graphicFrameMkLst>
            <pc:docMk/>
            <pc:sldMk cId="2807376235" sldId="2147481263"/>
            <ac:graphicFrameMk id="87" creationId="{393C20D4-F81F-993C-DD33-0A91FC8E1B16}"/>
          </ac:graphicFrameMkLst>
        </pc:graphicFrameChg>
        <pc:graphicFrameChg chg="add del mod ord">
          <ac:chgData name="Kyndal Mayes" userId="142911e9-0388-46d2-be9a-eb7bc2b8ac4b" providerId="ADAL" clId="{29B3924A-0E99-426D-A9EC-E22D7BFBE5E7}" dt="2024-09-27T16:45:18.543" v="17294"/>
          <ac:graphicFrameMkLst>
            <pc:docMk/>
            <pc:sldMk cId="2807376235" sldId="2147481263"/>
            <ac:graphicFrameMk id="89" creationId="{1F8C7071-2939-3D26-075B-C67A37F94656}"/>
          </ac:graphicFrameMkLst>
        </pc:graphicFrameChg>
        <pc:graphicFrameChg chg="add del mod ord">
          <ac:chgData name="Kyndal Mayes" userId="142911e9-0388-46d2-be9a-eb7bc2b8ac4b" providerId="ADAL" clId="{29B3924A-0E99-426D-A9EC-E22D7BFBE5E7}" dt="2024-09-27T16:45:19.693" v="17529"/>
          <ac:graphicFrameMkLst>
            <pc:docMk/>
            <pc:sldMk cId="2807376235" sldId="2147481263"/>
            <ac:graphicFrameMk id="91" creationId="{D2AC14BC-644C-B202-CE27-EE742C0A9414}"/>
          </ac:graphicFrameMkLst>
        </pc:graphicFrameChg>
        <pc:graphicFrameChg chg="add del mod ord">
          <ac:chgData name="Kyndal Mayes" userId="142911e9-0388-46d2-be9a-eb7bc2b8ac4b" providerId="ADAL" clId="{29B3924A-0E99-426D-A9EC-E22D7BFBE5E7}" dt="2024-09-27T16:45:21.467" v="17787"/>
          <ac:graphicFrameMkLst>
            <pc:docMk/>
            <pc:sldMk cId="2807376235" sldId="2147481263"/>
            <ac:graphicFrameMk id="94" creationId="{4C985C7B-0584-6A42-F75B-2623FC06154A}"/>
          </ac:graphicFrameMkLst>
        </pc:graphicFrameChg>
        <pc:graphicFrameChg chg="add del mod ord">
          <ac:chgData name="Kyndal Mayes" userId="142911e9-0388-46d2-be9a-eb7bc2b8ac4b" providerId="ADAL" clId="{29B3924A-0E99-426D-A9EC-E22D7BFBE5E7}" dt="2024-09-27T16:45:22.547" v="18023"/>
          <ac:graphicFrameMkLst>
            <pc:docMk/>
            <pc:sldMk cId="2807376235" sldId="2147481263"/>
            <ac:graphicFrameMk id="98" creationId="{0B0F3775-F1AC-C9A0-FAD8-8785E7CAD0D2}"/>
          </ac:graphicFrameMkLst>
        </pc:graphicFrameChg>
        <pc:graphicFrameChg chg="add del mod ord">
          <ac:chgData name="Kyndal Mayes" userId="142911e9-0388-46d2-be9a-eb7bc2b8ac4b" providerId="ADAL" clId="{29B3924A-0E99-426D-A9EC-E22D7BFBE5E7}" dt="2024-09-27T16:45:23.802" v="18284"/>
          <ac:graphicFrameMkLst>
            <pc:docMk/>
            <pc:sldMk cId="2807376235" sldId="2147481263"/>
            <ac:graphicFrameMk id="100" creationId="{710FC5B3-2D64-E6D6-55EA-E4039A77BA0B}"/>
          </ac:graphicFrameMkLst>
        </pc:graphicFrameChg>
        <pc:graphicFrameChg chg="add del mod ord">
          <ac:chgData name="Kyndal Mayes" userId="142911e9-0388-46d2-be9a-eb7bc2b8ac4b" providerId="ADAL" clId="{29B3924A-0E99-426D-A9EC-E22D7BFBE5E7}" dt="2024-09-27T16:45:24.745" v="18502"/>
          <ac:graphicFrameMkLst>
            <pc:docMk/>
            <pc:sldMk cId="2807376235" sldId="2147481263"/>
            <ac:graphicFrameMk id="108" creationId="{AA71E73A-1FB8-BD00-10E7-22A245E7D869}"/>
          </ac:graphicFrameMkLst>
        </pc:graphicFrameChg>
        <pc:graphicFrameChg chg="add del mod ord">
          <ac:chgData name="Kyndal Mayes" userId="142911e9-0388-46d2-be9a-eb7bc2b8ac4b" providerId="ADAL" clId="{29B3924A-0E99-426D-A9EC-E22D7BFBE5E7}" dt="2024-09-27T16:45:26.704" v="18708"/>
          <ac:graphicFrameMkLst>
            <pc:docMk/>
            <pc:sldMk cId="2807376235" sldId="2147481263"/>
            <ac:graphicFrameMk id="124" creationId="{A76C2D1A-02AF-2FBF-6EE5-EE7CDB1A44F2}"/>
          </ac:graphicFrameMkLst>
        </pc:graphicFrameChg>
        <pc:graphicFrameChg chg="del mod ord">
          <ac:chgData name="Kyndal Mayes" userId="142911e9-0388-46d2-be9a-eb7bc2b8ac4b" providerId="ADAL" clId="{29B3924A-0E99-426D-A9EC-E22D7BFBE5E7}" dt="2024-09-27T16:48:45.411" v="44806"/>
          <ac:graphicFrameMkLst>
            <pc:docMk/>
            <pc:sldMk cId="2807376235" sldId="2147481263"/>
            <ac:graphicFrameMk id="125" creationId="{71FB93A1-BAAE-DD8A-5297-9FF8F40C6B9C}"/>
          </ac:graphicFrameMkLst>
        </pc:graphicFrameChg>
        <pc:graphicFrameChg chg="add del mod ord">
          <ac:chgData name="Kyndal Mayes" userId="142911e9-0388-46d2-be9a-eb7bc2b8ac4b" providerId="ADAL" clId="{29B3924A-0E99-426D-A9EC-E22D7BFBE5E7}" dt="2024-09-27T16:45:27.810" v="18938"/>
          <ac:graphicFrameMkLst>
            <pc:docMk/>
            <pc:sldMk cId="2807376235" sldId="2147481263"/>
            <ac:graphicFrameMk id="127" creationId="{110158AA-DD49-A20E-7B36-21A28A25603F}"/>
          </ac:graphicFrameMkLst>
        </pc:graphicFrameChg>
        <pc:graphicFrameChg chg="add del mod ord">
          <ac:chgData name="Kyndal Mayes" userId="142911e9-0388-46d2-be9a-eb7bc2b8ac4b" providerId="ADAL" clId="{29B3924A-0E99-426D-A9EC-E22D7BFBE5E7}" dt="2024-09-27T16:45:30" v="19203"/>
          <ac:graphicFrameMkLst>
            <pc:docMk/>
            <pc:sldMk cId="2807376235" sldId="2147481263"/>
            <ac:graphicFrameMk id="130" creationId="{029A3834-0616-3C06-1B70-EA28F998015E}"/>
          </ac:graphicFrameMkLst>
        </pc:graphicFrameChg>
        <pc:graphicFrameChg chg="add del mod ord">
          <ac:chgData name="Kyndal Mayes" userId="142911e9-0388-46d2-be9a-eb7bc2b8ac4b" providerId="ADAL" clId="{29B3924A-0E99-426D-A9EC-E22D7BFBE5E7}" dt="2024-09-27T16:45:31.523" v="19425"/>
          <ac:graphicFrameMkLst>
            <pc:docMk/>
            <pc:sldMk cId="2807376235" sldId="2147481263"/>
            <ac:graphicFrameMk id="133" creationId="{75DED249-796F-4CE2-30AA-C85059F499A9}"/>
          </ac:graphicFrameMkLst>
        </pc:graphicFrameChg>
        <pc:graphicFrameChg chg="add del mod ord">
          <ac:chgData name="Kyndal Mayes" userId="142911e9-0388-46d2-be9a-eb7bc2b8ac4b" providerId="ADAL" clId="{29B3924A-0E99-426D-A9EC-E22D7BFBE5E7}" dt="2024-09-27T16:45:33.348" v="19693"/>
          <ac:graphicFrameMkLst>
            <pc:docMk/>
            <pc:sldMk cId="2807376235" sldId="2147481263"/>
            <ac:graphicFrameMk id="139" creationId="{EE309368-EAB2-2D15-DBF7-1EE78BA89467}"/>
          </ac:graphicFrameMkLst>
        </pc:graphicFrameChg>
        <pc:graphicFrameChg chg="add del mod ord">
          <ac:chgData name="Kyndal Mayes" userId="142911e9-0388-46d2-be9a-eb7bc2b8ac4b" providerId="ADAL" clId="{29B3924A-0E99-426D-A9EC-E22D7BFBE5E7}" dt="2024-09-27T16:45:34.912" v="19910"/>
          <ac:graphicFrameMkLst>
            <pc:docMk/>
            <pc:sldMk cId="2807376235" sldId="2147481263"/>
            <ac:graphicFrameMk id="142" creationId="{723567E9-0F82-B9A2-BD1C-D5F440D470D8}"/>
          </ac:graphicFrameMkLst>
        </pc:graphicFrameChg>
        <pc:graphicFrameChg chg="add del mod ord">
          <ac:chgData name="Kyndal Mayes" userId="142911e9-0388-46d2-be9a-eb7bc2b8ac4b" providerId="ADAL" clId="{29B3924A-0E99-426D-A9EC-E22D7BFBE5E7}" dt="2024-09-27T16:45:36.049" v="20123"/>
          <ac:graphicFrameMkLst>
            <pc:docMk/>
            <pc:sldMk cId="2807376235" sldId="2147481263"/>
            <ac:graphicFrameMk id="144" creationId="{F5F20D99-4273-26F1-AD0D-70F8ACE0FE5E}"/>
          </ac:graphicFrameMkLst>
        </pc:graphicFrameChg>
        <pc:graphicFrameChg chg="add del mod ord">
          <ac:chgData name="Kyndal Mayes" userId="142911e9-0388-46d2-be9a-eb7bc2b8ac4b" providerId="ADAL" clId="{29B3924A-0E99-426D-A9EC-E22D7BFBE5E7}" dt="2024-09-27T16:45:37.147" v="20352"/>
          <ac:graphicFrameMkLst>
            <pc:docMk/>
            <pc:sldMk cId="2807376235" sldId="2147481263"/>
            <ac:graphicFrameMk id="146" creationId="{4103B726-5661-FAC7-4C55-2B8282757F19}"/>
          </ac:graphicFrameMkLst>
        </pc:graphicFrameChg>
        <pc:graphicFrameChg chg="add del mod ord">
          <ac:chgData name="Kyndal Mayes" userId="142911e9-0388-46d2-be9a-eb7bc2b8ac4b" providerId="ADAL" clId="{29B3924A-0E99-426D-A9EC-E22D7BFBE5E7}" dt="2024-09-27T16:45:46.622" v="20576"/>
          <ac:graphicFrameMkLst>
            <pc:docMk/>
            <pc:sldMk cId="2807376235" sldId="2147481263"/>
            <ac:graphicFrameMk id="148" creationId="{12D4588F-1CEE-8837-5E82-3653D44D812C}"/>
          </ac:graphicFrameMkLst>
        </pc:graphicFrameChg>
        <pc:graphicFrameChg chg="add del mod ord">
          <ac:chgData name="Kyndal Mayes" userId="142911e9-0388-46d2-be9a-eb7bc2b8ac4b" providerId="ADAL" clId="{29B3924A-0E99-426D-A9EC-E22D7BFBE5E7}" dt="2024-09-27T16:45:47.117" v="20799"/>
          <ac:graphicFrameMkLst>
            <pc:docMk/>
            <pc:sldMk cId="2807376235" sldId="2147481263"/>
            <ac:graphicFrameMk id="150" creationId="{AAFB0C83-C7FF-DD87-671C-9B6335A65FDD}"/>
          </ac:graphicFrameMkLst>
        </pc:graphicFrameChg>
        <pc:graphicFrameChg chg="add del mod ord">
          <ac:chgData name="Kyndal Mayes" userId="142911e9-0388-46d2-be9a-eb7bc2b8ac4b" providerId="ADAL" clId="{29B3924A-0E99-426D-A9EC-E22D7BFBE5E7}" dt="2024-09-27T16:45:49.419" v="21012"/>
          <ac:graphicFrameMkLst>
            <pc:docMk/>
            <pc:sldMk cId="2807376235" sldId="2147481263"/>
            <ac:graphicFrameMk id="152" creationId="{E6489165-434B-4BB1-E5CE-C8A05A3073FA}"/>
          </ac:graphicFrameMkLst>
        </pc:graphicFrameChg>
        <pc:graphicFrameChg chg="add del mod ord">
          <ac:chgData name="Kyndal Mayes" userId="142911e9-0388-46d2-be9a-eb7bc2b8ac4b" providerId="ADAL" clId="{29B3924A-0E99-426D-A9EC-E22D7BFBE5E7}" dt="2024-09-27T16:45:51.841" v="21236"/>
          <ac:graphicFrameMkLst>
            <pc:docMk/>
            <pc:sldMk cId="2807376235" sldId="2147481263"/>
            <ac:graphicFrameMk id="154" creationId="{E30989BE-CBE6-983E-5F3A-323367E367F5}"/>
          </ac:graphicFrameMkLst>
        </pc:graphicFrameChg>
        <pc:graphicFrameChg chg="add del mod ord">
          <ac:chgData name="Kyndal Mayes" userId="142911e9-0388-46d2-be9a-eb7bc2b8ac4b" providerId="ADAL" clId="{29B3924A-0E99-426D-A9EC-E22D7BFBE5E7}" dt="2024-09-27T16:45:54.143" v="21449"/>
          <ac:graphicFrameMkLst>
            <pc:docMk/>
            <pc:sldMk cId="2807376235" sldId="2147481263"/>
            <ac:graphicFrameMk id="156" creationId="{7A2B8B05-69EE-5A18-5CF7-E3DCD5C9AF1C}"/>
          </ac:graphicFrameMkLst>
        </pc:graphicFrameChg>
        <pc:graphicFrameChg chg="add del mod ord">
          <ac:chgData name="Kyndal Mayes" userId="142911e9-0388-46d2-be9a-eb7bc2b8ac4b" providerId="ADAL" clId="{29B3924A-0E99-426D-A9EC-E22D7BFBE5E7}" dt="2024-09-27T16:46:00.667" v="21667"/>
          <ac:graphicFrameMkLst>
            <pc:docMk/>
            <pc:sldMk cId="2807376235" sldId="2147481263"/>
            <ac:graphicFrameMk id="158" creationId="{E77BE3B5-08DE-AA5D-2C0E-B4E2A809573C}"/>
          </ac:graphicFrameMkLst>
        </pc:graphicFrameChg>
        <pc:graphicFrameChg chg="add del mod ord">
          <ac:chgData name="Kyndal Mayes" userId="142911e9-0388-46d2-be9a-eb7bc2b8ac4b" providerId="ADAL" clId="{29B3924A-0E99-426D-A9EC-E22D7BFBE5E7}" dt="2024-09-27T16:46:01.775" v="21937"/>
          <ac:graphicFrameMkLst>
            <pc:docMk/>
            <pc:sldMk cId="2807376235" sldId="2147481263"/>
            <ac:graphicFrameMk id="160" creationId="{DD44F961-AF17-4066-F2A8-2C4DD9106EA6}"/>
          </ac:graphicFrameMkLst>
        </pc:graphicFrameChg>
        <pc:graphicFrameChg chg="add del mod ord">
          <ac:chgData name="Kyndal Mayes" userId="142911e9-0388-46d2-be9a-eb7bc2b8ac4b" providerId="ADAL" clId="{29B3924A-0E99-426D-A9EC-E22D7BFBE5E7}" dt="2024-09-27T16:46:03.053" v="22156"/>
          <ac:graphicFrameMkLst>
            <pc:docMk/>
            <pc:sldMk cId="2807376235" sldId="2147481263"/>
            <ac:graphicFrameMk id="163" creationId="{CFF1EA05-1F72-A89C-C31A-3AFA5ABBBA70}"/>
          </ac:graphicFrameMkLst>
        </pc:graphicFrameChg>
        <pc:graphicFrameChg chg="add del mod ord">
          <ac:chgData name="Kyndal Mayes" userId="142911e9-0388-46d2-be9a-eb7bc2b8ac4b" providerId="ADAL" clId="{29B3924A-0E99-426D-A9EC-E22D7BFBE5E7}" dt="2024-09-27T16:46:05.087" v="22428"/>
          <ac:graphicFrameMkLst>
            <pc:docMk/>
            <pc:sldMk cId="2807376235" sldId="2147481263"/>
            <ac:graphicFrameMk id="165" creationId="{1710DD96-E4C4-56BD-BE27-AEF28DBCD4B0}"/>
          </ac:graphicFrameMkLst>
        </pc:graphicFrameChg>
        <pc:graphicFrameChg chg="add del mod ord">
          <ac:chgData name="Kyndal Mayes" userId="142911e9-0388-46d2-be9a-eb7bc2b8ac4b" providerId="ADAL" clId="{29B3924A-0E99-426D-A9EC-E22D7BFBE5E7}" dt="2024-09-27T16:46:06.760" v="22708"/>
          <ac:graphicFrameMkLst>
            <pc:docMk/>
            <pc:sldMk cId="2807376235" sldId="2147481263"/>
            <ac:graphicFrameMk id="168" creationId="{DF0390B6-7DA3-CBAF-F137-ED308DAF6390}"/>
          </ac:graphicFrameMkLst>
        </pc:graphicFrameChg>
        <pc:graphicFrameChg chg="add del mod ord">
          <ac:chgData name="Kyndal Mayes" userId="142911e9-0388-46d2-be9a-eb7bc2b8ac4b" providerId="ADAL" clId="{29B3924A-0E99-426D-A9EC-E22D7BFBE5E7}" dt="2024-09-27T16:46:07.501" v="22928"/>
          <ac:graphicFrameMkLst>
            <pc:docMk/>
            <pc:sldMk cId="2807376235" sldId="2147481263"/>
            <ac:graphicFrameMk id="171" creationId="{299A623C-EC5B-96B8-B3DA-E83083B784F8}"/>
          </ac:graphicFrameMkLst>
        </pc:graphicFrameChg>
        <pc:graphicFrameChg chg="add del mod ord">
          <ac:chgData name="Kyndal Mayes" userId="142911e9-0388-46d2-be9a-eb7bc2b8ac4b" providerId="ADAL" clId="{29B3924A-0E99-426D-A9EC-E22D7BFBE5E7}" dt="2024-09-27T16:46:09.126" v="23148"/>
          <ac:graphicFrameMkLst>
            <pc:docMk/>
            <pc:sldMk cId="2807376235" sldId="2147481263"/>
            <ac:graphicFrameMk id="173" creationId="{4102CDF6-0D48-7ED2-5F3F-052B29B1AADB}"/>
          </ac:graphicFrameMkLst>
        </pc:graphicFrameChg>
        <pc:graphicFrameChg chg="add del mod ord">
          <ac:chgData name="Kyndal Mayes" userId="142911e9-0388-46d2-be9a-eb7bc2b8ac4b" providerId="ADAL" clId="{29B3924A-0E99-426D-A9EC-E22D7BFBE5E7}" dt="2024-09-27T16:46:10.788" v="23395"/>
          <ac:graphicFrameMkLst>
            <pc:docMk/>
            <pc:sldMk cId="2807376235" sldId="2147481263"/>
            <ac:graphicFrameMk id="175" creationId="{E428334B-E89D-BBDF-EC1B-EADAAD6BCA2C}"/>
          </ac:graphicFrameMkLst>
        </pc:graphicFrameChg>
        <pc:graphicFrameChg chg="add del mod ord">
          <ac:chgData name="Kyndal Mayes" userId="142911e9-0388-46d2-be9a-eb7bc2b8ac4b" providerId="ADAL" clId="{29B3924A-0E99-426D-A9EC-E22D7BFBE5E7}" dt="2024-09-27T16:46:11.639" v="23673"/>
          <ac:graphicFrameMkLst>
            <pc:docMk/>
            <pc:sldMk cId="2807376235" sldId="2147481263"/>
            <ac:graphicFrameMk id="178" creationId="{1D72B249-F51B-AC13-A0F3-424B587ED9F9}"/>
          </ac:graphicFrameMkLst>
        </pc:graphicFrameChg>
        <pc:graphicFrameChg chg="add del mod ord">
          <ac:chgData name="Kyndal Mayes" userId="142911e9-0388-46d2-be9a-eb7bc2b8ac4b" providerId="ADAL" clId="{29B3924A-0E99-426D-A9EC-E22D7BFBE5E7}" dt="2024-09-27T16:46:12.936" v="23914"/>
          <ac:graphicFrameMkLst>
            <pc:docMk/>
            <pc:sldMk cId="2807376235" sldId="2147481263"/>
            <ac:graphicFrameMk id="181" creationId="{461EAADF-5FD6-1135-8403-A41D50409B28}"/>
          </ac:graphicFrameMkLst>
        </pc:graphicFrameChg>
        <pc:graphicFrameChg chg="add del mod ord">
          <ac:chgData name="Kyndal Mayes" userId="142911e9-0388-46d2-be9a-eb7bc2b8ac4b" providerId="ADAL" clId="{29B3924A-0E99-426D-A9EC-E22D7BFBE5E7}" dt="2024-09-27T16:46:13.930" v="24196"/>
          <ac:graphicFrameMkLst>
            <pc:docMk/>
            <pc:sldMk cId="2807376235" sldId="2147481263"/>
            <ac:graphicFrameMk id="184" creationId="{24F3EB50-31FF-8A6F-EEC1-8B4596D2DBB4}"/>
          </ac:graphicFrameMkLst>
        </pc:graphicFrameChg>
        <pc:graphicFrameChg chg="add del mod ord">
          <ac:chgData name="Kyndal Mayes" userId="142911e9-0388-46d2-be9a-eb7bc2b8ac4b" providerId="ADAL" clId="{29B3924A-0E99-426D-A9EC-E22D7BFBE5E7}" dt="2024-09-27T16:46:17.416" v="24445"/>
          <ac:graphicFrameMkLst>
            <pc:docMk/>
            <pc:sldMk cId="2807376235" sldId="2147481263"/>
            <ac:graphicFrameMk id="192" creationId="{44F9366D-3FAF-B345-FD94-6C7D9858B79F}"/>
          </ac:graphicFrameMkLst>
        </pc:graphicFrameChg>
        <pc:graphicFrameChg chg="add del mod ord">
          <ac:chgData name="Kyndal Mayes" userId="142911e9-0388-46d2-be9a-eb7bc2b8ac4b" providerId="ADAL" clId="{29B3924A-0E99-426D-A9EC-E22D7BFBE5E7}" dt="2024-09-27T16:46:18.674" v="24670"/>
          <ac:graphicFrameMkLst>
            <pc:docMk/>
            <pc:sldMk cId="2807376235" sldId="2147481263"/>
            <ac:graphicFrameMk id="194" creationId="{ED9693BD-18EC-3A34-368B-7465ECFFB5D0}"/>
          </ac:graphicFrameMkLst>
        </pc:graphicFrameChg>
        <pc:graphicFrameChg chg="add del mod ord">
          <ac:chgData name="Kyndal Mayes" userId="142911e9-0388-46d2-be9a-eb7bc2b8ac4b" providerId="ADAL" clId="{29B3924A-0E99-426D-A9EC-E22D7BFBE5E7}" dt="2024-09-27T16:46:20.061" v="24952"/>
          <ac:graphicFrameMkLst>
            <pc:docMk/>
            <pc:sldMk cId="2807376235" sldId="2147481263"/>
            <ac:graphicFrameMk id="197" creationId="{0F05C780-9777-A7A5-A341-CF679F9E7026}"/>
          </ac:graphicFrameMkLst>
        </pc:graphicFrameChg>
        <pc:graphicFrameChg chg="add del mod ord">
          <ac:chgData name="Kyndal Mayes" userId="142911e9-0388-46d2-be9a-eb7bc2b8ac4b" providerId="ADAL" clId="{29B3924A-0E99-426D-A9EC-E22D7BFBE5E7}" dt="2024-09-27T16:46:21.301" v="25237"/>
          <ac:graphicFrameMkLst>
            <pc:docMk/>
            <pc:sldMk cId="2807376235" sldId="2147481263"/>
            <ac:graphicFrameMk id="200" creationId="{FBA91B82-7133-1EFD-6D69-8195B5A376E2}"/>
          </ac:graphicFrameMkLst>
        </pc:graphicFrameChg>
        <pc:graphicFrameChg chg="add del mod ord">
          <ac:chgData name="Kyndal Mayes" userId="142911e9-0388-46d2-be9a-eb7bc2b8ac4b" providerId="ADAL" clId="{29B3924A-0E99-426D-A9EC-E22D7BFBE5E7}" dt="2024-09-27T16:46:22.534" v="25466"/>
          <ac:graphicFrameMkLst>
            <pc:docMk/>
            <pc:sldMk cId="2807376235" sldId="2147481263"/>
            <ac:graphicFrameMk id="206" creationId="{101DD9B1-A9C3-5A75-9499-403550883942}"/>
          </ac:graphicFrameMkLst>
        </pc:graphicFrameChg>
        <pc:graphicFrameChg chg="add del mod ord">
          <ac:chgData name="Kyndal Mayes" userId="142911e9-0388-46d2-be9a-eb7bc2b8ac4b" providerId="ADAL" clId="{29B3924A-0E99-426D-A9EC-E22D7BFBE5E7}" dt="2024-09-27T16:46:24.109" v="25752"/>
          <ac:graphicFrameMkLst>
            <pc:docMk/>
            <pc:sldMk cId="2807376235" sldId="2147481263"/>
            <ac:graphicFrameMk id="210" creationId="{837A9E23-B7EE-88AB-59C4-DDC58ADDD74C}"/>
          </ac:graphicFrameMkLst>
        </pc:graphicFrameChg>
        <pc:graphicFrameChg chg="add del mod ord">
          <ac:chgData name="Kyndal Mayes" userId="142911e9-0388-46d2-be9a-eb7bc2b8ac4b" providerId="ADAL" clId="{29B3924A-0E99-426D-A9EC-E22D7BFBE5E7}" dt="2024-09-27T16:46:25.138" v="25987"/>
          <ac:graphicFrameMkLst>
            <pc:docMk/>
            <pc:sldMk cId="2807376235" sldId="2147481263"/>
            <ac:graphicFrameMk id="213" creationId="{D5A496E9-76FC-0FAE-2831-73CD6BC222AB}"/>
          </ac:graphicFrameMkLst>
        </pc:graphicFrameChg>
        <pc:graphicFrameChg chg="add del mod ord">
          <ac:chgData name="Kyndal Mayes" userId="142911e9-0388-46d2-be9a-eb7bc2b8ac4b" providerId="ADAL" clId="{29B3924A-0E99-426D-A9EC-E22D7BFBE5E7}" dt="2024-09-27T16:46:27.314" v="26218"/>
          <ac:graphicFrameMkLst>
            <pc:docMk/>
            <pc:sldMk cId="2807376235" sldId="2147481263"/>
            <ac:graphicFrameMk id="215" creationId="{CC540050-3D87-62EE-BFF0-A8D823784689}"/>
          </ac:graphicFrameMkLst>
        </pc:graphicFrameChg>
        <pc:graphicFrameChg chg="add del mod ord">
          <ac:chgData name="Kyndal Mayes" userId="142911e9-0388-46d2-be9a-eb7bc2b8ac4b" providerId="ADAL" clId="{29B3924A-0E99-426D-A9EC-E22D7BFBE5E7}" dt="2024-09-27T16:46:31.376" v="26506"/>
          <ac:graphicFrameMkLst>
            <pc:docMk/>
            <pc:sldMk cId="2807376235" sldId="2147481263"/>
            <ac:graphicFrameMk id="217" creationId="{3E71E665-5909-D5F0-85C9-CF4CD520D092}"/>
          </ac:graphicFrameMkLst>
        </pc:graphicFrameChg>
        <pc:graphicFrameChg chg="add del mod ord">
          <ac:chgData name="Kyndal Mayes" userId="142911e9-0388-46d2-be9a-eb7bc2b8ac4b" providerId="ADAL" clId="{29B3924A-0E99-426D-A9EC-E22D7BFBE5E7}" dt="2024-09-27T16:46:32.885" v="26743"/>
          <ac:graphicFrameMkLst>
            <pc:docMk/>
            <pc:sldMk cId="2807376235" sldId="2147481263"/>
            <ac:graphicFrameMk id="220" creationId="{EA11D451-1203-9F59-FBEF-DAA7849E69DB}"/>
          </ac:graphicFrameMkLst>
        </pc:graphicFrameChg>
        <pc:graphicFrameChg chg="add del mod ord">
          <ac:chgData name="Kyndal Mayes" userId="142911e9-0388-46d2-be9a-eb7bc2b8ac4b" providerId="ADAL" clId="{29B3924A-0E99-426D-A9EC-E22D7BFBE5E7}" dt="2024-09-27T16:46:33.949" v="27033"/>
          <ac:graphicFrameMkLst>
            <pc:docMk/>
            <pc:sldMk cId="2807376235" sldId="2147481263"/>
            <ac:graphicFrameMk id="222" creationId="{9F84B03A-133B-AA98-E557-D5579630376E}"/>
          </ac:graphicFrameMkLst>
        </pc:graphicFrameChg>
        <pc:graphicFrameChg chg="add del mod ord">
          <ac:chgData name="Kyndal Mayes" userId="142911e9-0388-46d2-be9a-eb7bc2b8ac4b" providerId="ADAL" clId="{29B3924A-0E99-426D-A9EC-E22D7BFBE5E7}" dt="2024-09-27T16:46:35.217" v="27272"/>
          <ac:graphicFrameMkLst>
            <pc:docMk/>
            <pc:sldMk cId="2807376235" sldId="2147481263"/>
            <ac:graphicFrameMk id="225" creationId="{4673F8C7-AB04-8A91-2441-ADC798885D25}"/>
          </ac:graphicFrameMkLst>
        </pc:graphicFrameChg>
        <pc:graphicFrameChg chg="add del mod ord">
          <ac:chgData name="Kyndal Mayes" userId="142911e9-0388-46d2-be9a-eb7bc2b8ac4b" providerId="ADAL" clId="{29B3924A-0E99-426D-A9EC-E22D7BFBE5E7}" dt="2024-09-27T16:46:36.629" v="27564"/>
          <ac:graphicFrameMkLst>
            <pc:docMk/>
            <pc:sldMk cId="2807376235" sldId="2147481263"/>
            <ac:graphicFrameMk id="227" creationId="{629A31C0-2D4D-296B-DE71-FD60FC0F3C21}"/>
          </ac:graphicFrameMkLst>
        </pc:graphicFrameChg>
        <pc:graphicFrameChg chg="add del mod ord">
          <ac:chgData name="Kyndal Mayes" userId="142911e9-0388-46d2-be9a-eb7bc2b8ac4b" providerId="ADAL" clId="{29B3924A-0E99-426D-A9EC-E22D7BFBE5E7}" dt="2024-09-27T16:46:37.923" v="27807"/>
          <ac:graphicFrameMkLst>
            <pc:docMk/>
            <pc:sldMk cId="2807376235" sldId="2147481263"/>
            <ac:graphicFrameMk id="231" creationId="{DA42429B-819C-3D14-B455-127AF14BB584}"/>
          </ac:graphicFrameMkLst>
        </pc:graphicFrameChg>
        <pc:graphicFrameChg chg="add del mod ord">
          <ac:chgData name="Kyndal Mayes" userId="142911e9-0388-46d2-be9a-eb7bc2b8ac4b" providerId="ADAL" clId="{29B3924A-0E99-426D-A9EC-E22D7BFBE5E7}" dt="2024-09-27T16:46:39.173" v="28045"/>
          <ac:graphicFrameMkLst>
            <pc:docMk/>
            <pc:sldMk cId="2807376235" sldId="2147481263"/>
            <ac:graphicFrameMk id="233" creationId="{BF23CEDC-4B8C-FCFE-35DD-904804B7CFE7}"/>
          </ac:graphicFrameMkLst>
        </pc:graphicFrameChg>
        <pc:graphicFrameChg chg="add del mod ord">
          <ac:chgData name="Kyndal Mayes" userId="142911e9-0388-46d2-be9a-eb7bc2b8ac4b" providerId="ADAL" clId="{29B3924A-0E99-426D-A9EC-E22D7BFBE5E7}" dt="2024-09-27T16:46:40.104" v="28289"/>
          <ac:graphicFrameMkLst>
            <pc:docMk/>
            <pc:sldMk cId="2807376235" sldId="2147481263"/>
            <ac:graphicFrameMk id="235" creationId="{8A92CCFD-78E7-2C9B-7560-F4E5AA2042B3}"/>
          </ac:graphicFrameMkLst>
        </pc:graphicFrameChg>
        <pc:graphicFrameChg chg="add del mod ord">
          <ac:chgData name="Kyndal Mayes" userId="142911e9-0388-46d2-be9a-eb7bc2b8ac4b" providerId="ADAL" clId="{29B3924A-0E99-426D-A9EC-E22D7BFBE5E7}" dt="2024-09-27T16:46:41.261" v="28585"/>
          <ac:graphicFrameMkLst>
            <pc:docMk/>
            <pc:sldMk cId="2807376235" sldId="2147481263"/>
            <ac:graphicFrameMk id="237" creationId="{49A6B4CC-D4D0-E171-AE5A-1428F041FFD2}"/>
          </ac:graphicFrameMkLst>
        </pc:graphicFrameChg>
        <pc:graphicFrameChg chg="add del mod ord">
          <ac:chgData name="Kyndal Mayes" userId="142911e9-0388-46d2-be9a-eb7bc2b8ac4b" providerId="ADAL" clId="{29B3924A-0E99-426D-A9EC-E22D7BFBE5E7}" dt="2024-09-27T16:46:42.487" v="28829"/>
          <ac:graphicFrameMkLst>
            <pc:docMk/>
            <pc:sldMk cId="2807376235" sldId="2147481263"/>
            <ac:graphicFrameMk id="240" creationId="{BB2E106E-91EA-B25A-991C-F59550F4E55B}"/>
          </ac:graphicFrameMkLst>
        </pc:graphicFrameChg>
        <pc:graphicFrameChg chg="add del mod ord">
          <ac:chgData name="Kyndal Mayes" userId="142911e9-0388-46d2-be9a-eb7bc2b8ac4b" providerId="ADAL" clId="{29B3924A-0E99-426D-A9EC-E22D7BFBE5E7}" dt="2024-09-27T16:46:43.717" v="29069"/>
          <ac:graphicFrameMkLst>
            <pc:docMk/>
            <pc:sldMk cId="2807376235" sldId="2147481263"/>
            <ac:graphicFrameMk id="245" creationId="{E4187456-5548-CB29-2502-80B15E050BE1}"/>
          </ac:graphicFrameMkLst>
        </pc:graphicFrameChg>
        <pc:graphicFrameChg chg="add del mod ord">
          <ac:chgData name="Kyndal Mayes" userId="142911e9-0388-46d2-be9a-eb7bc2b8ac4b" providerId="ADAL" clId="{29B3924A-0E99-426D-A9EC-E22D7BFBE5E7}" dt="2024-09-27T16:46:44.673" v="29321"/>
          <ac:graphicFrameMkLst>
            <pc:docMk/>
            <pc:sldMk cId="2807376235" sldId="2147481263"/>
            <ac:graphicFrameMk id="247" creationId="{C03713CB-DB2A-44EC-B49C-D33A1EC07790}"/>
          </ac:graphicFrameMkLst>
        </pc:graphicFrameChg>
        <pc:graphicFrameChg chg="add del mod ord">
          <ac:chgData name="Kyndal Mayes" userId="142911e9-0388-46d2-be9a-eb7bc2b8ac4b" providerId="ADAL" clId="{29B3924A-0E99-426D-A9EC-E22D7BFBE5E7}" dt="2024-09-27T16:46:46.999" v="29566"/>
          <ac:graphicFrameMkLst>
            <pc:docMk/>
            <pc:sldMk cId="2807376235" sldId="2147481263"/>
            <ac:graphicFrameMk id="249" creationId="{2E09C17E-0D6B-902E-A12E-387BCA88606E}"/>
          </ac:graphicFrameMkLst>
        </pc:graphicFrameChg>
        <pc:graphicFrameChg chg="add del mod ord">
          <ac:chgData name="Kyndal Mayes" userId="142911e9-0388-46d2-be9a-eb7bc2b8ac4b" providerId="ADAL" clId="{29B3924A-0E99-426D-A9EC-E22D7BFBE5E7}" dt="2024-09-27T16:46:55.218" v="29808"/>
          <ac:graphicFrameMkLst>
            <pc:docMk/>
            <pc:sldMk cId="2807376235" sldId="2147481263"/>
            <ac:graphicFrameMk id="251" creationId="{70526E01-E04C-C60E-ED9B-836FEEF9907E}"/>
          </ac:graphicFrameMkLst>
        </pc:graphicFrameChg>
        <pc:graphicFrameChg chg="add del mod ord">
          <ac:chgData name="Kyndal Mayes" userId="142911e9-0388-46d2-be9a-eb7bc2b8ac4b" providerId="ADAL" clId="{29B3924A-0E99-426D-A9EC-E22D7BFBE5E7}" dt="2024-09-27T17:50:21.987" v="63329"/>
          <ac:graphicFrameMkLst>
            <pc:docMk/>
            <pc:sldMk cId="2807376235" sldId="2147481263"/>
            <ac:graphicFrameMk id="253" creationId="{4430D0CB-06BC-D8C6-DEC6-7F402B60CFD8}"/>
          </ac:graphicFrameMkLst>
        </pc:graphicFrameChg>
        <pc:graphicFrameChg chg="add del mod ord">
          <ac:chgData name="Kyndal Mayes" userId="142911e9-0388-46d2-be9a-eb7bc2b8ac4b" providerId="ADAL" clId="{29B3924A-0E99-426D-A9EC-E22D7BFBE5E7}" dt="2024-09-27T16:46:58.459" v="30190"/>
          <ac:graphicFrameMkLst>
            <pc:docMk/>
            <pc:sldMk cId="2807376235" sldId="2147481263"/>
            <ac:graphicFrameMk id="255" creationId="{51408A85-D423-855C-D707-2599BF8F0C8A}"/>
          </ac:graphicFrameMkLst>
        </pc:graphicFrameChg>
        <pc:graphicFrameChg chg="add del mod ord">
          <ac:chgData name="Kyndal Mayes" userId="142911e9-0388-46d2-be9a-eb7bc2b8ac4b" providerId="ADAL" clId="{29B3924A-0E99-426D-A9EC-E22D7BFBE5E7}" dt="2024-09-27T16:47:01.520" v="30408"/>
          <ac:graphicFrameMkLst>
            <pc:docMk/>
            <pc:sldMk cId="2807376235" sldId="2147481263"/>
            <ac:graphicFrameMk id="257" creationId="{1063ADF1-CB96-9BE0-0C9F-7452FE214240}"/>
          </ac:graphicFrameMkLst>
        </pc:graphicFrameChg>
        <pc:graphicFrameChg chg="add del mod ord">
          <ac:chgData name="Kyndal Mayes" userId="142911e9-0388-46d2-be9a-eb7bc2b8ac4b" providerId="ADAL" clId="{29B3924A-0E99-426D-A9EC-E22D7BFBE5E7}" dt="2024-09-27T16:47:02.946" v="30688"/>
          <ac:graphicFrameMkLst>
            <pc:docMk/>
            <pc:sldMk cId="2807376235" sldId="2147481263"/>
            <ac:graphicFrameMk id="259" creationId="{05069113-01F6-2C3B-5D78-7F2716FF9972}"/>
          </ac:graphicFrameMkLst>
        </pc:graphicFrameChg>
        <pc:graphicFrameChg chg="add del mod ord">
          <ac:chgData name="Kyndal Mayes" userId="142911e9-0388-46d2-be9a-eb7bc2b8ac4b" providerId="ADAL" clId="{29B3924A-0E99-426D-A9EC-E22D7BFBE5E7}" dt="2024-09-27T16:47:05.787" v="30914"/>
          <ac:graphicFrameMkLst>
            <pc:docMk/>
            <pc:sldMk cId="2807376235" sldId="2147481263"/>
            <ac:graphicFrameMk id="264" creationId="{675045E9-CD18-C8F4-4E46-687A47E43394}"/>
          </ac:graphicFrameMkLst>
        </pc:graphicFrameChg>
        <pc:graphicFrameChg chg="add del mod ord">
          <ac:chgData name="Kyndal Mayes" userId="142911e9-0388-46d2-be9a-eb7bc2b8ac4b" providerId="ADAL" clId="{29B3924A-0E99-426D-A9EC-E22D7BFBE5E7}" dt="2024-09-27T16:47:06.940" v="31194"/>
          <ac:graphicFrameMkLst>
            <pc:docMk/>
            <pc:sldMk cId="2807376235" sldId="2147481263"/>
            <ac:graphicFrameMk id="266" creationId="{6ECC5C46-D524-18A0-4B32-93BE2F0C95A7}"/>
          </ac:graphicFrameMkLst>
        </pc:graphicFrameChg>
        <pc:graphicFrameChg chg="add del mod ord">
          <ac:chgData name="Kyndal Mayes" userId="142911e9-0388-46d2-be9a-eb7bc2b8ac4b" providerId="ADAL" clId="{29B3924A-0E99-426D-A9EC-E22D7BFBE5E7}" dt="2024-09-27T16:47:08.182" v="31423"/>
          <ac:graphicFrameMkLst>
            <pc:docMk/>
            <pc:sldMk cId="2807376235" sldId="2147481263"/>
            <ac:graphicFrameMk id="269" creationId="{C70960E8-C3D9-51CC-44F9-FBAC84F400A4}"/>
          </ac:graphicFrameMkLst>
        </pc:graphicFrameChg>
        <pc:graphicFrameChg chg="add del mod ord">
          <ac:chgData name="Kyndal Mayes" userId="142911e9-0388-46d2-be9a-eb7bc2b8ac4b" providerId="ADAL" clId="{29B3924A-0E99-426D-A9EC-E22D7BFBE5E7}" dt="2024-09-27T16:47:09.022" v="31705"/>
          <ac:graphicFrameMkLst>
            <pc:docMk/>
            <pc:sldMk cId="2807376235" sldId="2147481263"/>
            <ac:graphicFrameMk id="271" creationId="{F570F9B5-C11B-3574-5DFD-54E2B65A0D65}"/>
          </ac:graphicFrameMkLst>
        </pc:graphicFrameChg>
        <pc:graphicFrameChg chg="add del mod ord">
          <ac:chgData name="Kyndal Mayes" userId="142911e9-0388-46d2-be9a-eb7bc2b8ac4b" providerId="ADAL" clId="{29B3924A-0E99-426D-A9EC-E22D7BFBE5E7}" dt="2024-09-27T16:47:10.613" v="31948"/>
          <ac:graphicFrameMkLst>
            <pc:docMk/>
            <pc:sldMk cId="2807376235" sldId="2147481263"/>
            <ac:graphicFrameMk id="274" creationId="{E5FD6944-E5CB-DC8B-49D6-53B5755CAC8F}"/>
          </ac:graphicFrameMkLst>
        </pc:graphicFrameChg>
        <pc:graphicFrameChg chg="add del mod ord">
          <ac:chgData name="Kyndal Mayes" userId="142911e9-0388-46d2-be9a-eb7bc2b8ac4b" providerId="ADAL" clId="{29B3924A-0E99-426D-A9EC-E22D7BFBE5E7}" dt="2024-09-27T16:47:11.678" v="32233"/>
          <ac:graphicFrameMkLst>
            <pc:docMk/>
            <pc:sldMk cId="2807376235" sldId="2147481263"/>
            <ac:graphicFrameMk id="276" creationId="{E249C722-F2C9-DFB7-D10F-E7737D0BA104}"/>
          </ac:graphicFrameMkLst>
        </pc:graphicFrameChg>
        <pc:graphicFrameChg chg="add del mod ord">
          <ac:chgData name="Kyndal Mayes" userId="142911e9-0388-46d2-be9a-eb7bc2b8ac4b" providerId="ADAL" clId="{29B3924A-0E99-426D-A9EC-E22D7BFBE5E7}" dt="2024-09-27T16:47:12.362" v="32476"/>
          <ac:graphicFrameMkLst>
            <pc:docMk/>
            <pc:sldMk cId="2807376235" sldId="2147481263"/>
            <ac:graphicFrameMk id="279" creationId="{7484054F-68BE-AACF-5BBB-F34B6C71ABBF}"/>
          </ac:graphicFrameMkLst>
        </pc:graphicFrameChg>
        <pc:graphicFrameChg chg="add del mod ord">
          <ac:chgData name="Kyndal Mayes" userId="142911e9-0388-46d2-be9a-eb7bc2b8ac4b" providerId="ADAL" clId="{29B3924A-0E99-426D-A9EC-E22D7BFBE5E7}" dt="2024-09-27T16:47:13.448" v="32746"/>
          <ac:graphicFrameMkLst>
            <pc:docMk/>
            <pc:sldMk cId="2807376235" sldId="2147481263"/>
            <ac:graphicFrameMk id="281" creationId="{0E7195F5-62E9-9894-9BF8-5D6FE03905F5}"/>
          </ac:graphicFrameMkLst>
        </pc:graphicFrameChg>
        <pc:graphicFrameChg chg="add del mod ord">
          <ac:chgData name="Kyndal Mayes" userId="142911e9-0388-46d2-be9a-eb7bc2b8ac4b" providerId="ADAL" clId="{29B3924A-0E99-426D-A9EC-E22D7BFBE5E7}" dt="2024-09-27T16:47:13.922" v="32976"/>
          <ac:graphicFrameMkLst>
            <pc:docMk/>
            <pc:sldMk cId="2807376235" sldId="2147481263"/>
            <ac:graphicFrameMk id="283" creationId="{EAD1C75B-A47C-2865-AB5B-DBE2071F09CE}"/>
          </ac:graphicFrameMkLst>
        </pc:graphicFrameChg>
        <pc:graphicFrameChg chg="add del mod ord">
          <ac:chgData name="Kyndal Mayes" userId="142911e9-0388-46d2-be9a-eb7bc2b8ac4b" providerId="ADAL" clId="{29B3924A-0E99-426D-A9EC-E22D7BFBE5E7}" dt="2024-09-27T16:47:16.351" v="33206"/>
          <ac:graphicFrameMkLst>
            <pc:docMk/>
            <pc:sldMk cId="2807376235" sldId="2147481263"/>
            <ac:graphicFrameMk id="285" creationId="{CCFD38ED-924A-258F-FFE9-84DBAA824F40}"/>
          </ac:graphicFrameMkLst>
        </pc:graphicFrameChg>
        <pc:graphicFrameChg chg="add del mod ord">
          <ac:chgData name="Kyndal Mayes" userId="142911e9-0388-46d2-be9a-eb7bc2b8ac4b" providerId="ADAL" clId="{29B3924A-0E99-426D-A9EC-E22D7BFBE5E7}" dt="2024-09-27T16:47:18.419" v="33442"/>
          <ac:graphicFrameMkLst>
            <pc:docMk/>
            <pc:sldMk cId="2807376235" sldId="2147481263"/>
            <ac:graphicFrameMk id="287" creationId="{B256A01B-1016-E6F5-4A1A-DABAF96AC7E1}"/>
          </ac:graphicFrameMkLst>
        </pc:graphicFrameChg>
        <pc:graphicFrameChg chg="add del mod ord">
          <ac:chgData name="Kyndal Mayes" userId="142911e9-0388-46d2-be9a-eb7bc2b8ac4b" providerId="ADAL" clId="{29B3924A-0E99-426D-A9EC-E22D7BFBE5E7}" dt="2024-09-27T16:47:19.457" v="33729"/>
          <ac:graphicFrameMkLst>
            <pc:docMk/>
            <pc:sldMk cId="2807376235" sldId="2147481263"/>
            <ac:graphicFrameMk id="289" creationId="{0F9EF257-FFAB-624B-0EC8-1DAC9DE65E02}"/>
          </ac:graphicFrameMkLst>
        </pc:graphicFrameChg>
        <pc:graphicFrameChg chg="add del mod ord">
          <ac:chgData name="Kyndal Mayes" userId="142911e9-0388-46d2-be9a-eb7bc2b8ac4b" providerId="ADAL" clId="{29B3924A-0E99-426D-A9EC-E22D7BFBE5E7}" dt="2024-09-27T16:47:21.173" v="33979"/>
          <ac:graphicFrameMkLst>
            <pc:docMk/>
            <pc:sldMk cId="2807376235" sldId="2147481263"/>
            <ac:graphicFrameMk id="292" creationId="{9ED76432-58CB-08C2-BFE3-AEDA4DA01410}"/>
          </ac:graphicFrameMkLst>
        </pc:graphicFrameChg>
        <pc:graphicFrameChg chg="add del mod ord">
          <ac:chgData name="Kyndal Mayes" userId="142911e9-0388-46d2-be9a-eb7bc2b8ac4b" providerId="ADAL" clId="{29B3924A-0E99-426D-A9EC-E22D7BFBE5E7}" dt="2024-09-27T16:47:23.027" v="34269"/>
          <ac:graphicFrameMkLst>
            <pc:docMk/>
            <pc:sldMk cId="2807376235" sldId="2147481263"/>
            <ac:graphicFrameMk id="294" creationId="{D92E682C-1987-BB86-FF7B-BC5DFB61FD7E}"/>
          </ac:graphicFrameMkLst>
        </pc:graphicFrameChg>
        <pc:graphicFrameChg chg="add del mod ord">
          <ac:chgData name="Kyndal Mayes" userId="142911e9-0388-46d2-be9a-eb7bc2b8ac4b" providerId="ADAL" clId="{29B3924A-0E99-426D-A9EC-E22D7BFBE5E7}" dt="2024-09-27T16:47:25.035" v="34507"/>
          <ac:graphicFrameMkLst>
            <pc:docMk/>
            <pc:sldMk cId="2807376235" sldId="2147481263"/>
            <ac:graphicFrameMk id="297" creationId="{E7F9A2AD-8AA0-3E4E-76CF-1E2F46DD3045}"/>
          </ac:graphicFrameMkLst>
        </pc:graphicFrameChg>
        <pc:graphicFrameChg chg="add del mod ord">
          <ac:chgData name="Kyndal Mayes" userId="142911e9-0388-46d2-be9a-eb7bc2b8ac4b" providerId="ADAL" clId="{29B3924A-0E99-426D-A9EC-E22D7BFBE5E7}" dt="2024-09-27T16:47:26.538" v="34741"/>
          <ac:graphicFrameMkLst>
            <pc:docMk/>
            <pc:sldMk cId="2807376235" sldId="2147481263"/>
            <ac:graphicFrameMk id="299" creationId="{B22B3D4D-10F6-67E1-D099-A21785BFC647}"/>
          </ac:graphicFrameMkLst>
        </pc:graphicFrameChg>
        <pc:graphicFrameChg chg="add del mod ord">
          <ac:chgData name="Kyndal Mayes" userId="142911e9-0388-46d2-be9a-eb7bc2b8ac4b" providerId="ADAL" clId="{29B3924A-0E99-426D-A9EC-E22D7BFBE5E7}" dt="2024-09-27T16:47:28.191" v="34983"/>
          <ac:graphicFrameMkLst>
            <pc:docMk/>
            <pc:sldMk cId="2807376235" sldId="2147481263"/>
            <ac:graphicFrameMk id="301" creationId="{41DE919E-30B3-CF30-0375-B436059E5D61}"/>
          </ac:graphicFrameMkLst>
        </pc:graphicFrameChg>
        <pc:graphicFrameChg chg="add del mod ord">
          <ac:chgData name="Kyndal Mayes" userId="142911e9-0388-46d2-be9a-eb7bc2b8ac4b" providerId="ADAL" clId="{29B3924A-0E99-426D-A9EC-E22D7BFBE5E7}" dt="2024-09-27T16:47:29.260" v="35222"/>
          <ac:graphicFrameMkLst>
            <pc:docMk/>
            <pc:sldMk cId="2807376235" sldId="2147481263"/>
            <ac:graphicFrameMk id="303" creationId="{6EF556AC-28A9-66E1-9EE3-06AAE95C4D01}"/>
          </ac:graphicFrameMkLst>
        </pc:graphicFrameChg>
        <pc:graphicFrameChg chg="add del mod ord">
          <ac:chgData name="Kyndal Mayes" userId="142911e9-0388-46d2-be9a-eb7bc2b8ac4b" providerId="ADAL" clId="{29B3924A-0E99-426D-A9EC-E22D7BFBE5E7}" dt="2024-09-27T16:47:30.214" v="35513"/>
          <ac:graphicFrameMkLst>
            <pc:docMk/>
            <pc:sldMk cId="2807376235" sldId="2147481263"/>
            <ac:graphicFrameMk id="305" creationId="{20BCBC90-B68A-D391-29DC-8A262A179116}"/>
          </ac:graphicFrameMkLst>
        </pc:graphicFrameChg>
        <pc:graphicFrameChg chg="add del mod ord">
          <ac:chgData name="Kyndal Mayes" userId="142911e9-0388-46d2-be9a-eb7bc2b8ac4b" providerId="ADAL" clId="{29B3924A-0E99-426D-A9EC-E22D7BFBE5E7}" dt="2024-09-27T16:47:31.837" v="35755"/>
          <ac:graphicFrameMkLst>
            <pc:docMk/>
            <pc:sldMk cId="2807376235" sldId="2147481263"/>
            <ac:graphicFrameMk id="308" creationId="{915E864F-DD52-90B8-B3F0-A14AE32B619C}"/>
          </ac:graphicFrameMkLst>
        </pc:graphicFrameChg>
        <pc:graphicFrameChg chg="add del mod ord">
          <ac:chgData name="Kyndal Mayes" userId="142911e9-0388-46d2-be9a-eb7bc2b8ac4b" providerId="ADAL" clId="{29B3924A-0E99-426D-A9EC-E22D7BFBE5E7}" dt="2024-09-27T16:47:33.116" v="35991"/>
          <ac:graphicFrameMkLst>
            <pc:docMk/>
            <pc:sldMk cId="2807376235" sldId="2147481263"/>
            <ac:graphicFrameMk id="310" creationId="{A29E9B85-75AE-D394-6463-E050393790F2}"/>
          </ac:graphicFrameMkLst>
        </pc:graphicFrameChg>
        <pc:graphicFrameChg chg="add del mod ord">
          <ac:chgData name="Kyndal Mayes" userId="142911e9-0388-46d2-be9a-eb7bc2b8ac4b" providerId="ADAL" clId="{29B3924A-0E99-426D-A9EC-E22D7BFBE5E7}" dt="2024-09-27T16:47:38.565" v="36247"/>
          <ac:graphicFrameMkLst>
            <pc:docMk/>
            <pc:sldMk cId="2807376235" sldId="2147481263"/>
            <ac:graphicFrameMk id="312" creationId="{FB6A374C-221F-18E7-18A5-4B346DEC9860}"/>
          </ac:graphicFrameMkLst>
        </pc:graphicFrameChg>
        <pc:graphicFrameChg chg="add del mod ord">
          <ac:chgData name="Kyndal Mayes" userId="142911e9-0388-46d2-be9a-eb7bc2b8ac4b" providerId="ADAL" clId="{29B3924A-0E99-426D-A9EC-E22D7BFBE5E7}" dt="2024-09-27T16:47:40.371" v="36540"/>
          <ac:graphicFrameMkLst>
            <pc:docMk/>
            <pc:sldMk cId="2807376235" sldId="2147481263"/>
            <ac:graphicFrameMk id="314" creationId="{28762DEC-248E-1535-8D07-7BC23A6B15D8}"/>
          </ac:graphicFrameMkLst>
        </pc:graphicFrameChg>
        <pc:graphicFrameChg chg="add del mod ord">
          <ac:chgData name="Kyndal Mayes" userId="142911e9-0388-46d2-be9a-eb7bc2b8ac4b" providerId="ADAL" clId="{29B3924A-0E99-426D-A9EC-E22D7BFBE5E7}" dt="2024-09-27T16:47:41.887" v="36782"/>
          <ac:graphicFrameMkLst>
            <pc:docMk/>
            <pc:sldMk cId="2807376235" sldId="2147481263"/>
            <ac:graphicFrameMk id="317" creationId="{350FC7C7-D6BF-380F-A542-439D7B466889}"/>
          </ac:graphicFrameMkLst>
        </pc:graphicFrameChg>
        <pc:graphicFrameChg chg="add del mod ord">
          <ac:chgData name="Kyndal Mayes" userId="142911e9-0388-46d2-be9a-eb7bc2b8ac4b" providerId="ADAL" clId="{29B3924A-0E99-426D-A9EC-E22D7BFBE5E7}" dt="2024-09-27T16:47:42.862" v="37077"/>
          <ac:graphicFrameMkLst>
            <pc:docMk/>
            <pc:sldMk cId="2807376235" sldId="2147481263"/>
            <ac:graphicFrameMk id="319" creationId="{CE8359EE-6C64-B52D-8828-2E66B23D00BE}"/>
          </ac:graphicFrameMkLst>
        </pc:graphicFrameChg>
        <pc:graphicFrameChg chg="add del mod ord">
          <ac:chgData name="Kyndal Mayes" userId="142911e9-0388-46d2-be9a-eb7bc2b8ac4b" providerId="ADAL" clId="{29B3924A-0E99-426D-A9EC-E22D7BFBE5E7}" dt="2024-09-27T16:47:44.445" v="37321"/>
          <ac:graphicFrameMkLst>
            <pc:docMk/>
            <pc:sldMk cId="2807376235" sldId="2147481263"/>
            <ac:graphicFrameMk id="322" creationId="{782AAFA9-46E3-8AFD-4DFA-BC2E24ACF311}"/>
          </ac:graphicFrameMkLst>
        </pc:graphicFrameChg>
        <pc:graphicFrameChg chg="add del mod ord">
          <ac:chgData name="Kyndal Mayes" userId="142911e9-0388-46d2-be9a-eb7bc2b8ac4b" providerId="ADAL" clId="{29B3924A-0E99-426D-A9EC-E22D7BFBE5E7}" dt="2024-09-27T16:47:46.133" v="37618"/>
          <ac:graphicFrameMkLst>
            <pc:docMk/>
            <pc:sldMk cId="2807376235" sldId="2147481263"/>
            <ac:graphicFrameMk id="324" creationId="{AA2D39FE-FA80-328C-4D42-18A863EF0A33}"/>
          </ac:graphicFrameMkLst>
        </pc:graphicFrameChg>
        <pc:graphicFrameChg chg="add del mod ord">
          <ac:chgData name="Kyndal Mayes" userId="142911e9-0388-46d2-be9a-eb7bc2b8ac4b" providerId="ADAL" clId="{29B3924A-0E99-426D-A9EC-E22D7BFBE5E7}" dt="2024-09-27T16:47:47.803" v="37864"/>
          <ac:graphicFrameMkLst>
            <pc:docMk/>
            <pc:sldMk cId="2807376235" sldId="2147481263"/>
            <ac:graphicFrameMk id="327" creationId="{7FD3E446-84E5-B8FB-9295-60B7AF9F6889}"/>
          </ac:graphicFrameMkLst>
        </pc:graphicFrameChg>
        <pc:graphicFrameChg chg="add del mod ord">
          <ac:chgData name="Kyndal Mayes" userId="142911e9-0388-46d2-be9a-eb7bc2b8ac4b" providerId="ADAL" clId="{29B3924A-0E99-426D-A9EC-E22D7BFBE5E7}" dt="2024-09-27T16:47:49.684" v="38163"/>
          <ac:graphicFrameMkLst>
            <pc:docMk/>
            <pc:sldMk cId="2807376235" sldId="2147481263"/>
            <ac:graphicFrameMk id="329" creationId="{D8D6947D-CF30-3292-14B6-FA73F7606F7B}"/>
          </ac:graphicFrameMkLst>
        </pc:graphicFrameChg>
        <pc:graphicFrameChg chg="add del mod ord">
          <ac:chgData name="Kyndal Mayes" userId="142911e9-0388-46d2-be9a-eb7bc2b8ac4b" providerId="ADAL" clId="{29B3924A-0E99-426D-A9EC-E22D7BFBE5E7}" dt="2024-09-27T16:47:50.733" v="38411"/>
          <ac:graphicFrameMkLst>
            <pc:docMk/>
            <pc:sldMk cId="2807376235" sldId="2147481263"/>
            <ac:graphicFrameMk id="332" creationId="{B6AA82BE-C036-4685-E8AF-F007B6C34143}"/>
          </ac:graphicFrameMkLst>
        </pc:graphicFrameChg>
        <pc:graphicFrameChg chg="add del mod ord">
          <ac:chgData name="Kyndal Mayes" userId="142911e9-0388-46d2-be9a-eb7bc2b8ac4b" providerId="ADAL" clId="{29B3924A-0E99-426D-A9EC-E22D7BFBE5E7}" dt="2024-09-27T16:47:51.848" v="38712"/>
          <ac:graphicFrameMkLst>
            <pc:docMk/>
            <pc:sldMk cId="2807376235" sldId="2147481263"/>
            <ac:graphicFrameMk id="334" creationId="{1AA07BD4-C1E0-8F3E-F52F-A808AD88F84A}"/>
          </ac:graphicFrameMkLst>
        </pc:graphicFrameChg>
        <pc:graphicFrameChg chg="add del mod ord">
          <ac:chgData name="Kyndal Mayes" userId="142911e9-0388-46d2-be9a-eb7bc2b8ac4b" providerId="ADAL" clId="{29B3924A-0E99-426D-A9EC-E22D7BFBE5E7}" dt="2024-09-27T16:47:53.903" v="38992"/>
          <ac:graphicFrameMkLst>
            <pc:docMk/>
            <pc:sldMk cId="2807376235" sldId="2147481263"/>
            <ac:graphicFrameMk id="337" creationId="{CB044413-40B4-245B-1295-38E33E9EADC6}"/>
          </ac:graphicFrameMkLst>
        </pc:graphicFrameChg>
        <pc:graphicFrameChg chg="add del mod ord">
          <ac:chgData name="Kyndal Mayes" userId="142911e9-0388-46d2-be9a-eb7bc2b8ac4b" providerId="ADAL" clId="{29B3924A-0E99-426D-A9EC-E22D7BFBE5E7}" dt="2024-09-27T16:47:55.913" v="39299"/>
          <ac:graphicFrameMkLst>
            <pc:docMk/>
            <pc:sldMk cId="2807376235" sldId="2147481263"/>
            <ac:graphicFrameMk id="341" creationId="{BEE9F82D-5B50-3A38-BD74-C02E40DC2454}"/>
          </ac:graphicFrameMkLst>
        </pc:graphicFrameChg>
        <pc:graphicFrameChg chg="add del mod ord">
          <ac:chgData name="Kyndal Mayes" userId="142911e9-0388-46d2-be9a-eb7bc2b8ac4b" providerId="ADAL" clId="{29B3924A-0E99-426D-A9EC-E22D7BFBE5E7}" dt="2024-09-27T16:47:57.386" v="39561"/>
          <ac:graphicFrameMkLst>
            <pc:docMk/>
            <pc:sldMk cId="2807376235" sldId="2147481263"/>
            <ac:graphicFrameMk id="344" creationId="{942C4C34-871F-9FE3-F8C9-55AD1C19794B}"/>
          </ac:graphicFrameMkLst>
        </pc:graphicFrameChg>
        <pc:graphicFrameChg chg="add del mod ord">
          <ac:chgData name="Kyndal Mayes" userId="142911e9-0388-46d2-be9a-eb7bc2b8ac4b" providerId="ADAL" clId="{29B3924A-0E99-426D-A9EC-E22D7BFBE5E7}" dt="2024-09-27T16:47:59.080" v="39868"/>
          <ac:graphicFrameMkLst>
            <pc:docMk/>
            <pc:sldMk cId="2807376235" sldId="2147481263"/>
            <ac:graphicFrameMk id="346" creationId="{298E04C7-D1B1-D03B-47F5-214E1BE989F9}"/>
          </ac:graphicFrameMkLst>
        </pc:graphicFrameChg>
        <pc:graphicFrameChg chg="add del mod ord">
          <ac:chgData name="Kyndal Mayes" userId="142911e9-0388-46d2-be9a-eb7bc2b8ac4b" providerId="ADAL" clId="{29B3924A-0E99-426D-A9EC-E22D7BFBE5E7}" dt="2024-09-27T16:48:00.690" v="40140"/>
          <ac:graphicFrameMkLst>
            <pc:docMk/>
            <pc:sldMk cId="2807376235" sldId="2147481263"/>
            <ac:graphicFrameMk id="349" creationId="{D2DD6FA7-26CD-2716-D1F1-7E415BEDC3B0}"/>
          </ac:graphicFrameMkLst>
        </pc:graphicFrameChg>
        <pc:graphicFrameChg chg="add del mod ord">
          <ac:chgData name="Kyndal Mayes" userId="142911e9-0388-46d2-be9a-eb7bc2b8ac4b" providerId="ADAL" clId="{29B3924A-0E99-426D-A9EC-E22D7BFBE5E7}" dt="2024-09-27T16:48:01.537" v="40451"/>
          <ac:graphicFrameMkLst>
            <pc:docMk/>
            <pc:sldMk cId="2807376235" sldId="2147481263"/>
            <ac:graphicFrameMk id="352" creationId="{FAA7BDA8-BDA5-710F-3ECA-EB8749D3749B}"/>
          </ac:graphicFrameMkLst>
        </pc:graphicFrameChg>
        <pc:graphicFrameChg chg="add del mod ord">
          <ac:chgData name="Kyndal Mayes" userId="142911e9-0388-46d2-be9a-eb7bc2b8ac4b" providerId="ADAL" clId="{29B3924A-0E99-426D-A9EC-E22D7BFBE5E7}" dt="2024-09-27T16:48:03.110" v="40731"/>
          <ac:graphicFrameMkLst>
            <pc:docMk/>
            <pc:sldMk cId="2807376235" sldId="2147481263"/>
            <ac:graphicFrameMk id="355" creationId="{070D2E7D-FC2A-66C3-003A-919FEF916BDC}"/>
          </ac:graphicFrameMkLst>
        </pc:graphicFrameChg>
        <pc:graphicFrameChg chg="add del mod ord">
          <ac:chgData name="Kyndal Mayes" userId="142911e9-0388-46d2-be9a-eb7bc2b8ac4b" providerId="ADAL" clId="{29B3924A-0E99-426D-A9EC-E22D7BFBE5E7}" dt="2024-09-27T16:48:06.085" v="41046"/>
          <ac:graphicFrameMkLst>
            <pc:docMk/>
            <pc:sldMk cId="2807376235" sldId="2147481263"/>
            <ac:graphicFrameMk id="358" creationId="{EF56A6B8-644A-7F27-64C9-04639B066FF5}"/>
          </ac:graphicFrameMkLst>
        </pc:graphicFrameChg>
        <pc:graphicFrameChg chg="add del mod ord">
          <ac:chgData name="Kyndal Mayes" userId="142911e9-0388-46d2-be9a-eb7bc2b8ac4b" providerId="ADAL" clId="{29B3924A-0E99-426D-A9EC-E22D7BFBE5E7}" dt="2024-09-27T16:48:07.892" v="41310"/>
          <ac:graphicFrameMkLst>
            <pc:docMk/>
            <pc:sldMk cId="2807376235" sldId="2147481263"/>
            <ac:graphicFrameMk id="361" creationId="{8D14B311-7786-D1B4-C277-FFFA7D88CB24}"/>
          </ac:graphicFrameMkLst>
        </pc:graphicFrameChg>
        <pc:graphicFrameChg chg="add del mod ord">
          <ac:chgData name="Kyndal Mayes" userId="142911e9-0388-46d2-be9a-eb7bc2b8ac4b" providerId="ADAL" clId="{29B3924A-0E99-426D-A9EC-E22D7BFBE5E7}" dt="2024-09-27T16:48:09.810" v="41570"/>
          <ac:graphicFrameMkLst>
            <pc:docMk/>
            <pc:sldMk cId="2807376235" sldId="2147481263"/>
            <ac:graphicFrameMk id="363" creationId="{30C1A6A9-678B-906B-37B7-D471C9C0BABA}"/>
          </ac:graphicFrameMkLst>
        </pc:graphicFrameChg>
        <pc:graphicFrameChg chg="add del mod ord">
          <ac:chgData name="Kyndal Mayes" userId="142911e9-0388-46d2-be9a-eb7bc2b8ac4b" providerId="ADAL" clId="{29B3924A-0E99-426D-A9EC-E22D7BFBE5E7}" dt="2024-09-27T16:48:11.006" v="41836"/>
          <ac:graphicFrameMkLst>
            <pc:docMk/>
            <pc:sldMk cId="2807376235" sldId="2147481263"/>
            <ac:graphicFrameMk id="365" creationId="{27183DCC-BD30-2224-D5EF-EE5CFE5104F1}"/>
          </ac:graphicFrameMkLst>
        </pc:graphicFrameChg>
        <pc:graphicFrameChg chg="add del mod ord">
          <ac:chgData name="Kyndal Mayes" userId="142911e9-0388-46d2-be9a-eb7bc2b8ac4b" providerId="ADAL" clId="{29B3924A-0E99-426D-A9EC-E22D7BFBE5E7}" dt="2024-09-27T16:48:12.257" v="42153"/>
          <ac:graphicFrameMkLst>
            <pc:docMk/>
            <pc:sldMk cId="2807376235" sldId="2147481263"/>
            <ac:graphicFrameMk id="367" creationId="{CB452436-3CC5-7FFE-CD72-F6ABB9279BDF}"/>
          </ac:graphicFrameMkLst>
        </pc:graphicFrameChg>
        <pc:graphicFrameChg chg="add del mod ord">
          <ac:chgData name="Kyndal Mayes" userId="142911e9-0388-46d2-be9a-eb7bc2b8ac4b" providerId="ADAL" clId="{29B3924A-0E99-426D-A9EC-E22D7BFBE5E7}" dt="2024-09-27T16:48:13.604" v="42421"/>
          <ac:graphicFrameMkLst>
            <pc:docMk/>
            <pc:sldMk cId="2807376235" sldId="2147481263"/>
            <ac:graphicFrameMk id="370" creationId="{2C112A9D-7B07-DF4D-25D6-5308931F6D38}"/>
          </ac:graphicFrameMkLst>
        </pc:graphicFrameChg>
        <pc:graphicFrameChg chg="add del mod ord">
          <ac:chgData name="Kyndal Mayes" userId="142911e9-0388-46d2-be9a-eb7bc2b8ac4b" providerId="ADAL" clId="{29B3924A-0E99-426D-A9EC-E22D7BFBE5E7}" dt="2024-09-27T16:48:15.250" v="42684"/>
          <ac:graphicFrameMkLst>
            <pc:docMk/>
            <pc:sldMk cId="2807376235" sldId="2147481263"/>
            <ac:graphicFrameMk id="372" creationId="{8713EC60-C8E1-B9AA-30AD-7A1FCC4BB3AC}"/>
          </ac:graphicFrameMkLst>
        </pc:graphicFrameChg>
        <pc:graphicFrameChg chg="add del mod ord">
          <ac:chgData name="Kyndal Mayes" userId="142911e9-0388-46d2-be9a-eb7bc2b8ac4b" providerId="ADAL" clId="{29B3924A-0E99-426D-A9EC-E22D7BFBE5E7}" dt="2024-09-27T16:48:16.066" v="42953"/>
          <ac:graphicFrameMkLst>
            <pc:docMk/>
            <pc:sldMk cId="2807376235" sldId="2147481263"/>
            <ac:graphicFrameMk id="374" creationId="{B44DE38C-4EBB-4E99-AC16-D5B5BE6C8AD1}"/>
          </ac:graphicFrameMkLst>
        </pc:graphicFrameChg>
        <pc:graphicFrameChg chg="add del mod ord">
          <ac:chgData name="Kyndal Mayes" userId="142911e9-0388-46d2-be9a-eb7bc2b8ac4b" providerId="ADAL" clId="{29B3924A-0E99-426D-A9EC-E22D7BFBE5E7}" dt="2024-09-27T16:48:18.098" v="43273"/>
          <ac:graphicFrameMkLst>
            <pc:docMk/>
            <pc:sldMk cId="2807376235" sldId="2147481263"/>
            <ac:graphicFrameMk id="376" creationId="{BA833F8E-D151-7A04-E873-F6720DA6EB2A}"/>
          </ac:graphicFrameMkLst>
        </pc:graphicFrameChg>
        <pc:graphicFrameChg chg="add del mod ord">
          <ac:chgData name="Kyndal Mayes" userId="142911e9-0388-46d2-be9a-eb7bc2b8ac4b" providerId="ADAL" clId="{29B3924A-0E99-426D-A9EC-E22D7BFBE5E7}" dt="2024-09-27T16:48:20.094" v="43553"/>
          <ac:graphicFrameMkLst>
            <pc:docMk/>
            <pc:sldMk cId="2807376235" sldId="2147481263"/>
            <ac:graphicFrameMk id="379" creationId="{E2C8AE4D-41B3-DA9C-3425-901521FBD78B}"/>
          </ac:graphicFrameMkLst>
        </pc:graphicFrameChg>
        <pc:graphicFrameChg chg="add del mod ord">
          <ac:chgData name="Kyndal Mayes" userId="142911e9-0388-46d2-be9a-eb7bc2b8ac4b" providerId="ADAL" clId="{29B3924A-0E99-426D-A9EC-E22D7BFBE5E7}" dt="2024-09-27T16:48:21.414" v="43874"/>
          <ac:graphicFrameMkLst>
            <pc:docMk/>
            <pc:sldMk cId="2807376235" sldId="2147481263"/>
            <ac:graphicFrameMk id="381" creationId="{D41B48AB-712D-96F7-B444-6AF4D45E97BF}"/>
          </ac:graphicFrameMkLst>
        </pc:graphicFrameChg>
        <pc:graphicFrameChg chg="add del mod ord">
          <ac:chgData name="Kyndal Mayes" userId="142911e9-0388-46d2-be9a-eb7bc2b8ac4b" providerId="ADAL" clId="{29B3924A-0E99-426D-A9EC-E22D7BFBE5E7}" dt="2024-09-27T16:48:24.079" v="44144"/>
          <ac:graphicFrameMkLst>
            <pc:docMk/>
            <pc:sldMk cId="2807376235" sldId="2147481263"/>
            <ac:graphicFrameMk id="384" creationId="{51984CB7-B996-00B8-C462-2DE4D00BF9EC}"/>
          </ac:graphicFrameMkLst>
        </pc:graphicFrameChg>
        <pc:graphicFrameChg chg="add del mod ord">
          <ac:chgData name="Kyndal Mayes" userId="142911e9-0388-46d2-be9a-eb7bc2b8ac4b" providerId="ADAL" clId="{29B3924A-0E99-426D-A9EC-E22D7BFBE5E7}" dt="2024-09-27T16:48:43.619" v="44410"/>
          <ac:graphicFrameMkLst>
            <pc:docMk/>
            <pc:sldMk cId="2807376235" sldId="2147481263"/>
            <ac:graphicFrameMk id="386" creationId="{4D061F76-36D4-E6E6-C48C-3569292F893A}"/>
          </ac:graphicFrameMkLst>
        </pc:graphicFrameChg>
        <pc:graphicFrameChg chg="add del mod ord">
          <ac:chgData name="Kyndal Mayes" userId="142911e9-0388-46d2-be9a-eb7bc2b8ac4b" providerId="ADAL" clId="{29B3924A-0E99-426D-A9EC-E22D7BFBE5E7}" dt="2024-09-27T17:50:52.246" v="68620"/>
          <ac:graphicFrameMkLst>
            <pc:docMk/>
            <pc:sldMk cId="2807376235" sldId="2147481263"/>
            <ac:graphicFrameMk id="388" creationId="{21EAEBD3-B45C-A271-583E-3BC5F9BA1B4C}"/>
          </ac:graphicFrameMkLst>
        </pc:graphicFrameChg>
        <pc:graphicFrameChg chg="add del mod ord">
          <ac:chgData name="Kyndal Mayes" userId="142911e9-0388-46d2-be9a-eb7bc2b8ac4b" providerId="ADAL" clId="{29B3924A-0E99-426D-A9EC-E22D7BFBE5E7}" dt="2024-09-27T16:48:46.443" v="45070"/>
          <ac:graphicFrameMkLst>
            <pc:docMk/>
            <pc:sldMk cId="2807376235" sldId="2147481263"/>
            <ac:graphicFrameMk id="390" creationId="{40439C1A-071E-8F0B-63FE-17B5B2A481FA}"/>
          </ac:graphicFrameMkLst>
        </pc:graphicFrameChg>
        <pc:graphicFrameChg chg="add del mod ord">
          <ac:chgData name="Kyndal Mayes" userId="142911e9-0388-46d2-be9a-eb7bc2b8ac4b" providerId="ADAL" clId="{29B3924A-0E99-426D-A9EC-E22D7BFBE5E7}" dt="2024-09-27T16:48:47.830" v="45376"/>
          <ac:graphicFrameMkLst>
            <pc:docMk/>
            <pc:sldMk cId="2807376235" sldId="2147481263"/>
            <ac:graphicFrameMk id="392" creationId="{6AD78CF1-7806-8A8D-393A-ADD84EADAF4F}"/>
          </ac:graphicFrameMkLst>
        </pc:graphicFrameChg>
        <pc:graphicFrameChg chg="add del mod ord">
          <ac:chgData name="Kyndal Mayes" userId="142911e9-0388-46d2-be9a-eb7bc2b8ac4b" providerId="ADAL" clId="{29B3924A-0E99-426D-A9EC-E22D7BFBE5E7}" dt="2024-09-27T16:48:48.567" v="45644"/>
          <ac:graphicFrameMkLst>
            <pc:docMk/>
            <pc:sldMk cId="2807376235" sldId="2147481263"/>
            <ac:graphicFrameMk id="396" creationId="{126B0DB1-F8A1-FAC5-4466-FC2A409E07E5}"/>
          </ac:graphicFrameMkLst>
        </pc:graphicFrameChg>
        <pc:graphicFrameChg chg="add del mod ord">
          <ac:chgData name="Kyndal Mayes" userId="142911e9-0388-46d2-be9a-eb7bc2b8ac4b" providerId="ADAL" clId="{29B3924A-0E99-426D-A9EC-E22D7BFBE5E7}" dt="2024-09-27T16:48:50.219" v="45969"/>
          <ac:graphicFrameMkLst>
            <pc:docMk/>
            <pc:sldMk cId="2807376235" sldId="2147481263"/>
            <ac:graphicFrameMk id="398" creationId="{90953D8F-5721-1EBF-0447-FB133182604F}"/>
          </ac:graphicFrameMkLst>
        </pc:graphicFrameChg>
        <pc:graphicFrameChg chg="add del mod ord">
          <ac:chgData name="Kyndal Mayes" userId="142911e9-0388-46d2-be9a-eb7bc2b8ac4b" providerId="ADAL" clId="{29B3924A-0E99-426D-A9EC-E22D7BFBE5E7}" dt="2024-09-27T16:48:51.762" v="46259"/>
          <ac:graphicFrameMkLst>
            <pc:docMk/>
            <pc:sldMk cId="2807376235" sldId="2147481263"/>
            <ac:graphicFrameMk id="401" creationId="{64FC43AC-779B-17CE-BC07-8D1715EDCAC1}"/>
          </ac:graphicFrameMkLst>
        </pc:graphicFrameChg>
        <pc:graphicFrameChg chg="add del mod ord">
          <ac:chgData name="Kyndal Mayes" userId="142911e9-0388-46d2-be9a-eb7bc2b8ac4b" providerId="ADAL" clId="{29B3924A-0E99-426D-A9EC-E22D7BFBE5E7}" dt="2024-09-27T16:48:53.443" v="46587"/>
          <ac:graphicFrameMkLst>
            <pc:docMk/>
            <pc:sldMk cId="2807376235" sldId="2147481263"/>
            <ac:graphicFrameMk id="403" creationId="{E4AB9BCE-1E2B-9DA9-13DD-B2FE7AC5F495}"/>
          </ac:graphicFrameMkLst>
        </pc:graphicFrameChg>
        <pc:graphicFrameChg chg="add del mod ord">
          <ac:chgData name="Kyndal Mayes" userId="142911e9-0388-46d2-be9a-eb7bc2b8ac4b" providerId="ADAL" clId="{29B3924A-0E99-426D-A9EC-E22D7BFBE5E7}" dt="2024-09-27T16:48:55.286" v="46868"/>
          <ac:graphicFrameMkLst>
            <pc:docMk/>
            <pc:sldMk cId="2807376235" sldId="2147481263"/>
            <ac:graphicFrameMk id="406" creationId="{88780880-F069-99FC-E634-FCEF46E160C4}"/>
          </ac:graphicFrameMkLst>
        </pc:graphicFrameChg>
        <pc:graphicFrameChg chg="add del mod ord">
          <ac:chgData name="Kyndal Mayes" userId="142911e9-0388-46d2-be9a-eb7bc2b8ac4b" providerId="ADAL" clId="{29B3924A-0E99-426D-A9EC-E22D7BFBE5E7}" dt="2024-09-27T16:48:56.322" v="47142"/>
          <ac:graphicFrameMkLst>
            <pc:docMk/>
            <pc:sldMk cId="2807376235" sldId="2147481263"/>
            <ac:graphicFrameMk id="408" creationId="{E21944F3-D3BB-6900-1445-553668630895}"/>
          </ac:graphicFrameMkLst>
        </pc:graphicFrameChg>
        <pc:graphicFrameChg chg="add del mod ord">
          <ac:chgData name="Kyndal Mayes" userId="142911e9-0388-46d2-be9a-eb7bc2b8ac4b" providerId="ADAL" clId="{29B3924A-0E99-426D-A9EC-E22D7BFBE5E7}" dt="2024-09-27T16:48:57.345" v="47430"/>
          <ac:graphicFrameMkLst>
            <pc:docMk/>
            <pc:sldMk cId="2807376235" sldId="2147481263"/>
            <ac:graphicFrameMk id="410" creationId="{AAB71C6A-DC85-2831-0782-4319DFFB1A60}"/>
          </ac:graphicFrameMkLst>
        </pc:graphicFrameChg>
        <pc:graphicFrameChg chg="add del mod ord">
          <ac:chgData name="Kyndal Mayes" userId="142911e9-0388-46d2-be9a-eb7bc2b8ac4b" providerId="ADAL" clId="{29B3924A-0E99-426D-A9EC-E22D7BFBE5E7}" dt="2024-09-27T16:48:58.788" v="47704"/>
          <ac:graphicFrameMkLst>
            <pc:docMk/>
            <pc:sldMk cId="2807376235" sldId="2147481263"/>
            <ac:graphicFrameMk id="412" creationId="{33AC2A9A-8827-F8B9-D268-082A4A258287}"/>
          </ac:graphicFrameMkLst>
        </pc:graphicFrameChg>
        <pc:graphicFrameChg chg="add del mod ord">
          <ac:chgData name="Kyndal Mayes" userId="142911e9-0388-46d2-be9a-eb7bc2b8ac4b" providerId="ADAL" clId="{29B3924A-0E99-426D-A9EC-E22D7BFBE5E7}" dt="2024-09-27T16:48:59.753" v="48000"/>
          <ac:graphicFrameMkLst>
            <pc:docMk/>
            <pc:sldMk cId="2807376235" sldId="2147481263"/>
            <ac:graphicFrameMk id="414" creationId="{7CB7C004-657C-4184-3C9A-E1362CFF4AD6}"/>
          </ac:graphicFrameMkLst>
        </pc:graphicFrameChg>
        <pc:graphicFrameChg chg="add del mod ord">
          <ac:chgData name="Kyndal Mayes" userId="142911e9-0388-46d2-be9a-eb7bc2b8ac4b" providerId="ADAL" clId="{29B3924A-0E99-426D-A9EC-E22D7BFBE5E7}" dt="2024-09-27T16:49:00.933" v="48331"/>
          <ac:graphicFrameMkLst>
            <pc:docMk/>
            <pc:sldMk cId="2807376235" sldId="2147481263"/>
            <ac:graphicFrameMk id="416" creationId="{3ED16D74-F550-C0A7-BAD0-9554B0F0F137}"/>
          </ac:graphicFrameMkLst>
        </pc:graphicFrameChg>
        <pc:graphicFrameChg chg="add del mod ord">
          <ac:chgData name="Kyndal Mayes" userId="142911e9-0388-46d2-be9a-eb7bc2b8ac4b" providerId="ADAL" clId="{29B3924A-0E99-426D-A9EC-E22D7BFBE5E7}" dt="2024-09-27T16:49:02.092" v="48619"/>
          <ac:graphicFrameMkLst>
            <pc:docMk/>
            <pc:sldMk cId="2807376235" sldId="2147481263"/>
            <ac:graphicFrameMk id="419" creationId="{464B5E35-FBDC-4BA0-2F21-6E2880EA3345}"/>
          </ac:graphicFrameMkLst>
        </pc:graphicFrameChg>
        <pc:graphicFrameChg chg="add del mod ord">
          <ac:chgData name="Kyndal Mayes" userId="142911e9-0388-46d2-be9a-eb7bc2b8ac4b" providerId="ADAL" clId="{29B3924A-0E99-426D-A9EC-E22D7BFBE5E7}" dt="2024-09-27T16:49:02.943" v="48953"/>
          <ac:graphicFrameMkLst>
            <pc:docMk/>
            <pc:sldMk cId="2807376235" sldId="2147481263"/>
            <ac:graphicFrameMk id="421" creationId="{838B60C6-23C0-F223-8848-FE3365D9FB94}"/>
          </ac:graphicFrameMkLst>
        </pc:graphicFrameChg>
        <pc:graphicFrameChg chg="add del mod ord">
          <ac:chgData name="Kyndal Mayes" userId="142911e9-0388-46d2-be9a-eb7bc2b8ac4b" providerId="ADAL" clId="{29B3924A-0E99-426D-A9EC-E22D7BFBE5E7}" dt="2024-09-27T16:49:03.692" v="49238"/>
          <ac:graphicFrameMkLst>
            <pc:docMk/>
            <pc:sldMk cId="2807376235" sldId="2147481263"/>
            <ac:graphicFrameMk id="424" creationId="{4E7B2468-BD74-6BCF-C6C0-6E2DF6457148}"/>
          </ac:graphicFrameMkLst>
        </pc:graphicFrameChg>
        <pc:graphicFrameChg chg="add del mod ord">
          <ac:chgData name="Kyndal Mayes" userId="142911e9-0388-46d2-be9a-eb7bc2b8ac4b" providerId="ADAL" clId="{29B3924A-0E99-426D-A9EC-E22D7BFBE5E7}" dt="2024-09-27T16:49:05.586" v="49518"/>
          <ac:graphicFrameMkLst>
            <pc:docMk/>
            <pc:sldMk cId="2807376235" sldId="2147481263"/>
            <ac:graphicFrameMk id="426" creationId="{F846BB9D-2447-24B7-8BB2-6C25C36BD78D}"/>
          </ac:graphicFrameMkLst>
        </pc:graphicFrameChg>
        <pc:graphicFrameChg chg="add del mod ord">
          <ac:chgData name="Kyndal Mayes" userId="142911e9-0388-46d2-be9a-eb7bc2b8ac4b" providerId="ADAL" clId="{29B3924A-0E99-426D-A9EC-E22D7BFBE5E7}" dt="2024-09-27T16:49:06.661" v="49826"/>
          <ac:graphicFrameMkLst>
            <pc:docMk/>
            <pc:sldMk cId="2807376235" sldId="2147481263"/>
            <ac:graphicFrameMk id="428" creationId="{7FE355CD-7047-7B9B-3118-5F30CAFD8585}"/>
          </ac:graphicFrameMkLst>
        </pc:graphicFrameChg>
        <pc:graphicFrameChg chg="add del mod ord">
          <ac:chgData name="Kyndal Mayes" userId="142911e9-0388-46d2-be9a-eb7bc2b8ac4b" providerId="ADAL" clId="{29B3924A-0E99-426D-A9EC-E22D7BFBE5E7}" dt="2024-09-27T16:49:07.885" v="50106"/>
          <ac:graphicFrameMkLst>
            <pc:docMk/>
            <pc:sldMk cId="2807376235" sldId="2147481263"/>
            <ac:graphicFrameMk id="430" creationId="{B9B0F60F-7187-0C8F-CC41-EE108FD12CE5}"/>
          </ac:graphicFrameMkLst>
        </pc:graphicFrameChg>
        <pc:graphicFrameChg chg="add del mod ord">
          <ac:chgData name="Kyndal Mayes" userId="142911e9-0388-46d2-be9a-eb7bc2b8ac4b" providerId="ADAL" clId="{29B3924A-0E99-426D-A9EC-E22D7BFBE5E7}" dt="2024-09-27T16:49:09.044" v="50398"/>
          <ac:graphicFrameMkLst>
            <pc:docMk/>
            <pc:sldMk cId="2807376235" sldId="2147481263"/>
            <ac:graphicFrameMk id="432" creationId="{AE4C43BC-4954-7504-61C9-66424EDADAFF}"/>
          </ac:graphicFrameMkLst>
        </pc:graphicFrameChg>
        <pc:graphicFrameChg chg="add del mod ord">
          <ac:chgData name="Kyndal Mayes" userId="142911e9-0388-46d2-be9a-eb7bc2b8ac4b" providerId="ADAL" clId="{29B3924A-0E99-426D-A9EC-E22D7BFBE5E7}" dt="2024-09-27T16:49:10.174" v="50678"/>
          <ac:graphicFrameMkLst>
            <pc:docMk/>
            <pc:sldMk cId="2807376235" sldId="2147481263"/>
            <ac:graphicFrameMk id="434" creationId="{D641DD0E-44DC-B6D2-2DDC-09C3F6B61E60}"/>
          </ac:graphicFrameMkLst>
        </pc:graphicFrameChg>
        <pc:graphicFrameChg chg="add del mod ord">
          <ac:chgData name="Kyndal Mayes" userId="142911e9-0388-46d2-be9a-eb7bc2b8ac4b" providerId="ADAL" clId="{29B3924A-0E99-426D-A9EC-E22D7BFBE5E7}" dt="2024-09-27T16:49:12.129" v="50971"/>
          <ac:graphicFrameMkLst>
            <pc:docMk/>
            <pc:sldMk cId="2807376235" sldId="2147481263"/>
            <ac:graphicFrameMk id="436" creationId="{90A7F842-3219-6E52-25AD-E188603FDB0E}"/>
          </ac:graphicFrameMkLst>
        </pc:graphicFrameChg>
        <pc:graphicFrameChg chg="add del mod ord">
          <ac:chgData name="Kyndal Mayes" userId="142911e9-0388-46d2-be9a-eb7bc2b8ac4b" providerId="ADAL" clId="{29B3924A-0E99-426D-A9EC-E22D7BFBE5E7}" dt="2024-09-27T16:49:14.090" v="51251"/>
          <ac:graphicFrameMkLst>
            <pc:docMk/>
            <pc:sldMk cId="2807376235" sldId="2147481263"/>
            <ac:graphicFrameMk id="438" creationId="{6B966C64-D4AC-D9BC-2B5B-A4490588BBBA}"/>
          </ac:graphicFrameMkLst>
        </pc:graphicFrameChg>
        <pc:graphicFrameChg chg="add del mod ord">
          <ac:chgData name="Kyndal Mayes" userId="142911e9-0388-46d2-be9a-eb7bc2b8ac4b" providerId="ADAL" clId="{29B3924A-0E99-426D-A9EC-E22D7BFBE5E7}" dt="2024-09-27T16:49:16.117" v="51544"/>
          <ac:graphicFrameMkLst>
            <pc:docMk/>
            <pc:sldMk cId="2807376235" sldId="2147481263"/>
            <ac:graphicFrameMk id="440" creationId="{B1DE9E0C-D82C-CD93-1B91-EBEF91D3B6D6}"/>
          </ac:graphicFrameMkLst>
        </pc:graphicFrameChg>
        <pc:graphicFrameChg chg="add del mod ord">
          <ac:chgData name="Kyndal Mayes" userId="142911e9-0388-46d2-be9a-eb7bc2b8ac4b" providerId="ADAL" clId="{29B3924A-0E99-426D-A9EC-E22D7BFBE5E7}" dt="2024-09-27T16:49:17.275" v="51824"/>
          <ac:graphicFrameMkLst>
            <pc:docMk/>
            <pc:sldMk cId="2807376235" sldId="2147481263"/>
            <ac:graphicFrameMk id="442" creationId="{9ABC6559-03F2-843E-D9D1-0397CC7C3D15}"/>
          </ac:graphicFrameMkLst>
        </pc:graphicFrameChg>
        <pc:graphicFrameChg chg="add del mod ord">
          <ac:chgData name="Kyndal Mayes" userId="142911e9-0388-46d2-be9a-eb7bc2b8ac4b" providerId="ADAL" clId="{29B3924A-0E99-426D-A9EC-E22D7BFBE5E7}" dt="2024-09-27T16:49:18.890" v="52110"/>
          <ac:graphicFrameMkLst>
            <pc:docMk/>
            <pc:sldMk cId="2807376235" sldId="2147481263"/>
            <ac:graphicFrameMk id="444" creationId="{BC2605D6-CB29-4A27-25A4-C9E7685E9556}"/>
          </ac:graphicFrameMkLst>
        </pc:graphicFrameChg>
        <pc:graphicFrameChg chg="add del mod ord">
          <ac:chgData name="Kyndal Mayes" userId="142911e9-0388-46d2-be9a-eb7bc2b8ac4b" providerId="ADAL" clId="{29B3924A-0E99-426D-A9EC-E22D7BFBE5E7}" dt="2024-09-27T16:49:19.979" v="52447"/>
          <ac:graphicFrameMkLst>
            <pc:docMk/>
            <pc:sldMk cId="2807376235" sldId="2147481263"/>
            <ac:graphicFrameMk id="446" creationId="{963233E2-5A56-2843-6343-5C2ACFAB859C}"/>
          </ac:graphicFrameMkLst>
        </pc:graphicFrameChg>
        <pc:graphicFrameChg chg="add del mod ord">
          <ac:chgData name="Kyndal Mayes" userId="142911e9-0388-46d2-be9a-eb7bc2b8ac4b" providerId="ADAL" clId="{29B3924A-0E99-426D-A9EC-E22D7BFBE5E7}" dt="2024-09-27T16:49:21.157" v="52749"/>
          <ac:graphicFrameMkLst>
            <pc:docMk/>
            <pc:sldMk cId="2807376235" sldId="2147481263"/>
            <ac:graphicFrameMk id="449" creationId="{1FD3F998-22A5-F0D9-B503-74E9B0E6050A}"/>
          </ac:graphicFrameMkLst>
        </pc:graphicFrameChg>
        <pc:graphicFrameChg chg="add del mod ord">
          <ac:chgData name="Kyndal Mayes" userId="142911e9-0388-46d2-be9a-eb7bc2b8ac4b" providerId="ADAL" clId="{29B3924A-0E99-426D-A9EC-E22D7BFBE5E7}" dt="2024-09-27T16:49:22.435" v="53089"/>
          <ac:graphicFrameMkLst>
            <pc:docMk/>
            <pc:sldMk cId="2807376235" sldId="2147481263"/>
            <ac:graphicFrameMk id="451" creationId="{4AFC2E3D-633C-FBE5-E555-0CB0170774C3}"/>
          </ac:graphicFrameMkLst>
        </pc:graphicFrameChg>
        <pc:graphicFrameChg chg="add del mod ord">
          <ac:chgData name="Kyndal Mayes" userId="142911e9-0388-46d2-be9a-eb7bc2b8ac4b" providerId="ADAL" clId="{29B3924A-0E99-426D-A9EC-E22D7BFBE5E7}" dt="2024-09-27T16:49:24.346" v="53507"/>
          <ac:graphicFrameMkLst>
            <pc:docMk/>
            <pc:sldMk cId="2807376235" sldId="2147481263"/>
            <ac:graphicFrameMk id="454" creationId="{37005A91-F5CA-1EA5-D9B2-A1C6A3DBA461}"/>
          </ac:graphicFrameMkLst>
        </pc:graphicFrameChg>
        <pc:graphicFrameChg chg="add del mod ord">
          <ac:chgData name="Kyndal Mayes" userId="142911e9-0388-46d2-be9a-eb7bc2b8ac4b" providerId="ADAL" clId="{29B3924A-0E99-426D-A9EC-E22D7BFBE5E7}" dt="2024-09-27T16:49:24.815" v="53795"/>
          <ac:graphicFrameMkLst>
            <pc:docMk/>
            <pc:sldMk cId="2807376235" sldId="2147481263"/>
            <ac:graphicFrameMk id="458" creationId="{9F1BEAAE-9D36-1052-6331-1D09F56AB00B}"/>
          </ac:graphicFrameMkLst>
        </pc:graphicFrameChg>
        <pc:graphicFrameChg chg="add del mod ord">
          <ac:chgData name="Kyndal Mayes" userId="142911e9-0388-46d2-be9a-eb7bc2b8ac4b" providerId="ADAL" clId="{29B3924A-0E99-426D-A9EC-E22D7BFBE5E7}" dt="2024-09-27T16:49:28.343" v="54140"/>
          <ac:graphicFrameMkLst>
            <pc:docMk/>
            <pc:sldMk cId="2807376235" sldId="2147481263"/>
            <ac:graphicFrameMk id="460" creationId="{3FEF4DF8-2940-F495-62FC-641ED7528974}"/>
          </ac:graphicFrameMkLst>
        </pc:graphicFrameChg>
        <pc:graphicFrameChg chg="add del mod ord">
          <ac:chgData name="Kyndal Mayes" userId="142911e9-0388-46d2-be9a-eb7bc2b8ac4b" providerId="ADAL" clId="{29B3924A-0E99-426D-A9EC-E22D7BFBE5E7}" dt="2024-09-27T16:49:29.509" v="54452"/>
          <ac:graphicFrameMkLst>
            <pc:docMk/>
            <pc:sldMk cId="2807376235" sldId="2147481263"/>
            <ac:graphicFrameMk id="463" creationId="{9AE54C82-7F03-4F75-238D-356A2D752AEF}"/>
          </ac:graphicFrameMkLst>
        </pc:graphicFrameChg>
        <pc:graphicFrameChg chg="add del mod ord">
          <ac:chgData name="Kyndal Mayes" userId="142911e9-0388-46d2-be9a-eb7bc2b8ac4b" providerId="ADAL" clId="{29B3924A-0E99-426D-A9EC-E22D7BFBE5E7}" dt="2024-09-27T16:49:31.192" v="54745"/>
          <ac:graphicFrameMkLst>
            <pc:docMk/>
            <pc:sldMk cId="2807376235" sldId="2147481263"/>
            <ac:graphicFrameMk id="466" creationId="{1EE846B7-47F1-3FA5-D1E4-0ADCEE8DA966}"/>
          </ac:graphicFrameMkLst>
        </pc:graphicFrameChg>
        <pc:graphicFrameChg chg="add del mod ord">
          <ac:chgData name="Kyndal Mayes" userId="142911e9-0388-46d2-be9a-eb7bc2b8ac4b" providerId="ADAL" clId="{29B3924A-0E99-426D-A9EC-E22D7BFBE5E7}" dt="2024-09-27T16:49:32.054" v="55050"/>
          <ac:graphicFrameMkLst>
            <pc:docMk/>
            <pc:sldMk cId="2807376235" sldId="2147481263"/>
            <ac:graphicFrameMk id="468" creationId="{36DEBE2E-0B26-8748-0A3E-49817D86E875}"/>
          </ac:graphicFrameMkLst>
        </pc:graphicFrameChg>
        <pc:graphicFrameChg chg="add del mod ord">
          <ac:chgData name="Kyndal Mayes" userId="142911e9-0388-46d2-be9a-eb7bc2b8ac4b" providerId="ADAL" clId="{29B3924A-0E99-426D-A9EC-E22D7BFBE5E7}" dt="2024-09-27T16:49:33.329" v="55343"/>
          <ac:graphicFrameMkLst>
            <pc:docMk/>
            <pc:sldMk cId="2807376235" sldId="2147481263"/>
            <ac:graphicFrameMk id="470" creationId="{52D6A2E4-FAF3-2CC2-3D1B-D78094C43F11}"/>
          </ac:graphicFrameMkLst>
        </pc:graphicFrameChg>
        <pc:graphicFrameChg chg="add del mod ord">
          <ac:chgData name="Kyndal Mayes" userId="142911e9-0388-46d2-be9a-eb7bc2b8ac4b" providerId="ADAL" clId="{29B3924A-0E99-426D-A9EC-E22D7BFBE5E7}" dt="2024-09-27T16:49:34.778" v="55684"/>
          <ac:graphicFrameMkLst>
            <pc:docMk/>
            <pc:sldMk cId="2807376235" sldId="2147481263"/>
            <ac:graphicFrameMk id="472" creationId="{17A02F85-1D52-5454-D070-3F8E7BCDD302}"/>
          </ac:graphicFrameMkLst>
        </pc:graphicFrameChg>
        <pc:graphicFrameChg chg="add del mod ord">
          <ac:chgData name="Kyndal Mayes" userId="142911e9-0388-46d2-be9a-eb7bc2b8ac4b" providerId="ADAL" clId="{29B3924A-0E99-426D-A9EC-E22D7BFBE5E7}" dt="2024-09-27T16:49:37.048" v="55982"/>
          <ac:graphicFrameMkLst>
            <pc:docMk/>
            <pc:sldMk cId="2807376235" sldId="2147481263"/>
            <ac:graphicFrameMk id="476" creationId="{5689AC5F-2BFD-7AC2-E237-DE66AD131326}"/>
          </ac:graphicFrameMkLst>
        </pc:graphicFrameChg>
        <pc:graphicFrameChg chg="add del mod ord">
          <ac:chgData name="Kyndal Mayes" userId="142911e9-0388-46d2-be9a-eb7bc2b8ac4b" providerId="ADAL" clId="{29B3924A-0E99-426D-A9EC-E22D7BFBE5E7}" dt="2024-09-27T16:49:39.200" v="56291"/>
          <ac:graphicFrameMkLst>
            <pc:docMk/>
            <pc:sldMk cId="2807376235" sldId="2147481263"/>
            <ac:graphicFrameMk id="478" creationId="{3891FC48-B23D-69D3-F726-72A88BBB0216}"/>
          </ac:graphicFrameMkLst>
        </pc:graphicFrameChg>
        <pc:graphicFrameChg chg="add del mod ord">
          <ac:chgData name="Kyndal Mayes" userId="142911e9-0388-46d2-be9a-eb7bc2b8ac4b" providerId="ADAL" clId="{29B3924A-0E99-426D-A9EC-E22D7BFBE5E7}" dt="2024-09-27T16:49:40.581" v="56587"/>
          <ac:graphicFrameMkLst>
            <pc:docMk/>
            <pc:sldMk cId="2807376235" sldId="2147481263"/>
            <ac:graphicFrameMk id="480" creationId="{A7ACE76B-60F9-7668-3D8B-6FDCE4223738}"/>
          </ac:graphicFrameMkLst>
        </pc:graphicFrameChg>
        <pc:graphicFrameChg chg="add del mod ord">
          <ac:chgData name="Kyndal Mayes" userId="142911e9-0388-46d2-be9a-eb7bc2b8ac4b" providerId="ADAL" clId="{29B3924A-0E99-426D-A9EC-E22D7BFBE5E7}" dt="2024-09-27T16:49:41.755" v="56903"/>
          <ac:graphicFrameMkLst>
            <pc:docMk/>
            <pc:sldMk cId="2807376235" sldId="2147481263"/>
            <ac:graphicFrameMk id="482" creationId="{71538A6E-1071-2B23-50B9-BCA4996139CA}"/>
          </ac:graphicFrameMkLst>
        </pc:graphicFrameChg>
        <pc:graphicFrameChg chg="add del mod ord">
          <ac:chgData name="Kyndal Mayes" userId="142911e9-0388-46d2-be9a-eb7bc2b8ac4b" providerId="ADAL" clId="{29B3924A-0E99-426D-A9EC-E22D7BFBE5E7}" dt="2024-09-27T16:49:44.047" v="57212"/>
          <ac:graphicFrameMkLst>
            <pc:docMk/>
            <pc:sldMk cId="2807376235" sldId="2147481263"/>
            <ac:graphicFrameMk id="484" creationId="{6588D8A7-8913-B3F9-9437-FC9DD2184EF5}"/>
          </ac:graphicFrameMkLst>
        </pc:graphicFrameChg>
        <pc:graphicFrameChg chg="add del mod ord">
          <ac:chgData name="Kyndal Mayes" userId="142911e9-0388-46d2-be9a-eb7bc2b8ac4b" providerId="ADAL" clId="{29B3924A-0E99-426D-A9EC-E22D7BFBE5E7}" dt="2024-09-27T16:49:44.938" v="57565"/>
          <ac:graphicFrameMkLst>
            <pc:docMk/>
            <pc:sldMk cId="2807376235" sldId="2147481263"/>
            <ac:graphicFrameMk id="486" creationId="{C2B705BB-B59C-FA75-AB51-68DE4E69D3B5}"/>
          </ac:graphicFrameMkLst>
        </pc:graphicFrameChg>
        <pc:graphicFrameChg chg="add del mod ord">
          <ac:chgData name="Kyndal Mayes" userId="142911e9-0388-46d2-be9a-eb7bc2b8ac4b" providerId="ADAL" clId="{29B3924A-0E99-426D-A9EC-E22D7BFBE5E7}" dt="2024-09-27T16:49:46.336" v="57921"/>
          <ac:graphicFrameMkLst>
            <pc:docMk/>
            <pc:sldMk cId="2807376235" sldId="2147481263"/>
            <ac:graphicFrameMk id="489" creationId="{1AD109E3-0A3E-73A5-F22A-885BD36E2305}"/>
          </ac:graphicFrameMkLst>
        </pc:graphicFrameChg>
        <pc:graphicFrameChg chg="add del mod ord">
          <ac:chgData name="Kyndal Mayes" userId="142911e9-0388-46d2-be9a-eb7bc2b8ac4b" providerId="ADAL" clId="{29B3924A-0E99-426D-A9EC-E22D7BFBE5E7}" dt="2024-09-27T16:49:48.286" v="58279"/>
          <ac:graphicFrameMkLst>
            <pc:docMk/>
            <pc:sldMk cId="2807376235" sldId="2147481263"/>
            <ac:graphicFrameMk id="493" creationId="{FF61DD9C-0D4B-5CE4-AB45-3A67DD388079}"/>
          </ac:graphicFrameMkLst>
        </pc:graphicFrameChg>
        <pc:graphicFrameChg chg="add del mod ord">
          <ac:chgData name="Kyndal Mayes" userId="142911e9-0388-46d2-be9a-eb7bc2b8ac4b" providerId="ADAL" clId="{29B3924A-0E99-426D-A9EC-E22D7BFBE5E7}" dt="2024-09-27T16:49:49.542" v="58585"/>
          <ac:graphicFrameMkLst>
            <pc:docMk/>
            <pc:sldMk cId="2807376235" sldId="2147481263"/>
            <ac:graphicFrameMk id="496" creationId="{C262D377-9766-225D-6402-93630AA87501}"/>
          </ac:graphicFrameMkLst>
        </pc:graphicFrameChg>
        <pc:graphicFrameChg chg="add del mod ord">
          <ac:chgData name="Kyndal Mayes" userId="142911e9-0388-46d2-be9a-eb7bc2b8ac4b" providerId="ADAL" clId="{29B3924A-0E99-426D-A9EC-E22D7BFBE5E7}" dt="2024-09-27T16:49:50.559" v="58891"/>
          <ac:graphicFrameMkLst>
            <pc:docMk/>
            <pc:sldMk cId="2807376235" sldId="2147481263"/>
            <ac:graphicFrameMk id="498" creationId="{83615CA5-68E7-D89B-639B-DF8A4FAF41DA}"/>
          </ac:graphicFrameMkLst>
        </pc:graphicFrameChg>
        <pc:graphicFrameChg chg="add del mod ord">
          <ac:chgData name="Kyndal Mayes" userId="142911e9-0388-46d2-be9a-eb7bc2b8ac4b" providerId="ADAL" clId="{29B3924A-0E99-426D-A9EC-E22D7BFBE5E7}" dt="2024-09-27T16:49:51.399" v="59198"/>
          <ac:graphicFrameMkLst>
            <pc:docMk/>
            <pc:sldMk cId="2807376235" sldId="2147481263"/>
            <ac:graphicFrameMk id="500" creationId="{17D9CAED-050F-0FE0-3D47-BFF319D94107}"/>
          </ac:graphicFrameMkLst>
        </pc:graphicFrameChg>
        <pc:graphicFrameChg chg="add del mod ord">
          <ac:chgData name="Kyndal Mayes" userId="142911e9-0388-46d2-be9a-eb7bc2b8ac4b" providerId="ADAL" clId="{29B3924A-0E99-426D-A9EC-E22D7BFBE5E7}" dt="2024-09-27T16:49:53.076" v="59558"/>
          <ac:graphicFrameMkLst>
            <pc:docMk/>
            <pc:sldMk cId="2807376235" sldId="2147481263"/>
            <ac:graphicFrameMk id="502" creationId="{7A4CC6CE-0D66-0158-C32A-EC80E7426BEE}"/>
          </ac:graphicFrameMkLst>
        </pc:graphicFrameChg>
        <pc:graphicFrameChg chg="add del mod ord">
          <ac:chgData name="Kyndal Mayes" userId="142911e9-0388-46d2-be9a-eb7bc2b8ac4b" providerId="ADAL" clId="{29B3924A-0E99-426D-A9EC-E22D7BFBE5E7}" dt="2024-09-27T16:49:54.474" v="59873"/>
          <ac:graphicFrameMkLst>
            <pc:docMk/>
            <pc:sldMk cId="2807376235" sldId="2147481263"/>
            <ac:graphicFrameMk id="505" creationId="{DA86BB57-7ABE-9E50-4BD1-7E7A2A042C96}"/>
          </ac:graphicFrameMkLst>
        </pc:graphicFrameChg>
        <pc:graphicFrameChg chg="add del mod ord">
          <ac:chgData name="Kyndal Mayes" userId="142911e9-0388-46d2-be9a-eb7bc2b8ac4b" providerId="ADAL" clId="{29B3924A-0E99-426D-A9EC-E22D7BFBE5E7}" dt="2024-09-27T16:49:56.013" v="60178"/>
          <ac:graphicFrameMkLst>
            <pc:docMk/>
            <pc:sldMk cId="2807376235" sldId="2147481263"/>
            <ac:graphicFrameMk id="507" creationId="{D7B0A067-A1C9-57A4-0317-5F9118295899}"/>
          </ac:graphicFrameMkLst>
        </pc:graphicFrameChg>
        <pc:graphicFrameChg chg="add del mod ord">
          <ac:chgData name="Kyndal Mayes" userId="142911e9-0388-46d2-be9a-eb7bc2b8ac4b" providerId="ADAL" clId="{29B3924A-0E99-426D-A9EC-E22D7BFBE5E7}" dt="2024-09-27T16:49:57.029" v="60489"/>
          <ac:graphicFrameMkLst>
            <pc:docMk/>
            <pc:sldMk cId="2807376235" sldId="2147481263"/>
            <ac:graphicFrameMk id="509" creationId="{376BDEDC-26FF-1C9C-26C1-59DD2AB5D8FA}"/>
          </ac:graphicFrameMkLst>
        </pc:graphicFrameChg>
        <pc:graphicFrameChg chg="add del mod ord">
          <ac:chgData name="Kyndal Mayes" userId="142911e9-0388-46d2-be9a-eb7bc2b8ac4b" providerId="ADAL" clId="{29B3924A-0E99-426D-A9EC-E22D7BFBE5E7}" dt="2024-09-27T16:49:57.668" v="60794"/>
          <ac:graphicFrameMkLst>
            <pc:docMk/>
            <pc:sldMk cId="2807376235" sldId="2147481263"/>
            <ac:graphicFrameMk id="511" creationId="{FCF4D68C-4A95-6617-0545-8A084BD81A5F}"/>
          </ac:graphicFrameMkLst>
        </pc:graphicFrameChg>
        <pc:graphicFrameChg chg="add del mod ord">
          <ac:chgData name="Kyndal Mayes" userId="142911e9-0388-46d2-be9a-eb7bc2b8ac4b" providerId="ADAL" clId="{29B3924A-0E99-426D-A9EC-E22D7BFBE5E7}" dt="2024-09-27T16:49:58.892" v="61105"/>
          <ac:graphicFrameMkLst>
            <pc:docMk/>
            <pc:sldMk cId="2807376235" sldId="2147481263"/>
            <ac:graphicFrameMk id="513" creationId="{345812EB-1992-04E3-AE41-15A7089C9F58}"/>
          </ac:graphicFrameMkLst>
        </pc:graphicFrameChg>
        <pc:graphicFrameChg chg="add del mod ord">
          <ac:chgData name="Kyndal Mayes" userId="142911e9-0388-46d2-be9a-eb7bc2b8ac4b" providerId="ADAL" clId="{29B3924A-0E99-426D-A9EC-E22D7BFBE5E7}" dt="2024-09-27T16:50:00.046" v="61467"/>
          <ac:graphicFrameMkLst>
            <pc:docMk/>
            <pc:sldMk cId="2807376235" sldId="2147481263"/>
            <ac:graphicFrameMk id="515" creationId="{BF7F4811-7235-A8EA-3CC5-580C1190B229}"/>
          </ac:graphicFrameMkLst>
        </pc:graphicFrameChg>
        <pc:graphicFrameChg chg="add del mod ord">
          <ac:chgData name="Kyndal Mayes" userId="142911e9-0388-46d2-be9a-eb7bc2b8ac4b" providerId="ADAL" clId="{29B3924A-0E99-426D-A9EC-E22D7BFBE5E7}" dt="2024-09-27T16:50:01.740" v="61780"/>
          <ac:graphicFrameMkLst>
            <pc:docMk/>
            <pc:sldMk cId="2807376235" sldId="2147481263"/>
            <ac:graphicFrameMk id="518" creationId="{4FB6FCA2-D582-A87A-3C60-5BC5914CBB79}"/>
          </ac:graphicFrameMkLst>
        </pc:graphicFrameChg>
        <pc:graphicFrameChg chg="add del mod ord">
          <ac:chgData name="Kyndal Mayes" userId="142911e9-0388-46d2-be9a-eb7bc2b8ac4b" providerId="ADAL" clId="{29B3924A-0E99-426D-A9EC-E22D7BFBE5E7}" dt="2024-09-27T16:50:06.191" v="62088"/>
          <ac:graphicFrameMkLst>
            <pc:docMk/>
            <pc:sldMk cId="2807376235" sldId="2147481263"/>
            <ac:graphicFrameMk id="520" creationId="{D1A34037-1D8B-D39E-301F-80BEEEF4A153}"/>
          </ac:graphicFrameMkLst>
        </pc:graphicFrameChg>
        <pc:graphicFrameChg chg="add del mod ord">
          <ac:chgData name="Kyndal Mayes" userId="142911e9-0388-46d2-be9a-eb7bc2b8ac4b" providerId="ADAL" clId="{29B3924A-0E99-426D-A9EC-E22D7BFBE5E7}" dt="2024-09-27T16:50:08.265" v="62404"/>
          <ac:graphicFrameMkLst>
            <pc:docMk/>
            <pc:sldMk cId="2807376235" sldId="2147481263"/>
            <ac:graphicFrameMk id="522" creationId="{29136D60-345B-902C-07FE-7EC88CD8E921}"/>
          </ac:graphicFrameMkLst>
        </pc:graphicFrameChg>
        <pc:graphicFrameChg chg="add del mod ord">
          <ac:chgData name="Kyndal Mayes" userId="142911e9-0388-46d2-be9a-eb7bc2b8ac4b" providerId="ADAL" clId="{29B3924A-0E99-426D-A9EC-E22D7BFBE5E7}" dt="2024-09-27T16:50:08.937" v="62717"/>
          <ac:graphicFrameMkLst>
            <pc:docMk/>
            <pc:sldMk cId="2807376235" sldId="2147481263"/>
            <ac:graphicFrameMk id="524" creationId="{411A693B-B928-1D2E-2F01-31610DC204A8}"/>
          </ac:graphicFrameMkLst>
        </pc:graphicFrameChg>
        <pc:graphicFrameChg chg="add del mod ord">
          <ac:chgData name="Kyndal Mayes" userId="142911e9-0388-46d2-be9a-eb7bc2b8ac4b" providerId="ADAL" clId="{29B3924A-0E99-426D-A9EC-E22D7BFBE5E7}" dt="2024-09-27T16:50:11.857" v="63025"/>
          <ac:graphicFrameMkLst>
            <pc:docMk/>
            <pc:sldMk cId="2807376235" sldId="2147481263"/>
            <ac:graphicFrameMk id="526" creationId="{E8C648F4-7F29-8385-6770-94A8134A75AB}"/>
          </ac:graphicFrameMkLst>
        </pc:graphicFrameChg>
        <pc:graphicFrameChg chg="add del mod ord">
          <ac:chgData name="Kyndal Mayes" userId="142911e9-0388-46d2-be9a-eb7bc2b8ac4b" providerId="ADAL" clId="{29B3924A-0E99-426D-A9EC-E22D7BFBE5E7}" dt="2024-09-27T17:51:10.022" v="71863"/>
          <ac:graphicFrameMkLst>
            <pc:docMk/>
            <pc:sldMk cId="2807376235" sldId="2147481263"/>
            <ac:graphicFrameMk id="528" creationId="{009EC12B-6B61-912A-C914-6F15C951CAD2}"/>
          </ac:graphicFrameMkLst>
        </pc:graphicFrameChg>
        <pc:graphicFrameChg chg="add del mod ord">
          <ac:chgData name="Kyndal Mayes" userId="142911e9-0388-46d2-be9a-eb7bc2b8ac4b" providerId="ADAL" clId="{29B3924A-0E99-426D-A9EC-E22D7BFBE5E7}" dt="2024-09-27T17:50:24.255" v="63694"/>
          <ac:graphicFrameMkLst>
            <pc:docMk/>
            <pc:sldMk cId="2807376235" sldId="2147481263"/>
            <ac:graphicFrameMk id="530" creationId="{F7B27135-3006-8A48-F888-87BE3298097B}"/>
          </ac:graphicFrameMkLst>
        </pc:graphicFrameChg>
        <pc:graphicFrameChg chg="add del mod ord">
          <ac:chgData name="Kyndal Mayes" userId="142911e9-0388-46d2-be9a-eb7bc2b8ac4b" providerId="ADAL" clId="{29B3924A-0E99-426D-A9EC-E22D7BFBE5E7}" dt="2024-09-27T17:50:25.485" v="63998"/>
          <ac:graphicFrameMkLst>
            <pc:docMk/>
            <pc:sldMk cId="2807376235" sldId="2147481263"/>
            <ac:graphicFrameMk id="532" creationId="{BDA91B4C-779F-C659-3E54-941E4CBCCB54}"/>
          </ac:graphicFrameMkLst>
        </pc:graphicFrameChg>
        <pc:graphicFrameChg chg="add del mod ord">
          <ac:chgData name="Kyndal Mayes" userId="142911e9-0388-46d2-be9a-eb7bc2b8ac4b" providerId="ADAL" clId="{29B3924A-0E99-426D-A9EC-E22D7BFBE5E7}" dt="2024-09-27T17:50:26.387" v="64300"/>
          <ac:graphicFrameMkLst>
            <pc:docMk/>
            <pc:sldMk cId="2807376235" sldId="2147481263"/>
            <ac:graphicFrameMk id="534" creationId="{8250CE73-99AA-3154-EBD6-C03FEA492C35}"/>
          </ac:graphicFrameMkLst>
        </pc:graphicFrameChg>
        <pc:graphicFrameChg chg="add del mod ord">
          <ac:chgData name="Kyndal Mayes" userId="142911e9-0388-46d2-be9a-eb7bc2b8ac4b" providerId="ADAL" clId="{29B3924A-0E99-426D-A9EC-E22D7BFBE5E7}" dt="2024-09-27T17:50:27.539" v="64600"/>
          <ac:graphicFrameMkLst>
            <pc:docMk/>
            <pc:sldMk cId="2807376235" sldId="2147481263"/>
            <ac:graphicFrameMk id="536" creationId="{17128260-B62F-7074-8291-6AAA1FEC8A1C}"/>
          </ac:graphicFrameMkLst>
        </pc:graphicFrameChg>
        <pc:graphicFrameChg chg="add del mod ord">
          <ac:chgData name="Kyndal Mayes" userId="142911e9-0388-46d2-be9a-eb7bc2b8ac4b" providerId="ADAL" clId="{29B3924A-0E99-426D-A9EC-E22D7BFBE5E7}" dt="2024-09-27T17:50:29.003" v="64947"/>
          <ac:graphicFrameMkLst>
            <pc:docMk/>
            <pc:sldMk cId="2807376235" sldId="2147481263"/>
            <ac:graphicFrameMk id="538" creationId="{CB84D577-1D9E-2882-2568-2702CEC477DD}"/>
          </ac:graphicFrameMkLst>
        </pc:graphicFrameChg>
        <pc:graphicFrameChg chg="add del mod ord">
          <ac:chgData name="Kyndal Mayes" userId="142911e9-0388-46d2-be9a-eb7bc2b8ac4b" providerId="ADAL" clId="{29B3924A-0E99-426D-A9EC-E22D7BFBE5E7}" dt="2024-09-27T17:50:30.579" v="65247"/>
          <ac:graphicFrameMkLst>
            <pc:docMk/>
            <pc:sldMk cId="2807376235" sldId="2147481263"/>
            <ac:graphicFrameMk id="540" creationId="{6FC2E0E8-9FAB-44E8-96BA-32F00AACF25E}"/>
          </ac:graphicFrameMkLst>
        </pc:graphicFrameChg>
        <pc:graphicFrameChg chg="add del mod ord">
          <ac:chgData name="Kyndal Mayes" userId="142911e9-0388-46d2-be9a-eb7bc2b8ac4b" providerId="ADAL" clId="{29B3924A-0E99-426D-A9EC-E22D7BFBE5E7}" dt="2024-09-27T17:50:30.877" v="65545"/>
          <ac:graphicFrameMkLst>
            <pc:docMk/>
            <pc:sldMk cId="2807376235" sldId="2147481263"/>
            <ac:graphicFrameMk id="542" creationId="{5756B22D-169A-E93B-C80F-5C860EE44DE9}"/>
          </ac:graphicFrameMkLst>
        </pc:graphicFrameChg>
        <pc:graphicFrameChg chg="add del mod ord">
          <ac:chgData name="Kyndal Mayes" userId="142911e9-0388-46d2-be9a-eb7bc2b8ac4b" providerId="ADAL" clId="{29B3924A-0E99-426D-A9EC-E22D7BFBE5E7}" dt="2024-09-27T17:50:32.180" v="65841"/>
          <ac:graphicFrameMkLst>
            <pc:docMk/>
            <pc:sldMk cId="2807376235" sldId="2147481263"/>
            <ac:graphicFrameMk id="544" creationId="{937FE546-09B4-B09E-B74E-F8459492BD00}"/>
          </ac:graphicFrameMkLst>
        </pc:graphicFrameChg>
        <pc:graphicFrameChg chg="add del mod ord">
          <ac:chgData name="Kyndal Mayes" userId="142911e9-0388-46d2-be9a-eb7bc2b8ac4b" providerId="ADAL" clId="{29B3924A-0E99-426D-A9EC-E22D7BFBE5E7}" dt="2024-09-27T17:50:33.373" v="66170"/>
          <ac:graphicFrameMkLst>
            <pc:docMk/>
            <pc:sldMk cId="2807376235" sldId="2147481263"/>
            <ac:graphicFrameMk id="546" creationId="{B2E76062-1D64-B114-17EB-5BF1BB4DDCCF}"/>
          </ac:graphicFrameMkLst>
        </pc:graphicFrameChg>
        <pc:graphicFrameChg chg="add del mod ord">
          <ac:chgData name="Kyndal Mayes" userId="142911e9-0388-46d2-be9a-eb7bc2b8ac4b" providerId="ADAL" clId="{29B3924A-0E99-426D-A9EC-E22D7BFBE5E7}" dt="2024-09-27T17:50:34.616" v="66466"/>
          <ac:graphicFrameMkLst>
            <pc:docMk/>
            <pc:sldMk cId="2807376235" sldId="2147481263"/>
            <ac:graphicFrameMk id="548" creationId="{54088562-F518-FBC4-2647-C99BE94176CB}"/>
          </ac:graphicFrameMkLst>
        </pc:graphicFrameChg>
        <pc:graphicFrameChg chg="add del mod ord">
          <ac:chgData name="Kyndal Mayes" userId="142911e9-0388-46d2-be9a-eb7bc2b8ac4b" providerId="ADAL" clId="{29B3924A-0E99-426D-A9EC-E22D7BFBE5E7}" dt="2024-09-27T17:50:36.002" v="66786"/>
          <ac:graphicFrameMkLst>
            <pc:docMk/>
            <pc:sldMk cId="2807376235" sldId="2147481263"/>
            <ac:graphicFrameMk id="550" creationId="{73C62EAF-AB2B-A5B7-A1EE-98AAF6A8777D}"/>
          </ac:graphicFrameMkLst>
        </pc:graphicFrameChg>
        <pc:graphicFrameChg chg="add del mod ord">
          <ac:chgData name="Kyndal Mayes" userId="142911e9-0388-46d2-be9a-eb7bc2b8ac4b" providerId="ADAL" clId="{29B3924A-0E99-426D-A9EC-E22D7BFBE5E7}" dt="2024-09-27T17:50:37.517" v="67080"/>
          <ac:graphicFrameMkLst>
            <pc:docMk/>
            <pc:sldMk cId="2807376235" sldId="2147481263"/>
            <ac:graphicFrameMk id="552" creationId="{63B0D0CC-1C14-A669-6561-2190761EB6AF}"/>
          </ac:graphicFrameMkLst>
        </pc:graphicFrameChg>
        <pc:graphicFrameChg chg="add del mod ord">
          <ac:chgData name="Kyndal Mayes" userId="142911e9-0388-46d2-be9a-eb7bc2b8ac4b" providerId="ADAL" clId="{29B3924A-0E99-426D-A9EC-E22D7BFBE5E7}" dt="2024-09-27T17:50:38.809" v="67372"/>
          <ac:graphicFrameMkLst>
            <pc:docMk/>
            <pc:sldMk cId="2807376235" sldId="2147481263"/>
            <ac:graphicFrameMk id="554" creationId="{B18BC817-C4F4-7446-B6E8-993F3BCC1E86}"/>
          </ac:graphicFrameMkLst>
        </pc:graphicFrameChg>
        <pc:graphicFrameChg chg="add del mod ord">
          <ac:chgData name="Kyndal Mayes" userId="142911e9-0388-46d2-be9a-eb7bc2b8ac4b" providerId="ADAL" clId="{29B3924A-0E99-426D-A9EC-E22D7BFBE5E7}" dt="2024-09-27T17:50:40.902" v="67683"/>
          <ac:graphicFrameMkLst>
            <pc:docMk/>
            <pc:sldMk cId="2807376235" sldId="2147481263"/>
            <ac:graphicFrameMk id="556" creationId="{E532F53C-7069-4D26-E40A-61D1C7B73DEE}"/>
          </ac:graphicFrameMkLst>
        </pc:graphicFrameChg>
        <pc:graphicFrameChg chg="add del mod ord">
          <ac:chgData name="Kyndal Mayes" userId="142911e9-0388-46d2-be9a-eb7bc2b8ac4b" providerId="ADAL" clId="{29B3924A-0E99-426D-A9EC-E22D7BFBE5E7}" dt="2024-09-27T17:50:48.749" v="67975"/>
          <ac:graphicFrameMkLst>
            <pc:docMk/>
            <pc:sldMk cId="2807376235" sldId="2147481263"/>
            <ac:graphicFrameMk id="558" creationId="{97915ACA-1443-D7A6-D7D9-C775AE8CE037}"/>
          </ac:graphicFrameMkLst>
        </pc:graphicFrameChg>
        <pc:graphicFrameChg chg="add del mod ord">
          <ac:chgData name="Kyndal Mayes" userId="142911e9-0388-46d2-be9a-eb7bc2b8ac4b" providerId="ADAL" clId="{29B3924A-0E99-426D-A9EC-E22D7BFBE5E7}" dt="2024-09-27T17:50:49.095" v="68329"/>
          <ac:graphicFrameMkLst>
            <pc:docMk/>
            <pc:sldMk cId="2807376235" sldId="2147481263"/>
            <ac:graphicFrameMk id="560" creationId="{B506704B-F28A-B523-F90E-463E85D2C746}"/>
          </ac:graphicFrameMkLst>
        </pc:graphicFrameChg>
        <pc:graphicFrameChg chg="add del mod ord">
          <ac:chgData name="Kyndal Mayes" userId="142911e9-0388-46d2-be9a-eb7bc2b8ac4b" providerId="ADAL" clId="{29B3924A-0E99-426D-A9EC-E22D7BFBE5E7}" dt="2024-09-27T17:51:48.142" v="80182"/>
          <ac:graphicFrameMkLst>
            <pc:docMk/>
            <pc:sldMk cId="2807376235" sldId="2147481263"/>
            <ac:graphicFrameMk id="562" creationId="{09DE416B-B3E8-6476-BFED-21808F75FB80}"/>
          </ac:graphicFrameMkLst>
        </pc:graphicFrameChg>
        <pc:graphicFrameChg chg="add del mod ord">
          <ac:chgData name="Kyndal Mayes" userId="142911e9-0388-46d2-be9a-eb7bc2b8ac4b" providerId="ADAL" clId="{29B3924A-0E99-426D-A9EC-E22D7BFBE5E7}" dt="2024-09-27T17:50:53.568" v="68951"/>
          <ac:graphicFrameMkLst>
            <pc:docMk/>
            <pc:sldMk cId="2807376235" sldId="2147481263"/>
            <ac:graphicFrameMk id="564" creationId="{AC66BCE8-A276-6732-DBA0-E9CB953CDD20}"/>
          </ac:graphicFrameMkLst>
        </pc:graphicFrameChg>
        <pc:graphicFrameChg chg="add del mod ord">
          <ac:chgData name="Kyndal Mayes" userId="142911e9-0388-46d2-be9a-eb7bc2b8ac4b" providerId="ADAL" clId="{29B3924A-0E99-426D-A9EC-E22D7BFBE5E7}" dt="2024-09-27T17:50:54.733" v="69242"/>
          <ac:graphicFrameMkLst>
            <pc:docMk/>
            <pc:sldMk cId="2807376235" sldId="2147481263"/>
            <ac:graphicFrameMk id="566" creationId="{B3E8A094-3BAB-FBD3-43B6-867BE1330E59}"/>
          </ac:graphicFrameMkLst>
        </pc:graphicFrameChg>
        <pc:graphicFrameChg chg="add del mod ord">
          <ac:chgData name="Kyndal Mayes" userId="142911e9-0388-46d2-be9a-eb7bc2b8ac4b" providerId="ADAL" clId="{29B3924A-0E99-426D-A9EC-E22D7BFBE5E7}" dt="2024-09-27T17:50:55.820" v="69531"/>
          <ac:graphicFrameMkLst>
            <pc:docMk/>
            <pc:sldMk cId="2807376235" sldId="2147481263"/>
            <ac:graphicFrameMk id="568" creationId="{39893E69-E917-992E-3AE2-D69DA8EDF676}"/>
          </ac:graphicFrameMkLst>
        </pc:graphicFrameChg>
        <pc:graphicFrameChg chg="add del mod ord">
          <ac:chgData name="Kyndal Mayes" userId="142911e9-0388-46d2-be9a-eb7bc2b8ac4b" providerId="ADAL" clId="{29B3924A-0E99-426D-A9EC-E22D7BFBE5E7}" dt="2024-09-27T17:50:57.109" v="69818"/>
          <ac:graphicFrameMkLst>
            <pc:docMk/>
            <pc:sldMk cId="2807376235" sldId="2147481263"/>
            <ac:graphicFrameMk id="570" creationId="{B70F5B2A-7741-7EFE-F588-DBB77BAD993B}"/>
          </ac:graphicFrameMkLst>
        </pc:graphicFrameChg>
        <pc:graphicFrameChg chg="add del mod ord">
          <ac:chgData name="Kyndal Mayes" userId="142911e9-0388-46d2-be9a-eb7bc2b8ac4b" providerId="ADAL" clId="{29B3924A-0E99-426D-A9EC-E22D7BFBE5E7}" dt="2024-09-27T17:50:58.604" v="70131"/>
          <ac:graphicFrameMkLst>
            <pc:docMk/>
            <pc:sldMk cId="2807376235" sldId="2147481263"/>
            <ac:graphicFrameMk id="572" creationId="{DF6FE78B-10BB-239F-0ECA-32A09243637B}"/>
          </ac:graphicFrameMkLst>
        </pc:graphicFrameChg>
        <pc:graphicFrameChg chg="add del mod ord">
          <ac:chgData name="Kyndal Mayes" userId="142911e9-0388-46d2-be9a-eb7bc2b8ac4b" providerId="ADAL" clId="{29B3924A-0E99-426D-A9EC-E22D7BFBE5E7}" dt="2024-09-27T17:50:59.926" v="70418"/>
          <ac:graphicFrameMkLst>
            <pc:docMk/>
            <pc:sldMk cId="2807376235" sldId="2147481263"/>
            <ac:graphicFrameMk id="574" creationId="{7EC0EAE9-800F-30BD-1035-489EB14A78D8}"/>
          </ac:graphicFrameMkLst>
        </pc:graphicFrameChg>
        <pc:graphicFrameChg chg="add del mod ord">
          <ac:chgData name="Kyndal Mayes" userId="142911e9-0388-46d2-be9a-eb7bc2b8ac4b" providerId="ADAL" clId="{29B3924A-0E99-426D-A9EC-E22D7BFBE5E7}" dt="2024-09-27T17:51:00.289" v="70703"/>
          <ac:graphicFrameMkLst>
            <pc:docMk/>
            <pc:sldMk cId="2807376235" sldId="2147481263"/>
            <ac:graphicFrameMk id="576" creationId="{A5648A15-A69A-B341-01A5-6D752D179435}"/>
          </ac:graphicFrameMkLst>
        </pc:graphicFrameChg>
        <pc:graphicFrameChg chg="add del mod ord">
          <ac:chgData name="Kyndal Mayes" userId="142911e9-0388-46d2-be9a-eb7bc2b8ac4b" providerId="ADAL" clId="{29B3924A-0E99-426D-A9EC-E22D7BFBE5E7}" dt="2024-09-27T17:51:01.694" v="70986"/>
          <ac:graphicFrameMkLst>
            <pc:docMk/>
            <pc:sldMk cId="2807376235" sldId="2147481263"/>
            <ac:graphicFrameMk id="578" creationId="{C4D17917-7A2F-92CB-E13D-90A7BAF56252}"/>
          </ac:graphicFrameMkLst>
        </pc:graphicFrameChg>
        <pc:graphicFrameChg chg="add del mod ord">
          <ac:chgData name="Kyndal Mayes" userId="142911e9-0388-46d2-be9a-eb7bc2b8ac4b" providerId="ADAL" clId="{29B3924A-0E99-426D-A9EC-E22D7BFBE5E7}" dt="2024-09-27T17:51:02.907" v="71277"/>
          <ac:graphicFrameMkLst>
            <pc:docMk/>
            <pc:sldMk cId="2807376235" sldId="2147481263"/>
            <ac:graphicFrameMk id="580" creationId="{984885E4-D38A-7869-C780-65B8C037C9FA}"/>
          </ac:graphicFrameMkLst>
        </pc:graphicFrameChg>
        <pc:graphicFrameChg chg="add del mod ord">
          <ac:chgData name="Kyndal Mayes" userId="142911e9-0388-46d2-be9a-eb7bc2b8ac4b" providerId="ADAL" clId="{29B3924A-0E99-426D-A9EC-E22D7BFBE5E7}" dt="2024-09-27T17:51:08.396" v="71568"/>
          <ac:graphicFrameMkLst>
            <pc:docMk/>
            <pc:sldMk cId="2807376235" sldId="2147481263"/>
            <ac:graphicFrameMk id="582" creationId="{32321731-0586-1555-7DEF-9386381D92CD}"/>
          </ac:graphicFrameMkLst>
        </pc:graphicFrameChg>
        <pc:graphicFrameChg chg="add del mod ord">
          <ac:chgData name="Kyndal Mayes" userId="142911e9-0388-46d2-be9a-eb7bc2b8ac4b" providerId="ADAL" clId="{29B3924A-0E99-426D-A9EC-E22D7BFBE5E7}" dt="2024-09-27T17:52:06.412" v="80749"/>
          <ac:graphicFrameMkLst>
            <pc:docMk/>
            <pc:sldMk cId="2807376235" sldId="2147481263"/>
            <ac:graphicFrameMk id="584" creationId="{113F624F-446E-7EAD-8B92-0043B2E8DDCD}"/>
          </ac:graphicFrameMkLst>
        </pc:graphicFrameChg>
        <pc:graphicFrameChg chg="add del mod ord">
          <ac:chgData name="Kyndal Mayes" userId="142911e9-0388-46d2-be9a-eb7bc2b8ac4b" providerId="ADAL" clId="{29B3924A-0E99-426D-A9EC-E22D7BFBE5E7}" dt="2024-09-27T17:51:11.503" v="72233"/>
          <ac:graphicFrameMkLst>
            <pc:docMk/>
            <pc:sldMk cId="2807376235" sldId="2147481263"/>
            <ac:graphicFrameMk id="586" creationId="{463D87A2-FB63-200A-66A0-0B7F91511EBB}"/>
          </ac:graphicFrameMkLst>
        </pc:graphicFrameChg>
        <pc:graphicFrameChg chg="add del mod ord">
          <ac:chgData name="Kyndal Mayes" userId="142911e9-0388-46d2-be9a-eb7bc2b8ac4b" providerId="ADAL" clId="{29B3924A-0E99-426D-A9EC-E22D7BFBE5E7}" dt="2024-09-27T17:51:12.529" v="72528"/>
          <ac:graphicFrameMkLst>
            <pc:docMk/>
            <pc:sldMk cId="2807376235" sldId="2147481263"/>
            <ac:graphicFrameMk id="588" creationId="{9AE08515-F6DE-F87A-8792-B7B36A6444E0}"/>
          </ac:graphicFrameMkLst>
        </pc:graphicFrameChg>
        <pc:graphicFrameChg chg="add del mod ord">
          <ac:chgData name="Kyndal Mayes" userId="142911e9-0388-46d2-be9a-eb7bc2b8ac4b" providerId="ADAL" clId="{29B3924A-0E99-426D-A9EC-E22D7BFBE5E7}" dt="2024-09-27T17:51:14.090" v="72821"/>
          <ac:graphicFrameMkLst>
            <pc:docMk/>
            <pc:sldMk cId="2807376235" sldId="2147481263"/>
            <ac:graphicFrameMk id="590" creationId="{709882DA-BA66-57E7-7BDC-26F3D96A3B81}"/>
          </ac:graphicFrameMkLst>
        </pc:graphicFrameChg>
        <pc:graphicFrameChg chg="add del mod ord">
          <ac:chgData name="Kyndal Mayes" userId="142911e9-0388-46d2-be9a-eb7bc2b8ac4b" providerId="ADAL" clId="{29B3924A-0E99-426D-A9EC-E22D7BFBE5E7}" dt="2024-09-27T17:51:15.724" v="73114"/>
          <ac:graphicFrameMkLst>
            <pc:docMk/>
            <pc:sldMk cId="2807376235" sldId="2147481263"/>
            <ac:graphicFrameMk id="592" creationId="{1E74DE82-8274-CD2B-4489-8A617A1F75F0}"/>
          </ac:graphicFrameMkLst>
        </pc:graphicFrameChg>
        <pc:graphicFrameChg chg="add del mod ord">
          <ac:chgData name="Kyndal Mayes" userId="142911e9-0388-46d2-be9a-eb7bc2b8ac4b" providerId="ADAL" clId="{29B3924A-0E99-426D-A9EC-E22D7BFBE5E7}" dt="2024-09-27T17:51:17.366" v="73407"/>
          <ac:graphicFrameMkLst>
            <pc:docMk/>
            <pc:sldMk cId="2807376235" sldId="2147481263"/>
            <ac:graphicFrameMk id="594" creationId="{C42592E1-23C1-A956-FA12-9424CD2B2C2E}"/>
          </ac:graphicFrameMkLst>
        </pc:graphicFrameChg>
        <pc:graphicFrameChg chg="add del mod ord">
          <ac:chgData name="Kyndal Mayes" userId="142911e9-0388-46d2-be9a-eb7bc2b8ac4b" providerId="ADAL" clId="{29B3924A-0E99-426D-A9EC-E22D7BFBE5E7}" dt="2024-09-27T17:51:18.517" v="73768"/>
          <ac:graphicFrameMkLst>
            <pc:docMk/>
            <pc:sldMk cId="2807376235" sldId="2147481263"/>
            <ac:graphicFrameMk id="596" creationId="{05F11821-FB54-24BB-DDED-B0DE46F1B1DC}"/>
          </ac:graphicFrameMkLst>
        </pc:graphicFrameChg>
        <pc:graphicFrameChg chg="add del mod ord">
          <ac:chgData name="Kyndal Mayes" userId="142911e9-0388-46d2-be9a-eb7bc2b8ac4b" providerId="ADAL" clId="{29B3924A-0E99-426D-A9EC-E22D7BFBE5E7}" dt="2024-09-27T17:51:19.525" v="74061"/>
          <ac:graphicFrameMkLst>
            <pc:docMk/>
            <pc:sldMk cId="2807376235" sldId="2147481263"/>
            <ac:graphicFrameMk id="598" creationId="{D8A3291B-65B1-02A4-1BB7-6FE050DB50C9}"/>
          </ac:graphicFrameMkLst>
        </pc:graphicFrameChg>
        <pc:graphicFrameChg chg="add del mod ord">
          <ac:chgData name="Kyndal Mayes" userId="142911e9-0388-46d2-be9a-eb7bc2b8ac4b" providerId="ADAL" clId="{29B3924A-0E99-426D-A9EC-E22D7BFBE5E7}" dt="2024-09-27T17:51:20.625" v="74352"/>
          <ac:graphicFrameMkLst>
            <pc:docMk/>
            <pc:sldMk cId="2807376235" sldId="2147481263"/>
            <ac:graphicFrameMk id="600" creationId="{FB1AD470-F76F-DC0D-E154-E56B0B6E4444}"/>
          </ac:graphicFrameMkLst>
        </pc:graphicFrameChg>
        <pc:graphicFrameChg chg="add del mod ord">
          <ac:chgData name="Kyndal Mayes" userId="142911e9-0388-46d2-be9a-eb7bc2b8ac4b" providerId="ADAL" clId="{29B3924A-0E99-426D-A9EC-E22D7BFBE5E7}" dt="2024-09-27T17:51:21.630" v="74704"/>
          <ac:graphicFrameMkLst>
            <pc:docMk/>
            <pc:sldMk cId="2807376235" sldId="2147481263"/>
            <ac:graphicFrameMk id="602" creationId="{5A6D3CF3-C06C-D1FD-8465-3560DA4EB12E}"/>
          </ac:graphicFrameMkLst>
        </pc:graphicFrameChg>
        <pc:graphicFrameChg chg="add del mod ord">
          <ac:chgData name="Kyndal Mayes" userId="142911e9-0388-46d2-be9a-eb7bc2b8ac4b" providerId="ADAL" clId="{29B3924A-0E99-426D-A9EC-E22D7BFBE5E7}" dt="2024-09-27T17:51:22.666" v="75056"/>
          <ac:graphicFrameMkLst>
            <pc:docMk/>
            <pc:sldMk cId="2807376235" sldId="2147481263"/>
            <ac:graphicFrameMk id="604" creationId="{BFE7C06B-81E6-5246-B010-278C4D5036E3}"/>
          </ac:graphicFrameMkLst>
        </pc:graphicFrameChg>
        <pc:graphicFrameChg chg="add del mod ord">
          <ac:chgData name="Kyndal Mayes" userId="142911e9-0388-46d2-be9a-eb7bc2b8ac4b" providerId="ADAL" clId="{29B3924A-0E99-426D-A9EC-E22D7BFBE5E7}" dt="2024-09-27T17:51:23.843" v="75347"/>
          <ac:graphicFrameMkLst>
            <pc:docMk/>
            <pc:sldMk cId="2807376235" sldId="2147481263"/>
            <ac:graphicFrameMk id="606" creationId="{ED6B8F73-DD3E-557B-B39A-01A9E52BA0F7}"/>
          </ac:graphicFrameMkLst>
        </pc:graphicFrameChg>
        <pc:graphicFrameChg chg="add del mod ord">
          <ac:chgData name="Kyndal Mayes" userId="142911e9-0388-46d2-be9a-eb7bc2b8ac4b" providerId="ADAL" clId="{29B3924A-0E99-426D-A9EC-E22D7BFBE5E7}" dt="2024-09-27T17:51:24.883" v="75636"/>
          <ac:graphicFrameMkLst>
            <pc:docMk/>
            <pc:sldMk cId="2807376235" sldId="2147481263"/>
            <ac:graphicFrameMk id="608" creationId="{A183152B-FB77-D4F7-770A-3BAF05D2D5F8}"/>
          </ac:graphicFrameMkLst>
        </pc:graphicFrameChg>
        <pc:graphicFrameChg chg="add del mod ord">
          <ac:chgData name="Kyndal Mayes" userId="142911e9-0388-46d2-be9a-eb7bc2b8ac4b" providerId="ADAL" clId="{29B3924A-0E99-426D-A9EC-E22D7BFBE5E7}" dt="2024-09-27T17:51:26.182" v="75979"/>
          <ac:graphicFrameMkLst>
            <pc:docMk/>
            <pc:sldMk cId="2807376235" sldId="2147481263"/>
            <ac:graphicFrameMk id="610" creationId="{8DA9FCD3-2C30-7AA2-757D-3593A38254A4}"/>
          </ac:graphicFrameMkLst>
        </pc:graphicFrameChg>
        <pc:graphicFrameChg chg="add del mod ord">
          <ac:chgData name="Kyndal Mayes" userId="142911e9-0388-46d2-be9a-eb7bc2b8ac4b" providerId="ADAL" clId="{29B3924A-0E99-426D-A9EC-E22D7BFBE5E7}" dt="2024-09-27T17:51:27.296" v="76268"/>
          <ac:graphicFrameMkLst>
            <pc:docMk/>
            <pc:sldMk cId="2807376235" sldId="2147481263"/>
            <ac:graphicFrameMk id="612" creationId="{D0657BC1-EF31-80F3-CC36-28714AA9B2C3}"/>
          </ac:graphicFrameMkLst>
        </pc:graphicFrameChg>
        <pc:graphicFrameChg chg="add del mod ord">
          <ac:chgData name="Kyndal Mayes" userId="142911e9-0388-46d2-be9a-eb7bc2b8ac4b" providerId="ADAL" clId="{29B3924A-0E99-426D-A9EC-E22D7BFBE5E7}" dt="2024-09-27T17:51:27.578" v="76555"/>
          <ac:graphicFrameMkLst>
            <pc:docMk/>
            <pc:sldMk cId="2807376235" sldId="2147481263"/>
            <ac:graphicFrameMk id="614" creationId="{87C624A4-356A-3B6C-8754-7A4E0C88133E}"/>
          </ac:graphicFrameMkLst>
        </pc:graphicFrameChg>
        <pc:graphicFrameChg chg="add del mod ord">
          <ac:chgData name="Kyndal Mayes" userId="142911e9-0388-46d2-be9a-eb7bc2b8ac4b" providerId="ADAL" clId="{29B3924A-0E99-426D-A9EC-E22D7BFBE5E7}" dt="2024-09-27T17:51:28.662" v="76840"/>
          <ac:graphicFrameMkLst>
            <pc:docMk/>
            <pc:sldMk cId="2807376235" sldId="2147481263"/>
            <ac:graphicFrameMk id="616" creationId="{3AA49118-E57D-D48E-6702-67DD5B33EAD1}"/>
          </ac:graphicFrameMkLst>
        </pc:graphicFrameChg>
        <pc:graphicFrameChg chg="add del mod ord">
          <ac:chgData name="Kyndal Mayes" userId="142911e9-0388-46d2-be9a-eb7bc2b8ac4b" providerId="ADAL" clId="{29B3924A-0E99-426D-A9EC-E22D7BFBE5E7}" dt="2024-09-27T17:51:29.809" v="77165"/>
          <ac:graphicFrameMkLst>
            <pc:docMk/>
            <pc:sldMk cId="2807376235" sldId="2147481263"/>
            <ac:graphicFrameMk id="618" creationId="{5E6AEA30-13A6-83D9-7854-81FD282A2B95}"/>
          </ac:graphicFrameMkLst>
        </pc:graphicFrameChg>
        <pc:graphicFrameChg chg="add del mod ord">
          <ac:chgData name="Kyndal Mayes" userId="142911e9-0388-46d2-be9a-eb7bc2b8ac4b" providerId="ADAL" clId="{29B3924A-0E99-426D-A9EC-E22D7BFBE5E7}" dt="2024-09-27T17:51:31.871" v="77450"/>
          <ac:graphicFrameMkLst>
            <pc:docMk/>
            <pc:sldMk cId="2807376235" sldId="2147481263"/>
            <ac:graphicFrameMk id="620" creationId="{1F861505-0A19-8933-410A-A02D3D49A6DD}"/>
          </ac:graphicFrameMkLst>
        </pc:graphicFrameChg>
        <pc:graphicFrameChg chg="add del mod ord">
          <ac:chgData name="Kyndal Mayes" userId="142911e9-0388-46d2-be9a-eb7bc2b8ac4b" providerId="ADAL" clId="{29B3924A-0E99-426D-A9EC-E22D7BFBE5E7}" dt="2024-09-27T17:51:32.163" v="77733"/>
          <ac:graphicFrameMkLst>
            <pc:docMk/>
            <pc:sldMk cId="2807376235" sldId="2147481263"/>
            <ac:graphicFrameMk id="622" creationId="{6CF256E3-42D8-E967-15A4-E51F39964D02}"/>
          </ac:graphicFrameMkLst>
        </pc:graphicFrameChg>
        <pc:graphicFrameChg chg="add del mod ord">
          <ac:chgData name="Kyndal Mayes" userId="142911e9-0388-46d2-be9a-eb7bc2b8ac4b" providerId="ADAL" clId="{29B3924A-0E99-426D-A9EC-E22D7BFBE5E7}" dt="2024-09-27T17:51:33.314" v="78014"/>
          <ac:graphicFrameMkLst>
            <pc:docMk/>
            <pc:sldMk cId="2807376235" sldId="2147481263"/>
            <ac:graphicFrameMk id="624" creationId="{70933DE2-DFDD-9361-5267-04AC3A77F34D}"/>
          </ac:graphicFrameMkLst>
        </pc:graphicFrameChg>
        <pc:graphicFrameChg chg="add del mod ord">
          <ac:chgData name="Kyndal Mayes" userId="142911e9-0388-46d2-be9a-eb7bc2b8ac4b" providerId="ADAL" clId="{29B3924A-0E99-426D-A9EC-E22D7BFBE5E7}" dt="2024-09-27T17:51:34.540" v="78321"/>
          <ac:graphicFrameMkLst>
            <pc:docMk/>
            <pc:sldMk cId="2807376235" sldId="2147481263"/>
            <ac:graphicFrameMk id="626" creationId="{C535A529-A5AE-4601-0D93-5DFDEC0258CC}"/>
          </ac:graphicFrameMkLst>
        </pc:graphicFrameChg>
        <pc:graphicFrameChg chg="add del mod ord">
          <ac:chgData name="Kyndal Mayes" userId="142911e9-0388-46d2-be9a-eb7bc2b8ac4b" providerId="ADAL" clId="{29B3924A-0E99-426D-A9EC-E22D7BFBE5E7}" dt="2024-09-27T17:51:36.198" v="78602"/>
          <ac:graphicFrameMkLst>
            <pc:docMk/>
            <pc:sldMk cId="2807376235" sldId="2147481263"/>
            <ac:graphicFrameMk id="628" creationId="{B9DB2536-3BD7-B092-116D-6AD23E9F7A70}"/>
          </ac:graphicFrameMkLst>
        </pc:graphicFrameChg>
        <pc:graphicFrameChg chg="add del mod ord">
          <ac:chgData name="Kyndal Mayes" userId="142911e9-0388-46d2-be9a-eb7bc2b8ac4b" providerId="ADAL" clId="{29B3924A-0E99-426D-A9EC-E22D7BFBE5E7}" dt="2024-09-27T17:51:36.449" v="78881"/>
          <ac:graphicFrameMkLst>
            <pc:docMk/>
            <pc:sldMk cId="2807376235" sldId="2147481263"/>
            <ac:graphicFrameMk id="630" creationId="{B472A20D-B3E3-7467-6AEC-2EBFDFD5261B}"/>
          </ac:graphicFrameMkLst>
        </pc:graphicFrameChg>
        <pc:graphicFrameChg chg="add del mod ord">
          <ac:chgData name="Kyndal Mayes" userId="142911e9-0388-46d2-be9a-eb7bc2b8ac4b" providerId="ADAL" clId="{29B3924A-0E99-426D-A9EC-E22D7BFBE5E7}" dt="2024-09-27T17:51:38.117" v="79158"/>
          <ac:graphicFrameMkLst>
            <pc:docMk/>
            <pc:sldMk cId="2807376235" sldId="2147481263"/>
            <ac:graphicFrameMk id="632" creationId="{4DFED7D6-55FA-20F0-508F-BB5536A43CD6}"/>
          </ac:graphicFrameMkLst>
        </pc:graphicFrameChg>
        <pc:graphicFrameChg chg="add del mod ord">
          <ac:chgData name="Kyndal Mayes" userId="142911e9-0388-46d2-be9a-eb7bc2b8ac4b" providerId="ADAL" clId="{29B3924A-0E99-426D-A9EC-E22D7BFBE5E7}" dt="2024-09-27T17:51:39.286" v="79443"/>
          <ac:graphicFrameMkLst>
            <pc:docMk/>
            <pc:sldMk cId="2807376235" sldId="2147481263"/>
            <ac:graphicFrameMk id="634" creationId="{BF14DB3F-04C1-B277-DABA-36C9CED45E2A}"/>
          </ac:graphicFrameMkLst>
        </pc:graphicFrameChg>
        <pc:graphicFrameChg chg="add del mod ord">
          <ac:chgData name="Kyndal Mayes" userId="142911e9-0388-46d2-be9a-eb7bc2b8ac4b" providerId="ADAL" clId="{29B3924A-0E99-426D-A9EC-E22D7BFBE5E7}" dt="2024-09-27T17:51:40.789" v="79828"/>
          <ac:graphicFrameMkLst>
            <pc:docMk/>
            <pc:sldMk cId="2807376235" sldId="2147481263"/>
            <ac:graphicFrameMk id="636" creationId="{6AD6F210-3262-B79E-49A2-16F4FE9555C4}"/>
          </ac:graphicFrameMkLst>
        </pc:graphicFrameChg>
        <pc:graphicFrameChg chg="add del mod ord">
          <ac:chgData name="Kyndal Mayes" userId="142911e9-0388-46d2-be9a-eb7bc2b8ac4b" providerId="ADAL" clId="{29B3924A-0E99-426D-A9EC-E22D7BFBE5E7}" dt="2024-09-27T17:52:14.093" v="81141"/>
          <ac:graphicFrameMkLst>
            <pc:docMk/>
            <pc:sldMk cId="2807376235" sldId="2147481263"/>
            <ac:graphicFrameMk id="639" creationId="{61494550-7008-16C1-F042-8C3668C6D8FF}"/>
          </ac:graphicFrameMkLst>
        </pc:graphicFrameChg>
        <pc:graphicFrameChg chg="add del mod ord">
          <ac:chgData name="Kyndal Mayes" userId="142911e9-0388-46d2-be9a-eb7bc2b8ac4b" providerId="ADAL" clId="{29B3924A-0E99-426D-A9EC-E22D7BFBE5E7}" dt="2024-09-27T17:51:55.546" v="80484"/>
          <ac:graphicFrameMkLst>
            <pc:docMk/>
            <pc:sldMk cId="2807376235" sldId="2147481263"/>
            <ac:graphicFrameMk id="645" creationId="{7CDEC606-311F-BECA-00F9-5F074B2EADE9}"/>
          </ac:graphicFrameMkLst>
        </pc:graphicFrameChg>
        <pc:graphicFrameChg chg="add mod ord">
          <ac:chgData name="Kyndal Mayes" userId="142911e9-0388-46d2-be9a-eb7bc2b8ac4b" providerId="ADAL" clId="{29B3924A-0E99-426D-A9EC-E22D7BFBE5E7}" dt="2024-09-27T17:52:20.768" v="81450"/>
          <ac:graphicFrameMkLst>
            <pc:docMk/>
            <pc:sldMk cId="2807376235" sldId="2147481263"/>
            <ac:graphicFrameMk id="647" creationId="{5D2D17E0-24A9-2773-A219-AFA9BC714479}"/>
          </ac:graphicFrameMkLst>
        </pc:graphicFrameChg>
        <pc:graphicFrameChg chg="add mod ord">
          <ac:chgData name="Kyndal Mayes" userId="142911e9-0388-46d2-be9a-eb7bc2b8ac4b" providerId="ADAL" clId="{29B3924A-0E99-426D-A9EC-E22D7BFBE5E7}" dt="2024-09-27T17:52:20.784" v="81509"/>
          <ac:graphicFrameMkLst>
            <pc:docMk/>
            <pc:sldMk cId="2807376235" sldId="2147481263"/>
            <ac:graphicFrameMk id="649" creationId="{4D66A451-0BB5-4DCE-E5E8-BD7A2E0A446B}"/>
          </ac:graphicFrameMkLst>
        </pc:graphicFrameChg>
        <pc:graphicFrameChg chg="add del mod ord">
          <ac:chgData name="Kyndal Mayes" userId="142911e9-0388-46d2-be9a-eb7bc2b8ac4b" providerId="ADAL" clId="{29B3924A-0E99-426D-A9EC-E22D7BFBE5E7}" dt="2024-09-27T17:52:20.705" v="81426"/>
          <ac:graphicFrameMkLst>
            <pc:docMk/>
            <pc:sldMk cId="2807376235" sldId="2147481263"/>
            <ac:graphicFrameMk id="656" creationId="{0E82B1CE-20C2-4772-2D6F-9DE459DBF45A}"/>
          </ac:graphicFrameMkLst>
        </pc:graphicFrameChg>
        <pc:graphicFrameChg chg="add mod ord">
          <ac:chgData name="Kyndal Mayes" userId="142911e9-0388-46d2-be9a-eb7bc2b8ac4b" providerId="ADAL" clId="{29B3924A-0E99-426D-A9EC-E22D7BFBE5E7}" dt="2024-09-27T17:52:20.800" v="81549"/>
          <ac:graphicFrameMkLst>
            <pc:docMk/>
            <pc:sldMk cId="2807376235" sldId="2147481263"/>
            <ac:graphicFrameMk id="658" creationId="{706A9DCE-BE09-6166-F4B3-6C6F812F6274}"/>
          </ac:graphicFrameMkLst>
        </pc:graphicFrameChg>
        <pc:cxnChg chg="mod">
          <ac:chgData name="Kyndal Mayes" userId="142911e9-0388-46d2-be9a-eb7bc2b8ac4b" providerId="ADAL" clId="{29B3924A-0E99-426D-A9EC-E22D7BFBE5E7}" dt="2024-09-27T17:52:20.768" v="81432"/>
          <ac:cxnSpMkLst>
            <pc:docMk/>
            <pc:sldMk cId="2807376235" sldId="2147481263"/>
            <ac:cxnSpMk id="9" creationId="{2DA02679-9E79-2912-578D-F21B6BB484CF}"/>
          </ac:cxnSpMkLst>
        </pc:cxnChg>
        <pc:cxnChg chg="add mod ord">
          <ac:chgData name="Kyndal Mayes" userId="142911e9-0388-46d2-be9a-eb7bc2b8ac4b" providerId="ADAL" clId="{29B3924A-0E99-426D-A9EC-E22D7BFBE5E7}" dt="2024-09-27T16:44:17.991" v="15367" actId="13822"/>
          <ac:cxnSpMkLst>
            <pc:docMk/>
            <pc:sldMk cId="2807376235" sldId="2147481263"/>
            <ac:cxnSpMk id="24" creationId="{1C77905C-279D-D2D7-EF35-BE22CC0216ED}"/>
          </ac:cxnSpMkLst>
        </pc:cxnChg>
        <pc:cxnChg chg="add mod ord">
          <ac:chgData name="Kyndal Mayes" userId="142911e9-0388-46d2-be9a-eb7bc2b8ac4b" providerId="ADAL" clId="{29B3924A-0E99-426D-A9EC-E22D7BFBE5E7}" dt="2024-09-27T16:44:15.839" v="14962" actId="13822"/>
          <ac:cxnSpMkLst>
            <pc:docMk/>
            <pc:sldMk cId="2807376235" sldId="2147481263"/>
            <ac:cxnSpMk id="54" creationId="{904528C7-5955-8509-FE08-9886A16AF76E}"/>
          </ac:cxnSpMkLst>
        </pc:cxnChg>
        <pc:cxnChg chg="add mod ord">
          <ac:chgData name="Kyndal Mayes" userId="142911e9-0388-46d2-be9a-eb7bc2b8ac4b" providerId="ADAL" clId="{29B3924A-0E99-426D-A9EC-E22D7BFBE5E7}" dt="2024-09-27T16:44:12.189" v="14459" actId="13822"/>
          <ac:cxnSpMkLst>
            <pc:docMk/>
            <pc:sldMk cId="2807376235" sldId="2147481263"/>
            <ac:cxnSpMk id="68" creationId="{239F6B8B-1EB4-2B3A-F6B7-E00584DFF158}"/>
          </ac:cxnSpMkLst>
        </pc:cxnChg>
        <pc:cxnChg chg="add del mod ord">
          <ac:chgData name="Kyndal Mayes" userId="142911e9-0388-46d2-be9a-eb7bc2b8ac4b" providerId="ADAL" clId="{29B3924A-0E99-426D-A9EC-E22D7BFBE5E7}" dt="2024-09-27T17:51:48.131" v="80162"/>
          <ac:cxnSpMkLst>
            <pc:docMk/>
            <pc:sldMk cId="2807376235" sldId="2147481263"/>
            <ac:cxnSpMk id="88" creationId="{DF16B672-9FB4-2758-8AE2-033506868F76}"/>
          </ac:cxnSpMkLst>
        </pc:cxnChg>
        <pc:cxnChg chg="add del mod ord">
          <ac:chgData name="Kyndal Mayes" userId="142911e9-0388-46d2-be9a-eb7bc2b8ac4b" providerId="ADAL" clId="{29B3924A-0E99-426D-A9EC-E22D7BFBE5E7}" dt="2024-09-27T17:50:49.079" v="68285"/>
          <ac:cxnSpMkLst>
            <pc:docMk/>
            <pc:sldMk cId="2807376235" sldId="2147481263"/>
            <ac:cxnSpMk id="93" creationId="{C7C3D2EE-B3F5-C8AE-F6AB-CD61C6515D2C}"/>
          </ac:cxnSpMkLst>
        </pc:cxnChg>
        <pc:cxnChg chg="mod ord">
          <ac:chgData name="Kyndal Mayes" userId="142911e9-0388-46d2-be9a-eb7bc2b8ac4b" providerId="ADAL" clId="{29B3924A-0E99-426D-A9EC-E22D7BFBE5E7}" dt="2024-09-27T17:52:20.800" v="81551"/>
          <ac:cxnSpMkLst>
            <pc:docMk/>
            <pc:sldMk cId="2807376235" sldId="2147481263"/>
            <ac:cxnSpMk id="102" creationId="{CA3AF861-A1DC-3B39-678D-2D31C8686445}"/>
          </ac:cxnSpMkLst>
        </pc:cxnChg>
        <pc:cxnChg chg="add mod ord">
          <ac:chgData name="Kyndal Mayes" userId="142911e9-0388-46d2-be9a-eb7bc2b8ac4b" providerId="ADAL" clId="{29B3924A-0E99-426D-A9EC-E22D7BFBE5E7}" dt="2024-09-27T17:52:20.768" v="81452"/>
          <ac:cxnSpMkLst>
            <pc:docMk/>
            <pc:sldMk cId="2807376235" sldId="2147481263"/>
            <ac:cxnSpMk id="129" creationId="{43267033-1DE5-A6A9-CCD7-40B566E40484}"/>
          </ac:cxnSpMkLst>
        </pc:cxnChg>
        <pc:cxnChg chg="add del mod ord">
          <ac:chgData name="Kyndal Mayes" userId="142911e9-0388-46d2-be9a-eb7bc2b8ac4b" providerId="ADAL" clId="{29B3924A-0E99-426D-A9EC-E22D7BFBE5E7}" dt="2024-09-27T16:46:17.398" v="24429"/>
          <ac:cxnSpMkLst>
            <pc:docMk/>
            <pc:sldMk cId="2807376235" sldId="2147481263"/>
            <ac:cxnSpMk id="177" creationId="{367B2B10-9394-8475-B9EA-4E0C0FB08AA4}"/>
          </ac:cxnSpMkLst>
        </pc:cxnChg>
        <pc:cxnChg chg="add del mod ord">
          <ac:chgData name="Kyndal Mayes" userId="142911e9-0388-46d2-be9a-eb7bc2b8ac4b" providerId="ADAL" clId="{29B3924A-0E99-426D-A9EC-E22D7BFBE5E7}" dt="2024-09-27T16:46:17.407" v="24437"/>
          <ac:cxnSpMkLst>
            <pc:docMk/>
            <pc:sldMk cId="2807376235" sldId="2147481263"/>
            <ac:cxnSpMk id="183" creationId="{D482AA4C-738F-67A8-3671-2D7C3B994707}"/>
          </ac:cxnSpMkLst>
        </pc:cxnChg>
        <pc:cxnChg chg="add mod ord">
          <ac:chgData name="Kyndal Mayes" userId="142911e9-0388-46d2-be9a-eb7bc2b8ac4b" providerId="ADAL" clId="{29B3924A-0E99-426D-A9EC-E22D7BFBE5E7}" dt="2024-09-27T17:52:20.768" v="81454"/>
          <ac:cxnSpMkLst>
            <pc:docMk/>
            <pc:sldMk cId="2807376235" sldId="2147481263"/>
            <ac:cxnSpMk id="204" creationId="{54083769-2D93-8786-4E30-823A5DEE6286}"/>
          </ac:cxnSpMkLst>
        </pc:cxnChg>
        <pc:cxnChg chg="add mod ord">
          <ac:chgData name="Kyndal Mayes" userId="142911e9-0388-46d2-be9a-eb7bc2b8ac4b" providerId="ADAL" clId="{29B3924A-0E99-426D-A9EC-E22D7BFBE5E7}" dt="2024-09-27T17:52:20.768" v="81456"/>
          <ac:cxnSpMkLst>
            <pc:docMk/>
            <pc:sldMk cId="2807376235" sldId="2147481263"/>
            <ac:cxnSpMk id="205" creationId="{39F87D23-1758-AA06-ACCF-E39A035596BE}"/>
          </ac:cxnSpMkLst>
        </pc:cxnChg>
        <pc:cxnChg chg="add mod ord">
          <ac:chgData name="Kyndal Mayes" userId="142911e9-0388-46d2-be9a-eb7bc2b8ac4b" providerId="ADAL" clId="{29B3924A-0E99-426D-A9EC-E22D7BFBE5E7}" dt="2024-09-27T17:52:20.784" v="81511"/>
          <ac:cxnSpMkLst>
            <pc:docMk/>
            <pc:sldMk cId="2807376235" sldId="2147481263"/>
            <ac:cxnSpMk id="261" creationId="{2969CCFD-3F95-7F9D-1C80-88302B7DA26D}"/>
          </ac:cxnSpMkLst>
        </pc:cxnChg>
        <pc:cxnChg chg="add mod ord">
          <ac:chgData name="Kyndal Mayes" userId="142911e9-0388-46d2-be9a-eb7bc2b8ac4b" providerId="ADAL" clId="{29B3924A-0E99-426D-A9EC-E22D7BFBE5E7}" dt="2024-09-27T17:52:20.784" v="81513"/>
          <ac:cxnSpMkLst>
            <pc:docMk/>
            <pc:sldMk cId="2807376235" sldId="2147481263"/>
            <ac:cxnSpMk id="262" creationId="{821F304C-F005-0B8C-16FC-C898E8F315A9}"/>
          </ac:cxnSpMkLst>
        </pc:cxnChg>
        <pc:cxnChg chg="add mod ord">
          <ac:chgData name="Kyndal Mayes" userId="142911e9-0388-46d2-be9a-eb7bc2b8ac4b" providerId="ADAL" clId="{29B3924A-0E99-426D-A9EC-E22D7BFBE5E7}" dt="2024-09-27T17:52:20.784" v="81515"/>
          <ac:cxnSpMkLst>
            <pc:docMk/>
            <pc:sldMk cId="2807376235" sldId="2147481263"/>
            <ac:cxnSpMk id="263" creationId="{F9CAD44F-E193-FE0D-2743-0C3375A76CA5}"/>
          </ac:cxnSpMkLst>
        </pc:cxnChg>
        <pc:cxnChg chg="add del mod ord">
          <ac:chgData name="Kyndal Mayes" userId="142911e9-0388-46d2-be9a-eb7bc2b8ac4b" providerId="ADAL" clId="{29B3924A-0E99-426D-A9EC-E22D7BFBE5E7}" dt="2024-09-27T16:47:57.378" v="39557"/>
          <ac:cxnSpMkLst>
            <pc:docMk/>
            <pc:sldMk cId="2807376235" sldId="2147481263"/>
            <ac:cxnSpMk id="339" creationId="{B5425285-71E6-009B-5D01-7546ABFF86CA}"/>
          </ac:cxnSpMkLst>
        </pc:cxnChg>
        <pc:cxnChg chg="add mod ord">
          <ac:chgData name="Kyndal Mayes" userId="142911e9-0388-46d2-be9a-eb7bc2b8ac4b" providerId="ADAL" clId="{29B3924A-0E99-426D-A9EC-E22D7BFBE5E7}" dt="2024-09-27T17:52:20.784" v="81517"/>
          <ac:cxnSpMkLst>
            <pc:docMk/>
            <pc:sldMk cId="2807376235" sldId="2147481263"/>
            <ac:cxnSpMk id="340" creationId="{7CDFA5C2-40FF-690E-38FF-9ADAAA38D3AC}"/>
          </ac:cxnSpMkLst>
        </pc:cxnChg>
        <pc:cxnChg chg="add mod ord">
          <ac:chgData name="Kyndal Mayes" userId="142911e9-0388-46d2-be9a-eb7bc2b8ac4b" providerId="ADAL" clId="{29B3924A-0E99-426D-A9EC-E22D7BFBE5E7}" dt="2024-09-27T17:52:20.784" v="81519"/>
          <ac:cxnSpMkLst>
            <pc:docMk/>
            <pc:sldMk cId="2807376235" sldId="2147481263"/>
            <ac:cxnSpMk id="351" creationId="{56240070-ABF0-E959-C9BA-31526597F783}"/>
          </ac:cxnSpMkLst>
        </pc:cxnChg>
        <pc:cxnChg chg="add mod ord">
          <ac:chgData name="Kyndal Mayes" userId="142911e9-0388-46d2-be9a-eb7bc2b8ac4b" providerId="ADAL" clId="{29B3924A-0E99-426D-A9EC-E22D7BFBE5E7}" dt="2024-09-27T17:52:20.784" v="81521"/>
          <ac:cxnSpMkLst>
            <pc:docMk/>
            <pc:sldMk cId="2807376235" sldId="2147481263"/>
            <ac:cxnSpMk id="357" creationId="{61C0CD1A-C26F-E126-A5B7-92AA0F19C062}"/>
          </ac:cxnSpMkLst>
        </pc:cxnChg>
        <pc:cxnChg chg="add del mod ord">
          <ac:chgData name="Kyndal Mayes" userId="142911e9-0388-46d2-be9a-eb7bc2b8ac4b" providerId="ADAL" clId="{29B3924A-0E99-426D-A9EC-E22D7BFBE5E7}" dt="2024-09-27T17:52:14.077" v="81087"/>
          <ac:cxnSpMkLst>
            <pc:docMk/>
            <pc:sldMk cId="2807376235" sldId="2147481263"/>
            <ac:cxnSpMk id="394" creationId="{DDD6B00A-38AC-2755-C96F-C868416B9A94}"/>
          </ac:cxnSpMkLst>
        </pc:cxnChg>
        <pc:cxnChg chg="add del mod ord">
          <ac:chgData name="Kyndal Mayes" userId="142911e9-0388-46d2-be9a-eb7bc2b8ac4b" providerId="ADAL" clId="{29B3924A-0E99-426D-A9EC-E22D7BFBE5E7}" dt="2024-09-27T17:51:40.725" v="79744"/>
          <ac:cxnSpMkLst>
            <pc:docMk/>
            <pc:sldMk cId="2807376235" sldId="2147481263"/>
            <ac:cxnSpMk id="395" creationId="{12F14B84-779D-643D-7DC6-A1F76B4B412C}"/>
          </ac:cxnSpMkLst>
        </pc:cxnChg>
        <pc:cxnChg chg="add mod ord">
          <ac:chgData name="Kyndal Mayes" userId="142911e9-0388-46d2-be9a-eb7bc2b8ac4b" providerId="ADAL" clId="{29B3924A-0E99-426D-A9EC-E22D7BFBE5E7}" dt="2024-09-27T17:52:20.800" v="81553"/>
          <ac:cxnSpMkLst>
            <pc:docMk/>
            <pc:sldMk cId="2807376235" sldId="2147481263"/>
            <ac:cxnSpMk id="465" creationId="{DD3B83C4-B685-D87C-5952-8EC2A1C7A470}"/>
          </ac:cxnSpMkLst>
        </pc:cxnChg>
        <pc:cxnChg chg="add del mod ord">
          <ac:chgData name="Kyndal Mayes" userId="142911e9-0388-46d2-be9a-eb7bc2b8ac4b" providerId="ADAL" clId="{29B3924A-0E99-426D-A9EC-E22D7BFBE5E7}" dt="2024-09-27T16:49:39.200" v="56289"/>
          <ac:cxnSpMkLst>
            <pc:docMk/>
            <pc:sldMk cId="2807376235" sldId="2147481263"/>
            <ac:cxnSpMk id="474" creationId="{806BBC77-BC5B-E31F-0EF9-A735B6E60B41}"/>
          </ac:cxnSpMkLst>
        </pc:cxnChg>
        <pc:cxnChg chg="add del mod ord">
          <ac:chgData name="Kyndal Mayes" userId="142911e9-0388-46d2-be9a-eb7bc2b8ac4b" providerId="ADAL" clId="{29B3924A-0E99-426D-A9EC-E22D7BFBE5E7}" dt="2024-09-27T16:49:46.303" v="57895"/>
          <ac:cxnSpMkLst>
            <pc:docMk/>
            <pc:sldMk cId="2807376235" sldId="2147481263"/>
            <ac:cxnSpMk id="475" creationId="{DD46B526-48A9-2DA6-92BD-F7016707EB44}"/>
          </ac:cxnSpMkLst>
        </pc:cxnChg>
        <pc:cxnChg chg="add del mod ord">
          <ac:chgData name="Kyndal Mayes" userId="142911e9-0388-46d2-be9a-eb7bc2b8ac4b" providerId="ADAL" clId="{29B3924A-0E99-426D-A9EC-E22D7BFBE5E7}" dt="2024-09-27T17:51:40.756" v="79790"/>
          <ac:cxnSpMkLst>
            <pc:docMk/>
            <pc:sldMk cId="2807376235" sldId="2147481263"/>
            <ac:cxnSpMk id="491" creationId="{9043814C-BE18-38F4-D2F0-B5EC1D1DB5C2}"/>
          </ac:cxnSpMkLst>
        </pc:cxnChg>
        <pc:cxnChg chg="add del mod ord">
          <ac:chgData name="Kyndal Mayes" userId="142911e9-0388-46d2-be9a-eb7bc2b8ac4b" providerId="ADAL" clId="{29B3924A-0E99-426D-A9EC-E22D7BFBE5E7}" dt="2024-09-27T17:52:14.093" v="81127"/>
          <ac:cxnSpMkLst>
            <pc:docMk/>
            <pc:sldMk cId="2807376235" sldId="2147481263"/>
            <ac:cxnSpMk id="492" creationId="{37BBC487-DB05-F6BF-45F1-B189FA9F3FF1}"/>
          </ac:cxnSpMkLst>
        </pc:cxnChg>
        <pc:cxnChg chg="add mod ord">
          <ac:chgData name="Kyndal Mayes" userId="142911e9-0388-46d2-be9a-eb7bc2b8ac4b" providerId="ADAL" clId="{29B3924A-0E99-426D-A9EC-E22D7BFBE5E7}" dt="2024-09-27T17:52:20.800" v="81555"/>
          <ac:cxnSpMkLst>
            <pc:docMk/>
            <pc:sldMk cId="2807376235" sldId="2147481263"/>
            <ac:cxnSpMk id="638" creationId="{DCD1908C-D98F-EBFD-D8E5-2055FA8BB0C7}"/>
          </ac:cxnSpMkLst>
        </pc:cxnChg>
        <pc:cxnChg chg="add del mod ord">
          <ac:chgData name="Kyndal Mayes" userId="142911e9-0388-46d2-be9a-eb7bc2b8ac4b" providerId="ADAL" clId="{29B3924A-0E99-426D-A9EC-E22D7BFBE5E7}" dt="2024-09-27T17:51:55.472" v="80386"/>
          <ac:cxnSpMkLst>
            <pc:docMk/>
            <pc:sldMk cId="2807376235" sldId="2147481263"/>
            <ac:cxnSpMk id="641" creationId="{6C69F1A5-B8BA-EFD1-F1B8-D1685F1E4003}"/>
          </ac:cxnSpMkLst>
        </pc:cxnChg>
        <pc:cxnChg chg="add del mod ord">
          <ac:chgData name="Kyndal Mayes" userId="142911e9-0388-46d2-be9a-eb7bc2b8ac4b" providerId="ADAL" clId="{29B3924A-0E99-426D-A9EC-E22D7BFBE5E7}" dt="2024-09-27T17:51:55.482" v="80390"/>
          <ac:cxnSpMkLst>
            <pc:docMk/>
            <pc:sldMk cId="2807376235" sldId="2147481263"/>
            <ac:cxnSpMk id="642" creationId="{D39B3EAA-ED3F-6444-77A3-2A30FFA81176}"/>
          </ac:cxnSpMkLst>
        </pc:cxnChg>
        <pc:cxnChg chg="add del mod ord">
          <ac:chgData name="Kyndal Mayes" userId="142911e9-0388-46d2-be9a-eb7bc2b8ac4b" providerId="ADAL" clId="{29B3924A-0E99-426D-A9EC-E22D7BFBE5E7}" dt="2024-09-27T17:51:55.482" v="80392"/>
          <ac:cxnSpMkLst>
            <pc:docMk/>
            <pc:sldMk cId="2807376235" sldId="2147481263"/>
            <ac:cxnSpMk id="643" creationId="{054FA241-EAB2-990B-5EB5-CD29A195B68F}"/>
          </ac:cxnSpMkLst>
        </pc:cxnChg>
        <pc:cxnChg chg="add del mod ord">
          <ac:chgData name="Kyndal Mayes" userId="142911e9-0388-46d2-be9a-eb7bc2b8ac4b" providerId="ADAL" clId="{29B3924A-0E99-426D-A9EC-E22D7BFBE5E7}" dt="2024-09-27T17:51:55.482" v="80388"/>
          <ac:cxnSpMkLst>
            <pc:docMk/>
            <pc:sldMk cId="2807376235" sldId="2147481263"/>
            <ac:cxnSpMk id="644" creationId="{8F917B94-CBEC-9D50-6E97-230038C90A80}"/>
          </ac:cxnSpMkLst>
        </pc:cxnChg>
        <pc:cxnChg chg="add del mod ord">
          <ac:chgData name="Kyndal Mayes" userId="142911e9-0388-46d2-be9a-eb7bc2b8ac4b" providerId="ADAL" clId="{29B3924A-0E99-426D-A9EC-E22D7BFBE5E7}" dt="2024-09-27T17:52:20.596" v="81321"/>
          <ac:cxnSpMkLst>
            <pc:docMk/>
            <pc:sldMk cId="2807376235" sldId="2147481263"/>
            <ac:cxnSpMk id="651" creationId="{CCFC5FE9-DD1D-9294-B332-93FF143D5E56}"/>
          </ac:cxnSpMkLst>
        </pc:cxnChg>
        <pc:cxnChg chg="add del mod ord">
          <ac:chgData name="Kyndal Mayes" userId="142911e9-0388-46d2-be9a-eb7bc2b8ac4b" providerId="ADAL" clId="{29B3924A-0E99-426D-A9EC-E22D7BFBE5E7}" dt="2024-09-27T17:52:20.612" v="81325"/>
          <ac:cxnSpMkLst>
            <pc:docMk/>
            <pc:sldMk cId="2807376235" sldId="2147481263"/>
            <ac:cxnSpMk id="652" creationId="{C62902D3-403C-2453-4EF2-E30065D432B5}"/>
          </ac:cxnSpMkLst>
        </pc:cxnChg>
        <pc:cxnChg chg="add del mod ord">
          <ac:chgData name="Kyndal Mayes" userId="142911e9-0388-46d2-be9a-eb7bc2b8ac4b" providerId="ADAL" clId="{29B3924A-0E99-426D-A9EC-E22D7BFBE5E7}" dt="2024-09-27T17:52:20.612" v="81327"/>
          <ac:cxnSpMkLst>
            <pc:docMk/>
            <pc:sldMk cId="2807376235" sldId="2147481263"/>
            <ac:cxnSpMk id="653" creationId="{8461169E-2D70-E7F9-34A3-380AC977A08F}"/>
          </ac:cxnSpMkLst>
        </pc:cxnChg>
        <pc:cxnChg chg="add del mod ord">
          <ac:chgData name="Kyndal Mayes" userId="142911e9-0388-46d2-be9a-eb7bc2b8ac4b" providerId="ADAL" clId="{29B3924A-0E99-426D-A9EC-E22D7BFBE5E7}" dt="2024-09-27T17:52:20.612" v="81329"/>
          <ac:cxnSpMkLst>
            <pc:docMk/>
            <pc:sldMk cId="2807376235" sldId="2147481263"/>
            <ac:cxnSpMk id="654" creationId="{687F4A20-4E65-D42D-A57F-24F6286439CE}"/>
          </ac:cxnSpMkLst>
        </pc:cxnChg>
        <pc:cxnChg chg="add del mod ord">
          <ac:chgData name="Kyndal Mayes" userId="142911e9-0388-46d2-be9a-eb7bc2b8ac4b" providerId="ADAL" clId="{29B3924A-0E99-426D-A9EC-E22D7BFBE5E7}" dt="2024-09-27T17:52:20.612" v="81323"/>
          <ac:cxnSpMkLst>
            <pc:docMk/>
            <pc:sldMk cId="2807376235" sldId="2147481263"/>
            <ac:cxnSpMk id="655" creationId="{166018C3-A784-F8A1-6640-2CD56E338404}"/>
          </ac:cxnSpMkLst>
        </pc:cxnChg>
      </pc:sldChg>
      <pc:sldChg chg="addSp delSp modSp mod">
        <pc:chgData name="Kyndal Mayes" userId="142911e9-0388-46d2-be9a-eb7bc2b8ac4b" providerId="ADAL" clId="{29B3924A-0E99-426D-A9EC-E22D7BFBE5E7}" dt="2024-09-27T16:43:18.180" v="11273" actId="1076"/>
        <pc:sldMkLst>
          <pc:docMk/>
          <pc:sldMk cId="2778662480" sldId="2147481264"/>
        </pc:sldMkLst>
        <pc:spChg chg="mod ord">
          <ac:chgData name="Kyndal Mayes" userId="142911e9-0388-46d2-be9a-eb7bc2b8ac4b" providerId="ADAL" clId="{29B3924A-0E99-426D-A9EC-E22D7BFBE5E7}" dt="2024-09-27T16:39:42.925" v="11259"/>
          <ac:spMkLst>
            <pc:docMk/>
            <pc:sldMk cId="2778662480" sldId="2147481264"/>
            <ac:spMk id="2" creationId="{1AD6AF36-EB5B-F785-793D-CF54200EFFB1}"/>
          </ac:spMkLst>
        </pc:spChg>
        <pc:spChg chg="mod ord">
          <ac:chgData name="Kyndal Mayes" userId="142911e9-0388-46d2-be9a-eb7bc2b8ac4b" providerId="ADAL" clId="{29B3924A-0E99-426D-A9EC-E22D7BFBE5E7}" dt="2024-09-27T16:39:42.926" v="11261"/>
          <ac:spMkLst>
            <pc:docMk/>
            <pc:sldMk cId="2778662480" sldId="2147481264"/>
            <ac:spMk id="3" creationId="{83EE417F-2364-8CDB-A68E-0C8C4FFBA9EC}"/>
          </ac:spMkLst>
        </pc:spChg>
        <pc:spChg chg="mod ord">
          <ac:chgData name="Kyndal Mayes" userId="142911e9-0388-46d2-be9a-eb7bc2b8ac4b" providerId="ADAL" clId="{29B3924A-0E99-426D-A9EC-E22D7BFBE5E7}" dt="2024-09-27T16:39:42.895" v="11189"/>
          <ac:spMkLst>
            <pc:docMk/>
            <pc:sldMk cId="2778662480" sldId="2147481264"/>
            <ac:spMk id="4" creationId="{F3FAD4D7-7081-11E5-7F38-F53C157A83FF}"/>
          </ac:spMkLst>
        </pc:spChg>
        <pc:spChg chg="mod ord">
          <ac:chgData name="Kyndal Mayes" userId="142911e9-0388-46d2-be9a-eb7bc2b8ac4b" providerId="ADAL" clId="{29B3924A-0E99-426D-A9EC-E22D7BFBE5E7}" dt="2024-09-27T16:39:42.896" v="11191"/>
          <ac:spMkLst>
            <pc:docMk/>
            <pc:sldMk cId="2778662480" sldId="2147481264"/>
            <ac:spMk id="6" creationId="{722D76F3-0958-3A54-3612-DE4725F37EAC}"/>
          </ac:spMkLst>
        </pc:spChg>
        <pc:spChg chg="mod ord">
          <ac:chgData name="Kyndal Mayes" userId="142911e9-0388-46d2-be9a-eb7bc2b8ac4b" providerId="ADAL" clId="{29B3924A-0E99-426D-A9EC-E22D7BFBE5E7}" dt="2024-09-27T16:39:42.896" v="11193"/>
          <ac:spMkLst>
            <pc:docMk/>
            <pc:sldMk cId="2778662480" sldId="2147481264"/>
            <ac:spMk id="7" creationId="{25C8E4E4-3222-8C70-08CE-201A380A0010}"/>
          </ac:spMkLst>
        </pc:spChg>
        <pc:spChg chg="mod ord">
          <ac:chgData name="Kyndal Mayes" userId="142911e9-0388-46d2-be9a-eb7bc2b8ac4b" providerId="ADAL" clId="{29B3924A-0E99-426D-A9EC-E22D7BFBE5E7}" dt="2024-09-27T16:39:42.897" v="11195"/>
          <ac:spMkLst>
            <pc:docMk/>
            <pc:sldMk cId="2778662480" sldId="2147481264"/>
            <ac:spMk id="8" creationId="{35F5DC02-97C4-4386-B232-00DF18F6458E}"/>
          </ac:spMkLst>
        </pc:spChg>
        <pc:spChg chg="mod ord">
          <ac:chgData name="Kyndal Mayes" userId="142911e9-0388-46d2-be9a-eb7bc2b8ac4b" providerId="ADAL" clId="{29B3924A-0E99-426D-A9EC-E22D7BFBE5E7}" dt="2024-09-27T16:39:42.898" v="11197"/>
          <ac:spMkLst>
            <pc:docMk/>
            <pc:sldMk cId="2778662480" sldId="2147481264"/>
            <ac:spMk id="9" creationId="{8436A83F-008F-F9F3-28BA-E3C4D55C82F2}"/>
          </ac:spMkLst>
        </pc:spChg>
        <pc:spChg chg="mod ord">
          <ac:chgData name="Kyndal Mayes" userId="142911e9-0388-46d2-be9a-eb7bc2b8ac4b" providerId="ADAL" clId="{29B3924A-0E99-426D-A9EC-E22D7BFBE5E7}" dt="2024-09-27T16:39:42.899" v="11199"/>
          <ac:spMkLst>
            <pc:docMk/>
            <pc:sldMk cId="2778662480" sldId="2147481264"/>
            <ac:spMk id="10" creationId="{FB3BC6AB-CD1C-BD45-E35A-04E1F389067D}"/>
          </ac:spMkLst>
        </pc:spChg>
        <pc:spChg chg="add del mod modVis">
          <ac:chgData name="Kyndal Mayes" userId="142911e9-0388-46d2-be9a-eb7bc2b8ac4b" providerId="ADAL" clId="{29B3924A-0E99-426D-A9EC-E22D7BFBE5E7}" dt="2024-09-27T16:33:17.015" v="4581"/>
          <ac:spMkLst>
            <pc:docMk/>
            <pc:sldMk cId="2778662480" sldId="2147481264"/>
            <ac:spMk id="11" creationId="{EA8E09C6-AC5B-321D-EA8C-BC978BB8DF84}"/>
          </ac:spMkLst>
        </pc:spChg>
        <pc:spChg chg="add del mod modVis">
          <ac:chgData name="Kyndal Mayes" userId="142911e9-0388-46d2-be9a-eb7bc2b8ac4b" providerId="ADAL" clId="{29B3924A-0E99-426D-A9EC-E22D7BFBE5E7}" dt="2024-09-27T16:33:18.243" v="4620"/>
          <ac:spMkLst>
            <pc:docMk/>
            <pc:sldMk cId="2778662480" sldId="2147481264"/>
            <ac:spMk id="12" creationId="{1DDD41A8-5119-D9AB-632F-1970A2AB9C40}"/>
          </ac:spMkLst>
        </pc:spChg>
        <pc:spChg chg="del mod">
          <ac:chgData name="Kyndal Mayes" userId="142911e9-0388-46d2-be9a-eb7bc2b8ac4b" providerId="ADAL" clId="{29B3924A-0E99-426D-A9EC-E22D7BFBE5E7}" dt="2024-09-27T16:36:45.780" v="5136"/>
          <ac:spMkLst>
            <pc:docMk/>
            <pc:sldMk cId="2778662480" sldId="2147481264"/>
            <ac:spMk id="13" creationId="{7EC54C88-97BB-2C5A-9260-4B1CB2A327B2}"/>
          </ac:spMkLst>
        </pc:spChg>
        <pc:spChg chg="del mod">
          <ac:chgData name="Kyndal Mayes" userId="142911e9-0388-46d2-be9a-eb7bc2b8ac4b" providerId="ADAL" clId="{29B3924A-0E99-426D-A9EC-E22D7BFBE5E7}" dt="2024-09-27T16:36:50.869" v="5612"/>
          <ac:spMkLst>
            <pc:docMk/>
            <pc:sldMk cId="2778662480" sldId="2147481264"/>
            <ac:spMk id="14" creationId="{4F4E5A07-5C6C-F5D2-2525-C73B1159FF16}"/>
          </ac:spMkLst>
        </pc:spChg>
        <pc:spChg chg="del mod">
          <ac:chgData name="Kyndal Mayes" userId="142911e9-0388-46d2-be9a-eb7bc2b8ac4b" providerId="ADAL" clId="{29B3924A-0E99-426D-A9EC-E22D7BFBE5E7}" dt="2024-09-27T16:36:59.357" v="6076"/>
          <ac:spMkLst>
            <pc:docMk/>
            <pc:sldMk cId="2778662480" sldId="2147481264"/>
            <ac:spMk id="15" creationId="{3EA7EBAD-2A42-4D61-8570-BE9521467FF6}"/>
          </ac:spMkLst>
        </pc:spChg>
        <pc:spChg chg="del mod">
          <ac:chgData name="Kyndal Mayes" userId="142911e9-0388-46d2-be9a-eb7bc2b8ac4b" providerId="ADAL" clId="{29B3924A-0E99-426D-A9EC-E22D7BFBE5E7}" dt="2024-09-27T16:36:45.777" v="5135"/>
          <ac:spMkLst>
            <pc:docMk/>
            <pc:sldMk cId="2778662480" sldId="2147481264"/>
            <ac:spMk id="16" creationId="{2A01B46D-AEC9-F215-E73B-8462E103D8C6}"/>
          </ac:spMkLst>
        </pc:spChg>
        <pc:spChg chg="del mod">
          <ac:chgData name="Kyndal Mayes" userId="142911e9-0388-46d2-be9a-eb7bc2b8ac4b" providerId="ADAL" clId="{29B3924A-0E99-426D-A9EC-E22D7BFBE5E7}" dt="2024-09-27T16:36:50.867" v="5611"/>
          <ac:spMkLst>
            <pc:docMk/>
            <pc:sldMk cId="2778662480" sldId="2147481264"/>
            <ac:spMk id="17" creationId="{DE09F613-7B9A-993C-EDF9-90540C4DB333}"/>
          </ac:spMkLst>
        </pc:spChg>
        <pc:spChg chg="del mod">
          <ac:chgData name="Kyndal Mayes" userId="142911e9-0388-46d2-be9a-eb7bc2b8ac4b" providerId="ADAL" clId="{29B3924A-0E99-426D-A9EC-E22D7BFBE5E7}" dt="2024-09-27T16:36:59.355" v="6075"/>
          <ac:spMkLst>
            <pc:docMk/>
            <pc:sldMk cId="2778662480" sldId="2147481264"/>
            <ac:spMk id="18" creationId="{951C3E76-B66F-694A-711F-B8FD3E76CCC7}"/>
          </ac:spMkLst>
        </pc:spChg>
        <pc:spChg chg="add del mod">
          <ac:chgData name="Kyndal Mayes" userId="142911e9-0388-46d2-be9a-eb7bc2b8ac4b" providerId="ADAL" clId="{29B3924A-0E99-426D-A9EC-E22D7BFBE5E7}" dt="2024-09-27T16:37:32.538" v="7223"/>
          <ac:spMkLst>
            <pc:docMk/>
            <pc:sldMk cId="2778662480" sldId="2147481264"/>
            <ac:spMk id="19" creationId="{E812F181-8769-EEEE-E5CA-884490775CA5}"/>
          </ac:spMkLst>
        </pc:spChg>
        <pc:spChg chg="mod ord">
          <ac:chgData name="Kyndal Mayes" userId="142911e9-0388-46d2-be9a-eb7bc2b8ac4b" providerId="ADAL" clId="{29B3924A-0E99-426D-A9EC-E22D7BFBE5E7}" dt="2024-09-27T16:39:42.901" v="11203"/>
          <ac:spMkLst>
            <pc:docMk/>
            <pc:sldMk cId="2778662480" sldId="2147481264"/>
            <ac:spMk id="20" creationId="{F565D4BE-B79F-BA1A-E4B5-454A5E7F728A}"/>
          </ac:spMkLst>
        </pc:spChg>
        <pc:spChg chg="mod ord">
          <ac:chgData name="Kyndal Mayes" userId="142911e9-0388-46d2-be9a-eb7bc2b8ac4b" providerId="ADAL" clId="{29B3924A-0E99-426D-A9EC-E22D7BFBE5E7}" dt="2024-09-27T16:39:42.901" v="11205"/>
          <ac:spMkLst>
            <pc:docMk/>
            <pc:sldMk cId="2778662480" sldId="2147481264"/>
            <ac:spMk id="21" creationId="{07CD7DD1-072E-C3C7-7C3D-9FE45E8E8CF0}"/>
          </ac:spMkLst>
        </pc:spChg>
        <pc:spChg chg="mod ord">
          <ac:chgData name="Kyndal Mayes" userId="142911e9-0388-46d2-be9a-eb7bc2b8ac4b" providerId="ADAL" clId="{29B3924A-0E99-426D-A9EC-E22D7BFBE5E7}" dt="2024-09-27T16:39:42.901" v="11206"/>
          <ac:spMkLst>
            <pc:docMk/>
            <pc:sldMk cId="2778662480" sldId="2147481264"/>
            <ac:spMk id="22" creationId="{34F6BAF7-15A8-5D81-9D4E-D19527B41E5A}"/>
          </ac:spMkLst>
        </pc:spChg>
        <pc:spChg chg="mod ord">
          <ac:chgData name="Kyndal Mayes" userId="142911e9-0388-46d2-be9a-eb7bc2b8ac4b" providerId="ADAL" clId="{29B3924A-0E99-426D-A9EC-E22D7BFBE5E7}" dt="2024-09-27T16:39:42.903" v="11207"/>
          <ac:spMkLst>
            <pc:docMk/>
            <pc:sldMk cId="2778662480" sldId="2147481264"/>
            <ac:spMk id="23" creationId="{01A6D15A-48BE-3987-DF4F-9B3D2A3C654D}"/>
          </ac:spMkLst>
        </pc:spChg>
        <pc:spChg chg="mod ord">
          <ac:chgData name="Kyndal Mayes" userId="142911e9-0388-46d2-be9a-eb7bc2b8ac4b" providerId="ADAL" clId="{29B3924A-0E99-426D-A9EC-E22D7BFBE5E7}" dt="2024-09-27T16:39:42.904" v="11209"/>
          <ac:spMkLst>
            <pc:docMk/>
            <pc:sldMk cId="2778662480" sldId="2147481264"/>
            <ac:spMk id="24" creationId="{86E386FC-0F56-3608-12D6-320C7C387FCE}"/>
          </ac:spMkLst>
        </pc:spChg>
        <pc:spChg chg="mod ord">
          <ac:chgData name="Kyndal Mayes" userId="142911e9-0388-46d2-be9a-eb7bc2b8ac4b" providerId="ADAL" clId="{29B3924A-0E99-426D-A9EC-E22D7BFBE5E7}" dt="2024-09-27T16:39:42.905" v="11211"/>
          <ac:spMkLst>
            <pc:docMk/>
            <pc:sldMk cId="2778662480" sldId="2147481264"/>
            <ac:spMk id="25" creationId="{0AE1FA6D-9085-4F63-BB9C-D011F5AA9D78}"/>
          </ac:spMkLst>
        </pc:spChg>
        <pc:spChg chg="mod ord">
          <ac:chgData name="Kyndal Mayes" userId="142911e9-0388-46d2-be9a-eb7bc2b8ac4b" providerId="ADAL" clId="{29B3924A-0E99-426D-A9EC-E22D7BFBE5E7}" dt="2024-09-27T16:39:42.906" v="11213"/>
          <ac:spMkLst>
            <pc:docMk/>
            <pc:sldMk cId="2778662480" sldId="2147481264"/>
            <ac:spMk id="26" creationId="{DB4B1DBC-3109-FAF6-39EB-C3B609CCECEB}"/>
          </ac:spMkLst>
        </pc:spChg>
        <pc:spChg chg="mod ord">
          <ac:chgData name="Kyndal Mayes" userId="142911e9-0388-46d2-be9a-eb7bc2b8ac4b" providerId="ADAL" clId="{29B3924A-0E99-426D-A9EC-E22D7BFBE5E7}" dt="2024-09-27T16:39:42.906" v="11215"/>
          <ac:spMkLst>
            <pc:docMk/>
            <pc:sldMk cId="2778662480" sldId="2147481264"/>
            <ac:spMk id="27" creationId="{BC448135-B0F6-DF50-41D8-06DA49C2A674}"/>
          </ac:spMkLst>
        </pc:spChg>
        <pc:spChg chg="mod ord">
          <ac:chgData name="Kyndal Mayes" userId="142911e9-0388-46d2-be9a-eb7bc2b8ac4b" providerId="ADAL" clId="{29B3924A-0E99-426D-A9EC-E22D7BFBE5E7}" dt="2024-09-27T16:39:42.907" v="11217"/>
          <ac:spMkLst>
            <pc:docMk/>
            <pc:sldMk cId="2778662480" sldId="2147481264"/>
            <ac:spMk id="28" creationId="{1BB00A1A-0F51-A811-A4E8-DCCD8B9B123C}"/>
          </ac:spMkLst>
        </pc:spChg>
        <pc:spChg chg="mod ord">
          <ac:chgData name="Kyndal Mayes" userId="142911e9-0388-46d2-be9a-eb7bc2b8ac4b" providerId="ADAL" clId="{29B3924A-0E99-426D-A9EC-E22D7BFBE5E7}" dt="2024-09-27T16:39:42.908" v="11219"/>
          <ac:spMkLst>
            <pc:docMk/>
            <pc:sldMk cId="2778662480" sldId="2147481264"/>
            <ac:spMk id="29" creationId="{BE66688E-2A3E-301C-B704-D3460FD20EDB}"/>
          </ac:spMkLst>
        </pc:spChg>
        <pc:spChg chg="mod ord">
          <ac:chgData name="Kyndal Mayes" userId="142911e9-0388-46d2-be9a-eb7bc2b8ac4b" providerId="ADAL" clId="{29B3924A-0E99-426D-A9EC-E22D7BFBE5E7}" dt="2024-09-27T16:39:42.909" v="11221"/>
          <ac:spMkLst>
            <pc:docMk/>
            <pc:sldMk cId="2778662480" sldId="2147481264"/>
            <ac:spMk id="30" creationId="{B214703E-8637-EA9B-D5D4-9776E086FAC7}"/>
          </ac:spMkLst>
        </pc:spChg>
        <pc:spChg chg="mod ord">
          <ac:chgData name="Kyndal Mayes" userId="142911e9-0388-46d2-be9a-eb7bc2b8ac4b" providerId="ADAL" clId="{29B3924A-0E99-426D-A9EC-E22D7BFBE5E7}" dt="2024-09-27T16:39:42.910" v="11223"/>
          <ac:spMkLst>
            <pc:docMk/>
            <pc:sldMk cId="2778662480" sldId="2147481264"/>
            <ac:spMk id="31" creationId="{73EBE538-7139-3C3B-B403-27381D594807}"/>
          </ac:spMkLst>
        </pc:spChg>
        <pc:spChg chg="mod ord">
          <ac:chgData name="Kyndal Mayes" userId="142911e9-0388-46d2-be9a-eb7bc2b8ac4b" providerId="ADAL" clId="{29B3924A-0E99-426D-A9EC-E22D7BFBE5E7}" dt="2024-09-27T16:39:42.910" v="11225"/>
          <ac:spMkLst>
            <pc:docMk/>
            <pc:sldMk cId="2778662480" sldId="2147481264"/>
            <ac:spMk id="32" creationId="{321845D2-FECF-01EA-0461-4E49C6B72870}"/>
          </ac:spMkLst>
        </pc:spChg>
        <pc:spChg chg="mod ord">
          <ac:chgData name="Kyndal Mayes" userId="142911e9-0388-46d2-be9a-eb7bc2b8ac4b" providerId="ADAL" clId="{29B3924A-0E99-426D-A9EC-E22D7BFBE5E7}" dt="2024-09-27T16:39:42.911" v="11227"/>
          <ac:spMkLst>
            <pc:docMk/>
            <pc:sldMk cId="2778662480" sldId="2147481264"/>
            <ac:spMk id="33" creationId="{A0B03CEA-7BDF-F0B0-3252-FC8428762DE8}"/>
          </ac:spMkLst>
        </pc:spChg>
        <pc:spChg chg="mod ord">
          <ac:chgData name="Kyndal Mayes" userId="142911e9-0388-46d2-be9a-eb7bc2b8ac4b" providerId="ADAL" clId="{29B3924A-0E99-426D-A9EC-E22D7BFBE5E7}" dt="2024-09-27T16:39:42.912" v="11229"/>
          <ac:spMkLst>
            <pc:docMk/>
            <pc:sldMk cId="2778662480" sldId="2147481264"/>
            <ac:spMk id="34" creationId="{F5D36684-E4A7-E729-B096-A18882256A8B}"/>
          </ac:spMkLst>
        </pc:spChg>
        <pc:spChg chg="mod ord">
          <ac:chgData name="Kyndal Mayes" userId="142911e9-0388-46d2-be9a-eb7bc2b8ac4b" providerId="ADAL" clId="{29B3924A-0E99-426D-A9EC-E22D7BFBE5E7}" dt="2024-09-27T16:39:42.913" v="11231"/>
          <ac:spMkLst>
            <pc:docMk/>
            <pc:sldMk cId="2778662480" sldId="2147481264"/>
            <ac:spMk id="35" creationId="{2392863D-24A8-AA57-F1E3-E2E8FE88F8A5}"/>
          </ac:spMkLst>
        </pc:spChg>
        <pc:spChg chg="mod">
          <ac:chgData name="Kyndal Mayes" userId="142911e9-0388-46d2-be9a-eb7bc2b8ac4b" providerId="ADAL" clId="{29B3924A-0E99-426D-A9EC-E22D7BFBE5E7}" dt="2024-09-27T16:39:42.913" v="11232"/>
          <ac:spMkLst>
            <pc:docMk/>
            <pc:sldMk cId="2778662480" sldId="2147481264"/>
            <ac:spMk id="36" creationId="{8BDC9273-590E-883A-ACD3-B4DC4738011C}"/>
          </ac:spMkLst>
        </pc:spChg>
        <pc:spChg chg="mod">
          <ac:chgData name="Kyndal Mayes" userId="142911e9-0388-46d2-be9a-eb7bc2b8ac4b" providerId="ADAL" clId="{29B3924A-0E99-426D-A9EC-E22D7BFBE5E7}" dt="2024-09-27T16:39:42.914" v="11233"/>
          <ac:spMkLst>
            <pc:docMk/>
            <pc:sldMk cId="2778662480" sldId="2147481264"/>
            <ac:spMk id="37" creationId="{7894A7E6-676E-1B07-7C3B-CCFD234E3691}"/>
          </ac:spMkLst>
        </pc:spChg>
        <pc:spChg chg="mod">
          <ac:chgData name="Kyndal Mayes" userId="142911e9-0388-46d2-be9a-eb7bc2b8ac4b" providerId="ADAL" clId="{29B3924A-0E99-426D-A9EC-E22D7BFBE5E7}" dt="2024-09-27T16:39:42.914" v="11234"/>
          <ac:spMkLst>
            <pc:docMk/>
            <pc:sldMk cId="2778662480" sldId="2147481264"/>
            <ac:spMk id="38" creationId="{B21FC310-786B-BC9F-C9B3-C10B32AC0D78}"/>
          </ac:spMkLst>
        </pc:spChg>
        <pc:spChg chg="mod">
          <ac:chgData name="Kyndal Mayes" userId="142911e9-0388-46d2-be9a-eb7bc2b8ac4b" providerId="ADAL" clId="{29B3924A-0E99-426D-A9EC-E22D7BFBE5E7}" dt="2024-09-27T16:39:42.915" v="11235"/>
          <ac:spMkLst>
            <pc:docMk/>
            <pc:sldMk cId="2778662480" sldId="2147481264"/>
            <ac:spMk id="39" creationId="{FDFA0542-004E-3231-2DFD-09D15A7F8EED}"/>
          </ac:spMkLst>
        </pc:spChg>
        <pc:spChg chg="mod">
          <ac:chgData name="Kyndal Mayes" userId="142911e9-0388-46d2-be9a-eb7bc2b8ac4b" providerId="ADAL" clId="{29B3924A-0E99-426D-A9EC-E22D7BFBE5E7}" dt="2024-09-27T16:39:42.916" v="11236"/>
          <ac:spMkLst>
            <pc:docMk/>
            <pc:sldMk cId="2778662480" sldId="2147481264"/>
            <ac:spMk id="40" creationId="{C2F5BC24-64A3-B707-CD6D-261C22E0053A}"/>
          </ac:spMkLst>
        </pc:spChg>
        <pc:spChg chg="mod">
          <ac:chgData name="Kyndal Mayes" userId="142911e9-0388-46d2-be9a-eb7bc2b8ac4b" providerId="ADAL" clId="{29B3924A-0E99-426D-A9EC-E22D7BFBE5E7}" dt="2024-09-27T16:39:42.916" v="11237"/>
          <ac:spMkLst>
            <pc:docMk/>
            <pc:sldMk cId="2778662480" sldId="2147481264"/>
            <ac:spMk id="41" creationId="{D044657B-170E-AB8A-F821-C3CFCD902B1D}"/>
          </ac:spMkLst>
        </pc:spChg>
        <pc:spChg chg="mod">
          <ac:chgData name="Kyndal Mayes" userId="142911e9-0388-46d2-be9a-eb7bc2b8ac4b" providerId="ADAL" clId="{29B3924A-0E99-426D-A9EC-E22D7BFBE5E7}" dt="2024-09-27T16:39:42.917" v="11238"/>
          <ac:spMkLst>
            <pc:docMk/>
            <pc:sldMk cId="2778662480" sldId="2147481264"/>
            <ac:spMk id="42" creationId="{C55D5F7B-8CAC-92AC-9593-EA0F8602D7B4}"/>
          </ac:spMkLst>
        </pc:spChg>
        <pc:spChg chg="mod">
          <ac:chgData name="Kyndal Mayes" userId="142911e9-0388-46d2-be9a-eb7bc2b8ac4b" providerId="ADAL" clId="{29B3924A-0E99-426D-A9EC-E22D7BFBE5E7}" dt="2024-09-27T16:39:42.917" v="11239"/>
          <ac:spMkLst>
            <pc:docMk/>
            <pc:sldMk cId="2778662480" sldId="2147481264"/>
            <ac:spMk id="43" creationId="{B8077DD9-A7C7-CE69-4E99-74AF59DCD390}"/>
          </ac:spMkLst>
        </pc:spChg>
        <pc:spChg chg="mod">
          <ac:chgData name="Kyndal Mayes" userId="142911e9-0388-46d2-be9a-eb7bc2b8ac4b" providerId="ADAL" clId="{29B3924A-0E99-426D-A9EC-E22D7BFBE5E7}" dt="2024-09-27T16:39:42.918" v="11240"/>
          <ac:spMkLst>
            <pc:docMk/>
            <pc:sldMk cId="2778662480" sldId="2147481264"/>
            <ac:spMk id="44" creationId="{AF961F64-0CBC-9A35-AEE6-A8632762AE2E}"/>
          </ac:spMkLst>
        </pc:spChg>
        <pc:spChg chg="mod">
          <ac:chgData name="Kyndal Mayes" userId="142911e9-0388-46d2-be9a-eb7bc2b8ac4b" providerId="ADAL" clId="{29B3924A-0E99-426D-A9EC-E22D7BFBE5E7}" dt="2024-09-27T16:39:42.918" v="11241"/>
          <ac:spMkLst>
            <pc:docMk/>
            <pc:sldMk cId="2778662480" sldId="2147481264"/>
            <ac:spMk id="45" creationId="{1F183816-A8EF-4D52-B886-5D4A181D5616}"/>
          </ac:spMkLst>
        </pc:spChg>
        <pc:spChg chg="mod">
          <ac:chgData name="Kyndal Mayes" userId="142911e9-0388-46d2-be9a-eb7bc2b8ac4b" providerId="ADAL" clId="{29B3924A-0E99-426D-A9EC-E22D7BFBE5E7}" dt="2024-09-27T16:39:42.919" v="11242"/>
          <ac:spMkLst>
            <pc:docMk/>
            <pc:sldMk cId="2778662480" sldId="2147481264"/>
            <ac:spMk id="46" creationId="{DF67DCC1-BA12-EABB-C59B-473253E88B86}"/>
          </ac:spMkLst>
        </pc:spChg>
        <pc:spChg chg="mod">
          <ac:chgData name="Kyndal Mayes" userId="142911e9-0388-46d2-be9a-eb7bc2b8ac4b" providerId="ADAL" clId="{29B3924A-0E99-426D-A9EC-E22D7BFBE5E7}" dt="2024-09-27T16:39:42.919" v="11243"/>
          <ac:spMkLst>
            <pc:docMk/>
            <pc:sldMk cId="2778662480" sldId="2147481264"/>
            <ac:spMk id="47" creationId="{DEADCD51-D1F7-FBB0-D706-E0DAC69E0202}"/>
          </ac:spMkLst>
        </pc:spChg>
        <pc:spChg chg="mod ord">
          <ac:chgData name="Kyndal Mayes" userId="142911e9-0388-46d2-be9a-eb7bc2b8ac4b" providerId="ADAL" clId="{29B3924A-0E99-426D-A9EC-E22D7BFBE5E7}" dt="2024-09-27T16:39:42.920" v="11245"/>
          <ac:spMkLst>
            <pc:docMk/>
            <pc:sldMk cId="2778662480" sldId="2147481264"/>
            <ac:spMk id="48" creationId="{3BDD469C-0A45-BF01-C1BB-455D11C84CD7}"/>
          </ac:spMkLst>
        </pc:spChg>
        <pc:spChg chg="mod ord">
          <ac:chgData name="Kyndal Mayes" userId="142911e9-0388-46d2-be9a-eb7bc2b8ac4b" providerId="ADAL" clId="{29B3924A-0E99-426D-A9EC-E22D7BFBE5E7}" dt="2024-09-27T16:39:42.921" v="11247"/>
          <ac:spMkLst>
            <pc:docMk/>
            <pc:sldMk cId="2778662480" sldId="2147481264"/>
            <ac:spMk id="49" creationId="{9E919883-AB6D-BC60-9392-C8DFE0AA9195}"/>
          </ac:spMkLst>
        </pc:spChg>
        <pc:spChg chg="mod ord">
          <ac:chgData name="Kyndal Mayes" userId="142911e9-0388-46d2-be9a-eb7bc2b8ac4b" providerId="ADAL" clId="{29B3924A-0E99-426D-A9EC-E22D7BFBE5E7}" dt="2024-09-27T16:39:42.921" v="11249"/>
          <ac:spMkLst>
            <pc:docMk/>
            <pc:sldMk cId="2778662480" sldId="2147481264"/>
            <ac:spMk id="50" creationId="{06780B4B-DB89-6B81-80B2-F5BB833A9EF8}"/>
          </ac:spMkLst>
        </pc:spChg>
        <pc:spChg chg="mod ord">
          <ac:chgData name="Kyndal Mayes" userId="142911e9-0388-46d2-be9a-eb7bc2b8ac4b" providerId="ADAL" clId="{29B3924A-0E99-426D-A9EC-E22D7BFBE5E7}" dt="2024-09-27T16:39:42.922" v="11251"/>
          <ac:spMkLst>
            <pc:docMk/>
            <pc:sldMk cId="2778662480" sldId="2147481264"/>
            <ac:spMk id="51" creationId="{C5258AFC-A243-C68D-0128-2DB7A0D4EA7E}"/>
          </ac:spMkLst>
        </pc:spChg>
        <pc:spChg chg="add del mod modVis">
          <ac:chgData name="Kyndal Mayes" userId="142911e9-0388-46d2-be9a-eb7bc2b8ac4b" providerId="ADAL" clId="{29B3924A-0E99-426D-A9EC-E22D7BFBE5E7}" dt="2024-09-27T16:33:19.552" v="4658"/>
          <ac:spMkLst>
            <pc:docMk/>
            <pc:sldMk cId="2778662480" sldId="2147481264"/>
            <ac:spMk id="52" creationId="{81A3C67D-5AF5-61A8-F29B-EB93CEBC9560}"/>
          </ac:spMkLst>
        </pc:spChg>
        <pc:spChg chg="add del mod modVis">
          <ac:chgData name="Kyndal Mayes" userId="142911e9-0388-46d2-be9a-eb7bc2b8ac4b" providerId="ADAL" clId="{29B3924A-0E99-426D-A9EC-E22D7BFBE5E7}" dt="2024-09-27T16:33:37.829" v="4696"/>
          <ac:spMkLst>
            <pc:docMk/>
            <pc:sldMk cId="2778662480" sldId="2147481264"/>
            <ac:spMk id="55" creationId="{2F5BCCD7-8C7E-9892-D753-004D253D4F26}"/>
          </ac:spMkLst>
        </pc:spChg>
        <pc:spChg chg="add del mod modVis">
          <ac:chgData name="Kyndal Mayes" userId="142911e9-0388-46d2-be9a-eb7bc2b8ac4b" providerId="ADAL" clId="{29B3924A-0E99-426D-A9EC-E22D7BFBE5E7}" dt="2024-09-27T16:33:38.908" v="4734"/>
          <ac:spMkLst>
            <pc:docMk/>
            <pc:sldMk cId="2778662480" sldId="2147481264"/>
            <ac:spMk id="56" creationId="{617DB557-91AF-16B7-7734-21BFE9C9FF0D}"/>
          </ac:spMkLst>
        </pc:spChg>
        <pc:spChg chg="add del mod modVis">
          <ac:chgData name="Kyndal Mayes" userId="142911e9-0388-46d2-be9a-eb7bc2b8ac4b" providerId="ADAL" clId="{29B3924A-0E99-426D-A9EC-E22D7BFBE5E7}" dt="2024-09-27T16:36:37.532" v="4970"/>
          <ac:spMkLst>
            <pc:docMk/>
            <pc:sldMk cId="2778662480" sldId="2147481264"/>
            <ac:spMk id="57" creationId="{47C09A69-1663-B65E-9369-D9FE56A61D76}"/>
          </ac:spMkLst>
        </pc:spChg>
        <pc:spChg chg="del mod">
          <ac:chgData name="Kyndal Mayes" userId="142911e9-0388-46d2-be9a-eb7bc2b8ac4b" providerId="ADAL" clId="{29B3924A-0E99-426D-A9EC-E22D7BFBE5E7}" dt="2024-09-27T16:39:38.516" v="10708"/>
          <ac:spMkLst>
            <pc:docMk/>
            <pc:sldMk cId="2778662480" sldId="2147481264"/>
            <ac:spMk id="59" creationId="{420740FE-C386-3407-9E70-1040F6CA6253}"/>
          </ac:spMkLst>
        </pc:spChg>
        <pc:spChg chg="add del mod modVis">
          <ac:chgData name="Kyndal Mayes" userId="142911e9-0388-46d2-be9a-eb7bc2b8ac4b" providerId="ADAL" clId="{29B3924A-0E99-426D-A9EC-E22D7BFBE5E7}" dt="2024-09-27T16:36:39.037" v="5132"/>
          <ac:spMkLst>
            <pc:docMk/>
            <pc:sldMk cId="2778662480" sldId="2147481264"/>
            <ac:spMk id="61" creationId="{80898579-DE20-BDF1-8BFB-95C52F3CD1D5}"/>
          </ac:spMkLst>
        </pc:spChg>
        <pc:spChg chg="add del mod modVis">
          <ac:chgData name="Kyndal Mayes" userId="142911e9-0388-46d2-be9a-eb7bc2b8ac4b" providerId="ADAL" clId="{29B3924A-0E99-426D-A9EC-E22D7BFBE5E7}" dt="2024-09-27T16:36:46.232" v="5292"/>
          <ac:spMkLst>
            <pc:docMk/>
            <pc:sldMk cId="2778662480" sldId="2147481264"/>
            <ac:spMk id="63" creationId="{4A84D9ED-84B1-1689-F946-A75F7550A335}"/>
          </ac:spMkLst>
        </pc:spChg>
        <pc:spChg chg="add del mod modVis">
          <ac:chgData name="Kyndal Mayes" userId="142911e9-0388-46d2-be9a-eb7bc2b8ac4b" providerId="ADAL" clId="{29B3924A-0E99-426D-A9EC-E22D7BFBE5E7}" dt="2024-09-27T16:36:48.081" v="5450"/>
          <ac:spMkLst>
            <pc:docMk/>
            <pc:sldMk cId="2778662480" sldId="2147481264"/>
            <ac:spMk id="65" creationId="{D79F46C3-6DD9-4D9A-5E98-37B7EF67F055}"/>
          </ac:spMkLst>
        </pc:spChg>
        <pc:spChg chg="add del mod modVis">
          <ac:chgData name="Kyndal Mayes" userId="142911e9-0388-46d2-be9a-eb7bc2b8ac4b" providerId="ADAL" clId="{29B3924A-0E99-426D-A9EC-E22D7BFBE5E7}" dt="2024-09-27T16:36:49.638" v="5608"/>
          <ac:spMkLst>
            <pc:docMk/>
            <pc:sldMk cId="2778662480" sldId="2147481264"/>
            <ac:spMk id="67" creationId="{5F969CCA-0281-C273-AF70-687D2EC5C051}"/>
          </ac:spMkLst>
        </pc:spChg>
        <pc:spChg chg="add del mod modVis">
          <ac:chgData name="Kyndal Mayes" userId="142911e9-0388-46d2-be9a-eb7bc2b8ac4b" providerId="ADAL" clId="{29B3924A-0E99-426D-A9EC-E22D7BFBE5E7}" dt="2024-09-27T16:36:51.175" v="5764"/>
          <ac:spMkLst>
            <pc:docMk/>
            <pc:sldMk cId="2778662480" sldId="2147481264"/>
            <ac:spMk id="69" creationId="{EF72B1B5-A3A9-9538-2B96-0C051491BD3D}"/>
          </ac:spMkLst>
        </pc:spChg>
        <pc:spChg chg="add del mod modVis">
          <ac:chgData name="Kyndal Mayes" userId="142911e9-0388-46d2-be9a-eb7bc2b8ac4b" providerId="ADAL" clId="{29B3924A-0E99-426D-A9EC-E22D7BFBE5E7}" dt="2024-09-27T16:36:52.348" v="5918"/>
          <ac:spMkLst>
            <pc:docMk/>
            <pc:sldMk cId="2778662480" sldId="2147481264"/>
            <ac:spMk id="71" creationId="{F0F47061-CCE1-EB1F-5789-FD77E7164ECC}"/>
          </ac:spMkLst>
        </pc:spChg>
        <pc:spChg chg="del mod">
          <ac:chgData name="Kyndal Mayes" userId="142911e9-0388-46d2-be9a-eb7bc2b8ac4b" providerId="ADAL" clId="{29B3924A-0E99-426D-A9EC-E22D7BFBE5E7}" dt="2024-09-27T16:39:32.705" v="10229"/>
          <ac:spMkLst>
            <pc:docMk/>
            <pc:sldMk cId="2778662480" sldId="2147481264"/>
            <ac:spMk id="72" creationId="{9F9869AF-B0F6-4E89-B216-4EC18C7334C2}"/>
          </ac:spMkLst>
        </pc:spChg>
        <pc:spChg chg="del mod ord">
          <ac:chgData name="Kyndal Mayes" userId="142911e9-0388-46d2-be9a-eb7bc2b8ac4b" providerId="ADAL" clId="{29B3924A-0E99-426D-A9EC-E22D7BFBE5E7}" dt="2024-09-27T16:37:52.610" v="7429"/>
          <ac:spMkLst>
            <pc:docMk/>
            <pc:sldMk cId="2778662480" sldId="2147481264"/>
            <ac:spMk id="74" creationId="{9F9869AF-B0F6-4E89-B216-4EC18C7334C2}"/>
          </ac:spMkLst>
        </pc:spChg>
        <pc:spChg chg="del mod">
          <ac:chgData name="Kyndal Mayes" userId="142911e9-0388-46d2-be9a-eb7bc2b8ac4b" providerId="ADAL" clId="{29B3924A-0E99-426D-A9EC-E22D7BFBE5E7}" dt="2024-09-27T16:39:32.711" v="10230"/>
          <ac:spMkLst>
            <pc:docMk/>
            <pc:sldMk cId="2778662480" sldId="2147481264"/>
            <ac:spMk id="75" creationId="{9F9869AF-B0F6-4E89-B216-4EC18C7334C2}"/>
          </ac:spMkLst>
        </pc:spChg>
        <pc:spChg chg="add del mod modVis">
          <ac:chgData name="Kyndal Mayes" userId="142911e9-0388-46d2-be9a-eb7bc2b8ac4b" providerId="ADAL" clId="{29B3924A-0E99-426D-A9EC-E22D7BFBE5E7}" dt="2024-09-27T16:36:53.938" v="6072"/>
          <ac:spMkLst>
            <pc:docMk/>
            <pc:sldMk cId="2778662480" sldId="2147481264"/>
            <ac:spMk id="76" creationId="{8BA2DB7B-2F4F-1FB4-EF87-414473BF2089}"/>
          </ac:spMkLst>
        </pc:spChg>
        <pc:spChg chg="add del mod modVis">
          <ac:chgData name="Kyndal Mayes" userId="142911e9-0388-46d2-be9a-eb7bc2b8ac4b" providerId="ADAL" clId="{29B3924A-0E99-426D-A9EC-E22D7BFBE5E7}" dt="2024-09-27T16:36:59.566" v="6224"/>
          <ac:spMkLst>
            <pc:docMk/>
            <pc:sldMk cId="2778662480" sldId="2147481264"/>
            <ac:spMk id="78" creationId="{64E80B30-D5C0-BFBE-DCFE-03DB21413C79}"/>
          </ac:spMkLst>
        </pc:spChg>
        <pc:spChg chg="add del mod modVis">
          <ac:chgData name="Kyndal Mayes" userId="142911e9-0388-46d2-be9a-eb7bc2b8ac4b" providerId="ADAL" clId="{29B3924A-0E99-426D-A9EC-E22D7BFBE5E7}" dt="2024-09-27T16:37:01.039" v="6374"/>
          <ac:spMkLst>
            <pc:docMk/>
            <pc:sldMk cId="2778662480" sldId="2147481264"/>
            <ac:spMk id="80" creationId="{EE9D57D4-6EF2-93C7-DAA4-01E6EC437D94}"/>
          </ac:spMkLst>
        </pc:spChg>
        <pc:spChg chg="add del mod modVis">
          <ac:chgData name="Kyndal Mayes" userId="142911e9-0388-46d2-be9a-eb7bc2b8ac4b" providerId="ADAL" clId="{29B3924A-0E99-426D-A9EC-E22D7BFBE5E7}" dt="2024-09-27T16:37:02.407" v="6524"/>
          <ac:spMkLst>
            <pc:docMk/>
            <pc:sldMk cId="2778662480" sldId="2147481264"/>
            <ac:spMk id="82" creationId="{01A8DFDD-76C2-3BED-F80F-09ACDA6CB4E7}"/>
          </ac:spMkLst>
        </pc:spChg>
        <pc:spChg chg="add del mod modVis">
          <ac:chgData name="Kyndal Mayes" userId="142911e9-0388-46d2-be9a-eb7bc2b8ac4b" providerId="ADAL" clId="{29B3924A-0E99-426D-A9EC-E22D7BFBE5E7}" dt="2024-09-27T16:37:21.291" v="6899"/>
          <ac:spMkLst>
            <pc:docMk/>
            <pc:sldMk cId="2778662480" sldId="2147481264"/>
            <ac:spMk id="85" creationId="{CBF8016E-B088-1E81-08B9-65C37D6C1B23}"/>
          </ac:spMkLst>
        </pc:spChg>
        <pc:spChg chg="add del mod modVis">
          <ac:chgData name="Kyndal Mayes" userId="142911e9-0388-46d2-be9a-eb7bc2b8ac4b" providerId="ADAL" clId="{29B3924A-0E99-426D-A9EC-E22D7BFBE5E7}" dt="2024-09-27T16:37:27.344" v="7049"/>
          <ac:spMkLst>
            <pc:docMk/>
            <pc:sldMk cId="2778662480" sldId="2147481264"/>
            <ac:spMk id="87" creationId="{633DBE95-CC6A-CAF6-933A-F49A065752CE}"/>
          </ac:spMkLst>
        </pc:spChg>
        <pc:spChg chg="del mod ord">
          <ac:chgData name="Kyndal Mayes" userId="142911e9-0388-46d2-be9a-eb7bc2b8ac4b" providerId="ADAL" clId="{29B3924A-0E99-426D-A9EC-E22D7BFBE5E7}" dt="2024-09-27T16:37:52.605" v="7425"/>
          <ac:spMkLst>
            <pc:docMk/>
            <pc:sldMk cId="2778662480" sldId="2147481264"/>
            <ac:spMk id="89" creationId="{9F9869AF-B0F6-4E89-B216-4EC18C7334C2}"/>
          </ac:spMkLst>
        </pc:spChg>
        <pc:spChg chg="del mod">
          <ac:chgData name="Kyndal Mayes" userId="142911e9-0388-46d2-be9a-eb7bc2b8ac4b" providerId="ADAL" clId="{29B3924A-0E99-426D-A9EC-E22D7BFBE5E7}" dt="2024-09-27T16:39:42.628" v="11125"/>
          <ac:spMkLst>
            <pc:docMk/>
            <pc:sldMk cId="2778662480" sldId="2147481264"/>
            <ac:spMk id="90" creationId="{9F9869AF-B0F6-4E89-B216-4EC18C7334C2}"/>
          </ac:spMkLst>
        </pc:spChg>
        <pc:spChg chg="add del mod modVis">
          <ac:chgData name="Kyndal Mayes" userId="142911e9-0388-46d2-be9a-eb7bc2b8ac4b" providerId="ADAL" clId="{29B3924A-0E99-426D-A9EC-E22D7BFBE5E7}" dt="2024-09-27T16:37:30.113" v="7220"/>
          <ac:spMkLst>
            <pc:docMk/>
            <pc:sldMk cId="2778662480" sldId="2147481264"/>
            <ac:spMk id="91" creationId="{131AA9A5-D546-83AE-C64B-DEAC71BD9DD7}"/>
          </ac:spMkLst>
        </pc:spChg>
        <pc:spChg chg="del mod ord">
          <ac:chgData name="Kyndal Mayes" userId="142911e9-0388-46d2-be9a-eb7bc2b8ac4b" providerId="ADAL" clId="{29B3924A-0E99-426D-A9EC-E22D7BFBE5E7}" dt="2024-09-27T16:37:52.608" v="7427"/>
          <ac:spMkLst>
            <pc:docMk/>
            <pc:sldMk cId="2778662480" sldId="2147481264"/>
            <ac:spMk id="93" creationId="{9F9869AF-B0F6-4E89-B216-4EC18C7334C2}"/>
          </ac:spMkLst>
        </pc:spChg>
        <pc:spChg chg="del mod">
          <ac:chgData name="Kyndal Mayes" userId="142911e9-0388-46d2-be9a-eb7bc2b8ac4b" providerId="ADAL" clId="{29B3924A-0E99-426D-A9EC-E22D7BFBE5E7}" dt="2024-09-27T16:39:42.633" v="11126"/>
          <ac:spMkLst>
            <pc:docMk/>
            <pc:sldMk cId="2778662480" sldId="2147481264"/>
            <ac:spMk id="94" creationId="{9F9869AF-B0F6-4E89-B216-4EC18C7334C2}"/>
          </ac:spMkLst>
        </pc:spChg>
        <pc:spChg chg="add del mod modVis">
          <ac:chgData name="Kyndal Mayes" userId="142911e9-0388-46d2-be9a-eb7bc2b8ac4b" providerId="ADAL" clId="{29B3924A-0E99-426D-A9EC-E22D7BFBE5E7}" dt="2024-09-27T16:37:52.808" v="7514"/>
          <ac:spMkLst>
            <pc:docMk/>
            <pc:sldMk cId="2778662480" sldId="2147481264"/>
            <ac:spMk id="96" creationId="{E2796B77-A1F9-41A0-B7C6-AABD3583A055}"/>
          </ac:spMkLst>
        </pc:spChg>
        <pc:spChg chg="add del mod">
          <ac:chgData name="Kyndal Mayes" userId="142911e9-0388-46d2-be9a-eb7bc2b8ac4b" providerId="ADAL" clId="{29B3924A-0E99-426D-A9EC-E22D7BFBE5E7}" dt="2024-09-27T16:37:32.540" v="7224"/>
          <ac:spMkLst>
            <pc:docMk/>
            <pc:sldMk cId="2778662480" sldId="2147481264"/>
            <ac:spMk id="106" creationId="{9F9869AF-B0F6-4E89-B216-4EC18C7334C2}"/>
          </ac:spMkLst>
        </pc:spChg>
        <pc:spChg chg="add del mod modVis">
          <ac:chgData name="Kyndal Mayes" userId="142911e9-0388-46d2-be9a-eb7bc2b8ac4b" providerId="ADAL" clId="{29B3924A-0E99-426D-A9EC-E22D7BFBE5E7}" dt="2024-09-27T16:38:49.889" v="8567"/>
          <ac:spMkLst>
            <pc:docMk/>
            <pc:sldMk cId="2778662480" sldId="2147481264"/>
            <ac:spMk id="107" creationId="{4565BB7F-152F-D23A-E797-2C71D648D43B}"/>
          </ac:spMkLst>
        </pc:spChg>
        <pc:spChg chg="add mod">
          <ac:chgData name="Kyndal Mayes" userId="142911e9-0388-46d2-be9a-eb7bc2b8ac4b" providerId="ADAL" clId="{29B3924A-0E99-426D-A9EC-E22D7BFBE5E7}" dt="2024-09-27T16:39:42.923" v="11254"/>
          <ac:spMkLst>
            <pc:docMk/>
            <pc:sldMk cId="2778662480" sldId="2147481264"/>
            <ac:spMk id="109" creationId="{9F9869AF-B0F6-4E89-B216-4EC18C7334C2}"/>
          </ac:spMkLst>
        </pc:spChg>
        <pc:spChg chg="add del mod modVis">
          <ac:chgData name="Kyndal Mayes" userId="142911e9-0388-46d2-be9a-eb7bc2b8ac4b" providerId="ADAL" clId="{29B3924A-0E99-426D-A9EC-E22D7BFBE5E7}" dt="2024-09-27T16:38:52.279" v="8714"/>
          <ac:spMkLst>
            <pc:docMk/>
            <pc:sldMk cId="2778662480" sldId="2147481264"/>
            <ac:spMk id="111" creationId="{D7E81B3E-E3F5-1154-9E0C-ECE3DE248736}"/>
          </ac:spMkLst>
        </pc:spChg>
        <pc:spChg chg="add del mod modVis">
          <ac:chgData name="Kyndal Mayes" userId="142911e9-0388-46d2-be9a-eb7bc2b8ac4b" providerId="ADAL" clId="{29B3924A-0E99-426D-A9EC-E22D7BFBE5E7}" dt="2024-09-27T16:38:56.738" v="8916"/>
          <ac:spMkLst>
            <pc:docMk/>
            <pc:sldMk cId="2778662480" sldId="2147481264"/>
            <ac:spMk id="113" creationId="{EC133E2A-D4A6-00E4-D794-F375121AC399}"/>
          </ac:spMkLst>
        </pc:spChg>
        <pc:spChg chg="add mod">
          <ac:chgData name="Kyndal Mayes" userId="142911e9-0388-46d2-be9a-eb7bc2b8ac4b" providerId="ADAL" clId="{29B3924A-0E99-426D-A9EC-E22D7BFBE5E7}" dt="2024-09-27T16:39:42.924" v="11255"/>
          <ac:spMkLst>
            <pc:docMk/>
            <pc:sldMk cId="2778662480" sldId="2147481264"/>
            <ac:spMk id="114" creationId="{9F9869AF-B0F6-4E89-B216-4EC18C7334C2}"/>
          </ac:spMkLst>
        </pc:spChg>
        <pc:spChg chg="add del mod modVis">
          <ac:chgData name="Kyndal Mayes" userId="142911e9-0388-46d2-be9a-eb7bc2b8ac4b" providerId="ADAL" clId="{29B3924A-0E99-426D-A9EC-E22D7BFBE5E7}" dt="2024-09-27T16:38:58.253" v="9065"/>
          <ac:spMkLst>
            <pc:docMk/>
            <pc:sldMk cId="2778662480" sldId="2147481264"/>
            <ac:spMk id="116" creationId="{95F9E6AA-4EA6-A127-52E7-D39AFD075A65}"/>
          </ac:spMkLst>
        </pc:spChg>
        <pc:spChg chg="add del mod modVis">
          <ac:chgData name="Kyndal Mayes" userId="142911e9-0388-46d2-be9a-eb7bc2b8ac4b" providerId="ADAL" clId="{29B3924A-0E99-426D-A9EC-E22D7BFBE5E7}" dt="2024-09-27T16:39:00.067" v="9269"/>
          <ac:spMkLst>
            <pc:docMk/>
            <pc:sldMk cId="2778662480" sldId="2147481264"/>
            <ac:spMk id="118" creationId="{5EF5FCED-94BC-336C-6F67-70575C1276D4}"/>
          </ac:spMkLst>
        </pc:spChg>
        <pc:spChg chg="add mod">
          <ac:chgData name="Kyndal Mayes" userId="142911e9-0388-46d2-be9a-eb7bc2b8ac4b" providerId="ADAL" clId="{29B3924A-0E99-426D-A9EC-E22D7BFBE5E7}" dt="2024-09-27T16:39:42.924" v="11256"/>
          <ac:spMkLst>
            <pc:docMk/>
            <pc:sldMk cId="2778662480" sldId="2147481264"/>
            <ac:spMk id="119" creationId="{9F9869AF-B0F6-4E89-B216-4EC18C7334C2}"/>
          </ac:spMkLst>
        </pc:spChg>
        <pc:spChg chg="add del mod modVis">
          <ac:chgData name="Kyndal Mayes" userId="142911e9-0388-46d2-be9a-eb7bc2b8ac4b" providerId="ADAL" clId="{29B3924A-0E99-426D-A9EC-E22D7BFBE5E7}" dt="2024-09-27T16:39:04.359" v="9420"/>
          <ac:spMkLst>
            <pc:docMk/>
            <pc:sldMk cId="2778662480" sldId="2147481264"/>
            <ac:spMk id="121" creationId="{9D86E02F-78DD-BC25-260F-D57A50028E4B}"/>
          </ac:spMkLst>
        </pc:spChg>
        <pc:spChg chg="add del mod modVis">
          <ac:chgData name="Kyndal Mayes" userId="142911e9-0388-46d2-be9a-eb7bc2b8ac4b" providerId="ADAL" clId="{29B3924A-0E99-426D-A9EC-E22D7BFBE5E7}" dt="2024-09-27T16:39:06.687" v="9626"/>
          <ac:spMkLst>
            <pc:docMk/>
            <pc:sldMk cId="2778662480" sldId="2147481264"/>
            <ac:spMk id="123" creationId="{3F0029A6-B5F8-E9B1-AD7D-097635927871}"/>
          </ac:spMkLst>
        </pc:spChg>
        <pc:spChg chg="add mod">
          <ac:chgData name="Kyndal Mayes" userId="142911e9-0388-46d2-be9a-eb7bc2b8ac4b" providerId="ADAL" clId="{29B3924A-0E99-426D-A9EC-E22D7BFBE5E7}" dt="2024-09-27T16:39:42.925" v="11257"/>
          <ac:spMkLst>
            <pc:docMk/>
            <pc:sldMk cId="2778662480" sldId="2147481264"/>
            <ac:spMk id="124" creationId="{9F9869AF-B0F6-4E89-B216-4EC18C7334C2}"/>
          </ac:spMkLst>
        </pc:spChg>
        <pc:spChg chg="add del mod modVis">
          <ac:chgData name="Kyndal Mayes" userId="142911e9-0388-46d2-be9a-eb7bc2b8ac4b" providerId="ADAL" clId="{29B3924A-0E99-426D-A9EC-E22D7BFBE5E7}" dt="2024-09-27T16:39:10.678" v="9779"/>
          <ac:spMkLst>
            <pc:docMk/>
            <pc:sldMk cId="2778662480" sldId="2147481264"/>
            <ac:spMk id="126" creationId="{402313D5-D225-13E9-9EA6-5EA9590E0DF7}"/>
          </ac:spMkLst>
        </pc:spChg>
        <pc:spChg chg="add del mod modVis">
          <ac:chgData name="Kyndal Mayes" userId="142911e9-0388-46d2-be9a-eb7bc2b8ac4b" providerId="ADAL" clId="{29B3924A-0E99-426D-A9EC-E22D7BFBE5E7}" dt="2024-09-27T16:39:27.789" v="9928"/>
          <ac:spMkLst>
            <pc:docMk/>
            <pc:sldMk cId="2778662480" sldId="2147481264"/>
            <ac:spMk id="128" creationId="{61B0434A-9461-5690-9376-DE52EFF94811}"/>
          </ac:spMkLst>
        </pc:spChg>
        <pc:spChg chg="add del mod modVis">
          <ac:chgData name="Kyndal Mayes" userId="142911e9-0388-46d2-be9a-eb7bc2b8ac4b" providerId="ADAL" clId="{29B3924A-0E99-426D-A9EC-E22D7BFBE5E7}" dt="2024-09-27T16:39:30.714" v="10077"/>
          <ac:spMkLst>
            <pc:docMk/>
            <pc:sldMk cId="2778662480" sldId="2147481264"/>
            <ac:spMk id="130" creationId="{2F6041AB-8C08-79D3-7C1D-A3F075D85362}"/>
          </ac:spMkLst>
        </pc:spChg>
        <pc:spChg chg="add del mod modVis">
          <ac:chgData name="Kyndal Mayes" userId="142911e9-0388-46d2-be9a-eb7bc2b8ac4b" providerId="ADAL" clId="{29B3924A-0E99-426D-A9EC-E22D7BFBE5E7}" dt="2024-09-27T16:39:32.318" v="10226"/>
          <ac:spMkLst>
            <pc:docMk/>
            <pc:sldMk cId="2778662480" sldId="2147481264"/>
            <ac:spMk id="132" creationId="{7A7EA3E3-C91E-3738-8AA3-9E4486FAFE5D}"/>
          </ac:spMkLst>
        </pc:spChg>
        <pc:spChg chg="add del mod modVis">
          <ac:chgData name="Kyndal Mayes" userId="142911e9-0388-46d2-be9a-eb7bc2b8ac4b" providerId="ADAL" clId="{29B3924A-0E99-426D-A9EC-E22D7BFBE5E7}" dt="2024-09-27T16:39:33.041" v="10373"/>
          <ac:spMkLst>
            <pc:docMk/>
            <pc:sldMk cId="2778662480" sldId="2147481264"/>
            <ac:spMk id="134" creationId="{0E730A8B-C24D-08D0-2853-DD600E4E8574}"/>
          </ac:spMkLst>
        </pc:spChg>
        <pc:spChg chg="add del mod modVis">
          <ac:chgData name="Kyndal Mayes" userId="142911e9-0388-46d2-be9a-eb7bc2b8ac4b" providerId="ADAL" clId="{29B3924A-0E99-426D-A9EC-E22D7BFBE5E7}" dt="2024-09-27T16:39:35.150" v="10518"/>
          <ac:spMkLst>
            <pc:docMk/>
            <pc:sldMk cId="2778662480" sldId="2147481264"/>
            <ac:spMk id="136" creationId="{B519327A-6073-ACDA-9566-E8824B607431}"/>
          </ac:spMkLst>
        </pc:spChg>
        <pc:spChg chg="add del mod modVis">
          <ac:chgData name="Kyndal Mayes" userId="142911e9-0388-46d2-be9a-eb7bc2b8ac4b" providerId="ADAL" clId="{29B3924A-0E99-426D-A9EC-E22D7BFBE5E7}" dt="2024-09-27T16:39:38.171" v="10692"/>
          <ac:spMkLst>
            <pc:docMk/>
            <pc:sldMk cId="2778662480" sldId="2147481264"/>
            <ac:spMk id="138" creationId="{A793CF62-9925-9A21-7263-F54DF640F9A5}"/>
          </ac:spMkLst>
        </pc:spChg>
        <pc:spChg chg="add del mod modVis">
          <ac:chgData name="Kyndal Mayes" userId="142911e9-0388-46d2-be9a-eb7bc2b8ac4b" providerId="ADAL" clId="{29B3924A-0E99-426D-A9EC-E22D7BFBE5E7}" dt="2024-09-27T16:39:38.817" v="10836"/>
          <ac:spMkLst>
            <pc:docMk/>
            <pc:sldMk cId="2778662480" sldId="2147481264"/>
            <ac:spMk id="140" creationId="{6A0719AC-14E5-E214-1461-B3A3543E8E95}"/>
          </ac:spMkLst>
        </pc:spChg>
        <pc:spChg chg="add del mod modVis">
          <ac:chgData name="Kyndal Mayes" userId="142911e9-0388-46d2-be9a-eb7bc2b8ac4b" providerId="ADAL" clId="{29B3924A-0E99-426D-A9EC-E22D7BFBE5E7}" dt="2024-09-27T16:39:40.818" v="10979"/>
          <ac:spMkLst>
            <pc:docMk/>
            <pc:sldMk cId="2778662480" sldId="2147481264"/>
            <ac:spMk id="142" creationId="{D87A1258-507C-ACFA-A830-F47FC11FC3A7}"/>
          </ac:spMkLst>
        </pc:spChg>
        <pc:spChg chg="add del mod modVis">
          <ac:chgData name="Kyndal Mayes" userId="142911e9-0388-46d2-be9a-eb7bc2b8ac4b" providerId="ADAL" clId="{29B3924A-0E99-426D-A9EC-E22D7BFBE5E7}" dt="2024-09-27T16:39:42.441" v="11122"/>
          <ac:spMkLst>
            <pc:docMk/>
            <pc:sldMk cId="2778662480" sldId="2147481264"/>
            <ac:spMk id="144" creationId="{6250E75D-D0D0-0D90-AF92-16495B656C17}"/>
          </ac:spMkLst>
        </pc:spChg>
        <pc:spChg chg="add del mod modVis">
          <ac:chgData name="Kyndal Mayes" userId="142911e9-0388-46d2-be9a-eb7bc2b8ac4b" providerId="ADAL" clId="{29B3924A-0E99-426D-A9EC-E22D7BFBE5E7}" dt="2024-09-27T16:39:42.927" v="11263"/>
          <ac:spMkLst>
            <pc:docMk/>
            <pc:sldMk cId="2778662480" sldId="2147481264"/>
            <ac:spMk id="146" creationId="{613B4083-8763-AC0D-2C29-8850DA7094FA}"/>
          </ac:spMkLst>
        </pc:spChg>
        <pc:spChg chg="add mod">
          <ac:chgData name="Kyndal Mayes" userId="142911e9-0388-46d2-be9a-eb7bc2b8ac4b" providerId="ADAL" clId="{29B3924A-0E99-426D-A9EC-E22D7BFBE5E7}" dt="2024-09-27T16:43:18.180" v="11273" actId="1076"/>
          <ac:spMkLst>
            <pc:docMk/>
            <pc:sldMk cId="2778662480" sldId="2147481264"/>
            <ac:spMk id="148" creationId="{754FC970-A567-AF68-7DF7-88D928B7604F}"/>
          </ac:spMkLst>
        </pc:spChg>
        <pc:graphicFrameChg chg="del mod ord">
          <ac:chgData name="Kyndal Mayes" userId="142911e9-0388-46d2-be9a-eb7bc2b8ac4b" providerId="ADAL" clId="{29B3924A-0E99-426D-A9EC-E22D7BFBE5E7}" dt="2024-09-27T16:37:52.614" v="7431"/>
          <ac:graphicFrameMkLst>
            <pc:docMk/>
            <pc:sldMk cId="2778662480" sldId="2147481264"/>
            <ac:graphicFrameMk id="53" creationId="{BDD8CCE0-EFB7-1EF4-5818-8E4FE55D5DD4}"/>
          </ac:graphicFrameMkLst>
        </pc:graphicFrameChg>
        <pc:graphicFrameChg chg="mod">
          <ac:chgData name="Kyndal Mayes" userId="142911e9-0388-46d2-be9a-eb7bc2b8ac4b" providerId="ADAL" clId="{29B3924A-0E99-426D-A9EC-E22D7BFBE5E7}" dt="2024-09-27T16:39:42.928" v="11265"/>
          <ac:graphicFrameMkLst>
            <pc:docMk/>
            <pc:sldMk cId="2778662480" sldId="2147481264"/>
            <ac:graphicFrameMk id="54" creationId="{FAD03549-E93B-6416-7980-204A3C0E3A29}"/>
          </ac:graphicFrameMkLst>
        </pc:graphicFrameChg>
        <pc:graphicFrameChg chg="del">
          <ac:chgData name="Kyndal Mayes" userId="142911e9-0388-46d2-be9a-eb7bc2b8ac4b" providerId="ADAL" clId="{29B3924A-0E99-426D-A9EC-E22D7BFBE5E7}" dt="2024-09-27T16:36:37.397" v="4873"/>
          <ac:graphicFrameMkLst>
            <pc:docMk/>
            <pc:sldMk cId="2778662480" sldId="2147481264"/>
            <ac:graphicFrameMk id="58" creationId="{C8E0D717-5A32-F474-C4F6-685783E4408A}"/>
          </ac:graphicFrameMkLst>
        </pc:graphicFrameChg>
        <pc:graphicFrameChg chg="add del mod ord">
          <ac:chgData name="Kyndal Mayes" userId="142911e9-0388-46d2-be9a-eb7bc2b8ac4b" providerId="ADAL" clId="{29B3924A-0E99-426D-A9EC-E22D7BFBE5E7}" dt="2024-09-27T16:36:38.827" v="5035"/>
          <ac:graphicFrameMkLst>
            <pc:docMk/>
            <pc:sldMk cId="2778662480" sldId="2147481264"/>
            <ac:graphicFrameMk id="60" creationId="{C5B0F5C2-7F53-44C0-480D-997522E845D2}"/>
          </ac:graphicFrameMkLst>
        </pc:graphicFrameChg>
        <pc:graphicFrameChg chg="add del mod ord">
          <ac:chgData name="Kyndal Mayes" userId="142911e9-0388-46d2-be9a-eb7bc2b8ac4b" providerId="ADAL" clId="{29B3924A-0E99-426D-A9EC-E22D7BFBE5E7}" dt="2024-09-27T16:36:46.002" v="5197"/>
          <ac:graphicFrameMkLst>
            <pc:docMk/>
            <pc:sldMk cId="2778662480" sldId="2147481264"/>
            <ac:graphicFrameMk id="62" creationId="{BB9B1853-DBC0-945C-92CC-9ED65D92114C}"/>
          </ac:graphicFrameMkLst>
        </pc:graphicFrameChg>
        <pc:graphicFrameChg chg="add del mod ord">
          <ac:chgData name="Kyndal Mayes" userId="142911e9-0388-46d2-be9a-eb7bc2b8ac4b" providerId="ADAL" clId="{29B3924A-0E99-426D-A9EC-E22D7BFBE5E7}" dt="2024-09-27T16:36:47.821" v="5355"/>
          <ac:graphicFrameMkLst>
            <pc:docMk/>
            <pc:sldMk cId="2778662480" sldId="2147481264"/>
            <ac:graphicFrameMk id="64" creationId="{BC3638AC-6488-FDE6-148A-4947FDB6397E}"/>
          </ac:graphicFrameMkLst>
        </pc:graphicFrameChg>
        <pc:graphicFrameChg chg="add del mod ord">
          <ac:chgData name="Kyndal Mayes" userId="142911e9-0388-46d2-be9a-eb7bc2b8ac4b" providerId="ADAL" clId="{29B3924A-0E99-426D-A9EC-E22D7BFBE5E7}" dt="2024-09-27T16:36:49.480" v="5513"/>
          <ac:graphicFrameMkLst>
            <pc:docMk/>
            <pc:sldMk cId="2778662480" sldId="2147481264"/>
            <ac:graphicFrameMk id="66" creationId="{DF75E27C-CF64-17FB-20BE-8FC00D4653A1}"/>
          </ac:graphicFrameMkLst>
        </pc:graphicFrameChg>
        <pc:graphicFrameChg chg="add del mod ord">
          <ac:chgData name="Kyndal Mayes" userId="142911e9-0388-46d2-be9a-eb7bc2b8ac4b" providerId="ADAL" clId="{29B3924A-0E99-426D-A9EC-E22D7BFBE5E7}" dt="2024-09-27T16:36:51.034" v="5671"/>
          <ac:graphicFrameMkLst>
            <pc:docMk/>
            <pc:sldMk cId="2778662480" sldId="2147481264"/>
            <ac:graphicFrameMk id="68" creationId="{4BCB2909-3FE1-E2C1-AB3A-1B0332C9DB5B}"/>
          </ac:graphicFrameMkLst>
        </pc:graphicFrameChg>
        <pc:graphicFrameChg chg="add del mod ord">
          <ac:chgData name="Kyndal Mayes" userId="142911e9-0388-46d2-be9a-eb7bc2b8ac4b" providerId="ADAL" clId="{29B3924A-0E99-426D-A9EC-E22D7BFBE5E7}" dt="2024-09-27T16:36:52.200" v="5825"/>
          <ac:graphicFrameMkLst>
            <pc:docMk/>
            <pc:sldMk cId="2778662480" sldId="2147481264"/>
            <ac:graphicFrameMk id="70" creationId="{71F0A882-36CC-9A73-F28A-809AB7B15EA6}"/>
          </ac:graphicFrameMkLst>
        </pc:graphicFrameChg>
        <pc:graphicFrameChg chg="add del mod ord">
          <ac:chgData name="Kyndal Mayes" userId="142911e9-0388-46d2-be9a-eb7bc2b8ac4b" providerId="ADAL" clId="{29B3924A-0E99-426D-A9EC-E22D7BFBE5E7}" dt="2024-09-27T16:36:53.740" v="5979"/>
          <ac:graphicFrameMkLst>
            <pc:docMk/>
            <pc:sldMk cId="2778662480" sldId="2147481264"/>
            <ac:graphicFrameMk id="73" creationId="{47530F66-747B-746D-B187-A47F588391A6}"/>
          </ac:graphicFrameMkLst>
        </pc:graphicFrameChg>
        <pc:graphicFrameChg chg="add del mod ord">
          <ac:chgData name="Kyndal Mayes" userId="142911e9-0388-46d2-be9a-eb7bc2b8ac4b" providerId="ADAL" clId="{29B3924A-0E99-426D-A9EC-E22D7BFBE5E7}" dt="2024-09-27T16:36:59.453" v="6133"/>
          <ac:graphicFrameMkLst>
            <pc:docMk/>
            <pc:sldMk cId="2778662480" sldId="2147481264"/>
            <ac:graphicFrameMk id="77" creationId="{7B81BFDD-7426-B07A-7DA4-A658A8A5D71E}"/>
          </ac:graphicFrameMkLst>
        </pc:graphicFrameChg>
        <pc:graphicFrameChg chg="add del mod ord">
          <ac:chgData name="Kyndal Mayes" userId="142911e9-0388-46d2-be9a-eb7bc2b8ac4b" providerId="ADAL" clId="{29B3924A-0E99-426D-A9EC-E22D7BFBE5E7}" dt="2024-09-27T16:37:00.884" v="6283"/>
          <ac:graphicFrameMkLst>
            <pc:docMk/>
            <pc:sldMk cId="2778662480" sldId="2147481264"/>
            <ac:graphicFrameMk id="79" creationId="{3EEDAF3A-9BDF-3B49-721E-522C70EB532F}"/>
          </ac:graphicFrameMkLst>
        </pc:graphicFrameChg>
        <pc:graphicFrameChg chg="add del mod ord">
          <ac:chgData name="Kyndal Mayes" userId="142911e9-0388-46d2-be9a-eb7bc2b8ac4b" providerId="ADAL" clId="{29B3924A-0E99-426D-A9EC-E22D7BFBE5E7}" dt="2024-09-27T16:37:02.225" v="6433"/>
          <ac:graphicFrameMkLst>
            <pc:docMk/>
            <pc:sldMk cId="2778662480" sldId="2147481264"/>
            <ac:graphicFrameMk id="81" creationId="{D78B8801-6EB7-BCBE-3FC7-6E3718D64768}"/>
          </ac:graphicFrameMkLst>
        </pc:graphicFrameChg>
        <pc:graphicFrameChg chg="add del mod ord">
          <ac:chgData name="Kyndal Mayes" userId="142911e9-0388-46d2-be9a-eb7bc2b8ac4b" providerId="ADAL" clId="{29B3924A-0E99-426D-A9EC-E22D7BFBE5E7}" dt="2024-09-27T16:37:21.156" v="6808"/>
          <ac:graphicFrameMkLst>
            <pc:docMk/>
            <pc:sldMk cId="2778662480" sldId="2147481264"/>
            <ac:graphicFrameMk id="83" creationId="{BAF105F1-CCFA-1597-3FC0-D96AA2C4134D}"/>
          </ac:graphicFrameMkLst>
        </pc:graphicFrameChg>
        <pc:graphicFrameChg chg="add mod ord">
          <ac:chgData name="Kyndal Mayes" userId="142911e9-0388-46d2-be9a-eb7bc2b8ac4b" providerId="ADAL" clId="{29B3924A-0E99-426D-A9EC-E22D7BFBE5E7}" dt="2024-09-27T16:37:07.236" v="6693"/>
          <ac:graphicFrameMkLst>
            <pc:docMk/>
            <pc:sldMk cId="2778662480" sldId="2147481264"/>
            <ac:graphicFrameMk id="84" creationId="{D0460D08-BB09-A8E4-1B0F-1A04C11E2956}"/>
          </ac:graphicFrameMkLst>
        </pc:graphicFrameChg>
        <pc:graphicFrameChg chg="add del mod ord">
          <ac:chgData name="Kyndal Mayes" userId="142911e9-0388-46d2-be9a-eb7bc2b8ac4b" providerId="ADAL" clId="{29B3924A-0E99-426D-A9EC-E22D7BFBE5E7}" dt="2024-09-27T16:37:27.206" v="6958"/>
          <ac:graphicFrameMkLst>
            <pc:docMk/>
            <pc:sldMk cId="2778662480" sldId="2147481264"/>
            <ac:graphicFrameMk id="86" creationId="{1BEB9B15-0B4D-8BD9-903D-5C4D149EA37A}"/>
          </ac:graphicFrameMkLst>
        </pc:graphicFrameChg>
        <pc:graphicFrameChg chg="add del mod ord">
          <ac:chgData name="Kyndal Mayes" userId="142911e9-0388-46d2-be9a-eb7bc2b8ac4b" providerId="ADAL" clId="{29B3924A-0E99-426D-A9EC-E22D7BFBE5E7}" dt="2024-09-27T16:37:29.908" v="7129"/>
          <ac:graphicFrameMkLst>
            <pc:docMk/>
            <pc:sldMk cId="2778662480" sldId="2147481264"/>
            <ac:graphicFrameMk id="88" creationId="{7557CDDE-A11B-B1E1-E2BD-4BADFCADD5B9}"/>
          </ac:graphicFrameMkLst>
        </pc:graphicFrameChg>
        <pc:graphicFrameChg chg="add del mod ord">
          <ac:chgData name="Kyndal Mayes" userId="142911e9-0388-46d2-be9a-eb7bc2b8ac4b" providerId="ADAL" clId="{29B3924A-0E99-426D-A9EC-E22D7BFBE5E7}" dt="2024-09-27T16:37:32.589" v="7243"/>
          <ac:graphicFrameMkLst>
            <pc:docMk/>
            <pc:sldMk cId="2778662480" sldId="2147481264"/>
            <ac:graphicFrameMk id="92" creationId="{E6A8FB1C-7A41-EEE3-4842-100D5CFF86BC}"/>
          </ac:graphicFrameMkLst>
        </pc:graphicFrameChg>
        <pc:graphicFrameChg chg="add del mod ord">
          <ac:chgData name="Kyndal Mayes" userId="142911e9-0388-46d2-be9a-eb7bc2b8ac4b" providerId="ADAL" clId="{29B3924A-0E99-426D-A9EC-E22D7BFBE5E7}" dt="2024-09-27T16:38:13.394" v="7540"/>
          <ac:graphicFrameMkLst>
            <pc:docMk/>
            <pc:sldMk cId="2778662480" sldId="2147481264"/>
            <ac:graphicFrameMk id="95" creationId="{0E5ACC74-B7BE-8B7C-6E78-F05BFFE7E60D}"/>
          </ac:graphicFrameMkLst>
        </pc:graphicFrameChg>
        <pc:graphicFrameChg chg="add del mod ord">
          <ac:chgData name="Kyndal Mayes" userId="142911e9-0388-46d2-be9a-eb7bc2b8ac4b" providerId="ADAL" clId="{29B3924A-0E99-426D-A9EC-E22D7BFBE5E7}" dt="2024-09-27T16:38:49.757" v="8483"/>
          <ac:graphicFrameMkLst>
            <pc:docMk/>
            <pc:sldMk cId="2778662480" sldId="2147481264"/>
            <ac:graphicFrameMk id="97" creationId="{8A719057-A20E-BB55-88B2-04BD1FBDF5F3}"/>
          </ac:graphicFrameMkLst>
        </pc:graphicFrameChg>
        <pc:graphicFrameChg chg="add del mod ord">
          <ac:chgData name="Kyndal Mayes" userId="142911e9-0388-46d2-be9a-eb7bc2b8ac4b" providerId="ADAL" clId="{29B3924A-0E99-426D-A9EC-E22D7BFBE5E7}" dt="2024-09-27T16:38:14.258" v="7648"/>
          <ac:graphicFrameMkLst>
            <pc:docMk/>
            <pc:sldMk cId="2778662480" sldId="2147481264"/>
            <ac:graphicFrameMk id="98" creationId="{16B95C1F-6DAE-DEAB-26E8-FB3E65367138}"/>
          </ac:graphicFrameMkLst>
        </pc:graphicFrameChg>
        <pc:graphicFrameChg chg="add del mod ord">
          <ac:chgData name="Kyndal Mayes" userId="142911e9-0388-46d2-be9a-eb7bc2b8ac4b" providerId="ADAL" clId="{29B3924A-0E99-426D-A9EC-E22D7BFBE5E7}" dt="2024-09-27T16:38:33.820" v="7750"/>
          <ac:graphicFrameMkLst>
            <pc:docMk/>
            <pc:sldMk cId="2778662480" sldId="2147481264"/>
            <ac:graphicFrameMk id="99" creationId="{10B8B7E5-B15D-0D71-75EE-D96E9529905C}"/>
          </ac:graphicFrameMkLst>
        </pc:graphicFrameChg>
        <pc:graphicFrameChg chg="add del mod ord">
          <ac:chgData name="Kyndal Mayes" userId="142911e9-0388-46d2-be9a-eb7bc2b8ac4b" providerId="ADAL" clId="{29B3924A-0E99-426D-A9EC-E22D7BFBE5E7}" dt="2024-09-27T16:38:35.139" v="7858"/>
          <ac:graphicFrameMkLst>
            <pc:docMk/>
            <pc:sldMk cId="2778662480" sldId="2147481264"/>
            <ac:graphicFrameMk id="100" creationId="{82F1B4B6-2AE1-2C20-56F2-9F9175E1395B}"/>
          </ac:graphicFrameMkLst>
        </pc:graphicFrameChg>
        <pc:graphicFrameChg chg="add del mod ord">
          <ac:chgData name="Kyndal Mayes" userId="142911e9-0388-46d2-be9a-eb7bc2b8ac4b" providerId="ADAL" clId="{29B3924A-0E99-426D-A9EC-E22D7BFBE5E7}" dt="2024-09-27T16:38:37.199" v="7960"/>
          <ac:graphicFrameMkLst>
            <pc:docMk/>
            <pc:sldMk cId="2778662480" sldId="2147481264"/>
            <ac:graphicFrameMk id="101" creationId="{ECD44B69-8E54-40B4-D0B6-9BBFF6DE00D5}"/>
          </ac:graphicFrameMkLst>
        </pc:graphicFrameChg>
        <pc:graphicFrameChg chg="add del mod ord">
          <ac:chgData name="Kyndal Mayes" userId="142911e9-0388-46d2-be9a-eb7bc2b8ac4b" providerId="ADAL" clId="{29B3924A-0E99-426D-A9EC-E22D7BFBE5E7}" dt="2024-09-27T16:38:44.455" v="8067"/>
          <ac:graphicFrameMkLst>
            <pc:docMk/>
            <pc:sldMk cId="2778662480" sldId="2147481264"/>
            <ac:graphicFrameMk id="102" creationId="{4E83056E-67EA-208B-32C5-7CAABDCD0B7B}"/>
          </ac:graphicFrameMkLst>
        </pc:graphicFrameChg>
        <pc:graphicFrameChg chg="add del mod ord">
          <ac:chgData name="Kyndal Mayes" userId="142911e9-0388-46d2-be9a-eb7bc2b8ac4b" providerId="ADAL" clId="{29B3924A-0E99-426D-A9EC-E22D7BFBE5E7}" dt="2024-09-27T16:38:45.929" v="8169"/>
          <ac:graphicFrameMkLst>
            <pc:docMk/>
            <pc:sldMk cId="2778662480" sldId="2147481264"/>
            <ac:graphicFrameMk id="103" creationId="{342A014E-8021-A9BD-D019-EE2A20FA6E56}"/>
          </ac:graphicFrameMkLst>
        </pc:graphicFrameChg>
        <pc:graphicFrameChg chg="add del mod ord">
          <ac:chgData name="Kyndal Mayes" userId="142911e9-0388-46d2-be9a-eb7bc2b8ac4b" providerId="ADAL" clId="{29B3924A-0E99-426D-A9EC-E22D7BFBE5E7}" dt="2024-09-27T16:38:47.113" v="8275"/>
          <ac:graphicFrameMkLst>
            <pc:docMk/>
            <pc:sldMk cId="2778662480" sldId="2147481264"/>
            <ac:graphicFrameMk id="104" creationId="{E53874A2-94B2-C1CC-D759-AED77A96F23C}"/>
          </ac:graphicFrameMkLst>
        </pc:graphicFrameChg>
        <pc:graphicFrameChg chg="add del mod ord">
          <ac:chgData name="Kyndal Mayes" userId="142911e9-0388-46d2-be9a-eb7bc2b8ac4b" providerId="ADAL" clId="{29B3924A-0E99-426D-A9EC-E22D7BFBE5E7}" dt="2024-09-27T16:38:49.497" v="8413"/>
          <ac:graphicFrameMkLst>
            <pc:docMk/>
            <pc:sldMk cId="2778662480" sldId="2147481264"/>
            <ac:graphicFrameMk id="105" creationId="{ACFE55AE-8220-32B0-689D-0175C4EFB644}"/>
          </ac:graphicFrameMkLst>
        </pc:graphicFrameChg>
        <pc:graphicFrameChg chg="add mod ord">
          <ac:chgData name="Kyndal Mayes" userId="142911e9-0388-46d2-be9a-eb7bc2b8ac4b" providerId="ADAL" clId="{29B3924A-0E99-426D-A9EC-E22D7BFBE5E7}" dt="2024-09-27T16:39:42.900" v="11201"/>
          <ac:graphicFrameMkLst>
            <pc:docMk/>
            <pc:sldMk cId="2778662480" sldId="2147481264"/>
            <ac:graphicFrameMk id="108" creationId="{7FE42DE2-5395-FC87-5DAB-C8F9DE04D701}"/>
          </ac:graphicFrameMkLst>
        </pc:graphicFrameChg>
        <pc:graphicFrameChg chg="add del mod ord">
          <ac:chgData name="Kyndal Mayes" userId="142911e9-0388-46d2-be9a-eb7bc2b8ac4b" providerId="ADAL" clId="{29B3924A-0E99-426D-A9EC-E22D7BFBE5E7}" dt="2024-09-27T16:38:52.140" v="8630"/>
          <ac:graphicFrameMkLst>
            <pc:docMk/>
            <pc:sldMk cId="2778662480" sldId="2147481264"/>
            <ac:graphicFrameMk id="110" creationId="{162C63AB-F680-C122-2F6E-C1DB9A049D1F}"/>
          </ac:graphicFrameMkLst>
        </pc:graphicFrameChg>
        <pc:graphicFrameChg chg="add del mod ord">
          <ac:chgData name="Kyndal Mayes" userId="142911e9-0388-46d2-be9a-eb7bc2b8ac4b" providerId="ADAL" clId="{29B3924A-0E99-426D-A9EC-E22D7BFBE5E7}" dt="2024-09-27T16:38:56.572" v="8831"/>
          <ac:graphicFrameMkLst>
            <pc:docMk/>
            <pc:sldMk cId="2778662480" sldId="2147481264"/>
            <ac:graphicFrameMk id="112" creationId="{40C295FD-2000-AA8C-5D54-8D06F90213AC}"/>
          </ac:graphicFrameMkLst>
        </pc:graphicFrameChg>
        <pc:graphicFrameChg chg="add del mod ord">
          <ac:chgData name="Kyndal Mayes" userId="142911e9-0388-46d2-be9a-eb7bc2b8ac4b" providerId="ADAL" clId="{29B3924A-0E99-426D-A9EC-E22D7BFBE5E7}" dt="2024-09-27T16:38:58.120" v="8980"/>
          <ac:graphicFrameMkLst>
            <pc:docMk/>
            <pc:sldMk cId="2778662480" sldId="2147481264"/>
            <ac:graphicFrameMk id="115" creationId="{152B9195-BA08-C6FB-FD4C-D9448CD72EA9}"/>
          </ac:graphicFrameMkLst>
        </pc:graphicFrameChg>
        <pc:graphicFrameChg chg="add del mod ord">
          <ac:chgData name="Kyndal Mayes" userId="142911e9-0388-46d2-be9a-eb7bc2b8ac4b" providerId="ADAL" clId="{29B3924A-0E99-426D-A9EC-E22D7BFBE5E7}" dt="2024-09-27T16:38:59.926" v="9183"/>
          <ac:graphicFrameMkLst>
            <pc:docMk/>
            <pc:sldMk cId="2778662480" sldId="2147481264"/>
            <ac:graphicFrameMk id="117" creationId="{1FEB12B5-5B64-C7CE-C4D3-EBF52E7091C2}"/>
          </ac:graphicFrameMkLst>
        </pc:graphicFrameChg>
        <pc:graphicFrameChg chg="add del mod ord">
          <ac:chgData name="Kyndal Mayes" userId="142911e9-0388-46d2-be9a-eb7bc2b8ac4b" providerId="ADAL" clId="{29B3924A-0E99-426D-A9EC-E22D7BFBE5E7}" dt="2024-09-27T16:39:04.157" v="9334"/>
          <ac:graphicFrameMkLst>
            <pc:docMk/>
            <pc:sldMk cId="2778662480" sldId="2147481264"/>
            <ac:graphicFrameMk id="120" creationId="{20174429-0616-F48D-7C26-9BAFABCE639D}"/>
          </ac:graphicFrameMkLst>
        </pc:graphicFrameChg>
        <pc:graphicFrameChg chg="add del mod ord">
          <ac:chgData name="Kyndal Mayes" userId="142911e9-0388-46d2-be9a-eb7bc2b8ac4b" providerId="ADAL" clId="{29B3924A-0E99-426D-A9EC-E22D7BFBE5E7}" dt="2024-09-27T16:39:06.537" v="9539"/>
          <ac:graphicFrameMkLst>
            <pc:docMk/>
            <pc:sldMk cId="2778662480" sldId="2147481264"/>
            <ac:graphicFrameMk id="122" creationId="{9EE16386-C12E-7FC9-F3BB-30CB0318A451}"/>
          </ac:graphicFrameMkLst>
        </pc:graphicFrameChg>
        <pc:graphicFrameChg chg="add del mod ord">
          <ac:chgData name="Kyndal Mayes" userId="142911e9-0388-46d2-be9a-eb7bc2b8ac4b" providerId="ADAL" clId="{29B3924A-0E99-426D-A9EC-E22D7BFBE5E7}" dt="2024-09-27T16:39:10.458" v="9692"/>
          <ac:graphicFrameMkLst>
            <pc:docMk/>
            <pc:sldMk cId="2778662480" sldId="2147481264"/>
            <ac:graphicFrameMk id="125" creationId="{456A2AA6-D39B-EB36-0DEA-AECB600CD263}"/>
          </ac:graphicFrameMkLst>
        </pc:graphicFrameChg>
        <pc:graphicFrameChg chg="add del mod ord">
          <ac:chgData name="Kyndal Mayes" userId="142911e9-0388-46d2-be9a-eb7bc2b8ac4b" providerId="ADAL" clId="{29B3924A-0E99-426D-A9EC-E22D7BFBE5E7}" dt="2024-09-27T16:39:27.616" v="9841"/>
          <ac:graphicFrameMkLst>
            <pc:docMk/>
            <pc:sldMk cId="2778662480" sldId="2147481264"/>
            <ac:graphicFrameMk id="127" creationId="{1B5B2604-2D26-8A1C-2C57-4552CDF17A43}"/>
          </ac:graphicFrameMkLst>
        </pc:graphicFrameChg>
        <pc:graphicFrameChg chg="add del mod ord">
          <ac:chgData name="Kyndal Mayes" userId="142911e9-0388-46d2-be9a-eb7bc2b8ac4b" providerId="ADAL" clId="{29B3924A-0E99-426D-A9EC-E22D7BFBE5E7}" dt="2024-09-27T16:39:30.570" v="9990"/>
          <ac:graphicFrameMkLst>
            <pc:docMk/>
            <pc:sldMk cId="2778662480" sldId="2147481264"/>
            <ac:graphicFrameMk id="129" creationId="{C6F4235A-8235-D5C7-499E-579819014EAD}"/>
          </ac:graphicFrameMkLst>
        </pc:graphicFrameChg>
        <pc:graphicFrameChg chg="add del mod ord">
          <ac:chgData name="Kyndal Mayes" userId="142911e9-0388-46d2-be9a-eb7bc2b8ac4b" providerId="ADAL" clId="{29B3924A-0E99-426D-A9EC-E22D7BFBE5E7}" dt="2024-09-27T16:39:32.136" v="10139"/>
          <ac:graphicFrameMkLst>
            <pc:docMk/>
            <pc:sldMk cId="2778662480" sldId="2147481264"/>
            <ac:graphicFrameMk id="131" creationId="{B9C7A403-C7FE-727D-7723-9C94F5D7926E}"/>
          </ac:graphicFrameMkLst>
        </pc:graphicFrameChg>
        <pc:graphicFrameChg chg="add del mod ord">
          <ac:chgData name="Kyndal Mayes" userId="142911e9-0388-46d2-be9a-eb7bc2b8ac4b" providerId="ADAL" clId="{29B3924A-0E99-426D-A9EC-E22D7BFBE5E7}" dt="2024-09-27T16:39:32.936" v="10288"/>
          <ac:graphicFrameMkLst>
            <pc:docMk/>
            <pc:sldMk cId="2778662480" sldId="2147481264"/>
            <ac:graphicFrameMk id="133" creationId="{4ED126BA-D233-0870-2179-10F7D0E971AD}"/>
          </ac:graphicFrameMkLst>
        </pc:graphicFrameChg>
        <pc:graphicFrameChg chg="add del mod ord">
          <ac:chgData name="Kyndal Mayes" userId="142911e9-0388-46d2-be9a-eb7bc2b8ac4b" providerId="ADAL" clId="{29B3924A-0E99-426D-A9EC-E22D7BFBE5E7}" dt="2024-09-27T16:39:34.979" v="10433"/>
          <ac:graphicFrameMkLst>
            <pc:docMk/>
            <pc:sldMk cId="2778662480" sldId="2147481264"/>
            <ac:graphicFrameMk id="135" creationId="{D55CD5FD-59ED-285F-45B5-18D9EB3DC181}"/>
          </ac:graphicFrameMkLst>
        </pc:graphicFrameChg>
        <pc:graphicFrameChg chg="add del mod ord">
          <ac:chgData name="Kyndal Mayes" userId="142911e9-0388-46d2-be9a-eb7bc2b8ac4b" providerId="ADAL" clId="{29B3924A-0E99-426D-A9EC-E22D7BFBE5E7}" dt="2024-09-27T16:39:37.896" v="10607"/>
          <ac:graphicFrameMkLst>
            <pc:docMk/>
            <pc:sldMk cId="2778662480" sldId="2147481264"/>
            <ac:graphicFrameMk id="137" creationId="{2631B9F9-C34F-8FC8-2180-4CB7A6234CCB}"/>
          </ac:graphicFrameMkLst>
        </pc:graphicFrameChg>
        <pc:graphicFrameChg chg="add del mod ord">
          <ac:chgData name="Kyndal Mayes" userId="142911e9-0388-46d2-be9a-eb7bc2b8ac4b" providerId="ADAL" clId="{29B3924A-0E99-426D-A9EC-E22D7BFBE5E7}" dt="2024-09-27T16:39:38.661" v="10752"/>
          <ac:graphicFrameMkLst>
            <pc:docMk/>
            <pc:sldMk cId="2778662480" sldId="2147481264"/>
            <ac:graphicFrameMk id="139" creationId="{428E4C7A-A45A-FE26-3989-860BF0BAD731}"/>
          </ac:graphicFrameMkLst>
        </pc:graphicFrameChg>
        <pc:graphicFrameChg chg="add del mod ord">
          <ac:chgData name="Kyndal Mayes" userId="142911e9-0388-46d2-be9a-eb7bc2b8ac4b" providerId="ADAL" clId="{29B3924A-0E99-426D-A9EC-E22D7BFBE5E7}" dt="2024-09-27T16:39:40.615" v="10895"/>
          <ac:graphicFrameMkLst>
            <pc:docMk/>
            <pc:sldMk cId="2778662480" sldId="2147481264"/>
            <ac:graphicFrameMk id="141" creationId="{9D3D5EB9-CE6A-1629-D40C-9BC02672253A}"/>
          </ac:graphicFrameMkLst>
        </pc:graphicFrameChg>
        <pc:graphicFrameChg chg="add del mod ord">
          <ac:chgData name="Kyndal Mayes" userId="142911e9-0388-46d2-be9a-eb7bc2b8ac4b" providerId="ADAL" clId="{29B3924A-0E99-426D-A9EC-E22D7BFBE5E7}" dt="2024-09-27T16:39:42.325" v="11038"/>
          <ac:graphicFrameMkLst>
            <pc:docMk/>
            <pc:sldMk cId="2778662480" sldId="2147481264"/>
            <ac:graphicFrameMk id="143" creationId="{531FFE42-65C7-60D7-AC44-EF25F6FCA00F}"/>
          </ac:graphicFrameMkLst>
        </pc:graphicFrameChg>
        <pc:graphicFrameChg chg="add del mod ord">
          <ac:chgData name="Kyndal Mayes" userId="142911e9-0388-46d2-be9a-eb7bc2b8ac4b" providerId="ADAL" clId="{29B3924A-0E99-426D-A9EC-E22D7BFBE5E7}" dt="2024-09-27T16:39:42.816" v="11181"/>
          <ac:graphicFrameMkLst>
            <pc:docMk/>
            <pc:sldMk cId="2778662480" sldId="2147481264"/>
            <ac:graphicFrameMk id="145" creationId="{42431F08-8C55-1ABE-BB7D-83C878C4A5E9}"/>
          </ac:graphicFrameMkLst>
        </pc:graphicFrameChg>
        <pc:graphicFrameChg chg="add mod ord">
          <ac:chgData name="Kyndal Mayes" userId="142911e9-0388-46d2-be9a-eb7bc2b8ac4b" providerId="ADAL" clId="{29B3924A-0E99-426D-A9EC-E22D7BFBE5E7}" dt="2024-09-27T16:39:42.923" v="11253"/>
          <ac:graphicFrameMkLst>
            <pc:docMk/>
            <pc:sldMk cId="2778662480" sldId="2147481264"/>
            <ac:graphicFrameMk id="147" creationId="{2C7503EC-198A-B8E2-8D03-7D663CC921C1}"/>
          </ac:graphicFrameMkLst>
        </pc:graphicFrameChg>
        <pc:cxnChg chg="mod">
          <ac:chgData name="Kyndal Mayes" userId="142911e9-0388-46d2-be9a-eb7bc2b8ac4b" providerId="ADAL" clId="{29B3924A-0E99-426D-A9EC-E22D7BFBE5E7}" dt="2024-09-27T16:39:42.894" v="11187"/>
          <ac:cxnSpMkLst>
            <pc:docMk/>
            <pc:sldMk cId="2778662480" sldId="2147481264"/>
            <ac:cxnSpMk id="5" creationId="{EB41F8FF-82CE-EF7C-E83A-3D33695AF1B7}"/>
          </ac:cxnSpMkLst>
        </pc:cxnChg>
      </pc:sldChg>
      <pc:sldMasterChg chg="del delSldLayout">
        <pc:chgData name="Kyndal Mayes" userId="142911e9-0388-46d2-be9a-eb7bc2b8ac4b" providerId="ADAL" clId="{29B3924A-0E99-426D-A9EC-E22D7BFBE5E7}" dt="2024-09-27T15:43:55.728" v="2" actId="2696"/>
        <pc:sldMasterMkLst>
          <pc:docMk/>
          <pc:sldMasterMk cId="3429625377" sldId="2147483648"/>
        </pc:sldMasterMkLst>
        <pc:sldLayoutChg chg="del">
          <pc:chgData name="Kyndal Mayes" userId="142911e9-0388-46d2-be9a-eb7bc2b8ac4b" providerId="ADAL" clId="{29B3924A-0E99-426D-A9EC-E22D7BFBE5E7}" dt="2024-09-27T15:43:55.728" v="2" actId="2696"/>
          <pc:sldLayoutMkLst>
            <pc:docMk/>
            <pc:sldMasterMk cId="3429625377" sldId="2147483648"/>
            <pc:sldLayoutMk cId="1267555631" sldId="2147483649"/>
          </pc:sldLayoutMkLst>
        </pc:sldLayoutChg>
        <pc:sldLayoutChg chg="del">
          <pc:chgData name="Kyndal Mayes" userId="142911e9-0388-46d2-be9a-eb7bc2b8ac4b" providerId="ADAL" clId="{29B3924A-0E99-426D-A9EC-E22D7BFBE5E7}" dt="2024-09-27T15:43:55.728" v="2" actId="2696"/>
          <pc:sldLayoutMkLst>
            <pc:docMk/>
            <pc:sldMasterMk cId="3429625377" sldId="2147483648"/>
            <pc:sldLayoutMk cId="448612314" sldId="2147483650"/>
          </pc:sldLayoutMkLst>
        </pc:sldLayoutChg>
        <pc:sldLayoutChg chg="del">
          <pc:chgData name="Kyndal Mayes" userId="142911e9-0388-46d2-be9a-eb7bc2b8ac4b" providerId="ADAL" clId="{29B3924A-0E99-426D-A9EC-E22D7BFBE5E7}" dt="2024-09-27T15:43:55.728" v="2" actId="2696"/>
          <pc:sldLayoutMkLst>
            <pc:docMk/>
            <pc:sldMasterMk cId="3429625377" sldId="2147483648"/>
            <pc:sldLayoutMk cId="2915168301" sldId="2147483651"/>
          </pc:sldLayoutMkLst>
        </pc:sldLayoutChg>
        <pc:sldLayoutChg chg="del">
          <pc:chgData name="Kyndal Mayes" userId="142911e9-0388-46d2-be9a-eb7bc2b8ac4b" providerId="ADAL" clId="{29B3924A-0E99-426D-A9EC-E22D7BFBE5E7}" dt="2024-09-27T15:43:55.728" v="2" actId="2696"/>
          <pc:sldLayoutMkLst>
            <pc:docMk/>
            <pc:sldMasterMk cId="3429625377" sldId="2147483648"/>
            <pc:sldLayoutMk cId="2369098106" sldId="2147483652"/>
          </pc:sldLayoutMkLst>
        </pc:sldLayoutChg>
        <pc:sldLayoutChg chg="del">
          <pc:chgData name="Kyndal Mayes" userId="142911e9-0388-46d2-be9a-eb7bc2b8ac4b" providerId="ADAL" clId="{29B3924A-0E99-426D-A9EC-E22D7BFBE5E7}" dt="2024-09-27T15:43:55.728" v="2" actId="2696"/>
          <pc:sldLayoutMkLst>
            <pc:docMk/>
            <pc:sldMasterMk cId="3429625377" sldId="2147483648"/>
            <pc:sldLayoutMk cId="1482080451" sldId="2147483653"/>
          </pc:sldLayoutMkLst>
        </pc:sldLayoutChg>
        <pc:sldLayoutChg chg="del">
          <pc:chgData name="Kyndal Mayes" userId="142911e9-0388-46d2-be9a-eb7bc2b8ac4b" providerId="ADAL" clId="{29B3924A-0E99-426D-A9EC-E22D7BFBE5E7}" dt="2024-09-27T15:43:55.728" v="2" actId="2696"/>
          <pc:sldLayoutMkLst>
            <pc:docMk/>
            <pc:sldMasterMk cId="3429625377" sldId="2147483648"/>
            <pc:sldLayoutMk cId="1925518459" sldId="2147483654"/>
          </pc:sldLayoutMkLst>
        </pc:sldLayoutChg>
        <pc:sldLayoutChg chg="del">
          <pc:chgData name="Kyndal Mayes" userId="142911e9-0388-46d2-be9a-eb7bc2b8ac4b" providerId="ADAL" clId="{29B3924A-0E99-426D-A9EC-E22D7BFBE5E7}" dt="2024-09-27T15:43:55.728" v="2" actId="2696"/>
          <pc:sldLayoutMkLst>
            <pc:docMk/>
            <pc:sldMasterMk cId="3429625377" sldId="2147483648"/>
            <pc:sldLayoutMk cId="2723880597" sldId="2147483655"/>
          </pc:sldLayoutMkLst>
        </pc:sldLayoutChg>
        <pc:sldLayoutChg chg="del">
          <pc:chgData name="Kyndal Mayes" userId="142911e9-0388-46d2-be9a-eb7bc2b8ac4b" providerId="ADAL" clId="{29B3924A-0E99-426D-A9EC-E22D7BFBE5E7}" dt="2024-09-27T15:43:55.728" v="2" actId="2696"/>
          <pc:sldLayoutMkLst>
            <pc:docMk/>
            <pc:sldMasterMk cId="3429625377" sldId="2147483648"/>
            <pc:sldLayoutMk cId="2303134213" sldId="2147483656"/>
          </pc:sldLayoutMkLst>
        </pc:sldLayoutChg>
        <pc:sldLayoutChg chg="del">
          <pc:chgData name="Kyndal Mayes" userId="142911e9-0388-46d2-be9a-eb7bc2b8ac4b" providerId="ADAL" clId="{29B3924A-0E99-426D-A9EC-E22D7BFBE5E7}" dt="2024-09-27T15:43:55.728" v="2" actId="2696"/>
          <pc:sldLayoutMkLst>
            <pc:docMk/>
            <pc:sldMasterMk cId="3429625377" sldId="2147483648"/>
            <pc:sldLayoutMk cId="4152475827" sldId="2147483657"/>
          </pc:sldLayoutMkLst>
        </pc:sldLayoutChg>
        <pc:sldLayoutChg chg="del">
          <pc:chgData name="Kyndal Mayes" userId="142911e9-0388-46d2-be9a-eb7bc2b8ac4b" providerId="ADAL" clId="{29B3924A-0E99-426D-A9EC-E22D7BFBE5E7}" dt="2024-09-27T15:43:55.728" v="2" actId="2696"/>
          <pc:sldLayoutMkLst>
            <pc:docMk/>
            <pc:sldMasterMk cId="3429625377" sldId="2147483648"/>
            <pc:sldLayoutMk cId="2467605633" sldId="2147483658"/>
          </pc:sldLayoutMkLst>
        </pc:sldLayoutChg>
        <pc:sldLayoutChg chg="del">
          <pc:chgData name="Kyndal Mayes" userId="142911e9-0388-46d2-be9a-eb7bc2b8ac4b" providerId="ADAL" clId="{29B3924A-0E99-426D-A9EC-E22D7BFBE5E7}" dt="2024-09-27T15:43:55.728" v="2" actId="2696"/>
          <pc:sldLayoutMkLst>
            <pc:docMk/>
            <pc:sldMasterMk cId="3429625377" sldId="2147483648"/>
            <pc:sldLayoutMk cId="531377974" sldId="2147483659"/>
          </pc:sldLayoutMkLst>
        </pc:sldLayoutChg>
      </pc:sldMasterChg>
      <pc:sldMasterChg chg="modSldLayout">
        <pc:chgData name="Kyndal Mayes" userId="142911e9-0388-46d2-be9a-eb7bc2b8ac4b" providerId="ADAL" clId="{29B3924A-0E99-426D-A9EC-E22D7BFBE5E7}" dt="2024-09-27T18:51:24.651" v="81674" actId="21"/>
        <pc:sldMasterMkLst>
          <pc:docMk/>
          <pc:sldMasterMk cId="691713017" sldId="2147483660"/>
        </pc:sldMasterMkLst>
        <pc:sldLayoutChg chg="delSp mod">
          <pc:chgData name="Kyndal Mayes" userId="142911e9-0388-46d2-be9a-eb7bc2b8ac4b" providerId="ADAL" clId="{29B3924A-0E99-426D-A9EC-E22D7BFBE5E7}" dt="2024-09-27T15:44:22.891" v="3" actId="21"/>
          <pc:sldLayoutMkLst>
            <pc:docMk/>
            <pc:sldMasterMk cId="691713017" sldId="2147483660"/>
            <pc:sldLayoutMk cId="159571078" sldId="2147483662"/>
          </pc:sldLayoutMkLst>
          <pc:spChg chg="del">
            <ac:chgData name="Kyndal Mayes" userId="142911e9-0388-46d2-be9a-eb7bc2b8ac4b" providerId="ADAL" clId="{29B3924A-0E99-426D-A9EC-E22D7BFBE5E7}" dt="2024-09-27T15:44:22.891" v="3" actId="21"/>
            <ac:spMkLst>
              <pc:docMk/>
              <pc:sldMasterMk cId="691713017" sldId="2147483660"/>
              <pc:sldLayoutMk cId="159571078" sldId="2147483662"/>
              <ac:spMk id="23" creationId="{C0B480F0-6059-4BD9-8684-DCFF21A0C491}"/>
            </ac:spMkLst>
          </pc:spChg>
        </pc:sldLayoutChg>
        <pc:sldLayoutChg chg="delSp mod">
          <pc:chgData name="Kyndal Mayes" userId="142911e9-0388-46d2-be9a-eb7bc2b8ac4b" providerId="ADAL" clId="{29B3924A-0E99-426D-A9EC-E22D7BFBE5E7}" dt="2024-09-27T15:44:33.980" v="4" actId="21"/>
          <pc:sldLayoutMkLst>
            <pc:docMk/>
            <pc:sldMasterMk cId="691713017" sldId="2147483660"/>
            <pc:sldLayoutMk cId="654475864" sldId="2147483663"/>
          </pc:sldLayoutMkLst>
          <pc:spChg chg="del">
            <ac:chgData name="Kyndal Mayes" userId="142911e9-0388-46d2-be9a-eb7bc2b8ac4b" providerId="ADAL" clId="{29B3924A-0E99-426D-A9EC-E22D7BFBE5E7}" dt="2024-09-27T15:44:33.980" v="4" actId="21"/>
            <ac:spMkLst>
              <pc:docMk/>
              <pc:sldMasterMk cId="691713017" sldId="2147483660"/>
              <pc:sldLayoutMk cId="654475864" sldId="2147483663"/>
              <ac:spMk id="23" creationId="{C0B480F0-6059-4BD9-8684-DCFF21A0C491}"/>
            </ac:spMkLst>
          </pc:spChg>
        </pc:sldLayoutChg>
        <pc:sldLayoutChg chg="delSp mod">
          <pc:chgData name="Kyndal Mayes" userId="142911e9-0388-46d2-be9a-eb7bc2b8ac4b" providerId="ADAL" clId="{29B3924A-0E99-426D-A9EC-E22D7BFBE5E7}" dt="2024-09-27T15:44:40.330" v="5" actId="21"/>
          <pc:sldLayoutMkLst>
            <pc:docMk/>
            <pc:sldMasterMk cId="691713017" sldId="2147483660"/>
            <pc:sldLayoutMk cId="1087850539" sldId="2147483664"/>
          </pc:sldLayoutMkLst>
          <pc:spChg chg="del">
            <ac:chgData name="Kyndal Mayes" userId="142911e9-0388-46d2-be9a-eb7bc2b8ac4b" providerId="ADAL" clId="{29B3924A-0E99-426D-A9EC-E22D7BFBE5E7}" dt="2024-09-27T15:44:40.330" v="5" actId="21"/>
            <ac:spMkLst>
              <pc:docMk/>
              <pc:sldMasterMk cId="691713017" sldId="2147483660"/>
              <pc:sldLayoutMk cId="1087850539" sldId="2147483664"/>
              <ac:spMk id="23" creationId="{C0B480F0-6059-4BD9-8684-DCFF21A0C491}"/>
            </ac:spMkLst>
          </pc:spChg>
        </pc:sldLayoutChg>
        <pc:sldLayoutChg chg="delSp mod">
          <pc:chgData name="Kyndal Mayes" userId="142911e9-0388-46d2-be9a-eb7bc2b8ac4b" providerId="ADAL" clId="{29B3924A-0E99-426D-A9EC-E22D7BFBE5E7}" dt="2024-09-27T15:45:16.182" v="6" actId="21"/>
          <pc:sldLayoutMkLst>
            <pc:docMk/>
            <pc:sldMasterMk cId="691713017" sldId="2147483660"/>
            <pc:sldLayoutMk cId="13303072" sldId="2147483665"/>
          </pc:sldLayoutMkLst>
          <pc:spChg chg="del">
            <ac:chgData name="Kyndal Mayes" userId="142911e9-0388-46d2-be9a-eb7bc2b8ac4b" providerId="ADAL" clId="{29B3924A-0E99-426D-A9EC-E22D7BFBE5E7}" dt="2024-09-27T15:45:16.182" v="6" actId="21"/>
            <ac:spMkLst>
              <pc:docMk/>
              <pc:sldMasterMk cId="691713017" sldId="2147483660"/>
              <pc:sldLayoutMk cId="13303072" sldId="2147483665"/>
              <ac:spMk id="24" creationId="{609753E2-8329-46F7-804D-D1DD09BED2F1}"/>
            </ac:spMkLst>
          </pc:spChg>
        </pc:sldLayoutChg>
        <pc:sldLayoutChg chg="delSp mod">
          <pc:chgData name="Kyndal Mayes" userId="142911e9-0388-46d2-be9a-eb7bc2b8ac4b" providerId="ADAL" clId="{29B3924A-0E99-426D-A9EC-E22D7BFBE5E7}" dt="2024-09-27T15:45:25.203" v="7" actId="21"/>
          <pc:sldLayoutMkLst>
            <pc:docMk/>
            <pc:sldMasterMk cId="691713017" sldId="2147483660"/>
            <pc:sldLayoutMk cId="1620767815" sldId="2147483666"/>
          </pc:sldLayoutMkLst>
          <pc:spChg chg="del">
            <ac:chgData name="Kyndal Mayes" userId="142911e9-0388-46d2-be9a-eb7bc2b8ac4b" providerId="ADAL" clId="{29B3924A-0E99-426D-A9EC-E22D7BFBE5E7}" dt="2024-09-27T15:45:25.203" v="7" actId="21"/>
            <ac:spMkLst>
              <pc:docMk/>
              <pc:sldMasterMk cId="691713017" sldId="2147483660"/>
              <pc:sldLayoutMk cId="1620767815" sldId="2147483666"/>
              <ac:spMk id="24" creationId="{609753E2-8329-46F7-804D-D1DD09BED2F1}"/>
            </ac:spMkLst>
          </pc:spChg>
        </pc:sldLayoutChg>
        <pc:sldLayoutChg chg="delSp mod">
          <pc:chgData name="Kyndal Mayes" userId="142911e9-0388-46d2-be9a-eb7bc2b8ac4b" providerId="ADAL" clId="{29B3924A-0E99-426D-A9EC-E22D7BFBE5E7}" dt="2024-09-27T15:45:34.809" v="8" actId="21"/>
          <pc:sldLayoutMkLst>
            <pc:docMk/>
            <pc:sldMasterMk cId="691713017" sldId="2147483660"/>
            <pc:sldLayoutMk cId="2553817602" sldId="2147483667"/>
          </pc:sldLayoutMkLst>
          <pc:spChg chg="del">
            <ac:chgData name="Kyndal Mayes" userId="142911e9-0388-46d2-be9a-eb7bc2b8ac4b" providerId="ADAL" clId="{29B3924A-0E99-426D-A9EC-E22D7BFBE5E7}" dt="2024-09-27T15:45:34.809" v="8" actId="21"/>
            <ac:spMkLst>
              <pc:docMk/>
              <pc:sldMasterMk cId="691713017" sldId="2147483660"/>
              <pc:sldLayoutMk cId="2553817602" sldId="2147483667"/>
              <ac:spMk id="24" creationId="{0F643666-CC41-4DE8-8910-69F6DC6B7F00}"/>
            </ac:spMkLst>
          </pc:spChg>
        </pc:sldLayoutChg>
        <pc:sldLayoutChg chg="delSp mod">
          <pc:chgData name="Kyndal Mayes" userId="142911e9-0388-46d2-be9a-eb7bc2b8ac4b" providerId="ADAL" clId="{29B3924A-0E99-426D-A9EC-E22D7BFBE5E7}" dt="2024-09-27T15:45:42.150" v="9" actId="21"/>
          <pc:sldLayoutMkLst>
            <pc:docMk/>
            <pc:sldMasterMk cId="691713017" sldId="2147483660"/>
            <pc:sldLayoutMk cId="4256064322" sldId="2147483668"/>
          </pc:sldLayoutMkLst>
          <pc:spChg chg="del">
            <ac:chgData name="Kyndal Mayes" userId="142911e9-0388-46d2-be9a-eb7bc2b8ac4b" providerId="ADAL" clId="{29B3924A-0E99-426D-A9EC-E22D7BFBE5E7}" dt="2024-09-27T15:45:42.150" v="9" actId="21"/>
            <ac:spMkLst>
              <pc:docMk/>
              <pc:sldMasterMk cId="691713017" sldId="2147483660"/>
              <pc:sldLayoutMk cId="4256064322" sldId="2147483668"/>
              <ac:spMk id="24" creationId="{0F643666-CC41-4DE8-8910-69F6DC6B7F00}"/>
            </ac:spMkLst>
          </pc:spChg>
        </pc:sldLayoutChg>
        <pc:sldLayoutChg chg="delSp mod">
          <pc:chgData name="Kyndal Mayes" userId="142911e9-0388-46d2-be9a-eb7bc2b8ac4b" providerId="ADAL" clId="{29B3924A-0E99-426D-A9EC-E22D7BFBE5E7}" dt="2024-09-27T15:46:57.060" v="12" actId="21"/>
          <pc:sldLayoutMkLst>
            <pc:docMk/>
            <pc:sldMasterMk cId="691713017" sldId="2147483660"/>
            <pc:sldLayoutMk cId="2055609826" sldId="2147483669"/>
          </pc:sldLayoutMkLst>
          <pc:spChg chg="del">
            <ac:chgData name="Kyndal Mayes" userId="142911e9-0388-46d2-be9a-eb7bc2b8ac4b" providerId="ADAL" clId="{29B3924A-0E99-426D-A9EC-E22D7BFBE5E7}" dt="2024-09-27T15:46:57.060" v="12" actId="21"/>
            <ac:spMkLst>
              <pc:docMk/>
              <pc:sldMasterMk cId="691713017" sldId="2147483660"/>
              <pc:sldLayoutMk cId="2055609826" sldId="2147483669"/>
              <ac:spMk id="24" creationId="{0F643666-CC41-4DE8-8910-69F6DC6B7F00}"/>
            </ac:spMkLst>
          </pc:spChg>
        </pc:sldLayoutChg>
        <pc:sldLayoutChg chg="delSp mod">
          <pc:chgData name="Kyndal Mayes" userId="142911e9-0388-46d2-be9a-eb7bc2b8ac4b" providerId="ADAL" clId="{29B3924A-0E99-426D-A9EC-E22D7BFBE5E7}" dt="2024-09-27T15:47:07.281" v="13" actId="21"/>
          <pc:sldLayoutMkLst>
            <pc:docMk/>
            <pc:sldMasterMk cId="691713017" sldId="2147483660"/>
            <pc:sldLayoutMk cId="963820343" sldId="2147483670"/>
          </pc:sldLayoutMkLst>
          <pc:spChg chg="del">
            <ac:chgData name="Kyndal Mayes" userId="142911e9-0388-46d2-be9a-eb7bc2b8ac4b" providerId="ADAL" clId="{29B3924A-0E99-426D-A9EC-E22D7BFBE5E7}" dt="2024-09-27T15:47:07.281" v="13" actId="21"/>
            <ac:spMkLst>
              <pc:docMk/>
              <pc:sldMasterMk cId="691713017" sldId="2147483660"/>
              <pc:sldLayoutMk cId="963820343" sldId="2147483670"/>
              <ac:spMk id="24" creationId="{0F643666-CC41-4DE8-8910-69F6DC6B7F00}"/>
            </ac:spMkLst>
          </pc:spChg>
        </pc:sldLayoutChg>
        <pc:sldLayoutChg chg="delSp mod">
          <pc:chgData name="Kyndal Mayes" userId="142911e9-0388-46d2-be9a-eb7bc2b8ac4b" providerId="ADAL" clId="{29B3924A-0E99-426D-A9EC-E22D7BFBE5E7}" dt="2024-09-27T15:47:17.150" v="14" actId="21"/>
          <pc:sldLayoutMkLst>
            <pc:docMk/>
            <pc:sldMasterMk cId="691713017" sldId="2147483660"/>
            <pc:sldLayoutMk cId="1320442076" sldId="2147483671"/>
          </pc:sldLayoutMkLst>
          <pc:spChg chg="del">
            <ac:chgData name="Kyndal Mayes" userId="142911e9-0388-46d2-be9a-eb7bc2b8ac4b" providerId="ADAL" clId="{29B3924A-0E99-426D-A9EC-E22D7BFBE5E7}" dt="2024-09-27T15:47:17.150" v="14" actId="21"/>
            <ac:spMkLst>
              <pc:docMk/>
              <pc:sldMasterMk cId="691713017" sldId="2147483660"/>
              <pc:sldLayoutMk cId="1320442076" sldId="2147483671"/>
              <ac:spMk id="31" creationId="{5985080D-7476-405D-953D-F229B5D36CF4}"/>
            </ac:spMkLst>
          </pc:spChg>
        </pc:sldLayoutChg>
        <pc:sldLayoutChg chg="delSp mod">
          <pc:chgData name="Kyndal Mayes" userId="142911e9-0388-46d2-be9a-eb7bc2b8ac4b" providerId="ADAL" clId="{29B3924A-0E99-426D-A9EC-E22D7BFBE5E7}" dt="2024-09-27T15:47:24.211" v="15" actId="21"/>
          <pc:sldLayoutMkLst>
            <pc:docMk/>
            <pc:sldMasterMk cId="691713017" sldId="2147483660"/>
            <pc:sldLayoutMk cId="3646309854" sldId="2147483672"/>
          </pc:sldLayoutMkLst>
          <pc:spChg chg="del">
            <ac:chgData name="Kyndal Mayes" userId="142911e9-0388-46d2-be9a-eb7bc2b8ac4b" providerId="ADAL" clId="{29B3924A-0E99-426D-A9EC-E22D7BFBE5E7}" dt="2024-09-27T15:47:24.211" v="15" actId="21"/>
            <ac:spMkLst>
              <pc:docMk/>
              <pc:sldMasterMk cId="691713017" sldId="2147483660"/>
              <pc:sldLayoutMk cId="3646309854" sldId="2147483672"/>
              <ac:spMk id="26" creationId="{29BED52F-2D38-4AFD-937A-7F5F4180A7BD}"/>
            </ac:spMkLst>
          </pc:spChg>
        </pc:sldLayoutChg>
        <pc:sldLayoutChg chg="delSp mod">
          <pc:chgData name="Kyndal Mayes" userId="142911e9-0388-46d2-be9a-eb7bc2b8ac4b" providerId="ADAL" clId="{29B3924A-0E99-426D-A9EC-E22D7BFBE5E7}" dt="2024-09-27T15:47:29.797" v="16" actId="21"/>
          <pc:sldLayoutMkLst>
            <pc:docMk/>
            <pc:sldMasterMk cId="691713017" sldId="2147483660"/>
            <pc:sldLayoutMk cId="2695806589" sldId="2147483673"/>
          </pc:sldLayoutMkLst>
          <pc:spChg chg="del">
            <ac:chgData name="Kyndal Mayes" userId="142911e9-0388-46d2-be9a-eb7bc2b8ac4b" providerId="ADAL" clId="{29B3924A-0E99-426D-A9EC-E22D7BFBE5E7}" dt="2024-09-27T15:47:29.797" v="16" actId="21"/>
            <ac:spMkLst>
              <pc:docMk/>
              <pc:sldMasterMk cId="691713017" sldId="2147483660"/>
              <pc:sldLayoutMk cId="2695806589" sldId="2147483673"/>
              <ac:spMk id="26" creationId="{29BED52F-2D38-4AFD-937A-7F5F4180A7BD}"/>
            </ac:spMkLst>
          </pc:spChg>
        </pc:sldLayoutChg>
        <pc:sldLayoutChg chg="delSp mod">
          <pc:chgData name="Kyndal Mayes" userId="142911e9-0388-46d2-be9a-eb7bc2b8ac4b" providerId="ADAL" clId="{29B3924A-0E99-426D-A9EC-E22D7BFBE5E7}" dt="2024-09-27T15:46:42.203" v="11" actId="21"/>
          <pc:sldLayoutMkLst>
            <pc:docMk/>
            <pc:sldMasterMk cId="691713017" sldId="2147483660"/>
            <pc:sldLayoutMk cId="771903884" sldId="2147483674"/>
          </pc:sldLayoutMkLst>
          <pc:spChg chg="del">
            <ac:chgData name="Kyndal Mayes" userId="142911e9-0388-46d2-be9a-eb7bc2b8ac4b" providerId="ADAL" clId="{29B3924A-0E99-426D-A9EC-E22D7BFBE5E7}" dt="2024-09-27T15:46:42.203" v="11" actId="21"/>
            <ac:spMkLst>
              <pc:docMk/>
              <pc:sldMasterMk cId="691713017" sldId="2147483660"/>
              <pc:sldLayoutMk cId="771903884" sldId="2147483674"/>
              <ac:spMk id="12" creationId="{04A7469E-A6EE-486C-9196-7B95043F65D8}"/>
            </ac:spMkLst>
          </pc:spChg>
        </pc:sldLayoutChg>
        <pc:sldLayoutChg chg="delSp mod">
          <pc:chgData name="Kyndal Mayes" userId="142911e9-0388-46d2-be9a-eb7bc2b8ac4b" providerId="ADAL" clId="{29B3924A-0E99-426D-A9EC-E22D7BFBE5E7}" dt="2024-09-27T18:50:14.473" v="81663" actId="21"/>
          <pc:sldLayoutMkLst>
            <pc:docMk/>
            <pc:sldMasterMk cId="691713017" sldId="2147483660"/>
            <pc:sldLayoutMk cId="521965584" sldId="2147483675"/>
          </pc:sldLayoutMkLst>
          <pc:spChg chg="del">
            <ac:chgData name="Kyndal Mayes" userId="142911e9-0388-46d2-be9a-eb7bc2b8ac4b" providerId="ADAL" clId="{29B3924A-0E99-426D-A9EC-E22D7BFBE5E7}" dt="2024-09-27T18:50:14.473" v="81663" actId="21"/>
            <ac:spMkLst>
              <pc:docMk/>
              <pc:sldMasterMk cId="691713017" sldId="2147483660"/>
              <pc:sldLayoutMk cId="521965584" sldId="2147483675"/>
              <ac:spMk id="12" creationId="{04A7469E-A6EE-486C-9196-7B95043F65D8}"/>
            </ac:spMkLst>
          </pc:spChg>
        </pc:sldLayoutChg>
        <pc:sldLayoutChg chg="delSp mod">
          <pc:chgData name="Kyndal Mayes" userId="142911e9-0388-46d2-be9a-eb7bc2b8ac4b" providerId="ADAL" clId="{29B3924A-0E99-426D-A9EC-E22D7BFBE5E7}" dt="2024-09-27T15:46:27.383" v="10" actId="21"/>
          <pc:sldLayoutMkLst>
            <pc:docMk/>
            <pc:sldMasterMk cId="691713017" sldId="2147483660"/>
            <pc:sldLayoutMk cId="2234363490" sldId="2147483677"/>
          </pc:sldLayoutMkLst>
          <pc:spChg chg="del">
            <ac:chgData name="Kyndal Mayes" userId="142911e9-0388-46d2-be9a-eb7bc2b8ac4b" providerId="ADAL" clId="{29B3924A-0E99-426D-A9EC-E22D7BFBE5E7}" dt="2024-09-27T15:46:27.383" v="10" actId="21"/>
            <ac:spMkLst>
              <pc:docMk/>
              <pc:sldMasterMk cId="691713017" sldId="2147483660"/>
              <pc:sldLayoutMk cId="2234363490" sldId="2147483677"/>
              <ac:spMk id="40" creationId="{9A5A9F84-A329-4FF8-9CAE-6D721520C4BB}"/>
            </ac:spMkLst>
          </pc:spChg>
        </pc:sldLayoutChg>
        <pc:sldLayoutChg chg="delSp modSp mod">
          <pc:chgData name="Kyndal Mayes" userId="142911e9-0388-46d2-be9a-eb7bc2b8ac4b" providerId="ADAL" clId="{29B3924A-0E99-426D-A9EC-E22D7BFBE5E7}" dt="2024-09-27T18:50:22.591" v="81665" actId="1036"/>
          <pc:sldLayoutMkLst>
            <pc:docMk/>
            <pc:sldMasterMk cId="691713017" sldId="2147483660"/>
            <pc:sldLayoutMk cId="3646663543" sldId="2147483678"/>
          </pc:sldLayoutMkLst>
          <pc:spChg chg="del">
            <ac:chgData name="Kyndal Mayes" userId="142911e9-0388-46d2-be9a-eb7bc2b8ac4b" providerId="ADAL" clId="{29B3924A-0E99-426D-A9EC-E22D7BFBE5E7}" dt="2024-09-27T18:50:21.561" v="81664" actId="21"/>
            <ac:spMkLst>
              <pc:docMk/>
              <pc:sldMasterMk cId="691713017" sldId="2147483660"/>
              <pc:sldLayoutMk cId="3646663543" sldId="2147483678"/>
              <ac:spMk id="21" creationId="{3F6CE3CC-2060-479C-94F1-04D18BF5C6B0}"/>
            </ac:spMkLst>
          </pc:spChg>
          <pc:spChg chg="mod">
            <ac:chgData name="Kyndal Mayes" userId="142911e9-0388-46d2-be9a-eb7bc2b8ac4b" providerId="ADAL" clId="{29B3924A-0E99-426D-A9EC-E22D7BFBE5E7}" dt="2024-09-27T18:50:22.591" v="81665" actId="1036"/>
            <ac:spMkLst>
              <pc:docMk/>
              <pc:sldMasterMk cId="691713017" sldId="2147483660"/>
              <pc:sldLayoutMk cId="3646663543" sldId="2147483678"/>
              <ac:spMk id="28" creationId="{5504868D-EEED-4AEB-A214-7752B465DA2D}"/>
            </ac:spMkLst>
          </pc:spChg>
        </pc:sldLayoutChg>
        <pc:sldLayoutChg chg="delSp mod">
          <pc:chgData name="Kyndal Mayes" userId="142911e9-0388-46d2-be9a-eb7bc2b8ac4b" providerId="ADAL" clId="{29B3924A-0E99-426D-A9EC-E22D7BFBE5E7}" dt="2024-09-27T15:51:03.026" v="17" actId="21"/>
          <pc:sldLayoutMkLst>
            <pc:docMk/>
            <pc:sldMasterMk cId="691713017" sldId="2147483660"/>
            <pc:sldLayoutMk cId="424734519" sldId="2147483679"/>
          </pc:sldLayoutMkLst>
          <pc:spChg chg="del">
            <ac:chgData name="Kyndal Mayes" userId="142911e9-0388-46d2-be9a-eb7bc2b8ac4b" providerId="ADAL" clId="{29B3924A-0E99-426D-A9EC-E22D7BFBE5E7}" dt="2024-09-27T15:51:03.026" v="17" actId="21"/>
            <ac:spMkLst>
              <pc:docMk/>
              <pc:sldMasterMk cId="691713017" sldId="2147483660"/>
              <pc:sldLayoutMk cId="424734519" sldId="2147483679"/>
              <ac:spMk id="21" creationId="{3F6CE3CC-2060-479C-94F1-04D18BF5C6B0}"/>
            </ac:spMkLst>
          </pc:spChg>
        </pc:sldLayoutChg>
        <pc:sldLayoutChg chg="delSp mod">
          <pc:chgData name="Kyndal Mayes" userId="142911e9-0388-46d2-be9a-eb7bc2b8ac4b" providerId="ADAL" clId="{29B3924A-0E99-426D-A9EC-E22D7BFBE5E7}" dt="2024-09-27T16:01:04.247" v="18" actId="21"/>
          <pc:sldLayoutMkLst>
            <pc:docMk/>
            <pc:sldMasterMk cId="691713017" sldId="2147483660"/>
            <pc:sldLayoutMk cId="2186453782" sldId="2147483680"/>
          </pc:sldLayoutMkLst>
          <pc:spChg chg="del">
            <ac:chgData name="Kyndal Mayes" userId="142911e9-0388-46d2-be9a-eb7bc2b8ac4b" providerId="ADAL" clId="{29B3924A-0E99-426D-A9EC-E22D7BFBE5E7}" dt="2024-09-27T16:01:04.247" v="18" actId="21"/>
            <ac:spMkLst>
              <pc:docMk/>
              <pc:sldMasterMk cId="691713017" sldId="2147483660"/>
              <pc:sldLayoutMk cId="2186453782" sldId="2147483680"/>
              <ac:spMk id="26" creationId="{84F846B3-E161-4A72-A3AD-915A061022EB}"/>
            </ac:spMkLst>
          </pc:spChg>
        </pc:sldLayoutChg>
        <pc:sldLayoutChg chg="delSp mod">
          <pc:chgData name="Kyndal Mayes" userId="142911e9-0388-46d2-be9a-eb7bc2b8ac4b" providerId="ADAL" clId="{29B3924A-0E99-426D-A9EC-E22D7BFBE5E7}" dt="2024-09-27T16:01:12.288" v="19" actId="21"/>
          <pc:sldLayoutMkLst>
            <pc:docMk/>
            <pc:sldMasterMk cId="691713017" sldId="2147483660"/>
            <pc:sldLayoutMk cId="667417814" sldId="2147483681"/>
          </pc:sldLayoutMkLst>
          <pc:spChg chg="del">
            <ac:chgData name="Kyndal Mayes" userId="142911e9-0388-46d2-be9a-eb7bc2b8ac4b" providerId="ADAL" clId="{29B3924A-0E99-426D-A9EC-E22D7BFBE5E7}" dt="2024-09-27T16:01:12.288" v="19" actId="21"/>
            <ac:spMkLst>
              <pc:docMk/>
              <pc:sldMasterMk cId="691713017" sldId="2147483660"/>
              <pc:sldLayoutMk cId="667417814" sldId="2147483681"/>
              <ac:spMk id="26" creationId="{84F846B3-E161-4A72-A3AD-915A061022EB}"/>
            </ac:spMkLst>
          </pc:spChg>
        </pc:sldLayoutChg>
        <pc:sldLayoutChg chg="delSp mod">
          <pc:chgData name="Kyndal Mayes" userId="142911e9-0388-46d2-be9a-eb7bc2b8ac4b" providerId="ADAL" clId="{29B3924A-0E99-426D-A9EC-E22D7BFBE5E7}" dt="2024-09-27T16:01:18.695" v="20" actId="21"/>
          <pc:sldLayoutMkLst>
            <pc:docMk/>
            <pc:sldMasterMk cId="691713017" sldId="2147483660"/>
            <pc:sldLayoutMk cId="1922647789" sldId="2147483682"/>
          </pc:sldLayoutMkLst>
          <pc:spChg chg="del">
            <ac:chgData name="Kyndal Mayes" userId="142911e9-0388-46d2-be9a-eb7bc2b8ac4b" providerId="ADAL" clId="{29B3924A-0E99-426D-A9EC-E22D7BFBE5E7}" dt="2024-09-27T16:01:18.695" v="20" actId="21"/>
            <ac:spMkLst>
              <pc:docMk/>
              <pc:sldMasterMk cId="691713017" sldId="2147483660"/>
              <pc:sldLayoutMk cId="1922647789" sldId="2147483682"/>
              <ac:spMk id="24" creationId="{14C29F18-0061-4AD0-8F17-1B44E4BAED64}"/>
            </ac:spMkLst>
          </pc:spChg>
        </pc:sldLayoutChg>
        <pc:sldLayoutChg chg="delSp mod">
          <pc:chgData name="Kyndal Mayes" userId="142911e9-0388-46d2-be9a-eb7bc2b8ac4b" providerId="ADAL" clId="{29B3924A-0E99-426D-A9EC-E22D7BFBE5E7}" dt="2024-09-27T16:01:27.386" v="21" actId="21"/>
          <pc:sldLayoutMkLst>
            <pc:docMk/>
            <pc:sldMasterMk cId="691713017" sldId="2147483660"/>
            <pc:sldLayoutMk cId="1566782540" sldId="2147483683"/>
          </pc:sldLayoutMkLst>
          <pc:spChg chg="del">
            <ac:chgData name="Kyndal Mayes" userId="142911e9-0388-46d2-be9a-eb7bc2b8ac4b" providerId="ADAL" clId="{29B3924A-0E99-426D-A9EC-E22D7BFBE5E7}" dt="2024-09-27T16:01:27.386" v="21" actId="21"/>
            <ac:spMkLst>
              <pc:docMk/>
              <pc:sldMasterMk cId="691713017" sldId="2147483660"/>
              <pc:sldLayoutMk cId="1566782540" sldId="2147483683"/>
              <ac:spMk id="24" creationId="{14C29F18-0061-4AD0-8F17-1B44E4BAED64}"/>
            </ac:spMkLst>
          </pc:spChg>
        </pc:sldLayoutChg>
        <pc:sldLayoutChg chg="delSp mod">
          <pc:chgData name="Kyndal Mayes" userId="142911e9-0388-46d2-be9a-eb7bc2b8ac4b" providerId="ADAL" clId="{29B3924A-0E99-426D-A9EC-E22D7BFBE5E7}" dt="2024-09-27T18:50:32.929" v="81666" actId="21"/>
          <pc:sldLayoutMkLst>
            <pc:docMk/>
            <pc:sldMasterMk cId="691713017" sldId="2147483660"/>
            <pc:sldLayoutMk cId="1833910780" sldId="2147483684"/>
          </pc:sldLayoutMkLst>
          <pc:spChg chg="del">
            <ac:chgData name="Kyndal Mayes" userId="142911e9-0388-46d2-be9a-eb7bc2b8ac4b" providerId="ADAL" clId="{29B3924A-0E99-426D-A9EC-E22D7BFBE5E7}" dt="2024-09-27T18:50:32.929" v="81666" actId="21"/>
            <ac:spMkLst>
              <pc:docMk/>
              <pc:sldMasterMk cId="691713017" sldId="2147483660"/>
              <pc:sldLayoutMk cId="1833910780" sldId="2147483684"/>
              <ac:spMk id="20" creationId="{1E6624B9-93B9-4B77-AE26-6B03082B5DE4}"/>
            </ac:spMkLst>
          </pc:spChg>
        </pc:sldLayoutChg>
        <pc:sldLayoutChg chg="delSp mod">
          <pc:chgData name="Kyndal Mayes" userId="142911e9-0388-46d2-be9a-eb7bc2b8ac4b" providerId="ADAL" clId="{29B3924A-0E99-426D-A9EC-E22D7BFBE5E7}" dt="2024-09-27T18:50:38.342" v="81667" actId="21"/>
          <pc:sldLayoutMkLst>
            <pc:docMk/>
            <pc:sldMasterMk cId="691713017" sldId="2147483660"/>
            <pc:sldLayoutMk cId="663228653" sldId="2147483685"/>
          </pc:sldLayoutMkLst>
          <pc:spChg chg="del">
            <ac:chgData name="Kyndal Mayes" userId="142911e9-0388-46d2-be9a-eb7bc2b8ac4b" providerId="ADAL" clId="{29B3924A-0E99-426D-A9EC-E22D7BFBE5E7}" dt="2024-09-27T18:50:38.342" v="81667" actId="21"/>
            <ac:spMkLst>
              <pc:docMk/>
              <pc:sldMasterMk cId="691713017" sldId="2147483660"/>
              <pc:sldLayoutMk cId="663228653" sldId="2147483685"/>
              <ac:spMk id="20" creationId="{1E6624B9-93B9-4B77-AE26-6B03082B5DE4}"/>
            </ac:spMkLst>
          </pc:spChg>
        </pc:sldLayoutChg>
        <pc:sldLayoutChg chg="delSp mod">
          <pc:chgData name="Kyndal Mayes" userId="142911e9-0388-46d2-be9a-eb7bc2b8ac4b" providerId="ADAL" clId="{29B3924A-0E99-426D-A9EC-E22D7BFBE5E7}" dt="2024-09-27T18:50:44.251" v="81668" actId="21"/>
          <pc:sldLayoutMkLst>
            <pc:docMk/>
            <pc:sldMasterMk cId="691713017" sldId="2147483660"/>
            <pc:sldLayoutMk cId="1362541678" sldId="2147483686"/>
          </pc:sldLayoutMkLst>
          <pc:spChg chg="del">
            <ac:chgData name="Kyndal Mayes" userId="142911e9-0388-46d2-be9a-eb7bc2b8ac4b" providerId="ADAL" clId="{29B3924A-0E99-426D-A9EC-E22D7BFBE5E7}" dt="2024-09-27T18:50:44.251" v="81668" actId="21"/>
            <ac:spMkLst>
              <pc:docMk/>
              <pc:sldMasterMk cId="691713017" sldId="2147483660"/>
              <pc:sldLayoutMk cId="1362541678" sldId="2147483686"/>
              <ac:spMk id="26" creationId="{29BED52F-2D38-4AFD-937A-7F5F4180A7BD}"/>
            </ac:spMkLst>
          </pc:spChg>
        </pc:sldLayoutChg>
        <pc:sldLayoutChg chg="delSp mod">
          <pc:chgData name="Kyndal Mayes" userId="142911e9-0388-46d2-be9a-eb7bc2b8ac4b" providerId="ADAL" clId="{29B3924A-0E99-426D-A9EC-E22D7BFBE5E7}" dt="2024-09-27T18:50:49.023" v="81669" actId="21"/>
          <pc:sldLayoutMkLst>
            <pc:docMk/>
            <pc:sldMasterMk cId="691713017" sldId="2147483660"/>
            <pc:sldLayoutMk cId="1058365066" sldId="2147483687"/>
          </pc:sldLayoutMkLst>
          <pc:spChg chg="del">
            <ac:chgData name="Kyndal Mayes" userId="142911e9-0388-46d2-be9a-eb7bc2b8ac4b" providerId="ADAL" clId="{29B3924A-0E99-426D-A9EC-E22D7BFBE5E7}" dt="2024-09-27T18:50:49.023" v="81669" actId="21"/>
            <ac:spMkLst>
              <pc:docMk/>
              <pc:sldMasterMk cId="691713017" sldId="2147483660"/>
              <pc:sldLayoutMk cId="1058365066" sldId="2147483687"/>
              <ac:spMk id="24" creationId="{0F643666-CC41-4DE8-8910-69F6DC6B7F00}"/>
            </ac:spMkLst>
          </pc:spChg>
        </pc:sldLayoutChg>
        <pc:sldLayoutChg chg="delSp mod">
          <pc:chgData name="Kyndal Mayes" userId="142911e9-0388-46d2-be9a-eb7bc2b8ac4b" providerId="ADAL" clId="{29B3924A-0E99-426D-A9EC-E22D7BFBE5E7}" dt="2024-09-27T18:50:54.781" v="81670" actId="21"/>
          <pc:sldLayoutMkLst>
            <pc:docMk/>
            <pc:sldMasterMk cId="691713017" sldId="2147483660"/>
            <pc:sldLayoutMk cId="351098483" sldId="2147483688"/>
          </pc:sldLayoutMkLst>
          <pc:spChg chg="del">
            <ac:chgData name="Kyndal Mayes" userId="142911e9-0388-46d2-be9a-eb7bc2b8ac4b" providerId="ADAL" clId="{29B3924A-0E99-426D-A9EC-E22D7BFBE5E7}" dt="2024-09-27T18:50:54.781" v="81670" actId="21"/>
            <ac:spMkLst>
              <pc:docMk/>
              <pc:sldMasterMk cId="691713017" sldId="2147483660"/>
              <pc:sldLayoutMk cId="351098483" sldId="2147483688"/>
              <ac:spMk id="24" creationId="{0F643666-CC41-4DE8-8910-69F6DC6B7F00}"/>
            </ac:spMkLst>
          </pc:spChg>
        </pc:sldLayoutChg>
        <pc:sldLayoutChg chg="delSp mod">
          <pc:chgData name="Kyndal Mayes" userId="142911e9-0388-46d2-be9a-eb7bc2b8ac4b" providerId="ADAL" clId="{29B3924A-0E99-426D-A9EC-E22D7BFBE5E7}" dt="2024-09-27T18:51:02.348" v="81671" actId="21"/>
          <pc:sldLayoutMkLst>
            <pc:docMk/>
            <pc:sldMasterMk cId="691713017" sldId="2147483660"/>
            <pc:sldLayoutMk cId="2988985338" sldId="2147483689"/>
          </pc:sldLayoutMkLst>
          <pc:spChg chg="del">
            <ac:chgData name="Kyndal Mayes" userId="142911e9-0388-46d2-be9a-eb7bc2b8ac4b" providerId="ADAL" clId="{29B3924A-0E99-426D-A9EC-E22D7BFBE5E7}" dt="2024-09-27T18:51:02.348" v="81671" actId="21"/>
            <ac:spMkLst>
              <pc:docMk/>
              <pc:sldMasterMk cId="691713017" sldId="2147483660"/>
              <pc:sldLayoutMk cId="2988985338" sldId="2147483689"/>
              <ac:spMk id="24" creationId="{0F643666-CC41-4DE8-8910-69F6DC6B7F00}"/>
            </ac:spMkLst>
          </pc:spChg>
        </pc:sldLayoutChg>
        <pc:sldLayoutChg chg="delSp mod">
          <pc:chgData name="Kyndal Mayes" userId="142911e9-0388-46d2-be9a-eb7bc2b8ac4b" providerId="ADAL" clId="{29B3924A-0E99-426D-A9EC-E22D7BFBE5E7}" dt="2024-09-27T18:51:08.844" v="81672" actId="21"/>
          <pc:sldLayoutMkLst>
            <pc:docMk/>
            <pc:sldMasterMk cId="691713017" sldId="2147483660"/>
            <pc:sldLayoutMk cId="740314160" sldId="2147483690"/>
          </pc:sldLayoutMkLst>
          <pc:spChg chg="del">
            <ac:chgData name="Kyndal Mayes" userId="142911e9-0388-46d2-be9a-eb7bc2b8ac4b" providerId="ADAL" clId="{29B3924A-0E99-426D-A9EC-E22D7BFBE5E7}" dt="2024-09-27T18:51:08.844" v="81672" actId="21"/>
            <ac:spMkLst>
              <pc:docMk/>
              <pc:sldMasterMk cId="691713017" sldId="2147483660"/>
              <pc:sldLayoutMk cId="740314160" sldId="2147483690"/>
              <ac:spMk id="31" creationId="{5985080D-7476-405D-953D-F229B5D36CF4}"/>
            </ac:spMkLst>
          </pc:spChg>
        </pc:sldLayoutChg>
        <pc:sldLayoutChg chg="delSp mod">
          <pc:chgData name="Kyndal Mayes" userId="142911e9-0388-46d2-be9a-eb7bc2b8ac4b" providerId="ADAL" clId="{29B3924A-0E99-426D-A9EC-E22D7BFBE5E7}" dt="2024-09-27T18:51:13.997" v="81673" actId="21"/>
          <pc:sldLayoutMkLst>
            <pc:docMk/>
            <pc:sldMasterMk cId="691713017" sldId="2147483660"/>
            <pc:sldLayoutMk cId="1127972324" sldId="2147483691"/>
          </pc:sldLayoutMkLst>
          <pc:spChg chg="del">
            <ac:chgData name="Kyndal Mayes" userId="142911e9-0388-46d2-be9a-eb7bc2b8ac4b" providerId="ADAL" clId="{29B3924A-0E99-426D-A9EC-E22D7BFBE5E7}" dt="2024-09-27T18:51:13.997" v="81673" actId="21"/>
            <ac:spMkLst>
              <pc:docMk/>
              <pc:sldMasterMk cId="691713017" sldId="2147483660"/>
              <pc:sldLayoutMk cId="1127972324" sldId="2147483691"/>
              <ac:spMk id="31" creationId="{5985080D-7476-405D-953D-F229B5D36CF4}"/>
            </ac:spMkLst>
          </pc:spChg>
        </pc:sldLayoutChg>
        <pc:sldLayoutChg chg="delSp mod">
          <pc:chgData name="Kyndal Mayes" userId="142911e9-0388-46d2-be9a-eb7bc2b8ac4b" providerId="ADAL" clId="{29B3924A-0E99-426D-A9EC-E22D7BFBE5E7}" dt="2024-09-27T18:51:24.651" v="81674" actId="21"/>
          <pc:sldLayoutMkLst>
            <pc:docMk/>
            <pc:sldMasterMk cId="691713017" sldId="2147483660"/>
            <pc:sldLayoutMk cId="19076144" sldId="2147483692"/>
          </pc:sldLayoutMkLst>
          <pc:spChg chg="del">
            <ac:chgData name="Kyndal Mayes" userId="142911e9-0388-46d2-be9a-eb7bc2b8ac4b" providerId="ADAL" clId="{29B3924A-0E99-426D-A9EC-E22D7BFBE5E7}" dt="2024-09-27T18:51:24.651" v="81674" actId="21"/>
            <ac:spMkLst>
              <pc:docMk/>
              <pc:sldMasterMk cId="691713017" sldId="2147483660"/>
              <pc:sldLayoutMk cId="19076144" sldId="2147483692"/>
              <ac:spMk id="31" creationId="{5985080D-7476-405D-953D-F229B5D36CF4}"/>
            </ac:spMkLst>
          </pc:spChg>
        </pc:sldLayoutChg>
        <pc:sldLayoutChg chg="delSp mod">
          <pc:chgData name="Kyndal Mayes" userId="142911e9-0388-46d2-be9a-eb7bc2b8ac4b" providerId="ADAL" clId="{29B3924A-0E99-426D-A9EC-E22D7BFBE5E7}" dt="2024-09-27T15:43:31.753" v="0" actId="21"/>
          <pc:sldLayoutMkLst>
            <pc:docMk/>
            <pc:sldMasterMk cId="691713017" sldId="2147483660"/>
            <pc:sldLayoutMk cId="3833096054" sldId="2147483706"/>
          </pc:sldLayoutMkLst>
          <pc:spChg chg="del">
            <ac:chgData name="Kyndal Mayes" userId="142911e9-0388-46d2-be9a-eb7bc2b8ac4b" providerId="ADAL" clId="{29B3924A-0E99-426D-A9EC-E22D7BFBE5E7}" dt="2024-09-27T15:43:31.753" v="0" actId="21"/>
            <ac:spMkLst>
              <pc:docMk/>
              <pc:sldMasterMk cId="691713017" sldId="2147483660"/>
              <pc:sldLayoutMk cId="3833096054" sldId="2147483706"/>
              <ac:spMk id="16" creationId="{EC36045C-2F27-4D1F-8FC2-77CB5C497B18}"/>
            </ac:spMkLst>
          </pc:spChg>
        </pc:sldLayoutChg>
      </pc:sldMasterChg>
      <pc:sldMasterChg chg="modSldLayout">
        <pc:chgData name="Kyndal Mayes" userId="142911e9-0388-46d2-be9a-eb7bc2b8ac4b" providerId="ADAL" clId="{29B3924A-0E99-426D-A9EC-E22D7BFBE5E7}" dt="2024-09-27T18:53:37.627" v="81681" actId="21"/>
        <pc:sldMasterMkLst>
          <pc:docMk/>
          <pc:sldMasterMk cId="3226746640" sldId="2147483707"/>
        </pc:sldMasterMkLst>
        <pc:sldLayoutChg chg="delSp mod">
          <pc:chgData name="Kyndal Mayes" userId="142911e9-0388-46d2-be9a-eb7bc2b8ac4b" providerId="ADAL" clId="{29B3924A-0E99-426D-A9EC-E22D7BFBE5E7}" dt="2024-09-27T18:53:20.618" v="81680" actId="21"/>
          <pc:sldLayoutMkLst>
            <pc:docMk/>
            <pc:sldMasterMk cId="3226746640" sldId="2147483707"/>
            <pc:sldLayoutMk cId="3706014391" sldId="2147483712"/>
          </pc:sldLayoutMkLst>
          <pc:spChg chg="del">
            <ac:chgData name="Kyndal Mayes" userId="142911e9-0388-46d2-be9a-eb7bc2b8ac4b" providerId="ADAL" clId="{29B3924A-0E99-426D-A9EC-E22D7BFBE5E7}" dt="2024-09-27T18:53:20.618" v="81680" actId="21"/>
            <ac:spMkLst>
              <pc:docMk/>
              <pc:sldMasterMk cId="3226746640" sldId="2147483707"/>
              <pc:sldLayoutMk cId="3706014391" sldId="2147483712"/>
              <ac:spMk id="24" creationId="{609753E2-8329-46F7-804D-D1DD09BED2F1}"/>
            </ac:spMkLst>
          </pc:spChg>
        </pc:sldLayoutChg>
        <pc:sldLayoutChg chg="delSp mod">
          <pc:chgData name="Kyndal Mayes" userId="142911e9-0388-46d2-be9a-eb7bc2b8ac4b" providerId="ADAL" clId="{29B3924A-0E99-426D-A9EC-E22D7BFBE5E7}" dt="2024-09-27T18:53:37.627" v="81681" actId="21"/>
          <pc:sldLayoutMkLst>
            <pc:docMk/>
            <pc:sldMasterMk cId="3226746640" sldId="2147483707"/>
            <pc:sldLayoutMk cId="2449228282" sldId="2147483715"/>
          </pc:sldLayoutMkLst>
          <pc:spChg chg="del">
            <ac:chgData name="Kyndal Mayes" userId="142911e9-0388-46d2-be9a-eb7bc2b8ac4b" providerId="ADAL" clId="{29B3924A-0E99-426D-A9EC-E22D7BFBE5E7}" dt="2024-09-27T18:53:37.627" v="81681" actId="21"/>
            <ac:spMkLst>
              <pc:docMk/>
              <pc:sldMasterMk cId="3226746640" sldId="2147483707"/>
              <pc:sldLayoutMk cId="2449228282" sldId="2147483715"/>
              <ac:spMk id="24" creationId="{0F643666-CC41-4DE8-8910-69F6DC6B7F00}"/>
            </ac:spMkLst>
          </pc:spChg>
        </pc:sldLayoutChg>
        <pc:sldLayoutChg chg="delSp mod">
          <pc:chgData name="Kyndal Mayes" userId="142911e9-0388-46d2-be9a-eb7bc2b8ac4b" providerId="ADAL" clId="{29B3924A-0E99-426D-A9EC-E22D7BFBE5E7}" dt="2024-09-27T18:48:52.207" v="81662" actId="21"/>
          <pc:sldLayoutMkLst>
            <pc:docMk/>
            <pc:sldMasterMk cId="3226746640" sldId="2147483707"/>
            <pc:sldLayoutMk cId="3677715602" sldId="2147483745"/>
          </pc:sldLayoutMkLst>
          <pc:spChg chg="del">
            <ac:chgData name="Kyndal Mayes" userId="142911e9-0388-46d2-be9a-eb7bc2b8ac4b" providerId="ADAL" clId="{29B3924A-0E99-426D-A9EC-E22D7BFBE5E7}" dt="2024-09-27T18:48:52.207" v="81662" actId="21"/>
            <ac:spMkLst>
              <pc:docMk/>
              <pc:sldMasterMk cId="3226746640" sldId="2147483707"/>
              <pc:sldLayoutMk cId="3677715602" sldId="2147483745"/>
              <ac:spMk id="23" creationId="{C0B480F0-6059-4BD9-8684-DCFF21A0C491}"/>
            </ac:spMkLst>
          </pc:spChg>
        </pc:sldLayoutChg>
        <pc:sldLayoutChg chg="delSp mod">
          <pc:chgData name="Kyndal Mayes" userId="142911e9-0388-46d2-be9a-eb7bc2b8ac4b" providerId="ADAL" clId="{29B3924A-0E99-426D-A9EC-E22D7BFBE5E7}" dt="2024-09-27T18:48:45.356" v="81661" actId="21"/>
          <pc:sldLayoutMkLst>
            <pc:docMk/>
            <pc:sldMasterMk cId="3226746640" sldId="2147483707"/>
            <pc:sldLayoutMk cId="387829948" sldId="2147483746"/>
          </pc:sldLayoutMkLst>
          <pc:spChg chg="del">
            <ac:chgData name="Kyndal Mayes" userId="142911e9-0388-46d2-be9a-eb7bc2b8ac4b" providerId="ADAL" clId="{29B3924A-0E99-426D-A9EC-E22D7BFBE5E7}" dt="2024-09-27T18:48:45.356" v="81661" actId="21"/>
            <ac:spMkLst>
              <pc:docMk/>
              <pc:sldMasterMk cId="3226746640" sldId="2147483707"/>
              <pc:sldLayoutMk cId="387829948" sldId="2147483746"/>
              <ac:spMk id="23" creationId="{C0B480F0-6059-4BD9-8684-DCFF21A0C491}"/>
            </ac:spMkLst>
          </pc:spChg>
        </pc:sldLayoutChg>
        <pc:sldLayoutChg chg="delSp mod">
          <pc:chgData name="Kyndal Mayes" userId="142911e9-0388-46d2-be9a-eb7bc2b8ac4b" providerId="ADAL" clId="{29B3924A-0E99-426D-A9EC-E22D7BFBE5E7}" dt="2024-09-27T18:48:37.954" v="81660" actId="21"/>
          <pc:sldLayoutMkLst>
            <pc:docMk/>
            <pc:sldMasterMk cId="3226746640" sldId="2147483707"/>
            <pc:sldLayoutMk cId="741383387" sldId="2147483747"/>
          </pc:sldLayoutMkLst>
          <pc:spChg chg="del">
            <ac:chgData name="Kyndal Mayes" userId="142911e9-0388-46d2-be9a-eb7bc2b8ac4b" providerId="ADAL" clId="{29B3924A-0E99-426D-A9EC-E22D7BFBE5E7}" dt="2024-09-27T18:48:37.954" v="81660" actId="21"/>
            <ac:spMkLst>
              <pc:docMk/>
              <pc:sldMasterMk cId="3226746640" sldId="2147483707"/>
              <pc:sldLayoutMk cId="741383387" sldId="2147483747"/>
              <ac:spMk id="23" creationId="{C0B480F0-6059-4BD9-8684-DCFF21A0C491}"/>
            </ac:spMkLst>
          </pc:spChg>
        </pc:sldLayoutChg>
        <pc:sldLayoutChg chg="delSp mod">
          <pc:chgData name="Kyndal Mayes" userId="142911e9-0388-46d2-be9a-eb7bc2b8ac4b" providerId="ADAL" clId="{29B3924A-0E99-426D-A9EC-E22D7BFBE5E7}" dt="2024-09-27T18:48:28.837" v="81659" actId="21"/>
          <pc:sldLayoutMkLst>
            <pc:docMk/>
            <pc:sldMasterMk cId="3226746640" sldId="2147483707"/>
            <pc:sldLayoutMk cId="3698319843" sldId="2147483748"/>
          </pc:sldLayoutMkLst>
          <pc:spChg chg="del">
            <ac:chgData name="Kyndal Mayes" userId="142911e9-0388-46d2-be9a-eb7bc2b8ac4b" providerId="ADAL" clId="{29B3924A-0E99-426D-A9EC-E22D7BFBE5E7}" dt="2024-09-27T18:48:28.837" v="81659" actId="21"/>
            <ac:spMkLst>
              <pc:docMk/>
              <pc:sldMasterMk cId="3226746640" sldId="2147483707"/>
              <pc:sldLayoutMk cId="3698319843" sldId="2147483748"/>
              <ac:spMk id="23" creationId="{C0B480F0-6059-4BD9-8684-DCFF21A0C491}"/>
            </ac:spMkLst>
          </pc:spChg>
        </pc:sldLayoutChg>
        <pc:sldLayoutChg chg="delSp mod">
          <pc:chgData name="Kyndal Mayes" userId="142911e9-0388-46d2-be9a-eb7bc2b8ac4b" providerId="ADAL" clId="{29B3924A-0E99-426D-A9EC-E22D7BFBE5E7}" dt="2024-09-27T18:48:21.645" v="81658" actId="21"/>
          <pc:sldLayoutMkLst>
            <pc:docMk/>
            <pc:sldMasterMk cId="3226746640" sldId="2147483707"/>
            <pc:sldLayoutMk cId="2244636568" sldId="2147483749"/>
          </pc:sldLayoutMkLst>
          <pc:spChg chg="del">
            <ac:chgData name="Kyndal Mayes" userId="142911e9-0388-46d2-be9a-eb7bc2b8ac4b" providerId="ADAL" clId="{29B3924A-0E99-426D-A9EC-E22D7BFBE5E7}" dt="2024-09-27T18:48:21.645" v="81658" actId="21"/>
            <ac:spMkLst>
              <pc:docMk/>
              <pc:sldMasterMk cId="3226746640" sldId="2147483707"/>
              <pc:sldLayoutMk cId="2244636568" sldId="2147483749"/>
              <ac:spMk id="23" creationId="{C0B480F0-6059-4BD9-8684-DCFF21A0C491}"/>
            </ac:spMkLst>
          </pc:spChg>
        </pc:sldLayoutChg>
        <pc:sldLayoutChg chg="delSp mod">
          <pc:chgData name="Kyndal Mayes" userId="142911e9-0388-46d2-be9a-eb7bc2b8ac4b" providerId="ADAL" clId="{29B3924A-0E99-426D-A9EC-E22D7BFBE5E7}" dt="2024-09-27T18:48:15.262" v="81657" actId="21"/>
          <pc:sldLayoutMkLst>
            <pc:docMk/>
            <pc:sldMasterMk cId="3226746640" sldId="2147483707"/>
            <pc:sldLayoutMk cId="2621682585" sldId="2147483750"/>
          </pc:sldLayoutMkLst>
          <pc:spChg chg="del">
            <ac:chgData name="Kyndal Mayes" userId="142911e9-0388-46d2-be9a-eb7bc2b8ac4b" providerId="ADAL" clId="{29B3924A-0E99-426D-A9EC-E22D7BFBE5E7}" dt="2024-09-27T18:48:15.262" v="81657" actId="21"/>
            <ac:spMkLst>
              <pc:docMk/>
              <pc:sldMasterMk cId="3226746640" sldId="2147483707"/>
              <pc:sldLayoutMk cId="2621682585" sldId="2147483750"/>
              <ac:spMk id="23" creationId="{C0B480F0-6059-4BD9-8684-DCFF21A0C491}"/>
            </ac:spMkLst>
          </pc:spChg>
        </pc:sldLayoutChg>
      </pc:sldMasterChg>
      <pc:sldMasterChg chg="modSldLayout">
        <pc:chgData name="Kyndal Mayes" userId="142911e9-0388-46d2-be9a-eb7bc2b8ac4b" providerId="ADAL" clId="{29B3924A-0E99-426D-A9EC-E22D7BFBE5E7}" dt="2024-09-27T18:53:04.851" v="81679" actId="21"/>
        <pc:sldMasterMkLst>
          <pc:docMk/>
          <pc:sldMasterMk cId="2344575734" sldId="2147483754"/>
        </pc:sldMasterMkLst>
        <pc:sldLayoutChg chg="delSp mod">
          <pc:chgData name="Kyndal Mayes" userId="142911e9-0388-46d2-be9a-eb7bc2b8ac4b" providerId="ADAL" clId="{29B3924A-0E99-426D-A9EC-E22D7BFBE5E7}" dt="2024-09-27T18:53:04.851" v="81679" actId="21"/>
          <pc:sldLayoutMkLst>
            <pc:docMk/>
            <pc:sldMasterMk cId="2344575734" sldId="2147483754"/>
            <pc:sldLayoutMk cId="3471132940" sldId="2147483758"/>
          </pc:sldLayoutMkLst>
          <pc:spChg chg="del">
            <ac:chgData name="Kyndal Mayes" userId="142911e9-0388-46d2-be9a-eb7bc2b8ac4b" providerId="ADAL" clId="{29B3924A-0E99-426D-A9EC-E22D7BFBE5E7}" dt="2024-09-27T18:53:04.851" v="81679" actId="21"/>
            <ac:spMkLst>
              <pc:docMk/>
              <pc:sldMasterMk cId="2344575734" sldId="2147483754"/>
              <pc:sldLayoutMk cId="3471132940" sldId="2147483758"/>
              <ac:spMk id="23" creationId="{C0B480F0-6059-4BD9-8684-DCFF21A0C491}"/>
            </ac:spMkLst>
          </pc:spChg>
        </pc:sldLayoutChg>
        <pc:sldLayoutChg chg="delSp mod">
          <pc:chgData name="Kyndal Mayes" userId="142911e9-0388-46d2-be9a-eb7bc2b8ac4b" providerId="ADAL" clId="{29B3924A-0E99-426D-A9EC-E22D7BFBE5E7}" dt="2024-09-27T18:48:02.518" v="81656" actId="21"/>
          <pc:sldLayoutMkLst>
            <pc:docMk/>
            <pc:sldMasterMk cId="2344575734" sldId="2147483754"/>
            <pc:sldLayoutMk cId="3013267146" sldId="2147483790"/>
          </pc:sldLayoutMkLst>
          <pc:spChg chg="del">
            <ac:chgData name="Kyndal Mayes" userId="142911e9-0388-46d2-be9a-eb7bc2b8ac4b" providerId="ADAL" clId="{29B3924A-0E99-426D-A9EC-E22D7BFBE5E7}" dt="2024-09-27T18:48:02.518" v="81656" actId="21"/>
            <ac:spMkLst>
              <pc:docMk/>
              <pc:sldMasterMk cId="2344575734" sldId="2147483754"/>
              <pc:sldLayoutMk cId="3013267146" sldId="2147483790"/>
              <ac:spMk id="31" creationId="{5985080D-7476-405D-953D-F229B5D36CF4}"/>
            </ac:spMkLst>
          </pc:spChg>
        </pc:sldLayoutChg>
        <pc:sldLayoutChg chg="delSp mod">
          <pc:chgData name="Kyndal Mayes" userId="142911e9-0388-46d2-be9a-eb7bc2b8ac4b" providerId="ADAL" clId="{29B3924A-0E99-426D-A9EC-E22D7BFBE5E7}" dt="2024-09-27T18:47:56.632" v="81655" actId="21"/>
          <pc:sldLayoutMkLst>
            <pc:docMk/>
            <pc:sldMasterMk cId="2344575734" sldId="2147483754"/>
            <pc:sldLayoutMk cId="352396863" sldId="2147483791"/>
          </pc:sldLayoutMkLst>
          <pc:spChg chg="del">
            <ac:chgData name="Kyndal Mayes" userId="142911e9-0388-46d2-be9a-eb7bc2b8ac4b" providerId="ADAL" clId="{29B3924A-0E99-426D-A9EC-E22D7BFBE5E7}" dt="2024-09-27T18:47:56.632" v="81655" actId="21"/>
            <ac:spMkLst>
              <pc:docMk/>
              <pc:sldMasterMk cId="2344575734" sldId="2147483754"/>
              <pc:sldLayoutMk cId="352396863" sldId="2147483791"/>
              <ac:spMk id="28" creationId="{CA4BE958-1557-4F4B-AC25-7461D9D65387}"/>
            </ac:spMkLst>
          </pc:spChg>
        </pc:sldLayoutChg>
        <pc:sldLayoutChg chg="delSp modSp mod">
          <pc:chgData name="Kyndal Mayes" userId="142911e9-0388-46d2-be9a-eb7bc2b8ac4b" providerId="ADAL" clId="{29B3924A-0E99-426D-A9EC-E22D7BFBE5E7}" dt="2024-09-27T18:47:25.009" v="81654" actId="21"/>
          <pc:sldLayoutMkLst>
            <pc:docMk/>
            <pc:sldMasterMk cId="2344575734" sldId="2147483754"/>
            <pc:sldLayoutMk cId="1214048920" sldId="2147483792"/>
          </pc:sldLayoutMkLst>
          <pc:spChg chg="del mod">
            <ac:chgData name="Kyndal Mayes" userId="142911e9-0388-46d2-be9a-eb7bc2b8ac4b" providerId="ADAL" clId="{29B3924A-0E99-426D-A9EC-E22D7BFBE5E7}" dt="2024-09-27T18:47:25.009" v="81654" actId="21"/>
            <ac:spMkLst>
              <pc:docMk/>
              <pc:sldMasterMk cId="2344575734" sldId="2147483754"/>
              <pc:sldLayoutMk cId="1214048920" sldId="2147483792"/>
              <ac:spMk id="23" creationId="{C0B480F0-6059-4BD9-8684-DCFF21A0C491}"/>
            </ac:spMkLst>
          </pc:spChg>
        </pc:sldLayoutChg>
        <pc:sldLayoutChg chg="delSp mod">
          <pc:chgData name="Kyndal Mayes" userId="142911e9-0388-46d2-be9a-eb7bc2b8ac4b" providerId="ADAL" clId="{29B3924A-0E99-426D-A9EC-E22D7BFBE5E7}" dt="2024-09-27T18:41:25.160" v="81649" actId="21"/>
          <pc:sldLayoutMkLst>
            <pc:docMk/>
            <pc:sldMasterMk cId="2344575734" sldId="2147483754"/>
            <pc:sldLayoutMk cId="2393893570" sldId="2147483793"/>
          </pc:sldLayoutMkLst>
          <pc:spChg chg="del">
            <ac:chgData name="Kyndal Mayes" userId="142911e9-0388-46d2-be9a-eb7bc2b8ac4b" providerId="ADAL" clId="{29B3924A-0E99-426D-A9EC-E22D7BFBE5E7}" dt="2024-09-27T18:41:25.160" v="81649" actId="21"/>
            <ac:spMkLst>
              <pc:docMk/>
              <pc:sldMasterMk cId="2344575734" sldId="2147483754"/>
              <pc:sldLayoutMk cId="2393893570" sldId="2147483793"/>
              <ac:spMk id="23" creationId="{C0B480F0-6059-4BD9-8684-DCFF21A0C491}"/>
            </ac:spMkLst>
          </pc:spChg>
        </pc:sldLayoutChg>
        <pc:sldLayoutChg chg="delSp mod">
          <pc:chgData name="Kyndal Mayes" userId="142911e9-0388-46d2-be9a-eb7bc2b8ac4b" providerId="ADAL" clId="{29B3924A-0E99-426D-A9EC-E22D7BFBE5E7}" dt="2024-09-27T18:41:15.765" v="81648" actId="21"/>
          <pc:sldLayoutMkLst>
            <pc:docMk/>
            <pc:sldMasterMk cId="2344575734" sldId="2147483754"/>
            <pc:sldLayoutMk cId="3114345856" sldId="2147483794"/>
          </pc:sldLayoutMkLst>
          <pc:spChg chg="del">
            <ac:chgData name="Kyndal Mayes" userId="142911e9-0388-46d2-be9a-eb7bc2b8ac4b" providerId="ADAL" clId="{29B3924A-0E99-426D-A9EC-E22D7BFBE5E7}" dt="2024-09-27T18:41:15.765" v="81648" actId="21"/>
            <ac:spMkLst>
              <pc:docMk/>
              <pc:sldMasterMk cId="2344575734" sldId="2147483754"/>
              <pc:sldLayoutMk cId="3114345856" sldId="2147483794"/>
              <ac:spMk id="23" creationId="{C0B480F0-6059-4BD9-8684-DCFF21A0C491}"/>
            </ac:spMkLst>
          </pc:spChg>
        </pc:sldLayoutChg>
        <pc:sldLayoutChg chg="delSp mod">
          <pc:chgData name="Kyndal Mayes" userId="142911e9-0388-46d2-be9a-eb7bc2b8ac4b" providerId="ADAL" clId="{29B3924A-0E99-426D-A9EC-E22D7BFBE5E7}" dt="2024-09-27T18:41:34.161" v="81650" actId="21"/>
          <pc:sldLayoutMkLst>
            <pc:docMk/>
            <pc:sldMasterMk cId="2344575734" sldId="2147483754"/>
            <pc:sldLayoutMk cId="3884171822" sldId="2147483795"/>
          </pc:sldLayoutMkLst>
          <pc:spChg chg="del">
            <ac:chgData name="Kyndal Mayes" userId="142911e9-0388-46d2-be9a-eb7bc2b8ac4b" providerId="ADAL" clId="{29B3924A-0E99-426D-A9EC-E22D7BFBE5E7}" dt="2024-09-27T18:41:34.161" v="81650" actId="21"/>
            <ac:spMkLst>
              <pc:docMk/>
              <pc:sldMasterMk cId="2344575734" sldId="2147483754"/>
              <pc:sldLayoutMk cId="3884171822" sldId="2147483795"/>
              <ac:spMk id="23" creationId="{C0B480F0-6059-4BD9-8684-DCFF21A0C491}"/>
            </ac:spMkLst>
          </pc:spChg>
        </pc:sldLayoutChg>
        <pc:sldLayoutChg chg="delSp mod">
          <pc:chgData name="Kyndal Mayes" userId="142911e9-0388-46d2-be9a-eb7bc2b8ac4b" providerId="ADAL" clId="{29B3924A-0E99-426D-A9EC-E22D7BFBE5E7}" dt="2024-09-27T18:47:11.704" v="81652" actId="21"/>
          <pc:sldLayoutMkLst>
            <pc:docMk/>
            <pc:sldMasterMk cId="2344575734" sldId="2147483754"/>
            <pc:sldLayoutMk cId="4244187522" sldId="2147483796"/>
          </pc:sldLayoutMkLst>
          <pc:spChg chg="del">
            <ac:chgData name="Kyndal Mayes" userId="142911e9-0388-46d2-be9a-eb7bc2b8ac4b" providerId="ADAL" clId="{29B3924A-0E99-426D-A9EC-E22D7BFBE5E7}" dt="2024-09-27T18:47:11.704" v="81652" actId="21"/>
            <ac:spMkLst>
              <pc:docMk/>
              <pc:sldMasterMk cId="2344575734" sldId="2147483754"/>
              <pc:sldLayoutMk cId="4244187522" sldId="2147483796"/>
              <ac:spMk id="23" creationId="{C0B480F0-6059-4BD9-8684-DCFF21A0C491}"/>
            </ac:spMkLst>
          </pc:spChg>
        </pc:sldLayoutChg>
        <pc:sldLayoutChg chg="delSp mod">
          <pc:chgData name="Kyndal Mayes" userId="142911e9-0388-46d2-be9a-eb7bc2b8ac4b" providerId="ADAL" clId="{29B3924A-0E99-426D-A9EC-E22D7BFBE5E7}" dt="2024-09-27T18:47:05.994" v="81651" actId="21"/>
          <pc:sldLayoutMkLst>
            <pc:docMk/>
            <pc:sldMasterMk cId="2344575734" sldId="2147483754"/>
            <pc:sldLayoutMk cId="2451350100" sldId="2147483797"/>
          </pc:sldLayoutMkLst>
          <pc:spChg chg="del">
            <ac:chgData name="Kyndal Mayes" userId="142911e9-0388-46d2-be9a-eb7bc2b8ac4b" providerId="ADAL" clId="{29B3924A-0E99-426D-A9EC-E22D7BFBE5E7}" dt="2024-09-27T18:47:05.994" v="81651" actId="21"/>
            <ac:spMkLst>
              <pc:docMk/>
              <pc:sldMasterMk cId="2344575734" sldId="2147483754"/>
              <pc:sldLayoutMk cId="2451350100" sldId="2147483797"/>
              <ac:spMk id="23" creationId="{C0B480F0-6059-4BD9-8684-DCFF21A0C491}"/>
            </ac:spMkLst>
          </pc:spChg>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7FFFF67D_15B16FC0.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7FFFF691_DB5979F3.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7FFFF6B0_A59F0650.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7FFFF6B0_A59F06501.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7FFFF6AF_A755296B.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7FFFF6AF_A755296B2.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7FFFF6AF_A755296B3.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7FFFF5B1_6E4BBACB.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7FFFF5AD_34595BF1.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732851985559567E-2"/>
          <c:y val="9.187279151943463E-2"/>
          <c:w val="0.97653429602888087"/>
          <c:h val="0.81625441696113077"/>
        </c:manualLayout>
      </c:layout>
      <c:barChart>
        <c:barDir val="col"/>
        <c:grouping val="clustered"/>
        <c:varyColors val="0"/>
        <c:ser>
          <c:idx val="0"/>
          <c:order val="0"/>
          <c:spPr>
            <a:solidFill>
              <a:srgbClr val="4C6C9C"/>
            </a:solidFill>
            <a:ln w="9525" cmpd="sng" algn="ctr">
              <a:solidFill>
                <a:schemeClr val="bg1"/>
              </a:solidFill>
              <a:prstDash val="solid"/>
            </a:ln>
          </c:spPr>
          <c:invertIfNegative val="0"/>
          <c:val>
            <c:numRef>
              <c:f>Sheet1!$A$1:$C$1</c:f>
              <c:numCache>
                <c:formatCode>General</c:formatCode>
                <c:ptCount val="3"/>
                <c:pt idx="0">
                  <c:v>-8.1339795739410198E-5</c:v>
                </c:pt>
                <c:pt idx="1">
                  <c:v>-1.9305882003842444E-2</c:v>
                </c:pt>
                <c:pt idx="2">
                  <c:v>-4.9314648855302533E-2</c:v>
                </c:pt>
              </c:numCache>
            </c:numRef>
          </c:val>
          <c:extLst>
            <c:ext xmlns:c16="http://schemas.microsoft.com/office/drawing/2014/chart" uri="{C3380CC4-5D6E-409C-BE32-E72D297353CC}">
              <c16:uniqueId val="{00000000-7477-433B-ABAA-2A6E91023AEE}"/>
            </c:ext>
          </c:extLst>
        </c:ser>
        <c:ser>
          <c:idx val="1"/>
          <c:order val="1"/>
          <c:spPr>
            <a:solidFill>
              <a:srgbClr val="9F3C1C"/>
            </a:solidFill>
            <a:ln w="9525" cmpd="sng" algn="ctr">
              <a:solidFill>
                <a:schemeClr val="bg1"/>
              </a:solidFill>
              <a:prstDash val="solid"/>
            </a:ln>
          </c:spPr>
          <c:invertIfNegative val="0"/>
          <c:val>
            <c:numRef>
              <c:f>Sheet1!$A$2:$C$2</c:f>
              <c:numCache>
                <c:formatCode>General</c:formatCode>
                <c:ptCount val="3"/>
                <c:pt idx="0">
                  <c:v>3.6593974826582888E-3</c:v>
                </c:pt>
                <c:pt idx="1">
                  <c:v>-1.2400224270037086E-2</c:v>
                </c:pt>
                <c:pt idx="2">
                  <c:v>-2.3806918624031798E-2</c:v>
                </c:pt>
              </c:numCache>
            </c:numRef>
          </c:val>
          <c:extLst>
            <c:ext xmlns:c16="http://schemas.microsoft.com/office/drawing/2014/chart" uri="{C3380CC4-5D6E-409C-BE32-E72D297353CC}">
              <c16:uniqueId val="{00000001-7477-433B-ABAA-2A6E91023AEE}"/>
            </c:ext>
          </c:extLst>
        </c:ser>
        <c:dLbls>
          <c:showLegendKey val="0"/>
          <c:showVal val="0"/>
          <c:showCatName val="0"/>
          <c:showSerName val="0"/>
          <c:showPercent val="0"/>
          <c:showBubbleSize val="0"/>
        </c:dLbls>
        <c:gapWidth val="80"/>
        <c:axId val="2105394463"/>
        <c:axId val="1"/>
      </c:barChart>
      <c:catAx>
        <c:axId val="210539446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0.1"/>
          <c:min val="-0.2"/>
        </c:scaling>
        <c:delete val="0"/>
        <c:axPos val="l"/>
        <c:majorGridlines>
          <c:spPr>
            <a:ln>
              <a:noFill/>
            </a:ln>
          </c:spPr>
        </c:majorGridlines>
        <c:numFmt formatCode="General" sourceLinked="1"/>
        <c:majorTickMark val="none"/>
        <c:minorTickMark val="none"/>
        <c:tickLblPos val="none"/>
        <c:spPr>
          <a:ln>
            <a:noFill/>
          </a:ln>
        </c:spPr>
        <c:crossAx val="2105394463"/>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014787430683918E-2"/>
          <c:y val="9.187279151943463E-2"/>
          <c:w val="0.97597042513863219"/>
          <c:h val="0.81625441696113077"/>
        </c:manualLayout>
      </c:layout>
      <c:barChart>
        <c:barDir val="col"/>
        <c:grouping val="clustered"/>
        <c:varyColors val="0"/>
        <c:ser>
          <c:idx val="0"/>
          <c:order val="0"/>
          <c:spPr>
            <a:solidFill>
              <a:srgbClr val="9DB1CF"/>
            </a:solidFill>
            <a:ln w="9525" cmpd="sng" algn="ctr">
              <a:solidFill>
                <a:schemeClr val="bg1"/>
              </a:solidFill>
              <a:prstDash val="solid"/>
            </a:ln>
          </c:spPr>
          <c:invertIfNegative val="0"/>
          <c:val>
            <c:numRef>
              <c:f>Sheet1!$A$1:$C$1</c:f>
              <c:numCache>
                <c:formatCode>General</c:formatCode>
                <c:ptCount val="3"/>
                <c:pt idx="0">
                  <c:v>2.519127580844107E-2</c:v>
                </c:pt>
                <c:pt idx="1">
                  <c:v>6.9637591585298073E-2</c:v>
                </c:pt>
                <c:pt idx="2">
                  <c:v>6.7169118587151258E-2</c:v>
                </c:pt>
              </c:numCache>
            </c:numRef>
          </c:val>
          <c:extLst>
            <c:ext xmlns:c16="http://schemas.microsoft.com/office/drawing/2014/chart" uri="{C3380CC4-5D6E-409C-BE32-E72D297353CC}">
              <c16:uniqueId val="{00000000-7F6E-4BA3-90B1-567AB30FFA48}"/>
            </c:ext>
          </c:extLst>
        </c:ser>
        <c:ser>
          <c:idx val="1"/>
          <c:order val="1"/>
          <c:spPr>
            <a:solidFill>
              <a:srgbClr val="C8BD88"/>
            </a:solidFill>
            <a:ln w="9525" cmpd="sng" algn="ctr">
              <a:solidFill>
                <a:schemeClr val="bg1"/>
              </a:solidFill>
              <a:prstDash val="solid"/>
            </a:ln>
          </c:spPr>
          <c:invertIfNegative val="0"/>
          <c:val>
            <c:numRef>
              <c:f>Sheet1!$A$2:$C$2</c:f>
              <c:numCache>
                <c:formatCode>General</c:formatCode>
                <c:ptCount val="3"/>
                <c:pt idx="0">
                  <c:v>2.8483198855946835E-2</c:v>
                </c:pt>
                <c:pt idx="1">
                  <c:v>6.6762074986090297E-2</c:v>
                </c:pt>
                <c:pt idx="2">
                  <c:v>4.8223428149117377E-2</c:v>
                </c:pt>
              </c:numCache>
            </c:numRef>
          </c:val>
          <c:extLst>
            <c:ext xmlns:c16="http://schemas.microsoft.com/office/drawing/2014/chart" uri="{C3380CC4-5D6E-409C-BE32-E72D297353CC}">
              <c16:uniqueId val="{00000001-7F6E-4BA3-90B1-567AB30FFA48}"/>
            </c:ext>
          </c:extLst>
        </c:ser>
        <c:dLbls>
          <c:showLegendKey val="0"/>
          <c:showVal val="0"/>
          <c:showCatName val="0"/>
          <c:showSerName val="0"/>
          <c:showPercent val="0"/>
          <c:showBubbleSize val="0"/>
        </c:dLbls>
        <c:gapWidth val="80"/>
        <c:axId val="1248591936"/>
        <c:axId val="1"/>
      </c:barChart>
      <c:catAx>
        <c:axId val="124859193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0.1"/>
          <c:min val="-0.2"/>
        </c:scaling>
        <c:delete val="0"/>
        <c:axPos val="l"/>
        <c:majorGridlines>
          <c:spPr>
            <a:ln>
              <a:noFill/>
            </a:ln>
          </c:spPr>
        </c:majorGridlines>
        <c:numFmt formatCode="General" sourceLinked="1"/>
        <c:majorTickMark val="none"/>
        <c:minorTickMark val="none"/>
        <c:tickLblPos val="none"/>
        <c:spPr>
          <a:ln>
            <a:noFill/>
          </a:ln>
        </c:spPr>
        <c:crossAx val="1248591936"/>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172905525846704E-2"/>
          <c:y val="2.0959290608625555E-2"/>
          <c:w val="0.95365418894830656"/>
          <c:h val="0.95808141878274888"/>
        </c:manualLayout>
      </c:layout>
      <c:barChart>
        <c:barDir val="bar"/>
        <c:grouping val="stacked"/>
        <c:varyColors val="0"/>
        <c:ser>
          <c:idx val="0"/>
          <c:order val="0"/>
          <c:spPr>
            <a:solidFill>
              <a:srgbClr val="E9E261"/>
            </a:solidFill>
            <a:ln>
              <a:noFill/>
            </a:ln>
          </c:spPr>
          <c:invertIfNegative val="0"/>
          <c:dPt>
            <c:idx val="2"/>
            <c:invertIfNegative val="0"/>
            <c:bubble3D val="0"/>
            <c:spPr>
              <a:solidFill>
                <a:srgbClr val="A6B727"/>
              </a:solidFill>
              <a:ln>
                <a:noFill/>
              </a:ln>
            </c:spPr>
            <c:extLst>
              <c:ext xmlns:c16="http://schemas.microsoft.com/office/drawing/2014/chart" uri="{C3380CC4-5D6E-409C-BE32-E72D297353CC}">
                <c16:uniqueId val="{00000000-1FF5-436B-A73E-DF8A9309D3C5}"/>
              </c:ext>
            </c:extLst>
          </c:dPt>
          <c:dPt>
            <c:idx val="3"/>
            <c:invertIfNegative val="0"/>
            <c:bubble3D val="0"/>
            <c:spPr>
              <a:solidFill>
                <a:srgbClr val="441A0D"/>
              </a:solidFill>
              <a:ln>
                <a:noFill/>
              </a:ln>
            </c:spPr>
            <c:extLst>
              <c:ext xmlns:c16="http://schemas.microsoft.com/office/drawing/2014/chart" uri="{C3380CC4-5D6E-409C-BE32-E72D297353CC}">
                <c16:uniqueId val="{00000001-1FF5-436B-A73E-DF8A9309D3C5}"/>
              </c:ext>
            </c:extLst>
          </c:dPt>
          <c:val>
            <c:numRef>
              <c:f>Sheet1!$A$1:$D$1</c:f>
              <c:numCache>
                <c:formatCode>General</c:formatCode>
                <c:ptCount val="4"/>
                <c:pt idx="0">
                  <c:v>-6938.78</c:v>
                </c:pt>
                <c:pt idx="1">
                  <c:v>-58381.149999999994</c:v>
                </c:pt>
                <c:pt idx="2">
                  <c:v>0</c:v>
                </c:pt>
                <c:pt idx="3">
                  <c:v>-9685.8100000000013</c:v>
                </c:pt>
              </c:numCache>
            </c:numRef>
          </c:val>
          <c:extLst>
            <c:ext xmlns:c16="http://schemas.microsoft.com/office/drawing/2014/chart" uri="{C3380CC4-5D6E-409C-BE32-E72D297353CC}">
              <c16:uniqueId val="{00000002-1FF5-436B-A73E-DF8A9309D3C5}"/>
            </c:ext>
          </c:extLst>
        </c:ser>
        <c:ser>
          <c:idx val="1"/>
          <c:order val="1"/>
          <c:spPr>
            <a:solidFill>
              <a:srgbClr val="5A5A5A"/>
            </a:solidFill>
            <a:ln>
              <a:noFill/>
            </a:ln>
          </c:spPr>
          <c:invertIfNegative val="0"/>
          <c:dPt>
            <c:idx val="1"/>
            <c:invertIfNegative val="0"/>
            <c:bubble3D val="0"/>
            <c:spPr>
              <a:solidFill>
                <a:srgbClr val="9DB1CF"/>
              </a:solidFill>
              <a:ln>
                <a:noFill/>
              </a:ln>
            </c:spPr>
            <c:extLst>
              <c:ext xmlns:c16="http://schemas.microsoft.com/office/drawing/2014/chart" uri="{C3380CC4-5D6E-409C-BE32-E72D297353CC}">
                <c16:uniqueId val="{00000003-1FF5-436B-A73E-DF8A9309D3C5}"/>
              </c:ext>
            </c:extLst>
          </c:dPt>
          <c:dPt>
            <c:idx val="2"/>
            <c:invertIfNegative val="0"/>
            <c:bubble3D val="0"/>
            <c:spPr>
              <a:solidFill>
                <a:srgbClr val="969696"/>
              </a:solidFill>
              <a:ln>
                <a:noFill/>
              </a:ln>
            </c:spPr>
            <c:extLst>
              <c:ext xmlns:c16="http://schemas.microsoft.com/office/drawing/2014/chart" uri="{C3380CC4-5D6E-409C-BE32-E72D297353CC}">
                <c16:uniqueId val="{00000004-1FF5-436B-A73E-DF8A9309D3C5}"/>
              </c:ext>
            </c:extLst>
          </c:dPt>
          <c:val>
            <c:numRef>
              <c:f>Sheet1!$A$2:$D$2</c:f>
              <c:numCache>
                <c:formatCode>General</c:formatCode>
                <c:ptCount val="4"/>
                <c:pt idx="0">
                  <c:v>-9575.3600000000079</c:v>
                </c:pt>
                <c:pt idx="1">
                  <c:v>-51483.740000000005</c:v>
                </c:pt>
                <c:pt idx="2">
                  <c:v>0</c:v>
                </c:pt>
                <c:pt idx="3">
                  <c:v>-18056.400000000005</c:v>
                </c:pt>
              </c:numCache>
            </c:numRef>
          </c:val>
          <c:extLst>
            <c:ext xmlns:c16="http://schemas.microsoft.com/office/drawing/2014/chart" uri="{C3380CC4-5D6E-409C-BE32-E72D297353CC}">
              <c16:uniqueId val="{00000005-1FF5-436B-A73E-DF8A9309D3C5}"/>
            </c:ext>
          </c:extLst>
        </c:ser>
        <c:ser>
          <c:idx val="2"/>
          <c:order val="2"/>
          <c:spPr>
            <a:solidFill>
              <a:srgbClr val="657D1A"/>
            </a:solidFill>
            <a:ln>
              <a:noFill/>
            </a:ln>
          </c:spPr>
          <c:invertIfNegative val="0"/>
          <c:dPt>
            <c:idx val="0"/>
            <c:invertIfNegative val="0"/>
            <c:bubble3D val="0"/>
            <c:spPr>
              <a:solidFill>
                <a:srgbClr val="C0C0C0"/>
              </a:solidFill>
              <a:ln>
                <a:noFill/>
              </a:ln>
            </c:spPr>
            <c:extLst>
              <c:ext xmlns:c16="http://schemas.microsoft.com/office/drawing/2014/chart" uri="{C3380CC4-5D6E-409C-BE32-E72D297353CC}">
                <c16:uniqueId val="{00000006-1FF5-436B-A73E-DF8A9309D3C5}"/>
              </c:ext>
            </c:extLst>
          </c:dPt>
          <c:dPt>
            <c:idx val="3"/>
            <c:invertIfNegative val="0"/>
            <c:bubble3D val="0"/>
            <c:spPr>
              <a:solidFill>
                <a:srgbClr val="A6964E"/>
              </a:solidFill>
              <a:ln>
                <a:noFill/>
              </a:ln>
            </c:spPr>
            <c:extLst>
              <c:ext xmlns:c16="http://schemas.microsoft.com/office/drawing/2014/chart" uri="{C3380CC4-5D6E-409C-BE32-E72D297353CC}">
                <c16:uniqueId val="{00000007-1FF5-436B-A73E-DF8A9309D3C5}"/>
              </c:ext>
            </c:extLst>
          </c:dPt>
          <c:val>
            <c:numRef>
              <c:f>Sheet1!$A$3:$D$3</c:f>
              <c:numCache>
                <c:formatCode>General</c:formatCode>
                <c:ptCount val="4"/>
                <c:pt idx="0">
                  <c:v>-50.150000000001455</c:v>
                </c:pt>
                <c:pt idx="1">
                  <c:v>0</c:v>
                </c:pt>
                <c:pt idx="2">
                  <c:v>0</c:v>
                </c:pt>
                <c:pt idx="3">
                  <c:v>-15540.409999999989</c:v>
                </c:pt>
              </c:numCache>
            </c:numRef>
          </c:val>
          <c:extLst>
            <c:ext xmlns:c16="http://schemas.microsoft.com/office/drawing/2014/chart" uri="{C3380CC4-5D6E-409C-BE32-E72D297353CC}">
              <c16:uniqueId val="{00000008-1FF5-436B-A73E-DF8A9309D3C5}"/>
            </c:ext>
          </c:extLst>
        </c:ser>
        <c:ser>
          <c:idx val="3"/>
          <c:order val="3"/>
          <c:spPr>
            <a:solidFill>
              <a:srgbClr val="9DB1CF"/>
            </a:solidFill>
            <a:ln>
              <a:noFill/>
            </a:ln>
          </c:spPr>
          <c:invertIfNegative val="0"/>
          <c:dPt>
            <c:idx val="1"/>
            <c:invertIfNegative val="0"/>
            <c:bubble3D val="0"/>
            <c:spPr>
              <a:solidFill>
                <a:srgbClr val="A6B727"/>
              </a:solidFill>
              <a:ln>
                <a:noFill/>
              </a:ln>
            </c:spPr>
            <c:extLst>
              <c:ext xmlns:c16="http://schemas.microsoft.com/office/drawing/2014/chart" uri="{C3380CC4-5D6E-409C-BE32-E72D297353CC}">
                <c16:uniqueId val="{00000009-1FF5-436B-A73E-DF8A9309D3C5}"/>
              </c:ext>
            </c:extLst>
          </c:dPt>
          <c:dPt>
            <c:idx val="3"/>
            <c:invertIfNegative val="0"/>
            <c:bubble3D val="0"/>
            <c:spPr>
              <a:solidFill>
                <a:srgbClr val="4C6C9C"/>
              </a:solidFill>
              <a:ln>
                <a:noFill/>
              </a:ln>
            </c:spPr>
            <c:extLst>
              <c:ext xmlns:c16="http://schemas.microsoft.com/office/drawing/2014/chart" uri="{C3380CC4-5D6E-409C-BE32-E72D297353CC}">
                <c16:uniqueId val="{0000000A-1FF5-436B-A73E-DF8A9309D3C5}"/>
              </c:ext>
            </c:extLst>
          </c:dPt>
          <c:val>
            <c:numRef>
              <c:f>Sheet1!$A$4:$D$4</c:f>
              <c:numCache>
                <c:formatCode>General</c:formatCode>
                <c:ptCount val="4"/>
                <c:pt idx="0">
                  <c:v>-8332.2900000000009</c:v>
                </c:pt>
                <c:pt idx="1">
                  <c:v>-93118.930000000008</c:v>
                </c:pt>
                <c:pt idx="2">
                  <c:v>0</c:v>
                </c:pt>
                <c:pt idx="3">
                  <c:v>0</c:v>
                </c:pt>
              </c:numCache>
            </c:numRef>
          </c:val>
          <c:extLst>
            <c:ext xmlns:c16="http://schemas.microsoft.com/office/drawing/2014/chart" uri="{C3380CC4-5D6E-409C-BE32-E72D297353CC}">
              <c16:uniqueId val="{0000000B-1FF5-436B-A73E-DF8A9309D3C5}"/>
            </c:ext>
          </c:extLst>
        </c:ser>
        <c:ser>
          <c:idx val="4"/>
          <c:order val="4"/>
          <c:spPr>
            <a:solidFill>
              <a:srgbClr val="657D1A"/>
            </a:solidFill>
            <a:ln>
              <a:noFill/>
            </a:ln>
          </c:spPr>
          <c:invertIfNegative val="0"/>
          <c:dPt>
            <c:idx val="1"/>
            <c:invertIfNegative val="0"/>
            <c:bubble3D val="0"/>
            <c:spPr>
              <a:solidFill>
                <a:srgbClr val="969696"/>
              </a:solidFill>
              <a:ln>
                <a:noFill/>
              </a:ln>
            </c:spPr>
            <c:extLst>
              <c:ext xmlns:c16="http://schemas.microsoft.com/office/drawing/2014/chart" uri="{C3380CC4-5D6E-409C-BE32-E72D297353CC}">
                <c16:uniqueId val="{0000000C-1FF5-436B-A73E-DF8A9309D3C5}"/>
              </c:ext>
            </c:extLst>
          </c:dPt>
          <c:dPt>
            <c:idx val="2"/>
            <c:invertIfNegative val="0"/>
            <c:bubble3D val="0"/>
            <c:spPr>
              <a:solidFill>
                <a:srgbClr val="6F8DB9"/>
              </a:solidFill>
              <a:ln>
                <a:noFill/>
              </a:ln>
            </c:spPr>
            <c:extLst>
              <c:ext xmlns:c16="http://schemas.microsoft.com/office/drawing/2014/chart" uri="{C3380CC4-5D6E-409C-BE32-E72D297353CC}">
                <c16:uniqueId val="{0000000D-1FF5-436B-A73E-DF8A9309D3C5}"/>
              </c:ext>
            </c:extLst>
          </c:dPt>
          <c:dPt>
            <c:idx val="3"/>
            <c:invertIfNegative val="0"/>
            <c:bubble3D val="0"/>
            <c:spPr>
              <a:solidFill>
                <a:srgbClr val="9F3C1C"/>
              </a:solidFill>
              <a:ln>
                <a:noFill/>
              </a:ln>
            </c:spPr>
            <c:extLst>
              <c:ext xmlns:c16="http://schemas.microsoft.com/office/drawing/2014/chart" uri="{C3380CC4-5D6E-409C-BE32-E72D297353CC}">
                <c16:uniqueId val="{0000000E-1FF5-436B-A73E-DF8A9309D3C5}"/>
              </c:ext>
            </c:extLst>
          </c:dPt>
          <c:val>
            <c:numRef>
              <c:f>Sheet1!$A$5:$D$5</c:f>
              <c:numCache>
                <c:formatCode>General</c:formatCode>
                <c:ptCount val="4"/>
                <c:pt idx="0">
                  <c:v>0</c:v>
                </c:pt>
                <c:pt idx="1">
                  <c:v>410.81000000000131</c:v>
                </c:pt>
                <c:pt idx="2">
                  <c:v>0</c:v>
                </c:pt>
                <c:pt idx="3">
                  <c:v>0</c:v>
                </c:pt>
              </c:numCache>
            </c:numRef>
          </c:val>
          <c:extLst>
            <c:ext xmlns:c16="http://schemas.microsoft.com/office/drawing/2014/chart" uri="{C3380CC4-5D6E-409C-BE32-E72D297353CC}">
              <c16:uniqueId val="{0000000F-1FF5-436B-A73E-DF8A9309D3C5}"/>
            </c:ext>
          </c:extLst>
        </c:ser>
        <c:ser>
          <c:idx val="5"/>
          <c:order val="5"/>
          <c:spPr>
            <a:solidFill>
              <a:srgbClr val="969696"/>
            </a:solidFill>
            <a:ln>
              <a:noFill/>
            </a:ln>
          </c:spPr>
          <c:invertIfNegative val="0"/>
          <c:dPt>
            <c:idx val="1"/>
            <c:invertIfNegative val="0"/>
            <c:bubble3D val="0"/>
            <c:spPr>
              <a:solidFill>
                <a:srgbClr val="6F8DB9"/>
              </a:solidFill>
              <a:ln>
                <a:noFill/>
              </a:ln>
            </c:spPr>
            <c:extLst>
              <c:ext xmlns:c16="http://schemas.microsoft.com/office/drawing/2014/chart" uri="{C3380CC4-5D6E-409C-BE32-E72D297353CC}">
                <c16:uniqueId val="{00000010-1FF5-436B-A73E-DF8A9309D3C5}"/>
              </c:ext>
            </c:extLst>
          </c:dPt>
          <c:dPt>
            <c:idx val="2"/>
            <c:invertIfNegative val="0"/>
            <c:bubble3D val="0"/>
            <c:spPr>
              <a:solidFill>
                <a:srgbClr val="9F3C1C"/>
              </a:solidFill>
              <a:ln>
                <a:noFill/>
              </a:ln>
            </c:spPr>
            <c:extLst>
              <c:ext xmlns:c16="http://schemas.microsoft.com/office/drawing/2014/chart" uri="{C3380CC4-5D6E-409C-BE32-E72D297353CC}">
                <c16:uniqueId val="{00000011-1FF5-436B-A73E-DF8A9309D3C5}"/>
              </c:ext>
            </c:extLst>
          </c:dPt>
          <c:val>
            <c:numRef>
              <c:f>Sheet1!$A$6:$D$6</c:f>
              <c:numCache>
                <c:formatCode>General</c:formatCode>
                <c:ptCount val="4"/>
                <c:pt idx="0">
                  <c:v>-1075.5200000000004</c:v>
                </c:pt>
                <c:pt idx="1">
                  <c:v>0</c:v>
                </c:pt>
                <c:pt idx="2">
                  <c:v>0</c:v>
                </c:pt>
                <c:pt idx="3">
                  <c:v>-1565.9700000000012</c:v>
                </c:pt>
              </c:numCache>
            </c:numRef>
          </c:val>
          <c:extLst>
            <c:ext xmlns:c16="http://schemas.microsoft.com/office/drawing/2014/chart" uri="{C3380CC4-5D6E-409C-BE32-E72D297353CC}">
              <c16:uniqueId val="{00000012-1FF5-436B-A73E-DF8A9309D3C5}"/>
            </c:ext>
          </c:extLst>
        </c:ser>
        <c:ser>
          <c:idx val="6"/>
          <c:order val="6"/>
          <c:spPr>
            <a:solidFill>
              <a:srgbClr val="A6B727"/>
            </a:solidFill>
            <a:ln>
              <a:noFill/>
            </a:ln>
          </c:spPr>
          <c:invertIfNegative val="0"/>
          <c:dPt>
            <c:idx val="1"/>
            <c:invertIfNegative val="0"/>
            <c:bubble3D val="0"/>
            <c:spPr>
              <a:solidFill>
                <a:srgbClr val="9F3C1C"/>
              </a:solidFill>
              <a:ln>
                <a:noFill/>
              </a:ln>
            </c:spPr>
            <c:extLst>
              <c:ext xmlns:c16="http://schemas.microsoft.com/office/drawing/2014/chart" uri="{C3380CC4-5D6E-409C-BE32-E72D297353CC}">
                <c16:uniqueId val="{00000013-1FF5-436B-A73E-DF8A9309D3C5}"/>
              </c:ext>
            </c:extLst>
          </c:dPt>
          <c:dPt>
            <c:idx val="2"/>
            <c:invertIfNegative val="0"/>
            <c:bubble3D val="0"/>
            <c:spPr>
              <a:solidFill>
                <a:srgbClr val="4C6C9C"/>
              </a:solidFill>
              <a:ln>
                <a:noFill/>
              </a:ln>
            </c:spPr>
            <c:extLst>
              <c:ext xmlns:c16="http://schemas.microsoft.com/office/drawing/2014/chart" uri="{C3380CC4-5D6E-409C-BE32-E72D297353CC}">
                <c16:uniqueId val="{00000014-1FF5-436B-A73E-DF8A9309D3C5}"/>
              </c:ext>
            </c:extLst>
          </c:dPt>
          <c:val>
            <c:numRef>
              <c:f>Sheet1!$A$7:$D$7</c:f>
              <c:numCache>
                <c:formatCode>General</c:formatCode>
                <c:ptCount val="4"/>
                <c:pt idx="0">
                  <c:v>-8923.8100000000086</c:v>
                </c:pt>
                <c:pt idx="1">
                  <c:v>0</c:v>
                </c:pt>
                <c:pt idx="2">
                  <c:v>0</c:v>
                </c:pt>
                <c:pt idx="3">
                  <c:v>101886.63999999998</c:v>
                </c:pt>
              </c:numCache>
            </c:numRef>
          </c:val>
          <c:extLst>
            <c:ext xmlns:c16="http://schemas.microsoft.com/office/drawing/2014/chart" uri="{C3380CC4-5D6E-409C-BE32-E72D297353CC}">
              <c16:uniqueId val="{00000015-1FF5-436B-A73E-DF8A9309D3C5}"/>
            </c:ext>
          </c:extLst>
        </c:ser>
        <c:ser>
          <c:idx val="7"/>
          <c:order val="7"/>
          <c:spPr>
            <a:solidFill>
              <a:srgbClr val="657D1A"/>
            </a:solidFill>
            <a:ln>
              <a:noFill/>
            </a:ln>
          </c:spPr>
          <c:invertIfNegative val="0"/>
          <c:dPt>
            <c:idx val="0"/>
            <c:invertIfNegative val="0"/>
            <c:bubble3D val="0"/>
            <c:spPr>
              <a:solidFill>
                <a:srgbClr val="6F8DB9"/>
              </a:solidFill>
              <a:ln>
                <a:noFill/>
              </a:ln>
            </c:spPr>
            <c:extLst>
              <c:ext xmlns:c16="http://schemas.microsoft.com/office/drawing/2014/chart" uri="{C3380CC4-5D6E-409C-BE32-E72D297353CC}">
                <c16:uniqueId val="{00000016-1FF5-436B-A73E-DF8A9309D3C5}"/>
              </c:ext>
            </c:extLst>
          </c:dPt>
          <c:dPt>
            <c:idx val="1"/>
            <c:invertIfNegative val="0"/>
            <c:bubble3D val="0"/>
            <c:spPr>
              <a:solidFill>
                <a:srgbClr val="4C6C9C"/>
              </a:solidFill>
              <a:ln>
                <a:noFill/>
              </a:ln>
            </c:spPr>
            <c:extLst>
              <c:ext xmlns:c16="http://schemas.microsoft.com/office/drawing/2014/chart" uri="{C3380CC4-5D6E-409C-BE32-E72D297353CC}">
                <c16:uniqueId val="{00000017-1FF5-436B-A73E-DF8A9309D3C5}"/>
              </c:ext>
            </c:extLst>
          </c:dPt>
          <c:dPt>
            <c:idx val="2"/>
            <c:invertIfNegative val="0"/>
            <c:bubble3D val="0"/>
            <c:spPr>
              <a:solidFill>
                <a:srgbClr val="A6964E"/>
              </a:solidFill>
              <a:ln>
                <a:noFill/>
              </a:ln>
            </c:spPr>
            <c:extLst>
              <c:ext xmlns:c16="http://schemas.microsoft.com/office/drawing/2014/chart" uri="{C3380CC4-5D6E-409C-BE32-E72D297353CC}">
                <c16:uniqueId val="{00000018-1FF5-436B-A73E-DF8A9309D3C5}"/>
              </c:ext>
            </c:extLst>
          </c:dPt>
          <c:val>
            <c:numRef>
              <c:f>Sheet1!$A$8:$D$8</c:f>
              <c:numCache>
                <c:formatCode>General</c:formatCode>
                <c:ptCount val="4"/>
                <c:pt idx="0">
                  <c:v>0</c:v>
                </c:pt>
                <c:pt idx="1">
                  <c:v>0</c:v>
                </c:pt>
                <c:pt idx="2">
                  <c:v>0</c:v>
                </c:pt>
                <c:pt idx="3">
                  <c:v>1999</c:v>
                </c:pt>
              </c:numCache>
            </c:numRef>
          </c:val>
          <c:extLst>
            <c:ext xmlns:c16="http://schemas.microsoft.com/office/drawing/2014/chart" uri="{C3380CC4-5D6E-409C-BE32-E72D297353CC}">
              <c16:uniqueId val="{00000019-1FF5-436B-A73E-DF8A9309D3C5}"/>
            </c:ext>
          </c:extLst>
        </c:ser>
        <c:ser>
          <c:idx val="8"/>
          <c:order val="8"/>
          <c:spPr>
            <a:solidFill>
              <a:srgbClr val="9F3C1C"/>
            </a:solidFill>
            <a:ln>
              <a:noFill/>
            </a:ln>
          </c:spPr>
          <c:invertIfNegative val="0"/>
          <c:dPt>
            <c:idx val="1"/>
            <c:invertIfNegative val="0"/>
            <c:bubble3D val="0"/>
            <c:spPr>
              <a:solidFill>
                <a:srgbClr val="A6964E"/>
              </a:solidFill>
              <a:ln>
                <a:noFill/>
              </a:ln>
            </c:spPr>
            <c:extLst>
              <c:ext xmlns:c16="http://schemas.microsoft.com/office/drawing/2014/chart" uri="{C3380CC4-5D6E-409C-BE32-E72D297353CC}">
                <c16:uniqueId val="{0000001A-1FF5-436B-A73E-DF8A9309D3C5}"/>
              </c:ext>
            </c:extLst>
          </c:dPt>
          <c:dPt>
            <c:idx val="2"/>
            <c:invertIfNegative val="0"/>
            <c:bubble3D val="0"/>
            <c:spPr>
              <a:solidFill>
                <a:srgbClr val="C0C0C0"/>
              </a:solidFill>
              <a:ln>
                <a:noFill/>
              </a:ln>
            </c:spPr>
            <c:extLst>
              <c:ext xmlns:c16="http://schemas.microsoft.com/office/drawing/2014/chart" uri="{C3380CC4-5D6E-409C-BE32-E72D297353CC}">
                <c16:uniqueId val="{0000001B-1FF5-436B-A73E-DF8A9309D3C5}"/>
              </c:ext>
            </c:extLst>
          </c:dPt>
          <c:dPt>
            <c:idx val="3"/>
            <c:invertIfNegative val="0"/>
            <c:bubble3D val="0"/>
            <c:spPr>
              <a:solidFill>
                <a:srgbClr val="9DB1CF"/>
              </a:solidFill>
              <a:ln>
                <a:noFill/>
              </a:ln>
            </c:spPr>
            <c:extLst>
              <c:ext xmlns:c16="http://schemas.microsoft.com/office/drawing/2014/chart" uri="{C3380CC4-5D6E-409C-BE32-E72D297353CC}">
                <c16:uniqueId val="{0000001C-1FF5-436B-A73E-DF8A9309D3C5}"/>
              </c:ext>
            </c:extLst>
          </c:dPt>
          <c:val>
            <c:numRef>
              <c:f>Sheet1!$A$9:$D$9</c:f>
              <c:numCache>
                <c:formatCode>General</c:formatCode>
                <c:ptCount val="4"/>
                <c:pt idx="0">
                  <c:v>0</c:v>
                </c:pt>
                <c:pt idx="1">
                  <c:v>25965.720000000005</c:v>
                </c:pt>
                <c:pt idx="2">
                  <c:v>0</c:v>
                </c:pt>
                <c:pt idx="3">
                  <c:v>116070.47</c:v>
                </c:pt>
              </c:numCache>
            </c:numRef>
          </c:val>
          <c:extLst>
            <c:ext xmlns:c16="http://schemas.microsoft.com/office/drawing/2014/chart" uri="{C3380CC4-5D6E-409C-BE32-E72D297353CC}">
              <c16:uniqueId val="{0000001D-1FF5-436B-A73E-DF8A9309D3C5}"/>
            </c:ext>
          </c:extLst>
        </c:ser>
        <c:ser>
          <c:idx val="9"/>
          <c:order val="9"/>
          <c:spPr>
            <a:solidFill>
              <a:srgbClr val="5A5A5A"/>
            </a:solidFill>
            <a:ln>
              <a:noFill/>
            </a:ln>
          </c:spPr>
          <c:invertIfNegative val="0"/>
          <c:dPt>
            <c:idx val="0"/>
            <c:invertIfNegative val="0"/>
            <c:bubble3D val="0"/>
            <c:spPr>
              <a:solidFill>
                <a:srgbClr val="4C6C9C"/>
              </a:solidFill>
              <a:ln>
                <a:noFill/>
              </a:ln>
            </c:spPr>
            <c:extLst>
              <c:ext xmlns:c16="http://schemas.microsoft.com/office/drawing/2014/chart" uri="{C3380CC4-5D6E-409C-BE32-E72D297353CC}">
                <c16:uniqueId val="{0000001E-1FF5-436B-A73E-DF8A9309D3C5}"/>
              </c:ext>
            </c:extLst>
          </c:dPt>
          <c:dPt>
            <c:idx val="1"/>
            <c:invertIfNegative val="0"/>
            <c:bubble3D val="0"/>
            <c:spPr>
              <a:solidFill>
                <a:srgbClr val="C0C0C0"/>
              </a:solidFill>
              <a:ln>
                <a:noFill/>
              </a:ln>
            </c:spPr>
            <c:extLst>
              <c:ext xmlns:c16="http://schemas.microsoft.com/office/drawing/2014/chart" uri="{C3380CC4-5D6E-409C-BE32-E72D297353CC}">
                <c16:uniqueId val="{0000001F-1FF5-436B-A73E-DF8A9309D3C5}"/>
              </c:ext>
            </c:extLst>
          </c:dPt>
          <c:dPt>
            <c:idx val="3"/>
            <c:invertIfNegative val="0"/>
            <c:bubble3D val="0"/>
            <c:spPr>
              <a:solidFill>
                <a:srgbClr val="6F8DB9"/>
              </a:solidFill>
              <a:ln>
                <a:noFill/>
              </a:ln>
            </c:spPr>
            <c:extLst>
              <c:ext xmlns:c16="http://schemas.microsoft.com/office/drawing/2014/chart" uri="{C3380CC4-5D6E-409C-BE32-E72D297353CC}">
                <c16:uniqueId val="{00000020-1FF5-436B-A73E-DF8A9309D3C5}"/>
              </c:ext>
            </c:extLst>
          </c:dPt>
          <c:val>
            <c:numRef>
              <c:f>Sheet1!$A$10:$D$10</c:f>
              <c:numCache>
                <c:formatCode>General</c:formatCode>
                <c:ptCount val="4"/>
                <c:pt idx="0">
                  <c:v>0</c:v>
                </c:pt>
                <c:pt idx="1">
                  <c:v>957.04000000000087</c:v>
                </c:pt>
                <c:pt idx="2">
                  <c:v>0</c:v>
                </c:pt>
                <c:pt idx="3">
                  <c:v>16874.559999999998</c:v>
                </c:pt>
              </c:numCache>
            </c:numRef>
          </c:val>
          <c:extLst>
            <c:ext xmlns:c16="http://schemas.microsoft.com/office/drawing/2014/chart" uri="{C3380CC4-5D6E-409C-BE32-E72D297353CC}">
              <c16:uniqueId val="{00000021-1FF5-436B-A73E-DF8A9309D3C5}"/>
            </c:ext>
          </c:extLst>
        </c:ser>
        <c:ser>
          <c:idx val="10"/>
          <c:order val="10"/>
          <c:spPr>
            <a:solidFill>
              <a:srgbClr val="441A0D"/>
            </a:solidFill>
            <a:ln>
              <a:noFill/>
            </a:ln>
          </c:spPr>
          <c:invertIfNegative val="0"/>
          <c:dPt>
            <c:idx val="0"/>
            <c:invertIfNegative val="0"/>
            <c:bubble3D val="0"/>
            <c:spPr>
              <a:solidFill>
                <a:srgbClr val="A6964E"/>
              </a:solidFill>
              <a:ln>
                <a:noFill/>
              </a:ln>
            </c:spPr>
            <c:extLst>
              <c:ext xmlns:c16="http://schemas.microsoft.com/office/drawing/2014/chart" uri="{C3380CC4-5D6E-409C-BE32-E72D297353CC}">
                <c16:uniqueId val="{00000022-1FF5-436B-A73E-DF8A9309D3C5}"/>
              </c:ext>
            </c:extLst>
          </c:dPt>
          <c:dPt>
            <c:idx val="1"/>
            <c:invertIfNegative val="0"/>
            <c:bubble3D val="0"/>
            <c:spPr>
              <a:solidFill>
                <a:srgbClr val="5A5A5A"/>
              </a:solidFill>
              <a:ln>
                <a:noFill/>
              </a:ln>
            </c:spPr>
            <c:extLst>
              <c:ext xmlns:c16="http://schemas.microsoft.com/office/drawing/2014/chart" uri="{C3380CC4-5D6E-409C-BE32-E72D297353CC}">
                <c16:uniqueId val="{00000023-1FF5-436B-A73E-DF8A9309D3C5}"/>
              </c:ext>
            </c:extLst>
          </c:dPt>
          <c:dPt>
            <c:idx val="3"/>
            <c:invertIfNegative val="0"/>
            <c:bubble3D val="0"/>
            <c:spPr>
              <a:solidFill>
                <a:srgbClr val="C0C0C0"/>
              </a:solidFill>
              <a:ln>
                <a:noFill/>
              </a:ln>
            </c:spPr>
            <c:extLst>
              <c:ext xmlns:c16="http://schemas.microsoft.com/office/drawing/2014/chart" uri="{C3380CC4-5D6E-409C-BE32-E72D297353CC}">
                <c16:uniqueId val="{00000024-1FF5-436B-A73E-DF8A9309D3C5}"/>
              </c:ext>
            </c:extLst>
          </c:dPt>
          <c:val>
            <c:numRef>
              <c:f>Sheet1!$A$11:$D$11</c:f>
              <c:numCache>
                <c:formatCode>General</c:formatCode>
                <c:ptCount val="4"/>
                <c:pt idx="0">
                  <c:v>304.70000000000664</c:v>
                </c:pt>
                <c:pt idx="1">
                  <c:v>7561.7900000000009</c:v>
                </c:pt>
                <c:pt idx="2">
                  <c:v>0</c:v>
                </c:pt>
                <c:pt idx="3">
                  <c:v>19603.709999999992</c:v>
                </c:pt>
              </c:numCache>
            </c:numRef>
          </c:val>
          <c:extLst>
            <c:ext xmlns:c16="http://schemas.microsoft.com/office/drawing/2014/chart" uri="{C3380CC4-5D6E-409C-BE32-E72D297353CC}">
              <c16:uniqueId val="{00000025-1FF5-436B-A73E-DF8A9309D3C5}"/>
            </c:ext>
          </c:extLst>
        </c:ser>
        <c:ser>
          <c:idx val="11"/>
          <c:order val="11"/>
          <c:spPr>
            <a:solidFill>
              <a:srgbClr val="441A0D"/>
            </a:solidFill>
            <a:ln>
              <a:noFill/>
            </a:ln>
          </c:spPr>
          <c:invertIfNegative val="0"/>
          <c:dPt>
            <c:idx val="2"/>
            <c:invertIfNegative val="0"/>
            <c:bubble3D val="0"/>
            <c:spPr>
              <a:solidFill>
                <a:srgbClr val="E9E261"/>
              </a:solidFill>
              <a:ln>
                <a:noFill/>
              </a:ln>
            </c:spPr>
            <c:extLst>
              <c:ext xmlns:c16="http://schemas.microsoft.com/office/drawing/2014/chart" uri="{C3380CC4-5D6E-409C-BE32-E72D297353CC}">
                <c16:uniqueId val="{00000026-1FF5-436B-A73E-DF8A9309D3C5}"/>
              </c:ext>
            </c:extLst>
          </c:dPt>
          <c:dPt>
            <c:idx val="3"/>
            <c:invertIfNegative val="0"/>
            <c:bubble3D val="0"/>
            <c:spPr>
              <a:solidFill>
                <a:srgbClr val="E9E261"/>
              </a:solidFill>
              <a:ln>
                <a:noFill/>
              </a:ln>
            </c:spPr>
            <c:extLst>
              <c:ext xmlns:c16="http://schemas.microsoft.com/office/drawing/2014/chart" uri="{C3380CC4-5D6E-409C-BE32-E72D297353CC}">
                <c16:uniqueId val="{00000027-1FF5-436B-A73E-DF8A9309D3C5}"/>
              </c:ext>
            </c:extLst>
          </c:dPt>
          <c:val>
            <c:numRef>
              <c:f>Sheet1!$A$12:$D$12</c:f>
              <c:numCache>
                <c:formatCode>General</c:formatCode>
                <c:ptCount val="4"/>
                <c:pt idx="0">
                  <c:v>10151.220000000001</c:v>
                </c:pt>
                <c:pt idx="1">
                  <c:v>10151.220000000001</c:v>
                </c:pt>
                <c:pt idx="2">
                  <c:v>0</c:v>
                </c:pt>
                <c:pt idx="3">
                  <c:v>44391.48000000001</c:v>
                </c:pt>
              </c:numCache>
            </c:numRef>
          </c:val>
          <c:extLst>
            <c:ext xmlns:c16="http://schemas.microsoft.com/office/drawing/2014/chart" uri="{C3380CC4-5D6E-409C-BE32-E72D297353CC}">
              <c16:uniqueId val="{00000028-1FF5-436B-A73E-DF8A9309D3C5}"/>
            </c:ext>
          </c:extLst>
        </c:ser>
        <c:dLbls>
          <c:showLegendKey val="0"/>
          <c:showVal val="0"/>
          <c:showCatName val="0"/>
          <c:showSerName val="0"/>
          <c:showPercent val="0"/>
          <c:showBubbleSize val="0"/>
        </c:dLbls>
        <c:gapWidth val="80"/>
        <c:overlap val="100"/>
        <c:axId val="1668150623"/>
        <c:axId val="1"/>
      </c:barChart>
      <c:catAx>
        <c:axId val="1668150623"/>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400000"/>
          <c:min val="-300000"/>
        </c:scaling>
        <c:delete val="0"/>
        <c:axPos val="t"/>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1668150623"/>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864157870582835E-2"/>
          <c:y val="2.0959290608625555E-2"/>
          <c:w val="0.95227168425883435"/>
          <c:h val="0.95808141878274888"/>
        </c:manualLayout>
      </c:layout>
      <c:barChart>
        <c:barDir val="bar"/>
        <c:grouping val="stacked"/>
        <c:varyColors val="0"/>
        <c:ser>
          <c:idx val="0"/>
          <c:order val="0"/>
          <c:spPr>
            <a:solidFill>
              <a:schemeClr val="tx1"/>
            </a:solidFill>
            <a:ln>
              <a:noFill/>
            </a:ln>
          </c:spPr>
          <c:invertIfNegative val="0"/>
          <c:val>
            <c:numRef>
              <c:f>Sheet1!$A$1:$D$1</c:f>
              <c:numCache>
                <c:formatCode>General</c:formatCode>
                <c:ptCount val="4"/>
                <c:pt idx="0">
                  <c:v>860.74999999999989</c:v>
                </c:pt>
                <c:pt idx="1">
                  <c:v>1839.4600000000005</c:v>
                </c:pt>
                <c:pt idx="2">
                  <c:v>8.1300000000004218</c:v>
                </c:pt>
                <c:pt idx="3">
                  <c:v>-1627.9800000000005</c:v>
                </c:pt>
              </c:numCache>
            </c:numRef>
          </c:val>
          <c:extLst>
            <c:ext xmlns:c16="http://schemas.microsoft.com/office/drawing/2014/chart" uri="{C3380CC4-5D6E-409C-BE32-E72D297353CC}">
              <c16:uniqueId val="{00000000-AC98-4D20-B3E1-620F79DA8716}"/>
            </c:ext>
          </c:extLst>
        </c:ser>
        <c:dLbls>
          <c:showLegendKey val="0"/>
          <c:showVal val="0"/>
          <c:showCatName val="0"/>
          <c:showSerName val="0"/>
          <c:showPercent val="0"/>
          <c:showBubbleSize val="0"/>
        </c:dLbls>
        <c:gapWidth val="80"/>
        <c:overlap val="100"/>
        <c:axId val="1955236512"/>
        <c:axId val="1"/>
      </c:barChart>
      <c:catAx>
        <c:axId val="1955236512"/>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2500"/>
          <c:min val="-2000"/>
        </c:scaling>
        <c:delete val="0"/>
        <c:axPos val="t"/>
        <c:majorGridlines>
          <c:spPr>
            <a:ln>
              <a:noFill/>
            </a:ln>
          </c:spPr>
        </c:majorGridlines>
        <c:numFmt formatCode="General" sourceLinked="1"/>
        <c:majorTickMark val="none"/>
        <c:minorTickMark val="none"/>
        <c:tickLblPos val="none"/>
        <c:spPr>
          <a:ln w="9525" cmpd="sng" algn="ctr">
            <a:solidFill>
              <a:srgbClr val="FFFFFF"/>
            </a:solidFill>
            <a:prstDash val="solid"/>
          </a:ln>
        </c:spPr>
        <c:crossAx val="1955236512"/>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061026352288486E-2"/>
          <c:y val="2.2118247554232241E-2"/>
          <c:w val="0.92787794729542306"/>
          <c:h val="0.9557635048915355"/>
        </c:manualLayout>
      </c:layout>
      <c:barChart>
        <c:barDir val="bar"/>
        <c:grouping val="clustered"/>
        <c:varyColors val="0"/>
        <c:ser>
          <c:idx val="0"/>
          <c:order val="0"/>
          <c:spPr>
            <a:solidFill>
              <a:srgbClr val="9DB1CF"/>
            </a:solidFill>
            <a:ln w="9525" cmpd="sng" algn="ctr">
              <a:solidFill>
                <a:schemeClr val="bg1"/>
              </a:solidFill>
              <a:prstDash val="solid"/>
            </a:ln>
          </c:spPr>
          <c:invertIfNegative val="0"/>
          <c:val>
            <c:numRef>
              <c:f>Sheet1!$A$1:$D$1</c:f>
              <c:numCache>
                <c:formatCode>General</c:formatCode>
                <c:ptCount val="4"/>
                <c:pt idx="0">
                  <c:v>-2.3887037037037047</c:v>
                </c:pt>
                <c:pt idx="1">
                  <c:v>0.52777777777776913</c:v>
                </c:pt>
                <c:pt idx="2">
                  <c:v>-8.6481481481480202E-2</c:v>
                </c:pt>
                <c:pt idx="3">
                  <c:v>3.8961111111110918</c:v>
                </c:pt>
              </c:numCache>
            </c:numRef>
          </c:val>
          <c:extLst>
            <c:ext xmlns:c16="http://schemas.microsoft.com/office/drawing/2014/chart" uri="{C3380CC4-5D6E-409C-BE32-E72D297353CC}">
              <c16:uniqueId val="{00000000-DD9B-4DE4-9C9B-C65C9C270C4B}"/>
            </c:ext>
          </c:extLst>
        </c:ser>
        <c:ser>
          <c:idx val="1"/>
          <c:order val="1"/>
          <c:spPr>
            <a:solidFill>
              <a:schemeClr val="tx1"/>
            </a:solidFill>
            <a:ln w="9525" cmpd="sng" algn="ctr">
              <a:solidFill>
                <a:schemeClr val="bg1"/>
              </a:solidFill>
              <a:prstDash val="solid"/>
            </a:ln>
          </c:spPr>
          <c:invertIfNegative val="0"/>
          <c:val>
            <c:numRef>
              <c:f>Sheet1!$A$2:$D$2</c:f>
              <c:numCache>
                <c:formatCode>General</c:formatCode>
                <c:ptCount val="4"/>
                <c:pt idx="0">
                  <c:v>-1.0537499999999962</c:v>
                </c:pt>
                <c:pt idx="1">
                  <c:v>6.1584722222222155</c:v>
                </c:pt>
                <c:pt idx="2">
                  <c:v>-6.4027777777771647E-2</c:v>
                </c:pt>
                <c:pt idx="3">
                  <c:v>-3.9587499999999971</c:v>
                </c:pt>
              </c:numCache>
            </c:numRef>
          </c:val>
          <c:extLst>
            <c:ext xmlns:c16="http://schemas.microsoft.com/office/drawing/2014/chart" uri="{C3380CC4-5D6E-409C-BE32-E72D297353CC}">
              <c16:uniqueId val="{00000001-DD9B-4DE4-9C9B-C65C9C270C4B}"/>
            </c:ext>
          </c:extLst>
        </c:ser>
        <c:ser>
          <c:idx val="2"/>
          <c:order val="2"/>
          <c:spPr>
            <a:solidFill>
              <a:srgbClr val="E1C4E1"/>
            </a:solidFill>
            <a:ln w="9525" cmpd="sng" algn="ctr">
              <a:solidFill>
                <a:schemeClr val="bg1"/>
              </a:solidFill>
              <a:prstDash val="solid"/>
            </a:ln>
          </c:spPr>
          <c:invertIfNegative val="0"/>
          <c:val>
            <c:numRef>
              <c:f>Sheet1!$A$3:$D$3</c:f>
              <c:numCache>
                <c:formatCode>General</c:formatCode>
                <c:ptCount val="4"/>
                <c:pt idx="0">
                  <c:v>-1.2033333333333285</c:v>
                </c:pt>
                <c:pt idx="1">
                  <c:v>2.0711111111111151</c:v>
                </c:pt>
                <c:pt idx="2">
                  <c:v>-4.3333333333331815E-2</c:v>
                </c:pt>
                <c:pt idx="3">
                  <c:v>-4.6699999999999919</c:v>
                </c:pt>
              </c:numCache>
            </c:numRef>
          </c:val>
          <c:extLst>
            <c:ext xmlns:c16="http://schemas.microsoft.com/office/drawing/2014/chart" uri="{C3380CC4-5D6E-409C-BE32-E72D297353CC}">
              <c16:uniqueId val="{00000002-DD9B-4DE4-9C9B-C65C9C270C4B}"/>
            </c:ext>
          </c:extLst>
        </c:ser>
        <c:ser>
          <c:idx val="3"/>
          <c:order val="3"/>
          <c:spPr>
            <a:solidFill>
              <a:srgbClr val="CFDE63"/>
            </a:solidFill>
            <a:ln w="9525" cmpd="sng" algn="ctr">
              <a:solidFill>
                <a:schemeClr val="bg1"/>
              </a:solidFill>
              <a:prstDash val="solid"/>
            </a:ln>
          </c:spPr>
          <c:invertIfNegative val="0"/>
          <c:val>
            <c:numRef>
              <c:f>Sheet1!$A$4:$D$4</c:f>
              <c:numCache>
                <c:formatCode>General</c:formatCode>
                <c:ptCount val="4"/>
                <c:pt idx="0">
                  <c:v>-0.63777777777778033</c:v>
                </c:pt>
                <c:pt idx="1">
                  <c:v>2.0005555555555574</c:v>
                </c:pt>
                <c:pt idx="2">
                  <c:v>-8.0555555555560446E-2</c:v>
                </c:pt>
                <c:pt idx="3">
                  <c:v>-0.74333333333333229</c:v>
                </c:pt>
              </c:numCache>
            </c:numRef>
          </c:val>
          <c:extLst>
            <c:ext xmlns:c16="http://schemas.microsoft.com/office/drawing/2014/chart" uri="{C3380CC4-5D6E-409C-BE32-E72D297353CC}">
              <c16:uniqueId val="{00000003-DD9B-4DE4-9C9B-C65C9C270C4B}"/>
            </c:ext>
          </c:extLst>
        </c:ser>
        <c:ser>
          <c:idx val="4"/>
          <c:order val="4"/>
          <c:spPr>
            <a:solidFill>
              <a:schemeClr val="accent6"/>
            </a:solidFill>
            <a:ln w="9525" cmpd="sng" algn="ctr">
              <a:solidFill>
                <a:schemeClr val="bg1"/>
              </a:solidFill>
              <a:prstDash val="solid"/>
            </a:ln>
          </c:spPr>
          <c:invertIfNegative val="0"/>
          <c:val>
            <c:numRef>
              <c:f>Sheet1!$A$5:$D$5</c:f>
              <c:numCache>
                <c:formatCode>General</c:formatCode>
                <c:ptCount val="4"/>
                <c:pt idx="0">
                  <c:v>-0.85111111111111148</c:v>
                </c:pt>
                <c:pt idx="1">
                  <c:v>1.4150000000000038</c:v>
                </c:pt>
                <c:pt idx="2">
                  <c:v>-6.6666666666660504E-2</c:v>
                </c:pt>
                <c:pt idx="3">
                  <c:v>2.3333333333333428E-2</c:v>
                </c:pt>
              </c:numCache>
            </c:numRef>
          </c:val>
          <c:extLst>
            <c:ext xmlns:c16="http://schemas.microsoft.com/office/drawing/2014/chart" uri="{C3380CC4-5D6E-409C-BE32-E72D297353CC}">
              <c16:uniqueId val="{00000004-DD9B-4DE4-9C9B-C65C9C270C4B}"/>
            </c:ext>
          </c:extLst>
        </c:ser>
        <c:ser>
          <c:idx val="5"/>
          <c:order val="5"/>
          <c:spPr>
            <a:solidFill>
              <a:schemeClr val="accent1"/>
            </a:solidFill>
            <a:ln w="9525" cmpd="sng" algn="ctr">
              <a:solidFill>
                <a:schemeClr val="bg1"/>
              </a:solidFill>
              <a:prstDash val="solid"/>
            </a:ln>
          </c:spPr>
          <c:invertIfNegative val="0"/>
          <c:val>
            <c:numRef>
              <c:f>Sheet1!$A$6:$D$6</c:f>
              <c:numCache>
                <c:formatCode>General</c:formatCode>
                <c:ptCount val="4"/>
                <c:pt idx="0">
                  <c:v>-1.0850000000000033</c:v>
                </c:pt>
                <c:pt idx="1">
                  <c:v>-3.33333333333267E-3</c:v>
                </c:pt>
                <c:pt idx="2">
                  <c:v>-0.10944444444444439</c:v>
                </c:pt>
                <c:pt idx="3">
                  <c:v>7.6505555555555533</c:v>
                </c:pt>
              </c:numCache>
            </c:numRef>
          </c:val>
          <c:extLst>
            <c:ext xmlns:c16="http://schemas.microsoft.com/office/drawing/2014/chart" uri="{C3380CC4-5D6E-409C-BE32-E72D297353CC}">
              <c16:uniqueId val="{00000005-DD9B-4DE4-9C9B-C65C9C270C4B}"/>
            </c:ext>
          </c:extLst>
        </c:ser>
        <c:dLbls>
          <c:showLegendKey val="0"/>
          <c:showVal val="0"/>
          <c:showCatName val="0"/>
          <c:showSerName val="0"/>
          <c:showPercent val="0"/>
          <c:showBubbleSize val="0"/>
        </c:dLbls>
        <c:gapWidth val="350"/>
        <c:axId val="1451431599"/>
        <c:axId val="1"/>
      </c:barChart>
      <c:catAx>
        <c:axId val="1451431599"/>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8"/>
          <c:min val="-6"/>
        </c:scaling>
        <c:delete val="0"/>
        <c:axPos val="t"/>
        <c:majorGridlines>
          <c:spPr>
            <a:ln>
              <a:noFill/>
            </a:ln>
          </c:spPr>
        </c:majorGridlines>
        <c:numFmt formatCode="General" sourceLinked="1"/>
        <c:majorTickMark val="none"/>
        <c:minorTickMark val="none"/>
        <c:tickLblPos val="none"/>
        <c:spPr>
          <a:ln>
            <a:noFill/>
          </a:ln>
        </c:spPr>
        <c:crossAx val="1451431599"/>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326086956521736E-2"/>
          <c:y val="2.2118247554232241E-2"/>
          <c:w val="0.92934782608695654"/>
          <c:h val="0.9557635048915355"/>
        </c:manualLayout>
      </c:layout>
      <c:barChart>
        <c:barDir val="bar"/>
        <c:grouping val="clustered"/>
        <c:varyColors val="0"/>
        <c:ser>
          <c:idx val="0"/>
          <c:order val="0"/>
          <c:spPr>
            <a:solidFill>
              <a:srgbClr val="9DB1CF"/>
            </a:solidFill>
            <a:ln w="9525" cmpd="sng" algn="ctr">
              <a:solidFill>
                <a:schemeClr val="bg1"/>
              </a:solidFill>
              <a:prstDash val="solid"/>
            </a:ln>
          </c:spPr>
          <c:invertIfNegative val="0"/>
          <c:val>
            <c:numRef>
              <c:f>Sheet1!$A$1:$D$1</c:f>
              <c:numCache>
                <c:formatCode>General</c:formatCode>
                <c:ptCount val="4"/>
                <c:pt idx="0">
                  <c:v>-2.211666666666666</c:v>
                </c:pt>
                <c:pt idx="1">
                  <c:v>0.78055555555556089</c:v>
                </c:pt>
                <c:pt idx="2">
                  <c:v>-4.8333333333334373E-2</c:v>
                </c:pt>
                <c:pt idx="3">
                  <c:v>5.7111111111111112</c:v>
                </c:pt>
              </c:numCache>
            </c:numRef>
          </c:val>
          <c:extLst>
            <c:ext xmlns:c16="http://schemas.microsoft.com/office/drawing/2014/chart" uri="{C3380CC4-5D6E-409C-BE32-E72D297353CC}">
              <c16:uniqueId val="{00000000-9BF6-49F2-9140-AA728D71CCA1}"/>
            </c:ext>
          </c:extLst>
        </c:ser>
        <c:ser>
          <c:idx val="1"/>
          <c:order val="1"/>
          <c:spPr>
            <a:solidFill>
              <a:schemeClr val="tx1"/>
            </a:solidFill>
            <a:ln w="9525" cmpd="sng" algn="ctr">
              <a:solidFill>
                <a:schemeClr val="bg1"/>
              </a:solidFill>
              <a:prstDash val="solid"/>
            </a:ln>
          </c:spPr>
          <c:invertIfNegative val="0"/>
          <c:val>
            <c:numRef>
              <c:f>Sheet1!$A$2:$D$2</c:f>
              <c:numCache>
                <c:formatCode>General</c:formatCode>
                <c:ptCount val="4"/>
                <c:pt idx="0">
                  <c:v>-1.1938888888888879</c:v>
                </c:pt>
                <c:pt idx="1">
                  <c:v>9.461666666666666</c:v>
                </c:pt>
                <c:pt idx="2">
                  <c:v>-4.2222222222221717E-2</c:v>
                </c:pt>
                <c:pt idx="3">
                  <c:v>-4.6522222222222203</c:v>
                </c:pt>
              </c:numCache>
            </c:numRef>
          </c:val>
          <c:extLst>
            <c:ext xmlns:c16="http://schemas.microsoft.com/office/drawing/2014/chart" uri="{C3380CC4-5D6E-409C-BE32-E72D297353CC}">
              <c16:uniqueId val="{00000001-9BF6-49F2-9140-AA728D71CCA1}"/>
            </c:ext>
          </c:extLst>
        </c:ser>
        <c:ser>
          <c:idx val="2"/>
          <c:order val="2"/>
          <c:spPr>
            <a:solidFill>
              <a:srgbClr val="E1C4E1"/>
            </a:solidFill>
            <a:ln w="9525" cmpd="sng" algn="ctr">
              <a:solidFill>
                <a:schemeClr val="bg1"/>
              </a:solidFill>
              <a:prstDash val="solid"/>
            </a:ln>
          </c:spPr>
          <c:invertIfNegative val="0"/>
          <c:val>
            <c:numRef>
              <c:f>Sheet1!$A$3:$D$3</c:f>
              <c:numCache>
                <c:formatCode>General</c:formatCode>
                <c:ptCount val="4"/>
                <c:pt idx="0">
                  <c:v>-1.5850000000000033</c:v>
                </c:pt>
                <c:pt idx="1">
                  <c:v>5.9988888888888825</c:v>
                </c:pt>
                <c:pt idx="2">
                  <c:v>-2.5555555555555998E-2</c:v>
                </c:pt>
                <c:pt idx="3">
                  <c:v>-8.0561111111111092</c:v>
                </c:pt>
              </c:numCache>
            </c:numRef>
          </c:val>
          <c:extLst>
            <c:ext xmlns:c16="http://schemas.microsoft.com/office/drawing/2014/chart" uri="{C3380CC4-5D6E-409C-BE32-E72D297353CC}">
              <c16:uniqueId val="{00000002-9BF6-49F2-9140-AA728D71CCA1}"/>
            </c:ext>
          </c:extLst>
        </c:ser>
        <c:ser>
          <c:idx val="3"/>
          <c:order val="3"/>
          <c:spPr>
            <a:solidFill>
              <a:srgbClr val="CFDE63"/>
            </a:solidFill>
            <a:ln w="9525" cmpd="sng" algn="ctr">
              <a:solidFill>
                <a:schemeClr val="bg1"/>
              </a:solidFill>
              <a:prstDash val="solid"/>
            </a:ln>
          </c:spPr>
          <c:invertIfNegative val="0"/>
          <c:val>
            <c:numRef>
              <c:f>Sheet1!$A$4:$D$4</c:f>
              <c:numCache>
                <c:formatCode>General</c:formatCode>
                <c:ptCount val="4"/>
                <c:pt idx="0">
                  <c:v>-7.8333333333335517E-2</c:v>
                </c:pt>
                <c:pt idx="1">
                  <c:v>4.7272222222222213</c:v>
                </c:pt>
                <c:pt idx="2">
                  <c:v>-2.7777777777776198E-2</c:v>
                </c:pt>
                <c:pt idx="3">
                  <c:v>-3.5566666666666626</c:v>
                </c:pt>
              </c:numCache>
            </c:numRef>
          </c:val>
          <c:extLst>
            <c:ext xmlns:c16="http://schemas.microsoft.com/office/drawing/2014/chart" uri="{C3380CC4-5D6E-409C-BE32-E72D297353CC}">
              <c16:uniqueId val="{00000003-9BF6-49F2-9140-AA728D71CCA1}"/>
            </c:ext>
          </c:extLst>
        </c:ser>
        <c:ser>
          <c:idx val="4"/>
          <c:order val="4"/>
          <c:spPr>
            <a:solidFill>
              <a:schemeClr val="accent6"/>
            </a:solidFill>
            <a:ln w="9525" cmpd="sng" algn="ctr">
              <a:solidFill>
                <a:schemeClr val="bg1"/>
              </a:solidFill>
              <a:prstDash val="solid"/>
            </a:ln>
          </c:spPr>
          <c:invertIfNegative val="0"/>
          <c:val>
            <c:numRef>
              <c:f>Sheet1!$A$5:$D$5</c:f>
              <c:numCache>
                <c:formatCode>General</c:formatCode>
                <c:ptCount val="4"/>
                <c:pt idx="0">
                  <c:v>-0.60444444444444423</c:v>
                </c:pt>
                <c:pt idx="1">
                  <c:v>6.4427777777777804</c:v>
                </c:pt>
                <c:pt idx="2">
                  <c:v>-3.5000000000001329E-2</c:v>
                </c:pt>
                <c:pt idx="3">
                  <c:v>-1.4916666666666636</c:v>
                </c:pt>
              </c:numCache>
            </c:numRef>
          </c:val>
          <c:extLst>
            <c:ext xmlns:c16="http://schemas.microsoft.com/office/drawing/2014/chart" uri="{C3380CC4-5D6E-409C-BE32-E72D297353CC}">
              <c16:uniqueId val="{00000004-9BF6-49F2-9140-AA728D71CCA1}"/>
            </c:ext>
          </c:extLst>
        </c:ser>
        <c:ser>
          <c:idx val="5"/>
          <c:order val="5"/>
          <c:spPr>
            <a:solidFill>
              <a:schemeClr val="accent1"/>
            </a:solidFill>
            <a:ln w="9525" cmpd="sng" algn="ctr">
              <a:solidFill>
                <a:schemeClr val="bg1"/>
              </a:solidFill>
              <a:prstDash val="solid"/>
            </a:ln>
          </c:spPr>
          <c:invertIfNegative val="0"/>
          <c:val>
            <c:numRef>
              <c:f>Sheet1!$A$6:$D$6</c:f>
              <c:numCache>
                <c:formatCode>General</c:formatCode>
                <c:ptCount val="4"/>
                <c:pt idx="0">
                  <c:v>-1.0666666666666629</c:v>
                </c:pt>
                <c:pt idx="1">
                  <c:v>1.480000000000004</c:v>
                </c:pt>
                <c:pt idx="2">
                  <c:v>-7.3333333333335318E-2</c:v>
                </c:pt>
                <c:pt idx="3">
                  <c:v>5.5144444444444458</c:v>
                </c:pt>
              </c:numCache>
            </c:numRef>
          </c:val>
          <c:extLst>
            <c:ext xmlns:c16="http://schemas.microsoft.com/office/drawing/2014/chart" uri="{C3380CC4-5D6E-409C-BE32-E72D297353CC}">
              <c16:uniqueId val="{00000005-9BF6-49F2-9140-AA728D71CCA1}"/>
            </c:ext>
          </c:extLst>
        </c:ser>
        <c:dLbls>
          <c:showLegendKey val="0"/>
          <c:showVal val="0"/>
          <c:showCatName val="0"/>
          <c:showSerName val="0"/>
          <c:showPercent val="0"/>
          <c:showBubbleSize val="0"/>
        </c:dLbls>
        <c:gapWidth val="350"/>
        <c:axId val="1747571983"/>
        <c:axId val="1"/>
      </c:barChart>
      <c:catAx>
        <c:axId val="1747571983"/>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10"/>
          <c:min val="-10"/>
        </c:scaling>
        <c:delete val="0"/>
        <c:axPos val="t"/>
        <c:majorGridlines>
          <c:spPr>
            <a:ln>
              <a:noFill/>
            </a:ln>
          </c:spPr>
        </c:majorGridlines>
        <c:numFmt formatCode="General" sourceLinked="1"/>
        <c:majorTickMark val="none"/>
        <c:minorTickMark val="none"/>
        <c:tickLblPos val="none"/>
        <c:spPr>
          <a:ln>
            <a:noFill/>
          </a:ln>
        </c:spPr>
        <c:crossAx val="1747571983"/>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182679296346414E-2"/>
          <c:y val="2.2118247554232241E-2"/>
          <c:w val="0.92963464140730723"/>
          <c:h val="0.9557635048915355"/>
        </c:manualLayout>
      </c:layout>
      <c:barChart>
        <c:barDir val="bar"/>
        <c:grouping val="clustered"/>
        <c:varyColors val="0"/>
        <c:ser>
          <c:idx val="0"/>
          <c:order val="0"/>
          <c:spPr>
            <a:solidFill>
              <a:srgbClr val="9DB1CF"/>
            </a:solidFill>
            <a:ln w="9525" cmpd="sng" algn="ctr">
              <a:solidFill>
                <a:schemeClr val="bg1"/>
              </a:solidFill>
              <a:prstDash val="solid"/>
            </a:ln>
          </c:spPr>
          <c:invertIfNegative val="0"/>
          <c:val>
            <c:numRef>
              <c:f>Sheet1!$A$1:$D$1</c:f>
              <c:numCache>
                <c:formatCode>General</c:formatCode>
                <c:ptCount val="4"/>
                <c:pt idx="0">
                  <c:v>-2.488333333333332</c:v>
                </c:pt>
                <c:pt idx="1">
                  <c:v>2.1150000000000042</c:v>
                </c:pt>
                <c:pt idx="2">
                  <c:v>-7.7222222222225412E-2</c:v>
                </c:pt>
                <c:pt idx="3">
                  <c:v>3.9038888888888885</c:v>
                </c:pt>
              </c:numCache>
            </c:numRef>
          </c:val>
          <c:extLst>
            <c:ext xmlns:c16="http://schemas.microsoft.com/office/drawing/2014/chart" uri="{C3380CC4-5D6E-409C-BE32-E72D297353CC}">
              <c16:uniqueId val="{00000000-31E8-4738-AE82-067153D2A7DA}"/>
            </c:ext>
          </c:extLst>
        </c:ser>
        <c:ser>
          <c:idx val="1"/>
          <c:order val="1"/>
          <c:spPr>
            <a:solidFill>
              <a:schemeClr val="tx1"/>
            </a:solidFill>
            <a:ln w="9525" cmpd="sng" algn="ctr">
              <a:solidFill>
                <a:schemeClr val="bg1"/>
              </a:solidFill>
              <a:prstDash val="solid"/>
            </a:ln>
          </c:spPr>
          <c:invertIfNegative val="0"/>
          <c:val>
            <c:numRef>
              <c:f>Sheet1!$A$2:$D$2</c:f>
              <c:numCache>
                <c:formatCode>General</c:formatCode>
                <c:ptCount val="4"/>
                <c:pt idx="0">
                  <c:v>-0.71944444444444378</c:v>
                </c:pt>
                <c:pt idx="1">
                  <c:v>8.1611111111111168</c:v>
                </c:pt>
                <c:pt idx="2">
                  <c:v>-4.1666666666664298E-2</c:v>
                </c:pt>
                <c:pt idx="3">
                  <c:v>-5.8688888888888853</c:v>
                </c:pt>
              </c:numCache>
            </c:numRef>
          </c:val>
          <c:extLst>
            <c:ext xmlns:c16="http://schemas.microsoft.com/office/drawing/2014/chart" uri="{C3380CC4-5D6E-409C-BE32-E72D297353CC}">
              <c16:uniqueId val="{00000001-31E8-4738-AE82-067153D2A7DA}"/>
            </c:ext>
          </c:extLst>
        </c:ser>
        <c:ser>
          <c:idx val="2"/>
          <c:order val="2"/>
          <c:spPr>
            <a:solidFill>
              <a:srgbClr val="E1C4E1"/>
            </a:solidFill>
            <a:ln w="9525" cmpd="sng" algn="ctr">
              <a:solidFill>
                <a:schemeClr val="bg1"/>
              </a:solidFill>
              <a:prstDash val="solid"/>
            </a:ln>
          </c:spPr>
          <c:invertIfNegative val="0"/>
          <c:val>
            <c:numRef>
              <c:f>Sheet1!$A$3:$D$3</c:f>
              <c:numCache>
                <c:formatCode>General</c:formatCode>
                <c:ptCount val="4"/>
                <c:pt idx="0">
                  <c:v>-1.3427777777777739</c:v>
                </c:pt>
                <c:pt idx="1">
                  <c:v>2.3372222222222185</c:v>
                </c:pt>
                <c:pt idx="2">
                  <c:v>-4.2222222222219351E-2</c:v>
                </c:pt>
                <c:pt idx="3">
                  <c:v>-6.8188888888888881</c:v>
                </c:pt>
              </c:numCache>
            </c:numRef>
          </c:val>
          <c:extLst>
            <c:ext xmlns:c16="http://schemas.microsoft.com/office/drawing/2014/chart" uri="{C3380CC4-5D6E-409C-BE32-E72D297353CC}">
              <c16:uniqueId val="{00000002-31E8-4738-AE82-067153D2A7DA}"/>
            </c:ext>
          </c:extLst>
        </c:ser>
        <c:ser>
          <c:idx val="3"/>
          <c:order val="3"/>
          <c:spPr>
            <a:solidFill>
              <a:srgbClr val="CFDE63"/>
            </a:solidFill>
            <a:ln w="9525" cmpd="sng" algn="ctr">
              <a:solidFill>
                <a:schemeClr val="bg1"/>
              </a:solidFill>
              <a:prstDash val="solid"/>
            </a:ln>
          </c:spPr>
          <c:invertIfNegative val="0"/>
          <c:val>
            <c:numRef>
              <c:f>Sheet1!$A$4:$D$4</c:f>
              <c:numCache>
                <c:formatCode>General</c:formatCode>
                <c:ptCount val="4"/>
                <c:pt idx="0">
                  <c:v>-0.13500000000000037</c:v>
                </c:pt>
                <c:pt idx="1">
                  <c:v>3.3944444444444408</c:v>
                </c:pt>
                <c:pt idx="2">
                  <c:v>-8.8888888888926463E-3</c:v>
                </c:pt>
                <c:pt idx="3">
                  <c:v>-1.3544444444444441</c:v>
                </c:pt>
              </c:numCache>
            </c:numRef>
          </c:val>
          <c:extLst>
            <c:ext xmlns:c16="http://schemas.microsoft.com/office/drawing/2014/chart" uri="{C3380CC4-5D6E-409C-BE32-E72D297353CC}">
              <c16:uniqueId val="{00000003-31E8-4738-AE82-067153D2A7DA}"/>
            </c:ext>
          </c:extLst>
        </c:ser>
        <c:ser>
          <c:idx val="4"/>
          <c:order val="4"/>
          <c:spPr>
            <a:solidFill>
              <a:schemeClr val="accent6"/>
            </a:solidFill>
            <a:ln w="9525" cmpd="sng" algn="ctr">
              <a:solidFill>
                <a:schemeClr val="bg1"/>
              </a:solidFill>
              <a:prstDash val="solid"/>
            </a:ln>
          </c:spPr>
          <c:invertIfNegative val="0"/>
          <c:val>
            <c:numRef>
              <c:f>Sheet1!$A$5:$D$5</c:f>
              <c:numCache>
                <c:formatCode>General</c:formatCode>
                <c:ptCount val="4"/>
                <c:pt idx="0">
                  <c:v>-0.74388888888888971</c:v>
                </c:pt>
                <c:pt idx="1">
                  <c:v>2.2844444444444463</c:v>
                </c:pt>
                <c:pt idx="2">
                  <c:v>-6.1666666666667425E-2</c:v>
                </c:pt>
                <c:pt idx="3">
                  <c:v>-2.2944444444444421</c:v>
                </c:pt>
              </c:numCache>
            </c:numRef>
          </c:val>
          <c:extLst>
            <c:ext xmlns:c16="http://schemas.microsoft.com/office/drawing/2014/chart" uri="{C3380CC4-5D6E-409C-BE32-E72D297353CC}">
              <c16:uniqueId val="{00000004-31E8-4738-AE82-067153D2A7DA}"/>
            </c:ext>
          </c:extLst>
        </c:ser>
        <c:ser>
          <c:idx val="5"/>
          <c:order val="5"/>
          <c:spPr>
            <a:solidFill>
              <a:schemeClr val="accent1"/>
            </a:solidFill>
            <a:ln w="9525" cmpd="sng" algn="ctr">
              <a:solidFill>
                <a:schemeClr val="bg1"/>
              </a:solidFill>
              <a:prstDash val="solid"/>
            </a:ln>
          </c:spPr>
          <c:invertIfNegative val="0"/>
          <c:val>
            <c:numRef>
              <c:f>Sheet1!$A$6:$D$6</c:f>
              <c:numCache>
                <c:formatCode>General</c:formatCode>
                <c:ptCount val="4"/>
                <c:pt idx="0">
                  <c:v>-1.1455555555555605</c:v>
                </c:pt>
                <c:pt idx="1">
                  <c:v>-0.56888888888888545</c:v>
                </c:pt>
                <c:pt idx="2">
                  <c:v>-0.10444444444444183</c:v>
                </c:pt>
                <c:pt idx="3">
                  <c:v>6.9972222222222227</c:v>
                </c:pt>
              </c:numCache>
            </c:numRef>
          </c:val>
          <c:extLst>
            <c:ext xmlns:c16="http://schemas.microsoft.com/office/drawing/2014/chart" uri="{C3380CC4-5D6E-409C-BE32-E72D297353CC}">
              <c16:uniqueId val="{00000005-31E8-4738-AE82-067153D2A7DA}"/>
            </c:ext>
          </c:extLst>
        </c:ser>
        <c:dLbls>
          <c:showLegendKey val="0"/>
          <c:showVal val="0"/>
          <c:showCatName val="0"/>
          <c:showSerName val="0"/>
          <c:showPercent val="0"/>
          <c:showBubbleSize val="0"/>
        </c:dLbls>
        <c:gapWidth val="350"/>
        <c:axId val="17769760"/>
        <c:axId val="1"/>
      </c:barChart>
      <c:catAx>
        <c:axId val="17769760"/>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10"/>
          <c:min val="-8"/>
        </c:scaling>
        <c:delete val="0"/>
        <c:axPos val="t"/>
        <c:majorGridlines>
          <c:spPr>
            <a:ln>
              <a:noFill/>
            </a:ln>
          </c:spPr>
        </c:majorGridlines>
        <c:numFmt formatCode="General" sourceLinked="1"/>
        <c:majorTickMark val="none"/>
        <c:minorTickMark val="none"/>
        <c:tickLblPos val="none"/>
        <c:spPr>
          <a:ln>
            <a:noFill/>
          </a:ln>
        </c:spPr>
        <c:crossAx val="17769760"/>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265248670628715E-2"/>
          <c:y val="5.4336468129571575E-2"/>
          <c:w val="0.96746950265874254"/>
          <c:h val="0.8913270637408568"/>
        </c:manualLayout>
      </c:layout>
      <c:scatterChart>
        <c:scatterStyle val="lineMarker"/>
        <c:varyColors val="0"/>
        <c:ser>
          <c:idx val="0"/>
          <c:order val="0"/>
          <c:spPr>
            <a:ln w="28575" cmpd="sng" algn="ctr">
              <a:solidFill>
                <a:srgbClr val="4E5F6E"/>
              </a:solidFill>
              <a:prstDash val="solid"/>
            </a:ln>
          </c:spPr>
          <c:marker>
            <c:symbol val="none"/>
          </c:marker>
          <c:xVal>
            <c:numRef>
              <c:f>Sheet1!$A$1:$K$1</c:f>
              <c:numCache>
                <c:formatCode>General</c:formatCode>
                <c:ptCount val="11"/>
                <c:pt idx="0">
                  <c:v>2024</c:v>
                </c:pt>
                <c:pt idx="1">
                  <c:v>2025</c:v>
                </c:pt>
                <c:pt idx="2">
                  <c:v>2026</c:v>
                </c:pt>
                <c:pt idx="3">
                  <c:v>2027</c:v>
                </c:pt>
                <c:pt idx="4">
                  <c:v>2028</c:v>
                </c:pt>
                <c:pt idx="5">
                  <c:v>2029</c:v>
                </c:pt>
                <c:pt idx="6">
                  <c:v>2030</c:v>
                </c:pt>
                <c:pt idx="7">
                  <c:v>2031</c:v>
                </c:pt>
                <c:pt idx="8">
                  <c:v>2032</c:v>
                </c:pt>
                <c:pt idx="9">
                  <c:v>2033</c:v>
                </c:pt>
                <c:pt idx="10">
                  <c:v>2034</c:v>
                </c:pt>
              </c:numCache>
            </c:numRef>
          </c:xVal>
          <c:yVal>
            <c:numRef>
              <c:f>Sheet1!$A$2:$K$2</c:f>
              <c:numCache>
                <c:formatCode>General</c:formatCode>
                <c:ptCount val="11"/>
                <c:pt idx="0">
                  <c:v>226.79625000000001</c:v>
                </c:pt>
                <c:pt idx="1">
                  <c:v>444.52064999999999</c:v>
                </c:pt>
                <c:pt idx="2">
                  <c:v>635.02949999999998</c:v>
                </c:pt>
                <c:pt idx="3">
                  <c:v>816.4665</c:v>
                </c:pt>
                <c:pt idx="4">
                  <c:v>4445.2065000000002</c:v>
                </c:pt>
                <c:pt idx="5">
                  <c:v>4445.2065000000002</c:v>
                </c:pt>
                <c:pt idx="6">
                  <c:v>4535.9250000000002</c:v>
                </c:pt>
                <c:pt idx="7">
                  <c:v>4535.9250000000002</c:v>
                </c:pt>
                <c:pt idx="8">
                  <c:v>4626.6435000000001</c:v>
                </c:pt>
                <c:pt idx="9">
                  <c:v>4626.6435000000001</c:v>
                </c:pt>
                <c:pt idx="10">
                  <c:v>4626.6435000000001</c:v>
                </c:pt>
              </c:numCache>
            </c:numRef>
          </c:yVal>
          <c:smooth val="0"/>
          <c:extLst>
            <c:ext xmlns:c16="http://schemas.microsoft.com/office/drawing/2014/chart" uri="{C3380CC4-5D6E-409C-BE32-E72D297353CC}">
              <c16:uniqueId val="{00000000-62F6-4CFC-BF94-AC32B8912B5E}"/>
            </c:ext>
          </c:extLst>
        </c:ser>
        <c:ser>
          <c:idx val="1"/>
          <c:order val="1"/>
          <c:spPr>
            <a:ln w="28575" cmpd="sng" algn="ctr">
              <a:solidFill>
                <a:srgbClr val="A6964E"/>
              </a:solidFill>
              <a:prstDash val="solid"/>
            </a:ln>
          </c:spPr>
          <c:marker>
            <c:symbol val="none"/>
          </c:marker>
          <c:xVal>
            <c:numRef>
              <c:f>Sheet1!$A$1:$K$1</c:f>
              <c:numCache>
                <c:formatCode>General</c:formatCode>
                <c:ptCount val="11"/>
                <c:pt idx="0">
                  <c:v>2024</c:v>
                </c:pt>
                <c:pt idx="1">
                  <c:v>2025</c:v>
                </c:pt>
                <c:pt idx="2">
                  <c:v>2026</c:v>
                </c:pt>
                <c:pt idx="3">
                  <c:v>2027</c:v>
                </c:pt>
                <c:pt idx="4">
                  <c:v>2028</c:v>
                </c:pt>
                <c:pt idx="5">
                  <c:v>2029</c:v>
                </c:pt>
                <c:pt idx="6">
                  <c:v>2030</c:v>
                </c:pt>
                <c:pt idx="7">
                  <c:v>2031</c:v>
                </c:pt>
                <c:pt idx="8">
                  <c:v>2032</c:v>
                </c:pt>
                <c:pt idx="9">
                  <c:v>2033</c:v>
                </c:pt>
                <c:pt idx="10">
                  <c:v>2034</c:v>
                </c:pt>
              </c:numCache>
            </c:numRef>
          </c:xVal>
          <c:yVal>
            <c:numRef>
              <c:f>Sheet1!$A$3:$K$3</c:f>
              <c:numCache>
                <c:formatCode>General</c:formatCode>
                <c:ptCount val="11"/>
                <c:pt idx="0">
                  <c:v>150</c:v>
                </c:pt>
                <c:pt idx="1">
                  <c:v>300</c:v>
                </c:pt>
                <c:pt idx="2">
                  <c:v>470</c:v>
                </c:pt>
                <c:pt idx="3">
                  <c:v>5</c:v>
                </c:pt>
                <c:pt idx="4">
                  <c:v>5</c:v>
                </c:pt>
                <c:pt idx="5">
                  <c:v>5</c:v>
                </c:pt>
                <c:pt idx="6">
                  <c:v>5</c:v>
                </c:pt>
                <c:pt idx="7">
                  <c:v>5</c:v>
                </c:pt>
                <c:pt idx="8">
                  <c:v>5</c:v>
                </c:pt>
                <c:pt idx="9">
                  <c:v>5</c:v>
                </c:pt>
                <c:pt idx="10">
                  <c:v>5</c:v>
                </c:pt>
              </c:numCache>
            </c:numRef>
          </c:yVal>
          <c:smooth val="0"/>
          <c:extLst>
            <c:ext xmlns:c16="http://schemas.microsoft.com/office/drawing/2014/chart" uri="{C3380CC4-5D6E-409C-BE32-E72D297353CC}">
              <c16:uniqueId val="{00000001-62F6-4CFC-BF94-AC32B8912B5E}"/>
            </c:ext>
          </c:extLst>
        </c:ser>
        <c:dLbls>
          <c:showLegendKey val="0"/>
          <c:showVal val="0"/>
          <c:showCatName val="0"/>
          <c:showSerName val="0"/>
          <c:showPercent val="0"/>
          <c:showBubbleSize val="0"/>
        </c:dLbls>
        <c:axId val="4"/>
        <c:axId val="5"/>
      </c:scatterChart>
      <c:valAx>
        <c:axId val="4"/>
        <c:scaling>
          <c:orientation val="minMax"/>
          <c:max val="2034"/>
          <c:min val="2024"/>
        </c:scaling>
        <c:delete val="0"/>
        <c:axPos val="b"/>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5"/>
        <c:crosses val="min"/>
        <c:crossBetween val="midCat"/>
      </c:valAx>
      <c:valAx>
        <c:axId val="5"/>
        <c:scaling>
          <c:orientation val="minMax"/>
          <c:max val="5000"/>
          <c:min val="0"/>
        </c:scaling>
        <c:delete val="0"/>
        <c:axPos val="l"/>
        <c:majorGridlines>
          <c:spPr>
            <a:ln w="3175" cmpd="sng" algn="ctr">
              <a:solidFill>
                <a:schemeClr val="accent6"/>
              </a:solidFill>
              <a:prstDash val="solid"/>
            </a:ln>
          </c:spPr>
        </c:majorGridlines>
        <c:numFmt formatCode="General" sourceLinked="1"/>
        <c:majorTickMark val="none"/>
        <c:minorTickMark val="none"/>
        <c:tickLblPos val="none"/>
        <c:spPr>
          <a:ln>
            <a:noFill/>
          </a:ln>
        </c:spPr>
        <c:crossAx val="4"/>
        <c:crosses val="min"/>
        <c:crossBetween val="midCat"/>
        <c:majorUnit val="1000"/>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07518796992481E-2"/>
          <c:y val="7.4498567335243557E-2"/>
          <c:w val="0.93984962406015038"/>
          <c:h val="0.85100286532951286"/>
        </c:manualLayout>
      </c:layout>
      <c:barChart>
        <c:barDir val="col"/>
        <c:grouping val="stacked"/>
        <c:varyColors val="0"/>
        <c:ser>
          <c:idx val="0"/>
          <c:order val="0"/>
          <c:spPr>
            <a:noFill/>
            <a:ln>
              <a:noFill/>
            </a:ln>
          </c:spPr>
          <c:invertIfNegative val="0"/>
          <c:dPt>
            <c:idx val="0"/>
            <c:invertIfNegative val="0"/>
            <c:bubble3D val="0"/>
            <c:spPr>
              <a:solidFill>
                <a:schemeClr val="accent5"/>
              </a:solidFill>
              <a:ln w="9525" cmpd="sng" algn="ctr">
                <a:solidFill>
                  <a:schemeClr val="bg1"/>
                </a:solidFill>
                <a:prstDash val="solid"/>
              </a:ln>
            </c:spPr>
            <c:extLst>
              <c:ext xmlns:c16="http://schemas.microsoft.com/office/drawing/2014/chart" uri="{C3380CC4-5D6E-409C-BE32-E72D297353CC}">
                <c16:uniqueId val="{00000000-0360-41DB-A7DE-8452B7E79FB6}"/>
              </c:ext>
            </c:extLst>
          </c:dPt>
          <c:dPt>
            <c:idx val="3"/>
            <c:invertIfNegative val="0"/>
            <c:bubble3D val="0"/>
            <c:spPr>
              <a:solidFill>
                <a:schemeClr val="accent1"/>
              </a:solidFill>
              <a:ln w="9525" cmpd="sng" algn="ctr">
                <a:solidFill>
                  <a:schemeClr val="bg1"/>
                </a:solidFill>
                <a:prstDash val="solid"/>
              </a:ln>
            </c:spPr>
            <c:extLst>
              <c:ext xmlns:c16="http://schemas.microsoft.com/office/drawing/2014/chart" uri="{C3380CC4-5D6E-409C-BE32-E72D297353CC}">
                <c16:uniqueId val="{00000001-0360-41DB-A7DE-8452B7E79FB6}"/>
              </c:ext>
            </c:extLst>
          </c:dPt>
          <c:val>
            <c:numRef>
              <c:f>Sheet1!$A$1:$D$1</c:f>
              <c:numCache>
                <c:formatCode>General</c:formatCode>
                <c:ptCount val="4"/>
                <c:pt idx="0">
                  <c:v>0.99999999999999989</c:v>
                </c:pt>
                <c:pt idx="1">
                  <c:v>0.95</c:v>
                </c:pt>
                <c:pt idx="2">
                  <c:v>0.19999999999999996</c:v>
                </c:pt>
                <c:pt idx="3">
                  <c:v>0.19999999999999996</c:v>
                </c:pt>
              </c:numCache>
            </c:numRef>
          </c:val>
          <c:extLst>
            <c:ext xmlns:c16="http://schemas.microsoft.com/office/drawing/2014/chart" uri="{C3380CC4-5D6E-409C-BE32-E72D297353CC}">
              <c16:uniqueId val="{00000002-0360-41DB-A7DE-8452B7E79FB6}"/>
            </c:ext>
          </c:extLst>
        </c:ser>
        <c:ser>
          <c:idx val="1"/>
          <c:order val="1"/>
          <c:spPr>
            <a:solidFill>
              <a:srgbClr val="6F8DB9"/>
            </a:solidFill>
            <a:ln w="9525" cmpd="sng" algn="ctr">
              <a:solidFill>
                <a:schemeClr val="bg1"/>
              </a:solidFill>
              <a:prstDash val="solid"/>
            </a:ln>
          </c:spPr>
          <c:invertIfNegative val="0"/>
          <c:dPt>
            <c:idx val="1"/>
            <c:invertIfNegative val="0"/>
            <c:bubble3D val="0"/>
            <c:spPr>
              <a:solidFill>
                <a:schemeClr val="accent2"/>
              </a:solidFill>
              <a:ln w="9525" cmpd="sng" algn="ctr">
                <a:solidFill>
                  <a:schemeClr val="tx2"/>
                </a:solidFill>
                <a:prstDash val="solid"/>
              </a:ln>
            </c:spPr>
            <c:extLst>
              <c:ext xmlns:c16="http://schemas.microsoft.com/office/drawing/2014/chart" uri="{C3380CC4-5D6E-409C-BE32-E72D297353CC}">
                <c16:uniqueId val="{00000003-0360-41DB-A7DE-8452B7E79FB6}"/>
              </c:ext>
            </c:extLst>
          </c:dPt>
          <c:val>
            <c:numRef>
              <c:f>Sheet1!$A$2:$D$2</c:f>
              <c:numCache>
                <c:formatCode>General</c:formatCode>
                <c:ptCount val="4"/>
                <c:pt idx="1">
                  <c:v>5.0000000000000044E-2</c:v>
                </c:pt>
                <c:pt idx="2">
                  <c:v>0.75</c:v>
                </c:pt>
              </c:numCache>
            </c:numRef>
          </c:val>
          <c:extLst>
            <c:ext xmlns:c16="http://schemas.microsoft.com/office/drawing/2014/chart" uri="{C3380CC4-5D6E-409C-BE32-E72D297353CC}">
              <c16:uniqueId val="{00000004-0360-41DB-A7DE-8452B7E79FB6}"/>
            </c:ext>
          </c:extLst>
        </c:ser>
        <c:dLbls>
          <c:showLegendKey val="0"/>
          <c:showVal val="0"/>
          <c:showCatName val="0"/>
          <c:showSerName val="0"/>
          <c:showPercent val="0"/>
          <c:showBubbleSize val="0"/>
        </c:dLbls>
        <c:gapWidth val="80"/>
        <c:overlap val="100"/>
        <c:axId val="1141520447"/>
        <c:axId val="1"/>
      </c:barChart>
      <c:catAx>
        <c:axId val="114152044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
          <c:min val="0"/>
        </c:scaling>
        <c:delete val="1"/>
        <c:axPos val="l"/>
        <c:numFmt formatCode="General" sourceLinked="1"/>
        <c:majorTickMark val="out"/>
        <c:minorTickMark val="none"/>
        <c:tickLblPos val="nextTo"/>
        <c:crossAx val="1141520447"/>
        <c:crosses val="min"/>
        <c:crossBetween val="between"/>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22E683F-F0C2-4209-849B-C6696CCC1760}" type="datetimeFigureOut">
              <a:rPr lang="en-US" smtClean="0"/>
              <a:t>9/27/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9BE5E0A-235F-4FE3-8E36-23974F1ED468}" type="slidenum">
              <a:rPr lang="en-US" smtClean="0"/>
              <a:t>‹#›</a:t>
            </a:fld>
            <a:endParaRPr lang="en-US"/>
          </a:p>
        </p:txBody>
      </p:sp>
    </p:spTree>
    <p:extLst>
      <p:ext uri="{BB962C8B-B14F-4D97-AF65-F5344CB8AC3E}">
        <p14:creationId xmlns:p14="http://schemas.microsoft.com/office/powerpoint/2010/main" val="25924354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B4125-20DE-4407-A3BD-C398E90474C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15238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B4125-20DE-4407-A3BD-C398E90474C3}" type="slidenum">
              <a:rPr kumimoji="0" lang="en-GB" sz="1200" b="0" i="0" u="none" strike="noStrike" kern="1200" cap="none" spc="0" normalizeH="0" baseline="0" noProof="0" smtClean="0">
                <a:ln>
                  <a:noFill/>
                </a:ln>
                <a:solidFill>
                  <a:prstClr val="black"/>
                </a:solidFill>
                <a:effectLst/>
                <a:uLnTx/>
                <a:uFillTx/>
                <a:latin typeface="Lato" panose="020F0502020204030203" pitchFamily="34" charset="0"/>
                <a:ea typeface="+mn-ea"/>
                <a:cs typeface="+mn-cs"/>
                <a:sym typeface="Lato"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Lato" panose="020F0502020204030203" pitchFamily="34" charset="0"/>
              <a:ea typeface="+mn-ea"/>
              <a:cs typeface="+mn-cs"/>
              <a:sym typeface="Lato" panose="020F0502020204030203" pitchFamily="34" charset="0"/>
            </a:endParaRPr>
          </a:p>
        </p:txBody>
      </p:sp>
    </p:spTree>
    <p:extLst>
      <p:ext uri="{BB962C8B-B14F-4D97-AF65-F5344CB8AC3E}">
        <p14:creationId xmlns:p14="http://schemas.microsoft.com/office/powerpoint/2010/main" val="12821712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B4125-20DE-4407-A3BD-C398E90474C3}" type="slidenum">
              <a:rPr kumimoji="0" lang="en-GB" sz="1200" b="0" i="0" u="none" strike="noStrike" kern="1200" cap="none" spc="0" normalizeH="0" baseline="0" noProof="0" smtClean="0">
                <a:ln>
                  <a:noFill/>
                </a:ln>
                <a:solidFill>
                  <a:prstClr val="black"/>
                </a:solidFill>
                <a:effectLst/>
                <a:uLnTx/>
                <a:uFillTx/>
                <a:latin typeface="Lato" panose="020F0502020204030203" pitchFamily="34" charset="0"/>
                <a:ea typeface="+mn-ea"/>
                <a:cs typeface="+mn-cs"/>
                <a:sym typeface="Lato"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Lato" panose="020F0502020204030203" pitchFamily="34" charset="0"/>
              <a:ea typeface="+mn-ea"/>
              <a:cs typeface="+mn-cs"/>
              <a:sym typeface="Lato" panose="020F0502020204030203" pitchFamily="34" charset="0"/>
            </a:endParaRPr>
          </a:p>
        </p:txBody>
      </p:sp>
    </p:spTree>
    <p:extLst>
      <p:ext uri="{BB962C8B-B14F-4D97-AF65-F5344CB8AC3E}">
        <p14:creationId xmlns:p14="http://schemas.microsoft.com/office/powerpoint/2010/main" val="21032269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Source(s):</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DAC493-6D8E-4EA4-81F9-2453F10DC97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5025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Source(s):</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BF9C64-CE2D-4D44-A309-5B6217B7BBA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11092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03C9AB-C9E8-4F04-B910-9C2679A7496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68286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B4125-20DE-4407-A3BD-C398E90474C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17992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DAC493-6D8E-4EA4-81F9-2453F10DC97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75051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DAC493-6D8E-4EA4-81F9-2453F10DC97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68836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DAC493-6D8E-4EA4-81F9-2453F10DC97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34537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1500"/>
              </a:spcBef>
              <a:spcAft>
                <a:spcPts val="1500"/>
              </a:spcAft>
            </a:pPr>
            <a:endParaRPr lang="en-GB" sz="1800">
              <a:effectLst/>
              <a:latin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102B0A-0FD0-432F-9C6F-60FBAECB3E2E}" type="slidenum">
              <a:rPr kumimoji="0" lang="en-IN" sz="1200" b="0" i="0" u="none" strike="noStrike" kern="1200" cap="none" spc="0" normalizeH="0" baseline="0" noProof="0" smtClean="0">
                <a:ln>
                  <a:noFill/>
                </a:ln>
                <a:solidFill>
                  <a:prstClr val="black"/>
                </a:solidFill>
                <a:effectLst/>
                <a:uLnTx/>
                <a:uFillTx/>
                <a:latin typeface="Lato" panose="020F0502020204030203" pitchFamily="34" charset="0"/>
                <a:ea typeface="+mn-ea"/>
                <a:cs typeface="+mn-cs"/>
                <a:sym typeface="Lato"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IN" sz="1200" b="0" i="0" u="none" strike="noStrike" kern="1200" cap="none" spc="0" normalizeH="0" baseline="0" noProof="0">
              <a:ln>
                <a:noFill/>
              </a:ln>
              <a:solidFill>
                <a:prstClr val="black"/>
              </a:solidFill>
              <a:effectLst/>
              <a:uLnTx/>
              <a:uFillTx/>
              <a:latin typeface="Lato" panose="020F0502020204030203" pitchFamily="34" charset="0"/>
              <a:ea typeface="+mn-ea"/>
              <a:cs typeface="+mn-cs"/>
              <a:sym typeface="Lato" panose="020F0502020204030203" pitchFamily="34" charset="0"/>
            </a:endParaRPr>
          </a:p>
        </p:txBody>
      </p:sp>
    </p:spTree>
    <p:extLst>
      <p:ext uri="{BB962C8B-B14F-4D97-AF65-F5344CB8AC3E}">
        <p14:creationId xmlns:p14="http://schemas.microsoft.com/office/powerpoint/2010/main" val="41940641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1500"/>
              </a:spcBef>
              <a:spcAft>
                <a:spcPts val="1500"/>
              </a:spcAft>
            </a:pPr>
            <a:endParaRPr lang="en-GB" sz="1800">
              <a:effectLst/>
              <a:latin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102B0A-0FD0-432F-9C6F-60FBAECB3E2E}" type="slidenum">
              <a:rPr kumimoji="0" lang="en-IN" sz="1200" b="0" i="0" u="none" strike="noStrike" kern="1200" cap="none" spc="0" normalizeH="0" baseline="0" noProof="0" smtClean="0">
                <a:ln>
                  <a:noFill/>
                </a:ln>
                <a:solidFill>
                  <a:prstClr val="black"/>
                </a:solidFill>
                <a:effectLst/>
                <a:uLnTx/>
                <a:uFillTx/>
                <a:latin typeface="Lato" panose="020F0502020204030203" pitchFamily="34" charset="0"/>
                <a:ea typeface="+mn-ea"/>
                <a:cs typeface="+mn-cs"/>
                <a:sym typeface="Lato"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IN" sz="1200" b="0" i="0" u="none" strike="noStrike" kern="1200" cap="none" spc="0" normalizeH="0" baseline="0" noProof="0">
              <a:ln>
                <a:noFill/>
              </a:ln>
              <a:solidFill>
                <a:prstClr val="black"/>
              </a:solidFill>
              <a:effectLst/>
              <a:uLnTx/>
              <a:uFillTx/>
              <a:latin typeface="Lato" panose="020F0502020204030203" pitchFamily="34" charset="0"/>
              <a:ea typeface="+mn-ea"/>
              <a:cs typeface="+mn-cs"/>
              <a:sym typeface="Lato" panose="020F0502020204030203" pitchFamily="34" charset="0"/>
            </a:endParaRPr>
          </a:p>
        </p:txBody>
      </p:sp>
    </p:spTree>
    <p:extLst>
      <p:ext uri="{BB962C8B-B14F-4D97-AF65-F5344CB8AC3E}">
        <p14:creationId xmlns:p14="http://schemas.microsoft.com/office/powerpoint/2010/main" val="23570790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DAC493-6D8E-4EA4-81F9-2453F10DC97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58764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DAC493-6D8E-4EA4-81F9-2453F10DC97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37052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125204-03B3-0149-48EB-3CF2B88C035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A728214-BB72-17B9-D097-3EB974E7DC3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F39FEFF-4D85-54BA-8DF8-C166A32E23B2}"/>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23A34E70-70EA-7678-85A1-3B8F6E39871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B4125-20DE-4407-A3BD-C398E90474C3}" type="slidenum">
              <a:rPr kumimoji="0" lang="en-GB" sz="1200" b="0" i="0" u="none" strike="noStrike" kern="1200" cap="none" spc="0" normalizeH="0" baseline="0" noProof="0" smtClean="0">
                <a:ln>
                  <a:noFill/>
                </a:ln>
                <a:solidFill>
                  <a:prstClr val="black"/>
                </a:solidFill>
                <a:effectLst/>
                <a:uLnTx/>
                <a:uFillTx/>
                <a:latin typeface="Lato" panose="020F0502020204030203" pitchFamily="34" charset="0"/>
                <a:ea typeface="+mn-ea"/>
                <a:cs typeface="+mn-cs"/>
                <a:sym typeface="Lato"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Lato" panose="020F0502020204030203" pitchFamily="34" charset="0"/>
              <a:ea typeface="+mn-ea"/>
              <a:cs typeface="+mn-cs"/>
              <a:sym typeface="Lato" panose="020F0502020204030203" pitchFamily="34" charset="0"/>
            </a:endParaRPr>
          </a:p>
        </p:txBody>
      </p:sp>
    </p:spTree>
    <p:extLst>
      <p:ext uri="{BB962C8B-B14F-4D97-AF65-F5344CB8AC3E}">
        <p14:creationId xmlns:p14="http://schemas.microsoft.com/office/powerpoint/2010/main" val="229994724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3.xml"/><Relationship Id="rId1" Type="http://schemas.openxmlformats.org/officeDocument/2006/relationships/tags" Target="../tags/tag111.xml"/><Relationship Id="rId4" Type="http://schemas.openxmlformats.org/officeDocument/2006/relationships/image" Target="../media/image1.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3.xml"/><Relationship Id="rId1" Type="http://schemas.openxmlformats.org/officeDocument/2006/relationships/tags" Target="../tags/tag112.xml"/><Relationship Id="rId4" Type="http://schemas.openxmlformats.org/officeDocument/2006/relationships/image" Target="../media/image1.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3.xml"/><Relationship Id="rId1" Type="http://schemas.openxmlformats.org/officeDocument/2006/relationships/tags" Target="../tags/tag113.xml"/><Relationship Id="rId4" Type="http://schemas.openxmlformats.org/officeDocument/2006/relationships/image" Target="../media/image1.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Master" Target="../slideMasters/slideMaster3.xml"/><Relationship Id="rId1" Type="http://schemas.openxmlformats.org/officeDocument/2006/relationships/tags" Target="../tags/tag114.xml"/><Relationship Id="rId4" Type="http://schemas.openxmlformats.org/officeDocument/2006/relationships/image" Target="../media/image1.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3.xml"/><Relationship Id="rId1" Type="http://schemas.openxmlformats.org/officeDocument/2006/relationships/tags" Target="../tags/tag115.xml"/><Relationship Id="rId4" Type="http://schemas.openxmlformats.org/officeDocument/2006/relationships/image" Target="../media/image1.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3.xml"/><Relationship Id="rId1" Type="http://schemas.openxmlformats.org/officeDocument/2006/relationships/tags" Target="../tags/tag116.xml"/><Relationship Id="rId4" Type="http://schemas.openxmlformats.org/officeDocument/2006/relationships/image" Target="../media/image1.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Master" Target="../slideMasters/slideMaster3.xml"/><Relationship Id="rId1" Type="http://schemas.openxmlformats.org/officeDocument/2006/relationships/tags" Target="../tags/tag117.xml"/><Relationship Id="rId4" Type="http://schemas.openxmlformats.org/officeDocument/2006/relationships/image" Target="../media/image1.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3.xml"/><Relationship Id="rId1" Type="http://schemas.openxmlformats.org/officeDocument/2006/relationships/tags" Target="../tags/tag118.xml"/><Relationship Id="rId4" Type="http://schemas.openxmlformats.org/officeDocument/2006/relationships/image" Target="../media/image1.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Master" Target="../slideMasters/slideMaster3.xml"/><Relationship Id="rId1" Type="http://schemas.openxmlformats.org/officeDocument/2006/relationships/tags" Target="../tags/tag119.xml"/><Relationship Id="rId4" Type="http://schemas.openxmlformats.org/officeDocument/2006/relationships/image" Target="../media/image7.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3.xml"/><Relationship Id="rId1" Type="http://schemas.openxmlformats.org/officeDocument/2006/relationships/tags" Target="../tags/tag120.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Master" Target="../slideMasters/slideMaster3.xml"/><Relationship Id="rId1" Type="http://schemas.openxmlformats.org/officeDocument/2006/relationships/tags" Target="../tags/tag121.xml"/><Relationship Id="rId6" Type="http://schemas.openxmlformats.org/officeDocument/2006/relationships/image" Target="../media/image8.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Master" Target="../slideMasters/slideMaster3.xml"/><Relationship Id="rId1" Type="http://schemas.openxmlformats.org/officeDocument/2006/relationships/tags" Target="../tags/tag122.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Master" Target="../slideMasters/slideMaster3.xml"/><Relationship Id="rId1" Type="http://schemas.openxmlformats.org/officeDocument/2006/relationships/tags" Target="../tags/tag123.xml"/><Relationship Id="rId6" Type="http://schemas.openxmlformats.org/officeDocument/2006/relationships/image" Target="../media/image8.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Master" Target="../slideMasters/slideMaster3.xml"/><Relationship Id="rId1" Type="http://schemas.openxmlformats.org/officeDocument/2006/relationships/tags" Target="../tags/tag124.xml"/><Relationship Id="rId6" Type="http://schemas.openxmlformats.org/officeDocument/2006/relationships/image" Target="../media/image8.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Master" Target="../slideMasters/slideMaster3.xml"/><Relationship Id="rId1" Type="http://schemas.openxmlformats.org/officeDocument/2006/relationships/tags" Target="../tags/tag125.xml"/><Relationship Id="rId6" Type="http://schemas.openxmlformats.org/officeDocument/2006/relationships/image" Target="../media/image8.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Master" Target="../slideMasters/slideMaster3.xml"/><Relationship Id="rId1" Type="http://schemas.openxmlformats.org/officeDocument/2006/relationships/tags" Target="../tags/tag126.xml"/><Relationship Id="rId6" Type="http://schemas.openxmlformats.org/officeDocument/2006/relationships/image" Target="../media/image8.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Master" Target="../slideMasters/slideMaster3.xml"/><Relationship Id="rId1" Type="http://schemas.openxmlformats.org/officeDocument/2006/relationships/tags" Target="../tags/tag127.xml"/><Relationship Id="rId4" Type="http://schemas.openxmlformats.org/officeDocument/2006/relationships/image" Target="../media/image1.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Master" Target="../slideMasters/slideMaster3.xml"/><Relationship Id="rId1" Type="http://schemas.openxmlformats.org/officeDocument/2006/relationships/tags" Target="../tags/tag128.xml"/><Relationship Id="rId4" Type="http://schemas.openxmlformats.org/officeDocument/2006/relationships/image" Target="../media/image1.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Master" Target="../slideMasters/slideMaster3.xml"/><Relationship Id="rId1" Type="http://schemas.openxmlformats.org/officeDocument/2006/relationships/tags" Target="../tags/tag129.xml"/><Relationship Id="rId4" Type="http://schemas.openxmlformats.org/officeDocument/2006/relationships/image" Target="../media/image1.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Master" Target="../slideMasters/slideMaster3.xml"/><Relationship Id="rId1" Type="http://schemas.openxmlformats.org/officeDocument/2006/relationships/tags" Target="../tags/tag130.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123.bin"/><Relationship Id="rId2" Type="http://schemas.openxmlformats.org/officeDocument/2006/relationships/slideMaster" Target="../slideMasters/slideMaster3.xml"/><Relationship Id="rId1" Type="http://schemas.openxmlformats.org/officeDocument/2006/relationships/tags" Target="../tags/tag131.xml"/><Relationship Id="rId4" Type="http://schemas.openxmlformats.org/officeDocument/2006/relationships/image" Target="../media/image1.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124.bin"/><Relationship Id="rId2" Type="http://schemas.openxmlformats.org/officeDocument/2006/relationships/slideMaster" Target="../slideMasters/slideMaster3.xml"/><Relationship Id="rId1" Type="http://schemas.openxmlformats.org/officeDocument/2006/relationships/tags" Target="../tags/tag132.xml"/><Relationship Id="rId4" Type="http://schemas.openxmlformats.org/officeDocument/2006/relationships/image" Target="../media/image1.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Master" Target="../slideMasters/slideMaster3.xml"/><Relationship Id="rId1" Type="http://schemas.openxmlformats.org/officeDocument/2006/relationships/tags" Target="../tags/tag133.xml"/><Relationship Id="rId4" Type="http://schemas.openxmlformats.org/officeDocument/2006/relationships/image" Target="../media/image1.emf"/></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126.bin"/><Relationship Id="rId2" Type="http://schemas.openxmlformats.org/officeDocument/2006/relationships/slideMaster" Target="../slideMasters/slideMaster3.xml"/><Relationship Id="rId1" Type="http://schemas.openxmlformats.org/officeDocument/2006/relationships/tags" Target="../tags/tag134.xml"/><Relationship Id="rId4" Type="http://schemas.openxmlformats.org/officeDocument/2006/relationships/image" Target="../media/image1.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127.bin"/><Relationship Id="rId2" Type="http://schemas.openxmlformats.org/officeDocument/2006/relationships/slideMaster" Target="../slideMasters/slideMaster3.xml"/><Relationship Id="rId1" Type="http://schemas.openxmlformats.org/officeDocument/2006/relationships/tags" Target="../tags/tag135.xml"/><Relationship Id="rId4" Type="http://schemas.openxmlformats.org/officeDocument/2006/relationships/image" Target="../media/image1.emf"/></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Master" Target="../slideMasters/slideMaster3.xml"/><Relationship Id="rId1" Type="http://schemas.openxmlformats.org/officeDocument/2006/relationships/tags" Target="../tags/tag136.xml"/><Relationship Id="rId4" Type="http://schemas.openxmlformats.org/officeDocument/2006/relationships/image" Target="../media/image1.emf"/></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129.bin"/><Relationship Id="rId2" Type="http://schemas.openxmlformats.org/officeDocument/2006/relationships/slideMaster" Target="../slideMasters/slideMaster3.xml"/><Relationship Id="rId1" Type="http://schemas.openxmlformats.org/officeDocument/2006/relationships/tags" Target="../tags/tag137.xml"/><Relationship Id="rId4" Type="http://schemas.openxmlformats.org/officeDocument/2006/relationships/image" Target="../media/image1.emf"/></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Master" Target="../slideMasters/slideMaster3.xml"/><Relationship Id="rId1" Type="http://schemas.openxmlformats.org/officeDocument/2006/relationships/tags" Target="../tags/tag138.xml"/><Relationship Id="rId6" Type="http://schemas.openxmlformats.org/officeDocument/2006/relationships/image" Target="../media/image8.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131.bin"/><Relationship Id="rId2" Type="http://schemas.openxmlformats.org/officeDocument/2006/relationships/slideMaster" Target="../slideMasters/slideMaster3.xml"/><Relationship Id="rId1" Type="http://schemas.openxmlformats.org/officeDocument/2006/relationships/tags" Target="../tags/tag139.xml"/><Relationship Id="rId4" Type="http://schemas.openxmlformats.org/officeDocument/2006/relationships/image" Target="../media/image1.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132.bin"/><Relationship Id="rId2" Type="http://schemas.openxmlformats.org/officeDocument/2006/relationships/slideMaster" Target="../slideMasters/slideMaster3.xml"/><Relationship Id="rId1" Type="http://schemas.openxmlformats.org/officeDocument/2006/relationships/tags" Target="../tags/tag140.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133.bin"/><Relationship Id="rId2" Type="http://schemas.openxmlformats.org/officeDocument/2006/relationships/slideMaster" Target="../slideMasters/slideMaster3.xml"/><Relationship Id="rId1" Type="http://schemas.openxmlformats.org/officeDocument/2006/relationships/tags" Target="../tags/tag141.xml"/><Relationship Id="rId4" Type="http://schemas.openxmlformats.org/officeDocument/2006/relationships/image" Target="../media/image1.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Master" Target="../slideMasters/slideMaster3.xml"/><Relationship Id="rId1" Type="http://schemas.openxmlformats.org/officeDocument/2006/relationships/tags" Target="../tags/tag142.xml"/><Relationship Id="rId4" Type="http://schemas.openxmlformats.org/officeDocument/2006/relationships/image" Target="../media/image1.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135.bin"/><Relationship Id="rId2" Type="http://schemas.openxmlformats.org/officeDocument/2006/relationships/slideMaster" Target="../slideMasters/slideMaster3.xml"/><Relationship Id="rId1" Type="http://schemas.openxmlformats.org/officeDocument/2006/relationships/tags" Target="../tags/tag143.xml"/><Relationship Id="rId4" Type="http://schemas.openxmlformats.org/officeDocument/2006/relationships/image" Target="../media/image1.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136.bin"/><Relationship Id="rId2" Type="http://schemas.openxmlformats.org/officeDocument/2006/relationships/slideMaster" Target="../slideMasters/slideMaster3.xml"/><Relationship Id="rId1" Type="http://schemas.openxmlformats.org/officeDocument/2006/relationships/tags" Target="../tags/tag144.xml"/><Relationship Id="rId4" Type="http://schemas.openxmlformats.org/officeDocument/2006/relationships/image" Target="../media/image1.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Master" Target="../slideMasters/slideMaster3.xml"/><Relationship Id="rId1" Type="http://schemas.openxmlformats.org/officeDocument/2006/relationships/tags" Target="../tags/tag145.xml"/><Relationship Id="rId4" Type="http://schemas.openxmlformats.org/officeDocument/2006/relationships/image" Target="../media/image1.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138.bin"/><Relationship Id="rId2" Type="http://schemas.openxmlformats.org/officeDocument/2006/relationships/slideMaster" Target="../slideMasters/slideMaster3.xml"/><Relationship Id="rId1" Type="http://schemas.openxmlformats.org/officeDocument/2006/relationships/tags" Target="../tags/tag146.xml"/><Relationship Id="rId4" Type="http://schemas.openxmlformats.org/officeDocument/2006/relationships/image" Target="../media/image1.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139.bin"/><Relationship Id="rId2" Type="http://schemas.openxmlformats.org/officeDocument/2006/relationships/slideMaster" Target="../slideMasters/slideMaster3.xml"/><Relationship Id="rId1" Type="http://schemas.openxmlformats.org/officeDocument/2006/relationships/tags" Target="../tags/tag147.xml"/><Relationship Id="rId6" Type="http://schemas.openxmlformats.org/officeDocument/2006/relationships/image" Target="../media/image10.svg"/><Relationship Id="rId5" Type="http://schemas.openxmlformats.org/officeDocument/2006/relationships/image" Target="../media/image5.png"/><Relationship Id="rId4" Type="http://schemas.openxmlformats.org/officeDocument/2006/relationships/image" Target="../media/image7.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140.bin"/><Relationship Id="rId2" Type="http://schemas.openxmlformats.org/officeDocument/2006/relationships/slideMaster" Target="../slideMasters/slideMaster3.xml"/><Relationship Id="rId1" Type="http://schemas.openxmlformats.org/officeDocument/2006/relationships/tags" Target="../tags/tag148.xml"/><Relationship Id="rId4" Type="http://schemas.openxmlformats.org/officeDocument/2006/relationships/image" Target="../media/image7.emf"/></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141.bin"/><Relationship Id="rId2" Type="http://schemas.openxmlformats.org/officeDocument/2006/relationships/slideMaster" Target="../slideMasters/slideMaster3.xml"/><Relationship Id="rId1" Type="http://schemas.openxmlformats.org/officeDocument/2006/relationships/tags" Target="../tags/tag149.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142.bin"/><Relationship Id="rId2" Type="http://schemas.openxmlformats.org/officeDocument/2006/relationships/slideMaster" Target="../slideMasters/slideMaster3.xml"/><Relationship Id="rId1" Type="http://schemas.openxmlformats.org/officeDocument/2006/relationships/tags" Target="../tags/tag150.xml"/><Relationship Id="rId4" Type="http://schemas.openxmlformats.org/officeDocument/2006/relationships/image" Target="../media/image1.emf"/></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2.xml"/><Relationship Id="rId1" Type="http://schemas.openxmlformats.org/officeDocument/2006/relationships/tags" Target="../tags/tag151.xml"/><Relationship Id="rId5" Type="http://schemas.openxmlformats.org/officeDocument/2006/relationships/image" Target="../media/image1.emf"/><Relationship Id="rId4" Type="http://schemas.openxmlformats.org/officeDocument/2006/relationships/oleObject" Target="../embeddings/oleObject143.bin"/></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4.xml"/><Relationship Id="rId1" Type="http://schemas.openxmlformats.org/officeDocument/2006/relationships/tags" Target="../tags/tag153.xml"/><Relationship Id="rId5" Type="http://schemas.openxmlformats.org/officeDocument/2006/relationships/image" Target="../media/image1.emf"/><Relationship Id="rId4" Type="http://schemas.openxmlformats.org/officeDocument/2006/relationships/oleObject" Target="../embeddings/oleObject144.bin"/></Relationships>
</file>

<file path=ppt/slideLayouts/_rels/slideLayout144.xml.rels><?xml version="1.0" encoding="UTF-8" standalone="yes"?>
<Relationships xmlns="http://schemas.openxmlformats.org/package/2006/relationships"><Relationship Id="rId3" Type="http://schemas.openxmlformats.org/officeDocument/2006/relationships/oleObject" Target="../embeddings/oleObject145.bin"/><Relationship Id="rId2" Type="http://schemas.openxmlformats.org/officeDocument/2006/relationships/slideMaster" Target="../slideMasters/slideMaster3.xml"/><Relationship Id="rId1" Type="http://schemas.openxmlformats.org/officeDocument/2006/relationships/tags" Target="../tags/tag155.xml"/><Relationship Id="rId6" Type="http://schemas.openxmlformats.org/officeDocument/2006/relationships/image" Target="../media/image8.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146.bin"/><Relationship Id="rId2" Type="http://schemas.openxmlformats.org/officeDocument/2006/relationships/slideMaster" Target="../slideMasters/slideMaster3.xml"/><Relationship Id="rId1" Type="http://schemas.openxmlformats.org/officeDocument/2006/relationships/tags" Target="../tags/tag156.xml"/><Relationship Id="rId6" Type="http://schemas.openxmlformats.org/officeDocument/2006/relationships/image" Target="../media/image8.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7.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8.xml"/><Relationship Id="rId6" Type="http://schemas.openxmlformats.org/officeDocument/2006/relationships/image" Target="../media/image8.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3.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47.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7.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7.emf"/></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9.jpeg"/><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image" Target="../media/image4.jpeg"/><Relationship Id="rId9" Type="http://schemas.openxmlformats.org/officeDocument/2006/relationships/image" Target="../media/image6.svg"/></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1.emf"/><Relationship Id="rId5" Type="http://schemas.openxmlformats.org/officeDocument/2006/relationships/oleObject" Target="../embeddings/oleObject49.bin"/><Relationship Id="rId4" Type="http://schemas.openxmlformats.org/officeDocument/2006/relationships/image" Target="../media/image4.jpeg"/></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2.xml"/><Relationship Id="rId1" Type="http://schemas.openxmlformats.org/officeDocument/2006/relationships/tags" Target="../tags/tag55.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2.xml"/><Relationship Id="rId1" Type="http://schemas.openxmlformats.org/officeDocument/2006/relationships/tags" Target="../tags/tag5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57.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58.xml"/><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59.xml"/><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60.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61.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2.xml"/><Relationship Id="rId1" Type="http://schemas.openxmlformats.org/officeDocument/2006/relationships/tags" Target="../tags/tag62.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63.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64.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65.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66.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67.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2.xml"/><Relationship Id="rId1" Type="http://schemas.openxmlformats.org/officeDocument/2006/relationships/tags" Target="../tags/tag68.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2.xml"/><Relationship Id="rId1" Type="http://schemas.openxmlformats.org/officeDocument/2006/relationships/tags" Target="../tags/tag69.xml"/><Relationship Id="rId4" Type="http://schemas.openxmlformats.org/officeDocument/2006/relationships/image" Target="../media/image7.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2.xml"/><Relationship Id="rId1" Type="http://schemas.openxmlformats.org/officeDocument/2006/relationships/tags" Target="../tags/tag70.xml"/><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2.xml"/><Relationship Id="rId1" Type="http://schemas.openxmlformats.org/officeDocument/2006/relationships/tags" Target="../tags/tag71.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72.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73.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2.xml"/><Relationship Id="rId1" Type="http://schemas.openxmlformats.org/officeDocument/2006/relationships/tags" Target="../tags/tag74.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2.xml"/><Relationship Id="rId1" Type="http://schemas.openxmlformats.org/officeDocument/2006/relationships/tags" Target="../tags/tag75.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76.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77.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2.xml"/><Relationship Id="rId1" Type="http://schemas.openxmlformats.org/officeDocument/2006/relationships/tags" Target="../tags/tag78.xml"/><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2.xml"/><Relationship Id="rId1" Type="http://schemas.openxmlformats.org/officeDocument/2006/relationships/tags" Target="../tags/tag79.xml"/><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2.xml"/><Relationship Id="rId1" Type="http://schemas.openxmlformats.org/officeDocument/2006/relationships/tags" Target="../tags/tag80.xml"/><Relationship Id="rId4" Type="http://schemas.openxmlformats.org/officeDocument/2006/relationships/image" Target="../media/image1.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2.xml"/><Relationship Id="rId1" Type="http://schemas.openxmlformats.org/officeDocument/2006/relationships/tags" Target="../tags/tag81.xml"/><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2.xml"/><Relationship Id="rId1" Type="http://schemas.openxmlformats.org/officeDocument/2006/relationships/tags" Target="../tags/tag82.xml"/><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2.xml"/><Relationship Id="rId1" Type="http://schemas.openxmlformats.org/officeDocument/2006/relationships/tags" Target="../tags/tag83.xml"/><Relationship Id="rId4"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2.xml"/><Relationship Id="rId1" Type="http://schemas.openxmlformats.org/officeDocument/2006/relationships/tags" Target="../tags/tag84.xml"/><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2.xml"/><Relationship Id="rId1" Type="http://schemas.openxmlformats.org/officeDocument/2006/relationships/tags" Target="../tags/tag85.xml"/><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2.xml"/><Relationship Id="rId1" Type="http://schemas.openxmlformats.org/officeDocument/2006/relationships/tags" Target="../tags/tag86.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2.xml"/><Relationship Id="rId1" Type="http://schemas.openxmlformats.org/officeDocument/2006/relationships/tags" Target="../tags/tag87.xml"/><Relationship Id="rId4" Type="http://schemas.openxmlformats.org/officeDocument/2006/relationships/image" Target="../media/image1.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2.xml"/><Relationship Id="rId1" Type="http://schemas.openxmlformats.org/officeDocument/2006/relationships/tags" Target="../tags/tag88.xml"/><Relationship Id="rId6" Type="http://schemas.openxmlformats.org/officeDocument/2006/relationships/image" Target="../media/image8.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2.xml"/><Relationship Id="rId1" Type="http://schemas.openxmlformats.org/officeDocument/2006/relationships/tags" Target="../tags/tag89.xml"/><Relationship Id="rId4" Type="http://schemas.openxmlformats.org/officeDocument/2006/relationships/image" Target="../media/image1.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2.xml"/><Relationship Id="rId1" Type="http://schemas.openxmlformats.org/officeDocument/2006/relationships/tags" Target="../tags/tag90.xml"/><Relationship Id="rId4" Type="http://schemas.openxmlformats.org/officeDocument/2006/relationships/image" Target="../media/image1.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2.xml"/><Relationship Id="rId1" Type="http://schemas.openxmlformats.org/officeDocument/2006/relationships/tags" Target="../tags/tag91.xml"/><Relationship Id="rId4" Type="http://schemas.openxmlformats.org/officeDocument/2006/relationships/image" Target="../media/image1.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2.xml"/><Relationship Id="rId1" Type="http://schemas.openxmlformats.org/officeDocument/2006/relationships/tags" Target="../tags/tag92.xml"/><Relationship Id="rId4" Type="http://schemas.openxmlformats.org/officeDocument/2006/relationships/image" Target="../media/image1.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2.xml"/><Relationship Id="rId1" Type="http://schemas.openxmlformats.org/officeDocument/2006/relationships/tags" Target="../tags/tag93.xml"/><Relationship Id="rId4" Type="http://schemas.openxmlformats.org/officeDocument/2006/relationships/image" Target="../media/image1.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2.xml"/><Relationship Id="rId1" Type="http://schemas.openxmlformats.org/officeDocument/2006/relationships/tags" Target="../tags/tag94.xml"/><Relationship Id="rId4" Type="http://schemas.openxmlformats.org/officeDocument/2006/relationships/image" Target="../media/image1.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2.xml"/><Relationship Id="rId1" Type="http://schemas.openxmlformats.org/officeDocument/2006/relationships/tags" Target="../tags/tag95.xml"/><Relationship Id="rId4" Type="http://schemas.openxmlformats.org/officeDocument/2006/relationships/image" Target="../media/image1.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2.xml"/><Relationship Id="rId1" Type="http://schemas.openxmlformats.org/officeDocument/2006/relationships/tags" Target="../tags/tag96.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2.xml"/><Relationship Id="rId1" Type="http://schemas.openxmlformats.org/officeDocument/2006/relationships/tags" Target="../tags/tag97.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7.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2.xml"/><Relationship Id="rId1" Type="http://schemas.openxmlformats.org/officeDocument/2006/relationships/tags" Target="../tags/tag98.xml"/><Relationship Id="rId4" Type="http://schemas.openxmlformats.org/officeDocument/2006/relationships/image" Target="../media/image7.emf"/></Relationships>
</file>

<file path=ppt/slideLayouts/_rels/slideLayout9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2.xml"/><Relationship Id="rId7" Type="http://schemas.openxmlformats.org/officeDocument/2006/relationships/image" Target="../media/image9.jpeg"/><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image" Target="../media/image1.emf"/><Relationship Id="rId5" Type="http://schemas.openxmlformats.org/officeDocument/2006/relationships/oleObject" Target="../embeddings/oleObject94.bin"/><Relationship Id="rId4" Type="http://schemas.openxmlformats.org/officeDocument/2006/relationships/image" Target="../media/image4.jpeg"/><Relationship Id="rId9" Type="http://schemas.openxmlformats.org/officeDocument/2006/relationships/image" Target="../media/image6.svg"/></Relationships>
</file>

<file path=ppt/slideLayouts/_rels/slideLayout93.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Master" Target="../slideMasters/slideMaster3.xml"/><Relationship Id="rId7" Type="http://schemas.openxmlformats.org/officeDocument/2006/relationships/image" Target="../media/image5.png"/><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image" Target="../media/image1.emf"/><Relationship Id="rId5" Type="http://schemas.openxmlformats.org/officeDocument/2006/relationships/oleObject" Target="../embeddings/oleObject96.bin"/><Relationship Id="rId4" Type="http://schemas.openxmlformats.org/officeDocument/2006/relationships/image" Target="../media/image4.jpeg"/></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3.xml"/><Relationship Id="rId1" Type="http://schemas.openxmlformats.org/officeDocument/2006/relationships/tags" Target="../tags/tag105.xml"/><Relationship Id="rId4" Type="http://schemas.openxmlformats.org/officeDocument/2006/relationships/image" Target="../media/image1.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3.xml"/><Relationship Id="rId1" Type="http://schemas.openxmlformats.org/officeDocument/2006/relationships/tags" Target="../tags/tag106.xml"/><Relationship Id="rId4" Type="http://schemas.openxmlformats.org/officeDocument/2006/relationships/image" Target="../media/image1.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3.xml"/><Relationship Id="rId1" Type="http://schemas.openxmlformats.org/officeDocument/2006/relationships/tags" Target="../tags/tag107.xml"/><Relationship Id="rId4" Type="http://schemas.openxmlformats.org/officeDocument/2006/relationships/image" Target="../media/image1.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3.xml"/><Relationship Id="rId1" Type="http://schemas.openxmlformats.org/officeDocument/2006/relationships/tags" Target="../tags/tag108.xml"/><Relationship Id="rId4" Type="http://schemas.openxmlformats.org/officeDocument/2006/relationships/image" Target="../media/image1.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3.xml"/><Relationship Id="rId1" Type="http://schemas.openxmlformats.org/officeDocument/2006/relationships/tags" Target="../tags/tag109.xml"/><Relationship Id="rId4" Type="http://schemas.openxmlformats.org/officeDocument/2006/relationships/image" Target="../media/image1.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3.xml"/><Relationship Id="rId1" Type="http://schemas.openxmlformats.org/officeDocument/2006/relationships/tags" Target="../tags/tag110.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_Aurora only">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extLst>
              <p:ext uri="{D42A27DB-BD31-4B8C-83A1-F6EECF244321}">
                <p14:modId xmlns:p14="http://schemas.microsoft.com/office/powerpoint/2010/main" val="89312465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492" imgH="504" progId="TCLayout.ActiveDocument.1">
                  <p:embed/>
                </p:oleObj>
              </mc:Choice>
              <mc:Fallback>
                <p:oleObj name="think-cell Slide" r:id="rId5" imgW="492" imgH="504" progId="TCLayout.ActiveDocument.1">
                  <p:embed/>
                  <p:pic>
                    <p:nvPicPr>
                      <p:cNvPr id="18" name="Object 17"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D08E92-02C7-40C9-B7CC-A2066E47388E}"/>
              </a:ext>
            </a:extLst>
          </p:cNvPr>
          <p:cNvSpPr/>
          <p:nvPr userDrawn="1">
            <p:custDataLst>
              <p:tags r:id="rId2"/>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spcBef>
                <a:spcPts val="600"/>
              </a:spcBef>
            </a:pPr>
            <a:endParaRPr lang="en-GB" sz="3400" b="1" i="0" baseline="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8" name="07c27c03-86d7-43f9-a4a8-0264cf953919">
            <a:extLst>
              <a:ext uri="{FF2B5EF4-FFF2-40B4-BE49-F238E27FC236}">
                <a16:creationId xmlns:a16="http://schemas.microsoft.com/office/drawing/2014/main" id="{1FC626AE-19AB-4933-9C18-1AA73CB968B5}"/>
              </a:ext>
            </a:extLst>
          </p:cNvPr>
          <p:cNvGrpSpPr/>
          <p:nvPr/>
        </p:nvGrpSpPr>
        <p:grpSpPr>
          <a:xfrm>
            <a:off x="0" y="0"/>
            <a:ext cx="12192000" cy="6858000"/>
            <a:chOff x="0" y="0"/>
            <a:chExt cx="12192000" cy="6858000"/>
          </a:xfrm>
        </p:grpSpPr>
        <p:sp>
          <p:nvSpPr>
            <p:cNvPr id="10" name="Freeform: Shape 9">
              <a:extLst>
                <a:ext uri="{FF2B5EF4-FFF2-40B4-BE49-F238E27FC236}">
                  <a16:creationId xmlns:a16="http://schemas.microsoft.com/office/drawing/2014/main" id="{A18F3B72-2D96-4D16-B281-7A01BFE5536D}"/>
                </a:ext>
              </a:extLst>
            </p:cNvPr>
            <p:cNvSpPr/>
            <p:nvPr/>
          </p:nvSpPr>
          <p:spPr>
            <a:xfrm>
              <a:off x="0" y="0"/>
              <a:ext cx="12192000" cy="6858000"/>
            </a:xfrm>
            <a:custGeom>
              <a:avLst/>
              <a:gdLst>
                <a:gd name="connsiteX0" fmla="*/ 12192000 w 12192000"/>
                <a:gd name="connsiteY0" fmla="*/ 5903927 h 6858000"/>
                <a:gd name="connsiteX1" fmla="*/ 12192000 w 12192000"/>
                <a:gd name="connsiteY1" fmla="*/ 6858000 h 6858000"/>
                <a:gd name="connsiteX2" fmla="*/ 10516834 w 12192000"/>
                <a:gd name="connsiteY2" fmla="*/ 6858000 h 6858000"/>
                <a:gd name="connsiteX3" fmla="*/ 10558223 w 12192000"/>
                <a:gd name="connsiteY3" fmla="*/ 6848448 h 6858000"/>
                <a:gd name="connsiteX4" fmla="*/ 12172382 w 12192000"/>
                <a:gd name="connsiteY4" fmla="*/ 5925512 h 6858000"/>
                <a:gd name="connsiteX5" fmla="*/ 10516834 w 12192000"/>
                <a:gd name="connsiteY5" fmla="*/ 0 h 6858000"/>
                <a:gd name="connsiteX6" fmla="*/ 12192000 w 12192000"/>
                <a:gd name="connsiteY6" fmla="*/ 0 h 6858000"/>
                <a:gd name="connsiteX7" fmla="*/ 12192000 w 12192000"/>
                <a:gd name="connsiteY7" fmla="*/ 954074 h 6858000"/>
                <a:gd name="connsiteX8" fmla="*/ 12172382 w 12192000"/>
                <a:gd name="connsiteY8" fmla="*/ 932489 h 6858000"/>
                <a:gd name="connsiteX9" fmla="*/ 10558223 w 12192000"/>
                <a:gd name="connsiteY9" fmla="*/ 9553 h 6858000"/>
                <a:gd name="connsiteX10" fmla="*/ 0 w 12192000"/>
                <a:gd name="connsiteY10" fmla="*/ 0 h 6858000"/>
                <a:gd name="connsiteX11" fmla="*/ 8834908 w 12192000"/>
                <a:gd name="connsiteY11" fmla="*/ 0 h 6858000"/>
                <a:gd name="connsiteX12" fmla="*/ 8793519 w 12192000"/>
                <a:gd name="connsiteY12" fmla="*/ 9553 h 6858000"/>
                <a:gd name="connsiteX13" fmla="*/ 6145271 w 12192000"/>
                <a:gd name="connsiteY13" fmla="*/ 3429000 h 6858000"/>
                <a:gd name="connsiteX14" fmla="*/ 8793519 w 12192000"/>
                <a:gd name="connsiteY14" fmla="*/ 6848448 h 6858000"/>
                <a:gd name="connsiteX15" fmla="*/ 8834908 w 12192000"/>
                <a:gd name="connsiteY15" fmla="*/ 6858000 h 6858000"/>
                <a:gd name="connsiteX16" fmla="*/ 0 w 12192000"/>
                <a:gd name="connsiteY1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192000" h="6858000">
                  <a:moveTo>
                    <a:pt x="12192000" y="5903927"/>
                  </a:moveTo>
                  <a:lnTo>
                    <a:pt x="12192000" y="6858000"/>
                  </a:lnTo>
                  <a:lnTo>
                    <a:pt x="10516834" y="6858000"/>
                  </a:lnTo>
                  <a:lnTo>
                    <a:pt x="10558223" y="6848448"/>
                  </a:lnTo>
                  <a:cubicBezTo>
                    <a:pt x="11178673" y="6688813"/>
                    <a:pt x="11733130" y="6364764"/>
                    <a:pt x="12172382" y="5925512"/>
                  </a:cubicBezTo>
                  <a:close/>
                  <a:moveTo>
                    <a:pt x="10516834" y="0"/>
                  </a:moveTo>
                  <a:lnTo>
                    <a:pt x="12192000" y="0"/>
                  </a:lnTo>
                  <a:lnTo>
                    <a:pt x="12192000" y="954074"/>
                  </a:lnTo>
                  <a:lnTo>
                    <a:pt x="12172382" y="932489"/>
                  </a:lnTo>
                  <a:cubicBezTo>
                    <a:pt x="11733130" y="493236"/>
                    <a:pt x="11178673" y="169187"/>
                    <a:pt x="10558223" y="9553"/>
                  </a:cubicBezTo>
                  <a:close/>
                  <a:moveTo>
                    <a:pt x="0" y="0"/>
                  </a:moveTo>
                  <a:lnTo>
                    <a:pt x="8834908" y="0"/>
                  </a:lnTo>
                  <a:lnTo>
                    <a:pt x="8793519" y="9553"/>
                  </a:lnTo>
                  <a:cubicBezTo>
                    <a:pt x="7270596" y="401383"/>
                    <a:pt x="6145271" y="1783775"/>
                    <a:pt x="6145271" y="3429000"/>
                  </a:cubicBezTo>
                  <a:cubicBezTo>
                    <a:pt x="6145271" y="5074226"/>
                    <a:pt x="7270596" y="6456617"/>
                    <a:pt x="8793519" y="6848448"/>
                  </a:cubicBezTo>
                  <a:lnTo>
                    <a:pt x="8834908" y="6858000"/>
                  </a:lnTo>
                  <a:lnTo>
                    <a:pt x="0" y="6858000"/>
                  </a:lnTo>
                  <a:close/>
                </a:path>
              </a:pathLst>
            </a:custGeom>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400">
                <a:solidFill>
                  <a:schemeClr val="accent6"/>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 name="Freeform: Shape 10">
              <a:extLst>
                <a:ext uri="{FF2B5EF4-FFF2-40B4-BE49-F238E27FC236}">
                  <a16:creationId xmlns:a16="http://schemas.microsoft.com/office/drawing/2014/main" id="{A4569E97-E2DB-4177-A1BA-8C69D20EF9B6}"/>
                </a:ext>
              </a:extLst>
            </p:cNvPr>
            <p:cNvSpPr>
              <a:spLocks/>
            </p:cNvSpPr>
            <p:nvPr/>
          </p:nvSpPr>
          <p:spPr>
            <a:xfrm>
              <a:off x="5877042" y="0"/>
              <a:ext cx="6314958" cy="6858000"/>
            </a:xfrm>
            <a:custGeom>
              <a:avLst/>
              <a:gdLst>
                <a:gd name="connsiteX0" fmla="*/ 6314958 w 6314958"/>
                <a:gd name="connsiteY0" fmla="*/ 5906568 h 6858000"/>
                <a:gd name="connsiteX1" fmla="*/ 6314958 w 6314958"/>
                <a:gd name="connsiteY1" fmla="*/ 6269729 h 6858000"/>
                <a:gd name="connsiteX2" fmla="*/ 6215237 w 6314958"/>
                <a:gd name="connsiteY2" fmla="*/ 6360361 h 6858000"/>
                <a:gd name="connsiteX3" fmla="*/ 5445778 w 6314958"/>
                <a:gd name="connsiteY3" fmla="*/ 6853223 h 6858000"/>
                <a:gd name="connsiteX4" fmla="*/ 5435212 w 6314958"/>
                <a:gd name="connsiteY4" fmla="*/ 6858000 h 6858000"/>
                <a:gd name="connsiteX5" fmla="*/ 4647701 w 6314958"/>
                <a:gd name="connsiteY5" fmla="*/ 6858000 h 6858000"/>
                <a:gd name="connsiteX6" fmla="*/ 4681626 w 6314958"/>
                <a:gd name="connsiteY6" fmla="*/ 6850171 h 6858000"/>
                <a:gd name="connsiteX7" fmla="*/ 5173790 w 6314958"/>
                <a:gd name="connsiteY7" fmla="*/ 6683787 h 6858000"/>
                <a:gd name="connsiteX8" fmla="*/ 5271135 w 6314958"/>
                <a:gd name="connsiteY8" fmla="*/ 6636894 h 6858000"/>
                <a:gd name="connsiteX9" fmla="*/ 5348751 w 6314958"/>
                <a:gd name="connsiteY9" fmla="*/ 6602092 h 6858000"/>
                <a:gd name="connsiteX10" fmla="*/ 5400784 w 6314958"/>
                <a:gd name="connsiteY10" fmla="*/ 6574439 h 6858000"/>
                <a:gd name="connsiteX11" fmla="*/ 5482571 w 6314958"/>
                <a:gd name="connsiteY11" fmla="*/ 6535040 h 6858000"/>
                <a:gd name="connsiteX12" fmla="*/ 5536048 w 6314958"/>
                <a:gd name="connsiteY12" fmla="*/ 6502552 h 6858000"/>
                <a:gd name="connsiteX13" fmla="*/ 5556210 w 6314958"/>
                <a:gd name="connsiteY13" fmla="*/ 6491837 h 6858000"/>
                <a:gd name="connsiteX14" fmla="*/ 5678830 w 6314958"/>
                <a:gd name="connsiteY14" fmla="*/ 6415809 h 6858000"/>
                <a:gd name="connsiteX15" fmla="*/ 5773816 w 6314958"/>
                <a:gd name="connsiteY15" fmla="*/ 6358104 h 6858000"/>
                <a:gd name="connsiteX16" fmla="*/ 5866153 w 6314958"/>
                <a:gd name="connsiteY16" fmla="*/ 6289055 h 6858000"/>
                <a:gd name="connsiteX17" fmla="*/ 5945069 w 6314958"/>
                <a:gd name="connsiteY17" fmla="*/ 6232582 h 6858000"/>
                <a:gd name="connsiteX18" fmla="*/ 5980102 w 6314958"/>
                <a:gd name="connsiteY18" fmla="*/ 6203847 h 6858000"/>
                <a:gd name="connsiteX19" fmla="*/ 6045750 w 6314958"/>
                <a:gd name="connsiteY19" fmla="*/ 6154756 h 6858000"/>
                <a:gd name="connsiteX20" fmla="*/ 6099423 w 6314958"/>
                <a:gd name="connsiteY20" fmla="*/ 6105974 h 6858000"/>
                <a:gd name="connsiteX21" fmla="*/ 6125316 w 6314958"/>
                <a:gd name="connsiteY21" fmla="*/ 6084735 h 6858000"/>
                <a:gd name="connsiteX22" fmla="*/ 6208411 w 6314958"/>
                <a:gd name="connsiteY22" fmla="*/ 6006920 h 6858000"/>
                <a:gd name="connsiteX23" fmla="*/ 6296598 w 6314958"/>
                <a:gd name="connsiteY23" fmla="*/ 5926769 h 6858000"/>
                <a:gd name="connsiteX24" fmla="*/ 4647701 w 6314958"/>
                <a:gd name="connsiteY24" fmla="*/ 0 h 6858000"/>
                <a:gd name="connsiteX25" fmla="*/ 5435212 w 6314958"/>
                <a:gd name="connsiteY25" fmla="*/ 0 h 6858000"/>
                <a:gd name="connsiteX26" fmla="*/ 5445778 w 6314958"/>
                <a:gd name="connsiteY26" fmla="*/ 4777 h 6858000"/>
                <a:gd name="connsiteX27" fmla="*/ 6215237 w 6314958"/>
                <a:gd name="connsiteY27" fmla="*/ 497639 h 6858000"/>
                <a:gd name="connsiteX28" fmla="*/ 6314958 w 6314958"/>
                <a:gd name="connsiteY28" fmla="*/ 588272 h 6858000"/>
                <a:gd name="connsiteX29" fmla="*/ 6314958 w 6314958"/>
                <a:gd name="connsiteY29" fmla="*/ 951432 h 6858000"/>
                <a:gd name="connsiteX30" fmla="*/ 6296598 w 6314958"/>
                <a:gd name="connsiteY30" fmla="*/ 931231 h 6858000"/>
                <a:gd name="connsiteX31" fmla="*/ 6208380 w 6314958"/>
                <a:gd name="connsiteY31" fmla="*/ 851053 h 6858000"/>
                <a:gd name="connsiteX32" fmla="*/ 6125316 w 6314958"/>
                <a:gd name="connsiteY32" fmla="*/ 773266 h 6858000"/>
                <a:gd name="connsiteX33" fmla="*/ 6099430 w 6314958"/>
                <a:gd name="connsiteY33" fmla="*/ 752033 h 6858000"/>
                <a:gd name="connsiteX34" fmla="*/ 6045750 w 6314958"/>
                <a:gd name="connsiteY34" fmla="*/ 703245 h 6858000"/>
                <a:gd name="connsiteX35" fmla="*/ 5980095 w 6314958"/>
                <a:gd name="connsiteY35" fmla="*/ 654149 h 6858000"/>
                <a:gd name="connsiteX36" fmla="*/ 5945069 w 6314958"/>
                <a:gd name="connsiteY36" fmla="*/ 625419 h 6858000"/>
                <a:gd name="connsiteX37" fmla="*/ 5866166 w 6314958"/>
                <a:gd name="connsiteY37" fmla="*/ 568954 h 6858000"/>
                <a:gd name="connsiteX38" fmla="*/ 5773816 w 6314958"/>
                <a:gd name="connsiteY38" fmla="*/ 499896 h 6858000"/>
                <a:gd name="connsiteX39" fmla="*/ 5678803 w 6314958"/>
                <a:gd name="connsiteY39" fmla="*/ 442174 h 6858000"/>
                <a:gd name="connsiteX40" fmla="*/ 5556210 w 6314958"/>
                <a:gd name="connsiteY40" fmla="*/ 366164 h 6858000"/>
                <a:gd name="connsiteX41" fmla="*/ 5536052 w 6314958"/>
                <a:gd name="connsiteY41" fmla="*/ 355451 h 6858000"/>
                <a:gd name="connsiteX42" fmla="*/ 5482571 w 6314958"/>
                <a:gd name="connsiteY42" fmla="*/ 322960 h 6858000"/>
                <a:gd name="connsiteX43" fmla="*/ 5400777 w 6314958"/>
                <a:gd name="connsiteY43" fmla="*/ 283558 h 6858000"/>
                <a:gd name="connsiteX44" fmla="*/ 5348751 w 6314958"/>
                <a:gd name="connsiteY44" fmla="*/ 255909 h 6858000"/>
                <a:gd name="connsiteX45" fmla="*/ 5271147 w 6314958"/>
                <a:gd name="connsiteY45" fmla="*/ 221112 h 6858000"/>
                <a:gd name="connsiteX46" fmla="*/ 5173790 w 6314958"/>
                <a:gd name="connsiteY46" fmla="*/ 174213 h 6858000"/>
                <a:gd name="connsiteX47" fmla="*/ 4681626 w 6314958"/>
                <a:gd name="connsiteY47" fmla="*/ 7830 h 6858000"/>
                <a:gd name="connsiteX48" fmla="*/ 2162446 w 6314958"/>
                <a:gd name="connsiteY48" fmla="*/ 0 h 6858000"/>
                <a:gd name="connsiteX49" fmla="*/ 2949957 w 6314958"/>
                <a:gd name="connsiteY49" fmla="*/ 0 h 6858000"/>
                <a:gd name="connsiteX50" fmla="*/ 2916032 w 6314958"/>
                <a:gd name="connsiteY50" fmla="*/ 7830 h 6858000"/>
                <a:gd name="connsiteX51" fmla="*/ 2423868 w 6314958"/>
                <a:gd name="connsiteY51" fmla="*/ 174213 h 6858000"/>
                <a:gd name="connsiteX52" fmla="*/ 2375455 w 6314958"/>
                <a:gd name="connsiteY52" fmla="*/ 197535 h 6858000"/>
                <a:gd name="connsiteX53" fmla="*/ 2365440 w 6314958"/>
                <a:gd name="connsiteY53" fmla="*/ 201501 h 6858000"/>
                <a:gd name="connsiteX54" fmla="*/ 2300569 w 6314958"/>
                <a:gd name="connsiteY54" fmla="*/ 233609 h 6858000"/>
                <a:gd name="connsiteX55" fmla="*/ 2115088 w 6314958"/>
                <a:gd name="connsiteY55" fmla="*/ 322960 h 6858000"/>
                <a:gd name="connsiteX56" fmla="*/ 1863446 w 6314958"/>
                <a:gd name="connsiteY56" fmla="*/ 475836 h 6858000"/>
                <a:gd name="connsiteX57" fmla="*/ 1860205 w 6314958"/>
                <a:gd name="connsiteY57" fmla="*/ 477785 h 6858000"/>
                <a:gd name="connsiteX58" fmla="*/ 1860025 w 6314958"/>
                <a:gd name="connsiteY58" fmla="*/ 477915 h 6858000"/>
                <a:gd name="connsiteX59" fmla="*/ 1823843 w 6314958"/>
                <a:gd name="connsiteY59" fmla="*/ 499896 h 6858000"/>
                <a:gd name="connsiteX60" fmla="*/ 1690354 w 6314958"/>
                <a:gd name="connsiteY60" fmla="*/ 599717 h 6858000"/>
                <a:gd name="connsiteX61" fmla="*/ 1627429 w 6314958"/>
                <a:gd name="connsiteY61" fmla="*/ 644889 h 6858000"/>
                <a:gd name="connsiteX62" fmla="*/ 1608663 w 6314958"/>
                <a:gd name="connsiteY62" fmla="*/ 660805 h 6858000"/>
                <a:gd name="connsiteX63" fmla="*/ 1551908 w 6314958"/>
                <a:gd name="connsiteY63" fmla="*/ 703245 h 6858000"/>
                <a:gd name="connsiteX64" fmla="*/ 1458256 w 6314958"/>
                <a:gd name="connsiteY64" fmla="*/ 788362 h 6858000"/>
                <a:gd name="connsiteX65" fmla="*/ 1409302 w 6314958"/>
                <a:gd name="connsiteY65" fmla="*/ 829879 h 6858000"/>
                <a:gd name="connsiteX66" fmla="*/ 1375552 w 6314958"/>
                <a:gd name="connsiteY66" fmla="*/ 863529 h 6858000"/>
                <a:gd name="connsiteX67" fmla="*/ 1301060 w 6314958"/>
                <a:gd name="connsiteY67" fmla="*/ 931231 h 6858000"/>
                <a:gd name="connsiteX68" fmla="*/ 1237457 w 6314958"/>
                <a:gd name="connsiteY68" fmla="*/ 1001213 h 6858000"/>
                <a:gd name="connsiteX69" fmla="*/ 1206889 w 6314958"/>
                <a:gd name="connsiteY69" fmla="*/ 1031689 h 6858000"/>
                <a:gd name="connsiteX70" fmla="*/ 1162896 w 6314958"/>
                <a:gd name="connsiteY70" fmla="*/ 1083250 h 6858000"/>
                <a:gd name="connsiteX71" fmla="*/ 1073074 w 6314958"/>
                <a:gd name="connsiteY71" fmla="*/ 1182079 h 6858000"/>
                <a:gd name="connsiteX72" fmla="*/ 1034080 w 6314958"/>
                <a:gd name="connsiteY72" fmla="*/ 1234225 h 6858000"/>
                <a:gd name="connsiteX73" fmla="*/ 1021257 w 6314958"/>
                <a:gd name="connsiteY73" fmla="*/ 1249253 h 6858000"/>
                <a:gd name="connsiteX74" fmla="*/ 976117 w 6314958"/>
                <a:gd name="connsiteY74" fmla="*/ 1311738 h 6858000"/>
                <a:gd name="connsiteX75" fmla="*/ 869725 w 6314958"/>
                <a:gd name="connsiteY75" fmla="*/ 1454013 h 6858000"/>
                <a:gd name="connsiteX76" fmla="*/ 692789 w 6314958"/>
                <a:gd name="connsiteY76" fmla="*/ 1745259 h 6858000"/>
                <a:gd name="connsiteX77" fmla="*/ 610933 w 6314958"/>
                <a:gd name="connsiteY77" fmla="*/ 1915182 h 6858000"/>
                <a:gd name="connsiteX78" fmla="*/ 575706 w 6314958"/>
                <a:gd name="connsiteY78" fmla="*/ 1985812 h 6858000"/>
                <a:gd name="connsiteX79" fmla="*/ 569857 w 6314958"/>
                <a:gd name="connsiteY79" fmla="*/ 2000450 h 6858000"/>
                <a:gd name="connsiteX80" fmla="*/ 544042 w 6314958"/>
                <a:gd name="connsiteY80" fmla="*/ 2054039 h 6858000"/>
                <a:gd name="connsiteX81" fmla="*/ 496009 w 6314958"/>
                <a:gd name="connsiteY81" fmla="*/ 2185276 h 6858000"/>
                <a:gd name="connsiteX82" fmla="*/ 467857 w 6314958"/>
                <a:gd name="connsiteY82" fmla="*/ 2255733 h 6858000"/>
                <a:gd name="connsiteX83" fmla="*/ 455842 w 6314958"/>
                <a:gd name="connsiteY83" fmla="*/ 2295020 h 6858000"/>
                <a:gd name="connsiteX84" fmla="*/ 425259 w 6314958"/>
                <a:gd name="connsiteY84" fmla="*/ 2378579 h 6858000"/>
                <a:gd name="connsiteX85" fmla="*/ 398714 w 6314958"/>
                <a:gd name="connsiteY85" fmla="*/ 2481816 h 6858000"/>
                <a:gd name="connsiteX86" fmla="*/ 382119 w 6314958"/>
                <a:gd name="connsiteY86" fmla="*/ 2536079 h 6858000"/>
                <a:gd name="connsiteX87" fmla="*/ 368259 w 6314958"/>
                <a:gd name="connsiteY87" fmla="*/ 2600260 h 6858000"/>
                <a:gd name="connsiteX88" fmla="*/ 338216 w 6314958"/>
                <a:gd name="connsiteY88" fmla="*/ 2717103 h 6858000"/>
                <a:gd name="connsiteX89" fmla="*/ 326621 w 6314958"/>
                <a:gd name="connsiteY89" fmla="*/ 2793072 h 6858000"/>
                <a:gd name="connsiteX90" fmla="*/ 319558 w 6314958"/>
                <a:gd name="connsiteY90" fmla="*/ 2825782 h 6858000"/>
                <a:gd name="connsiteX91" fmla="*/ 308473 w 6314958"/>
                <a:gd name="connsiteY91" fmla="*/ 2911989 h 6858000"/>
                <a:gd name="connsiteX92" fmla="*/ 284688 w 6314958"/>
                <a:gd name="connsiteY92" fmla="*/ 3067835 h 6858000"/>
                <a:gd name="connsiteX93" fmla="*/ 282266 w 6314958"/>
                <a:gd name="connsiteY93" fmla="*/ 3115792 h 6858000"/>
                <a:gd name="connsiteX94" fmla="*/ 281239 w 6314958"/>
                <a:gd name="connsiteY94" fmla="*/ 3123778 h 6858000"/>
                <a:gd name="connsiteX95" fmla="*/ 277862 w 6314958"/>
                <a:gd name="connsiteY95" fmla="*/ 3203005 h 6858000"/>
                <a:gd name="connsiteX96" fmla="*/ 266450 w 6314958"/>
                <a:gd name="connsiteY96" fmla="*/ 3429000 h 6858000"/>
                <a:gd name="connsiteX97" fmla="*/ 277862 w 6314958"/>
                <a:gd name="connsiteY97" fmla="*/ 3654994 h 6858000"/>
                <a:gd name="connsiteX98" fmla="*/ 281239 w 6314958"/>
                <a:gd name="connsiteY98" fmla="*/ 3734222 h 6858000"/>
                <a:gd name="connsiteX99" fmla="*/ 282266 w 6314958"/>
                <a:gd name="connsiteY99" fmla="*/ 3742209 h 6858000"/>
                <a:gd name="connsiteX100" fmla="*/ 284688 w 6314958"/>
                <a:gd name="connsiteY100" fmla="*/ 3790165 h 6858000"/>
                <a:gd name="connsiteX101" fmla="*/ 308472 w 6314958"/>
                <a:gd name="connsiteY101" fmla="*/ 3946009 h 6858000"/>
                <a:gd name="connsiteX102" fmla="*/ 319558 w 6314958"/>
                <a:gd name="connsiteY102" fmla="*/ 4032218 h 6858000"/>
                <a:gd name="connsiteX103" fmla="*/ 326622 w 6314958"/>
                <a:gd name="connsiteY103" fmla="*/ 4064929 h 6858000"/>
                <a:gd name="connsiteX104" fmla="*/ 338216 w 6314958"/>
                <a:gd name="connsiteY104" fmla="*/ 4140898 h 6858000"/>
                <a:gd name="connsiteX105" fmla="*/ 368259 w 6314958"/>
                <a:gd name="connsiteY105" fmla="*/ 4257739 h 6858000"/>
                <a:gd name="connsiteX106" fmla="*/ 382119 w 6314958"/>
                <a:gd name="connsiteY106" fmla="*/ 4321922 h 6858000"/>
                <a:gd name="connsiteX107" fmla="*/ 398715 w 6314958"/>
                <a:gd name="connsiteY107" fmla="*/ 4376187 h 6858000"/>
                <a:gd name="connsiteX108" fmla="*/ 425259 w 6314958"/>
                <a:gd name="connsiteY108" fmla="*/ 4479422 h 6858000"/>
                <a:gd name="connsiteX109" fmla="*/ 455841 w 6314958"/>
                <a:gd name="connsiteY109" fmla="*/ 4562978 h 6858000"/>
                <a:gd name="connsiteX110" fmla="*/ 467857 w 6314958"/>
                <a:gd name="connsiteY110" fmla="*/ 4602268 h 6858000"/>
                <a:gd name="connsiteX111" fmla="*/ 496011 w 6314958"/>
                <a:gd name="connsiteY111" fmla="*/ 4672730 h 6858000"/>
                <a:gd name="connsiteX112" fmla="*/ 544042 w 6314958"/>
                <a:gd name="connsiteY112" fmla="*/ 4803962 h 6858000"/>
                <a:gd name="connsiteX113" fmla="*/ 569856 w 6314958"/>
                <a:gd name="connsiteY113" fmla="*/ 4857548 h 6858000"/>
                <a:gd name="connsiteX114" fmla="*/ 575706 w 6314958"/>
                <a:gd name="connsiteY114" fmla="*/ 4872189 h 6858000"/>
                <a:gd name="connsiteX115" fmla="*/ 610939 w 6314958"/>
                <a:gd name="connsiteY115" fmla="*/ 4942832 h 6858000"/>
                <a:gd name="connsiteX116" fmla="*/ 692789 w 6314958"/>
                <a:gd name="connsiteY116" fmla="*/ 5112742 h 6858000"/>
                <a:gd name="connsiteX117" fmla="*/ 869725 w 6314958"/>
                <a:gd name="connsiteY117" fmla="*/ 5403987 h 6858000"/>
                <a:gd name="connsiteX118" fmla="*/ 976106 w 6314958"/>
                <a:gd name="connsiteY118" fmla="*/ 5546248 h 6858000"/>
                <a:gd name="connsiteX119" fmla="*/ 1021257 w 6314958"/>
                <a:gd name="connsiteY119" fmla="*/ 5608747 h 6858000"/>
                <a:gd name="connsiteX120" fmla="*/ 1034083 w 6314958"/>
                <a:gd name="connsiteY120" fmla="*/ 5623780 h 6858000"/>
                <a:gd name="connsiteX121" fmla="*/ 1073074 w 6314958"/>
                <a:gd name="connsiteY121" fmla="*/ 5675921 h 6858000"/>
                <a:gd name="connsiteX122" fmla="*/ 1162889 w 6314958"/>
                <a:gd name="connsiteY122" fmla="*/ 5774742 h 6858000"/>
                <a:gd name="connsiteX123" fmla="*/ 1206889 w 6314958"/>
                <a:gd name="connsiteY123" fmla="*/ 5826312 h 6858000"/>
                <a:gd name="connsiteX124" fmla="*/ 1237462 w 6314958"/>
                <a:gd name="connsiteY124" fmla="*/ 5856794 h 6858000"/>
                <a:gd name="connsiteX125" fmla="*/ 1301060 w 6314958"/>
                <a:gd name="connsiteY125" fmla="*/ 5926769 h 6858000"/>
                <a:gd name="connsiteX126" fmla="*/ 1375546 w 6314958"/>
                <a:gd name="connsiteY126" fmla="*/ 5994467 h 6858000"/>
                <a:gd name="connsiteX127" fmla="*/ 1409302 w 6314958"/>
                <a:gd name="connsiteY127" fmla="*/ 6028122 h 6858000"/>
                <a:gd name="connsiteX128" fmla="*/ 1458264 w 6314958"/>
                <a:gd name="connsiteY128" fmla="*/ 6069646 h 6858000"/>
                <a:gd name="connsiteX129" fmla="*/ 1551908 w 6314958"/>
                <a:gd name="connsiteY129" fmla="*/ 6154756 h 6858000"/>
                <a:gd name="connsiteX130" fmla="*/ 1608657 w 6314958"/>
                <a:gd name="connsiteY130" fmla="*/ 6197192 h 6858000"/>
                <a:gd name="connsiteX131" fmla="*/ 1627429 w 6314958"/>
                <a:gd name="connsiteY131" fmla="*/ 6213112 h 6858000"/>
                <a:gd name="connsiteX132" fmla="*/ 1690373 w 6314958"/>
                <a:gd name="connsiteY132" fmla="*/ 6258298 h 6858000"/>
                <a:gd name="connsiteX133" fmla="*/ 1823843 w 6314958"/>
                <a:gd name="connsiteY133" fmla="*/ 6358104 h 6858000"/>
                <a:gd name="connsiteX134" fmla="*/ 1860020 w 6314958"/>
                <a:gd name="connsiteY134" fmla="*/ 6380082 h 6858000"/>
                <a:gd name="connsiteX135" fmla="*/ 1860205 w 6314958"/>
                <a:gd name="connsiteY135" fmla="*/ 6380216 h 6858000"/>
                <a:gd name="connsiteX136" fmla="*/ 1863538 w 6314958"/>
                <a:gd name="connsiteY136" fmla="*/ 6382220 h 6858000"/>
                <a:gd name="connsiteX137" fmla="*/ 2115088 w 6314958"/>
                <a:gd name="connsiteY137" fmla="*/ 6535040 h 6858000"/>
                <a:gd name="connsiteX138" fmla="*/ 2300511 w 6314958"/>
                <a:gd name="connsiteY138" fmla="*/ 6624363 h 6858000"/>
                <a:gd name="connsiteX139" fmla="*/ 2365440 w 6314958"/>
                <a:gd name="connsiteY139" fmla="*/ 6656500 h 6858000"/>
                <a:gd name="connsiteX140" fmla="*/ 2375464 w 6314958"/>
                <a:gd name="connsiteY140" fmla="*/ 6660470 h 6858000"/>
                <a:gd name="connsiteX141" fmla="*/ 2423868 w 6314958"/>
                <a:gd name="connsiteY141" fmla="*/ 6683787 h 6858000"/>
                <a:gd name="connsiteX142" fmla="*/ 2916032 w 6314958"/>
                <a:gd name="connsiteY142" fmla="*/ 6850171 h 6858000"/>
                <a:gd name="connsiteX143" fmla="*/ 2949957 w 6314958"/>
                <a:gd name="connsiteY143" fmla="*/ 6858000 h 6858000"/>
                <a:gd name="connsiteX144" fmla="*/ 2162446 w 6314958"/>
                <a:gd name="connsiteY144" fmla="*/ 6858000 h 6858000"/>
                <a:gd name="connsiteX145" fmla="*/ 2151880 w 6314958"/>
                <a:gd name="connsiteY145" fmla="*/ 6853223 h 6858000"/>
                <a:gd name="connsiteX146" fmla="*/ 0 w 6314958"/>
                <a:gd name="connsiteY146" fmla="*/ 3429000 h 6858000"/>
                <a:gd name="connsiteX147" fmla="*/ 2151880 w 6314958"/>
                <a:gd name="connsiteY147" fmla="*/ 477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6314958" h="6858000">
                  <a:moveTo>
                    <a:pt x="6314958" y="5906568"/>
                  </a:moveTo>
                  <a:lnTo>
                    <a:pt x="6314958" y="6269729"/>
                  </a:lnTo>
                  <a:lnTo>
                    <a:pt x="6215237" y="6360361"/>
                  </a:lnTo>
                  <a:cubicBezTo>
                    <a:pt x="5980715" y="6553906"/>
                    <a:pt x="5722571" y="6719851"/>
                    <a:pt x="5445778" y="6853223"/>
                  </a:cubicBezTo>
                  <a:lnTo>
                    <a:pt x="5435212" y="6858000"/>
                  </a:lnTo>
                  <a:lnTo>
                    <a:pt x="4647701" y="6858000"/>
                  </a:lnTo>
                  <a:lnTo>
                    <a:pt x="4681626" y="6850171"/>
                  </a:lnTo>
                  <a:cubicBezTo>
                    <a:pt x="4850924" y="6806612"/>
                    <a:pt x="5015312" y="6750818"/>
                    <a:pt x="5173790" y="6683787"/>
                  </a:cubicBezTo>
                  <a:lnTo>
                    <a:pt x="5271135" y="6636894"/>
                  </a:lnTo>
                  <a:lnTo>
                    <a:pt x="5348751" y="6602092"/>
                  </a:lnTo>
                  <a:lnTo>
                    <a:pt x="5400784" y="6574439"/>
                  </a:lnTo>
                  <a:lnTo>
                    <a:pt x="5482571" y="6535040"/>
                  </a:lnTo>
                  <a:lnTo>
                    <a:pt x="5536048" y="6502552"/>
                  </a:lnTo>
                  <a:lnTo>
                    <a:pt x="5556210" y="6491837"/>
                  </a:lnTo>
                  <a:lnTo>
                    <a:pt x="5678830" y="6415809"/>
                  </a:lnTo>
                  <a:lnTo>
                    <a:pt x="5773816" y="6358104"/>
                  </a:lnTo>
                  <a:lnTo>
                    <a:pt x="5866153" y="6289055"/>
                  </a:lnTo>
                  <a:lnTo>
                    <a:pt x="5945069" y="6232582"/>
                  </a:lnTo>
                  <a:lnTo>
                    <a:pt x="5980102" y="6203847"/>
                  </a:lnTo>
                  <a:lnTo>
                    <a:pt x="6045750" y="6154756"/>
                  </a:lnTo>
                  <a:lnTo>
                    <a:pt x="6099423" y="6105974"/>
                  </a:lnTo>
                  <a:lnTo>
                    <a:pt x="6125316" y="6084735"/>
                  </a:lnTo>
                  <a:lnTo>
                    <a:pt x="6208411" y="6006920"/>
                  </a:lnTo>
                  <a:lnTo>
                    <a:pt x="6296598" y="5926769"/>
                  </a:lnTo>
                  <a:close/>
                  <a:moveTo>
                    <a:pt x="4647701" y="0"/>
                  </a:moveTo>
                  <a:lnTo>
                    <a:pt x="5435212" y="0"/>
                  </a:lnTo>
                  <a:lnTo>
                    <a:pt x="5445778" y="4777"/>
                  </a:lnTo>
                  <a:cubicBezTo>
                    <a:pt x="5722571" y="138149"/>
                    <a:pt x="5980715" y="304094"/>
                    <a:pt x="6215237" y="497639"/>
                  </a:cubicBezTo>
                  <a:lnTo>
                    <a:pt x="6314958" y="588272"/>
                  </a:lnTo>
                  <a:lnTo>
                    <a:pt x="6314958" y="951432"/>
                  </a:lnTo>
                  <a:lnTo>
                    <a:pt x="6296598" y="931231"/>
                  </a:lnTo>
                  <a:lnTo>
                    <a:pt x="6208380" y="851053"/>
                  </a:lnTo>
                  <a:lnTo>
                    <a:pt x="6125316" y="773266"/>
                  </a:lnTo>
                  <a:lnTo>
                    <a:pt x="6099430" y="752033"/>
                  </a:lnTo>
                  <a:lnTo>
                    <a:pt x="6045750" y="703245"/>
                  </a:lnTo>
                  <a:lnTo>
                    <a:pt x="5980095" y="654149"/>
                  </a:lnTo>
                  <a:lnTo>
                    <a:pt x="5945069" y="625419"/>
                  </a:lnTo>
                  <a:lnTo>
                    <a:pt x="5866166" y="568954"/>
                  </a:lnTo>
                  <a:lnTo>
                    <a:pt x="5773816" y="499896"/>
                  </a:lnTo>
                  <a:lnTo>
                    <a:pt x="5678803" y="442174"/>
                  </a:lnTo>
                  <a:lnTo>
                    <a:pt x="5556210" y="366164"/>
                  </a:lnTo>
                  <a:lnTo>
                    <a:pt x="5536052" y="355451"/>
                  </a:lnTo>
                  <a:lnTo>
                    <a:pt x="5482571" y="322960"/>
                  </a:lnTo>
                  <a:lnTo>
                    <a:pt x="5400777" y="283558"/>
                  </a:lnTo>
                  <a:lnTo>
                    <a:pt x="5348751" y="255909"/>
                  </a:lnTo>
                  <a:lnTo>
                    <a:pt x="5271147" y="221112"/>
                  </a:lnTo>
                  <a:lnTo>
                    <a:pt x="5173790" y="174213"/>
                  </a:lnTo>
                  <a:cubicBezTo>
                    <a:pt x="5015312" y="107182"/>
                    <a:pt x="4850924" y="51388"/>
                    <a:pt x="4681626" y="7830"/>
                  </a:cubicBezTo>
                  <a:close/>
                  <a:moveTo>
                    <a:pt x="2162446" y="0"/>
                  </a:moveTo>
                  <a:lnTo>
                    <a:pt x="2949957" y="0"/>
                  </a:lnTo>
                  <a:lnTo>
                    <a:pt x="2916032" y="7830"/>
                  </a:lnTo>
                  <a:cubicBezTo>
                    <a:pt x="2746734" y="51388"/>
                    <a:pt x="2582346" y="107182"/>
                    <a:pt x="2423868" y="174213"/>
                  </a:cubicBezTo>
                  <a:lnTo>
                    <a:pt x="2375455" y="197535"/>
                  </a:lnTo>
                  <a:lnTo>
                    <a:pt x="2365440" y="201501"/>
                  </a:lnTo>
                  <a:lnTo>
                    <a:pt x="2300569" y="233609"/>
                  </a:lnTo>
                  <a:lnTo>
                    <a:pt x="2115088" y="322960"/>
                  </a:lnTo>
                  <a:lnTo>
                    <a:pt x="1863446" y="475836"/>
                  </a:lnTo>
                  <a:lnTo>
                    <a:pt x="1860205" y="477785"/>
                  </a:lnTo>
                  <a:lnTo>
                    <a:pt x="1860025" y="477915"/>
                  </a:lnTo>
                  <a:lnTo>
                    <a:pt x="1823843" y="499896"/>
                  </a:lnTo>
                  <a:lnTo>
                    <a:pt x="1690354" y="599717"/>
                  </a:lnTo>
                  <a:lnTo>
                    <a:pt x="1627429" y="644889"/>
                  </a:lnTo>
                  <a:lnTo>
                    <a:pt x="1608663" y="660805"/>
                  </a:lnTo>
                  <a:lnTo>
                    <a:pt x="1551908" y="703245"/>
                  </a:lnTo>
                  <a:lnTo>
                    <a:pt x="1458256" y="788362"/>
                  </a:lnTo>
                  <a:lnTo>
                    <a:pt x="1409302" y="829879"/>
                  </a:lnTo>
                  <a:lnTo>
                    <a:pt x="1375552" y="863529"/>
                  </a:lnTo>
                  <a:lnTo>
                    <a:pt x="1301060" y="931231"/>
                  </a:lnTo>
                  <a:lnTo>
                    <a:pt x="1237457" y="1001213"/>
                  </a:lnTo>
                  <a:lnTo>
                    <a:pt x="1206889" y="1031689"/>
                  </a:lnTo>
                  <a:lnTo>
                    <a:pt x="1162896" y="1083250"/>
                  </a:lnTo>
                  <a:lnTo>
                    <a:pt x="1073074" y="1182079"/>
                  </a:lnTo>
                  <a:lnTo>
                    <a:pt x="1034080" y="1234225"/>
                  </a:lnTo>
                  <a:lnTo>
                    <a:pt x="1021257" y="1249253"/>
                  </a:lnTo>
                  <a:lnTo>
                    <a:pt x="976117" y="1311738"/>
                  </a:lnTo>
                  <a:lnTo>
                    <a:pt x="869725" y="1454013"/>
                  </a:lnTo>
                  <a:cubicBezTo>
                    <a:pt x="806246" y="1547975"/>
                    <a:pt x="747169" y="1645156"/>
                    <a:pt x="692789" y="1745259"/>
                  </a:cubicBezTo>
                  <a:lnTo>
                    <a:pt x="610933" y="1915182"/>
                  </a:lnTo>
                  <a:lnTo>
                    <a:pt x="575706" y="1985812"/>
                  </a:lnTo>
                  <a:lnTo>
                    <a:pt x="569857" y="2000450"/>
                  </a:lnTo>
                  <a:lnTo>
                    <a:pt x="544042" y="2054039"/>
                  </a:lnTo>
                  <a:lnTo>
                    <a:pt x="496009" y="2185276"/>
                  </a:lnTo>
                  <a:lnTo>
                    <a:pt x="467857" y="2255733"/>
                  </a:lnTo>
                  <a:lnTo>
                    <a:pt x="455842" y="2295020"/>
                  </a:lnTo>
                  <a:lnTo>
                    <a:pt x="425259" y="2378579"/>
                  </a:lnTo>
                  <a:lnTo>
                    <a:pt x="398714" y="2481816"/>
                  </a:lnTo>
                  <a:lnTo>
                    <a:pt x="382119" y="2536079"/>
                  </a:lnTo>
                  <a:lnTo>
                    <a:pt x="368259" y="2600260"/>
                  </a:lnTo>
                  <a:lnTo>
                    <a:pt x="338216" y="2717103"/>
                  </a:lnTo>
                  <a:lnTo>
                    <a:pt x="326621" y="2793072"/>
                  </a:lnTo>
                  <a:lnTo>
                    <a:pt x="319558" y="2825782"/>
                  </a:lnTo>
                  <a:lnTo>
                    <a:pt x="308473" y="2911989"/>
                  </a:lnTo>
                  <a:lnTo>
                    <a:pt x="284688" y="3067835"/>
                  </a:lnTo>
                  <a:lnTo>
                    <a:pt x="282266" y="3115792"/>
                  </a:lnTo>
                  <a:lnTo>
                    <a:pt x="281239" y="3123778"/>
                  </a:lnTo>
                  <a:lnTo>
                    <a:pt x="277862" y="3203005"/>
                  </a:lnTo>
                  <a:lnTo>
                    <a:pt x="266450" y="3429000"/>
                  </a:lnTo>
                  <a:lnTo>
                    <a:pt x="277862" y="3654994"/>
                  </a:lnTo>
                  <a:lnTo>
                    <a:pt x="281239" y="3734222"/>
                  </a:lnTo>
                  <a:lnTo>
                    <a:pt x="282266" y="3742209"/>
                  </a:lnTo>
                  <a:lnTo>
                    <a:pt x="284688" y="3790165"/>
                  </a:lnTo>
                  <a:lnTo>
                    <a:pt x="308472" y="3946009"/>
                  </a:lnTo>
                  <a:lnTo>
                    <a:pt x="319558" y="4032218"/>
                  </a:lnTo>
                  <a:lnTo>
                    <a:pt x="326622" y="4064929"/>
                  </a:lnTo>
                  <a:lnTo>
                    <a:pt x="338216" y="4140898"/>
                  </a:lnTo>
                  <a:lnTo>
                    <a:pt x="368259" y="4257739"/>
                  </a:lnTo>
                  <a:lnTo>
                    <a:pt x="382119" y="4321922"/>
                  </a:lnTo>
                  <a:lnTo>
                    <a:pt x="398715" y="4376187"/>
                  </a:lnTo>
                  <a:lnTo>
                    <a:pt x="425259" y="4479422"/>
                  </a:lnTo>
                  <a:lnTo>
                    <a:pt x="455841" y="4562978"/>
                  </a:lnTo>
                  <a:lnTo>
                    <a:pt x="467857" y="4602268"/>
                  </a:lnTo>
                  <a:lnTo>
                    <a:pt x="496011" y="4672730"/>
                  </a:lnTo>
                  <a:lnTo>
                    <a:pt x="544042" y="4803962"/>
                  </a:lnTo>
                  <a:lnTo>
                    <a:pt x="569856" y="4857548"/>
                  </a:lnTo>
                  <a:lnTo>
                    <a:pt x="575706" y="4872189"/>
                  </a:lnTo>
                  <a:lnTo>
                    <a:pt x="610939" y="4942832"/>
                  </a:lnTo>
                  <a:lnTo>
                    <a:pt x="692789" y="5112742"/>
                  </a:lnTo>
                  <a:cubicBezTo>
                    <a:pt x="747169" y="5212845"/>
                    <a:pt x="806246" y="5310025"/>
                    <a:pt x="869725" y="5403987"/>
                  </a:cubicBezTo>
                  <a:lnTo>
                    <a:pt x="976106" y="5546248"/>
                  </a:lnTo>
                  <a:lnTo>
                    <a:pt x="1021257" y="5608747"/>
                  </a:lnTo>
                  <a:lnTo>
                    <a:pt x="1034083" y="5623780"/>
                  </a:lnTo>
                  <a:lnTo>
                    <a:pt x="1073074" y="5675921"/>
                  </a:lnTo>
                  <a:lnTo>
                    <a:pt x="1162889" y="5774742"/>
                  </a:lnTo>
                  <a:lnTo>
                    <a:pt x="1206889" y="5826312"/>
                  </a:lnTo>
                  <a:lnTo>
                    <a:pt x="1237462" y="5856794"/>
                  </a:lnTo>
                  <a:lnTo>
                    <a:pt x="1301060" y="5926769"/>
                  </a:lnTo>
                  <a:lnTo>
                    <a:pt x="1375546" y="5994467"/>
                  </a:lnTo>
                  <a:lnTo>
                    <a:pt x="1409302" y="6028122"/>
                  </a:lnTo>
                  <a:lnTo>
                    <a:pt x="1458264" y="6069646"/>
                  </a:lnTo>
                  <a:lnTo>
                    <a:pt x="1551908" y="6154756"/>
                  </a:lnTo>
                  <a:lnTo>
                    <a:pt x="1608657" y="6197192"/>
                  </a:lnTo>
                  <a:lnTo>
                    <a:pt x="1627429" y="6213112"/>
                  </a:lnTo>
                  <a:lnTo>
                    <a:pt x="1690373" y="6258298"/>
                  </a:lnTo>
                  <a:lnTo>
                    <a:pt x="1823843" y="6358104"/>
                  </a:lnTo>
                  <a:lnTo>
                    <a:pt x="1860020" y="6380082"/>
                  </a:lnTo>
                  <a:lnTo>
                    <a:pt x="1860205" y="6380216"/>
                  </a:lnTo>
                  <a:lnTo>
                    <a:pt x="1863538" y="6382220"/>
                  </a:lnTo>
                  <a:lnTo>
                    <a:pt x="2115088" y="6535040"/>
                  </a:lnTo>
                  <a:lnTo>
                    <a:pt x="2300511" y="6624363"/>
                  </a:lnTo>
                  <a:lnTo>
                    <a:pt x="2365440" y="6656500"/>
                  </a:lnTo>
                  <a:lnTo>
                    <a:pt x="2375464" y="6660470"/>
                  </a:lnTo>
                  <a:lnTo>
                    <a:pt x="2423868" y="6683787"/>
                  </a:lnTo>
                  <a:cubicBezTo>
                    <a:pt x="2582346" y="6750818"/>
                    <a:pt x="2746734" y="6806612"/>
                    <a:pt x="2916032" y="6850171"/>
                  </a:cubicBezTo>
                  <a:lnTo>
                    <a:pt x="2949957" y="6858000"/>
                  </a:lnTo>
                  <a:lnTo>
                    <a:pt x="2162446" y="6858000"/>
                  </a:lnTo>
                  <a:lnTo>
                    <a:pt x="2151880" y="6853223"/>
                  </a:lnTo>
                  <a:cubicBezTo>
                    <a:pt x="878633" y="6239710"/>
                    <a:pt x="0" y="4936963"/>
                    <a:pt x="0" y="3429000"/>
                  </a:cubicBezTo>
                  <a:cubicBezTo>
                    <a:pt x="0" y="1921037"/>
                    <a:pt x="878633" y="618290"/>
                    <a:pt x="2151880" y="4777"/>
                  </a:cubicBezTo>
                  <a:close/>
                </a:path>
              </a:pathLst>
            </a:custGeom>
            <a:solidFill>
              <a:schemeClr val="accent2"/>
            </a:solidFill>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400">
                <a:solidFill>
                  <a:schemeClr val="accent6"/>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16" name="e09db3f0-6e02-44e0-9dd8-3eaaa4d6d991">
            <a:extLst>
              <a:ext uri="{FF2B5EF4-FFF2-40B4-BE49-F238E27FC236}">
                <a16:creationId xmlns:a16="http://schemas.microsoft.com/office/drawing/2014/main" id="{EC36045C-2F27-4D1F-8FC2-77CB5C497B18}"/>
              </a:ext>
            </a:extLst>
          </p:cNvPr>
          <p:cNvSpPr txBox="1"/>
          <p:nvPr/>
        </p:nvSpPr>
        <p:spPr>
          <a:xfrm>
            <a:off x="467784" y="6677739"/>
            <a:ext cx="2250616" cy="123111"/>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pPr>
            <a:r>
              <a:rPr lang="en-US" sz="800">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Energy Research Ltd. – CONFIDENTIAL</a:t>
            </a:r>
          </a:p>
        </p:txBody>
      </p:sp>
      <p:sp>
        <p:nvSpPr>
          <p:cNvPr id="12" name="Title 1"/>
          <p:cNvSpPr>
            <a:spLocks noGrp="1"/>
          </p:cNvSpPr>
          <p:nvPr>
            <p:ph type="ctrTitle" hasCustomPrompt="1"/>
          </p:nvPr>
        </p:nvSpPr>
        <p:spPr>
          <a:xfrm>
            <a:off x="391584" y="3677095"/>
            <a:ext cx="5158316" cy="1046440"/>
          </a:xfrm>
          <a:prstGeom prst="rect">
            <a:avLst/>
          </a:prstGeom>
        </p:spPr>
        <p:txBody>
          <a:bodyPr vert="horz" lIns="0" rIns="0" anchor="b" anchorCtr="0">
            <a:spAutoFit/>
          </a:bodyPr>
          <a:lstStyle>
            <a:lvl1pPr>
              <a:lnSpc>
                <a:spcPct val="100000"/>
              </a:lnSpc>
              <a:defRPr sz="34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Presentation title </a:t>
            </a:r>
            <a:br>
              <a:rPr lang="en-GB"/>
            </a:br>
            <a:r>
              <a:rPr lang="en-GB" err="1"/>
              <a:t>Lato</a:t>
            </a:r>
            <a:r>
              <a:rPr lang="en-GB"/>
              <a:t> </a:t>
            </a:r>
            <a:r>
              <a:rPr lang="en-GB" err="1"/>
              <a:t>34pt</a:t>
            </a:r>
            <a:r>
              <a:rPr lang="en-GB"/>
              <a:t> (max. 2 lines)</a:t>
            </a:r>
          </a:p>
        </p:txBody>
      </p:sp>
      <p:sp>
        <p:nvSpPr>
          <p:cNvPr id="14" name="Text Placeholder 3"/>
          <p:cNvSpPr>
            <a:spLocks noGrp="1"/>
          </p:cNvSpPr>
          <p:nvPr>
            <p:ph type="body" sz="quarter" idx="11" hasCustomPrompt="1"/>
          </p:nvPr>
        </p:nvSpPr>
        <p:spPr>
          <a:xfrm>
            <a:off x="391585" y="4892984"/>
            <a:ext cx="5158316" cy="595035"/>
          </a:xfrm>
          <a:prstGeom prst="rect">
            <a:avLst/>
          </a:prstGeom>
        </p:spPr>
        <p:txBody>
          <a:bodyPr lIns="0">
            <a:spAutoFit/>
          </a:bodyPr>
          <a:lstStyle>
            <a:lvl1pPr marL="0" indent="0">
              <a:lnSpc>
                <a:spcPct val="100000"/>
              </a:lnSpc>
              <a:buNone/>
              <a:defRPr sz="16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 Author (max. 2 lines)</a:t>
            </a:r>
          </a:p>
          <a:p>
            <a:pPr lvl="0"/>
            <a:r>
              <a:rPr lang="en-GB"/>
              <a:t>Location, Date</a:t>
            </a:r>
          </a:p>
        </p:txBody>
      </p:sp>
      <p:pic>
        <p:nvPicPr>
          <p:cNvPr id="17" name="76b2c494-e833-47c5-ac9f-1f63996dd2f9">
            <a:extLst>
              <a:ext uri="{FF2B5EF4-FFF2-40B4-BE49-F238E27FC236}">
                <a16:creationId xmlns:a16="http://schemas.microsoft.com/office/drawing/2014/main" id="{042F3FEA-3A90-4E71-A2A9-E49B6FE2258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91584" y="655041"/>
            <a:ext cx="2389716" cy="558125"/>
          </a:xfrm>
          <a:prstGeom prst="rect">
            <a:avLst/>
          </a:prstGeom>
        </p:spPr>
      </p:pic>
      <p:sp>
        <p:nvSpPr>
          <p:cNvPr id="13" name="TextBox 12">
            <a:extLst>
              <a:ext uri="{FF2B5EF4-FFF2-40B4-BE49-F238E27FC236}">
                <a16:creationId xmlns:a16="http://schemas.microsoft.com/office/drawing/2014/main" id="{71D3F1E6-FC24-4027-8703-DD054B62F84B}"/>
              </a:ext>
            </a:extLst>
          </p:cNvPr>
          <p:cNvSpPr txBox="1"/>
          <p:nvPr userDrawn="1"/>
        </p:nvSpPr>
        <p:spPr>
          <a:xfrm>
            <a:off x="0" y="-172292"/>
            <a:ext cx="676467" cy="123111"/>
          </a:xfrm>
          <a:prstGeom prst="rect">
            <a:avLst/>
          </a:prstGeom>
          <a:noFill/>
        </p:spPr>
        <p:txBody>
          <a:bodyPr wrap="none" lIns="0" tIns="0" rIns="0" bIns="0" rtlCol="0">
            <a:spAutoFit/>
          </a:bodyPr>
          <a:lstStyle/>
          <a:p>
            <a:pPr marL="0" indent="0" algn="l">
              <a:spcBef>
                <a:spcPts val="600"/>
              </a:spcBef>
              <a:buFont typeface="Wingdings" panose="05000000000000000000" pitchFamily="2" charset="2"/>
              <a:buNone/>
            </a:pPr>
            <a:r>
              <a:rPr lang="en-GB" sz="800" noProof="1"/>
              <a:t>Aurora_2021.1</a:t>
            </a:r>
          </a:p>
        </p:txBody>
      </p:sp>
    </p:spTree>
    <p:extLst>
      <p:ext uri="{BB962C8B-B14F-4D97-AF65-F5344CB8AC3E}">
        <p14:creationId xmlns:p14="http://schemas.microsoft.com/office/powerpoint/2010/main" val="42153203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Columns &amp; resul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85576263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5311770"/>
            <a:ext cx="3517128"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5311770"/>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3517128" cy="369332"/>
          </a:xfrm>
        </p:spPr>
        <p:txBody>
          <a:bodyPr wrap="square">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263129"/>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5311770"/>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263129"/>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Supertitle">
            <a:extLst>
              <a:ext uri="{FF2B5EF4-FFF2-40B4-BE49-F238E27FC236}">
                <a16:creationId xmlns:a16="http://schemas.microsoft.com/office/drawing/2014/main" id="{DC597492-B8FB-4245-88C4-120E467CFE58}"/>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96382034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 Columns &amp; resul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5302245"/>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6433799" y="5302245"/>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6433799" y="126312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EE93A44D-E748-4D8D-A17F-5384A0EE4B00}"/>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83151366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1710172"/>
            <a:ext cx="3517128"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1710172"/>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3517128" cy="369332"/>
          </a:xfrm>
        </p:spPr>
        <p:txBody>
          <a:bodyPr wrap="square">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263129"/>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1710172"/>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263129"/>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Supertitle">
            <a:extLst>
              <a:ext uri="{FF2B5EF4-FFF2-40B4-BE49-F238E27FC236}">
                <a16:creationId xmlns:a16="http://schemas.microsoft.com/office/drawing/2014/main" id="{9EEBA4A1-1C33-45CD-8C84-6132F5FA68D9}"/>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09924828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3 Columns &amp; resul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5311770"/>
            <a:ext cx="3517128"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5311770"/>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3517128" cy="369332"/>
          </a:xfrm>
        </p:spPr>
        <p:txBody>
          <a:bodyPr wrap="square">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263129"/>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5311770"/>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263129"/>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Supertitle">
            <a:extLst>
              <a:ext uri="{FF2B5EF4-FFF2-40B4-BE49-F238E27FC236}">
                <a16:creationId xmlns:a16="http://schemas.microsoft.com/office/drawing/2014/main" id="{DC597492-B8FB-4245-88C4-120E467CFE58}"/>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7310623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x2 Columns ">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381000" y="1710172"/>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6433799" y="1710172"/>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381000" y="4411862"/>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6433799" y="4411862"/>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8" name="Header 1">
            <a:extLst>
              <a:ext uri="{FF2B5EF4-FFF2-40B4-BE49-F238E27FC236}">
                <a16:creationId xmlns:a16="http://schemas.microsoft.com/office/drawing/2014/main" id="{B3A70672-DEF1-4781-8187-BBE12AC5BDA8}"/>
              </a:ext>
            </a:extLst>
          </p:cNvPr>
          <p:cNvSpPr>
            <a:spLocks noGrp="1"/>
          </p:cNvSpPr>
          <p:nvPr>
            <p:ph type="body" sz="quarter" idx="29" hasCustomPrompt="1"/>
          </p:nvPr>
        </p:nvSpPr>
        <p:spPr>
          <a:xfrm>
            <a:off x="381000" y="126312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9" name="Header 2">
            <a:extLst>
              <a:ext uri="{FF2B5EF4-FFF2-40B4-BE49-F238E27FC236}">
                <a16:creationId xmlns:a16="http://schemas.microsoft.com/office/drawing/2014/main" id="{A4563EEA-EE02-448A-9297-03EDBEB06ECF}"/>
              </a:ext>
            </a:extLst>
          </p:cNvPr>
          <p:cNvSpPr>
            <a:spLocks noGrp="1"/>
          </p:cNvSpPr>
          <p:nvPr>
            <p:ph type="body" sz="quarter" idx="30" hasCustomPrompt="1"/>
          </p:nvPr>
        </p:nvSpPr>
        <p:spPr>
          <a:xfrm>
            <a:off x="6433799" y="126312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0" name="Header 3">
            <a:extLst>
              <a:ext uri="{FF2B5EF4-FFF2-40B4-BE49-F238E27FC236}">
                <a16:creationId xmlns:a16="http://schemas.microsoft.com/office/drawing/2014/main" id="{DBCFF04C-DDD2-4735-9A77-9C0D16B52B63}"/>
              </a:ext>
            </a:extLst>
          </p:cNvPr>
          <p:cNvSpPr>
            <a:spLocks noGrp="1"/>
          </p:cNvSpPr>
          <p:nvPr>
            <p:ph type="body" sz="quarter" idx="40" hasCustomPrompt="1"/>
          </p:nvPr>
        </p:nvSpPr>
        <p:spPr>
          <a:xfrm>
            <a:off x="381000" y="396175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1" name="Header 4">
            <a:extLst>
              <a:ext uri="{FF2B5EF4-FFF2-40B4-BE49-F238E27FC236}">
                <a16:creationId xmlns:a16="http://schemas.microsoft.com/office/drawing/2014/main" id="{79FB59F5-1A7D-4B39-B4D2-835B2134FB50}"/>
              </a:ext>
            </a:extLst>
          </p:cNvPr>
          <p:cNvSpPr>
            <a:spLocks noGrp="1"/>
          </p:cNvSpPr>
          <p:nvPr>
            <p:ph type="body" sz="quarter" idx="41" hasCustomPrompt="1"/>
          </p:nvPr>
        </p:nvSpPr>
        <p:spPr>
          <a:xfrm>
            <a:off x="6433799" y="396175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Text Placeholder 5">
            <a:extLst>
              <a:ext uri="{FF2B5EF4-FFF2-40B4-BE49-F238E27FC236}">
                <a16:creationId xmlns:a16="http://schemas.microsoft.com/office/drawing/2014/main" id="{C90526E6-79C0-41FB-941B-65EF72C734ED}"/>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7" name="Supertitle">
            <a:extLst>
              <a:ext uri="{FF2B5EF4-FFF2-40B4-BE49-F238E27FC236}">
                <a16:creationId xmlns:a16="http://schemas.microsoft.com/office/drawing/2014/main" id="{59F222D9-1944-4EC5-82BF-3282F1AF5531}"/>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15154040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 Row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1710172"/>
            <a:ext cx="11428799"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599" y="1263129"/>
            <a:ext cx="11428799" cy="369332"/>
          </a:xfrm>
        </p:spPr>
        <p:txBody>
          <a:bodyPr vert="horz" lIns="0" tIns="0" rIns="0" bIns="0" rtlCol="0">
            <a:spAutoFit/>
          </a:bodyPr>
          <a:lstStyle>
            <a:lvl1pPr>
              <a:spcBef>
                <a:spcPts val="0"/>
              </a:spcBef>
              <a:defRPr lang="en-GB" sz="1200" b="1" dirty="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 2">
            <a:extLst>
              <a:ext uri="{FF2B5EF4-FFF2-40B4-BE49-F238E27FC236}">
                <a16:creationId xmlns:a16="http://schemas.microsoft.com/office/drawing/2014/main" id="{C1D21A04-198F-4CDC-8469-16165405FDC5}"/>
              </a:ext>
            </a:extLst>
          </p:cNvPr>
          <p:cNvSpPr>
            <a:spLocks noGrp="1"/>
          </p:cNvSpPr>
          <p:nvPr>
            <p:ph type="body" sz="quarter" idx="31"/>
          </p:nvPr>
        </p:nvSpPr>
        <p:spPr>
          <a:xfrm>
            <a:off x="381599" y="4408803"/>
            <a:ext cx="11428799"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Header 2">
            <a:extLst>
              <a:ext uri="{FF2B5EF4-FFF2-40B4-BE49-F238E27FC236}">
                <a16:creationId xmlns:a16="http://schemas.microsoft.com/office/drawing/2014/main" id="{2802A5D6-C82B-4708-901E-1A6481C0F245}"/>
              </a:ext>
            </a:extLst>
          </p:cNvPr>
          <p:cNvSpPr>
            <a:spLocks noGrp="1"/>
          </p:cNvSpPr>
          <p:nvPr>
            <p:ph type="body" sz="quarter" idx="36" hasCustomPrompt="1"/>
          </p:nvPr>
        </p:nvSpPr>
        <p:spPr>
          <a:xfrm>
            <a:off x="381599" y="3961759"/>
            <a:ext cx="11428799"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25" name="Bottom line">
            <a:extLst>
              <a:ext uri="{FF2B5EF4-FFF2-40B4-BE49-F238E27FC236}">
                <a16:creationId xmlns:a16="http://schemas.microsoft.com/office/drawing/2014/main" id="{A72FF3B7-BC75-4064-BD6B-EB44619D9346}"/>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Confidential">
            <a:extLst>
              <a:ext uri="{FF2B5EF4-FFF2-40B4-BE49-F238E27FC236}">
                <a16:creationId xmlns:a16="http://schemas.microsoft.com/office/drawing/2014/main" id="{29BED52F-2D38-4AFD-937A-7F5F4180A7BD}"/>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1" name="Text Placeholder 2">
            <a:extLst>
              <a:ext uri="{FF2B5EF4-FFF2-40B4-BE49-F238E27FC236}">
                <a16:creationId xmlns:a16="http://schemas.microsoft.com/office/drawing/2014/main" id="{07B36058-653D-447D-8669-EC979FD9C70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B23A8BAD-E2A3-4E1C-AB3E-B7DD1A21187A}"/>
              </a:ext>
            </a:extLst>
          </p:cNvPr>
          <p:cNvSpPr>
            <a:spLocks noGrp="1"/>
          </p:cNvSpPr>
          <p:nvPr>
            <p:ph type="title"/>
          </p:nvPr>
        </p:nvSpPr>
        <p:spPr>
          <a:xfrm>
            <a:off x="381599" y="411856"/>
            <a:ext cx="8600471" cy="609398"/>
          </a:xfrm>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5" name="Text Placeholder 5">
            <a:extLst>
              <a:ext uri="{FF2B5EF4-FFF2-40B4-BE49-F238E27FC236}">
                <a16:creationId xmlns:a16="http://schemas.microsoft.com/office/drawing/2014/main" id="{985C6688-BDF1-491A-9553-45D65D0BD91B}"/>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6" name="Supertitle">
            <a:extLst>
              <a:ext uri="{FF2B5EF4-FFF2-40B4-BE49-F238E27FC236}">
                <a16:creationId xmlns:a16="http://schemas.microsoft.com/office/drawing/2014/main" id="{C3A59FB0-5222-4FB6-94EF-BE589A10664B}"/>
              </a:ext>
            </a:extLst>
          </p:cNvPr>
          <p:cNvSpPr>
            <a:spLocks noGrp="1"/>
          </p:cNvSpPr>
          <p:nvPr>
            <p:ph type="body" sz="quarter" idx="37"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83979859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 Rows &amp; tex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7899396" y="1263129"/>
            <a:ext cx="3910399"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5410200" cy="369332"/>
          </a:xfrm>
        </p:spPr>
        <p:txBody>
          <a:bodyPr vert="horz" wrap="square" lIns="0" tIns="0" rIns="0" bIns="0" rtlCol="0">
            <a:spAutoFit/>
          </a:bodyPr>
          <a:lstStyle>
            <a:lvl1pPr>
              <a:spcBef>
                <a:spcPts val="0"/>
              </a:spcBef>
              <a:defRPr lang="en-GB" sz="1200" b="1" dirty="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 2">
            <a:extLst>
              <a:ext uri="{FF2B5EF4-FFF2-40B4-BE49-F238E27FC236}">
                <a16:creationId xmlns:a16="http://schemas.microsoft.com/office/drawing/2014/main" id="{C1D21A04-198F-4CDC-8469-16165405FDC5}"/>
              </a:ext>
            </a:extLst>
          </p:cNvPr>
          <p:cNvSpPr>
            <a:spLocks noGrp="1"/>
          </p:cNvSpPr>
          <p:nvPr>
            <p:ph type="body" sz="quarter" idx="31"/>
          </p:nvPr>
        </p:nvSpPr>
        <p:spPr>
          <a:xfrm>
            <a:off x="7899400" y="2974637"/>
            <a:ext cx="3910399"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Header 2">
            <a:extLst>
              <a:ext uri="{FF2B5EF4-FFF2-40B4-BE49-F238E27FC236}">
                <a16:creationId xmlns:a16="http://schemas.microsoft.com/office/drawing/2014/main" id="{2802A5D6-C82B-4708-901E-1A6481C0F245}"/>
              </a:ext>
            </a:extLst>
          </p:cNvPr>
          <p:cNvSpPr>
            <a:spLocks noGrp="1"/>
          </p:cNvSpPr>
          <p:nvPr>
            <p:ph type="body" sz="quarter" idx="36" hasCustomPrompt="1"/>
          </p:nvPr>
        </p:nvSpPr>
        <p:spPr>
          <a:xfrm>
            <a:off x="381001" y="2974637"/>
            <a:ext cx="5410200" cy="369332"/>
          </a:xfrm>
        </p:spPr>
        <p:txBody>
          <a:bodyPr wrap="square">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25" name="Bottom line">
            <a:extLst>
              <a:ext uri="{FF2B5EF4-FFF2-40B4-BE49-F238E27FC236}">
                <a16:creationId xmlns:a16="http://schemas.microsoft.com/office/drawing/2014/main" id="{A72FF3B7-BC75-4064-BD6B-EB44619D9346}"/>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Confidential">
            <a:extLst>
              <a:ext uri="{FF2B5EF4-FFF2-40B4-BE49-F238E27FC236}">
                <a16:creationId xmlns:a16="http://schemas.microsoft.com/office/drawing/2014/main" id="{29BED52F-2D38-4AFD-937A-7F5F4180A7BD}"/>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1" name="Text Placeholder 2">
            <a:extLst>
              <a:ext uri="{FF2B5EF4-FFF2-40B4-BE49-F238E27FC236}">
                <a16:creationId xmlns:a16="http://schemas.microsoft.com/office/drawing/2014/main" id="{07B36058-653D-447D-8669-EC979FD9C70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B23A8BAD-E2A3-4E1C-AB3E-B7DD1A21187A}"/>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Text 2">
            <a:extLst>
              <a:ext uri="{FF2B5EF4-FFF2-40B4-BE49-F238E27FC236}">
                <a16:creationId xmlns:a16="http://schemas.microsoft.com/office/drawing/2014/main" id="{4687F94A-322A-4EB6-8A12-48525F91E4D6}"/>
              </a:ext>
            </a:extLst>
          </p:cNvPr>
          <p:cNvSpPr>
            <a:spLocks noGrp="1"/>
          </p:cNvSpPr>
          <p:nvPr>
            <p:ph type="body" sz="quarter" idx="37"/>
          </p:nvPr>
        </p:nvSpPr>
        <p:spPr>
          <a:xfrm>
            <a:off x="7899400" y="4690707"/>
            <a:ext cx="3910399"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Header 2">
            <a:extLst>
              <a:ext uri="{FF2B5EF4-FFF2-40B4-BE49-F238E27FC236}">
                <a16:creationId xmlns:a16="http://schemas.microsoft.com/office/drawing/2014/main" id="{F3848A98-EF77-446F-8A2A-A34B897D5A2F}"/>
              </a:ext>
            </a:extLst>
          </p:cNvPr>
          <p:cNvSpPr>
            <a:spLocks noGrp="1"/>
          </p:cNvSpPr>
          <p:nvPr>
            <p:ph type="body" sz="quarter" idx="38" hasCustomPrompt="1"/>
          </p:nvPr>
        </p:nvSpPr>
        <p:spPr>
          <a:xfrm>
            <a:off x="381001" y="4690707"/>
            <a:ext cx="5410200" cy="369332"/>
          </a:xfrm>
        </p:spPr>
        <p:txBody>
          <a:bodyPr wrap="square">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8" name="Text Placeholder 5">
            <a:extLst>
              <a:ext uri="{FF2B5EF4-FFF2-40B4-BE49-F238E27FC236}">
                <a16:creationId xmlns:a16="http://schemas.microsoft.com/office/drawing/2014/main" id="{C77996AB-B18E-46E4-996A-2DB51A023F19}"/>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2" name="Supertitle">
            <a:extLst>
              <a:ext uri="{FF2B5EF4-FFF2-40B4-BE49-F238E27FC236}">
                <a16:creationId xmlns:a16="http://schemas.microsoft.com/office/drawing/2014/main" id="{1D38A38A-3AF0-47D4-A7EB-872A8891B8C3}"/>
              </a:ext>
            </a:extLst>
          </p:cNvPr>
          <p:cNvSpPr>
            <a:spLocks noGrp="1"/>
          </p:cNvSpPr>
          <p:nvPr>
            <p:ph type="body" sz="quarter" idx="39"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4927449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Executive Summar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4" name="acb0b369-aa8c-4b31-ab38-74d78cf51d99">
            <a:extLst>
              <a:ext uri="{FF2B5EF4-FFF2-40B4-BE49-F238E27FC236}">
                <a16:creationId xmlns:a16="http://schemas.microsoft.com/office/drawing/2014/main" id="{D192A937-36F1-43E9-9FBA-8508F900F212}"/>
              </a:ext>
            </a:extLst>
          </p:cNvPr>
          <p:cNvSpPr/>
          <p:nvPr/>
        </p:nvSpPr>
        <p:spPr>
          <a:xfrm>
            <a:off x="-8393" y="-1"/>
            <a:ext cx="3588245" cy="6858001"/>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19" name="3fb81c30-15ed-4c93-9863-f6b57534edf8">
            <a:extLst>
              <a:ext uri="{FF2B5EF4-FFF2-40B4-BE49-F238E27FC236}">
                <a16:creationId xmlns:a16="http://schemas.microsoft.com/office/drawing/2014/main" id="{D6606AFB-B38F-4576-B399-255BFCDC9EEB}"/>
              </a:ext>
            </a:extLst>
          </p:cNvPr>
          <p:cNvCxnSpPr>
            <a:cxnSpLocks/>
          </p:cNvCxnSpPr>
          <p:nvPr/>
        </p:nvCxnSpPr>
        <p:spPr>
          <a:xfrm>
            <a:off x="380996" y="2643567"/>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87bda0fb-aa74-4c09-ab9d-334ef6f592c0">
            <a:extLst>
              <a:ext uri="{FF2B5EF4-FFF2-40B4-BE49-F238E27FC236}">
                <a16:creationId xmlns:a16="http://schemas.microsoft.com/office/drawing/2014/main" id="{F9F30819-AB3F-4A43-BB50-F7A130CBA66C}"/>
              </a:ext>
            </a:extLst>
          </p:cNvPr>
          <p:cNvSpPr txBox="1">
            <a:spLocks/>
          </p:cNvSpPr>
          <p:nvPr/>
        </p:nvSpPr>
        <p:spPr>
          <a:xfrm>
            <a:off x="380996" y="1133611"/>
            <a:ext cx="3164179" cy="1384995"/>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a:lnSpc>
                <a:spcPct val="100000"/>
              </a:lnSpc>
              <a:spcBef>
                <a:spcPts val="0"/>
              </a:spcBef>
            </a:pPr>
            <a:r>
              <a:rPr lang="en-GB" sz="4400" b="0" spc="60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ecutive Summary</a:t>
            </a:r>
          </a:p>
        </p:txBody>
      </p:sp>
      <p:cxnSp>
        <p:nvCxnSpPr>
          <p:cNvPr id="18" name="ffea8505-d447-4023-bd83-89b3727ac8bb">
            <a:extLst>
              <a:ext uri="{FF2B5EF4-FFF2-40B4-BE49-F238E27FC236}">
                <a16:creationId xmlns:a16="http://schemas.microsoft.com/office/drawing/2014/main" id="{91E13582-C984-4CD2-8775-E415FC532B0D}"/>
              </a:ext>
            </a:extLst>
          </p:cNvPr>
          <p:cNvCxnSpPr>
            <a:cxnSpLocks/>
          </p:cNvCxnSpPr>
          <p:nvPr/>
        </p:nvCxnSpPr>
        <p:spPr>
          <a:xfrm>
            <a:off x="3814481" y="6445604"/>
            <a:ext cx="800922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671B2B38-6A7E-4142-8E20-1DFA910CF767}"/>
              </a:ext>
            </a:extLst>
          </p:cNvPr>
          <p:cNvSpPr>
            <a:spLocks noGrp="1"/>
          </p:cNvSpPr>
          <p:nvPr>
            <p:ph type="body" sz="quarter" idx="27"/>
          </p:nvPr>
        </p:nvSpPr>
        <p:spPr>
          <a:xfrm>
            <a:off x="380996" y="2860467"/>
            <a:ext cx="3038479" cy="977191"/>
          </a:xfrm>
        </p:spPr>
        <p:txBody>
          <a:bodyPr>
            <a:spAutoFit/>
          </a:bodyPr>
          <a:lstStyle>
            <a:lvl1pPr>
              <a:lnSpc>
                <a:spcPct val="100000"/>
              </a:lnSpc>
              <a:spcBef>
                <a:spcPts val="600"/>
              </a:spcBef>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100000"/>
              </a:lnSpc>
              <a:spcBef>
                <a:spcPts val="600"/>
              </a:spcBef>
              <a:buClr>
                <a:schemeClr val="bg1"/>
              </a:buClr>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lnSpc>
                <a:spcPct val="100000"/>
              </a:lnSpc>
              <a:spcBef>
                <a:spcPts val="300"/>
              </a:spcBef>
              <a:buClr>
                <a:schemeClr val="bg1"/>
              </a:buClr>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lnSpc>
                <a:spcPct val="100000"/>
              </a:lnSpc>
              <a:spcBef>
                <a:spcPts val="0"/>
              </a:spcBef>
              <a:buClr>
                <a:schemeClr val="bg1"/>
              </a:buClr>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Placeholder 4">
            <a:extLst>
              <a:ext uri="{FF2B5EF4-FFF2-40B4-BE49-F238E27FC236}">
                <a16:creationId xmlns:a16="http://schemas.microsoft.com/office/drawing/2014/main" id="{7961071D-8A41-4BD0-BCD8-EBDC12580AE7}"/>
              </a:ext>
            </a:extLst>
          </p:cNvPr>
          <p:cNvSpPr>
            <a:spLocks noGrp="1"/>
          </p:cNvSpPr>
          <p:nvPr>
            <p:ph type="body" sz="quarter" idx="28" hasCustomPrompt="1"/>
          </p:nvPr>
        </p:nvSpPr>
        <p:spPr>
          <a:xfrm>
            <a:off x="3814481" y="1270000"/>
            <a:ext cx="8009220" cy="761747"/>
          </a:xfrm>
        </p:spPr>
        <p:txBody>
          <a:bodyPr>
            <a:spAutoFit/>
          </a:bodyPr>
          <a:lstStyle>
            <a:lvl1pPr>
              <a:lnSpc>
                <a:spcPct val="100000"/>
              </a:lnSpc>
              <a:spcBef>
                <a:spcPts val="600"/>
              </a:spcBef>
              <a:defRPr>
                <a:solidFill>
                  <a:schemeClr val="tx1"/>
                </a:solidFill>
              </a:defRPr>
            </a:lvl1pPr>
            <a:lvl2pPr>
              <a:lnSpc>
                <a:spcPct val="100000"/>
              </a:lnSpc>
              <a:spcBef>
                <a:spcPts val="12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lnSpc>
                <a:spcPct val="100000"/>
              </a:lnSpc>
              <a:spcBef>
                <a:spcPts val="3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1"/>
            <a:r>
              <a:rPr lang="en-GB"/>
              <a:t>Second level</a:t>
            </a:r>
          </a:p>
          <a:p>
            <a:pPr lvl="2"/>
            <a:r>
              <a:rPr lang="en-GB"/>
              <a:t>Third level</a:t>
            </a:r>
          </a:p>
          <a:p>
            <a:pPr lvl="3"/>
            <a:r>
              <a:rPr lang="en-GB"/>
              <a:t>Fourth level</a:t>
            </a:r>
          </a:p>
        </p:txBody>
      </p:sp>
      <p:sp>
        <p:nvSpPr>
          <p:cNvPr id="32" name="Text Placeholder 2">
            <a:extLst>
              <a:ext uri="{FF2B5EF4-FFF2-40B4-BE49-F238E27FC236}">
                <a16:creationId xmlns:a16="http://schemas.microsoft.com/office/drawing/2014/main" id="{6D7F2915-2024-405B-B85D-6EFFF849861E}"/>
              </a:ext>
            </a:extLst>
          </p:cNvPr>
          <p:cNvSpPr>
            <a:spLocks noGrp="1"/>
          </p:cNvSpPr>
          <p:nvPr>
            <p:ph type="body" sz="quarter" idx="22" hasCustomPrompt="1"/>
          </p:nvPr>
        </p:nvSpPr>
        <p:spPr>
          <a:xfrm>
            <a:off x="381448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2" name="Confidential">
            <a:extLst>
              <a:ext uri="{FF2B5EF4-FFF2-40B4-BE49-F238E27FC236}">
                <a16:creationId xmlns:a16="http://schemas.microsoft.com/office/drawing/2014/main" id="{04A7469E-A6EE-486C-9196-7B95043F65D8}"/>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16" name="Text Placeholder 5">
            <a:extLst>
              <a:ext uri="{FF2B5EF4-FFF2-40B4-BE49-F238E27FC236}">
                <a16:creationId xmlns:a16="http://schemas.microsoft.com/office/drawing/2014/main" id="{296E39B4-E00F-4D59-857C-878A9F55904D}"/>
              </a:ext>
            </a:extLst>
          </p:cNvPr>
          <p:cNvSpPr>
            <a:spLocks noGrp="1"/>
          </p:cNvSpPr>
          <p:nvPr>
            <p:ph type="body" sz="quarter" idx="32" hasCustomPrompt="1"/>
          </p:nvPr>
        </p:nvSpPr>
        <p:spPr>
          <a:xfrm>
            <a:off x="3814481" y="6474841"/>
            <a:ext cx="800922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5" name="Supertitle">
            <a:extLst>
              <a:ext uri="{FF2B5EF4-FFF2-40B4-BE49-F238E27FC236}">
                <a16:creationId xmlns:a16="http://schemas.microsoft.com/office/drawing/2014/main" id="{62F7998E-9755-4032-BD0C-8CD0805FC6E3}"/>
              </a:ext>
            </a:extLst>
          </p:cNvPr>
          <p:cNvSpPr>
            <a:spLocks noGrp="1"/>
          </p:cNvSpPr>
          <p:nvPr>
            <p:ph type="body" sz="quarter" idx="31" hasCustomPrompt="1"/>
          </p:nvPr>
        </p:nvSpPr>
        <p:spPr>
          <a:xfrm>
            <a:off x="3814481"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75936199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Executive Summary_ligh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4" name="acb0b369-aa8c-4b31-ab38-74d78cf51d99">
            <a:extLst>
              <a:ext uri="{FF2B5EF4-FFF2-40B4-BE49-F238E27FC236}">
                <a16:creationId xmlns:a16="http://schemas.microsoft.com/office/drawing/2014/main" id="{D192A937-36F1-43E9-9FBA-8508F900F212}"/>
              </a:ext>
            </a:extLst>
          </p:cNvPr>
          <p:cNvSpPr/>
          <p:nvPr/>
        </p:nvSpPr>
        <p:spPr>
          <a:xfrm>
            <a:off x="-8393" y="-1"/>
            <a:ext cx="3588245" cy="6858001"/>
          </a:xfrm>
          <a:prstGeom prst="rect">
            <a:avLst/>
          </a:prstGeom>
          <a:solidFill>
            <a:schemeClr val="bg1">
              <a:lumMod val="75000"/>
            </a:schemeClr>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19" name="3fb81c30-15ed-4c93-9863-f6b57534edf8">
            <a:extLst>
              <a:ext uri="{FF2B5EF4-FFF2-40B4-BE49-F238E27FC236}">
                <a16:creationId xmlns:a16="http://schemas.microsoft.com/office/drawing/2014/main" id="{D6606AFB-B38F-4576-B399-255BFCDC9EEB}"/>
              </a:ext>
            </a:extLst>
          </p:cNvPr>
          <p:cNvCxnSpPr>
            <a:cxnSpLocks/>
          </p:cNvCxnSpPr>
          <p:nvPr/>
        </p:nvCxnSpPr>
        <p:spPr>
          <a:xfrm>
            <a:off x="380996" y="2643567"/>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87bda0fb-aa74-4c09-ab9d-334ef6f592c0">
            <a:extLst>
              <a:ext uri="{FF2B5EF4-FFF2-40B4-BE49-F238E27FC236}">
                <a16:creationId xmlns:a16="http://schemas.microsoft.com/office/drawing/2014/main" id="{F9F30819-AB3F-4A43-BB50-F7A130CBA66C}"/>
              </a:ext>
            </a:extLst>
          </p:cNvPr>
          <p:cNvSpPr txBox="1">
            <a:spLocks/>
          </p:cNvSpPr>
          <p:nvPr/>
        </p:nvSpPr>
        <p:spPr>
          <a:xfrm>
            <a:off x="380996" y="1133611"/>
            <a:ext cx="3164179" cy="1384995"/>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a:lnSpc>
                <a:spcPct val="100000"/>
              </a:lnSpc>
              <a:spcBef>
                <a:spcPts val="0"/>
              </a:spcBef>
            </a:pPr>
            <a:r>
              <a:rPr lang="en-GB" sz="4400" b="0" spc="6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ecutive Summary</a:t>
            </a:r>
          </a:p>
        </p:txBody>
      </p:sp>
      <p:cxnSp>
        <p:nvCxnSpPr>
          <p:cNvPr id="18" name="ffea8505-d447-4023-bd83-89b3727ac8bb">
            <a:extLst>
              <a:ext uri="{FF2B5EF4-FFF2-40B4-BE49-F238E27FC236}">
                <a16:creationId xmlns:a16="http://schemas.microsoft.com/office/drawing/2014/main" id="{91E13582-C984-4CD2-8775-E415FC532B0D}"/>
              </a:ext>
            </a:extLst>
          </p:cNvPr>
          <p:cNvCxnSpPr>
            <a:cxnSpLocks/>
          </p:cNvCxnSpPr>
          <p:nvPr/>
        </p:nvCxnSpPr>
        <p:spPr>
          <a:xfrm>
            <a:off x="3814481" y="6445604"/>
            <a:ext cx="800922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671B2B38-6A7E-4142-8E20-1DFA910CF767}"/>
              </a:ext>
            </a:extLst>
          </p:cNvPr>
          <p:cNvSpPr>
            <a:spLocks noGrp="1"/>
          </p:cNvSpPr>
          <p:nvPr>
            <p:ph type="body" sz="quarter" idx="27"/>
          </p:nvPr>
        </p:nvSpPr>
        <p:spPr>
          <a:xfrm>
            <a:off x="380996" y="2860467"/>
            <a:ext cx="3038479" cy="977191"/>
          </a:xfrm>
        </p:spPr>
        <p:txBody>
          <a:bodyPr>
            <a:spAutoFit/>
          </a:bodyPr>
          <a:lstStyle>
            <a:lvl1pPr>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100000"/>
              </a:lnSpc>
              <a:spcBef>
                <a:spcPts val="60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lnSpc>
                <a:spcPct val="100000"/>
              </a:lnSpc>
              <a:spcBef>
                <a:spcPts val="30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lnSpc>
                <a:spcPct val="100000"/>
              </a:lnSpc>
              <a:spcBef>
                <a:spcPts val="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Placeholder 4">
            <a:extLst>
              <a:ext uri="{FF2B5EF4-FFF2-40B4-BE49-F238E27FC236}">
                <a16:creationId xmlns:a16="http://schemas.microsoft.com/office/drawing/2014/main" id="{7961071D-8A41-4BD0-BCD8-EBDC12580AE7}"/>
              </a:ext>
            </a:extLst>
          </p:cNvPr>
          <p:cNvSpPr>
            <a:spLocks noGrp="1"/>
          </p:cNvSpPr>
          <p:nvPr>
            <p:ph type="body" sz="quarter" idx="28" hasCustomPrompt="1"/>
          </p:nvPr>
        </p:nvSpPr>
        <p:spPr>
          <a:xfrm>
            <a:off x="3814481" y="1270000"/>
            <a:ext cx="8009220" cy="761747"/>
          </a:xfrm>
        </p:spPr>
        <p:txBody>
          <a:bodyPr>
            <a:spAutoFit/>
          </a:bodyPr>
          <a:lstStyle>
            <a:lvl1pPr>
              <a:lnSpc>
                <a:spcPct val="100000"/>
              </a:lnSpc>
              <a:spcBef>
                <a:spcPts val="600"/>
              </a:spcBef>
              <a:defRPr>
                <a:solidFill>
                  <a:schemeClr val="tx1"/>
                </a:solidFill>
              </a:defRPr>
            </a:lvl1pPr>
            <a:lvl2pPr>
              <a:lnSpc>
                <a:spcPct val="100000"/>
              </a:lnSpc>
              <a:spcBef>
                <a:spcPts val="12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lnSpc>
                <a:spcPct val="100000"/>
              </a:lnSpc>
              <a:spcBef>
                <a:spcPts val="3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1"/>
            <a:r>
              <a:rPr lang="en-GB"/>
              <a:t>Second level</a:t>
            </a:r>
          </a:p>
          <a:p>
            <a:pPr lvl="2"/>
            <a:r>
              <a:rPr lang="en-GB"/>
              <a:t>Third level</a:t>
            </a:r>
          </a:p>
          <a:p>
            <a:pPr lvl="3"/>
            <a:r>
              <a:rPr lang="en-GB"/>
              <a:t>Fourth level</a:t>
            </a:r>
          </a:p>
        </p:txBody>
      </p:sp>
      <p:sp>
        <p:nvSpPr>
          <p:cNvPr id="32" name="Text Placeholder 2">
            <a:extLst>
              <a:ext uri="{FF2B5EF4-FFF2-40B4-BE49-F238E27FC236}">
                <a16:creationId xmlns:a16="http://schemas.microsoft.com/office/drawing/2014/main" id="{6D7F2915-2024-405B-B85D-6EFFF849861E}"/>
              </a:ext>
            </a:extLst>
          </p:cNvPr>
          <p:cNvSpPr>
            <a:spLocks noGrp="1"/>
          </p:cNvSpPr>
          <p:nvPr>
            <p:ph type="body" sz="quarter" idx="22" hasCustomPrompt="1"/>
          </p:nvPr>
        </p:nvSpPr>
        <p:spPr>
          <a:xfrm>
            <a:off x="381448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2" name="Confidential">
            <a:extLst>
              <a:ext uri="{FF2B5EF4-FFF2-40B4-BE49-F238E27FC236}">
                <a16:creationId xmlns:a16="http://schemas.microsoft.com/office/drawing/2014/main" id="{04A7469E-A6EE-486C-9196-7B95043F65D8}"/>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15" name="Text Placeholder 5">
            <a:extLst>
              <a:ext uri="{FF2B5EF4-FFF2-40B4-BE49-F238E27FC236}">
                <a16:creationId xmlns:a16="http://schemas.microsoft.com/office/drawing/2014/main" id="{C4F4EA92-B201-44CA-85E5-A9F9BAA6DF30}"/>
              </a:ext>
            </a:extLst>
          </p:cNvPr>
          <p:cNvSpPr>
            <a:spLocks noGrp="1"/>
          </p:cNvSpPr>
          <p:nvPr>
            <p:ph type="body" sz="quarter" idx="32" hasCustomPrompt="1"/>
          </p:nvPr>
        </p:nvSpPr>
        <p:spPr>
          <a:xfrm>
            <a:off x="3814481" y="6474841"/>
            <a:ext cx="800922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6" name="Supertitle">
            <a:extLst>
              <a:ext uri="{FF2B5EF4-FFF2-40B4-BE49-F238E27FC236}">
                <a16:creationId xmlns:a16="http://schemas.microsoft.com/office/drawing/2014/main" id="{24864468-8529-4837-946B-A32F0101EA46}"/>
              </a:ext>
            </a:extLst>
          </p:cNvPr>
          <p:cNvSpPr>
            <a:spLocks noGrp="1"/>
          </p:cNvSpPr>
          <p:nvPr>
            <p:ph type="body" sz="quarter" idx="31" hasCustomPrompt="1"/>
          </p:nvPr>
        </p:nvSpPr>
        <p:spPr>
          <a:xfrm>
            <a:off x="3814481"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31827278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Key slide">
    <p:bg>
      <p:bgPr>
        <a:solidFill>
          <a:schemeClr val="accent2"/>
        </a:solidFill>
        <a:effectLst/>
      </p:bgPr>
    </p:bg>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30D8684F-2331-410E-8BCD-8E48E223924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7" name="Object 16" hidden="1">
                        <a:extLst>
                          <a:ext uri="{FF2B5EF4-FFF2-40B4-BE49-F238E27FC236}">
                            <a16:creationId xmlns:a16="http://schemas.microsoft.com/office/drawing/2014/main" id="{30D8684F-2331-410E-8BCD-8E48E22392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274DFB-B380-4A92-94A7-A35E0797C6E7}"/>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3" name="Text Placeholder 47">
            <a:extLst>
              <a:ext uri="{FF2B5EF4-FFF2-40B4-BE49-F238E27FC236}">
                <a16:creationId xmlns:a16="http://schemas.microsoft.com/office/drawing/2014/main" id="{791FCF58-A259-4F9A-8EC3-F6830108B056}"/>
              </a:ext>
            </a:extLst>
          </p:cNvPr>
          <p:cNvSpPr>
            <a:spLocks noGrp="1"/>
          </p:cNvSpPr>
          <p:nvPr>
            <p:ph type="body" sz="quarter" idx="31" hasCustomPrompt="1"/>
          </p:nvPr>
        </p:nvSpPr>
        <p:spPr>
          <a:xfrm>
            <a:off x="380999" y="1268129"/>
            <a:ext cx="11428800" cy="215444"/>
          </a:xfrm>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solidFill>
                  <a:schemeClr val="tx1"/>
                </a:solidFill>
              </a:rPr>
              <a:t>Subtitle Key Slide</a:t>
            </a:r>
          </a:p>
        </p:txBody>
      </p:sp>
      <p:sp>
        <p:nvSpPr>
          <p:cNvPr id="4" name="Rectangle 3">
            <a:extLst>
              <a:ext uri="{FF2B5EF4-FFF2-40B4-BE49-F238E27FC236}">
                <a16:creationId xmlns:a16="http://schemas.microsoft.com/office/drawing/2014/main" id="{5DE3BBEF-4A7D-42A4-8E08-6883FD64DA5B}"/>
              </a:ext>
            </a:extLst>
          </p:cNvPr>
          <p:cNvSpPr/>
          <p:nvPr/>
        </p:nvSpPr>
        <p:spPr>
          <a:xfrm>
            <a:off x="10254343" y="411856"/>
            <a:ext cx="1670179" cy="334593"/>
          </a:xfrm>
          <a:prstGeom prst="rect">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5" name="5d8d361f-22c4-4b42-8dc9-17fbf8f083ac">
            <a:extLst>
              <a:ext uri="{FF2B5EF4-FFF2-40B4-BE49-F238E27FC236}">
                <a16:creationId xmlns:a16="http://schemas.microsoft.com/office/drawing/2014/main" id="{8A88AD16-2E5E-4CEF-8D7B-94808A9D94CC}"/>
              </a:ext>
            </a:extLst>
          </p:cNvPr>
          <p:cNvGrpSpPr/>
          <p:nvPr/>
        </p:nvGrpSpPr>
        <p:grpSpPr>
          <a:xfrm>
            <a:off x="10307419" y="465323"/>
            <a:ext cx="1510782" cy="198704"/>
            <a:chOff x="10307419" y="465323"/>
            <a:chExt cx="1510782" cy="198704"/>
          </a:xfrm>
          <a:solidFill>
            <a:schemeClr val="tx1"/>
          </a:solidFill>
        </p:grpSpPr>
        <p:sp>
          <p:nvSpPr>
            <p:cNvPr id="6" name="Freeform: Shape 5">
              <a:extLst>
                <a:ext uri="{FF2B5EF4-FFF2-40B4-BE49-F238E27FC236}">
                  <a16:creationId xmlns:a16="http://schemas.microsoft.com/office/drawing/2014/main" id="{1C0D52D9-5D86-4027-9879-849CA296714D}"/>
                </a:ext>
              </a:extLst>
            </p:cNvPr>
            <p:cNvSpPr/>
            <p:nvPr/>
          </p:nvSpPr>
          <p:spPr>
            <a:xfrm>
              <a:off x="10307419" y="479773"/>
              <a:ext cx="170004" cy="175003"/>
            </a:xfrm>
            <a:custGeom>
              <a:avLst/>
              <a:gdLst>
                <a:gd name="connsiteX0" fmla="*/ 145553 w 170003"/>
                <a:gd name="connsiteY0" fmla="*/ 178153 h 175003"/>
                <a:gd name="connsiteX1" fmla="*/ 129803 w 170003"/>
                <a:gd name="connsiteY1" fmla="*/ 138653 h 175003"/>
                <a:gd name="connsiteX2" fmla="*/ 41151 w 170003"/>
                <a:gd name="connsiteY2" fmla="*/ 138653 h 175003"/>
                <a:gd name="connsiteX3" fmla="*/ 25401 w 170003"/>
                <a:gd name="connsiteY3" fmla="*/ 178153 h 175003"/>
                <a:gd name="connsiteX4" fmla="*/ 0 w 170003"/>
                <a:gd name="connsiteY4" fmla="*/ 178153 h 175003"/>
                <a:gd name="connsiteX5" fmla="*/ 71602 w 170003"/>
                <a:gd name="connsiteY5" fmla="*/ 0 h 175003"/>
                <a:gd name="connsiteX6" fmla="*/ 99102 w 170003"/>
                <a:gd name="connsiteY6" fmla="*/ 0 h 175003"/>
                <a:gd name="connsiteX7" fmla="*/ 170954 w 170003"/>
                <a:gd name="connsiteY7" fmla="*/ 178103 h 175003"/>
                <a:gd name="connsiteX8" fmla="*/ 145553 w 170003"/>
                <a:gd name="connsiteY8" fmla="*/ 178103 h 175003"/>
                <a:gd name="connsiteX9" fmla="*/ 85502 w 170003"/>
                <a:gd name="connsiteY9" fmla="*/ 23000 h 175003"/>
                <a:gd name="connsiteX10" fmla="*/ 47601 w 170003"/>
                <a:gd name="connsiteY10" fmla="*/ 118852 h 175003"/>
                <a:gd name="connsiteX11" fmla="*/ 123203 w 170003"/>
                <a:gd name="connsiteY11" fmla="*/ 118852 h 175003"/>
                <a:gd name="connsiteX12" fmla="*/ 85502 w 170003"/>
                <a:gd name="connsiteY12" fmla="*/ 23000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0003" h="175003">
                  <a:moveTo>
                    <a:pt x="145553" y="178153"/>
                  </a:moveTo>
                  <a:lnTo>
                    <a:pt x="129803" y="138653"/>
                  </a:lnTo>
                  <a:lnTo>
                    <a:pt x="41151" y="138653"/>
                  </a:lnTo>
                  <a:lnTo>
                    <a:pt x="25401" y="178153"/>
                  </a:lnTo>
                  <a:lnTo>
                    <a:pt x="0" y="178153"/>
                  </a:lnTo>
                  <a:lnTo>
                    <a:pt x="71602" y="0"/>
                  </a:lnTo>
                  <a:lnTo>
                    <a:pt x="99102" y="0"/>
                  </a:lnTo>
                  <a:lnTo>
                    <a:pt x="170954" y="178103"/>
                  </a:lnTo>
                  <a:lnTo>
                    <a:pt x="145553" y="178103"/>
                  </a:lnTo>
                  <a:close/>
                  <a:moveTo>
                    <a:pt x="85502" y="23000"/>
                  </a:moveTo>
                  <a:lnTo>
                    <a:pt x="47601" y="118852"/>
                  </a:lnTo>
                  <a:lnTo>
                    <a:pt x="123203" y="118852"/>
                  </a:lnTo>
                  <a:lnTo>
                    <a:pt x="85502" y="23000"/>
                  </a:lnTo>
                  <a:close/>
                </a:path>
              </a:pathLst>
            </a:custGeom>
            <a:grpFill/>
            <a:ln w="4982"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7" name="Freeform: Shape 6">
              <a:extLst>
                <a:ext uri="{FF2B5EF4-FFF2-40B4-BE49-F238E27FC236}">
                  <a16:creationId xmlns:a16="http://schemas.microsoft.com/office/drawing/2014/main" id="{429AEC83-2158-49D6-9185-DE976140A84D}"/>
                </a:ext>
              </a:extLst>
            </p:cNvPr>
            <p:cNvSpPr/>
            <p:nvPr/>
          </p:nvSpPr>
          <p:spPr>
            <a:xfrm>
              <a:off x="10574675" y="479773"/>
              <a:ext cx="145003" cy="180004"/>
            </a:xfrm>
            <a:custGeom>
              <a:avLst/>
              <a:gdLst>
                <a:gd name="connsiteX0" fmla="*/ 0 w 145003"/>
                <a:gd name="connsiteY0" fmla="*/ 109002 h 180003"/>
                <a:gd name="connsiteX1" fmla="*/ 0 w 145003"/>
                <a:gd name="connsiteY1" fmla="*/ 0 h 180003"/>
                <a:gd name="connsiteX2" fmla="*/ 22150 w 145003"/>
                <a:gd name="connsiteY2" fmla="*/ 0 h 180003"/>
                <a:gd name="connsiteX3" fmla="*/ 22150 w 145003"/>
                <a:gd name="connsiteY3" fmla="*/ 108402 h 180003"/>
                <a:gd name="connsiteX4" fmla="*/ 72602 w 145003"/>
                <a:gd name="connsiteY4" fmla="*/ 161553 h 180003"/>
                <a:gd name="connsiteX5" fmla="*/ 123053 w 145003"/>
                <a:gd name="connsiteY5" fmla="*/ 108402 h 180003"/>
                <a:gd name="connsiteX6" fmla="*/ 123053 w 145003"/>
                <a:gd name="connsiteY6" fmla="*/ 0 h 180003"/>
                <a:gd name="connsiteX7" fmla="*/ 145203 w 145003"/>
                <a:gd name="connsiteY7" fmla="*/ 0 h 180003"/>
                <a:gd name="connsiteX8" fmla="*/ 145203 w 145003"/>
                <a:gd name="connsiteY8" fmla="*/ 108702 h 180003"/>
                <a:gd name="connsiteX9" fmla="*/ 72552 w 145003"/>
                <a:gd name="connsiteY9" fmla="*/ 181354 h 180003"/>
                <a:gd name="connsiteX10" fmla="*/ 0 w 145003"/>
                <a:gd name="connsiteY10" fmla="*/ 109002 h 18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5003" h="180003">
                  <a:moveTo>
                    <a:pt x="0" y="109002"/>
                  </a:moveTo>
                  <a:lnTo>
                    <a:pt x="0" y="0"/>
                  </a:lnTo>
                  <a:lnTo>
                    <a:pt x="22150" y="0"/>
                  </a:lnTo>
                  <a:lnTo>
                    <a:pt x="22150" y="108402"/>
                  </a:lnTo>
                  <a:cubicBezTo>
                    <a:pt x="22150" y="140953"/>
                    <a:pt x="39801" y="161553"/>
                    <a:pt x="72602" y="161553"/>
                  </a:cubicBezTo>
                  <a:cubicBezTo>
                    <a:pt x="105402" y="161553"/>
                    <a:pt x="123053" y="141003"/>
                    <a:pt x="123053" y="108402"/>
                  </a:cubicBezTo>
                  <a:lnTo>
                    <a:pt x="123053" y="0"/>
                  </a:lnTo>
                  <a:lnTo>
                    <a:pt x="145203" y="0"/>
                  </a:lnTo>
                  <a:lnTo>
                    <a:pt x="145203" y="108702"/>
                  </a:lnTo>
                  <a:cubicBezTo>
                    <a:pt x="145203" y="153053"/>
                    <a:pt x="120903" y="181354"/>
                    <a:pt x="72552" y="181354"/>
                  </a:cubicBezTo>
                  <a:cubicBezTo>
                    <a:pt x="24351" y="181354"/>
                    <a:pt x="0" y="152803"/>
                    <a:pt x="0" y="109002"/>
                  </a:cubicBezTo>
                  <a:close/>
                </a:path>
              </a:pathLst>
            </a:custGeom>
            <a:grpFill/>
            <a:ln w="4982"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 name="Freeform: Shape 7">
              <a:extLst>
                <a:ext uri="{FF2B5EF4-FFF2-40B4-BE49-F238E27FC236}">
                  <a16:creationId xmlns:a16="http://schemas.microsoft.com/office/drawing/2014/main" id="{72C7B6A4-FD9C-4301-BB1E-8CF467C3B0B0}"/>
                </a:ext>
              </a:extLst>
            </p:cNvPr>
            <p:cNvSpPr/>
            <p:nvPr/>
          </p:nvSpPr>
          <p:spPr>
            <a:xfrm>
              <a:off x="10841730" y="479773"/>
              <a:ext cx="125003" cy="175003"/>
            </a:xfrm>
            <a:custGeom>
              <a:avLst/>
              <a:gdLst>
                <a:gd name="connsiteX0" fmla="*/ 103052 w 125002"/>
                <a:gd name="connsiteY0" fmla="*/ 178153 h 175003"/>
                <a:gd name="connsiteX1" fmla="*/ 57651 w 125002"/>
                <a:gd name="connsiteY1" fmla="*/ 107402 h 175003"/>
                <a:gd name="connsiteX2" fmla="*/ 22150 w 125002"/>
                <a:gd name="connsiteY2" fmla="*/ 107402 h 175003"/>
                <a:gd name="connsiteX3" fmla="*/ 22150 w 125002"/>
                <a:gd name="connsiteY3" fmla="*/ 178153 h 175003"/>
                <a:gd name="connsiteX4" fmla="*/ 0 w 125002"/>
                <a:gd name="connsiteY4" fmla="*/ 178153 h 175003"/>
                <a:gd name="connsiteX5" fmla="*/ 0 w 125002"/>
                <a:gd name="connsiteY5" fmla="*/ 0 h 175003"/>
                <a:gd name="connsiteX6" fmla="*/ 71551 w 125002"/>
                <a:gd name="connsiteY6" fmla="*/ 0 h 175003"/>
                <a:gd name="connsiteX7" fmla="*/ 127353 w 125002"/>
                <a:gd name="connsiteY7" fmla="*/ 53701 h 175003"/>
                <a:gd name="connsiteX8" fmla="*/ 81152 w 125002"/>
                <a:gd name="connsiteY8" fmla="*/ 105502 h 175003"/>
                <a:gd name="connsiteX9" fmla="*/ 129203 w 125002"/>
                <a:gd name="connsiteY9" fmla="*/ 178153 h 175003"/>
                <a:gd name="connsiteX10" fmla="*/ 103052 w 125002"/>
                <a:gd name="connsiteY10" fmla="*/ 178153 h 175003"/>
                <a:gd name="connsiteX11" fmla="*/ 104402 w 125002"/>
                <a:gd name="connsiteY11" fmla="*/ 53701 h 175003"/>
                <a:gd name="connsiteX12" fmla="*/ 68901 w 125002"/>
                <a:gd name="connsiteY12" fmla="*/ 19800 h 175003"/>
                <a:gd name="connsiteX13" fmla="*/ 22150 w 125002"/>
                <a:gd name="connsiteY13" fmla="*/ 19800 h 175003"/>
                <a:gd name="connsiteX14" fmla="*/ 22150 w 125002"/>
                <a:gd name="connsiteY14" fmla="*/ 87902 h 175003"/>
                <a:gd name="connsiteX15" fmla="*/ 68901 w 125002"/>
                <a:gd name="connsiteY15" fmla="*/ 87902 h 175003"/>
                <a:gd name="connsiteX16" fmla="*/ 104402 w 125002"/>
                <a:gd name="connsiteY16" fmla="*/ 53701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002" h="175003">
                  <a:moveTo>
                    <a:pt x="103052" y="178153"/>
                  </a:moveTo>
                  <a:lnTo>
                    <a:pt x="57651" y="107402"/>
                  </a:lnTo>
                  <a:lnTo>
                    <a:pt x="22150" y="107402"/>
                  </a:lnTo>
                  <a:lnTo>
                    <a:pt x="22150" y="178153"/>
                  </a:lnTo>
                  <a:lnTo>
                    <a:pt x="0" y="178153"/>
                  </a:lnTo>
                  <a:lnTo>
                    <a:pt x="0" y="0"/>
                  </a:lnTo>
                  <a:lnTo>
                    <a:pt x="71551" y="0"/>
                  </a:lnTo>
                  <a:cubicBezTo>
                    <a:pt x="104152" y="0"/>
                    <a:pt x="127353" y="20850"/>
                    <a:pt x="127353" y="53701"/>
                  </a:cubicBezTo>
                  <a:cubicBezTo>
                    <a:pt x="127353" y="85752"/>
                    <a:pt x="105452" y="103352"/>
                    <a:pt x="81152" y="105502"/>
                  </a:cubicBezTo>
                  <a:lnTo>
                    <a:pt x="129203" y="178153"/>
                  </a:lnTo>
                  <a:lnTo>
                    <a:pt x="103052" y="178153"/>
                  </a:lnTo>
                  <a:close/>
                  <a:moveTo>
                    <a:pt x="104402" y="53701"/>
                  </a:moveTo>
                  <a:cubicBezTo>
                    <a:pt x="104402" y="33651"/>
                    <a:pt x="90002" y="19800"/>
                    <a:pt x="68901" y="19800"/>
                  </a:cubicBezTo>
                  <a:lnTo>
                    <a:pt x="22150" y="19800"/>
                  </a:lnTo>
                  <a:lnTo>
                    <a:pt x="22150" y="87902"/>
                  </a:lnTo>
                  <a:lnTo>
                    <a:pt x="68901" y="87902"/>
                  </a:lnTo>
                  <a:cubicBezTo>
                    <a:pt x="89952" y="87902"/>
                    <a:pt x="104402" y="73751"/>
                    <a:pt x="104402" y="53701"/>
                  </a:cubicBezTo>
                  <a:close/>
                </a:path>
              </a:pathLst>
            </a:custGeom>
            <a:grpFill/>
            <a:ln w="4982"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9" name="Freeform: Shape 8">
              <a:extLst>
                <a:ext uri="{FF2B5EF4-FFF2-40B4-BE49-F238E27FC236}">
                  <a16:creationId xmlns:a16="http://schemas.microsoft.com/office/drawing/2014/main" id="{A7A4A1B4-0870-4BBE-B82A-61D5AECCBB73}"/>
                </a:ext>
              </a:extLst>
            </p:cNvPr>
            <p:cNvSpPr/>
            <p:nvPr/>
          </p:nvSpPr>
          <p:spPr>
            <a:xfrm>
              <a:off x="11424193" y="479773"/>
              <a:ext cx="125003" cy="175003"/>
            </a:xfrm>
            <a:custGeom>
              <a:avLst/>
              <a:gdLst>
                <a:gd name="connsiteX0" fmla="*/ 103052 w 125002"/>
                <a:gd name="connsiteY0" fmla="*/ 178153 h 175003"/>
                <a:gd name="connsiteX1" fmla="*/ 57651 w 125002"/>
                <a:gd name="connsiteY1" fmla="*/ 107402 h 175003"/>
                <a:gd name="connsiteX2" fmla="*/ 22150 w 125002"/>
                <a:gd name="connsiteY2" fmla="*/ 107402 h 175003"/>
                <a:gd name="connsiteX3" fmla="*/ 22150 w 125002"/>
                <a:gd name="connsiteY3" fmla="*/ 178153 h 175003"/>
                <a:gd name="connsiteX4" fmla="*/ 0 w 125002"/>
                <a:gd name="connsiteY4" fmla="*/ 178153 h 175003"/>
                <a:gd name="connsiteX5" fmla="*/ 0 w 125002"/>
                <a:gd name="connsiteY5" fmla="*/ 0 h 175003"/>
                <a:gd name="connsiteX6" fmla="*/ 71551 w 125002"/>
                <a:gd name="connsiteY6" fmla="*/ 0 h 175003"/>
                <a:gd name="connsiteX7" fmla="*/ 127353 w 125002"/>
                <a:gd name="connsiteY7" fmla="*/ 53701 h 175003"/>
                <a:gd name="connsiteX8" fmla="*/ 81152 w 125002"/>
                <a:gd name="connsiteY8" fmla="*/ 105502 h 175003"/>
                <a:gd name="connsiteX9" fmla="*/ 129203 w 125002"/>
                <a:gd name="connsiteY9" fmla="*/ 178153 h 175003"/>
                <a:gd name="connsiteX10" fmla="*/ 103052 w 125002"/>
                <a:gd name="connsiteY10" fmla="*/ 178153 h 175003"/>
                <a:gd name="connsiteX11" fmla="*/ 104352 w 125002"/>
                <a:gd name="connsiteY11" fmla="*/ 53701 h 175003"/>
                <a:gd name="connsiteX12" fmla="*/ 68851 w 125002"/>
                <a:gd name="connsiteY12" fmla="*/ 19800 h 175003"/>
                <a:gd name="connsiteX13" fmla="*/ 22100 w 125002"/>
                <a:gd name="connsiteY13" fmla="*/ 19800 h 175003"/>
                <a:gd name="connsiteX14" fmla="*/ 22100 w 125002"/>
                <a:gd name="connsiteY14" fmla="*/ 87902 h 175003"/>
                <a:gd name="connsiteX15" fmla="*/ 68851 w 125002"/>
                <a:gd name="connsiteY15" fmla="*/ 87902 h 175003"/>
                <a:gd name="connsiteX16" fmla="*/ 104352 w 125002"/>
                <a:gd name="connsiteY16" fmla="*/ 53701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002" h="175003">
                  <a:moveTo>
                    <a:pt x="103052" y="178153"/>
                  </a:moveTo>
                  <a:lnTo>
                    <a:pt x="57651" y="107402"/>
                  </a:lnTo>
                  <a:lnTo>
                    <a:pt x="22150" y="107402"/>
                  </a:lnTo>
                  <a:lnTo>
                    <a:pt x="22150" y="178153"/>
                  </a:lnTo>
                  <a:lnTo>
                    <a:pt x="0" y="178153"/>
                  </a:lnTo>
                  <a:lnTo>
                    <a:pt x="0" y="0"/>
                  </a:lnTo>
                  <a:lnTo>
                    <a:pt x="71551" y="0"/>
                  </a:lnTo>
                  <a:cubicBezTo>
                    <a:pt x="104152" y="0"/>
                    <a:pt x="127353" y="20850"/>
                    <a:pt x="127353" y="53701"/>
                  </a:cubicBezTo>
                  <a:cubicBezTo>
                    <a:pt x="127353" y="85752"/>
                    <a:pt x="105452" y="103352"/>
                    <a:pt x="81152" y="105502"/>
                  </a:cubicBezTo>
                  <a:lnTo>
                    <a:pt x="129203" y="178153"/>
                  </a:lnTo>
                  <a:lnTo>
                    <a:pt x="103052" y="178153"/>
                  </a:lnTo>
                  <a:close/>
                  <a:moveTo>
                    <a:pt x="104352" y="53701"/>
                  </a:moveTo>
                  <a:cubicBezTo>
                    <a:pt x="104352" y="33651"/>
                    <a:pt x="89952" y="19800"/>
                    <a:pt x="68851" y="19800"/>
                  </a:cubicBezTo>
                  <a:lnTo>
                    <a:pt x="22100" y="19800"/>
                  </a:lnTo>
                  <a:lnTo>
                    <a:pt x="22100" y="87902"/>
                  </a:lnTo>
                  <a:lnTo>
                    <a:pt x="68851" y="87902"/>
                  </a:lnTo>
                  <a:cubicBezTo>
                    <a:pt x="89952" y="87902"/>
                    <a:pt x="104352" y="73751"/>
                    <a:pt x="104352" y="53701"/>
                  </a:cubicBezTo>
                  <a:close/>
                </a:path>
              </a:pathLst>
            </a:custGeom>
            <a:grpFill/>
            <a:ln w="4982"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0" name="Freeform: Shape 9">
              <a:extLst>
                <a:ext uri="{FF2B5EF4-FFF2-40B4-BE49-F238E27FC236}">
                  <a16:creationId xmlns:a16="http://schemas.microsoft.com/office/drawing/2014/main" id="{209CE717-BD48-49E0-A9D3-5ECB6260F6B0}"/>
                </a:ext>
              </a:extLst>
            </p:cNvPr>
            <p:cNvSpPr/>
            <p:nvPr/>
          </p:nvSpPr>
          <p:spPr>
            <a:xfrm>
              <a:off x="11648197" y="479773"/>
              <a:ext cx="170004" cy="175003"/>
            </a:xfrm>
            <a:custGeom>
              <a:avLst/>
              <a:gdLst>
                <a:gd name="connsiteX0" fmla="*/ 145503 w 170003"/>
                <a:gd name="connsiteY0" fmla="*/ 178153 h 175003"/>
                <a:gd name="connsiteX1" fmla="*/ 129753 w 170003"/>
                <a:gd name="connsiteY1" fmla="*/ 138653 h 175003"/>
                <a:gd name="connsiteX2" fmla="*/ 41101 w 170003"/>
                <a:gd name="connsiteY2" fmla="*/ 138653 h 175003"/>
                <a:gd name="connsiteX3" fmla="*/ 25351 w 170003"/>
                <a:gd name="connsiteY3" fmla="*/ 178153 h 175003"/>
                <a:gd name="connsiteX4" fmla="*/ 0 w 170003"/>
                <a:gd name="connsiteY4" fmla="*/ 178153 h 175003"/>
                <a:gd name="connsiteX5" fmla="*/ 71502 w 170003"/>
                <a:gd name="connsiteY5" fmla="*/ 0 h 175003"/>
                <a:gd name="connsiteX6" fmla="*/ 99002 w 170003"/>
                <a:gd name="connsiteY6" fmla="*/ 0 h 175003"/>
                <a:gd name="connsiteX7" fmla="*/ 170854 w 170003"/>
                <a:gd name="connsiteY7" fmla="*/ 178103 h 175003"/>
                <a:gd name="connsiteX8" fmla="*/ 145503 w 170003"/>
                <a:gd name="connsiteY8" fmla="*/ 178103 h 175003"/>
                <a:gd name="connsiteX9" fmla="*/ 85402 w 170003"/>
                <a:gd name="connsiteY9" fmla="*/ 23000 h 175003"/>
                <a:gd name="connsiteX10" fmla="*/ 47501 w 170003"/>
                <a:gd name="connsiteY10" fmla="*/ 118852 h 175003"/>
                <a:gd name="connsiteX11" fmla="*/ 123103 w 170003"/>
                <a:gd name="connsiteY11" fmla="*/ 118852 h 175003"/>
                <a:gd name="connsiteX12" fmla="*/ 85402 w 170003"/>
                <a:gd name="connsiteY12" fmla="*/ 23000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0003" h="175003">
                  <a:moveTo>
                    <a:pt x="145503" y="178153"/>
                  </a:moveTo>
                  <a:lnTo>
                    <a:pt x="129753" y="138653"/>
                  </a:lnTo>
                  <a:lnTo>
                    <a:pt x="41101" y="138653"/>
                  </a:lnTo>
                  <a:lnTo>
                    <a:pt x="25351" y="178153"/>
                  </a:lnTo>
                  <a:lnTo>
                    <a:pt x="0" y="178153"/>
                  </a:lnTo>
                  <a:lnTo>
                    <a:pt x="71502" y="0"/>
                  </a:lnTo>
                  <a:lnTo>
                    <a:pt x="99002" y="0"/>
                  </a:lnTo>
                  <a:lnTo>
                    <a:pt x="170854" y="178103"/>
                  </a:lnTo>
                  <a:lnTo>
                    <a:pt x="145503" y="178103"/>
                  </a:lnTo>
                  <a:close/>
                  <a:moveTo>
                    <a:pt x="85402" y="23000"/>
                  </a:moveTo>
                  <a:lnTo>
                    <a:pt x="47501" y="118852"/>
                  </a:lnTo>
                  <a:lnTo>
                    <a:pt x="123103" y="118852"/>
                  </a:lnTo>
                  <a:lnTo>
                    <a:pt x="85402" y="23000"/>
                  </a:lnTo>
                  <a:close/>
                </a:path>
              </a:pathLst>
            </a:custGeom>
            <a:grpFill/>
            <a:ln w="4982"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 name="Freeform: Shape 10">
              <a:extLst>
                <a:ext uri="{FF2B5EF4-FFF2-40B4-BE49-F238E27FC236}">
                  <a16:creationId xmlns:a16="http://schemas.microsoft.com/office/drawing/2014/main" id="{6C710FC0-D2DF-48E8-BC7F-F673B11235F8}"/>
                </a:ext>
              </a:extLst>
            </p:cNvPr>
            <p:cNvSpPr/>
            <p:nvPr/>
          </p:nvSpPr>
          <p:spPr>
            <a:xfrm>
              <a:off x="11094836" y="465323"/>
              <a:ext cx="200004" cy="145003"/>
            </a:xfrm>
            <a:custGeom>
              <a:avLst/>
              <a:gdLst>
                <a:gd name="connsiteX0" fmla="*/ 64701 w 200004"/>
                <a:gd name="connsiteY0" fmla="*/ 131853 h 145002"/>
                <a:gd name="connsiteX1" fmla="*/ 23001 w 200004"/>
                <a:gd name="connsiteY1" fmla="*/ 133703 h 145002"/>
                <a:gd name="connsiteX2" fmla="*/ 83552 w 200004"/>
                <a:gd name="connsiteY2" fmla="*/ 123802 h 145002"/>
                <a:gd name="connsiteX3" fmla="*/ 36401 w 200004"/>
                <a:gd name="connsiteY3" fmla="*/ 96452 h 145002"/>
                <a:gd name="connsiteX4" fmla="*/ 91652 w 200004"/>
                <a:gd name="connsiteY4" fmla="*/ 118852 h 145002"/>
                <a:gd name="connsiteX5" fmla="*/ 76352 w 200004"/>
                <a:gd name="connsiteY5" fmla="*/ 88152 h 145002"/>
                <a:gd name="connsiteX6" fmla="*/ 98002 w 200004"/>
                <a:gd name="connsiteY6" fmla="*/ 116402 h 145002"/>
                <a:gd name="connsiteX7" fmla="*/ 100952 w 200004"/>
                <a:gd name="connsiteY7" fmla="*/ 54551 h 145002"/>
                <a:gd name="connsiteX8" fmla="*/ 104252 w 200004"/>
                <a:gd name="connsiteY8" fmla="*/ 116402 h 145002"/>
                <a:gd name="connsiteX9" fmla="*/ 126453 w 200004"/>
                <a:gd name="connsiteY9" fmla="*/ 88152 h 145002"/>
                <a:gd name="connsiteX10" fmla="*/ 110602 w 200004"/>
                <a:gd name="connsiteY10" fmla="*/ 118852 h 145002"/>
                <a:gd name="connsiteX11" fmla="*/ 165853 w 200004"/>
                <a:gd name="connsiteY11" fmla="*/ 96552 h 145002"/>
                <a:gd name="connsiteX12" fmla="*/ 118703 w 200004"/>
                <a:gd name="connsiteY12" fmla="*/ 123902 h 145002"/>
                <a:gd name="connsiteX13" fmla="*/ 178854 w 200004"/>
                <a:gd name="connsiteY13" fmla="*/ 134003 h 145002"/>
                <a:gd name="connsiteX14" fmla="*/ 138703 w 200004"/>
                <a:gd name="connsiteY14" fmla="*/ 132053 h 145002"/>
                <a:gd name="connsiteX15" fmla="*/ 190304 w 200004"/>
                <a:gd name="connsiteY15" fmla="*/ 149703 h 145002"/>
                <a:gd name="connsiteX16" fmla="*/ 202704 w 200004"/>
                <a:gd name="connsiteY16" fmla="*/ 101352 h 145002"/>
                <a:gd name="connsiteX17" fmla="*/ 101352 w 200004"/>
                <a:gd name="connsiteY17" fmla="*/ 0 h 145002"/>
                <a:gd name="connsiteX18" fmla="*/ 0 w 200004"/>
                <a:gd name="connsiteY18" fmla="*/ 101352 h 145002"/>
                <a:gd name="connsiteX19" fmla="*/ 12300 w 200004"/>
                <a:gd name="connsiteY19" fmla="*/ 149503 h 145002"/>
                <a:gd name="connsiteX20" fmla="*/ 64701 w 200004"/>
                <a:gd name="connsiteY20" fmla="*/ 131853 h 14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0004" h="145002">
                  <a:moveTo>
                    <a:pt x="64701" y="131853"/>
                  </a:moveTo>
                  <a:lnTo>
                    <a:pt x="23001" y="133703"/>
                  </a:lnTo>
                  <a:lnTo>
                    <a:pt x="83552" y="123802"/>
                  </a:lnTo>
                  <a:lnTo>
                    <a:pt x="36401" y="96452"/>
                  </a:lnTo>
                  <a:lnTo>
                    <a:pt x="91652" y="118852"/>
                  </a:lnTo>
                  <a:lnTo>
                    <a:pt x="76352" y="88152"/>
                  </a:lnTo>
                  <a:lnTo>
                    <a:pt x="98002" y="116402"/>
                  </a:lnTo>
                  <a:lnTo>
                    <a:pt x="100952" y="54551"/>
                  </a:lnTo>
                  <a:lnTo>
                    <a:pt x="104252" y="116402"/>
                  </a:lnTo>
                  <a:lnTo>
                    <a:pt x="126453" y="88152"/>
                  </a:lnTo>
                  <a:lnTo>
                    <a:pt x="110602" y="118852"/>
                  </a:lnTo>
                  <a:lnTo>
                    <a:pt x="165853" y="96552"/>
                  </a:lnTo>
                  <a:lnTo>
                    <a:pt x="118703" y="123902"/>
                  </a:lnTo>
                  <a:lnTo>
                    <a:pt x="178854" y="134003"/>
                  </a:lnTo>
                  <a:lnTo>
                    <a:pt x="138703" y="132053"/>
                  </a:lnTo>
                  <a:cubicBezTo>
                    <a:pt x="157503" y="135453"/>
                    <a:pt x="175004" y="141453"/>
                    <a:pt x="190304" y="149703"/>
                  </a:cubicBezTo>
                  <a:cubicBezTo>
                    <a:pt x="198154" y="135353"/>
                    <a:pt x="202704" y="118902"/>
                    <a:pt x="202704" y="101352"/>
                  </a:cubicBezTo>
                  <a:cubicBezTo>
                    <a:pt x="202704" y="45401"/>
                    <a:pt x="157303" y="0"/>
                    <a:pt x="101352" y="0"/>
                  </a:cubicBezTo>
                  <a:cubicBezTo>
                    <a:pt x="45401" y="0"/>
                    <a:pt x="0" y="45401"/>
                    <a:pt x="0" y="101352"/>
                  </a:cubicBezTo>
                  <a:cubicBezTo>
                    <a:pt x="0" y="118802"/>
                    <a:pt x="4500" y="135203"/>
                    <a:pt x="12300" y="149503"/>
                  </a:cubicBezTo>
                  <a:cubicBezTo>
                    <a:pt x="27801" y="141253"/>
                    <a:pt x="45551" y="135203"/>
                    <a:pt x="64701" y="131853"/>
                  </a:cubicBezTo>
                  <a:close/>
                </a:path>
              </a:pathLst>
            </a:custGeom>
            <a:grpFill/>
            <a:ln w="4982"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2" name="Freeform: Shape 11">
              <a:extLst>
                <a:ext uri="{FF2B5EF4-FFF2-40B4-BE49-F238E27FC236}">
                  <a16:creationId xmlns:a16="http://schemas.microsoft.com/office/drawing/2014/main" id="{D8A2B092-7D7A-4810-80B7-8329AB797CD4}"/>
                </a:ext>
              </a:extLst>
            </p:cNvPr>
            <p:cNvSpPr/>
            <p:nvPr/>
          </p:nvSpPr>
          <p:spPr>
            <a:xfrm>
              <a:off x="11083285" y="599026"/>
              <a:ext cx="225005" cy="65001"/>
            </a:xfrm>
            <a:custGeom>
              <a:avLst/>
              <a:gdLst>
                <a:gd name="connsiteX0" fmla="*/ 225305 w 225004"/>
                <a:gd name="connsiteY0" fmla="*/ 38501 h 65001"/>
                <a:gd name="connsiteX1" fmla="*/ 112652 w 225004"/>
                <a:gd name="connsiteY1" fmla="*/ 0 h 65001"/>
                <a:gd name="connsiteX2" fmla="*/ 0 w 225004"/>
                <a:gd name="connsiteY2" fmla="*/ 38501 h 65001"/>
                <a:gd name="connsiteX3" fmla="*/ 32251 w 225004"/>
                <a:gd name="connsiteY3" fmla="*/ 28951 h 65001"/>
                <a:gd name="connsiteX4" fmla="*/ 112802 w 225004"/>
                <a:gd name="connsiteY4" fmla="*/ 69001 h 65001"/>
                <a:gd name="connsiteX5" fmla="*/ 193304 w 225004"/>
                <a:gd name="connsiteY5" fmla="*/ 29051 h 65001"/>
                <a:gd name="connsiteX6" fmla="*/ 225305 w 225004"/>
                <a:gd name="connsiteY6" fmla="*/ 38501 h 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004" h="65001">
                  <a:moveTo>
                    <a:pt x="225305" y="38501"/>
                  </a:moveTo>
                  <a:cubicBezTo>
                    <a:pt x="199904" y="15150"/>
                    <a:pt x="158903" y="0"/>
                    <a:pt x="112652" y="0"/>
                  </a:cubicBezTo>
                  <a:cubicBezTo>
                    <a:pt x="66401" y="0"/>
                    <a:pt x="25451" y="15150"/>
                    <a:pt x="0" y="38501"/>
                  </a:cubicBezTo>
                  <a:cubicBezTo>
                    <a:pt x="10000" y="34801"/>
                    <a:pt x="20850" y="31651"/>
                    <a:pt x="32251" y="28951"/>
                  </a:cubicBezTo>
                  <a:cubicBezTo>
                    <a:pt x="50751" y="53251"/>
                    <a:pt x="79902" y="69001"/>
                    <a:pt x="112802" y="69001"/>
                  </a:cubicBezTo>
                  <a:cubicBezTo>
                    <a:pt x="145653" y="69001"/>
                    <a:pt x="174804" y="53301"/>
                    <a:pt x="193304" y="29051"/>
                  </a:cubicBezTo>
                  <a:cubicBezTo>
                    <a:pt x="204604" y="31751"/>
                    <a:pt x="215355" y="34851"/>
                    <a:pt x="225305" y="38501"/>
                  </a:cubicBezTo>
                  <a:close/>
                </a:path>
              </a:pathLst>
            </a:custGeom>
            <a:grpFill/>
            <a:ln w="4982"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13" name="Text Placeholder 2">
            <a:extLst>
              <a:ext uri="{FF2B5EF4-FFF2-40B4-BE49-F238E27FC236}">
                <a16:creationId xmlns:a16="http://schemas.microsoft.com/office/drawing/2014/main" id="{4385B810-D51F-480F-99F0-CF5EDD196369}"/>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6" name="Text Placeholder 5">
            <a:extLst>
              <a:ext uri="{FF2B5EF4-FFF2-40B4-BE49-F238E27FC236}">
                <a16:creationId xmlns:a16="http://schemas.microsoft.com/office/drawing/2014/main" id="{99298B8F-4BE3-4951-998C-9CFA975CB237}"/>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E3D4CD55-9B84-46C1-A69B-246D06DB9777}"/>
              </a:ext>
            </a:extLst>
          </p:cNvPr>
          <p:cNvSpPr>
            <a:spLocks noGrp="1"/>
          </p:cNvSpPr>
          <p:nvPr>
            <p:ph type="body" sz="quarter" idx="33"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
        <p:nvSpPr>
          <p:cNvPr id="19" name="Confidential">
            <a:extLst>
              <a:ext uri="{FF2B5EF4-FFF2-40B4-BE49-F238E27FC236}">
                <a16:creationId xmlns:a16="http://schemas.microsoft.com/office/drawing/2014/main" id="{5D889531-8280-4188-BF39-19C0F693099A}"/>
              </a:ext>
            </a:extLst>
          </p:cNvPr>
          <p:cNvSpPr txBox="1"/>
          <p:nvPr userDrawn="1"/>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Tree>
    <p:extLst>
      <p:ext uri="{BB962C8B-B14F-4D97-AF65-F5344CB8AC3E}">
        <p14:creationId xmlns:p14="http://schemas.microsoft.com/office/powerpoint/2010/main" val="210020728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Key fac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381601" y="411856"/>
            <a:ext cx="8601074" cy="609398"/>
          </a:xfrm>
        </p:spPr>
        <p:txBody>
          <a:bodyPr vert="horz" lIns="0" tIns="0" rIns="0" bIns="0" rtlCol="0" anchor="t" anchorCtr="0">
            <a:noAutofit/>
          </a:bodyPr>
          <a:lstStyle>
            <a:lvl1pPr>
              <a:defRPr lang="en-GB" dirty="0">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marL="0" lvl="0"/>
            <a:r>
              <a:rPr lang="en-GB"/>
              <a:t>Click to edit Master title style</a:t>
            </a:r>
            <a:br>
              <a:rPr lang="en-GB"/>
            </a:br>
            <a:endParaRPr lang="en-GB"/>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2755"/>
            <a:ext cx="8601074"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4" name="Text Placeholder 4">
            <a:extLst>
              <a:ext uri="{FF2B5EF4-FFF2-40B4-BE49-F238E27FC236}">
                <a16:creationId xmlns:a16="http://schemas.microsoft.com/office/drawing/2014/main" id="{32BAE579-0324-4306-9E4A-CEFBFBCF8241}"/>
              </a:ext>
            </a:extLst>
          </p:cNvPr>
          <p:cNvSpPr>
            <a:spLocks noGrp="1"/>
          </p:cNvSpPr>
          <p:nvPr>
            <p:ph type="body" sz="quarter" idx="29" hasCustomPrompt="1"/>
          </p:nvPr>
        </p:nvSpPr>
        <p:spPr>
          <a:xfrm>
            <a:off x="381000" y="1263129"/>
            <a:ext cx="8601074"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lvl="0"/>
            <a:r>
              <a:rPr lang="en-GB"/>
              <a:t>(max. 2 lines)</a:t>
            </a:r>
          </a:p>
        </p:txBody>
      </p:sp>
      <p:sp>
        <p:nvSpPr>
          <p:cNvPr id="18" name="372d6bc3-9354-4d6b-957c-e6191d9c64fa">
            <a:extLst>
              <a:ext uri="{FF2B5EF4-FFF2-40B4-BE49-F238E27FC236}">
                <a16:creationId xmlns:a16="http://schemas.microsoft.com/office/drawing/2014/main" id="{98045FE0-93EF-4C6C-97B7-815398D71268}"/>
              </a:ext>
            </a:extLst>
          </p:cNvPr>
          <p:cNvSpPr/>
          <p:nvPr/>
        </p:nvSpPr>
        <p:spPr>
          <a:xfrm flipV="1">
            <a:off x="9220201" y="2"/>
            <a:ext cx="2971799" cy="6857998"/>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24" name="f454b7a7-e679-4423-93fd-eb5c8cfdb3ea">
            <a:extLst>
              <a:ext uri="{FF2B5EF4-FFF2-40B4-BE49-F238E27FC236}">
                <a16:creationId xmlns:a16="http://schemas.microsoft.com/office/drawing/2014/main" id="{9214D2F2-E3DD-4C51-B731-AD5FD781FBE4}"/>
              </a:ext>
            </a:extLst>
          </p:cNvPr>
          <p:cNvGrpSpPr>
            <a:grpSpLocks/>
          </p:cNvGrpSpPr>
          <p:nvPr/>
        </p:nvGrpSpPr>
        <p:grpSpPr>
          <a:xfrm>
            <a:off x="10315575" y="467242"/>
            <a:ext cx="1495425" cy="200915"/>
            <a:chOff x="4412270" y="5962497"/>
            <a:chExt cx="3840163" cy="515938"/>
          </a:xfrm>
        </p:grpSpPr>
        <p:sp>
          <p:nvSpPr>
            <p:cNvPr id="25" name="Freeform 7">
              <a:extLst>
                <a:ext uri="{FF2B5EF4-FFF2-40B4-BE49-F238E27FC236}">
                  <a16:creationId xmlns:a16="http://schemas.microsoft.com/office/drawing/2014/main" id="{8DA25A64-39FC-4C9F-B34F-88CF573E36B4}"/>
                </a:ext>
              </a:extLst>
            </p:cNvPr>
            <p:cNvSpPr>
              <a:spLocks noEditPoints="1"/>
            </p:cNvSpPr>
            <p:nvPr/>
          </p:nvSpPr>
          <p:spPr bwMode="auto">
            <a:xfrm>
              <a:off x="4412270" y="6000597"/>
              <a:ext cx="433388" cy="452438"/>
            </a:xfrm>
            <a:custGeom>
              <a:avLst/>
              <a:gdLst>
                <a:gd name="T0" fmla="*/ 273 w 547"/>
                <a:gd name="T1" fmla="*/ 73 h 570"/>
                <a:gd name="T2" fmla="*/ 153 w 547"/>
                <a:gd name="T3" fmla="*/ 381 h 570"/>
                <a:gd name="T4" fmla="*/ 394 w 547"/>
                <a:gd name="T5" fmla="*/ 381 h 570"/>
                <a:gd name="T6" fmla="*/ 273 w 547"/>
                <a:gd name="T7" fmla="*/ 73 h 570"/>
                <a:gd name="T8" fmla="*/ 229 w 547"/>
                <a:gd name="T9" fmla="*/ 0 h 570"/>
                <a:gd name="T10" fmla="*/ 317 w 547"/>
                <a:gd name="T11" fmla="*/ 0 h 570"/>
                <a:gd name="T12" fmla="*/ 547 w 547"/>
                <a:gd name="T13" fmla="*/ 570 h 570"/>
                <a:gd name="T14" fmla="*/ 466 w 547"/>
                <a:gd name="T15" fmla="*/ 570 h 570"/>
                <a:gd name="T16" fmla="*/ 416 w 547"/>
                <a:gd name="T17" fmla="*/ 444 h 570"/>
                <a:gd name="T18" fmla="*/ 132 w 547"/>
                <a:gd name="T19" fmla="*/ 444 h 570"/>
                <a:gd name="T20" fmla="*/ 81 w 547"/>
                <a:gd name="T21" fmla="*/ 570 h 570"/>
                <a:gd name="T22" fmla="*/ 0 w 547"/>
                <a:gd name="T23" fmla="*/ 570 h 570"/>
                <a:gd name="T24" fmla="*/ 229 w 547"/>
                <a:gd name="T25"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7" h="570">
                  <a:moveTo>
                    <a:pt x="273" y="73"/>
                  </a:moveTo>
                  <a:lnTo>
                    <a:pt x="153" y="381"/>
                  </a:lnTo>
                  <a:lnTo>
                    <a:pt x="394" y="381"/>
                  </a:lnTo>
                  <a:lnTo>
                    <a:pt x="273" y="73"/>
                  </a:lnTo>
                  <a:close/>
                  <a:moveTo>
                    <a:pt x="229" y="0"/>
                  </a:moveTo>
                  <a:lnTo>
                    <a:pt x="317" y="0"/>
                  </a:lnTo>
                  <a:lnTo>
                    <a:pt x="547" y="570"/>
                  </a:lnTo>
                  <a:lnTo>
                    <a:pt x="466" y="570"/>
                  </a:lnTo>
                  <a:lnTo>
                    <a:pt x="416" y="444"/>
                  </a:lnTo>
                  <a:lnTo>
                    <a:pt x="132" y="444"/>
                  </a:lnTo>
                  <a:lnTo>
                    <a:pt x="81" y="570"/>
                  </a:lnTo>
                  <a:lnTo>
                    <a:pt x="0" y="570"/>
                  </a:lnTo>
                  <a:lnTo>
                    <a:pt x="22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6" name="Freeform 8">
              <a:extLst>
                <a:ext uri="{FF2B5EF4-FFF2-40B4-BE49-F238E27FC236}">
                  <a16:creationId xmlns:a16="http://schemas.microsoft.com/office/drawing/2014/main" id="{F5F38BAC-8001-4808-A809-064C9183B318}"/>
                </a:ext>
              </a:extLst>
            </p:cNvPr>
            <p:cNvSpPr>
              <a:spLocks/>
            </p:cNvSpPr>
            <p:nvPr/>
          </p:nvSpPr>
          <p:spPr bwMode="auto">
            <a:xfrm>
              <a:off x="5091720" y="6000597"/>
              <a:ext cx="368300" cy="460375"/>
            </a:xfrm>
            <a:custGeom>
              <a:avLst/>
              <a:gdLst>
                <a:gd name="T0" fmla="*/ 0 w 466"/>
                <a:gd name="T1" fmla="*/ 0 h 581"/>
                <a:gd name="T2" fmla="*/ 71 w 466"/>
                <a:gd name="T3" fmla="*/ 0 h 581"/>
                <a:gd name="T4" fmla="*/ 71 w 466"/>
                <a:gd name="T5" fmla="*/ 347 h 581"/>
                <a:gd name="T6" fmla="*/ 73 w 466"/>
                <a:gd name="T7" fmla="*/ 384 h 581"/>
                <a:gd name="T8" fmla="*/ 82 w 466"/>
                <a:gd name="T9" fmla="*/ 417 h 581"/>
                <a:gd name="T10" fmla="*/ 94 w 466"/>
                <a:gd name="T11" fmla="*/ 447 h 581"/>
                <a:gd name="T12" fmla="*/ 113 w 466"/>
                <a:gd name="T13" fmla="*/ 470 h 581"/>
                <a:gd name="T14" fmla="*/ 135 w 466"/>
                <a:gd name="T15" fmla="*/ 491 h 581"/>
                <a:gd name="T16" fmla="*/ 163 w 466"/>
                <a:gd name="T17" fmla="*/ 506 h 581"/>
                <a:gd name="T18" fmla="*/ 195 w 466"/>
                <a:gd name="T19" fmla="*/ 514 h 581"/>
                <a:gd name="T20" fmla="*/ 232 w 466"/>
                <a:gd name="T21" fmla="*/ 517 h 581"/>
                <a:gd name="T22" fmla="*/ 270 w 466"/>
                <a:gd name="T23" fmla="*/ 514 h 581"/>
                <a:gd name="T24" fmla="*/ 303 w 466"/>
                <a:gd name="T25" fmla="*/ 506 h 581"/>
                <a:gd name="T26" fmla="*/ 331 w 466"/>
                <a:gd name="T27" fmla="*/ 491 h 581"/>
                <a:gd name="T28" fmla="*/ 353 w 466"/>
                <a:gd name="T29" fmla="*/ 470 h 581"/>
                <a:gd name="T30" fmla="*/ 370 w 466"/>
                <a:gd name="T31" fmla="*/ 447 h 581"/>
                <a:gd name="T32" fmla="*/ 383 w 466"/>
                <a:gd name="T33" fmla="*/ 417 h 581"/>
                <a:gd name="T34" fmla="*/ 392 w 466"/>
                <a:gd name="T35" fmla="*/ 384 h 581"/>
                <a:gd name="T36" fmla="*/ 394 w 466"/>
                <a:gd name="T37" fmla="*/ 347 h 581"/>
                <a:gd name="T38" fmla="*/ 394 w 466"/>
                <a:gd name="T39" fmla="*/ 0 h 581"/>
                <a:gd name="T40" fmla="*/ 466 w 466"/>
                <a:gd name="T41" fmla="*/ 0 h 581"/>
                <a:gd name="T42" fmla="*/ 466 w 466"/>
                <a:gd name="T43" fmla="*/ 347 h 581"/>
                <a:gd name="T44" fmla="*/ 463 w 466"/>
                <a:gd name="T45" fmla="*/ 388 h 581"/>
                <a:gd name="T46" fmla="*/ 455 w 466"/>
                <a:gd name="T47" fmla="*/ 426 h 581"/>
                <a:gd name="T48" fmla="*/ 444 w 466"/>
                <a:gd name="T49" fmla="*/ 460 h 581"/>
                <a:gd name="T50" fmla="*/ 428 w 466"/>
                <a:gd name="T51" fmla="*/ 491 h 581"/>
                <a:gd name="T52" fmla="*/ 407 w 466"/>
                <a:gd name="T53" fmla="*/ 517 h 581"/>
                <a:gd name="T54" fmla="*/ 382 w 466"/>
                <a:gd name="T55" fmla="*/ 539 h 581"/>
                <a:gd name="T56" fmla="*/ 351 w 466"/>
                <a:gd name="T57" fmla="*/ 557 h 581"/>
                <a:gd name="T58" fmla="*/ 316 w 466"/>
                <a:gd name="T59" fmla="*/ 570 h 581"/>
                <a:gd name="T60" fmla="*/ 276 w 466"/>
                <a:gd name="T61" fmla="*/ 578 h 581"/>
                <a:gd name="T62" fmla="*/ 232 w 466"/>
                <a:gd name="T63" fmla="*/ 581 h 581"/>
                <a:gd name="T64" fmla="*/ 188 w 466"/>
                <a:gd name="T65" fmla="*/ 578 h 581"/>
                <a:gd name="T66" fmla="*/ 148 w 466"/>
                <a:gd name="T67" fmla="*/ 569 h 581"/>
                <a:gd name="T68" fmla="*/ 115 w 466"/>
                <a:gd name="T69" fmla="*/ 557 h 581"/>
                <a:gd name="T70" fmla="*/ 84 w 466"/>
                <a:gd name="T71" fmla="*/ 539 h 581"/>
                <a:gd name="T72" fmla="*/ 59 w 466"/>
                <a:gd name="T73" fmla="*/ 517 h 581"/>
                <a:gd name="T74" fmla="*/ 38 w 466"/>
                <a:gd name="T75" fmla="*/ 491 h 581"/>
                <a:gd name="T76" fmla="*/ 21 w 466"/>
                <a:gd name="T77" fmla="*/ 460 h 581"/>
                <a:gd name="T78" fmla="*/ 9 w 466"/>
                <a:gd name="T79" fmla="*/ 426 h 581"/>
                <a:gd name="T80" fmla="*/ 3 w 466"/>
                <a:gd name="T81" fmla="*/ 389 h 581"/>
                <a:gd name="T82" fmla="*/ 0 w 466"/>
                <a:gd name="T83" fmla="*/ 348 h 581"/>
                <a:gd name="T84" fmla="*/ 0 w 466"/>
                <a:gd name="T85" fmla="*/ 0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66" h="581">
                  <a:moveTo>
                    <a:pt x="0" y="0"/>
                  </a:moveTo>
                  <a:lnTo>
                    <a:pt x="71" y="0"/>
                  </a:lnTo>
                  <a:lnTo>
                    <a:pt x="71" y="347"/>
                  </a:lnTo>
                  <a:lnTo>
                    <a:pt x="73" y="384"/>
                  </a:lnTo>
                  <a:lnTo>
                    <a:pt x="82" y="417"/>
                  </a:lnTo>
                  <a:lnTo>
                    <a:pt x="94" y="447"/>
                  </a:lnTo>
                  <a:lnTo>
                    <a:pt x="113" y="470"/>
                  </a:lnTo>
                  <a:lnTo>
                    <a:pt x="135" y="491"/>
                  </a:lnTo>
                  <a:lnTo>
                    <a:pt x="163" y="506"/>
                  </a:lnTo>
                  <a:lnTo>
                    <a:pt x="195" y="514"/>
                  </a:lnTo>
                  <a:lnTo>
                    <a:pt x="232" y="517"/>
                  </a:lnTo>
                  <a:lnTo>
                    <a:pt x="270" y="514"/>
                  </a:lnTo>
                  <a:lnTo>
                    <a:pt x="303" y="506"/>
                  </a:lnTo>
                  <a:lnTo>
                    <a:pt x="331" y="491"/>
                  </a:lnTo>
                  <a:lnTo>
                    <a:pt x="353" y="470"/>
                  </a:lnTo>
                  <a:lnTo>
                    <a:pt x="370" y="447"/>
                  </a:lnTo>
                  <a:lnTo>
                    <a:pt x="383" y="417"/>
                  </a:lnTo>
                  <a:lnTo>
                    <a:pt x="392" y="384"/>
                  </a:lnTo>
                  <a:lnTo>
                    <a:pt x="394" y="347"/>
                  </a:lnTo>
                  <a:lnTo>
                    <a:pt x="394" y="0"/>
                  </a:lnTo>
                  <a:lnTo>
                    <a:pt x="466" y="0"/>
                  </a:lnTo>
                  <a:lnTo>
                    <a:pt x="466" y="347"/>
                  </a:lnTo>
                  <a:lnTo>
                    <a:pt x="463" y="388"/>
                  </a:lnTo>
                  <a:lnTo>
                    <a:pt x="455" y="426"/>
                  </a:lnTo>
                  <a:lnTo>
                    <a:pt x="444" y="460"/>
                  </a:lnTo>
                  <a:lnTo>
                    <a:pt x="428" y="491"/>
                  </a:lnTo>
                  <a:lnTo>
                    <a:pt x="407" y="517"/>
                  </a:lnTo>
                  <a:lnTo>
                    <a:pt x="382" y="539"/>
                  </a:lnTo>
                  <a:lnTo>
                    <a:pt x="351" y="557"/>
                  </a:lnTo>
                  <a:lnTo>
                    <a:pt x="316" y="570"/>
                  </a:lnTo>
                  <a:lnTo>
                    <a:pt x="276" y="578"/>
                  </a:lnTo>
                  <a:lnTo>
                    <a:pt x="232" y="581"/>
                  </a:lnTo>
                  <a:lnTo>
                    <a:pt x="188" y="578"/>
                  </a:lnTo>
                  <a:lnTo>
                    <a:pt x="148" y="569"/>
                  </a:lnTo>
                  <a:lnTo>
                    <a:pt x="115" y="557"/>
                  </a:lnTo>
                  <a:lnTo>
                    <a:pt x="84" y="539"/>
                  </a:lnTo>
                  <a:lnTo>
                    <a:pt x="59" y="517"/>
                  </a:lnTo>
                  <a:lnTo>
                    <a:pt x="38" y="491"/>
                  </a:lnTo>
                  <a:lnTo>
                    <a:pt x="21" y="460"/>
                  </a:lnTo>
                  <a:lnTo>
                    <a:pt x="9" y="426"/>
                  </a:lnTo>
                  <a:lnTo>
                    <a:pt x="3" y="389"/>
                  </a:lnTo>
                  <a:lnTo>
                    <a:pt x="0" y="34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0" name="Freeform 9">
              <a:extLst>
                <a:ext uri="{FF2B5EF4-FFF2-40B4-BE49-F238E27FC236}">
                  <a16:creationId xmlns:a16="http://schemas.microsoft.com/office/drawing/2014/main" id="{46C9943F-3D9C-4871-AD7B-1E320FBEB0CA}"/>
                </a:ext>
              </a:extLst>
            </p:cNvPr>
            <p:cNvSpPr>
              <a:spLocks noEditPoints="1"/>
            </p:cNvSpPr>
            <p:nvPr/>
          </p:nvSpPr>
          <p:spPr bwMode="auto">
            <a:xfrm>
              <a:off x="5769583" y="6000597"/>
              <a:ext cx="327025" cy="452438"/>
            </a:xfrm>
            <a:custGeom>
              <a:avLst/>
              <a:gdLst>
                <a:gd name="T0" fmla="*/ 71 w 413"/>
                <a:gd name="T1" fmla="*/ 63 h 570"/>
                <a:gd name="T2" fmla="*/ 71 w 413"/>
                <a:gd name="T3" fmla="*/ 281 h 570"/>
                <a:gd name="T4" fmla="*/ 220 w 413"/>
                <a:gd name="T5" fmla="*/ 281 h 570"/>
                <a:gd name="T6" fmla="*/ 251 w 413"/>
                <a:gd name="T7" fmla="*/ 278 h 570"/>
                <a:gd name="T8" fmla="*/ 279 w 413"/>
                <a:gd name="T9" fmla="*/ 267 h 570"/>
                <a:gd name="T10" fmla="*/ 303 w 413"/>
                <a:gd name="T11" fmla="*/ 250 h 570"/>
                <a:gd name="T12" fmla="*/ 319 w 413"/>
                <a:gd name="T13" fmla="*/ 228 h 570"/>
                <a:gd name="T14" fmla="*/ 331 w 413"/>
                <a:gd name="T15" fmla="*/ 201 h 570"/>
                <a:gd name="T16" fmla="*/ 334 w 413"/>
                <a:gd name="T17" fmla="*/ 172 h 570"/>
                <a:gd name="T18" fmla="*/ 331 w 413"/>
                <a:gd name="T19" fmla="*/ 141 h 570"/>
                <a:gd name="T20" fmla="*/ 319 w 413"/>
                <a:gd name="T21" fmla="*/ 115 h 570"/>
                <a:gd name="T22" fmla="*/ 303 w 413"/>
                <a:gd name="T23" fmla="*/ 93 h 570"/>
                <a:gd name="T24" fmla="*/ 279 w 413"/>
                <a:gd name="T25" fmla="*/ 76 h 570"/>
                <a:gd name="T26" fmla="*/ 251 w 413"/>
                <a:gd name="T27" fmla="*/ 66 h 570"/>
                <a:gd name="T28" fmla="*/ 220 w 413"/>
                <a:gd name="T29" fmla="*/ 63 h 570"/>
                <a:gd name="T30" fmla="*/ 71 w 413"/>
                <a:gd name="T31" fmla="*/ 63 h 570"/>
                <a:gd name="T32" fmla="*/ 0 w 413"/>
                <a:gd name="T33" fmla="*/ 0 h 570"/>
                <a:gd name="T34" fmla="*/ 229 w 413"/>
                <a:gd name="T35" fmla="*/ 0 h 570"/>
                <a:gd name="T36" fmla="*/ 266 w 413"/>
                <a:gd name="T37" fmla="*/ 3 h 570"/>
                <a:gd name="T38" fmla="*/ 301 w 413"/>
                <a:gd name="T39" fmla="*/ 12 h 570"/>
                <a:gd name="T40" fmla="*/ 331 w 413"/>
                <a:gd name="T41" fmla="*/ 26 h 570"/>
                <a:gd name="T42" fmla="*/ 357 w 413"/>
                <a:gd name="T43" fmla="*/ 46 h 570"/>
                <a:gd name="T44" fmla="*/ 378 w 413"/>
                <a:gd name="T45" fmla="*/ 71 h 570"/>
                <a:gd name="T46" fmla="*/ 394 w 413"/>
                <a:gd name="T47" fmla="*/ 100 h 570"/>
                <a:gd name="T48" fmla="*/ 404 w 413"/>
                <a:gd name="T49" fmla="*/ 134 h 570"/>
                <a:gd name="T50" fmla="*/ 407 w 413"/>
                <a:gd name="T51" fmla="*/ 172 h 570"/>
                <a:gd name="T52" fmla="*/ 404 w 413"/>
                <a:gd name="T53" fmla="*/ 207 h 570"/>
                <a:gd name="T54" fmla="*/ 395 w 413"/>
                <a:gd name="T55" fmla="*/ 240 h 570"/>
                <a:gd name="T56" fmla="*/ 381 w 413"/>
                <a:gd name="T57" fmla="*/ 267 h 570"/>
                <a:gd name="T58" fmla="*/ 363 w 413"/>
                <a:gd name="T59" fmla="*/ 291 h 570"/>
                <a:gd name="T60" fmla="*/ 341 w 413"/>
                <a:gd name="T61" fmla="*/ 309 h 570"/>
                <a:gd name="T62" fmla="*/ 316 w 413"/>
                <a:gd name="T63" fmla="*/ 323 h 570"/>
                <a:gd name="T64" fmla="*/ 288 w 413"/>
                <a:gd name="T65" fmla="*/ 332 h 570"/>
                <a:gd name="T66" fmla="*/ 260 w 413"/>
                <a:gd name="T67" fmla="*/ 338 h 570"/>
                <a:gd name="T68" fmla="*/ 413 w 413"/>
                <a:gd name="T69" fmla="*/ 570 h 570"/>
                <a:gd name="T70" fmla="*/ 329 w 413"/>
                <a:gd name="T71" fmla="*/ 570 h 570"/>
                <a:gd name="T72" fmla="*/ 184 w 413"/>
                <a:gd name="T73" fmla="*/ 344 h 570"/>
                <a:gd name="T74" fmla="*/ 71 w 413"/>
                <a:gd name="T75" fmla="*/ 344 h 570"/>
                <a:gd name="T76" fmla="*/ 71 w 413"/>
                <a:gd name="T77" fmla="*/ 570 h 570"/>
                <a:gd name="T78" fmla="*/ 0 w 413"/>
                <a:gd name="T79" fmla="*/ 570 h 570"/>
                <a:gd name="T80" fmla="*/ 0 w 413"/>
                <a:gd name="T8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3" h="570">
                  <a:moveTo>
                    <a:pt x="71" y="63"/>
                  </a:moveTo>
                  <a:lnTo>
                    <a:pt x="71" y="281"/>
                  </a:lnTo>
                  <a:lnTo>
                    <a:pt x="220" y="281"/>
                  </a:lnTo>
                  <a:lnTo>
                    <a:pt x="251" y="278"/>
                  </a:lnTo>
                  <a:lnTo>
                    <a:pt x="279" y="267"/>
                  </a:lnTo>
                  <a:lnTo>
                    <a:pt x="303" y="250"/>
                  </a:lnTo>
                  <a:lnTo>
                    <a:pt x="319" y="228"/>
                  </a:lnTo>
                  <a:lnTo>
                    <a:pt x="331" y="201"/>
                  </a:lnTo>
                  <a:lnTo>
                    <a:pt x="334" y="172"/>
                  </a:lnTo>
                  <a:lnTo>
                    <a:pt x="331" y="141"/>
                  </a:lnTo>
                  <a:lnTo>
                    <a:pt x="319" y="115"/>
                  </a:lnTo>
                  <a:lnTo>
                    <a:pt x="303" y="93"/>
                  </a:lnTo>
                  <a:lnTo>
                    <a:pt x="279" y="76"/>
                  </a:lnTo>
                  <a:lnTo>
                    <a:pt x="251" y="66"/>
                  </a:lnTo>
                  <a:lnTo>
                    <a:pt x="220" y="63"/>
                  </a:lnTo>
                  <a:lnTo>
                    <a:pt x="71" y="63"/>
                  </a:lnTo>
                  <a:close/>
                  <a:moveTo>
                    <a:pt x="0" y="0"/>
                  </a:moveTo>
                  <a:lnTo>
                    <a:pt x="229" y="0"/>
                  </a:lnTo>
                  <a:lnTo>
                    <a:pt x="266" y="3"/>
                  </a:lnTo>
                  <a:lnTo>
                    <a:pt x="301" y="12"/>
                  </a:lnTo>
                  <a:lnTo>
                    <a:pt x="331" y="26"/>
                  </a:lnTo>
                  <a:lnTo>
                    <a:pt x="357" y="46"/>
                  </a:lnTo>
                  <a:lnTo>
                    <a:pt x="378" y="71"/>
                  </a:lnTo>
                  <a:lnTo>
                    <a:pt x="394" y="100"/>
                  </a:lnTo>
                  <a:lnTo>
                    <a:pt x="404" y="134"/>
                  </a:lnTo>
                  <a:lnTo>
                    <a:pt x="407" y="172"/>
                  </a:lnTo>
                  <a:lnTo>
                    <a:pt x="404" y="207"/>
                  </a:lnTo>
                  <a:lnTo>
                    <a:pt x="395" y="240"/>
                  </a:lnTo>
                  <a:lnTo>
                    <a:pt x="381" y="267"/>
                  </a:lnTo>
                  <a:lnTo>
                    <a:pt x="363" y="291"/>
                  </a:lnTo>
                  <a:lnTo>
                    <a:pt x="341" y="309"/>
                  </a:lnTo>
                  <a:lnTo>
                    <a:pt x="316" y="323"/>
                  </a:lnTo>
                  <a:lnTo>
                    <a:pt x="288" y="332"/>
                  </a:lnTo>
                  <a:lnTo>
                    <a:pt x="260" y="338"/>
                  </a:lnTo>
                  <a:lnTo>
                    <a:pt x="413" y="570"/>
                  </a:lnTo>
                  <a:lnTo>
                    <a:pt x="329" y="570"/>
                  </a:lnTo>
                  <a:lnTo>
                    <a:pt x="184" y="344"/>
                  </a:lnTo>
                  <a:lnTo>
                    <a:pt x="71" y="344"/>
                  </a:lnTo>
                  <a:lnTo>
                    <a:pt x="71" y="570"/>
                  </a:lnTo>
                  <a:lnTo>
                    <a:pt x="0" y="570"/>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1" name="Freeform 10">
              <a:extLst>
                <a:ext uri="{FF2B5EF4-FFF2-40B4-BE49-F238E27FC236}">
                  <a16:creationId xmlns:a16="http://schemas.microsoft.com/office/drawing/2014/main" id="{6CA1C8F6-67FD-412D-8FB4-BD1BB9DCDE2B}"/>
                </a:ext>
              </a:extLst>
            </p:cNvPr>
            <p:cNvSpPr>
              <a:spLocks noEditPoints="1"/>
            </p:cNvSpPr>
            <p:nvPr/>
          </p:nvSpPr>
          <p:spPr bwMode="auto">
            <a:xfrm>
              <a:off x="7247545" y="6000597"/>
              <a:ext cx="330200" cy="452438"/>
            </a:xfrm>
            <a:custGeom>
              <a:avLst/>
              <a:gdLst>
                <a:gd name="T0" fmla="*/ 72 w 414"/>
                <a:gd name="T1" fmla="*/ 63 h 570"/>
                <a:gd name="T2" fmla="*/ 72 w 414"/>
                <a:gd name="T3" fmla="*/ 281 h 570"/>
                <a:gd name="T4" fmla="*/ 220 w 414"/>
                <a:gd name="T5" fmla="*/ 281 h 570"/>
                <a:gd name="T6" fmla="*/ 253 w 414"/>
                <a:gd name="T7" fmla="*/ 278 h 570"/>
                <a:gd name="T8" fmla="*/ 280 w 414"/>
                <a:gd name="T9" fmla="*/ 267 h 570"/>
                <a:gd name="T10" fmla="*/ 302 w 414"/>
                <a:gd name="T11" fmla="*/ 250 h 570"/>
                <a:gd name="T12" fmla="*/ 320 w 414"/>
                <a:gd name="T13" fmla="*/ 228 h 570"/>
                <a:gd name="T14" fmla="*/ 330 w 414"/>
                <a:gd name="T15" fmla="*/ 201 h 570"/>
                <a:gd name="T16" fmla="*/ 335 w 414"/>
                <a:gd name="T17" fmla="*/ 172 h 570"/>
                <a:gd name="T18" fmla="*/ 330 w 414"/>
                <a:gd name="T19" fmla="*/ 141 h 570"/>
                <a:gd name="T20" fmla="*/ 320 w 414"/>
                <a:gd name="T21" fmla="*/ 115 h 570"/>
                <a:gd name="T22" fmla="*/ 302 w 414"/>
                <a:gd name="T23" fmla="*/ 93 h 570"/>
                <a:gd name="T24" fmla="*/ 280 w 414"/>
                <a:gd name="T25" fmla="*/ 76 h 570"/>
                <a:gd name="T26" fmla="*/ 253 w 414"/>
                <a:gd name="T27" fmla="*/ 66 h 570"/>
                <a:gd name="T28" fmla="*/ 220 w 414"/>
                <a:gd name="T29" fmla="*/ 63 h 570"/>
                <a:gd name="T30" fmla="*/ 72 w 414"/>
                <a:gd name="T31" fmla="*/ 63 h 570"/>
                <a:gd name="T32" fmla="*/ 0 w 414"/>
                <a:gd name="T33" fmla="*/ 0 h 570"/>
                <a:gd name="T34" fmla="*/ 229 w 414"/>
                <a:gd name="T35" fmla="*/ 0 h 570"/>
                <a:gd name="T36" fmla="*/ 267 w 414"/>
                <a:gd name="T37" fmla="*/ 3 h 570"/>
                <a:gd name="T38" fmla="*/ 301 w 414"/>
                <a:gd name="T39" fmla="*/ 12 h 570"/>
                <a:gd name="T40" fmla="*/ 332 w 414"/>
                <a:gd name="T41" fmla="*/ 26 h 570"/>
                <a:gd name="T42" fmla="*/ 358 w 414"/>
                <a:gd name="T43" fmla="*/ 46 h 570"/>
                <a:gd name="T44" fmla="*/ 379 w 414"/>
                <a:gd name="T45" fmla="*/ 71 h 570"/>
                <a:gd name="T46" fmla="*/ 395 w 414"/>
                <a:gd name="T47" fmla="*/ 100 h 570"/>
                <a:gd name="T48" fmla="*/ 405 w 414"/>
                <a:gd name="T49" fmla="*/ 134 h 570"/>
                <a:gd name="T50" fmla="*/ 408 w 414"/>
                <a:gd name="T51" fmla="*/ 172 h 570"/>
                <a:gd name="T52" fmla="*/ 405 w 414"/>
                <a:gd name="T53" fmla="*/ 207 h 570"/>
                <a:gd name="T54" fmla="*/ 396 w 414"/>
                <a:gd name="T55" fmla="*/ 240 h 570"/>
                <a:gd name="T56" fmla="*/ 382 w 414"/>
                <a:gd name="T57" fmla="*/ 267 h 570"/>
                <a:gd name="T58" fmla="*/ 363 w 414"/>
                <a:gd name="T59" fmla="*/ 291 h 570"/>
                <a:gd name="T60" fmla="*/ 341 w 414"/>
                <a:gd name="T61" fmla="*/ 309 h 570"/>
                <a:gd name="T62" fmla="*/ 316 w 414"/>
                <a:gd name="T63" fmla="*/ 323 h 570"/>
                <a:gd name="T64" fmla="*/ 289 w 414"/>
                <a:gd name="T65" fmla="*/ 332 h 570"/>
                <a:gd name="T66" fmla="*/ 260 w 414"/>
                <a:gd name="T67" fmla="*/ 338 h 570"/>
                <a:gd name="T68" fmla="*/ 414 w 414"/>
                <a:gd name="T69" fmla="*/ 570 h 570"/>
                <a:gd name="T70" fmla="*/ 330 w 414"/>
                <a:gd name="T71" fmla="*/ 570 h 570"/>
                <a:gd name="T72" fmla="*/ 185 w 414"/>
                <a:gd name="T73" fmla="*/ 344 h 570"/>
                <a:gd name="T74" fmla="*/ 72 w 414"/>
                <a:gd name="T75" fmla="*/ 344 h 570"/>
                <a:gd name="T76" fmla="*/ 72 w 414"/>
                <a:gd name="T77" fmla="*/ 570 h 570"/>
                <a:gd name="T78" fmla="*/ 0 w 414"/>
                <a:gd name="T79" fmla="*/ 570 h 570"/>
                <a:gd name="T80" fmla="*/ 0 w 414"/>
                <a:gd name="T8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4" h="570">
                  <a:moveTo>
                    <a:pt x="72" y="63"/>
                  </a:moveTo>
                  <a:lnTo>
                    <a:pt x="72" y="281"/>
                  </a:lnTo>
                  <a:lnTo>
                    <a:pt x="220" y="281"/>
                  </a:lnTo>
                  <a:lnTo>
                    <a:pt x="253" y="278"/>
                  </a:lnTo>
                  <a:lnTo>
                    <a:pt x="280" y="267"/>
                  </a:lnTo>
                  <a:lnTo>
                    <a:pt x="302" y="250"/>
                  </a:lnTo>
                  <a:lnTo>
                    <a:pt x="320" y="228"/>
                  </a:lnTo>
                  <a:lnTo>
                    <a:pt x="330" y="201"/>
                  </a:lnTo>
                  <a:lnTo>
                    <a:pt x="335" y="172"/>
                  </a:lnTo>
                  <a:lnTo>
                    <a:pt x="330" y="141"/>
                  </a:lnTo>
                  <a:lnTo>
                    <a:pt x="320" y="115"/>
                  </a:lnTo>
                  <a:lnTo>
                    <a:pt x="302" y="93"/>
                  </a:lnTo>
                  <a:lnTo>
                    <a:pt x="280" y="76"/>
                  </a:lnTo>
                  <a:lnTo>
                    <a:pt x="253" y="66"/>
                  </a:lnTo>
                  <a:lnTo>
                    <a:pt x="220" y="63"/>
                  </a:lnTo>
                  <a:lnTo>
                    <a:pt x="72" y="63"/>
                  </a:lnTo>
                  <a:close/>
                  <a:moveTo>
                    <a:pt x="0" y="0"/>
                  </a:moveTo>
                  <a:lnTo>
                    <a:pt x="229" y="0"/>
                  </a:lnTo>
                  <a:lnTo>
                    <a:pt x="267" y="3"/>
                  </a:lnTo>
                  <a:lnTo>
                    <a:pt x="301" y="12"/>
                  </a:lnTo>
                  <a:lnTo>
                    <a:pt x="332" y="26"/>
                  </a:lnTo>
                  <a:lnTo>
                    <a:pt x="358" y="46"/>
                  </a:lnTo>
                  <a:lnTo>
                    <a:pt x="379" y="71"/>
                  </a:lnTo>
                  <a:lnTo>
                    <a:pt x="395" y="100"/>
                  </a:lnTo>
                  <a:lnTo>
                    <a:pt x="405" y="134"/>
                  </a:lnTo>
                  <a:lnTo>
                    <a:pt x="408" y="172"/>
                  </a:lnTo>
                  <a:lnTo>
                    <a:pt x="405" y="207"/>
                  </a:lnTo>
                  <a:lnTo>
                    <a:pt x="396" y="240"/>
                  </a:lnTo>
                  <a:lnTo>
                    <a:pt x="382" y="267"/>
                  </a:lnTo>
                  <a:lnTo>
                    <a:pt x="363" y="291"/>
                  </a:lnTo>
                  <a:lnTo>
                    <a:pt x="341" y="309"/>
                  </a:lnTo>
                  <a:lnTo>
                    <a:pt x="316" y="323"/>
                  </a:lnTo>
                  <a:lnTo>
                    <a:pt x="289" y="332"/>
                  </a:lnTo>
                  <a:lnTo>
                    <a:pt x="260" y="338"/>
                  </a:lnTo>
                  <a:lnTo>
                    <a:pt x="414" y="570"/>
                  </a:lnTo>
                  <a:lnTo>
                    <a:pt x="330" y="570"/>
                  </a:lnTo>
                  <a:lnTo>
                    <a:pt x="185" y="344"/>
                  </a:lnTo>
                  <a:lnTo>
                    <a:pt x="72" y="344"/>
                  </a:lnTo>
                  <a:lnTo>
                    <a:pt x="72" y="570"/>
                  </a:lnTo>
                  <a:lnTo>
                    <a:pt x="0" y="570"/>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3" name="Freeform 11">
              <a:extLst>
                <a:ext uri="{FF2B5EF4-FFF2-40B4-BE49-F238E27FC236}">
                  <a16:creationId xmlns:a16="http://schemas.microsoft.com/office/drawing/2014/main" id="{1BF77FA2-453F-46AC-88C7-A53B318A4C81}"/>
                </a:ext>
              </a:extLst>
            </p:cNvPr>
            <p:cNvSpPr>
              <a:spLocks noEditPoints="1"/>
            </p:cNvSpPr>
            <p:nvPr/>
          </p:nvSpPr>
          <p:spPr bwMode="auto">
            <a:xfrm>
              <a:off x="7817458" y="6000597"/>
              <a:ext cx="434975" cy="452438"/>
            </a:xfrm>
            <a:custGeom>
              <a:avLst/>
              <a:gdLst>
                <a:gd name="T0" fmla="*/ 273 w 548"/>
                <a:gd name="T1" fmla="*/ 73 h 570"/>
                <a:gd name="T2" fmla="*/ 153 w 548"/>
                <a:gd name="T3" fmla="*/ 381 h 570"/>
                <a:gd name="T4" fmla="*/ 393 w 548"/>
                <a:gd name="T5" fmla="*/ 381 h 570"/>
                <a:gd name="T6" fmla="*/ 273 w 548"/>
                <a:gd name="T7" fmla="*/ 73 h 570"/>
                <a:gd name="T8" fmla="*/ 229 w 548"/>
                <a:gd name="T9" fmla="*/ 0 h 570"/>
                <a:gd name="T10" fmla="*/ 317 w 548"/>
                <a:gd name="T11" fmla="*/ 0 h 570"/>
                <a:gd name="T12" fmla="*/ 548 w 548"/>
                <a:gd name="T13" fmla="*/ 570 h 570"/>
                <a:gd name="T14" fmla="*/ 548 w 548"/>
                <a:gd name="T15" fmla="*/ 570 h 570"/>
                <a:gd name="T16" fmla="*/ 465 w 548"/>
                <a:gd name="T17" fmla="*/ 570 h 570"/>
                <a:gd name="T18" fmla="*/ 415 w 548"/>
                <a:gd name="T19" fmla="*/ 444 h 570"/>
                <a:gd name="T20" fmla="*/ 132 w 548"/>
                <a:gd name="T21" fmla="*/ 444 h 570"/>
                <a:gd name="T22" fmla="*/ 82 w 548"/>
                <a:gd name="T23" fmla="*/ 570 h 570"/>
                <a:gd name="T24" fmla="*/ 0 w 548"/>
                <a:gd name="T25" fmla="*/ 570 h 570"/>
                <a:gd name="T26" fmla="*/ 229 w 548"/>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8" h="570">
                  <a:moveTo>
                    <a:pt x="273" y="73"/>
                  </a:moveTo>
                  <a:lnTo>
                    <a:pt x="153" y="381"/>
                  </a:lnTo>
                  <a:lnTo>
                    <a:pt x="393" y="381"/>
                  </a:lnTo>
                  <a:lnTo>
                    <a:pt x="273" y="73"/>
                  </a:lnTo>
                  <a:close/>
                  <a:moveTo>
                    <a:pt x="229" y="0"/>
                  </a:moveTo>
                  <a:lnTo>
                    <a:pt x="317" y="0"/>
                  </a:lnTo>
                  <a:lnTo>
                    <a:pt x="548" y="570"/>
                  </a:lnTo>
                  <a:lnTo>
                    <a:pt x="548" y="570"/>
                  </a:lnTo>
                  <a:lnTo>
                    <a:pt x="465" y="570"/>
                  </a:lnTo>
                  <a:lnTo>
                    <a:pt x="415" y="444"/>
                  </a:lnTo>
                  <a:lnTo>
                    <a:pt x="132" y="444"/>
                  </a:lnTo>
                  <a:lnTo>
                    <a:pt x="82" y="570"/>
                  </a:lnTo>
                  <a:lnTo>
                    <a:pt x="0" y="570"/>
                  </a:lnTo>
                  <a:lnTo>
                    <a:pt x="22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5" name="Freeform 26">
              <a:extLst>
                <a:ext uri="{FF2B5EF4-FFF2-40B4-BE49-F238E27FC236}">
                  <a16:creationId xmlns:a16="http://schemas.microsoft.com/office/drawing/2014/main" id="{52734611-9414-4FBB-8752-6E36D291F0D5}"/>
                </a:ext>
              </a:extLst>
            </p:cNvPr>
            <p:cNvSpPr>
              <a:spLocks/>
            </p:cNvSpPr>
            <p:nvPr/>
          </p:nvSpPr>
          <p:spPr bwMode="auto">
            <a:xfrm>
              <a:off x="6412520" y="5962497"/>
              <a:ext cx="514350" cy="381000"/>
            </a:xfrm>
            <a:custGeom>
              <a:avLst/>
              <a:gdLst>
                <a:gd name="T0" fmla="*/ 325 w 650"/>
                <a:gd name="T1" fmla="*/ 0 h 479"/>
                <a:gd name="T2" fmla="*/ 378 w 650"/>
                <a:gd name="T3" fmla="*/ 4 h 479"/>
                <a:gd name="T4" fmla="*/ 428 w 650"/>
                <a:gd name="T5" fmla="*/ 18 h 479"/>
                <a:gd name="T6" fmla="*/ 474 w 650"/>
                <a:gd name="T7" fmla="*/ 37 h 479"/>
                <a:gd name="T8" fmla="*/ 516 w 650"/>
                <a:gd name="T9" fmla="*/ 63 h 479"/>
                <a:gd name="T10" fmla="*/ 554 w 650"/>
                <a:gd name="T11" fmla="*/ 95 h 479"/>
                <a:gd name="T12" fmla="*/ 587 w 650"/>
                <a:gd name="T13" fmla="*/ 134 h 479"/>
                <a:gd name="T14" fmla="*/ 613 w 650"/>
                <a:gd name="T15" fmla="*/ 176 h 479"/>
                <a:gd name="T16" fmla="*/ 632 w 650"/>
                <a:gd name="T17" fmla="*/ 222 h 479"/>
                <a:gd name="T18" fmla="*/ 645 w 650"/>
                <a:gd name="T19" fmla="*/ 272 h 479"/>
                <a:gd name="T20" fmla="*/ 650 w 650"/>
                <a:gd name="T21" fmla="*/ 325 h 479"/>
                <a:gd name="T22" fmla="*/ 647 w 650"/>
                <a:gd name="T23" fmla="*/ 366 h 479"/>
                <a:gd name="T24" fmla="*/ 638 w 650"/>
                <a:gd name="T25" fmla="*/ 406 h 479"/>
                <a:gd name="T26" fmla="*/ 626 w 650"/>
                <a:gd name="T27" fmla="*/ 444 h 479"/>
                <a:gd name="T28" fmla="*/ 610 w 650"/>
                <a:gd name="T29" fmla="*/ 479 h 479"/>
                <a:gd name="T30" fmla="*/ 559 w 650"/>
                <a:gd name="T31" fmla="*/ 456 h 479"/>
                <a:gd name="T32" fmla="*/ 503 w 650"/>
                <a:gd name="T33" fmla="*/ 436 h 479"/>
                <a:gd name="T34" fmla="*/ 444 w 650"/>
                <a:gd name="T35" fmla="*/ 423 h 479"/>
                <a:gd name="T36" fmla="*/ 573 w 650"/>
                <a:gd name="T37" fmla="*/ 429 h 479"/>
                <a:gd name="T38" fmla="*/ 381 w 650"/>
                <a:gd name="T39" fmla="*/ 397 h 479"/>
                <a:gd name="T40" fmla="*/ 531 w 650"/>
                <a:gd name="T41" fmla="*/ 309 h 479"/>
                <a:gd name="T42" fmla="*/ 355 w 650"/>
                <a:gd name="T43" fmla="*/ 381 h 479"/>
                <a:gd name="T44" fmla="*/ 406 w 650"/>
                <a:gd name="T45" fmla="*/ 282 h 479"/>
                <a:gd name="T46" fmla="*/ 334 w 650"/>
                <a:gd name="T47" fmla="*/ 373 h 479"/>
                <a:gd name="T48" fmla="*/ 324 w 650"/>
                <a:gd name="T49" fmla="*/ 175 h 479"/>
                <a:gd name="T50" fmla="*/ 315 w 650"/>
                <a:gd name="T51" fmla="*/ 373 h 479"/>
                <a:gd name="T52" fmla="*/ 244 w 650"/>
                <a:gd name="T53" fmla="*/ 282 h 479"/>
                <a:gd name="T54" fmla="*/ 294 w 650"/>
                <a:gd name="T55" fmla="*/ 381 h 479"/>
                <a:gd name="T56" fmla="*/ 117 w 650"/>
                <a:gd name="T57" fmla="*/ 309 h 479"/>
                <a:gd name="T58" fmla="*/ 268 w 650"/>
                <a:gd name="T59" fmla="*/ 397 h 479"/>
                <a:gd name="T60" fmla="*/ 74 w 650"/>
                <a:gd name="T61" fmla="*/ 429 h 479"/>
                <a:gd name="T62" fmla="*/ 208 w 650"/>
                <a:gd name="T63" fmla="*/ 422 h 479"/>
                <a:gd name="T64" fmla="*/ 147 w 650"/>
                <a:gd name="T65" fmla="*/ 436 h 479"/>
                <a:gd name="T66" fmla="*/ 92 w 650"/>
                <a:gd name="T67" fmla="*/ 456 h 479"/>
                <a:gd name="T68" fmla="*/ 40 w 650"/>
                <a:gd name="T69" fmla="*/ 479 h 479"/>
                <a:gd name="T70" fmla="*/ 23 w 650"/>
                <a:gd name="T71" fmla="*/ 444 h 479"/>
                <a:gd name="T72" fmla="*/ 11 w 650"/>
                <a:gd name="T73" fmla="*/ 406 h 479"/>
                <a:gd name="T74" fmla="*/ 3 w 650"/>
                <a:gd name="T75" fmla="*/ 366 h 479"/>
                <a:gd name="T76" fmla="*/ 0 w 650"/>
                <a:gd name="T77" fmla="*/ 325 h 479"/>
                <a:gd name="T78" fmla="*/ 5 w 650"/>
                <a:gd name="T79" fmla="*/ 272 h 479"/>
                <a:gd name="T80" fmla="*/ 17 w 650"/>
                <a:gd name="T81" fmla="*/ 222 h 479"/>
                <a:gd name="T82" fmla="*/ 37 w 650"/>
                <a:gd name="T83" fmla="*/ 176 h 479"/>
                <a:gd name="T84" fmla="*/ 64 w 650"/>
                <a:gd name="T85" fmla="*/ 134 h 479"/>
                <a:gd name="T86" fmla="*/ 96 w 650"/>
                <a:gd name="T87" fmla="*/ 95 h 479"/>
                <a:gd name="T88" fmla="*/ 133 w 650"/>
                <a:gd name="T89" fmla="*/ 63 h 479"/>
                <a:gd name="T90" fmla="*/ 175 w 650"/>
                <a:gd name="T91" fmla="*/ 37 h 479"/>
                <a:gd name="T92" fmla="*/ 222 w 650"/>
                <a:gd name="T93" fmla="*/ 18 h 479"/>
                <a:gd name="T94" fmla="*/ 272 w 650"/>
                <a:gd name="T95" fmla="*/ 4 h 479"/>
                <a:gd name="T96" fmla="*/ 325 w 650"/>
                <a:gd name="T97" fmla="*/ 0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50" h="479">
                  <a:moveTo>
                    <a:pt x="325" y="0"/>
                  </a:moveTo>
                  <a:lnTo>
                    <a:pt x="378" y="4"/>
                  </a:lnTo>
                  <a:lnTo>
                    <a:pt x="428" y="18"/>
                  </a:lnTo>
                  <a:lnTo>
                    <a:pt x="474" y="37"/>
                  </a:lnTo>
                  <a:lnTo>
                    <a:pt x="516" y="63"/>
                  </a:lnTo>
                  <a:lnTo>
                    <a:pt x="554" y="95"/>
                  </a:lnTo>
                  <a:lnTo>
                    <a:pt x="587" y="134"/>
                  </a:lnTo>
                  <a:lnTo>
                    <a:pt x="613" y="176"/>
                  </a:lnTo>
                  <a:lnTo>
                    <a:pt x="632" y="222"/>
                  </a:lnTo>
                  <a:lnTo>
                    <a:pt x="645" y="272"/>
                  </a:lnTo>
                  <a:lnTo>
                    <a:pt x="650" y="325"/>
                  </a:lnTo>
                  <a:lnTo>
                    <a:pt x="647" y="366"/>
                  </a:lnTo>
                  <a:lnTo>
                    <a:pt x="638" y="406"/>
                  </a:lnTo>
                  <a:lnTo>
                    <a:pt x="626" y="444"/>
                  </a:lnTo>
                  <a:lnTo>
                    <a:pt x="610" y="479"/>
                  </a:lnTo>
                  <a:lnTo>
                    <a:pt x="559" y="456"/>
                  </a:lnTo>
                  <a:lnTo>
                    <a:pt x="503" y="436"/>
                  </a:lnTo>
                  <a:lnTo>
                    <a:pt x="444" y="423"/>
                  </a:lnTo>
                  <a:lnTo>
                    <a:pt x="573" y="429"/>
                  </a:lnTo>
                  <a:lnTo>
                    <a:pt x="381" y="397"/>
                  </a:lnTo>
                  <a:lnTo>
                    <a:pt x="531" y="309"/>
                  </a:lnTo>
                  <a:lnTo>
                    <a:pt x="355" y="381"/>
                  </a:lnTo>
                  <a:lnTo>
                    <a:pt x="406" y="282"/>
                  </a:lnTo>
                  <a:lnTo>
                    <a:pt x="334" y="373"/>
                  </a:lnTo>
                  <a:lnTo>
                    <a:pt x="324" y="175"/>
                  </a:lnTo>
                  <a:lnTo>
                    <a:pt x="315" y="373"/>
                  </a:lnTo>
                  <a:lnTo>
                    <a:pt x="244" y="282"/>
                  </a:lnTo>
                  <a:lnTo>
                    <a:pt x="294" y="381"/>
                  </a:lnTo>
                  <a:lnTo>
                    <a:pt x="117" y="309"/>
                  </a:lnTo>
                  <a:lnTo>
                    <a:pt x="268" y="397"/>
                  </a:lnTo>
                  <a:lnTo>
                    <a:pt x="74" y="429"/>
                  </a:lnTo>
                  <a:lnTo>
                    <a:pt x="208" y="422"/>
                  </a:lnTo>
                  <a:lnTo>
                    <a:pt x="147" y="436"/>
                  </a:lnTo>
                  <a:lnTo>
                    <a:pt x="92" y="456"/>
                  </a:lnTo>
                  <a:lnTo>
                    <a:pt x="40" y="479"/>
                  </a:lnTo>
                  <a:lnTo>
                    <a:pt x="23" y="444"/>
                  </a:lnTo>
                  <a:lnTo>
                    <a:pt x="11" y="406"/>
                  </a:lnTo>
                  <a:lnTo>
                    <a:pt x="3" y="366"/>
                  </a:lnTo>
                  <a:lnTo>
                    <a:pt x="0" y="325"/>
                  </a:lnTo>
                  <a:lnTo>
                    <a:pt x="5" y="272"/>
                  </a:lnTo>
                  <a:lnTo>
                    <a:pt x="17" y="222"/>
                  </a:lnTo>
                  <a:lnTo>
                    <a:pt x="37" y="176"/>
                  </a:lnTo>
                  <a:lnTo>
                    <a:pt x="64" y="134"/>
                  </a:lnTo>
                  <a:lnTo>
                    <a:pt x="96" y="95"/>
                  </a:lnTo>
                  <a:lnTo>
                    <a:pt x="133" y="63"/>
                  </a:lnTo>
                  <a:lnTo>
                    <a:pt x="175" y="37"/>
                  </a:lnTo>
                  <a:lnTo>
                    <a:pt x="222" y="18"/>
                  </a:lnTo>
                  <a:lnTo>
                    <a:pt x="272" y="4"/>
                  </a:lnTo>
                  <a:lnTo>
                    <a:pt x="325" y="0"/>
                  </a:lnTo>
                  <a:close/>
                </a:path>
              </a:pathLst>
            </a:custGeom>
            <a:solidFill>
              <a:srgbClr val="FFCC00"/>
            </a:solidFill>
            <a:ln w="1905">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7" name="Freeform 28">
              <a:extLst>
                <a:ext uri="{FF2B5EF4-FFF2-40B4-BE49-F238E27FC236}">
                  <a16:creationId xmlns:a16="http://schemas.microsoft.com/office/drawing/2014/main" id="{66515C01-3222-4EC7-9828-056DF1D4C2E7}"/>
                </a:ext>
              </a:extLst>
            </p:cNvPr>
            <p:cNvSpPr>
              <a:spLocks/>
            </p:cNvSpPr>
            <p:nvPr/>
          </p:nvSpPr>
          <p:spPr bwMode="auto">
            <a:xfrm>
              <a:off x="6382358" y="6302222"/>
              <a:ext cx="573088" cy="176213"/>
            </a:xfrm>
            <a:custGeom>
              <a:avLst/>
              <a:gdLst>
                <a:gd name="T0" fmla="*/ 360 w 721"/>
                <a:gd name="T1" fmla="*/ 0 h 222"/>
                <a:gd name="T2" fmla="*/ 423 w 721"/>
                <a:gd name="T3" fmla="*/ 3 h 222"/>
                <a:gd name="T4" fmla="*/ 482 w 721"/>
                <a:gd name="T5" fmla="*/ 11 h 222"/>
                <a:gd name="T6" fmla="*/ 539 w 721"/>
                <a:gd name="T7" fmla="*/ 25 h 222"/>
                <a:gd name="T8" fmla="*/ 592 w 721"/>
                <a:gd name="T9" fmla="*/ 44 h 222"/>
                <a:gd name="T10" fmla="*/ 639 w 721"/>
                <a:gd name="T11" fmla="*/ 66 h 222"/>
                <a:gd name="T12" fmla="*/ 683 w 721"/>
                <a:gd name="T13" fmla="*/ 94 h 222"/>
                <a:gd name="T14" fmla="*/ 721 w 721"/>
                <a:gd name="T15" fmla="*/ 123 h 222"/>
                <a:gd name="T16" fmla="*/ 671 w 721"/>
                <a:gd name="T17" fmla="*/ 107 h 222"/>
                <a:gd name="T18" fmla="*/ 618 w 721"/>
                <a:gd name="T19" fmla="*/ 94 h 222"/>
                <a:gd name="T20" fmla="*/ 586 w 721"/>
                <a:gd name="T21" fmla="*/ 130 h 222"/>
                <a:gd name="T22" fmla="*/ 549 w 721"/>
                <a:gd name="T23" fmla="*/ 161 h 222"/>
                <a:gd name="T24" fmla="*/ 507 w 721"/>
                <a:gd name="T25" fmla="*/ 186 h 222"/>
                <a:gd name="T26" fmla="*/ 461 w 721"/>
                <a:gd name="T27" fmla="*/ 205 h 222"/>
                <a:gd name="T28" fmla="*/ 413 w 721"/>
                <a:gd name="T29" fmla="*/ 217 h 222"/>
                <a:gd name="T30" fmla="*/ 361 w 721"/>
                <a:gd name="T31" fmla="*/ 222 h 222"/>
                <a:gd name="T32" fmla="*/ 310 w 721"/>
                <a:gd name="T33" fmla="*/ 217 h 222"/>
                <a:gd name="T34" fmla="*/ 260 w 721"/>
                <a:gd name="T35" fmla="*/ 205 h 222"/>
                <a:gd name="T36" fmla="*/ 214 w 721"/>
                <a:gd name="T37" fmla="*/ 186 h 222"/>
                <a:gd name="T38" fmla="*/ 173 w 721"/>
                <a:gd name="T39" fmla="*/ 161 h 222"/>
                <a:gd name="T40" fmla="*/ 135 w 721"/>
                <a:gd name="T41" fmla="*/ 129 h 222"/>
                <a:gd name="T42" fmla="*/ 103 w 721"/>
                <a:gd name="T43" fmla="*/ 94 h 222"/>
                <a:gd name="T44" fmla="*/ 50 w 721"/>
                <a:gd name="T45" fmla="*/ 107 h 222"/>
                <a:gd name="T46" fmla="*/ 0 w 721"/>
                <a:gd name="T47" fmla="*/ 123 h 222"/>
                <a:gd name="T48" fmla="*/ 38 w 721"/>
                <a:gd name="T49" fmla="*/ 94 h 222"/>
                <a:gd name="T50" fmla="*/ 81 w 721"/>
                <a:gd name="T51" fmla="*/ 66 h 222"/>
                <a:gd name="T52" fmla="*/ 129 w 721"/>
                <a:gd name="T53" fmla="*/ 44 h 222"/>
                <a:gd name="T54" fmla="*/ 182 w 721"/>
                <a:gd name="T55" fmla="*/ 25 h 222"/>
                <a:gd name="T56" fmla="*/ 238 w 721"/>
                <a:gd name="T57" fmla="*/ 11 h 222"/>
                <a:gd name="T58" fmla="*/ 298 w 721"/>
                <a:gd name="T59" fmla="*/ 3 h 222"/>
                <a:gd name="T60" fmla="*/ 360 w 721"/>
                <a:gd name="T61"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1" h="222">
                  <a:moveTo>
                    <a:pt x="360" y="0"/>
                  </a:moveTo>
                  <a:lnTo>
                    <a:pt x="423" y="3"/>
                  </a:lnTo>
                  <a:lnTo>
                    <a:pt x="482" y="11"/>
                  </a:lnTo>
                  <a:lnTo>
                    <a:pt x="539" y="25"/>
                  </a:lnTo>
                  <a:lnTo>
                    <a:pt x="592" y="44"/>
                  </a:lnTo>
                  <a:lnTo>
                    <a:pt x="639" y="66"/>
                  </a:lnTo>
                  <a:lnTo>
                    <a:pt x="683" y="94"/>
                  </a:lnTo>
                  <a:lnTo>
                    <a:pt x="721" y="123"/>
                  </a:lnTo>
                  <a:lnTo>
                    <a:pt x="671" y="107"/>
                  </a:lnTo>
                  <a:lnTo>
                    <a:pt x="618" y="94"/>
                  </a:lnTo>
                  <a:lnTo>
                    <a:pt x="586" y="130"/>
                  </a:lnTo>
                  <a:lnTo>
                    <a:pt x="549" y="161"/>
                  </a:lnTo>
                  <a:lnTo>
                    <a:pt x="507" y="186"/>
                  </a:lnTo>
                  <a:lnTo>
                    <a:pt x="461" y="205"/>
                  </a:lnTo>
                  <a:lnTo>
                    <a:pt x="413" y="217"/>
                  </a:lnTo>
                  <a:lnTo>
                    <a:pt x="361" y="222"/>
                  </a:lnTo>
                  <a:lnTo>
                    <a:pt x="310" y="217"/>
                  </a:lnTo>
                  <a:lnTo>
                    <a:pt x="260" y="205"/>
                  </a:lnTo>
                  <a:lnTo>
                    <a:pt x="214" y="186"/>
                  </a:lnTo>
                  <a:lnTo>
                    <a:pt x="173" y="161"/>
                  </a:lnTo>
                  <a:lnTo>
                    <a:pt x="135" y="129"/>
                  </a:lnTo>
                  <a:lnTo>
                    <a:pt x="103" y="94"/>
                  </a:lnTo>
                  <a:lnTo>
                    <a:pt x="50" y="107"/>
                  </a:lnTo>
                  <a:lnTo>
                    <a:pt x="0" y="123"/>
                  </a:lnTo>
                  <a:lnTo>
                    <a:pt x="38" y="94"/>
                  </a:lnTo>
                  <a:lnTo>
                    <a:pt x="81" y="66"/>
                  </a:lnTo>
                  <a:lnTo>
                    <a:pt x="129" y="44"/>
                  </a:lnTo>
                  <a:lnTo>
                    <a:pt x="182" y="25"/>
                  </a:lnTo>
                  <a:lnTo>
                    <a:pt x="238" y="11"/>
                  </a:lnTo>
                  <a:lnTo>
                    <a:pt x="298" y="3"/>
                  </a:lnTo>
                  <a:lnTo>
                    <a:pt x="36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8" name="Text Placeholder 4">
            <a:extLst>
              <a:ext uri="{FF2B5EF4-FFF2-40B4-BE49-F238E27FC236}">
                <a16:creationId xmlns:a16="http://schemas.microsoft.com/office/drawing/2014/main" id="{AA81721A-67FD-41CF-929D-2C54FA84CE83}"/>
              </a:ext>
            </a:extLst>
          </p:cNvPr>
          <p:cNvSpPr>
            <a:spLocks noGrp="1"/>
          </p:cNvSpPr>
          <p:nvPr>
            <p:ph type="body" sz="quarter" idx="31" hasCustomPrompt="1"/>
          </p:nvPr>
        </p:nvSpPr>
        <p:spPr>
          <a:xfrm>
            <a:off x="9500714" y="1263129"/>
            <a:ext cx="2335686" cy="338554"/>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2200" b="1">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Key facts</a:t>
            </a:r>
          </a:p>
        </p:txBody>
      </p:sp>
      <p:sp>
        <p:nvSpPr>
          <p:cNvPr id="39" name="Text Placeholder 4">
            <a:extLst>
              <a:ext uri="{FF2B5EF4-FFF2-40B4-BE49-F238E27FC236}">
                <a16:creationId xmlns:a16="http://schemas.microsoft.com/office/drawing/2014/main" id="{4CBD7913-5B3C-4408-8218-FFF47783F855}"/>
              </a:ext>
            </a:extLst>
          </p:cNvPr>
          <p:cNvSpPr>
            <a:spLocks noGrp="1"/>
          </p:cNvSpPr>
          <p:nvPr>
            <p:ph type="body" sz="quarter" idx="32"/>
          </p:nvPr>
        </p:nvSpPr>
        <p:spPr>
          <a:xfrm>
            <a:off x="9500714" y="1712755"/>
            <a:ext cx="2335686" cy="854080"/>
          </a:xfrm>
        </p:spPr>
        <p:txBody>
          <a:bodyPr>
            <a:spAutoFit/>
          </a:bodyPr>
          <a:lstStyle>
            <a:lvl1pP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buClr>
                <a:schemeClr val="bg1"/>
              </a:buCl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buClr>
                <a:schemeClr val="bg1"/>
              </a:buCl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buClr>
                <a:schemeClr val="bg1"/>
              </a:buCl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0" name="Confidential">
            <a:extLst>
              <a:ext uri="{FF2B5EF4-FFF2-40B4-BE49-F238E27FC236}">
                <a16:creationId xmlns:a16="http://schemas.microsoft.com/office/drawing/2014/main" id="{9A5A9F84-A329-4FF8-9CAE-6D721520C4BB}"/>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4" name="Text Placeholder 2">
            <a:extLst>
              <a:ext uri="{FF2B5EF4-FFF2-40B4-BE49-F238E27FC236}">
                <a16:creationId xmlns:a16="http://schemas.microsoft.com/office/drawing/2014/main" id="{35CBE728-73FD-4E81-81D2-C2FD2A68979D}"/>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2" name="Text Placeholder 5">
            <a:extLst>
              <a:ext uri="{FF2B5EF4-FFF2-40B4-BE49-F238E27FC236}">
                <a16:creationId xmlns:a16="http://schemas.microsoft.com/office/drawing/2014/main" id="{8F11272A-6435-4CA8-99DD-0474751E9214}"/>
              </a:ext>
            </a:extLst>
          </p:cNvPr>
          <p:cNvSpPr>
            <a:spLocks noGrp="1"/>
          </p:cNvSpPr>
          <p:nvPr>
            <p:ph type="body" sz="quarter" idx="33"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41" name="Supertitle">
            <a:extLst>
              <a:ext uri="{FF2B5EF4-FFF2-40B4-BE49-F238E27FC236}">
                <a16:creationId xmlns:a16="http://schemas.microsoft.com/office/drawing/2014/main" id="{33C03219-68CC-46CB-ACB8-7CA3FFF44A3F}"/>
              </a:ext>
            </a:extLst>
          </p:cNvPr>
          <p:cNvSpPr>
            <a:spLocks noGrp="1"/>
          </p:cNvSpPr>
          <p:nvPr>
            <p:ph type="body" sz="quarter" idx="34"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185450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x2 Columns ">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42465603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381000" y="1710172"/>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6433799" y="1710172"/>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381000" y="4411862"/>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6433799" y="4411862"/>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8" name="Header 1">
            <a:extLst>
              <a:ext uri="{FF2B5EF4-FFF2-40B4-BE49-F238E27FC236}">
                <a16:creationId xmlns:a16="http://schemas.microsoft.com/office/drawing/2014/main" id="{B3A70672-DEF1-4781-8187-BBE12AC5BDA8}"/>
              </a:ext>
            </a:extLst>
          </p:cNvPr>
          <p:cNvSpPr>
            <a:spLocks noGrp="1"/>
          </p:cNvSpPr>
          <p:nvPr>
            <p:ph type="body" sz="quarter" idx="29" hasCustomPrompt="1"/>
          </p:nvPr>
        </p:nvSpPr>
        <p:spPr>
          <a:xfrm>
            <a:off x="381000" y="126312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9" name="Header 2">
            <a:extLst>
              <a:ext uri="{FF2B5EF4-FFF2-40B4-BE49-F238E27FC236}">
                <a16:creationId xmlns:a16="http://schemas.microsoft.com/office/drawing/2014/main" id="{A4563EEA-EE02-448A-9297-03EDBEB06ECF}"/>
              </a:ext>
            </a:extLst>
          </p:cNvPr>
          <p:cNvSpPr>
            <a:spLocks noGrp="1"/>
          </p:cNvSpPr>
          <p:nvPr>
            <p:ph type="body" sz="quarter" idx="30" hasCustomPrompt="1"/>
          </p:nvPr>
        </p:nvSpPr>
        <p:spPr>
          <a:xfrm>
            <a:off x="6433799" y="126312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0" name="Header 3">
            <a:extLst>
              <a:ext uri="{FF2B5EF4-FFF2-40B4-BE49-F238E27FC236}">
                <a16:creationId xmlns:a16="http://schemas.microsoft.com/office/drawing/2014/main" id="{DBCFF04C-DDD2-4735-9A77-9C0D16B52B63}"/>
              </a:ext>
            </a:extLst>
          </p:cNvPr>
          <p:cNvSpPr>
            <a:spLocks noGrp="1"/>
          </p:cNvSpPr>
          <p:nvPr>
            <p:ph type="body" sz="quarter" idx="40" hasCustomPrompt="1"/>
          </p:nvPr>
        </p:nvSpPr>
        <p:spPr>
          <a:xfrm>
            <a:off x="381000" y="396175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1" name="Header 4">
            <a:extLst>
              <a:ext uri="{FF2B5EF4-FFF2-40B4-BE49-F238E27FC236}">
                <a16:creationId xmlns:a16="http://schemas.microsoft.com/office/drawing/2014/main" id="{79FB59F5-1A7D-4B39-B4D2-835B2134FB50}"/>
              </a:ext>
            </a:extLst>
          </p:cNvPr>
          <p:cNvSpPr>
            <a:spLocks noGrp="1"/>
          </p:cNvSpPr>
          <p:nvPr>
            <p:ph type="body" sz="quarter" idx="41" hasCustomPrompt="1"/>
          </p:nvPr>
        </p:nvSpPr>
        <p:spPr>
          <a:xfrm>
            <a:off x="6433799" y="396175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Text Placeholder 5">
            <a:extLst>
              <a:ext uri="{FF2B5EF4-FFF2-40B4-BE49-F238E27FC236}">
                <a16:creationId xmlns:a16="http://schemas.microsoft.com/office/drawing/2014/main" id="{C90526E6-79C0-41FB-941B-65EF72C734ED}"/>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7" name="Supertitle">
            <a:extLst>
              <a:ext uri="{FF2B5EF4-FFF2-40B4-BE49-F238E27FC236}">
                <a16:creationId xmlns:a16="http://schemas.microsoft.com/office/drawing/2014/main" id="{59F222D9-1944-4EC5-82BF-3282F1AF5531}"/>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32044207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Confidential">
            <a:extLst>
              <a:ext uri="{FF2B5EF4-FFF2-40B4-BE49-F238E27FC236}">
                <a16:creationId xmlns:a16="http://schemas.microsoft.com/office/drawing/2014/main" id="{3F6CE3CC-2060-479C-94F1-04D18BF5C6B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D9606BCF-6B49-43F6-B1F8-D730B3DBFA1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1" name="Aurora Logo">
            <a:extLst>
              <a:ext uri="{FF2B5EF4-FFF2-40B4-BE49-F238E27FC236}">
                <a16:creationId xmlns:a16="http://schemas.microsoft.com/office/drawing/2014/main" id="{8A8EA597-F2C7-43A2-BC75-D1BDEE3A6A8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6" name="Title 5">
            <a:extLst>
              <a:ext uri="{FF2B5EF4-FFF2-40B4-BE49-F238E27FC236}">
                <a16:creationId xmlns:a16="http://schemas.microsoft.com/office/drawing/2014/main" id="{9A68FB94-22BB-418E-A3AF-9DD42AD17527}"/>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6" name="Text Placeholder 5">
            <a:extLst>
              <a:ext uri="{FF2B5EF4-FFF2-40B4-BE49-F238E27FC236}">
                <a16:creationId xmlns:a16="http://schemas.microsoft.com/office/drawing/2014/main" id="{623E6946-0748-48B6-97C6-CE6BE01F7EAB}"/>
              </a:ext>
            </a:extLst>
          </p:cNvPr>
          <p:cNvSpPr>
            <a:spLocks noGrp="1"/>
          </p:cNvSpPr>
          <p:nvPr>
            <p:ph type="body" sz="quarter" idx="32"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67259323-2698-47EA-85E1-F6C8C7417BEB}"/>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21918429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 Column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Header 2">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0172"/>
            <a:ext cx="8601074"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4" name="Header 1">
            <a:extLst>
              <a:ext uri="{FF2B5EF4-FFF2-40B4-BE49-F238E27FC236}">
                <a16:creationId xmlns:a16="http://schemas.microsoft.com/office/drawing/2014/main" id="{32BAE579-0324-4306-9E4A-CEFBFBCF8241}"/>
              </a:ext>
            </a:extLst>
          </p:cNvPr>
          <p:cNvSpPr>
            <a:spLocks noGrp="1"/>
          </p:cNvSpPr>
          <p:nvPr>
            <p:ph type="body" sz="quarter" idx="29" hasCustomPrompt="1"/>
          </p:nvPr>
        </p:nvSpPr>
        <p:spPr>
          <a:xfrm>
            <a:off x="381000" y="1268129"/>
            <a:ext cx="8601074"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br>
              <a:rPr lang="en-GB"/>
            </a:br>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Confidential">
            <a:extLst>
              <a:ext uri="{FF2B5EF4-FFF2-40B4-BE49-F238E27FC236}">
                <a16:creationId xmlns:a16="http://schemas.microsoft.com/office/drawing/2014/main" id="{3F6CE3CC-2060-479C-94F1-04D18BF5C6B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D9606BCF-6B49-43F6-B1F8-D730B3DBFA1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1" name="Aurora Logo">
            <a:extLst>
              <a:ext uri="{FF2B5EF4-FFF2-40B4-BE49-F238E27FC236}">
                <a16:creationId xmlns:a16="http://schemas.microsoft.com/office/drawing/2014/main" id="{8A8EA597-F2C7-43A2-BC75-D1BDEE3A6A8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6" name="Title 5">
            <a:extLst>
              <a:ext uri="{FF2B5EF4-FFF2-40B4-BE49-F238E27FC236}">
                <a16:creationId xmlns:a16="http://schemas.microsoft.com/office/drawing/2014/main" id="{9A68FB94-22BB-418E-A3AF-9DD42AD17527}"/>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9" name="Text Placeholder 5">
            <a:extLst>
              <a:ext uri="{FF2B5EF4-FFF2-40B4-BE49-F238E27FC236}">
                <a16:creationId xmlns:a16="http://schemas.microsoft.com/office/drawing/2014/main" id="{E72DEEE7-DA59-4851-9CD4-CC9406230800}"/>
              </a:ext>
            </a:extLst>
          </p:cNvPr>
          <p:cNvSpPr>
            <a:spLocks noGrp="1"/>
          </p:cNvSpPr>
          <p:nvPr>
            <p:ph type="body" sz="quarter" idx="32"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Supertitle">
            <a:extLst>
              <a:ext uri="{FF2B5EF4-FFF2-40B4-BE49-F238E27FC236}">
                <a16:creationId xmlns:a16="http://schemas.microsoft.com/office/drawing/2014/main" id="{56C4E603-64F7-4F39-A735-5CCD3A8AEBF5}"/>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80307441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 Row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0172"/>
            <a:ext cx="8601074"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2">
            <a:extLst>
              <a:ext uri="{FF2B5EF4-FFF2-40B4-BE49-F238E27FC236}">
                <a16:creationId xmlns:a16="http://schemas.microsoft.com/office/drawing/2014/main" id="{766DB440-58A0-4B3F-8D90-E88EB6E32957}"/>
              </a:ext>
            </a:extLst>
          </p:cNvPr>
          <p:cNvSpPr>
            <a:spLocks noGrp="1"/>
          </p:cNvSpPr>
          <p:nvPr>
            <p:ph type="body" sz="quarter" idx="31"/>
          </p:nvPr>
        </p:nvSpPr>
        <p:spPr>
          <a:xfrm>
            <a:off x="381000" y="4408803"/>
            <a:ext cx="8601074"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Confidential">
            <a:extLst>
              <a:ext uri="{FF2B5EF4-FFF2-40B4-BE49-F238E27FC236}">
                <a16:creationId xmlns:a16="http://schemas.microsoft.com/office/drawing/2014/main" id="{84F846B3-E161-4A72-A3AD-915A061022EB}"/>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5" name="Text Placeholder 2">
            <a:extLst>
              <a:ext uri="{FF2B5EF4-FFF2-40B4-BE49-F238E27FC236}">
                <a16:creationId xmlns:a16="http://schemas.microsoft.com/office/drawing/2014/main" id="{B6DF8740-3263-4373-A52E-C92738D1F837}"/>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7" name="Aurora Logo">
            <a:extLst>
              <a:ext uri="{FF2B5EF4-FFF2-40B4-BE49-F238E27FC236}">
                <a16:creationId xmlns:a16="http://schemas.microsoft.com/office/drawing/2014/main" id="{0769C0C2-7FCE-4192-A778-F353FEF67DF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4" name="Title 3">
            <a:extLst>
              <a:ext uri="{FF2B5EF4-FFF2-40B4-BE49-F238E27FC236}">
                <a16:creationId xmlns:a16="http://schemas.microsoft.com/office/drawing/2014/main" id="{4BD59661-299C-4955-992A-E3CC7751A919}"/>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22" name="Header 1">
            <a:extLst>
              <a:ext uri="{FF2B5EF4-FFF2-40B4-BE49-F238E27FC236}">
                <a16:creationId xmlns:a16="http://schemas.microsoft.com/office/drawing/2014/main" id="{A3739E06-BCC4-4BE2-8465-7C275005EB1B}"/>
              </a:ext>
            </a:extLst>
          </p:cNvPr>
          <p:cNvSpPr>
            <a:spLocks noGrp="1"/>
          </p:cNvSpPr>
          <p:nvPr>
            <p:ph type="body" sz="quarter" idx="29" hasCustomPrompt="1"/>
          </p:nvPr>
        </p:nvSpPr>
        <p:spPr>
          <a:xfrm>
            <a:off x="381000" y="1268129"/>
            <a:ext cx="8601074"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Header 2">
            <a:extLst>
              <a:ext uri="{FF2B5EF4-FFF2-40B4-BE49-F238E27FC236}">
                <a16:creationId xmlns:a16="http://schemas.microsoft.com/office/drawing/2014/main" id="{7744C131-E445-449A-9D7A-C3330908F943}"/>
              </a:ext>
            </a:extLst>
          </p:cNvPr>
          <p:cNvSpPr>
            <a:spLocks noGrp="1"/>
          </p:cNvSpPr>
          <p:nvPr>
            <p:ph type="body" sz="quarter" idx="33" hasCustomPrompt="1"/>
          </p:nvPr>
        </p:nvSpPr>
        <p:spPr>
          <a:xfrm>
            <a:off x="381000" y="3961759"/>
            <a:ext cx="8601074"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0" name="Text Placeholder 5">
            <a:extLst>
              <a:ext uri="{FF2B5EF4-FFF2-40B4-BE49-F238E27FC236}">
                <a16:creationId xmlns:a16="http://schemas.microsoft.com/office/drawing/2014/main" id="{2A292F9D-6C89-415E-83D3-55D0817A9C6E}"/>
              </a:ext>
            </a:extLst>
          </p:cNvPr>
          <p:cNvSpPr>
            <a:spLocks noGrp="1"/>
          </p:cNvSpPr>
          <p:nvPr>
            <p:ph type="body" sz="quarter" idx="32"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1" name="Supertitle">
            <a:extLst>
              <a:ext uri="{FF2B5EF4-FFF2-40B4-BE49-F238E27FC236}">
                <a16:creationId xmlns:a16="http://schemas.microsoft.com/office/drawing/2014/main" id="{5E90CA15-507C-4009-8650-4586F5995820}"/>
              </a:ext>
            </a:extLst>
          </p:cNvPr>
          <p:cNvSpPr>
            <a:spLocks noGrp="1"/>
          </p:cNvSpPr>
          <p:nvPr>
            <p:ph type="body" sz="quarter" idx="34"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99418644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3 Row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0172"/>
            <a:ext cx="8601074"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2">
            <a:extLst>
              <a:ext uri="{FF2B5EF4-FFF2-40B4-BE49-F238E27FC236}">
                <a16:creationId xmlns:a16="http://schemas.microsoft.com/office/drawing/2014/main" id="{766DB440-58A0-4B3F-8D90-E88EB6E32957}"/>
              </a:ext>
            </a:extLst>
          </p:cNvPr>
          <p:cNvSpPr>
            <a:spLocks noGrp="1"/>
          </p:cNvSpPr>
          <p:nvPr>
            <p:ph type="body" sz="quarter" idx="31"/>
          </p:nvPr>
        </p:nvSpPr>
        <p:spPr>
          <a:xfrm>
            <a:off x="381000" y="3421913"/>
            <a:ext cx="8601074"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Confidential">
            <a:extLst>
              <a:ext uri="{FF2B5EF4-FFF2-40B4-BE49-F238E27FC236}">
                <a16:creationId xmlns:a16="http://schemas.microsoft.com/office/drawing/2014/main" id="{84F846B3-E161-4A72-A3AD-915A061022EB}"/>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5" name="Text Placeholder 2">
            <a:extLst>
              <a:ext uri="{FF2B5EF4-FFF2-40B4-BE49-F238E27FC236}">
                <a16:creationId xmlns:a16="http://schemas.microsoft.com/office/drawing/2014/main" id="{B6DF8740-3263-4373-A52E-C92738D1F837}"/>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7" name="Aurora Logo">
            <a:extLst>
              <a:ext uri="{FF2B5EF4-FFF2-40B4-BE49-F238E27FC236}">
                <a16:creationId xmlns:a16="http://schemas.microsoft.com/office/drawing/2014/main" id="{0769C0C2-7FCE-4192-A778-F353FEF67DF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4" name="Title 3">
            <a:extLst>
              <a:ext uri="{FF2B5EF4-FFF2-40B4-BE49-F238E27FC236}">
                <a16:creationId xmlns:a16="http://schemas.microsoft.com/office/drawing/2014/main" id="{4BD59661-299C-4955-992A-E3CC7751A919}"/>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20" name="Text 2">
            <a:extLst>
              <a:ext uri="{FF2B5EF4-FFF2-40B4-BE49-F238E27FC236}">
                <a16:creationId xmlns:a16="http://schemas.microsoft.com/office/drawing/2014/main" id="{B52C0C7C-A921-4477-94C1-D3B37AE18DA7}"/>
              </a:ext>
            </a:extLst>
          </p:cNvPr>
          <p:cNvSpPr>
            <a:spLocks noGrp="1"/>
          </p:cNvSpPr>
          <p:nvPr>
            <p:ph type="body" sz="quarter" idx="33"/>
          </p:nvPr>
        </p:nvSpPr>
        <p:spPr>
          <a:xfrm>
            <a:off x="381000" y="5144472"/>
            <a:ext cx="8601074"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Header 1">
            <a:extLst>
              <a:ext uri="{FF2B5EF4-FFF2-40B4-BE49-F238E27FC236}">
                <a16:creationId xmlns:a16="http://schemas.microsoft.com/office/drawing/2014/main" id="{6D5D929B-1295-4B1D-B4FF-E7026B5C2C52}"/>
              </a:ext>
            </a:extLst>
          </p:cNvPr>
          <p:cNvSpPr>
            <a:spLocks noGrp="1"/>
          </p:cNvSpPr>
          <p:nvPr>
            <p:ph type="body" sz="quarter" idx="29" hasCustomPrompt="1"/>
          </p:nvPr>
        </p:nvSpPr>
        <p:spPr>
          <a:xfrm>
            <a:off x="381000" y="1268129"/>
            <a:ext cx="8601074"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Header 2">
            <a:extLst>
              <a:ext uri="{FF2B5EF4-FFF2-40B4-BE49-F238E27FC236}">
                <a16:creationId xmlns:a16="http://schemas.microsoft.com/office/drawing/2014/main" id="{6BBC2BEC-EDFC-48F8-B92B-DF737A476BA4}"/>
              </a:ext>
            </a:extLst>
          </p:cNvPr>
          <p:cNvSpPr>
            <a:spLocks noGrp="1"/>
          </p:cNvSpPr>
          <p:nvPr>
            <p:ph type="body" sz="quarter" idx="35" hasCustomPrompt="1"/>
          </p:nvPr>
        </p:nvSpPr>
        <p:spPr>
          <a:xfrm>
            <a:off x="381000" y="2972287"/>
            <a:ext cx="8601074"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4" name="Header 3">
            <a:extLst>
              <a:ext uri="{FF2B5EF4-FFF2-40B4-BE49-F238E27FC236}">
                <a16:creationId xmlns:a16="http://schemas.microsoft.com/office/drawing/2014/main" id="{CBB7CE2B-E4BF-4D55-92E0-410EF2F14686}"/>
              </a:ext>
            </a:extLst>
          </p:cNvPr>
          <p:cNvSpPr>
            <a:spLocks noGrp="1"/>
          </p:cNvSpPr>
          <p:nvPr>
            <p:ph type="body" sz="quarter" idx="36" hasCustomPrompt="1"/>
          </p:nvPr>
        </p:nvSpPr>
        <p:spPr>
          <a:xfrm>
            <a:off x="381000" y="4694846"/>
            <a:ext cx="8601074"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Back 12 Point</a:t>
            </a:r>
            <a:br>
              <a:rPr lang="en-GB"/>
            </a:br>
            <a:r>
              <a:rPr lang="en-GB"/>
              <a:t>(max. 2 lines)</a:t>
            </a:r>
          </a:p>
        </p:txBody>
      </p:sp>
      <p:sp>
        <p:nvSpPr>
          <p:cNvPr id="30" name="Text Placeholder 5">
            <a:extLst>
              <a:ext uri="{FF2B5EF4-FFF2-40B4-BE49-F238E27FC236}">
                <a16:creationId xmlns:a16="http://schemas.microsoft.com/office/drawing/2014/main" id="{C2D14B43-FA7F-4C1C-BDCF-88D7C793E9F5}"/>
              </a:ext>
            </a:extLst>
          </p:cNvPr>
          <p:cNvSpPr>
            <a:spLocks noGrp="1"/>
          </p:cNvSpPr>
          <p:nvPr>
            <p:ph type="body" sz="quarter" idx="32"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5" name="Supertitle">
            <a:extLst>
              <a:ext uri="{FF2B5EF4-FFF2-40B4-BE49-F238E27FC236}">
                <a16:creationId xmlns:a16="http://schemas.microsoft.com/office/drawing/2014/main" id="{668E88DA-65CD-4DAA-A768-FB88FADA6060}"/>
              </a:ext>
            </a:extLst>
          </p:cNvPr>
          <p:cNvSpPr>
            <a:spLocks noGrp="1"/>
          </p:cNvSpPr>
          <p:nvPr>
            <p:ph type="body" sz="quarter" idx="37"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02938917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 Column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8E3D202-E0EA-466A-8C55-E2DE7686ED4D}"/>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8" name="Text 1">
            <a:extLst>
              <a:ext uri="{FF2B5EF4-FFF2-40B4-BE49-F238E27FC236}">
                <a16:creationId xmlns:a16="http://schemas.microsoft.com/office/drawing/2014/main" id="{9B01E7D4-48BF-4E5D-A571-B8D98E87B856}"/>
              </a:ext>
            </a:extLst>
          </p:cNvPr>
          <p:cNvSpPr>
            <a:spLocks noGrp="1"/>
          </p:cNvSpPr>
          <p:nvPr>
            <p:ph type="body" sz="quarter" idx="33"/>
          </p:nvPr>
        </p:nvSpPr>
        <p:spPr>
          <a:xfrm>
            <a:off x="381000" y="1710172"/>
            <a:ext cx="3962400"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0" name="Text 2">
            <a:extLst>
              <a:ext uri="{FF2B5EF4-FFF2-40B4-BE49-F238E27FC236}">
                <a16:creationId xmlns:a16="http://schemas.microsoft.com/office/drawing/2014/main" id="{FA718C05-6704-4077-8FC4-2F09B5649B9A}"/>
              </a:ext>
            </a:extLst>
          </p:cNvPr>
          <p:cNvSpPr>
            <a:spLocks noGrp="1"/>
          </p:cNvSpPr>
          <p:nvPr>
            <p:ph type="body" sz="quarter" idx="35"/>
          </p:nvPr>
        </p:nvSpPr>
        <p:spPr>
          <a:xfrm>
            <a:off x="5020274" y="1712755"/>
            <a:ext cx="3962400"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Confidential">
            <a:extLst>
              <a:ext uri="{FF2B5EF4-FFF2-40B4-BE49-F238E27FC236}">
                <a16:creationId xmlns:a16="http://schemas.microsoft.com/office/drawing/2014/main" id="{14C29F18-0061-4AD0-8F17-1B44E4BAED6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2" name="Text Placeholder 2">
            <a:extLst>
              <a:ext uri="{FF2B5EF4-FFF2-40B4-BE49-F238E27FC236}">
                <a16:creationId xmlns:a16="http://schemas.microsoft.com/office/drawing/2014/main" id="{D69DFB0D-DF47-4F51-8A1E-A3F04A199F5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3" name="Aurora Logo">
            <a:extLst>
              <a:ext uri="{FF2B5EF4-FFF2-40B4-BE49-F238E27FC236}">
                <a16:creationId xmlns:a16="http://schemas.microsoft.com/office/drawing/2014/main" id="{0B030AA5-8163-4F27-9057-F3025760F02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34" name="Header Comments">
            <a:extLst>
              <a:ext uri="{FF2B5EF4-FFF2-40B4-BE49-F238E27FC236}">
                <a16:creationId xmlns:a16="http://schemas.microsoft.com/office/drawing/2014/main" id="{BA58D606-2C71-4E85-8328-99C37B4B4195}"/>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35" name="Text Comments">
            <a:extLst>
              <a:ext uri="{FF2B5EF4-FFF2-40B4-BE49-F238E27FC236}">
                <a16:creationId xmlns:a16="http://schemas.microsoft.com/office/drawing/2014/main" id="{FF2AB152-2969-46CD-B5D8-B3919809B323}"/>
              </a:ext>
            </a:extLst>
          </p:cNvPr>
          <p:cNvSpPr>
            <a:spLocks noGrp="1"/>
          </p:cNvSpPr>
          <p:nvPr>
            <p:ph type="body" sz="quarter" idx="28"/>
          </p:nvPr>
        </p:nvSpPr>
        <p:spPr>
          <a:xfrm>
            <a:off x="9500714" y="1712755"/>
            <a:ext cx="2335686"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itle 3">
            <a:extLst>
              <a:ext uri="{FF2B5EF4-FFF2-40B4-BE49-F238E27FC236}">
                <a16:creationId xmlns:a16="http://schemas.microsoft.com/office/drawing/2014/main" id="{C5C9D1F5-9907-4B3A-A8FD-DB0AF4B08748}"/>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9" name="Header 1">
            <a:extLst>
              <a:ext uri="{FF2B5EF4-FFF2-40B4-BE49-F238E27FC236}">
                <a16:creationId xmlns:a16="http://schemas.microsoft.com/office/drawing/2014/main" id="{899B6044-5D69-4BA0-AD5A-9F13BA4D536F}"/>
              </a:ext>
            </a:extLst>
          </p:cNvPr>
          <p:cNvSpPr>
            <a:spLocks noGrp="1"/>
          </p:cNvSpPr>
          <p:nvPr>
            <p:ph type="body" sz="quarter" idx="29" hasCustomPrompt="1"/>
          </p:nvPr>
        </p:nvSpPr>
        <p:spPr>
          <a:xfrm>
            <a:off x="381000" y="1268129"/>
            <a:ext cx="39624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0" name="Header 2">
            <a:extLst>
              <a:ext uri="{FF2B5EF4-FFF2-40B4-BE49-F238E27FC236}">
                <a16:creationId xmlns:a16="http://schemas.microsoft.com/office/drawing/2014/main" id="{29068DE1-26EE-4CC0-A093-29AD7EDF6CF6}"/>
              </a:ext>
            </a:extLst>
          </p:cNvPr>
          <p:cNvSpPr>
            <a:spLocks noGrp="1"/>
          </p:cNvSpPr>
          <p:nvPr>
            <p:ph type="body" sz="quarter" idx="36" hasCustomPrompt="1"/>
          </p:nvPr>
        </p:nvSpPr>
        <p:spPr>
          <a:xfrm>
            <a:off x="5020274" y="1268129"/>
            <a:ext cx="39624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Text Placeholder 5">
            <a:extLst>
              <a:ext uri="{FF2B5EF4-FFF2-40B4-BE49-F238E27FC236}">
                <a16:creationId xmlns:a16="http://schemas.microsoft.com/office/drawing/2014/main" id="{5A1619A7-4E66-467A-816F-8D216D356284}"/>
              </a:ext>
            </a:extLst>
          </p:cNvPr>
          <p:cNvSpPr>
            <a:spLocks noGrp="1"/>
          </p:cNvSpPr>
          <p:nvPr>
            <p:ph type="body" sz="quarter" idx="32"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2" name="Supertitle">
            <a:extLst>
              <a:ext uri="{FF2B5EF4-FFF2-40B4-BE49-F238E27FC236}">
                <a16:creationId xmlns:a16="http://schemas.microsoft.com/office/drawing/2014/main" id="{E2B9C89C-9E0B-4344-82D2-A5C064C33F64}"/>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28242715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x2 Column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8E3D202-E0EA-466A-8C55-E2DE7686ED4D}"/>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8" name="Text 1">
            <a:extLst>
              <a:ext uri="{FF2B5EF4-FFF2-40B4-BE49-F238E27FC236}">
                <a16:creationId xmlns:a16="http://schemas.microsoft.com/office/drawing/2014/main" id="{9B01E7D4-48BF-4E5D-A571-B8D98E87B856}"/>
              </a:ext>
            </a:extLst>
          </p:cNvPr>
          <p:cNvSpPr>
            <a:spLocks noGrp="1"/>
          </p:cNvSpPr>
          <p:nvPr>
            <p:ph type="body" sz="quarter" idx="33"/>
          </p:nvPr>
        </p:nvSpPr>
        <p:spPr>
          <a:xfrm>
            <a:off x="381000" y="1710172"/>
            <a:ext cx="3962400"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0" name="Text 2">
            <a:extLst>
              <a:ext uri="{FF2B5EF4-FFF2-40B4-BE49-F238E27FC236}">
                <a16:creationId xmlns:a16="http://schemas.microsoft.com/office/drawing/2014/main" id="{FA718C05-6704-4077-8FC4-2F09B5649B9A}"/>
              </a:ext>
            </a:extLst>
          </p:cNvPr>
          <p:cNvSpPr>
            <a:spLocks noGrp="1"/>
          </p:cNvSpPr>
          <p:nvPr>
            <p:ph type="body" sz="quarter" idx="35"/>
          </p:nvPr>
        </p:nvSpPr>
        <p:spPr>
          <a:xfrm>
            <a:off x="5020274" y="1712755"/>
            <a:ext cx="3962400"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Confidential">
            <a:extLst>
              <a:ext uri="{FF2B5EF4-FFF2-40B4-BE49-F238E27FC236}">
                <a16:creationId xmlns:a16="http://schemas.microsoft.com/office/drawing/2014/main" id="{14C29F18-0061-4AD0-8F17-1B44E4BAED6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2" name="Text Placeholder 2">
            <a:extLst>
              <a:ext uri="{FF2B5EF4-FFF2-40B4-BE49-F238E27FC236}">
                <a16:creationId xmlns:a16="http://schemas.microsoft.com/office/drawing/2014/main" id="{D69DFB0D-DF47-4F51-8A1E-A3F04A199F5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3" name="Aurora Logo">
            <a:extLst>
              <a:ext uri="{FF2B5EF4-FFF2-40B4-BE49-F238E27FC236}">
                <a16:creationId xmlns:a16="http://schemas.microsoft.com/office/drawing/2014/main" id="{0B030AA5-8163-4F27-9057-F3025760F02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34" name="Header Comments">
            <a:extLst>
              <a:ext uri="{FF2B5EF4-FFF2-40B4-BE49-F238E27FC236}">
                <a16:creationId xmlns:a16="http://schemas.microsoft.com/office/drawing/2014/main" id="{BA58D606-2C71-4E85-8328-99C37B4B4195}"/>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35" name="Text Comments">
            <a:extLst>
              <a:ext uri="{FF2B5EF4-FFF2-40B4-BE49-F238E27FC236}">
                <a16:creationId xmlns:a16="http://schemas.microsoft.com/office/drawing/2014/main" id="{FF2AB152-2969-46CD-B5D8-B3919809B323}"/>
              </a:ext>
            </a:extLst>
          </p:cNvPr>
          <p:cNvSpPr>
            <a:spLocks noGrp="1"/>
          </p:cNvSpPr>
          <p:nvPr>
            <p:ph type="body" sz="quarter" idx="28"/>
          </p:nvPr>
        </p:nvSpPr>
        <p:spPr>
          <a:xfrm>
            <a:off x="9500714" y="1712755"/>
            <a:ext cx="2335686"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itle 3">
            <a:extLst>
              <a:ext uri="{FF2B5EF4-FFF2-40B4-BE49-F238E27FC236}">
                <a16:creationId xmlns:a16="http://schemas.microsoft.com/office/drawing/2014/main" id="{C5C9D1F5-9907-4B3A-A8FD-DB0AF4B08748}"/>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9" name="Text 1">
            <a:extLst>
              <a:ext uri="{FF2B5EF4-FFF2-40B4-BE49-F238E27FC236}">
                <a16:creationId xmlns:a16="http://schemas.microsoft.com/office/drawing/2014/main" id="{1AB28788-F537-4100-8E92-B79AAFA2EBE2}"/>
              </a:ext>
            </a:extLst>
          </p:cNvPr>
          <p:cNvSpPr>
            <a:spLocks noGrp="1"/>
          </p:cNvSpPr>
          <p:nvPr>
            <p:ph type="body" sz="quarter" idx="37"/>
          </p:nvPr>
        </p:nvSpPr>
        <p:spPr>
          <a:xfrm>
            <a:off x="381000" y="4408803"/>
            <a:ext cx="3962400"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2">
            <a:extLst>
              <a:ext uri="{FF2B5EF4-FFF2-40B4-BE49-F238E27FC236}">
                <a16:creationId xmlns:a16="http://schemas.microsoft.com/office/drawing/2014/main" id="{1A8068DE-3744-4018-BC69-71A4401B61FB}"/>
              </a:ext>
            </a:extLst>
          </p:cNvPr>
          <p:cNvSpPr>
            <a:spLocks noGrp="1"/>
          </p:cNvSpPr>
          <p:nvPr>
            <p:ph type="body" sz="quarter" idx="39"/>
          </p:nvPr>
        </p:nvSpPr>
        <p:spPr>
          <a:xfrm>
            <a:off x="5020274" y="4408803"/>
            <a:ext cx="3962400"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Header 1">
            <a:extLst>
              <a:ext uri="{FF2B5EF4-FFF2-40B4-BE49-F238E27FC236}">
                <a16:creationId xmlns:a16="http://schemas.microsoft.com/office/drawing/2014/main" id="{CB4DC502-8D89-4CEA-A1D5-C3310F837805}"/>
              </a:ext>
            </a:extLst>
          </p:cNvPr>
          <p:cNvSpPr>
            <a:spLocks noGrp="1"/>
          </p:cNvSpPr>
          <p:nvPr>
            <p:ph type="body" sz="quarter" idx="29" hasCustomPrompt="1"/>
          </p:nvPr>
        </p:nvSpPr>
        <p:spPr>
          <a:xfrm>
            <a:off x="381000" y="1263129"/>
            <a:ext cx="39624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6" name="Header 2">
            <a:extLst>
              <a:ext uri="{FF2B5EF4-FFF2-40B4-BE49-F238E27FC236}">
                <a16:creationId xmlns:a16="http://schemas.microsoft.com/office/drawing/2014/main" id="{FC9BB27E-9C6E-43D6-8A3B-1C3475AEB274}"/>
              </a:ext>
            </a:extLst>
          </p:cNvPr>
          <p:cNvSpPr>
            <a:spLocks noGrp="1"/>
          </p:cNvSpPr>
          <p:nvPr>
            <p:ph type="body" sz="quarter" idx="36" hasCustomPrompt="1"/>
          </p:nvPr>
        </p:nvSpPr>
        <p:spPr>
          <a:xfrm>
            <a:off x="5020274" y="1263129"/>
            <a:ext cx="39624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30" name="Header 3">
            <a:extLst>
              <a:ext uri="{FF2B5EF4-FFF2-40B4-BE49-F238E27FC236}">
                <a16:creationId xmlns:a16="http://schemas.microsoft.com/office/drawing/2014/main" id="{D12FEAB3-1729-4D16-9A00-CC88221F1E0E}"/>
              </a:ext>
            </a:extLst>
          </p:cNvPr>
          <p:cNvSpPr>
            <a:spLocks noGrp="1"/>
          </p:cNvSpPr>
          <p:nvPr>
            <p:ph type="body" sz="quarter" idx="40" hasCustomPrompt="1"/>
          </p:nvPr>
        </p:nvSpPr>
        <p:spPr>
          <a:xfrm>
            <a:off x="381000" y="3961759"/>
            <a:ext cx="39624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36" name="Header 4">
            <a:extLst>
              <a:ext uri="{FF2B5EF4-FFF2-40B4-BE49-F238E27FC236}">
                <a16:creationId xmlns:a16="http://schemas.microsoft.com/office/drawing/2014/main" id="{7E808397-1165-4076-BD0A-BE6A90C19E9B}"/>
              </a:ext>
            </a:extLst>
          </p:cNvPr>
          <p:cNvSpPr>
            <a:spLocks noGrp="1"/>
          </p:cNvSpPr>
          <p:nvPr>
            <p:ph type="body" sz="quarter" idx="41" hasCustomPrompt="1"/>
          </p:nvPr>
        </p:nvSpPr>
        <p:spPr>
          <a:xfrm>
            <a:off x="5020274" y="3961759"/>
            <a:ext cx="39624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37" name="Text Placeholder 5">
            <a:extLst>
              <a:ext uri="{FF2B5EF4-FFF2-40B4-BE49-F238E27FC236}">
                <a16:creationId xmlns:a16="http://schemas.microsoft.com/office/drawing/2014/main" id="{CC0D292B-B63E-4277-A339-858F1811E07D}"/>
              </a:ext>
            </a:extLst>
          </p:cNvPr>
          <p:cNvSpPr>
            <a:spLocks noGrp="1"/>
          </p:cNvSpPr>
          <p:nvPr>
            <p:ph type="body" sz="quarter" idx="32"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39" name="Supertitle">
            <a:extLst>
              <a:ext uri="{FF2B5EF4-FFF2-40B4-BE49-F238E27FC236}">
                <a16:creationId xmlns:a16="http://schemas.microsoft.com/office/drawing/2014/main" id="{23980E38-F915-4158-AF74-34AE9E15DEA1}"/>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70942699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4" name="Text Placeholder 4">
            <a:extLst>
              <a:ext uri="{FF2B5EF4-FFF2-40B4-BE49-F238E27FC236}">
                <a16:creationId xmlns:a16="http://schemas.microsoft.com/office/drawing/2014/main" id="{1E8FE108-DC54-4409-9662-F8ED8D794459}"/>
              </a:ext>
            </a:extLst>
          </p:cNvPr>
          <p:cNvSpPr>
            <a:spLocks noGrp="1"/>
          </p:cNvSpPr>
          <p:nvPr>
            <p:ph type="body" sz="quarter" idx="31" hasCustomPrompt="1"/>
          </p:nvPr>
        </p:nvSpPr>
        <p:spPr>
          <a:xfrm>
            <a:off x="381599" y="1263129"/>
            <a:ext cx="11428800" cy="369332"/>
          </a:xfrm>
        </p:spPr>
        <p:txBody>
          <a:bodyPr>
            <a:spAutoFit/>
          </a:bodyPr>
          <a:lstStyle>
            <a:lvl1pPr>
              <a:spcBef>
                <a:spcPts val="0"/>
              </a:spcBef>
              <a:defRPr sz="1200" b="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Grey 12 Point </a:t>
            </a:r>
          </a:p>
          <a:p>
            <a:pPr lvl="0"/>
            <a:r>
              <a:rPr lang="en-GB"/>
              <a:t>(max. 2 lines)</a:t>
            </a:r>
          </a:p>
        </p:txBody>
      </p:sp>
      <p:cxnSp>
        <p:nvCxnSpPr>
          <p:cNvPr id="55" name="Straight Connector 54">
            <a:extLst>
              <a:ext uri="{FF2B5EF4-FFF2-40B4-BE49-F238E27FC236}">
                <a16:creationId xmlns:a16="http://schemas.microsoft.com/office/drawing/2014/main" id="{CB6E8ECA-899B-49C9-9F8D-7B1CB0242CFB}"/>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Confidential">
            <a:extLst>
              <a:ext uri="{FF2B5EF4-FFF2-40B4-BE49-F238E27FC236}">
                <a16:creationId xmlns:a16="http://schemas.microsoft.com/office/drawing/2014/main" id="{1E6624B9-93B9-4B77-AE26-6B03082B5DE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6" name="Text Placeholder 2">
            <a:extLst>
              <a:ext uri="{FF2B5EF4-FFF2-40B4-BE49-F238E27FC236}">
                <a16:creationId xmlns:a16="http://schemas.microsoft.com/office/drawing/2014/main" id="{7389D3C2-0654-4942-8DE0-23A2E181063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6" name="Title 5">
            <a:extLst>
              <a:ext uri="{FF2B5EF4-FFF2-40B4-BE49-F238E27FC236}">
                <a16:creationId xmlns:a16="http://schemas.microsoft.com/office/drawing/2014/main" id="{B2D0A33F-6A0B-4236-BEAF-EC5C09F9F742}"/>
              </a:ext>
            </a:extLst>
          </p:cNvPr>
          <p:cNvSpPr>
            <a:spLocks noGrp="1"/>
          </p:cNvSpPr>
          <p:nvPr>
            <p:ph type="title"/>
          </p:nvPr>
        </p:nvSpPr>
        <p:spPr>
          <a:xfrm>
            <a:off x="381599" y="411856"/>
            <a:ext cx="8600471" cy="609398"/>
          </a:xfrm>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cxnSp>
        <p:nvCxnSpPr>
          <p:cNvPr id="11" name="Bottom line">
            <a:extLst>
              <a:ext uri="{FF2B5EF4-FFF2-40B4-BE49-F238E27FC236}">
                <a16:creationId xmlns:a16="http://schemas.microsoft.com/office/drawing/2014/main" id="{FD8396C6-C8F6-47C9-9402-AD6FEBA89BC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5">
            <a:extLst>
              <a:ext uri="{FF2B5EF4-FFF2-40B4-BE49-F238E27FC236}">
                <a16:creationId xmlns:a16="http://schemas.microsoft.com/office/drawing/2014/main" id="{F8FD374B-EC81-45FE-82A5-5D0B614B0955}"/>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4" name="Supertitle">
            <a:extLst>
              <a:ext uri="{FF2B5EF4-FFF2-40B4-BE49-F238E27FC236}">
                <a16:creationId xmlns:a16="http://schemas.microsoft.com/office/drawing/2014/main" id="{BFED85D2-3BE9-4F6A-8B42-D15CF7D8BD05}"/>
              </a:ext>
            </a:extLst>
          </p:cNvPr>
          <p:cNvSpPr>
            <a:spLocks noGrp="1"/>
          </p:cNvSpPr>
          <p:nvPr>
            <p:ph type="body" sz="quarter" idx="33"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43490947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ext &amp;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1710172"/>
            <a:ext cx="114288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4" name="Text Placeholder 4">
            <a:extLst>
              <a:ext uri="{FF2B5EF4-FFF2-40B4-BE49-F238E27FC236}">
                <a16:creationId xmlns:a16="http://schemas.microsoft.com/office/drawing/2014/main" id="{1E8FE108-DC54-4409-9662-F8ED8D794459}"/>
              </a:ext>
            </a:extLst>
          </p:cNvPr>
          <p:cNvSpPr>
            <a:spLocks noGrp="1"/>
          </p:cNvSpPr>
          <p:nvPr>
            <p:ph type="body" sz="quarter" idx="31" hasCustomPrompt="1"/>
          </p:nvPr>
        </p:nvSpPr>
        <p:spPr>
          <a:xfrm>
            <a:off x="381599" y="1263129"/>
            <a:ext cx="11428800" cy="369332"/>
          </a:xfrm>
        </p:spPr>
        <p:txBody>
          <a:bodyPr>
            <a:spAutoFit/>
          </a:bodyPr>
          <a:lstStyle>
            <a:lvl1pPr>
              <a:spcBef>
                <a:spcPts val="0"/>
              </a:spcBef>
              <a:defRPr sz="1200" b="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Grey 12 Point </a:t>
            </a:r>
          </a:p>
          <a:p>
            <a:pPr lvl="0"/>
            <a:r>
              <a:rPr lang="en-GB"/>
              <a:t>(max. 2 lines)</a:t>
            </a:r>
          </a:p>
        </p:txBody>
      </p:sp>
      <p:cxnSp>
        <p:nvCxnSpPr>
          <p:cNvPr id="55" name="Straight Connector 54">
            <a:extLst>
              <a:ext uri="{FF2B5EF4-FFF2-40B4-BE49-F238E27FC236}">
                <a16:creationId xmlns:a16="http://schemas.microsoft.com/office/drawing/2014/main" id="{CB6E8ECA-899B-49C9-9F8D-7B1CB0242CFB}"/>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Confidential">
            <a:extLst>
              <a:ext uri="{FF2B5EF4-FFF2-40B4-BE49-F238E27FC236}">
                <a16:creationId xmlns:a16="http://schemas.microsoft.com/office/drawing/2014/main" id="{1E6624B9-93B9-4B77-AE26-6B03082B5DE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6" name="Text Placeholder 2">
            <a:extLst>
              <a:ext uri="{FF2B5EF4-FFF2-40B4-BE49-F238E27FC236}">
                <a16:creationId xmlns:a16="http://schemas.microsoft.com/office/drawing/2014/main" id="{7389D3C2-0654-4942-8DE0-23A2E181063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6" name="Title 5">
            <a:extLst>
              <a:ext uri="{FF2B5EF4-FFF2-40B4-BE49-F238E27FC236}">
                <a16:creationId xmlns:a16="http://schemas.microsoft.com/office/drawing/2014/main" id="{B2D0A33F-6A0B-4236-BEAF-EC5C09F9F742}"/>
              </a:ext>
            </a:extLst>
          </p:cNvPr>
          <p:cNvSpPr>
            <a:spLocks noGrp="1"/>
          </p:cNvSpPr>
          <p:nvPr>
            <p:ph type="title"/>
          </p:nvPr>
        </p:nvSpPr>
        <p:spPr>
          <a:xfrm>
            <a:off x="381599" y="411856"/>
            <a:ext cx="8600471" cy="609398"/>
          </a:xfrm>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cxnSp>
        <p:nvCxnSpPr>
          <p:cNvPr id="11" name="Bottom line">
            <a:extLst>
              <a:ext uri="{FF2B5EF4-FFF2-40B4-BE49-F238E27FC236}">
                <a16:creationId xmlns:a16="http://schemas.microsoft.com/office/drawing/2014/main" id="{FD8396C6-C8F6-47C9-9402-AD6FEBA89BC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5">
            <a:extLst>
              <a:ext uri="{FF2B5EF4-FFF2-40B4-BE49-F238E27FC236}">
                <a16:creationId xmlns:a16="http://schemas.microsoft.com/office/drawing/2014/main" id="{FE6F81A4-8F17-497F-9CA3-86176E23011F}"/>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4" name="Supertitle">
            <a:extLst>
              <a:ext uri="{FF2B5EF4-FFF2-40B4-BE49-F238E27FC236}">
                <a16:creationId xmlns:a16="http://schemas.microsoft.com/office/drawing/2014/main" id="{9C0238B2-67A9-4A0D-A1CF-60F3C0D5A161}"/>
              </a:ext>
            </a:extLst>
          </p:cNvPr>
          <p:cNvSpPr>
            <a:spLocks noGrp="1"/>
          </p:cNvSpPr>
          <p:nvPr>
            <p:ph type="body" sz="quarter" idx="33"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91390571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 Rows w/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2159069"/>
            <a:ext cx="11428799"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 2">
            <a:extLst>
              <a:ext uri="{FF2B5EF4-FFF2-40B4-BE49-F238E27FC236}">
                <a16:creationId xmlns:a16="http://schemas.microsoft.com/office/drawing/2014/main" id="{C1D21A04-198F-4CDC-8469-16165405FDC5}"/>
              </a:ext>
            </a:extLst>
          </p:cNvPr>
          <p:cNvSpPr>
            <a:spLocks noGrp="1"/>
          </p:cNvSpPr>
          <p:nvPr>
            <p:ph type="body" sz="quarter" idx="31"/>
          </p:nvPr>
        </p:nvSpPr>
        <p:spPr>
          <a:xfrm>
            <a:off x="381599" y="4408803"/>
            <a:ext cx="11428799"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Header 2">
            <a:extLst>
              <a:ext uri="{FF2B5EF4-FFF2-40B4-BE49-F238E27FC236}">
                <a16:creationId xmlns:a16="http://schemas.microsoft.com/office/drawing/2014/main" id="{2802A5D6-C82B-4708-901E-1A6481C0F245}"/>
              </a:ext>
            </a:extLst>
          </p:cNvPr>
          <p:cNvSpPr>
            <a:spLocks noGrp="1"/>
          </p:cNvSpPr>
          <p:nvPr>
            <p:ph type="body" sz="quarter" idx="36" hasCustomPrompt="1"/>
          </p:nvPr>
        </p:nvSpPr>
        <p:spPr>
          <a:xfrm>
            <a:off x="381599" y="3961759"/>
            <a:ext cx="11428799"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25" name="Bottom line">
            <a:extLst>
              <a:ext uri="{FF2B5EF4-FFF2-40B4-BE49-F238E27FC236}">
                <a16:creationId xmlns:a16="http://schemas.microsoft.com/office/drawing/2014/main" id="{A72FF3B7-BC75-4064-BD6B-EB44619D9346}"/>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Confidential">
            <a:extLst>
              <a:ext uri="{FF2B5EF4-FFF2-40B4-BE49-F238E27FC236}">
                <a16:creationId xmlns:a16="http://schemas.microsoft.com/office/drawing/2014/main" id="{29BED52F-2D38-4AFD-937A-7F5F4180A7BD}"/>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1" name="Text Placeholder 2">
            <a:extLst>
              <a:ext uri="{FF2B5EF4-FFF2-40B4-BE49-F238E27FC236}">
                <a16:creationId xmlns:a16="http://schemas.microsoft.com/office/drawing/2014/main" id="{07B36058-653D-447D-8669-EC979FD9C70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B23A8BAD-E2A3-4E1C-AB3E-B7DD1A21187A}"/>
              </a:ext>
            </a:extLst>
          </p:cNvPr>
          <p:cNvSpPr>
            <a:spLocks noGrp="1"/>
          </p:cNvSpPr>
          <p:nvPr>
            <p:ph type="title"/>
          </p:nvPr>
        </p:nvSpPr>
        <p:spPr>
          <a:xfrm>
            <a:off x="381599" y="411856"/>
            <a:ext cx="8600471" cy="609398"/>
          </a:xfrm>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Text Placeholder 4">
            <a:extLst>
              <a:ext uri="{FF2B5EF4-FFF2-40B4-BE49-F238E27FC236}">
                <a16:creationId xmlns:a16="http://schemas.microsoft.com/office/drawing/2014/main" id="{80B7FFA5-CA01-4BA8-9847-6596B7EB6A80}"/>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15" name="Header 1">
            <a:extLst>
              <a:ext uri="{FF2B5EF4-FFF2-40B4-BE49-F238E27FC236}">
                <a16:creationId xmlns:a16="http://schemas.microsoft.com/office/drawing/2014/main" id="{CC4CB824-191F-4530-95D8-E0D18B1F7B49}"/>
              </a:ext>
            </a:extLst>
          </p:cNvPr>
          <p:cNvSpPr>
            <a:spLocks noGrp="1"/>
          </p:cNvSpPr>
          <p:nvPr>
            <p:ph type="body" sz="quarter" idx="37" hasCustomPrompt="1"/>
          </p:nvPr>
        </p:nvSpPr>
        <p:spPr>
          <a:xfrm>
            <a:off x="381599" y="1710172"/>
            <a:ext cx="11428799"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8" name="Text Placeholder 5">
            <a:extLst>
              <a:ext uri="{FF2B5EF4-FFF2-40B4-BE49-F238E27FC236}">
                <a16:creationId xmlns:a16="http://schemas.microsoft.com/office/drawing/2014/main" id="{B47CA606-B2FB-45DB-974F-2AD9CF287F71}"/>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2" name="Supertitle">
            <a:extLst>
              <a:ext uri="{FF2B5EF4-FFF2-40B4-BE49-F238E27FC236}">
                <a16:creationId xmlns:a16="http://schemas.microsoft.com/office/drawing/2014/main" id="{EF09A4E9-1555-4510-897B-0853590EBBC6}"/>
              </a:ext>
            </a:extLst>
          </p:cNvPr>
          <p:cNvSpPr>
            <a:spLocks noGrp="1"/>
          </p:cNvSpPr>
          <p:nvPr>
            <p:ph type="body" sz="quarter" idx="38"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23250470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 Columns w/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2157215"/>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6433799" y="2157215"/>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710172"/>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Text Placeholder 4">
            <a:extLst>
              <a:ext uri="{FF2B5EF4-FFF2-40B4-BE49-F238E27FC236}">
                <a16:creationId xmlns:a16="http://schemas.microsoft.com/office/drawing/2014/main" id="{E3BE1143-B024-49D1-A0D1-6FD6EE38346C}"/>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15" name="Header 2">
            <a:extLst>
              <a:ext uri="{FF2B5EF4-FFF2-40B4-BE49-F238E27FC236}">
                <a16:creationId xmlns:a16="http://schemas.microsoft.com/office/drawing/2014/main" id="{4CDAD24F-66BA-429F-B1D6-CC3E9F342B2E}"/>
              </a:ext>
            </a:extLst>
          </p:cNvPr>
          <p:cNvSpPr>
            <a:spLocks noGrp="1"/>
          </p:cNvSpPr>
          <p:nvPr>
            <p:ph type="body" sz="quarter" idx="32" hasCustomPrompt="1"/>
          </p:nvPr>
        </p:nvSpPr>
        <p:spPr>
          <a:xfrm>
            <a:off x="6433799" y="1710172"/>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8" name="Text Placeholder 5">
            <a:extLst>
              <a:ext uri="{FF2B5EF4-FFF2-40B4-BE49-F238E27FC236}">
                <a16:creationId xmlns:a16="http://schemas.microsoft.com/office/drawing/2014/main" id="{D31B44AB-E325-4D85-AD6C-F9D8A8EBD7A4}"/>
              </a:ext>
            </a:extLst>
          </p:cNvPr>
          <p:cNvSpPr>
            <a:spLocks noGrp="1"/>
          </p:cNvSpPr>
          <p:nvPr>
            <p:ph type="body" sz="quarter" idx="33"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Supertitle">
            <a:extLst>
              <a:ext uri="{FF2B5EF4-FFF2-40B4-BE49-F238E27FC236}">
                <a16:creationId xmlns:a16="http://schemas.microsoft.com/office/drawing/2014/main" id="{B13715BD-CF0D-4BD6-9FF9-55A24368CD77}"/>
              </a:ext>
            </a:extLst>
          </p:cNvPr>
          <p:cNvSpPr>
            <a:spLocks noGrp="1"/>
          </p:cNvSpPr>
          <p:nvPr>
            <p:ph type="body" sz="quarter" idx="34"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0557345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Row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3788735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1710172"/>
            <a:ext cx="11428799"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599" y="1263129"/>
            <a:ext cx="11428799" cy="369332"/>
          </a:xfrm>
        </p:spPr>
        <p:txBody>
          <a:bodyPr vert="horz" lIns="0" tIns="0" rIns="0" bIns="0" rtlCol="0">
            <a:spAutoFit/>
          </a:bodyPr>
          <a:lstStyle>
            <a:lvl1pPr>
              <a:spcBef>
                <a:spcPts val="0"/>
              </a:spcBef>
              <a:defRPr lang="en-GB" sz="1200" b="1" dirty="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 2">
            <a:extLst>
              <a:ext uri="{FF2B5EF4-FFF2-40B4-BE49-F238E27FC236}">
                <a16:creationId xmlns:a16="http://schemas.microsoft.com/office/drawing/2014/main" id="{C1D21A04-198F-4CDC-8469-16165405FDC5}"/>
              </a:ext>
            </a:extLst>
          </p:cNvPr>
          <p:cNvSpPr>
            <a:spLocks noGrp="1"/>
          </p:cNvSpPr>
          <p:nvPr>
            <p:ph type="body" sz="quarter" idx="31"/>
          </p:nvPr>
        </p:nvSpPr>
        <p:spPr>
          <a:xfrm>
            <a:off x="381599" y="4408803"/>
            <a:ext cx="11428799"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Header 2">
            <a:extLst>
              <a:ext uri="{FF2B5EF4-FFF2-40B4-BE49-F238E27FC236}">
                <a16:creationId xmlns:a16="http://schemas.microsoft.com/office/drawing/2014/main" id="{2802A5D6-C82B-4708-901E-1A6481C0F245}"/>
              </a:ext>
            </a:extLst>
          </p:cNvPr>
          <p:cNvSpPr>
            <a:spLocks noGrp="1"/>
          </p:cNvSpPr>
          <p:nvPr>
            <p:ph type="body" sz="quarter" idx="36" hasCustomPrompt="1"/>
          </p:nvPr>
        </p:nvSpPr>
        <p:spPr>
          <a:xfrm>
            <a:off x="381599" y="3961759"/>
            <a:ext cx="11428799"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25" name="Bottom line">
            <a:extLst>
              <a:ext uri="{FF2B5EF4-FFF2-40B4-BE49-F238E27FC236}">
                <a16:creationId xmlns:a16="http://schemas.microsoft.com/office/drawing/2014/main" id="{A72FF3B7-BC75-4064-BD6B-EB44619D9346}"/>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 Placeholder 2">
            <a:extLst>
              <a:ext uri="{FF2B5EF4-FFF2-40B4-BE49-F238E27FC236}">
                <a16:creationId xmlns:a16="http://schemas.microsoft.com/office/drawing/2014/main" id="{07B36058-653D-447D-8669-EC979FD9C70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B23A8BAD-E2A3-4E1C-AB3E-B7DD1A21187A}"/>
              </a:ext>
            </a:extLst>
          </p:cNvPr>
          <p:cNvSpPr>
            <a:spLocks noGrp="1"/>
          </p:cNvSpPr>
          <p:nvPr>
            <p:ph type="title"/>
          </p:nvPr>
        </p:nvSpPr>
        <p:spPr>
          <a:xfrm>
            <a:off x="381599" y="411856"/>
            <a:ext cx="8600471" cy="609398"/>
          </a:xfrm>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5" name="Text Placeholder 5">
            <a:extLst>
              <a:ext uri="{FF2B5EF4-FFF2-40B4-BE49-F238E27FC236}">
                <a16:creationId xmlns:a16="http://schemas.microsoft.com/office/drawing/2014/main" id="{985C6688-BDF1-491A-9553-45D65D0BD91B}"/>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6" name="Supertitle">
            <a:extLst>
              <a:ext uri="{FF2B5EF4-FFF2-40B4-BE49-F238E27FC236}">
                <a16:creationId xmlns:a16="http://schemas.microsoft.com/office/drawing/2014/main" id="{C3A59FB0-5222-4FB6-94EF-BE589A10664B}"/>
              </a:ext>
            </a:extLst>
          </p:cNvPr>
          <p:cNvSpPr>
            <a:spLocks noGrp="1"/>
          </p:cNvSpPr>
          <p:nvPr>
            <p:ph type="body" sz="quarter" idx="37"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64630985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3 Columns &amp; ST ">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2157827"/>
            <a:ext cx="3517128"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2157827"/>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710172"/>
            <a:ext cx="3517128" cy="369332"/>
          </a:xfrm>
        </p:spPr>
        <p:txBody>
          <a:bodyPr wrap="square">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710172"/>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2157827"/>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710172"/>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5" name="Text Placeholder 4">
            <a:extLst>
              <a:ext uri="{FF2B5EF4-FFF2-40B4-BE49-F238E27FC236}">
                <a16:creationId xmlns:a16="http://schemas.microsoft.com/office/drawing/2014/main" id="{F8DCD7AD-925F-43E4-B518-7C85FF5C6E73}"/>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23" name="Supertitle">
            <a:extLst>
              <a:ext uri="{FF2B5EF4-FFF2-40B4-BE49-F238E27FC236}">
                <a16:creationId xmlns:a16="http://schemas.microsoft.com/office/drawing/2014/main" id="{0E4B5625-6591-44EC-86EF-CA23C10F1388}"/>
              </a:ext>
            </a:extLst>
          </p:cNvPr>
          <p:cNvSpPr>
            <a:spLocks noGrp="1"/>
          </p:cNvSpPr>
          <p:nvPr>
            <p:ph type="body" sz="quarter" idx="35"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54333526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3 Columns &amp; ST &amp; resul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5311770"/>
            <a:ext cx="3517128"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5311770"/>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710172"/>
            <a:ext cx="3517128" cy="369332"/>
          </a:xfrm>
        </p:spPr>
        <p:txBody>
          <a:bodyPr wrap="square">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710172"/>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5311770"/>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710172"/>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5" name="Text Placeholder 4">
            <a:extLst>
              <a:ext uri="{FF2B5EF4-FFF2-40B4-BE49-F238E27FC236}">
                <a16:creationId xmlns:a16="http://schemas.microsoft.com/office/drawing/2014/main" id="{F8DCD7AD-925F-43E4-B518-7C85FF5C6E73}"/>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23" name="Supertitle">
            <a:extLst>
              <a:ext uri="{FF2B5EF4-FFF2-40B4-BE49-F238E27FC236}">
                <a16:creationId xmlns:a16="http://schemas.microsoft.com/office/drawing/2014/main" id="{4CF9AB07-A543-4F9B-BA8A-FA616EDBFCE4}"/>
              </a:ext>
            </a:extLst>
          </p:cNvPr>
          <p:cNvSpPr>
            <a:spLocks noGrp="1"/>
          </p:cNvSpPr>
          <p:nvPr>
            <p:ph type="body" sz="quarter" idx="35"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23761724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x2 Columns w/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381000" y="2156849"/>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6433799" y="2156849"/>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381000" y="4408803"/>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6433799" y="4408803"/>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8" name="Text Placeholder 4">
            <a:extLst>
              <a:ext uri="{FF2B5EF4-FFF2-40B4-BE49-F238E27FC236}">
                <a16:creationId xmlns:a16="http://schemas.microsoft.com/office/drawing/2014/main" id="{F1C9B74D-AA4A-41C9-908C-F5884B578581}"/>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19" name="Header 1">
            <a:extLst>
              <a:ext uri="{FF2B5EF4-FFF2-40B4-BE49-F238E27FC236}">
                <a16:creationId xmlns:a16="http://schemas.microsoft.com/office/drawing/2014/main" id="{CE85712C-A9D9-4D8D-9215-D2F8C7B77277}"/>
              </a:ext>
            </a:extLst>
          </p:cNvPr>
          <p:cNvSpPr>
            <a:spLocks noGrp="1"/>
          </p:cNvSpPr>
          <p:nvPr>
            <p:ph type="body" sz="quarter" idx="29" hasCustomPrompt="1"/>
          </p:nvPr>
        </p:nvSpPr>
        <p:spPr>
          <a:xfrm>
            <a:off x="381000" y="1710172"/>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0" name="Header 2">
            <a:extLst>
              <a:ext uri="{FF2B5EF4-FFF2-40B4-BE49-F238E27FC236}">
                <a16:creationId xmlns:a16="http://schemas.microsoft.com/office/drawing/2014/main" id="{9811013D-C8B9-4C12-B29D-D49896202E0B}"/>
              </a:ext>
            </a:extLst>
          </p:cNvPr>
          <p:cNvSpPr>
            <a:spLocks noGrp="1"/>
          </p:cNvSpPr>
          <p:nvPr>
            <p:ph type="body" sz="quarter" idx="32" hasCustomPrompt="1"/>
          </p:nvPr>
        </p:nvSpPr>
        <p:spPr>
          <a:xfrm>
            <a:off x="6433799" y="1710172"/>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1" name="Header 3">
            <a:extLst>
              <a:ext uri="{FF2B5EF4-FFF2-40B4-BE49-F238E27FC236}">
                <a16:creationId xmlns:a16="http://schemas.microsoft.com/office/drawing/2014/main" id="{81C32393-35A4-4D57-9C71-3766A762518F}"/>
              </a:ext>
            </a:extLst>
          </p:cNvPr>
          <p:cNvSpPr>
            <a:spLocks noGrp="1"/>
          </p:cNvSpPr>
          <p:nvPr>
            <p:ph type="body" sz="quarter" idx="40" hasCustomPrompt="1"/>
          </p:nvPr>
        </p:nvSpPr>
        <p:spPr>
          <a:xfrm>
            <a:off x="381000" y="396175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2" name="Header 4">
            <a:extLst>
              <a:ext uri="{FF2B5EF4-FFF2-40B4-BE49-F238E27FC236}">
                <a16:creationId xmlns:a16="http://schemas.microsoft.com/office/drawing/2014/main" id="{ED5EF0B4-A865-481D-B6EB-CE3AA5032265}"/>
              </a:ext>
            </a:extLst>
          </p:cNvPr>
          <p:cNvSpPr>
            <a:spLocks noGrp="1"/>
          </p:cNvSpPr>
          <p:nvPr>
            <p:ph type="body" sz="quarter" idx="41" hasCustomPrompt="1"/>
          </p:nvPr>
        </p:nvSpPr>
        <p:spPr>
          <a:xfrm>
            <a:off x="6433799" y="396175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7" name="Text Placeholder 5">
            <a:extLst>
              <a:ext uri="{FF2B5EF4-FFF2-40B4-BE49-F238E27FC236}">
                <a16:creationId xmlns:a16="http://schemas.microsoft.com/office/drawing/2014/main" id="{26764055-1C71-464F-9EC3-37CF1D5172BE}"/>
              </a:ext>
            </a:extLst>
          </p:cNvPr>
          <p:cNvSpPr>
            <a:spLocks noGrp="1"/>
          </p:cNvSpPr>
          <p:nvPr>
            <p:ph type="body" sz="quarter" idx="4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3" name="Supertitle">
            <a:extLst>
              <a:ext uri="{FF2B5EF4-FFF2-40B4-BE49-F238E27FC236}">
                <a16:creationId xmlns:a16="http://schemas.microsoft.com/office/drawing/2014/main" id="{59160C87-BA14-41C1-99AB-D59B8122C92A}"/>
              </a:ext>
            </a:extLst>
          </p:cNvPr>
          <p:cNvSpPr>
            <a:spLocks noGrp="1"/>
          </p:cNvSpPr>
          <p:nvPr>
            <p:ph type="body" sz="quarter" idx="43"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59954125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x2 Columns w/ boxes lef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42" name="Header 1">
            <a:extLst>
              <a:ext uri="{FF2B5EF4-FFF2-40B4-BE49-F238E27FC236}">
                <a16:creationId xmlns:a16="http://schemas.microsoft.com/office/drawing/2014/main" id="{C6F2795A-D810-4E5B-A614-A4D19B261450}"/>
              </a:ext>
            </a:extLst>
          </p:cNvPr>
          <p:cNvSpPr>
            <a:spLocks noGrp="1"/>
          </p:cNvSpPr>
          <p:nvPr>
            <p:ph type="body" sz="quarter" idx="44" hasCustomPrompt="1"/>
          </p:nvPr>
        </p:nvSpPr>
        <p:spPr>
          <a:xfrm>
            <a:off x="6436872" y="1724728"/>
            <a:ext cx="908686" cy="2068113"/>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1344260" y="2154644"/>
            <a:ext cx="4412739" cy="1638197"/>
          </a:xfrm>
        </p:spPr>
        <p:txBody>
          <a:bodyPr>
            <a:no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7397660" y="2154644"/>
            <a:ext cx="4412739" cy="1638197"/>
          </a:xfrm>
        </p:spPr>
        <p:txBody>
          <a:bodyPr>
            <a:no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7" name="Header 1">
            <a:extLst>
              <a:ext uri="{FF2B5EF4-FFF2-40B4-BE49-F238E27FC236}">
                <a16:creationId xmlns:a16="http://schemas.microsoft.com/office/drawing/2014/main" id="{4260A183-6570-43A4-947E-594FDC5180ED}"/>
              </a:ext>
            </a:extLst>
          </p:cNvPr>
          <p:cNvSpPr>
            <a:spLocks noGrp="1"/>
          </p:cNvSpPr>
          <p:nvPr>
            <p:ph type="body" sz="quarter" idx="36" hasCustomPrompt="1"/>
          </p:nvPr>
        </p:nvSpPr>
        <p:spPr>
          <a:xfrm>
            <a:off x="1344260" y="1724727"/>
            <a:ext cx="4412739"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0" name="Header 2">
            <a:extLst>
              <a:ext uri="{FF2B5EF4-FFF2-40B4-BE49-F238E27FC236}">
                <a16:creationId xmlns:a16="http://schemas.microsoft.com/office/drawing/2014/main" id="{30B40A43-AF85-4C48-AB3A-DA05DE732F35}"/>
              </a:ext>
            </a:extLst>
          </p:cNvPr>
          <p:cNvSpPr>
            <a:spLocks noGrp="1"/>
          </p:cNvSpPr>
          <p:nvPr>
            <p:ph type="body" sz="quarter" idx="30" hasCustomPrompt="1"/>
          </p:nvPr>
        </p:nvSpPr>
        <p:spPr>
          <a:xfrm>
            <a:off x="7397660" y="1724727"/>
            <a:ext cx="4412739"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1344260" y="4514955"/>
            <a:ext cx="4412739" cy="1638196"/>
          </a:xfrm>
        </p:spPr>
        <p:txBody>
          <a:bodyPr>
            <a:no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7397660" y="4514955"/>
            <a:ext cx="4412739" cy="1638196"/>
          </a:xfrm>
        </p:spPr>
        <p:txBody>
          <a:bodyPr>
            <a:no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Header 3">
            <a:extLst>
              <a:ext uri="{FF2B5EF4-FFF2-40B4-BE49-F238E27FC236}">
                <a16:creationId xmlns:a16="http://schemas.microsoft.com/office/drawing/2014/main" id="{831DB6E1-CBAC-4ECF-88CF-E8D51B29C19C}"/>
              </a:ext>
            </a:extLst>
          </p:cNvPr>
          <p:cNvSpPr>
            <a:spLocks noGrp="1"/>
          </p:cNvSpPr>
          <p:nvPr>
            <p:ph type="body" sz="quarter" idx="39" hasCustomPrompt="1"/>
          </p:nvPr>
        </p:nvSpPr>
        <p:spPr>
          <a:xfrm>
            <a:off x="1344260" y="4085037"/>
            <a:ext cx="4412739"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6" name="Header 4">
            <a:extLst>
              <a:ext uri="{FF2B5EF4-FFF2-40B4-BE49-F238E27FC236}">
                <a16:creationId xmlns:a16="http://schemas.microsoft.com/office/drawing/2014/main" id="{F2730FC7-2E6F-466D-9221-BB8A8A498DDA}"/>
              </a:ext>
            </a:extLst>
          </p:cNvPr>
          <p:cNvSpPr>
            <a:spLocks noGrp="1"/>
          </p:cNvSpPr>
          <p:nvPr>
            <p:ph type="body" sz="quarter" idx="40" hasCustomPrompt="1"/>
          </p:nvPr>
        </p:nvSpPr>
        <p:spPr>
          <a:xfrm>
            <a:off x="7397660" y="4085037"/>
            <a:ext cx="4412739"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4 </a:t>
            </a:r>
            <a:r>
              <a:rPr lang="en-GB" err="1"/>
              <a:t>Lato</a:t>
            </a:r>
            <a:r>
              <a:rPr lang="en-GB"/>
              <a:t> 12 Point</a:t>
            </a:r>
          </a:p>
          <a:p>
            <a:pPr lvl="0"/>
            <a:r>
              <a:rPr lang="en-GB"/>
              <a:t>(max. 2 lines)</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62856"/>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8" name="Text Placeholder 4">
            <a:extLst>
              <a:ext uri="{FF2B5EF4-FFF2-40B4-BE49-F238E27FC236}">
                <a16:creationId xmlns:a16="http://schemas.microsoft.com/office/drawing/2014/main" id="{F1C9B74D-AA4A-41C9-908C-F5884B578581}"/>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38" name="Header 1">
            <a:extLst>
              <a:ext uri="{FF2B5EF4-FFF2-40B4-BE49-F238E27FC236}">
                <a16:creationId xmlns:a16="http://schemas.microsoft.com/office/drawing/2014/main" id="{7FCA4893-4428-4B85-88ED-35A9A51FAEF7}"/>
              </a:ext>
            </a:extLst>
          </p:cNvPr>
          <p:cNvSpPr>
            <a:spLocks noGrp="1"/>
          </p:cNvSpPr>
          <p:nvPr>
            <p:ph type="body" sz="quarter" idx="41" hasCustomPrompt="1"/>
          </p:nvPr>
        </p:nvSpPr>
        <p:spPr>
          <a:xfrm>
            <a:off x="381599" y="1724728"/>
            <a:ext cx="908686" cy="2068113"/>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39" name="Text Placeholder 4">
            <a:extLst>
              <a:ext uri="{FF2B5EF4-FFF2-40B4-BE49-F238E27FC236}">
                <a16:creationId xmlns:a16="http://schemas.microsoft.com/office/drawing/2014/main" id="{2717A667-C17A-4A65-A0DA-460F20A79959}"/>
              </a:ext>
            </a:extLst>
          </p:cNvPr>
          <p:cNvSpPr>
            <a:spLocks noGrp="1"/>
          </p:cNvSpPr>
          <p:nvPr>
            <p:ph type="body" sz="quarter" idx="42" hasCustomPrompt="1"/>
          </p:nvPr>
        </p:nvSpPr>
        <p:spPr>
          <a:xfrm>
            <a:off x="346075" y="1705124"/>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1</a:t>
            </a:r>
          </a:p>
        </p:txBody>
      </p:sp>
      <p:sp>
        <p:nvSpPr>
          <p:cNvPr id="41" name="Text Placeholder 4">
            <a:extLst>
              <a:ext uri="{FF2B5EF4-FFF2-40B4-BE49-F238E27FC236}">
                <a16:creationId xmlns:a16="http://schemas.microsoft.com/office/drawing/2014/main" id="{D44F1B25-5AEF-475A-B24F-9978D0EFEE15}"/>
              </a:ext>
            </a:extLst>
          </p:cNvPr>
          <p:cNvSpPr>
            <a:spLocks noGrp="1"/>
          </p:cNvSpPr>
          <p:nvPr>
            <p:ph type="body" sz="quarter" idx="43" hasCustomPrompt="1"/>
          </p:nvPr>
        </p:nvSpPr>
        <p:spPr>
          <a:xfrm>
            <a:off x="6370022" y="1705124"/>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2</a:t>
            </a:r>
          </a:p>
        </p:txBody>
      </p:sp>
      <p:sp>
        <p:nvSpPr>
          <p:cNvPr id="43" name="Header 1">
            <a:extLst>
              <a:ext uri="{FF2B5EF4-FFF2-40B4-BE49-F238E27FC236}">
                <a16:creationId xmlns:a16="http://schemas.microsoft.com/office/drawing/2014/main" id="{7E37013A-460E-47E1-A9DF-15009C673120}"/>
              </a:ext>
            </a:extLst>
          </p:cNvPr>
          <p:cNvSpPr>
            <a:spLocks noGrp="1"/>
          </p:cNvSpPr>
          <p:nvPr>
            <p:ph type="body" sz="quarter" idx="45" hasCustomPrompt="1"/>
          </p:nvPr>
        </p:nvSpPr>
        <p:spPr>
          <a:xfrm>
            <a:off x="6436872" y="4085037"/>
            <a:ext cx="908686" cy="2068113"/>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44" name="Header 1">
            <a:extLst>
              <a:ext uri="{FF2B5EF4-FFF2-40B4-BE49-F238E27FC236}">
                <a16:creationId xmlns:a16="http://schemas.microsoft.com/office/drawing/2014/main" id="{4A7A49FE-90F8-49D5-92A6-BEF37210A6B8}"/>
              </a:ext>
            </a:extLst>
          </p:cNvPr>
          <p:cNvSpPr>
            <a:spLocks noGrp="1"/>
          </p:cNvSpPr>
          <p:nvPr>
            <p:ph type="body" sz="quarter" idx="46" hasCustomPrompt="1"/>
          </p:nvPr>
        </p:nvSpPr>
        <p:spPr>
          <a:xfrm>
            <a:off x="381599" y="4085037"/>
            <a:ext cx="908686" cy="2068113"/>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45" name="Text Placeholder 4">
            <a:extLst>
              <a:ext uri="{FF2B5EF4-FFF2-40B4-BE49-F238E27FC236}">
                <a16:creationId xmlns:a16="http://schemas.microsoft.com/office/drawing/2014/main" id="{8EBB7965-F4C9-42ED-AD20-20DAD9D6CC5E}"/>
              </a:ext>
            </a:extLst>
          </p:cNvPr>
          <p:cNvSpPr>
            <a:spLocks noGrp="1"/>
          </p:cNvSpPr>
          <p:nvPr>
            <p:ph type="body" sz="quarter" idx="47" hasCustomPrompt="1"/>
          </p:nvPr>
        </p:nvSpPr>
        <p:spPr>
          <a:xfrm>
            <a:off x="346075" y="4045651"/>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3</a:t>
            </a:r>
          </a:p>
        </p:txBody>
      </p:sp>
      <p:sp>
        <p:nvSpPr>
          <p:cNvPr id="46" name="Text Placeholder 4">
            <a:extLst>
              <a:ext uri="{FF2B5EF4-FFF2-40B4-BE49-F238E27FC236}">
                <a16:creationId xmlns:a16="http://schemas.microsoft.com/office/drawing/2014/main" id="{DC5BF429-E5B1-4EF1-9507-F7FADE5F65D8}"/>
              </a:ext>
            </a:extLst>
          </p:cNvPr>
          <p:cNvSpPr>
            <a:spLocks noGrp="1"/>
          </p:cNvSpPr>
          <p:nvPr>
            <p:ph type="body" sz="quarter" idx="48" hasCustomPrompt="1"/>
          </p:nvPr>
        </p:nvSpPr>
        <p:spPr>
          <a:xfrm>
            <a:off x="6370022" y="4016385"/>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4</a:t>
            </a:r>
          </a:p>
        </p:txBody>
      </p:sp>
      <p:sp>
        <p:nvSpPr>
          <p:cNvPr id="37" name="Text Placeholder 5">
            <a:extLst>
              <a:ext uri="{FF2B5EF4-FFF2-40B4-BE49-F238E27FC236}">
                <a16:creationId xmlns:a16="http://schemas.microsoft.com/office/drawing/2014/main" id="{8574D18D-32EA-452E-8261-FB6F366D0871}"/>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CF05201-D523-4050-AE16-80986FCB8FAA}"/>
              </a:ext>
            </a:extLst>
          </p:cNvPr>
          <p:cNvSpPr>
            <a:spLocks noGrp="1"/>
          </p:cNvSpPr>
          <p:nvPr>
            <p:ph type="body" sz="quarter" idx="49"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6220143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x2 Columns w/ header boxe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381000" y="2421389"/>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6433799" y="2421389"/>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7" name="Header 1">
            <a:extLst>
              <a:ext uri="{FF2B5EF4-FFF2-40B4-BE49-F238E27FC236}">
                <a16:creationId xmlns:a16="http://schemas.microsoft.com/office/drawing/2014/main" id="{4260A183-6570-43A4-947E-594FDC5180ED}"/>
              </a:ext>
            </a:extLst>
          </p:cNvPr>
          <p:cNvSpPr>
            <a:spLocks noGrp="1"/>
          </p:cNvSpPr>
          <p:nvPr>
            <p:ph type="body" sz="quarter" idx="36" hasCustomPrompt="1"/>
          </p:nvPr>
        </p:nvSpPr>
        <p:spPr>
          <a:xfrm>
            <a:off x="381000" y="1974346"/>
            <a:ext cx="5376000"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0" name="Header 2">
            <a:extLst>
              <a:ext uri="{FF2B5EF4-FFF2-40B4-BE49-F238E27FC236}">
                <a16:creationId xmlns:a16="http://schemas.microsoft.com/office/drawing/2014/main" id="{30B40A43-AF85-4C48-AB3A-DA05DE732F35}"/>
              </a:ext>
            </a:extLst>
          </p:cNvPr>
          <p:cNvSpPr>
            <a:spLocks noGrp="1"/>
          </p:cNvSpPr>
          <p:nvPr>
            <p:ph type="body" sz="quarter" idx="30" hasCustomPrompt="1"/>
          </p:nvPr>
        </p:nvSpPr>
        <p:spPr>
          <a:xfrm>
            <a:off x="6433799" y="1974346"/>
            <a:ext cx="5376000"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381000" y="4794573"/>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6433799" y="4794573"/>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Header 3">
            <a:extLst>
              <a:ext uri="{FF2B5EF4-FFF2-40B4-BE49-F238E27FC236}">
                <a16:creationId xmlns:a16="http://schemas.microsoft.com/office/drawing/2014/main" id="{831DB6E1-CBAC-4ECF-88CF-E8D51B29C19C}"/>
              </a:ext>
            </a:extLst>
          </p:cNvPr>
          <p:cNvSpPr>
            <a:spLocks noGrp="1"/>
          </p:cNvSpPr>
          <p:nvPr>
            <p:ph type="body" sz="quarter" idx="39" hasCustomPrompt="1"/>
          </p:nvPr>
        </p:nvSpPr>
        <p:spPr>
          <a:xfrm>
            <a:off x="381000" y="4344470"/>
            <a:ext cx="5376000"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6" name="Header 4">
            <a:extLst>
              <a:ext uri="{FF2B5EF4-FFF2-40B4-BE49-F238E27FC236}">
                <a16:creationId xmlns:a16="http://schemas.microsoft.com/office/drawing/2014/main" id="{F2730FC7-2E6F-466D-9221-BB8A8A498DDA}"/>
              </a:ext>
            </a:extLst>
          </p:cNvPr>
          <p:cNvSpPr>
            <a:spLocks noGrp="1"/>
          </p:cNvSpPr>
          <p:nvPr>
            <p:ph type="body" sz="quarter" idx="40" hasCustomPrompt="1"/>
          </p:nvPr>
        </p:nvSpPr>
        <p:spPr>
          <a:xfrm>
            <a:off x="6433799" y="4344470"/>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lvl="0"/>
            <a:r>
              <a:rPr lang="en-GB"/>
              <a:t>(max. 2 lines)</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8" name="Text Placeholder 4">
            <a:extLst>
              <a:ext uri="{FF2B5EF4-FFF2-40B4-BE49-F238E27FC236}">
                <a16:creationId xmlns:a16="http://schemas.microsoft.com/office/drawing/2014/main" id="{F1C9B74D-AA4A-41C9-908C-F5884B578581}"/>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43" name="Header 1">
            <a:extLst>
              <a:ext uri="{FF2B5EF4-FFF2-40B4-BE49-F238E27FC236}">
                <a16:creationId xmlns:a16="http://schemas.microsoft.com/office/drawing/2014/main" id="{A579CFF5-C5B3-474E-AF68-241D17CCE7C8}"/>
              </a:ext>
            </a:extLst>
          </p:cNvPr>
          <p:cNvSpPr>
            <a:spLocks noGrp="1"/>
          </p:cNvSpPr>
          <p:nvPr>
            <p:ph type="body" sz="quarter" idx="41" hasCustomPrompt="1"/>
          </p:nvPr>
        </p:nvSpPr>
        <p:spPr>
          <a:xfrm>
            <a:off x="495300" y="1723182"/>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46" name="Header 1">
            <a:extLst>
              <a:ext uri="{FF2B5EF4-FFF2-40B4-BE49-F238E27FC236}">
                <a16:creationId xmlns:a16="http://schemas.microsoft.com/office/drawing/2014/main" id="{15492E27-0423-4B7C-9F8A-92CAFE37CEF1}"/>
              </a:ext>
            </a:extLst>
          </p:cNvPr>
          <p:cNvSpPr>
            <a:spLocks noGrp="1"/>
          </p:cNvSpPr>
          <p:nvPr>
            <p:ph type="body" sz="quarter" idx="43" hasCustomPrompt="1"/>
          </p:nvPr>
        </p:nvSpPr>
        <p:spPr>
          <a:xfrm>
            <a:off x="6548099" y="1723182"/>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47" name="Text Placeholder 4">
            <a:extLst>
              <a:ext uri="{FF2B5EF4-FFF2-40B4-BE49-F238E27FC236}">
                <a16:creationId xmlns:a16="http://schemas.microsoft.com/office/drawing/2014/main" id="{22123AE3-2808-4107-B118-172F8E99A326}"/>
              </a:ext>
            </a:extLst>
          </p:cNvPr>
          <p:cNvSpPr>
            <a:spLocks noGrp="1"/>
          </p:cNvSpPr>
          <p:nvPr>
            <p:ph type="body" sz="quarter" idx="44" hasCustomPrompt="1"/>
          </p:nvPr>
        </p:nvSpPr>
        <p:spPr>
          <a:xfrm>
            <a:off x="6433799" y="1706754"/>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2</a:t>
            </a:r>
          </a:p>
        </p:txBody>
      </p:sp>
      <p:sp>
        <p:nvSpPr>
          <p:cNvPr id="48" name="Header 1">
            <a:extLst>
              <a:ext uri="{FF2B5EF4-FFF2-40B4-BE49-F238E27FC236}">
                <a16:creationId xmlns:a16="http://schemas.microsoft.com/office/drawing/2014/main" id="{ADD9AFFE-56A6-4380-8BEF-EB516EA5EA71}"/>
              </a:ext>
            </a:extLst>
          </p:cNvPr>
          <p:cNvSpPr>
            <a:spLocks noGrp="1"/>
          </p:cNvSpPr>
          <p:nvPr>
            <p:ph type="body" sz="quarter" idx="45" hasCustomPrompt="1"/>
          </p:nvPr>
        </p:nvSpPr>
        <p:spPr>
          <a:xfrm>
            <a:off x="495300" y="4090556"/>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49" name="Text Placeholder 4">
            <a:extLst>
              <a:ext uri="{FF2B5EF4-FFF2-40B4-BE49-F238E27FC236}">
                <a16:creationId xmlns:a16="http://schemas.microsoft.com/office/drawing/2014/main" id="{5430CA55-3194-437D-886F-57F7C5BF7738}"/>
              </a:ext>
            </a:extLst>
          </p:cNvPr>
          <p:cNvSpPr>
            <a:spLocks noGrp="1"/>
          </p:cNvSpPr>
          <p:nvPr>
            <p:ph type="body" sz="quarter" idx="46" hasCustomPrompt="1"/>
          </p:nvPr>
        </p:nvSpPr>
        <p:spPr>
          <a:xfrm>
            <a:off x="381000" y="4070594"/>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3</a:t>
            </a:r>
          </a:p>
        </p:txBody>
      </p:sp>
      <p:sp>
        <p:nvSpPr>
          <p:cNvPr id="50" name="Header 1">
            <a:extLst>
              <a:ext uri="{FF2B5EF4-FFF2-40B4-BE49-F238E27FC236}">
                <a16:creationId xmlns:a16="http://schemas.microsoft.com/office/drawing/2014/main" id="{AA2F41B8-E21B-46B0-BCA2-6056C9D8C5D8}"/>
              </a:ext>
            </a:extLst>
          </p:cNvPr>
          <p:cNvSpPr>
            <a:spLocks noGrp="1"/>
          </p:cNvSpPr>
          <p:nvPr>
            <p:ph type="body" sz="quarter" idx="47" hasCustomPrompt="1"/>
          </p:nvPr>
        </p:nvSpPr>
        <p:spPr>
          <a:xfrm>
            <a:off x="6548099" y="4090556"/>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51" name="Text Placeholder 4">
            <a:extLst>
              <a:ext uri="{FF2B5EF4-FFF2-40B4-BE49-F238E27FC236}">
                <a16:creationId xmlns:a16="http://schemas.microsoft.com/office/drawing/2014/main" id="{E03268E8-248B-45BF-9BE3-8E6103F84597}"/>
              </a:ext>
            </a:extLst>
          </p:cNvPr>
          <p:cNvSpPr>
            <a:spLocks noGrp="1"/>
          </p:cNvSpPr>
          <p:nvPr>
            <p:ph type="body" sz="quarter" idx="48" hasCustomPrompt="1"/>
          </p:nvPr>
        </p:nvSpPr>
        <p:spPr>
          <a:xfrm>
            <a:off x="6433799" y="4070594"/>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4</a:t>
            </a:r>
          </a:p>
        </p:txBody>
      </p:sp>
      <p:sp>
        <p:nvSpPr>
          <p:cNvPr id="8" name="Text Placeholder 7">
            <a:extLst>
              <a:ext uri="{FF2B5EF4-FFF2-40B4-BE49-F238E27FC236}">
                <a16:creationId xmlns:a16="http://schemas.microsoft.com/office/drawing/2014/main" id="{C13C1FBD-2B60-4422-8E94-1A95A3DE93D5}"/>
              </a:ext>
            </a:extLst>
          </p:cNvPr>
          <p:cNvSpPr>
            <a:spLocks noGrp="1"/>
          </p:cNvSpPr>
          <p:nvPr>
            <p:ph type="body" sz="quarter" idx="49" hasCustomPrompt="1"/>
          </p:nvPr>
        </p:nvSpPr>
        <p:spPr>
          <a:xfrm>
            <a:off x="381000" y="1706754"/>
            <a:ext cx="252000" cy="251670"/>
          </a:xfrm>
          <a:prstGeom prst="ellipse">
            <a:avLst/>
          </a:prstGeom>
          <a:solidFill>
            <a:schemeClr val="accent2"/>
          </a:solidFill>
        </p:spPr>
        <p:txBody>
          <a:bodyPr anchor="ctr" anchorCtr="0">
            <a:noAutofit/>
          </a:bodyPr>
          <a:lstStyle>
            <a:lvl1pPr algn="ctr">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1</a:t>
            </a:r>
          </a:p>
        </p:txBody>
      </p:sp>
      <p:sp>
        <p:nvSpPr>
          <p:cNvPr id="37" name="Text Placeholder 5">
            <a:extLst>
              <a:ext uri="{FF2B5EF4-FFF2-40B4-BE49-F238E27FC236}">
                <a16:creationId xmlns:a16="http://schemas.microsoft.com/office/drawing/2014/main" id="{CADDEF87-26F6-4A8C-8D0F-27EC3695F06F}"/>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D5122C1-D049-4CBA-8381-0C6B2BE92B9E}"/>
              </a:ext>
            </a:extLst>
          </p:cNvPr>
          <p:cNvSpPr>
            <a:spLocks noGrp="1"/>
          </p:cNvSpPr>
          <p:nvPr>
            <p:ph type="body" sz="quarter" idx="50"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16112138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5 regions - bar chart - commen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43" name="Header 1">
            <a:extLst>
              <a:ext uri="{FF2B5EF4-FFF2-40B4-BE49-F238E27FC236}">
                <a16:creationId xmlns:a16="http://schemas.microsoft.com/office/drawing/2014/main" id="{A579CFF5-C5B3-474E-AF68-241D17CCE7C8}"/>
              </a:ext>
            </a:extLst>
          </p:cNvPr>
          <p:cNvSpPr>
            <a:spLocks noGrp="1"/>
          </p:cNvSpPr>
          <p:nvPr>
            <p:ph type="body" sz="quarter" idx="41" hasCustomPrompt="1"/>
          </p:nvPr>
        </p:nvSpPr>
        <p:spPr>
          <a:xfrm>
            <a:off x="377525"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46" name="Header 1">
            <a:extLst>
              <a:ext uri="{FF2B5EF4-FFF2-40B4-BE49-F238E27FC236}">
                <a16:creationId xmlns:a16="http://schemas.microsoft.com/office/drawing/2014/main" id="{15492E27-0423-4B7C-9F8A-92CAFE37CEF1}"/>
              </a:ext>
            </a:extLst>
          </p:cNvPr>
          <p:cNvSpPr>
            <a:spLocks noGrp="1"/>
          </p:cNvSpPr>
          <p:nvPr>
            <p:ph type="body" sz="quarter" idx="43" hasCustomPrompt="1"/>
          </p:nvPr>
        </p:nvSpPr>
        <p:spPr>
          <a:xfrm>
            <a:off x="4283512"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48" name="Header 1">
            <a:extLst>
              <a:ext uri="{FF2B5EF4-FFF2-40B4-BE49-F238E27FC236}">
                <a16:creationId xmlns:a16="http://schemas.microsoft.com/office/drawing/2014/main" id="{ADD9AFFE-56A6-4380-8BEF-EB516EA5EA71}"/>
              </a:ext>
            </a:extLst>
          </p:cNvPr>
          <p:cNvSpPr>
            <a:spLocks noGrp="1"/>
          </p:cNvSpPr>
          <p:nvPr>
            <p:ph type="body" sz="quarter" idx="45" hasCustomPrompt="1"/>
          </p:nvPr>
        </p:nvSpPr>
        <p:spPr>
          <a:xfrm>
            <a:off x="377525" y="3848034"/>
            <a:ext cx="3635840" cy="187200"/>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50" name="Header 1">
            <a:extLst>
              <a:ext uri="{FF2B5EF4-FFF2-40B4-BE49-F238E27FC236}">
                <a16:creationId xmlns:a16="http://schemas.microsoft.com/office/drawing/2014/main" id="{AA2F41B8-E21B-46B0-BCA2-6056C9D8C5D8}"/>
              </a:ext>
            </a:extLst>
          </p:cNvPr>
          <p:cNvSpPr>
            <a:spLocks noGrp="1"/>
          </p:cNvSpPr>
          <p:nvPr>
            <p:ph type="body" sz="quarter" idx="47" hasCustomPrompt="1"/>
          </p:nvPr>
        </p:nvSpPr>
        <p:spPr>
          <a:xfrm>
            <a:off x="4283512" y="3848034"/>
            <a:ext cx="3635840" cy="187200"/>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5</a:t>
            </a:r>
          </a:p>
        </p:txBody>
      </p:sp>
      <p:sp>
        <p:nvSpPr>
          <p:cNvPr id="37" name="Text Placeholder 5">
            <a:extLst>
              <a:ext uri="{FF2B5EF4-FFF2-40B4-BE49-F238E27FC236}">
                <a16:creationId xmlns:a16="http://schemas.microsoft.com/office/drawing/2014/main" id="{CADDEF87-26F6-4A8C-8D0F-27EC3695F06F}"/>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D5122C1-D049-4CBA-8381-0C6B2BE92B9E}"/>
              </a:ext>
            </a:extLst>
          </p:cNvPr>
          <p:cNvSpPr>
            <a:spLocks noGrp="1"/>
          </p:cNvSpPr>
          <p:nvPr>
            <p:ph type="body" sz="quarter" idx="50"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
        <p:nvSpPr>
          <p:cNvPr id="44" name="Header 1">
            <a:extLst>
              <a:ext uri="{FF2B5EF4-FFF2-40B4-BE49-F238E27FC236}">
                <a16:creationId xmlns:a16="http://schemas.microsoft.com/office/drawing/2014/main" id="{B9DFF9B2-EA65-4F16-AE77-78189FC247FD}"/>
              </a:ext>
            </a:extLst>
          </p:cNvPr>
          <p:cNvSpPr>
            <a:spLocks noGrp="1"/>
          </p:cNvSpPr>
          <p:nvPr>
            <p:ph type="body" sz="quarter" idx="52" hasCustomPrompt="1"/>
          </p:nvPr>
        </p:nvSpPr>
        <p:spPr>
          <a:xfrm>
            <a:off x="8176649"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56" name="Text 3">
            <a:extLst>
              <a:ext uri="{FF2B5EF4-FFF2-40B4-BE49-F238E27FC236}">
                <a16:creationId xmlns:a16="http://schemas.microsoft.com/office/drawing/2014/main" id="{D0B2870A-8204-4594-A776-A3DA73C035B9}"/>
              </a:ext>
            </a:extLst>
          </p:cNvPr>
          <p:cNvSpPr>
            <a:spLocks noGrp="1"/>
          </p:cNvSpPr>
          <p:nvPr>
            <p:ph type="body" sz="quarter" idx="37"/>
          </p:nvPr>
        </p:nvSpPr>
        <p:spPr>
          <a:xfrm>
            <a:off x="8234803" y="4035234"/>
            <a:ext cx="3635233"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7" name="Text Placeholder 4">
            <a:extLst>
              <a:ext uri="{FF2B5EF4-FFF2-40B4-BE49-F238E27FC236}">
                <a16:creationId xmlns:a16="http://schemas.microsoft.com/office/drawing/2014/main" id="{E106BF0B-FA51-492C-9864-4E75F8CA876E}"/>
              </a:ext>
            </a:extLst>
          </p:cNvPr>
          <p:cNvSpPr>
            <a:spLocks noGrp="1"/>
          </p:cNvSpPr>
          <p:nvPr>
            <p:ph type="body" sz="quarter" idx="31" hasCustomPrompt="1"/>
          </p:nvPr>
        </p:nvSpPr>
        <p:spPr>
          <a:xfrm>
            <a:off x="381599" y="1263129"/>
            <a:ext cx="11428800" cy="184666"/>
          </a:xfrm>
        </p:spPr>
        <p:txBody>
          <a:bodyPr vert="horz" lIns="0" tIns="0" rIns="0" bIns="0" rtlCol="0">
            <a:spAutoFit/>
          </a:bodyPr>
          <a:lstStyle>
            <a:lvl1pPr>
              <a:defRPr lang="en-GB" sz="1200" b="1"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p:txBody>
      </p:sp>
      <p:sp>
        <p:nvSpPr>
          <p:cNvPr id="58" name="Text Placeholder 4">
            <a:extLst>
              <a:ext uri="{FF2B5EF4-FFF2-40B4-BE49-F238E27FC236}">
                <a16:creationId xmlns:a16="http://schemas.microsoft.com/office/drawing/2014/main" id="{FB9C1B2F-60BB-41B1-82E1-CEC967EB46F3}"/>
              </a:ext>
            </a:extLst>
          </p:cNvPr>
          <p:cNvSpPr>
            <a:spLocks noGrp="1"/>
          </p:cNvSpPr>
          <p:nvPr>
            <p:ph type="body" sz="quarter" idx="53" hasCustomPrompt="1"/>
          </p:nvPr>
        </p:nvSpPr>
        <p:spPr>
          <a:xfrm>
            <a:off x="374054" y="1486557"/>
            <a:ext cx="11428800" cy="184666"/>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Units</a:t>
            </a:r>
          </a:p>
        </p:txBody>
      </p:sp>
    </p:spTree>
    <p:extLst>
      <p:ext uri="{BB962C8B-B14F-4D97-AF65-F5344CB8AC3E}">
        <p14:creationId xmlns:p14="http://schemas.microsoft.com/office/powerpoint/2010/main" val="153952249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5 regions - comment - white backgroun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43" name="Header 1">
            <a:extLst>
              <a:ext uri="{FF2B5EF4-FFF2-40B4-BE49-F238E27FC236}">
                <a16:creationId xmlns:a16="http://schemas.microsoft.com/office/drawing/2014/main" id="{A579CFF5-C5B3-474E-AF68-241D17CCE7C8}"/>
              </a:ext>
            </a:extLst>
          </p:cNvPr>
          <p:cNvSpPr>
            <a:spLocks noGrp="1"/>
          </p:cNvSpPr>
          <p:nvPr>
            <p:ph type="body" sz="quarter" idx="41" hasCustomPrompt="1"/>
          </p:nvPr>
        </p:nvSpPr>
        <p:spPr>
          <a:xfrm>
            <a:off x="377525"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46" name="Header 1">
            <a:extLst>
              <a:ext uri="{FF2B5EF4-FFF2-40B4-BE49-F238E27FC236}">
                <a16:creationId xmlns:a16="http://schemas.microsoft.com/office/drawing/2014/main" id="{15492E27-0423-4B7C-9F8A-92CAFE37CEF1}"/>
              </a:ext>
            </a:extLst>
          </p:cNvPr>
          <p:cNvSpPr>
            <a:spLocks noGrp="1"/>
          </p:cNvSpPr>
          <p:nvPr>
            <p:ph type="body" sz="quarter" idx="43" hasCustomPrompt="1"/>
          </p:nvPr>
        </p:nvSpPr>
        <p:spPr>
          <a:xfrm>
            <a:off x="4283512"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48" name="Header 1">
            <a:extLst>
              <a:ext uri="{FF2B5EF4-FFF2-40B4-BE49-F238E27FC236}">
                <a16:creationId xmlns:a16="http://schemas.microsoft.com/office/drawing/2014/main" id="{ADD9AFFE-56A6-4380-8BEF-EB516EA5EA71}"/>
              </a:ext>
            </a:extLst>
          </p:cNvPr>
          <p:cNvSpPr>
            <a:spLocks noGrp="1"/>
          </p:cNvSpPr>
          <p:nvPr>
            <p:ph type="body" sz="quarter" idx="45" hasCustomPrompt="1"/>
          </p:nvPr>
        </p:nvSpPr>
        <p:spPr>
          <a:xfrm>
            <a:off x="377525" y="3962330"/>
            <a:ext cx="3635840" cy="187200"/>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50" name="Header 1">
            <a:extLst>
              <a:ext uri="{FF2B5EF4-FFF2-40B4-BE49-F238E27FC236}">
                <a16:creationId xmlns:a16="http://schemas.microsoft.com/office/drawing/2014/main" id="{AA2F41B8-E21B-46B0-BCA2-6056C9D8C5D8}"/>
              </a:ext>
            </a:extLst>
          </p:cNvPr>
          <p:cNvSpPr>
            <a:spLocks noGrp="1"/>
          </p:cNvSpPr>
          <p:nvPr>
            <p:ph type="body" sz="quarter" idx="47" hasCustomPrompt="1"/>
          </p:nvPr>
        </p:nvSpPr>
        <p:spPr>
          <a:xfrm>
            <a:off x="4283512" y="3962330"/>
            <a:ext cx="3635840" cy="187200"/>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5</a:t>
            </a:r>
          </a:p>
        </p:txBody>
      </p:sp>
      <p:sp>
        <p:nvSpPr>
          <p:cNvPr id="37" name="Text Placeholder 5">
            <a:extLst>
              <a:ext uri="{FF2B5EF4-FFF2-40B4-BE49-F238E27FC236}">
                <a16:creationId xmlns:a16="http://schemas.microsoft.com/office/drawing/2014/main" id="{CADDEF87-26F6-4A8C-8D0F-27EC3695F06F}"/>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D5122C1-D049-4CBA-8381-0C6B2BE92B9E}"/>
              </a:ext>
            </a:extLst>
          </p:cNvPr>
          <p:cNvSpPr>
            <a:spLocks noGrp="1"/>
          </p:cNvSpPr>
          <p:nvPr>
            <p:ph type="body" sz="quarter" idx="50"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
        <p:nvSpPr>
          <p:cNvPr id="44" name="Header 1">
            <a:extLst>
              <a:ext uri="{FF2B5EF4-FFF2-40B4-BE49-F238E27FC236}">
                <a16:creationId xmlns:a16="http://schemas.microsoft.com/office/drawing/2014/main" id="{B9DFF9B2-EA65-4F16-AE77-78189FC247FD}"/>
              </a:ext>
            </a:extLst>
          </p:cNvPr>
          <p:cNvSpPr>
            <a:spLocks noGrp="1"/>
          </p:cNvSpPr>
          <p:nvPr>
            <p:ph type="body" sz="quarter" idx="52" hasCustomPrompt="1"/>
          </p:nvPr>
        </p:nvSpPr>
        <p:spPr>
          <a:xfrm>
            <a:off x="8176649"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56" name="Text 3">
            <a:extLst>
              <a:ext uri="{FF2B5EF4-FFF2-40B4-BE49-F238E27FC236}">
                <a16:creationId xmlns:a16="http://schemas.microsoft.com/office/drawing/2014/main" id="{D0B2870A-8204-4594-A776-A3DA73C035B9}"/>
              </a:ext>
            </a:extLst>
          </p:cNvPr>
          <p:cNvSpPr>
            <a:spLocks noGrp="1"/>
          </p:cNvSpPr>
          <p:nvPr>
            <p:ph type="body" sz="quarter" idx="37"/>
          </p:nvPr>
        </p:nvSpPr>
        <p:spPr>
          <a:xfrm>
            <a:off x="8234803" y="4149530"/>
            <a:ext cx="3635233"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7" name="Text Placeholder 4">
            <a:extLst>
              <a:ext uri="{FF2B5EF4-FFF2-40B4-BE49-F238E27FC236}">
                <a16:creationId xmlns:a16="http://schemas.microsoft.com/office/drawing/2014/main" id="{E106BF0B-FA51-492C-9864-4E75F8CA876E}"/>
              </a:ext>
            </a:extLst>
          </p:cNvPr>
          <p:cNvSpPr>
            <a:spLocks noGrp="1"/>
          </p:cNvSpPr>
          <p:nvPr>
            <p:ph type="body" sz="quarter" idx="31" hasCustomPrompt="1"/>
          </p:nvPr>
        </p:nvSpPr>
        <p:spPr>
          <a:xfrm>
            <a:off x="381599" y="1263129"/>
            <a:ext cx="11428800" cy="184666"/>
          </a:xfrm>
        </p:spPr>
        <p:txBody>
          <a:bodyPr vert="horz" lIns="0" tIns="0" rIns="0" bIns="0" rtlCol="0">
            <a:spAutoFit/>
          </a:bodyPr>
          <a:lstStyle>
            <a:lvl1pPr>
              <a:defRPr lang="en-GB" sz="1200" b="1"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p:txBody>
      </p:sp>
      <p:sp>
        <p:nvSpPr>
          <p:cNvPr id="58" name="Text Placeholder 4">
            <a:extLst>
              <a:ext uri="{FF2B5EF4-FFF2-40B4-BE49-F238E27FC236}">
                <a16:creationId xmlns:a16="http://schemas.microsoft.com/office/drawing/2014/main" id="{FB9C1B2F-60BB-41B1-82E1-CEC967EB46F3}"/>
              </a:ext>
            </a:extLst>
          </p:cNvPr>
          <p:cNvSpPr>
            <a:spLocks noGrp="1"/>
          </p:cNvSpPr>
          <p:nvPr>
            <p:ph type="body" sz="quarter" idx="53" hasCustomPrompt="1"/>
          </p:nvPr>
        </p:nvSpPr>
        <p:spPr>
          <a:xfrm>
            <a:off x="374054" y="1486557"/>
            <a:ext cx="11428800" cy="184666"/>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Units</a:t>
            </a:r>
          </a:p>
        </p:txBody>
      </p:sp>
    </p:spTree>
    <p:extLst>
      <p:ext uri="{BB962C8B-B14F-4D97-AF65-F5344CB8AC3E}">
        <p14:creationId xmlns:p14="http://schemas.microsoft.com/office/powerpoint/2010/main" val="217719303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4 regions - comment - grey backgroun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8E3D202-E0EA-466A-8C55-E2DE7686ED4D}"/>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4" name="Confidential">
            <a:extLst>
              <a:ext uri="{FF2B5EF4-FFF2-40B4-BE49-F238E27FC236}">
                <a16:creationId xmlns:a16="http://schemas.microsoft.com/office/drawing/2014/main" id="{14C29F18-0061-4AD0-8F17-1B44E4BAED6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2" name="Text Placeholder 2">
            <a:extLst>
              <a:ext uri="{FF2B5EF4-FFF2-40B4-BE49-F238E27FC236}">
                <a16:creationId xmlns:a16="http://schemas.microsoft.com/office/drawing/2014/main" id="{D69DFB0D-DF47-4F51-8A1E-A3F04A199F5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3" name="Aurora Logo">
            <a:extLst>
              <a:ext uri="{FF2B5EF4-FFF2-40B4-BE49-F238E27FC236}">
                <a16:creationId xmlns:a16="http://schemas.microsoft.com/office/drawing/2014/main" id="{0B030AA5-8163-4F27-9057-F3025760F02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34" name="Header Comments">
            <a:extLst>
              <a:ext uri="{FF2B5EF4-FFF2-40B4-BE49-F238E27FC236}">
                <a16:creationId xmlns:a16="http://schemas.microsoft.com/office/drawing/2014/main" id="{BA58D606-2C71-4E85-8328-99C37B4B4195}"/>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35" name="Text Comments">
            <a:extLst>
              <a:ext uri="{FF2B5EF4-FFF2-40B4-BE49-F238E27FC236}">
                <a16:creationId xmlns:a16="http://schemas.microsoft.com/office/drawing/2014/main" id="{FF2AB152-2969-46CD-B5D8-B3919809B323}"/>
              </a:ext>
            </a:extLst>
          </p:cNvPr>
          <p:cNvSpPr>
            <a:spLocks noGrp="1"/>
          </p:cNvSpPr>
          <p:nvPr>
            <p:ph type="body" sz="quarter" idx="28"/>
          </p:nvPr>
        </p:nvSpPr>
        <p:spPr>
          <a:xfrm>
            <a:off x="9500714" y="1712755"/>
            <a:ext cx="2335686"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itle 3">
            <a:extLst>
              <a:ext uri="{FF2B5EF4-FFF2-40B4-BE49-F238E27FC236}">
                <a16:creationId xmlns:a16="http://schemas.microsoft.com/office/drawing/2014/main" id="{C5C9D1F5-9907-4B3A-A8FD-DB0AF4B08748}"/>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37" name="Text Placeholder 5">
            <a:extLst>
              <a:ext uri="{FF2B5EF4-FFF2-40B4-BE49-F238E27FC236}">
                <a16:creationId xmlns:a16="http://schemas.microsoft.com/office/drawing/2014/main" id="{CC0D292B-B63E-4277-A339-858F1811E07D}"/>
              </a:ext>
            </a:extLst>
          </p:cNvPr>
          <p:cNvSpPr>
            <a:spLocks noGrp="1"/>
          </p:cNvSpPr>
          <p:nvPr>
            <p:ph type="body" sz="quarter" idx="32"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39" name="Supertitle">
            <a:extLst>
              <a:ext uri="{FF2B5EF4-FFF2-40B4-BE49-F238E27FC236}">
                <a16:creationId xmlns:a16="http://schemas.microsoft.com/office/drawing/2014/main" id="{23980E38-F915-4158-AF74-34AE9E15DEA1}"/>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
        <p:nvSpPr>
          <p:cNvPr id="23" name="Header 1">
            <a:extLst>
              <a:ext uri="{FF2B5EF4-FFF2-40B4-BE49-F238E27FC236}">
                <a16:creationId xmlns:a16="http://schemas.microsoft.com/office/drawing/2014/main" id="{31D99F63-9B34-42E2-815E-E9FCF2F2AA13}"/>
              </a:ext>
            </a:extLst>
          </p:cNvPr>
          <p:cNvSpPr>
            <a:spLocks noGrp="1"/>
          </p:cNvSpPr>
          <p:nvPr>
            <p:ph type="body" sz="quarter" idx="41" hasCustomPrompt="1"/>
          </p:nvPr>
        </p:nvSpPr>
        <p:spPr>
          <a:xfrm>
            <a:off x="377525" y="1785266"/>
            <a:ext cx="38880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47" name="Text Placeholder 4">
            <a:extLst>
              <a:ext uri="{FF2B5EF4-FFF2-40B4-BE49-F238E27FC236}">
                <a16:creationId xmlns:a16="http://schemas.microsoft.com/office/drawing/2014/main" id="{3AEDFCF7-D380-4799-A922-137FF625D814}"/>
              </a:ext>
            </a:extLst>
          </p:cNvPr>
          <p:cNvSpPr>
            <a:spLocks noGrp="1"/>
          </p:cNvSpPr>
          <p:nvPr>
            <p:ph type="body" sz="quarter" idx="53" hasCustomPrompt="1"/>
          </p:nvPr>
        </p:nvSpPr>
        <p:spPr>
          <a:xfrm>
            <a:off x="374054" y="1486557"/>
            <a:ext cx="11428800" cy="184666"/>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Units</a:t>
            </a:r>
          </a:p>
        </p:txBody>
      </p:sp>
      <p:sp>
        <p:nvSpPr>
          <p:cNvPr id="56" name="Text Placeholder 4">
            <a:extLst>
              <a:ext uri="{FF2B5EF4-FFF2-40B4-BE49-F238E27FC236}">
                <a16:creationId xmlns:a16="http://schemas.microsoft.com/office/drawing/2014/main" id="{1163F6F5-9703-4889-AF90-8C43A31987DD}"/>
              </a:ext>
            </a:extLst>
          </p:cNvPr>
          <p:cNvSpPr>
            <a:spLocks noGrp="1"/>
          </p:cNvSpPr>
          <p:nvPr>
            <p:ph type="body" sz="quarter" idx="54" hasCustomPrompt="1"/>
          </p:nvPr>
        </p:nvSpPr>
        <p:spPr>
          <a:xfrm>
            <a:off x="381599" y="1263129"/>
            <a:ext cx="11428800" cy="184666"/>
          </a:xfrm>
        </p:spPr>
        <p:txBody>
          <a:bodyPr vert="horz" lIns="0" tIns="0" rIns="0" bIns="0" rtlCol="0">
            <a:spAutoFit/>
          </a:bodyPr>
          <a:lstStyle>
            <a:lvl1pPr>
              <a:defRPr lang="en-GB" sz="1200" b="1"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p:txBody>
      </p:sp>
      <p:sp>
        <p:nvSpPr>
          <p:cNvPr id="60" name="Header 1">
            <a:extLst>
              <a:ext uri="{FF2B5EF4-FFF2-40B4-BE49-F238E27FC236}">
                <a16:creationId xmlns:a16="http://schemas.microsoft.com/office/drawing/2014/main" id="{855315BF-E1B0-4A8B-93FD-5C9C28F33EEE}"/>
              </a:ext>
            </a:extLst>
          </p:cNvPr>
          <p:cNvSpPr>
            <a:spLocks noGrp="1"/>
          </p:cNvSpPr>
          <p:nvPr>
            <p:ph type="body" sz="quarter" idx="56" hasCustomPrompt="1"/>
          </p:nvPr>
        </p:nvSpPr>
        <p:spPr>
          <a:xfrm>
            <a:off x="5094070" y="1785266"/>
            <a:ext cx="38880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62" name="Header 1">
            <a:extLst>
              <a:ext uri="{FF2B5EF4-FFF2-40B4-BE49-F238E27FC236}">
                <a16:creationId xmlns:a16="http://schemas.microsoft.com/office/drawing/2014/main" id="{C9B227B5-E411-4287-9246-2E5D5ABC7373}"/>
              </a:ext>
            </a:extLst>
          </p:cNvPr>
          <p:cNvSpPr>
            <a:spLocks noGrp="1"/>
          </p:cNvSpPr>
          <p:nvPr>
            <p:ph type="body" sz="quarter" idx="57" hasCustomPrompt="1"/>
          </p:nvPr>
        </p:nvSpPr>
        <p:spPr>
          <a:xfrm>
            <a:off x="374052" y="3937670"/>
            <a:ext cx="38880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64" name="Header 1">
            <a:extLst>
              <a:ext uri="{FF2B5EF4-FFF2-40B4-BE49-F238E27FC236}">
                <a16:creationId xmlns:a16="http://schemas.microsoft.com/office/drawing/2014/main" id="{03C296AC-8AE5-4A5D-8B6D-31C3D325DB72}"/>
              </a:ext>
            </a:extLst>
          </p:cNvPr>
          <p:cNvSpPr>
            <a:spLocks noGrp="1"/>
          </p:cNvSpPr>
          <p:nvPr>
            <p:ph type="body" sz="quarter" idx="58" hasCustomPrompt="1"/>
          </p:nvPr>
        </p:nvSpPr>
        <p:spPr>
          <a:xfrm>
            <a:off x="5094070" y="3937670"/>
            <a:ext cx="38880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Tree>
    <p:extLst>
      <p:ext uri="{BB962C8B-B14F-4D97-AF65-F5344CB8AC3E}">
        <p14:creationId xmlns:p14="http://schemas.microsoft.com/office/powerpoint/2010/main" val="422908539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4 regions - no commen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43" name="Header 1">
            <a:extLst>
              <a:ext uri="{FF2B5EF4-FFF2-40B4-BE49-F238E27FC236}">
                <a16:creationId xmlns:a16="http://schemas.microsoft.com/office/drawing/2014/main" id="{A579CFF5-C5B3-474E-AF68-241D17CCE7C8}"/>
              </a:ext>
            </a:extLst>
          </p:cNvPr>
          <p:cNvSpPr>
            <a:spLocks noGrp="1"/>
          </p:cNvSpPr>
          <p:nvPr>
            <p:ph type="body" sz="quarter" idx="41" hasCustomPrompt="1"/>
          </p:nvPr>
        </p:nvSpPr>
        <p:spPr>
          <a:xfrm>
            <a:off x="377525" y="1785266"/>
            <a:ext cx="54936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37" name="Text Placeholder 5">
            <a:extLst>
              <a:ext uri="{FF2B5EF4-FFF2-40B4-BE49-F238E27FC236}">
                <a16:creationId xmlns:a16="http://schemas.microsoft.com/office/drawing/2014/main" id="{CADDEF87-26F6-4A8C-8D0F-27EC3695F06F}"/>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D5122C1-D049-4CBA-8381-0C6B2BE92B9E}"/>
              </a:ext>
            </a:extLst>
          </p:cNvPr>
          <p:cNvSpPr>
            <a:spLocks noGrp="1"/>
          </p:cNvSpPr>
          <p:nvPr>
            <p:ph type="body" sz="quarter" idx="50"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
        <p:nvSpPr>
          <p:cNvPr id="57" name="Text Placeholder 4">
            <a:extLst>
              <a:ext uri="{FF2B5EF4-FFF2-40B4-BE49-F238E27FC236}">
                <a16:creationId xmlns:a16="http://schemas.microsoft.com/office/drawing/2014/main" id="{E106BF0B-FA51-492C-9864-4E75F8CA876E}"/>
              </a:ext>
            </a:extLst>
          </p:cNvPr>
          <p:cNvSpPr>
            <a:spLocks noGrp="1"/>
          </p:cNvSpPr>
          <p:nvPr>
            <p:ph type="body" sz="quarter" idx="31" hasCustomPrompt="1"/>
          </p:nvPr>
        </p:nvSpPr>
        <p:spPr>
          <a:xfrm>
            <a:off x="381599" y="1263129"/>
            <a:ext cx="11428800" cy="184666"/>
          </a:xfrm>
        </p:spPr>
        <p:txBody>
          <a:bodyPr vert="horz" lIns="0" tIns="0" rIns="0" bIns="0" rtlCol="0">
            <a:spAutoFit/>
          </a:bodyPr>
          <a:lstStyle>
            <a:lvl1pPr>
              <a:defRPr lang="en-GB" sz="1200" b="1"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p:txBody>
      </p:sp>
      <p:sp>
        <p:nvSpPr>
          <p:cNvPr id="58" name="Text Placeholder 4">
            <a:extLst>
              <a:ext uri="{FF2B5EF4-FFF2-40B4-BE49-F238E27FC236}">
                <a16:creationId xmlns:a16="http://schemas.microsoft.com/office/drawing/2014/main" id="{FB9C1B2F-60BB-41B1-82E1-CEC967EB46F3}"/>
              </a:ext>
            </a:extLst>
          </p:cNvPr>
          <p:cNvSpPr>
            <a:spLocks noGrp="1"/>
          </p:cNvSpPr>
          <p:nvPr>
            <p:ph type="body" sz="quarter" idx="53" hasCustomPrompt="1"/>
          </p:nvPr>
        </p:nvSpPr>
        <p:spPr>
          <a:xfrm>
            <a:off x="374054" y="1486557"/>
            <a:ext cx="11428800" cy="184666"/>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Units</a:t>
            </a:r>
          </a:p>
        </p:txBody>
      </p:sp>
      <p:sp>
        <p:nvSpPr>
          <p:cNvPr id="30" name="Header 1">
            <a:extLst>
              <a:ext uri="{FF2B5EF4-FFF2-40B4-BE49-F238E27FC236}">
                <a16:creationId xmlns:a16="http://schemas.microsoft.com/office/drawing/2014/main" id="{46E0C9A3-F0A4-4B11-B190-BE85518AE9EE}"/>
              </a:ext>
            </a:extLst>
          </p:cNvPr>
          <p:cNvSpPr>
            <a:spLocks noGrp="1"/>
          </p:cNvSpPr>
          <p:nvPr>
            <p:ph type="body" sz="quarter" idx="55" hasCustomPrompt="1"/>
          </p:nvPr>
        </p:nvSpPr>
        <p:spPr>
          <a:xfrm>
            <a:off x="6325325" y="1785266"/>
            <a:ext cx="54936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32" name="Header 1">
            <a:extLst>
              <a:ext uri="{FF2B5EF4-FFF2-40B4-BE49-F238E27FC236}">
                <a16:creationId xmlns:a16="http://schemas.microsoft.com/office/drawing/2014/main" id="{C4F220CD-4FA8-42B2-BC6A-7E113A1E87F4}"/>
              </a:ext>
            </a:extLst>
          </p:cNvPr>
          <p:cNvSpPr>
            <a:spLocks noGrp="1"/>
          </p:cNvSpPr>
          <p:nvPr>
            <p:ph type="body" sz="quarter" idx="56" hasCustomPrompt="1"/>
          </p:nvPr>
        </p:nvSpPr>
        <p:spPr>
          <a:xfrm>
            <a:off x="380996" y="4046879"/>
            <a:ext cx="54936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33" name="Header 1">
            <a:extLst>
              <a:ext uri="{FF2B5EF4-FFF2-40B4-BE49-F238E27FC236}">
                <a16:creationId xmlns:a16="http://schemas.microsoft.com/office/drawing/2014/main" id="{9D9FE029-2E2C-4CA8-864E-5F92CB211DAF}"/>
              </a:ext>
            </a:extLst>
          </p:cNvPr>
          <p:cNvSpPr>
            <a:spLocks noGrp="1"/>
          </p:cNvSpPr>
          <p:nvPr>
            <p:ph type="body" sz="quarter" idx="57" hasCustomPrompt="1"/>
          </p:nvPr>
        </p:nvSpPr>
        <p:spPr>
          <a:xfrm>
            <a:off x="6325325" y="4046879"/>
            <a:ext cx="54936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Tree>
    <p:extLst>
      <p:ext uri="{BB962C8B-B14F-4D97-AF65-F5344CB8AC3E}">
        <p14:creationId xmlns:p14="http://schemas.microsoft.com/office/powerpoint/2010/main" val="301326714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nclusio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63d2e65d-6c78-4ff1-a99a-dd29d915a147">
            <a:extLst>
              <a:ext uri="{FF2B5EF4-FFF2-40B4-BE49-F238E27FC236}">
                <a16:creationId xmlns:a16="http://schemas.microsoft.com/office/drawing/2014/main" id="{850A5AD8-A7CC-46D7-B07D-B23066194F7A}"/>
              </a:ext>
            </a:extLst>
          </p:cNvPr>
          <p:cNvSpPr/>
          <p:nvPr/>
        </p:nvSpPr>
        <p:spPr>
          <a:xfrm flipV="1">
            <a:off x="1" y="5510470"/>
            <a:ext cx="12192000" cy="644816"/>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8" name="Freeform: Shape 17">
            <a:extLst>
              <a:ext uri="{FF2B5EF4-FFF2-40B4-BE49-F238E27FC236}">
                <a16:creationId xmlns:a16="http://schemas.microsoft.com/office/drawing/2014/main" id="{E999386E-A4BE-41B8-B323-366658A98FA7}"/>
              </a:ext>
            </a:extLst>
          </p:cNvPr>
          <p:cNvSpPr/>
          <p:nvPr/>
        </p:nvSpPr>
        <p:spPr>
          <a:xfrm>
            <a:off x="-3028" y="5509760"/>
            <a:ext cx="273478" cy="646241"/>
          </a:xfrm>
          <a:custGeom>
            <a:avLst/>
            <a:gdLst>
              <a:gd name="connsiteX0" fmla="*/ 0 w 273478"/>
              <a:gd name="connsiteY0" fmla="*/ 0 h 646241"/>
              <a:gd name="connsiteX1" fmla="*/ 11034 w 273478"/>
              <a:gd name="connsiteY1" fmla="*/ 1112 h 646241"/>
              <a:gd name="connsiteX2" fmla="*/ 273478 w 273478"/>
              <a:gd name="connsiteY2" fmla="*/ 323120 h 646241"/>
              <a:gd name="connsiteX3" fmla="*/ 11034 w 273478"/>
              <a:gd name="connsiteY3" fmla="*/ 645129 h 646241"/>
              <a:gd name="connsiteX4" fmla="*/ 0 w 273478"/>
              <a:gd name="connsiteY4" fmla="*/ 646241 h 646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478" h="646241">
                <a:moveTo>
                  <a:pt x="0" y="0"/>
                </a:moveTo>
                <a:lnTo>
                  <a:pt x="11034" y="1112"/>
                </a:lnTo>
                <a:cubicBezTo>
                  <a:pt x="160810" y="31761"/>
                  <a:pt x="273478" y="164283"/>
                  <a:pt x="273478" y="323120"/>
                </a:cubicBezTo>
                <a:cubicBezTo>
                  <a:pt x="273478" y="481957"/>
                  <a:pt x="160810" y="614480"/>
                  <a:pt x="11034" y="645129"/>
                </a:cubicBezTo>
                <a:lnTo>
                  <a:pt x="0" y="646241"/>
                </a:lnTo>
                <a:close/>
              </a:path>
            </a:pathLst>
          </a:custGeom>
          <a:solidFill>
            <a:schemeClr val="accent2"/>
          </a:solidFill>
          <a:ln>
            <a:noFill/>
          </a:ln>
        </p:spPr>
        <p:style>
          <a:lnRef idx="2">
            <a:schemeClr val="accent1"/>
          </a:lnRef>
          <a:fillRef idx="1">
            <a:schemeClr val="lt1"/>
          </a:fillRef>
          <a:effectRef idx="0">
            <a:schemeClr val="accent1"/>
          </a:effectRef>
          <a:fontRef idx="minor">
            <a:schemeClr val="dk1"/>
          </a:fontRef>
        </p:style>
        <p:txBody>
          <a:bodyPr wrap="square" tIns="90000" bIns="90000" rtlCol="0" anchor="ctr" anchorCtr="0">
            <a:noAutofit/>
          </a:bodyPr>
          <a:lstStyle/>
          <a:p>
            <a:pPr marL="285750" indent="-285750" algn="l">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5" name="Text Placeholder 4">
            <a:extLst>
              <a:ext uri="{FF2B5EF4-FFF2-40B4-BE49-F238E27FC236}">
                <a16:creationId xmlns:a16="http://schemas.microsoft.com/office/drawing/2014/main" id="{9E0CB1CA-2673-4B31-A700-221496DAC274}"/>
              </a:ext>
            </a:extLst>
          </p:cNvPr>
          <p:cNvSpPr>
            <a:spLocks noGrp="1"/>
          </p:cNvSpPr>
          <p:nvPr>
            <p:ph type="body" sz="quarter" idx="27"/>
          </p:nvPr>
        </p:nvSpPr>
        <p:spPr>
          <a:xfrm>
            <a:off x="381000" y="1710172"/>
            <a:ext cx="114288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4">
            <a:extLst>
              <a:ext uri="{FF2B5EF4-FFF2-40B4-BE49-F238E27FC236}">
                <a16:creationId xmlns:a16="http://schemas.microsoft.com/office/drawing/2014/main" id="{E6001AB0-D6CA-4DE1-B60C-B634BCB97865}"/>
              </a:ext>
            </a:extLst>
          </p:cNvPr>
          <p:cNvSpPr>
            <a:spLocks noGrp="1"/>
          </p:cNvSpPr>
          <p:nvPr>
            <p:ph type="body" sz="quarter" idx="31" hasCustomPrompt="1"/>
          </p:nvPr>
        </p:nvSpPr>
        <p:spPr>
          <a:xfrm>
            <a:off x="3809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27" name="Text Placeholder 4">
            <a:extLst>
              <a:ext uri="{FF2B5EF4-FFF2-40B4-BE49-F238E27FC236}">
                <a16:creationId xmlns:a16="http://schemas.microsoft.com/office/drawing/2014/main" id="{E4842526-521A-4171-BA27-E5BAD58192F9}"/>
              </a:ext>
            </a:extLst>
          </p:cNvPr>
          <p:cNvSpPr>
            <a:spLocks noGrp="1"/>
          </p:cNvSpPr>
          <p:nvPr>
            <p:ph type="body" sz="quarter" idx="36" hasCustomPrompt="1"/>
          </p:nvPr>
        </p:nvSpPr>
        <p:spPr>
          <a:xfrm>
            <a:off x="381000" y="5586657"/>
            <a:ext cx="11428800" cy="492443"/>
          </a:xfrm>
        </p:spPr>
        <p:txBody>
          <a:bodyPr anchor="ctr" anchorCtr="0">
            <a:spAutoFit/>
          </a:bodyPr>
          <a:lstStyle>
            <a:lvl1pPr>
              <a:defRPr sz="16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600"/>
            </a:lvl2pPr>
            <a:lvl3pPr>
              <a:defRPr sz="1600"/>
            </a:lvl3pPr>
            <a:lvl4pPr>
              <a:defRPr sz="1600"/>
            </a:lvl4pPr>
          </a:lstStyle>
          <a:p>
            <a:pPr lvl="0"/>
            <a:r>
              <a:rPr lang="en-GB"/>
              <a:t>Conclusion: Lorem ipsum dolor sit amet, consectetuer adipiscing elit. Maecenas porttitor congue massa. Fusce posuere, magna sed pulvinar ultricies, purus lectus malesuada libero, sit amet commodo magna eros quis </a:t>
            </a:r>
            <a:r>
              <a:rPr lang="en-GB" err="1"/>
              <a:t>urna</a:t>
            </a:r>
            <a:r>
              <a:rPr lang="en-GB"/>
              <a:t>.</a:t>
            </a:r>
          </a:p>
        </p:txBody>
      </p:sp>
      <p:sp>
        <p:nvSpPr>
          <p:cNvPr id="32" name="Text Placeholder 2">
            <a:extLst>
              <a:ext uri="{FF2B5EF4-FFF2-40B4-BE49-F238E27FC236}">
                <a16:creationId xmlns:a16="http://schemas.microsoft.com/office/drawing/2014/main" id="{16315AB2-20C9-434E-A56D-259096E1615D}"/>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06814CC-68D5-4C9C-BF65-8A91571A06F0}"/>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cxnSp>
        <p:nvCxnSpPr>
          <p:cNvPr id="14" name="Bottom line">
            <a:extLst>
              <a:ext uri="{FF2B5EF4-FFF2-40B4-BE49-F238E27FC236}">
                <a16:creationId xmlns:a16="http://schemas.microsoft.com/office/drawing/2014/main" id="{BC64208B-5568-4DBF-ACA2-533DF10F10D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Text Placeholder 5">
            <a:extLst>
              <a:ext uri="{FF2B5EF4-FFF2-40B4-BE49-F238E27FC236}">
                <a16:creationId xmlns:a16="http://schemas.microsoft.com/office/drawing/2014/main" id="{15EAA528-DB1A-4AE8-A9F4-1CD21CED50EA}"/>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5" name="Supertitle">
            <a:extLst>
              <a:ext uri="{FF2B5EF4-FFF2-40B4-BE49-F238E27FC236}">
                <a16:creationId xmlns:a16="http://schemas.microsoft.com/office/drawing/2014/main" id="{4A325F33-0AA7-476D-BD9A-4344A6711E20}"/>
              </a:ext>
            </a:extLst>
          </p:cNvPr>
          <p:cNvSpPr>
            <a:spLocks noGrp="1"/>
          </p:cNvSpPr>
          <p:nvPr>
            <p:ph type="body" sz="quarter" idx="37"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523968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Rows &amp; tex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75462497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7899396" y="1263129"/>
            <a:ext cx="3910399"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5410200" cy="369332"/>
          </a:xfrm>
        </p:spPr>
        <p:txBody>
          <a:bodyPr vert="horz" wrap="square" lIns="0" tIns="0" rIns="0" bIns="0" rtlCol="0">
            <a:spAutoFit/>
          </a:bodyPr>
          <a:lstStyle>
            <a:lvl1pPr>
              <a:spcBef>
                <a:spcPts val="0"/>
              </a:spcBef>
              <a:defRPr lang="en-GB" sz="1200" b="1" dirty="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 2">
            <a:extLst>
              <a:ext uri="{FF2B5EF4-FFF2-40B4-BE49-F238E27FC236}">
                <a16:creationId xmlns:a16="http://schemas.microsoft.com/office/drawing/2014/main" id="{C1D21A04-198F-4CDC-8469-16165405FDC5}"/>
              </a:ext>
            </a:extLst>
          </p:cNvPr>
          <p:cNvSpPr>
            <a:spLocks noGrp="1"/>
          </p:cNvSpPr>
          <p:nvPr>
            <p:ph type="body" sz="quarter" idx="31"/>
          </p:nvPr>
        </p:nvSpPr>
        <p:spPr>
          <a:xfrm>
            <a:off x="7899400" y="2974637"/>
            <a:ext cx="3910399"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Header 2">
            <a:extLst>
              <a:ext uri="{FF2B5EF4-FFF2-40B4-BE49-F238E27FC236}">
                <a16:creationId xmlns:a16="http://schemas.microsoft.com/office/drawing/2014/main" id="{2802A5D6-C82B-4708-901E-1A6481C0F245}"/>
              </a:ext>
            </a:extLst>
          </p:cNvPr>
          <p:cNvSpPr>
            <a:spLocks noGrp="1"/>
          </p:cNvSpPr>
          <p:nvPr>
            <p:ph type="body" sz="quarter" idx="36" hasCustomPrompt="1"/>
          </p:nvPr>
        </p:nvSpPr>
        <p:spPr>
          <a:xfrm>
            <a:off x="381001" y="2974637"/>
            <a:ext cx="5410200" cy="369332"/>
          </a:xfrm>
        </p:spPr>
        <p:txBody>
          <a:bodyPr wrap="square">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25" name="Bottom line">
            <a:extLst>
              <a:ext uri="{FF2B5EF4-FFF2-40B4-BE49-F238E27FC236}">
                <a16:creationId xmlns:a16="http://schemas.microsoft.com/office/drawing/2014/main" id="{A72FF3B7-BC75-4064-BD6B-EB44619D9346}"/>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 Placeholder 2">
            <a:extLst>
              <a:ext uri="{FF2B5EF4-FFF2-40B4-BE49-F238E27FC236}">
                <a16:creationId xmlns:a16="http://schemas.microsoft.com/office/drawing/2014/main" id="{07B36058-653D-447D-8669-EC979FD9C70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B23A8BAD-E2A3-4E1C-AB3E-B7DD1A21187A}"/>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Text 2">
            <a:extLst>
              <a:ext uri="{FF2B5EF4-FFF2-40B4-BE49-F238E27FC236}">
                <a16:creationId xmlns:a16="http://schemas.microsoft.com/office/drawing/2014/main" id="{4687F94A-322A-4EB6-8A12-48525F91E4D6}"/>
              </a:ext>
            </a:extLst>
          </p:cNvPr>
          <p:cNvSpPr>
            <a:spLocks noGrp="1"/>
          </p:cNvSpPr>
          <p:nvPr>
            <p:ph type="body" sz="quarter" idx="37"/>
          </p:nvPr>
        </p:nvSpPr>
        <p:spPr>
          <a:xfrm>
            <a:off x="7899400" y="4690707"/>
            <a:ext cx="3910399"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Header 2">
            <a:extLst>
              <a:ext uri="{FF2B5EF4-FFF2-40B4-BE49-F238E27FC236}">
                <a16:creationId xmlns:a16="http://schemas.microsoft.com/office/drawing/2014/main" id="{F3848A98-EF77-446F-8A2A-A34B897D5A2F}"/>
              </a:ext>
            </a:extLst>
          </p:cNvPr>
          <p:cNvSpPr>
            <a:spLocks noGrp="1"/>
          </p:cNvSpPr>
          <p:nvPr>
            <p:ph type="body" sz="quarter" idx="38" hasCustomPrompt="1"/>
          </p:nvPr>
        </p:nvSpPr>
        <p:spPr>
          <a:xfrm>
            <a:off x="381001" y="4690707"/>
            <a:ext cx="5410200" cy="369332"/>
          </a:xfrm>
        </p:spPr>
        <p:txBody>
          <a:bodyPr wrap="square">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8" name="Text Placeholder 5">
            <a:extLst>
              <a:ext uri="{FF2B5EF4-FFF2-40B4-BE49-F238E27FC236}">
                <a16:creationId xmlns:a16="http://schemas.microsoft.com/office/drawing/2014/main" id="{C77996AB-B18E-46E4-996A-2DB51A023F19}"/>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2" name="Supertitle">
            <a:extLst>
              <a:ext uri="{FF2B5EF4-FFF2-40B4-BE49-F238E27FC236}">
                <a16:creationId xmlns:a16="http://schemas.microsoft.com/office/drawing/2014/main" id="{1D38A38A-3AF0-47D4-A7EB-872A8891B8C3}"/>
              </a:ext>
            </a:extLst>
          </p:cNvPr>
          <p:cNvSpPr>
            <a:spLocks noGrp="1"/>
          </p:cNvSpPr>
          <p:nvPr>
            <p:ph type="body" sz="quarter" idx="39"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69580658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Disclaimer &amp; Details_EN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6" name="43c3cef7-b209-4f1f-a261-318da2372fe8">
            <a:extLst>
              <a:ext uri="{FF2B5EF4-FFF2-40B4-BE49-F238E27FC236}">
                <a16:creationId xmlns:a16="http://schemas.microsoft.com/office/drawing/2014/main" id="{57400D9F-282B-4411-962D-7AD2AEEFC01C}"/>
              </a:ext>
            </a:extLst>
          </p:cNvPr>
          <p:cNvSpPr/>
          <p:nvPr/>
        </p:nvSpPr>
        <p:spPr>
          <a:xfrm>
            <a:off x="-6845" y="-3"/>
            <a:ext cx="3588245" cy="6858001"/>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201424"/>
          </a:xfrm>
          <a:prstGeom prst="rect">
            <a:avLst/>
          </a:prstGeom>
          <a:noFill/>
        </p:spPr>
        <p:txBody>
          <a:bodyPr wrap="square" lIns="0" tIns="0" rIns="0" bIns="0" rtlCol="0">
            <a:spAutoFit/>
          </a:bodyPr>
          <a:lstStyle/>
          <a:p>
            <a:pPr algn="just">
              <a:lnSpc>
                <a:spcPct val="100000"/>
              </a:lnSpc>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ral Disclaimer</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provided "as is" for your information only and no representation or warranty, express or implied, is given by Aurora Energy Research Limited and its subsidiaries Aurora Energy Research GmbH and Aurora Energy Research Pty Ltd (together,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heir directors, employees agents or affiliates (together, Aurora’s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ssociates</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s to its accuracy, reliability or completeness.  Aurora and its Associates assume no responsibility, and accept no liability for, any loss arising out of your use of this document.  This document is not to be relied upon for any purpose or used in substitution for your own independent investigations and sound judgment.  The information contained in this document reflects our beliefs, assumptions, intentions and expectations as of the date of this document and is subject to change. Aurora assumes no obligation, and does not intend, to update this information.</a:t>
            </a:r>
          </a:p>
          <a:p>
            <a:pPr algn="just">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ward-looking statement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contains forward-looking statements and information, which reflect Aurora’s current view with respect to future events and financial performance. When used in this document, the words "believes", "expects", "plans", "may", "will", "would", "could", "should", "anticipates", "estimates", "project", "intend" or "outlook" or other variations of these words or other similar expressions are intended to identify forward-looking statements and information. Actual results may differ materially from the expectations expressed or implied in the forward-looking statements as a result of known and unknown risks and uncertainties. Known risks and uncertainties include but are not limited to: risks associated with political events in Europe and elsewhere, contractual risks, creditworthiness of customers, performance of suppliers and management of plant and personnel; risk associated with financial factors such as volatility in exchange rates, increases in interest rates, restrictions on access to capital, and swings in global financial markets; risks associated with domestic and foreign government regulation, including export controls and economic sanctions; and other risks, including litigation. The foregoing list of important factors is not exhaustive. </a:t>
            </a:r>
          </a:p>
          <a:p>
            <a:pPr algn="just">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pyrig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and its content (including, but not limited to, the text, images, graphics and illustrations) is the copyright material of Aurora, unless otherwise stated. </a:t>
            </a:r>
          </a:p>
          <a:p>
            <a:pPr algn="just">
              <a:lnSpc>
                <a:spcPct val="100000"/>
              </a:lnSpc>
            </a:pPr>
            <a:r>
              <a:rPr lang="en-GB" sz="12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confidential and it may not be copied, reproduced, distributed or in any way used for commercial purposes without the prior written consent of Aurora.</a:t>
            </a:r>
          </a:p>
        </p:txBody>
      </p:sp>
      <p:cxnSp>
        <p:nvCxnSpPr>
          <p:cNvPr id="30" name="e393ebc3-55b1-4ffd-a99f-f5012d6d099d">
            <a:extLst>
              <a:ext uri="{FF2B5EF4-FFF2-40B4-BE49-F238E27FC236}">
                <a16:creationId xmlns:a16="http://schemas.microsoft.com/office/drawing/2014/main" id="{170025E0-54A0-4A56-A1C9-1695DADA63FC}"/>
              </a:ext>
            </a:extLst>
          </p:cNvPr>
          <p:cNvCxnSpPr>
            <a:cxnSpLocks/>
          </p:cNvCxnSpPr>
          <p:nvPr/>
        </p:nvCxnSpPr>
        <p:spPr>
          <a:xfrm>
            <a:off x="381001" y="1975910"/>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a:lnSpc>
                <a:spcPct val="100000"/>
              </a:lnSpc>
            </a:pPr>
            <a: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and </a:t>
            </a:r>
            <a:b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sclaimer</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a:spcBef>
                <a:spcPts val="0"/>
              </a:spcBef>
              <a:defRPr sz="1200" b="1">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a:t>Publication</a:t>
            </a:r>
          </a:p>
          <a:p>
            <a:pPr lvl="0"/>
            <a:endParaRPr lang="en-GB"/>
          </a:p>
          <a:p>
            <a:pPr lvl="0"/>
            <a:endParaRPr lang="en-GB"/>
          </a:p>
        </p:txBody>
      </p:sp>
    </p:spTree>
    <p:extLst>
      <p:ext uri="{BB962C8B-B14F-4D97-AF65-F5344CB8AC3E}">
        <p14:creationId xmlns:p14="http://schemas.microsoft.com/office/powerpoint/2010/main" val="121404892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Disclaimer &amp; Details_GER">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6" name="43c3cef7-b209-4f1f-a261-318da2372fe8">
            <a:extLst>
              <a:ext uri="{FF2B5EF4-FFF2-40B4-BE49-F238E27FC236}">
                <a16:creationId xmlns:a16="http://schemas.microsoft.com/office/drawing/2014/main" id="{57400D9F-282B-4411-962D-7AD2AEEFC01C}"/>
              </a:ext>
            </a:extLst>
          </p:cNvPr>
          <p:cNvSpPr/>
          <p:nvPr/>
        </p:nvSpPr>
        <p:spPr>
          <a:xfrm>
            <a:off x="-6845" y="-3"/>
            <a:ext cx="3588245" cy="6858001"/>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416868"/>
          </a:xfrm>
          <a:prstGeom prst="rect">
            <a:avLst/>
          </a:prstGeom>
          <a:noFill/>
        </p:spPr>
        <p:txBody>
          <a:bodyPr wrap="square" lIns="0" tIns="0" rIns="0" bIns="0" rtlCol="0">
            <a:spAutoFit/>
          </a:bodyPr>
          <a:lstStyle/>
          <a:p>
            <a:pPr algn="just">
              <a:lnSpc>
                <a:spcPct val="100000"/>
              </a:lnSpc>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lgemeiner Haftungsausschlus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Dokument wird Ihnen in der vorliegenden Form nur zur Information bereitgestellt und Aurora Energy Research Limited sowie die Tochtergesellschaften Aurora Energy Research GmbH und Aurora Energy Research Pty Ltd (zusammen, "</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Geschäftsführer, Mitarbeiter, Vertreter oder verbundene Unternehmen (zusammen nachfolgend als seine "Partner" bezeichnet), gibt hinsichtlich der Richtigkeit, Verlässlichkeit oder Vollständigkeit weder ausdrücklich noch stillschweigend eine Zusicherung oder Gewährleistung ab. Aurora und seine Partner übernehmen keine Verantwortung und keine Haftung für jedweden Schaden, der aus der Nutzung dieses Dokuments entsteht. Dieses Dokument darf für keinen Zweck herangezogen oder als Grundlage verwendet oder als Ersatz für Ihre eigenen Untersuchungen und fundierten Beurteilungen verwendet werden. Die in diesem Dokument enthaltenen Informationen spiegeln unsere Überzeugungen, Annahmen, Absichten und Erwartungen zum Zeitpunkt des Verfassens dieses Dokuments wider; Änderungen sind vorbehalten. Aurora übernimmt keine Verpflichtung zur Aktualisierung dieser Informationen und beabsichtigt keine solche Aktualisierung.</a:t>
            </a:r>
            <a:endPar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1200"/>
              </a:spcBef>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 Aussagen</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Dokument enthält zukunftsgerichtete Aussagen und Informationen, die Auroras aktuelle Einschätzung hinsichtlich zukünftiger Ereignisse und finanzieller Ergebnisse widerspiegeln. Wörter wie "glauben", "erwarten", "planen", "können", "werden", "würden", "könnten", "sollten", "voraussehen", "schätzen", "prognostizieren", "beabsichtigen", oder "Prognose" bzw. Varianten dieser Wörter oder anderer ähnlicher Ausdrücke werden eingesetzt, um zukunftsgerichtete Aussagen und Informationen als solche zu kennzeichnen. Tatsächlich eintretende Ergebnisse können sich, da sie bekannten oder unbekannten Risiken und Unsicherheiten unterliegen, von den Erwartungen, die in diesen zukunftsgerichteten Aussagen formuliert oder impliziert sind, wesentlich abweichen. Zu bekannten Risiken und Unsicherheiten gehören unter anderem: vertragliche Risiken, die Bonität von Kunden, die Leistung von Lieferanten und die Verwaltung von Anlagen und Personal; Risiken im Zusammenhang mit finanziellen Faktoren wie der Volatilität von Wechselkursen, der Erhöhung von Zinssätzen, Beschränkungen in Bezug auf den Kapitalzugang sowie Schwankungen auf den globalen Finanzmärkten; mit inländischen und ausländischen staatlichen Vorschriften verbundene Risiken einschließlich Exportkontrollen und wirtschaftlichen Sanktionen und weitere Risiken wie z. B. Rechtsstreitigkeiten. Die oben genannte Liste ist nicht abschließend.</a:t>
            </a:r>
            <a:r>
              <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p>
          <a:p>
            <a:pPr algn="just">
              <a:lnSpc>
                <a:spcPct val="100000"/>
              </a:lnSpc>
              <a:spcBef>
                <a:spcPts val="1200"/>
              </a:spcBef>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Dokument und sein Inhalt (unter anderem der Text, die Abbildungen, Grafiken und Illustrationen) ist urheberrechtlich geschütztes Eigentum von Aurora.</a:t>
            </a:r>
          </a:p>
          <a:p>
            <a:pPr algn="just">
              <a:lnSpc>
                <a:spcPct val="100000"/>
              </a:lnSpc>
            </a:pP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 Teil dieses Dokuments darf ohne vorherige schriftliche Genehmigung von Aurora kopiert, vervielfältigt, verteilt oder in irgendeiner Art und Weise kommerziell genutzt werden.</a:t>
            </a:r>
            <a:endParaRPr lang="en-GB" sz="11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30" name="e393ebc3-55b1-4ffd-a99f-f5012d6d099d">
            <a:extLst>
              <a:ext uri="{FF2B5EF4-FFF2-40B4-BE49-F238E27FC236}">
                <a16:creationId xmlns:a16="http://schemas.microsoft.com/office/drawing/2014/main" id="{170025E0-54A0-4A56-A1C9-1695DADA63FC}"/>
              </a:ext>
            </a:extLst>
          </p:cNvPr>
          <p:cNvCxnSpPr>
            <a:cxnSpLocks/>
          </p:cNvCxnSpPr>
          <p:nvPr/>
        </p:nvCxnSpPr>
        <p:spPr>
          <a:xfrm>
            <a:off x="381001" y="1975910"/>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a:lnSpc>
                <a:spcPct val="100000"/>
              </a:lnSpc>
            </a:pPr>
            <a: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und Haftungsausschluss</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a:spcBef>
                <a:spcPts val="0"/>
              </a:spcBef>
              <a:defRPr sz="1200" b="1">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a:t>Publikation</a:t>
            </a:r>
          </a:p>
          <a:p>
            <a:pPr lvl="0"/>
            <a:endParaRPr lang="en-GB"/>
          </a:p>
          <a:p>
            <a:pPr lvl="0"/>
            <a:endParaRPr lang="en-GB"/>
          </a:p>
        </p:txBody>
      </p:sp>
    </p:spTree>
    <p:extLst>
      <p:ext uri="{BB962C8B-B14F-4D97-AF65-F5344CB8AC3E}">
        <p14:creationId xmlns:p14="http://schemas.microsoft.com/office/powerpoint/2010/main" val="239389357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Disclaimer &amp; Details_light_EN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6" name="43c3cef7-b209-4f1f-a261-318da2372fe8">
            <a:extLst>
              <a:ext uri="{FF2B5EF4-FFF2-40B4-BE49-F238E27FC236}">
                <a16:creationId xmlns:a16="http://schemas.microsoft.com/office/drawing/2014/main" id="{57400D9F-282B-4411-962D-7AD2AEEFC01C}"/>
              </a:ext>
            </a:extLst>
          </p:cNvPr>
          <p:cNvSpPr/>
          <p:nvPr/>
        </p:nvSpPr>
        <p:spPr>
          <a:xfrm>
            <a:off x="-6845" y="-3"/>
            <a:ext cx="3588245" cy="6858001"/>
          </a:xfrm>
          <a:prstGeom prst="rect">
            <a:avLst/>
          </a:prstGeom>
          <a:solidFill>
            <a:schemeClr val="bg1">
              <a:lumMod val="75000"/>
            </a:schemeClr>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201424"/>
          </a:xfrm>
          <a:prstGeom prst="rect">
            <a:avLst/>
          </a:prstGeom>
          <a:noFill/>
        </p:spPr>
        <p:txBody>
          <a:bodyPr wrap="square" lIns="0" tIns="0" rIns="0" bIns="0" rtlCol="0">
            <a:spAutoFit/>
          </a:bodyPr>
          <a:lstStyle/>
          <a:p>
            <a:pPr algn="just">
              <a:lnSpc>
                <a:spcPct val="100000"/>
              </a:lnSpc>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ral Disclaimer</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provided "as is" for your information only and no representation or warranty, express or implied, is given by Aurora Energy Research Limited and its subsidiaries Aurora Energy Research GmbH and Aurora Energy Research Pty Ltd (together,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heir directors, employees agents or affiliates (together, Aurora’s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ssociates</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s to its accuracy, reliability or completeness.  Aurora and its Associates assume no responsibility, and accept no liability for, any loss arising out of your use of this document.  This document is not to be relied upon for any purpose or used in substitution for your own independent investigations and sound judgment.  The information contained in this document reflects our beliefs, assumptions, intentions and expectations as of the date of this document and is subject to change. Aurora assumes no obligation, and does not intend, to update this information.</a:t>
            </a:r>
          </a:p>
          <a:p>
            <a:pPr algn="just">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ward-looking statement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contains forward-looking statements and information, which reflect Aurora’s current view with respect to future events and financial performance. When used in this document, the words "believes", "expects", "plans", "may", "will", "would", "could", "should", "anticipates", "estimates", "project", "intend" or "outlook" or other variations of these words or other similar expressions are intended to identify forward-looking statements and information. Actual results may differ materially from the expectations expressed or implied in the forward-looking statements as a result of known and unknown risks and uncertainties. Known risks and uncertainties include but are not limited to: risks associated with political events in Europe and elsewhere, contractual risks, creditworthiness of customers, performance of suppliers and management of plant and personnel; risk associated with financial factors such as volatility in exchange rates, increases in interest rates, restrictions on access to capital, and swings in global financial markets; risks associated with domestic and foreign government regulation, including export controls and economic sanctions; and other risks, including litigation. The foregoing list of important factors is not exhaustive. </a:t>
            </a:r>
          </a:p>
          <a:p>
            <a:pPr algn="just">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pyrig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and its content (including, but not limited to, the text, images, graphics and illustrations) is the copyright material of Aurora, unless otherwise stated. </a:t>
            </a:r>
          </a:p>
          <a:p>
            <a:pPr algn="just">
              <a:lnSpc>
                <a:spcPct val="100000"/>
              </a:lnSpc>
            </a:pPr>
            <a:r>
              <a:rPr lang="en-GB" sz="12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confidential and it may not be copied, reproduced, distributed or in any way used for commercial purposes without the prior written consent of Aurora.</a:t>
            </a:r>
          </a:p>
        </p:txBody>
      </p:sp>
      <p:cxnSp>
        <p:nvCxnSpPr>
          <p:cNvPr id="30" name="e393ebc3-55b1-4ffd-a99f-f5012d6d099d">
            <a:extLst>
              <a:ext uri="{FF2B5EF4-FFF2-40B4-BE49-F238E27FC236}">
                <a16:creationId xmlns:a16="http://schemas.microsoft.com/office/drawing/2014/main" id="{170025E0-54A0-4A56-A1C9-1695DADA63FC}"/>
              </a:ext>
            </a:extLst>
          </p:cNvPr>
          <p:cNvCxnSpPr>
            <a:cxnSpLocks/>
          </p:cNvCxnSpPr>
          <p:nvPr/>
        </p:nvCxnSpPr>
        <p:spPr>
          <a:xfrm>
            <a:off x="381001" y="1975910"/>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a:lnSpc>
                <a:spcPct val="100000"/>
              </a:lnSpc>
            </a:pPr>
            <a: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and </a:t>
            </a:r>
            <a:b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sclaimer</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a:spcBef>
                <a:spcPts val="0"/>
              </a:spcBef>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a:t>Publication</a:t>
            </a:r>
          </a:p>
          <a:p>
            <a:pPr lvl="0"/>
            <a:endParaRPr lang="en-GB"/>
          </a:p>
        </p:txBody>
      </p:sp>
    </p:spTree>
    <p:extLst>
      <p:ext uri="{BB962C8B-B14F-4D97-AF65-F5344CB8AC3E}">
        <p14:creationId xmlns:p14="http://schemas.microsoft.com/office/powerpoint/2010/main" val="311434585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1_Disclaimer &amp; Details_GER">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1" name="43c3cef7-b209-4f1f-a261-318da2372fe8">
            <a:extLst>
              <a:ext uri="{FF2B5EF4-FFF2-40B4-BE49-F238E27FC236}">
                <a16:creationId xmlns:a16="http://schemas.microsoft.com/office/drawing/2014/main" id="{4B722E6D-9FA2-4CA8-9BB5-2AAECBD11AFF}"/>
              </a:ext>
            </a:extLst>
          </p:cNvPr>
          <p:cNvSpPr/>
          <p:nvPr/>
        </p:nvSpPr>
        <p:spPr>
          <a:xfrm>
            <a:off x="-6845" y="-3"/>
            <a:ext cx="3588245" cy="6858001"/>
          </a:xfrm>
          <a:prstGeom prst="rect">
            <a:avLst/>
          </a:prstGeom>
          <a:solidFill>
            <a:schemeClr val="bg1">
              <a:lumMod val="75000"/>
            </a:schemeClr>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416868"/>
          </a:xfrm>
          <a:prstGeom prst="rect">
            <a:avLst/>
          </a:prstGeom>
          <a:noFill/>
        </p:spPr>
        <p:txBody>
          <a:bodyPr wrap="square" lIns="0" tIns="0" rIns="0" bIns="0" rtlCol="0">
            <a:spAutoFit/>
          </a:bodyPr>
          <a:lstStyle/>
          <a:p>
            <a:pPr algn="just">
              <a:lnSpc>
                <a:spcPct val="100000"/>
              </a:lnSpc>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lgemeiner Haftungsausschlus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Dokument wird Ihnen in der vorliegenden Form nur zur Information bereitgestellt und Aurora Energy Research Limited sowie die Tochtergesellschaften Aurora Energy Research GmbH und Aurora Energy Research Pty Ltd (zusammen, "</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Geschäftsführer, Mitarbeiter, Vertreter oder verbundene Unternehmen (zusammen nachfolgend als seine "Partner" bezeichnet), gibt hinsichtlich der Richtigkeit, Verlässlichkeit oder Vollständigkeit weder ausdrücklich noch stillschweigend eine Zusicherung oder Gewährleistung ab. Aurora und seine Partner übernehmen keine Verantwortung und keine Haftung für jedweden Schaden, der aus der Nutzung dieses Dokuments entsteht. Dieses Dokument darf für keinen Zweck herangezogen oder als Grundlage verwendet oder als Ersatz für Ihre eigenen Untersuchungen und fundierten Beurteilungen verwendet werden. Die in diesem Dokument enthaltenen Informationen spiegeln unsere Überzeugungen, Annahmen, Absichten und Erwartungen zum Zeitpunkt des Verfassens dieses Dokuments wider; Änderungen sind vorbehalten. Aurora übernimmt keine Verpflichtung zur Aktualisierung dieser Informationen und beabsichtigt keine solche Aktualisierung.</a:t>
            </a:r>
            <a:endPar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1200"/>
              </a:spcBef>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 Aussagen</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Dokument enthält zukunftsgerichtete Aussagen und Informationen, die Auroras aktuelle Einschätzung hinsichtlich zukünftiger Ereignisse und finanzieller Ergebnisse widerspiegeln. Wörter wie "glauben", "erwarten", "planen", "können", "werden", "würden", "könnten", "sollten", "voraussehen", "schätzen", "prognostizieren", "beabsichtigen", oder "Prognose" bzw. Varianten dieser Wörter oder anderer ähnlicher Ausdrücke werden eingesetzt, um zukunftsgerichtete Aussagen und Informationen als solche zu kennzeichnen. Tatsächlich eintretende Ergebnisse können sich, da sie bekannten oder unbekannten Risiken und Unsicherheiten unterliegen, von den Erwartungen, die in diesen zukunftsgerichteten Aussagen formuliert oder impliziert sind, wesentlich abweichen. Zu bekannten Risiken und Unsicherheiten gehören unter anderem: vertragliche Risiken, die Bonität von Kunden, die Leistung von Lieferanten und die Verwaltung von Anlagen und Personal; Risiken im Zusammenhang mit finanziellen Faktoren wie der Volatilität von Wechselkursen, der Erhöhung von Zinssätzen, Beschränkungen in Bezug auf den Kapitalzugang sowie Schwankungen auf den globalen Finanzmärkten; mit inländischen und ausländischen staatlichen Vorschriften verbundene Risiken einschließlich Exportkontrollen und wirtschaftlichen Sanktionen und weitere Risiken wie z. B. Rechtsstreitigkeiten. Die oben genannte Liste ist nicht abschließend.</a:t>
            </a:r>
            <a:r>
              <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p>
          <a:p>
            <a:pPr algn="just">
              <a:lnSpc>
                <a:spcPct val="100000"/>
              </a:lnSpc>
              <a:spcBef>
                <a:spcPts val="1200"/>
              </a:spcBef>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Dokument und sein Inhalt (unter anderem der Text, die Abbildungen, Grafiken und Illustrationen) ist urheberrechtlich geschütztes Eigentum von Aurora.</a:t>
            </a:r>
          </a:p>
          <a:p>
            <a:pPr algn="just">
              <a:lnSpc>
                <a:spcPct val="100000"/>
              </a:lnSpc>
            </a:pP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 Teil dieses Dokuments darf ohne vorherige schriftliche Genehmigung von Aurora kopiert, vervielfältigt, verteilt oder in irgendeiner Art und Weise kommerziell genutzt werden.</a:t>
            </a:r>
            <a:endParaRPr lang="en-GB" sz="11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a:lnSpc>
                <a:spcPct val="100000"/>
              </a:lnSpc>
            </a:pPr>
            <a: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und Haftungsausschluss</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a:spcBef>
                <a:spcPts val="0"/>
              </a:spcBef>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a:t>Publikation</a:t>
            </a:r>
          </a:p>
          <a:p>
            <a:pPr lvl="0"/>
            <a:endParaRPr lang="en-GB"/>
          </a:p>
          <a:p>
            <a:pPr lvl="0"/>
            <a:endParaRPr lang="en-GB"/>
          </a:p>
        </p:txBody>
      </p:sp>
      <p:cxnSp>
        <p:nvCxnSpPr>
          <p:cNvPr id="10" name="e393ebc3-55b1-4ffd-a99f-f5012d6d099d">
            <a:extLst>
              <a:ext uri="{FF2B5EF4-FFF2-40B4-BE49-F238E27FC236}">
                <a16:creationId xmlns:a16="http://schemas.microsoft.com/office/drawing/2014/main" id="{4B7F0A9E-01B9-4FC2-9C7C-69924AD23DE6}"/>
              </a:ext>
            </a:extLst>
          </p:cNvPr>
          <p:cNvCxnSpPr>
            <a:cxnSpLocks/>
          </p:cNvCxnSpPr>
          <p:nvPr/>
        </p:nvCxnSpPr>
        <p:spPr>
          <a:xfrm>
            <a:off x="381001" y="1975910"/>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417182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Disclaimer_EN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599" y="1268413"/>
            <a:ext cx="11428800" cy="4047262"/>
          </a:xfrm>
          <a:prstGeom prst="rect">
            <a:avLst/>
          </a:prstGeom>
          <a:noFill/>
        </p:spPr>
        <p:txBody>
          <a:bodyPr wrap="square" lIns="0" tIns="0" rIns="0" bIns="0" rtlCol="0">
            <a:spAutoFit/>
          </a:bodyPr>
          <a:lstStyle/>
          <a:p>
            <a:pPr algn="just">
              <a:lnSpc>
                <a:spcPct val="100000"/>
              </a:lnSpc>
              <a:spcBef>
                <a:spcPts val="6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ral Disclaimer</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0"/>
              </a:spcBef>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provided "as is" for your information only and no representation or warranty, express or implied, is given by Aurora Energy Research Limited and its subsidiaries Aurora Energy Research GmbH and Aurora Energy Research Pty Ltd (together,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heir directors, employees agents or affiliates (together, Aurora’s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ssociates</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s to its accuracy, reliability or completeness.  Aurora and its Associates assume no responsibility, and accept no liability for, any loss arising out of your use of this document.  This document is not to be relied upon for any purpose or used in substitution for your own independent investigations and sound judgment.  The information contained in this document reflects our beliefs, assumptions, intentions and expectations as of the date of this document and is subject to change. Aurora assumes no obligation, and does not intend, to update this information.</a:t>
            </a:r>
          </a:p>
          <a:p>
            <a:pPr algn="just">
              <a:lnSpc>
                <a:spcPct val="100000"/>
              </a:lnSpc>
              <a:spcBef>
                <a:spcPts val="18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ward-looking statement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0"/>
              </a:spcBef>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contains forward-looking statements and information, which reflect Aurora’s current view with respect to future events and financial performance. When used in this document, the words "believes", "expects", "plans", "may", "will", "would", "could", "should", "anticipates", "estimates", "project", "intend" or "outlook" or other variations of these words or other similar expressions are intended to identify forward-looking statements and information. Actual results may differ materially from the expectations expressed or implied in the forward-looking statements as a result of known and unknown risks and uncertainties. Known risks and uncertainties include but are not limited to: risks associated with political events in Europe and elsewhere, contractual risks, creditworthiness of customers, performance of suppliers and management of plant and personnel; risk associated with financial factors such as volatility in exchange rates, increases in interest rates, restrictions on access to capital, and swings in global financial markets; risks associated with domestic and foreign government regulation, including export controls and economic sanctions; and other risks, including litigation. The foregoing list of important factors is not exhaustive. </a:t>
            </a:r>
          </a:p>
          <a:p>
            <a:pPr algn="just">
              <a:lnSpc>
                <a:spcPct val="100000"/>
              </a:lnSpc>
              <a:spcBef>
                <a:spcPts val="18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pyrig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0"/>
              </a:spcBef>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and its content (including, but not limited to, the text, images, graphics and illustrations) is the copyright material of Aurora, unless otherwise stated. </a:t>
            </a:r>
          </a:p>
          <a:p>
            <a:pPr algn="just">
              <a:lnSpc>
                <a:spcPct val="100000"/>
              </a:lnSpc>
              <a:spcBef>
                <a:spcPts val="0"/>
              </a:spcBef>
            </a:pPr>
            <a:r>
              <a:rPr lang="en-GB" sz="12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confidential and it may not be copied, reproduced, distributed or in any way used for commercial purposes without the prior written consent of Aurora.</a:t>
            </a:r>
          </a:p>
        </p:txBody>
      </p:sp>
      <p:cxnSp>
        <p:nvCxnSpPr>
          <p:cNvPr id="10" name="Straight Connector 9">
            <a:extLst>
              <a:ext uri="{FF2B5EF4-FFF2-40B4-BE49-F238E27FC236}">
                <a16:creationId xmlns:a16="http://schemas.microsoft.com/office/drawing/2014/main" id="{3399C645-B355-4BF8-A0FD-AB66337228D3}"/>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3738d0d7-0a6d-4acc-b630-0f72ea09deea">
            <a:extLst>
              <a:ext uri="{FF2B5EF4-FFF2-40B4-BE49-F238E27FC236}">
                <a16:creationId xmlns:a16="http://schemas.microsoft.com/office/drawing/2014/main" id="{B10FD820-C0F0-420F-A3F7-1B0218FB2443}"/>
              </a:ext>
            </a:extLst>
          </p:cNvPr>
          <p:cNvSpPr txBox="1">
            <a:spLocks/>
          </p:cNvSpPr>
          <p:nvPr/>
        </p:nvSpPr>
        <p:spPr>
          <a:xfrm>
            <a:off x="381600" y="411856"/>
            <a:ext cx="8600471" cy="338554"/>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sclaimer and Copyright</a:t>
            </a:r>
          </a:p>
        </p:txBody>
      </p:sp>
    </p:spTree>
    <p:extLst>
      <p:ext uri="{BB962C8B-B14F-4D97-AF65-F5344CB8AC3E}">
        <p14:creationId xmlns:p14="http://schemas.microsoft.com/office/powerpoint/2010/main" val="424418752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Disclaimer_D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599" y="1268413"/>
            <a:ext cx="11428800" cy="4785926"/>
          </a:xfrm>
          <a:prstGeom prst="rect">
            <a:avLst/>
          </a:prstGeom>
          <a:noFill/>
        </p:spPr>
        <p:txBody>
          <a:bodyPr wrap="square" lIns="0" tIns="0" rIns="0" bIns="0" rtlCol="0">
            <a:spAutoFit/>
          </a:bodyPr>
          <a:lstStyle/>
          <a:p>
            <a:pPr algn="just">
              <a:lnSpc>
                <a:spcPct val="100000"/>
              </a:lnSpc>
              <a:spcBef>
                <a:spcPts val="600"/>
              </a:spcBef>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lgemeiner Haftungsausschluss</a:t>
            </a:r>
          </a:p>
          <a:p>
            <a:pPr algn="just">
              <a:lnSpc>
                <a:spcPct val="100000"/>
              </a:lnSpc>
              <a:spcBef>
                <a:spcPts val="0"/>
              </a:spcBef>
            </a:pP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Dokument wird Ihnen in der vorliegenden Form nur zur Information bereitgestellt und Aurora Energy Research Limited sowie die Tochtergesellschaften Aurora Energy Research GmbH und Aurora Energy Research Pty Ltd (zusammen, "</a:t>
            </a:r>
            <a:r>
              <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Geschäftsführer, Mitarbeiter, Vertreter oder verbundene Unternehmen (zusammen nachfolgend als seine "Partner" bezeichnet), gibt hinsichtlich der Richtigkeit, Verlässlichkeit oder Vollständigkeit weder ausdrücklich noch stillschweigend eine Zusicherung oder Gewährleistung ab. Aurora und seine Partner übernehmen keine Verantwortung und keine Haftung für jedweden Schaden, der aus der Nutzung dieses Dokuments entsteht. Dieses Dokument darf für keinen Zweck herangezogen oder als Grundlage verwendet oder als Ersatz für Ihre eigenen Untersuchungen und fundierten Beurteilungen verwendet werden. Die in diesem Dokument enthaltenen Informationen spiegeln unsere Überzeugungen, Annahmen, Absichten und Erwartungen zum Zeitpunkt des Verfassens dieses Dokuments wider; Änderungen sind vorbehalten. Aurora übernimmt keine Verpflichtung zur Aktualisierung dieser Informationen und beabsichtigt keine solche Aktualisierung.</a:t>
            </a:r>
          </a:p>
          <a:p>
            <a:pPr algn="just">
              <a:lnSpc>
                <a:spcPct val="100000"/>
              </a:lnSpc>
              <a:spcBef>
                <a:spcPts val="1800"/>
              </a:spcBef>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 Aussagen</a:t>
            </a: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0"/>
              </a:spcBef>
            </a:pP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Dokument enthält zukunftsgerichtete Aussagen und Informationen, die Auroras aktuelle Einschätzung hinsichtlich zukünftiger Ereignisse und finanzieller Ergebnisse widerspiegeln. Wörter wie "glauben", "erwarten", "planen", "können", "werden", "würden", "könnten", "sollten", "voraussehen", "schätzen", "prognostizieren", "beabsichtigen", oder "Prognose" bzw. Varianten dieser Wörter oder anderer ähnlicher Ausdrücke werden eingesetzt, um zukunftsgerichtete Aussagen und Informationen als solche zu kennzeichnen. Tatsächlich eintretende Ergebnisse können sich, da sie bekannten oder unbekannten Risiken und Unsicherheiten unterliegen, von den Erwartungen, die in diesen zukunftsgerichteten Aussagen formuliert oder impliziert sind, wesentlich abweichen. Zu bekannten Risiken und Unsicherheiten gehören unter anderem: vertragliche Risiken, die Bonität von Kunden, die Leistung von Lieferanten und die Verwaltung von Anlagen und Personal; Risiken im Zusammenhang mit finanziellen Faktoren wie der Volatilität von Wechselkursen, der Erhöhung von Zinssätzen, Beschränkungen in Bezug auf den Kapitalzugang sowie Schwankungen auf den globalen Finanzmärkten; mit inländischen und ausländischen staatlichen Vorschriften verbundene Risiken einschließlich Exportkontrollen und wirtschaftlichen Sanktionen und weitere Risiken wie z. B. Rechtsstreitigkeiten. Die oben genannte Liste ist nicht abschließend. </a:t>
            </a:r>
          </a:p>
          <a:p>
            <a:pPr algn="just">
              <a:lnSpc>
                <a:spcPct val="100000"/>
              </a:lnSpc>
              <a:spcBef>
                <a:spcPts val="1800"/>
              </a:spcBef>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0"/>
              </a:spcBef>
            </a:pP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Dokument und sein Inhalt (unter anderem der Text, die Abbildungen, Grafiken und Illustrationen) ist urheberrechtlich geschütztes Eigentum von Aurora. </a:t>
            </a:r>
            <a:b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 Teil dieses Dokuments darf ohne vorherige schriftliche Genehmigung von Aurora kopiert, vervielfältigt, verteilt oder in irgendeiner Art und Weise kommerziell genutzt werden.</a:t>
            </a:r>
          </a:p>
        </p:txBody>
      </p:sp>
      <p:cxnSp>
        <p:nvCxnSpPr>
          <p:cNvPr id="7" name="Straight Connector 6">
            <a:extLst>
              <a:ext uri="{FF2B5EF4-FFF2-40B4-BE49-F238E27FC236}">
                <a16:creationId xmlns:a16="http://schemas.microsoft.com/office/drawing/2014/main" id="{6FBCA722-93A5-43EB-ACB0-0BA183C7B423}"/>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3738d0d7-0a6d-4acc-b630-0f72ea09deea">
            <a:extLst>
              <a:ext uri="{FF2B5EF4-FFF2-40B4-BE49-F238E27FC236}">
                <a16:creationId xmlns:a16="http://schemas.microsoft.com/office/drawing/2014/main" id="{F6026BE4-2B9D-4B6F-9DC8-C648690E0847}"/>
              </a:ext>
            </a:extLst>
          </p:cNvPr>
          <p:cNvSpPr txBox="1">
            <a:spLocks/>
          </p:cNvSpPr>
          <p:nvPr/>
        </p:nvSpPr>
        <p:spPr>
          <a:xfrm>
            <a:off x="381600" y="411856"/>
            <a:ext cx="8600471" cy="304699"/>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sausschluss und Urheberrecht</a:t>
            </a:r>
          </a:p>
        </p:txBody>
      </p:sp>
    </p:spTree>
    <p:extLst>
      <p:ext uri="{BB962C8B-B14F-4D97-AF65-F5344CB8AC3E}">
        <p14:creationId xmlns:p14="http://schemas.microsoft.com/office/powerpoint/2010/main" val="245135010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Last Page_Log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5E57110-B039-481A-B7E2-2B76E2AB4EA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55E57110-B039-481A-B7E2-2B76E2AB4E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126A2FE5-B585-4EEB-B516-1A9AC455B10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494888" y="2821504"/>
            <a:ext cx="5202223" cy="1214993"/>
          </a:xfrm>
          <a:prstGeom prst="rect">
            <a:avLst/>
          </a:prstGeom>
        </p:spPr>
      </p:pic>
      <p:sp>
        <p:nvSpPr>
          <p:cNvPr id="3" name="Rectangle 2">
            <a:extLst>
              <a:ext uri="{FF2B5EF4-FFF2-40B4-BE49-F238E27FC236}">
                <a16:creationId xmlns:a16="http://schemas.microsoft.com/office/drawing/2014/main" id="{3EB4029C-17E9-4AA0-BC76-5B1904183B6C}"/>
              </a:ext>
            </a:extLst>
          </p:cNvPr>
          <p:cNvSpPr/>
          <p:nvPr/>
        </p:nvSpPr>
        <p:spPr>
          <a:xfrm>
            <a:off x="10272464" y="404664"/>
            <a:ext cx="1656184" cy="36004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 name="Rectangle 1">
            <a:extLst>
              <a:ext uri="{FF2B5EF4-FFF2-40B4-BE49-F238E27FC236}">
                <a16:creationId xmlns:a16="http://schemas.microsoft.com/office/drawing/2014/main" id="{E3A2AB1F-850B-492A-B682-98652722B1A4}"/>
              </a:ext>
            </a:extLst>
          </p:cNvPr>
          <p:cNvSpPr/>
          <p:nvPr/>
        </p:nvSpPr>
        <p:spPr>
          <a:xfrm>
            <a:off x="11544300" y="6616700"/>
            <a:ext cx="384348" cy="2413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303381500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501550E-0551-47DC-B19E-B3684AE7028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8501550E-0551-47DC-B19E-B3684AE702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9378DD12-45E2-4111-950A-BF131F54ABF1}"/>
              </a:ext>
            </a:extLst>
          </p:cNvPr>
          <p:cNvSpPr/>
          <p:nvPr/>
        </p:nvSpPr>
        <p:spPr>
          <a:xfrm>
            <a:off x="10272464" y="404664"/>
            <a:ext cx="1656184" cy="36004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173954375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65036-3D15-4D08-9281-87CBB86A553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58E0E79-5CDD-4194-B178-C8D9C7611C31}"/>
              </a:ext>
            </a:extLst>
          </p:cNvPr>
          <p:cNvSpPr>
            <a:spLocks noGrp="1"/>
          </p:cNvSpPr>
          <p:nvPr>
            <p:ph type="dt" sz="half" idx="10"/>
          </p:nvPr>
        </p:nvSpPr>
        <p:spPr/>
        <p:txBody>
          <a:bodyPr/>
          <a:lstStyle/>
          <a:p>
            <a:fld id="{6A17CEBE-34E3-44CE-95D5-088CB22FB4EE}" type="datetimeFigureOut">
              <a:rPr lang="en-US" smtClean="0"/>
              <a:t>9/27/2024</a:t>
            </a:fld>
            <a:endParaRPr lang="en-US"/>
          </a:p>
        </p:txBody>
      </p:sp>
      <p:sp>
        <p:nvSpPr>
          <p:cNvPr id="4" name="Footer Placeholder 3">
            <a:extLst>
              <a:ext uri="{FF2B5EF4-FFF2-40B4-BE49-F238E27FC236}">
                <a16:creationId xmlns:a16="http://schemas.microsoft.com/office/drawing/2014/main" id="{3FDABF8B-B692-4B6E-91C1-867C8487EEA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1577957-3333-4362-9BDE-CB077A70ABDC}"/>
              </a:ext>
            </a:extLst>
          </p:cNvPr>
          <p:cNvSpPr>
            <a:spLocks noGrp="1"/>
          </p:cNvSpPr>
          <p:nvPr>
            <p:ph type="sldNum" sz="quarter" idx="12"/>
          </p:nvPr>
        </p:nvSpPr>
        <p:spPr/>
        <p:txBody>
          <a:bodyPr/>
          <a:lstStyle/>
          <a:p>
            <a:fld id="{58339581-759F-43B7-B47D-47F906F0E294}" type="slidenum">
              <a:rPr lang="en-US" smtClean="0"/>
              <a:t>‹#›</a:t>
            </a:fld>
            <a:endParaRPr lang="en-US"/>
          </a:p>
        </p:txBody>
      </p:sp>
    </p:spTree>
    <p:extLst>
      <p:ext uri="{BB962C8B-B14F-4D97-AF65-F5344CB8AC3E}">
        <p14:creationId xmlns:p14="http://schemas.microsoft.com/office/powerpoint/2010/main" val="262220422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2_Standar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userDrawn="1">
            <p:custDataLst>
              <p:tags r:id="rId1"/>
            </p:custDataLst>
            <p:extLst>
              <p:ext uri="{D42A27DB-BD31-4B8C-83A1-F6EECF244321}">
                <p14:modId xmlns:p14="http://schemas.microsoft.com/office/powerpoint/2010/main" val="169511835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6" name="Text Placeholder 5"/>
          <p:cNvSpPr>
            <a:spLocks noGrp="1"/>
          </p:cNvSpPr>
          <p:nvPr>
            <p:ph type="body" sz="quarter" idx="23" hasCustomPrompt="1"/>
          </p:nvPr>
        </p:nvSpPr>
        <p:spPr>
          <a:xfrm>
            <a:off x="381000" y="80964"/>
            <a:ext cx="9633859" cy="177800"/>
          </a:xfrm>
        </p:spPr>
        <p:txBody>
          <a:bodyPr lIns="0" tIns="0" rIns="0" bIns="0">
            <a:noAutofit/>
          </a:bodyPr>
          <a:lstStyle>
            <a:lvl1pPr marL="0" indent="0">
              <a:buNone/>
              <a:defRPr sz="1200" b="1">
                <a:solidFill>
                  <a:schemeClr val="accent1"/>
                </a:solidFill>
              </a:defRPr>
            </a:lvl1pPr>
          </a:lstStyle>
          <a:p>
            <a:pPr lvl="0"/>
            <a:r>
              <a:rPr lang="en-US"/>
              <a:t>Insert supertitle</a:t>
            </a:r>
            <a:endParaRPr lang="en-GB"/>
          </a:p>
        </p:txBody>
      </p:sp>
      <p:sp>
        <p:nvSpPr>
          <p:cNvPr id="2" name="Title 1"/>
          <p:cNvSpPr>
            <a:spLocks noGrp="1"/>
          </p:cNvSpPr>
          <p:nvPr>
            <p:ph type="title"/>
          </p:nvPr>
        </p:nvSpPr>
        <p:spPr/>
        <p:txBody>
          <a:bodyPr vert="horz"/>
          <a:lstStyle/>
          <a:p>
            <a:r>
              <a:rPr lang="en-US"/>
              <a:t>Click to edit Master title style</a:t>
            </a:r>
            <a:endParaRPr lang="en-GB"/>
          </a:p>
        </p:txBody>
      </p:sp>
      <p:sp>
        <p:nvSpPr>
          <p:cNvPr id="8" name="Text Placeholder 2"/>
          <p:cNvSpPr>
            <a:spLocks noGrp="1"/>
          </p:cNvSpPr>
          <p:nvPr>
            <p:ph type="body" sz="quarter" idx="22" hasCustomPrompt="1"/>
          </p:nvPr>
        </p:nvSpPr>
        <p:spPr>
          <a:xfrm>
            <a:off x="381001" y="6524522"/>
            <a:ext cx="6297084" cy="231406"/>
          </a:xfrm>
        </p:spPr>
        <p:txBody>
          <a:bodyPr lIns="0" tIns="0" rIns="0" bIns="0" anchor="b" anchorCtr="0">
            <a:noAutofit/>
          </a:bodyPr>
          <a:lstStyle>
            <a:lvl1pPr marL="0" indent="0">
              <a:buNone/>
              <a:defRPr sz="800" baseline="0"/>
            </a:lvl1pPr>
          </a:lstStyle>
          <a:p>
            <a:pPr lvl="0"/>
            <a:r>
              <a:rPr lang="en-US"/>
              <a:t>Sources: Insert sources</a:t>
            </a:r>
            <a:endParaRPr lang="en-GB"/>
          </a:p>
        </p:txBody>
      </p:sp>
      <p:sp>
        <p:nvSpPr>
          <p:cNvPr id="10" name="Text Placeholder 14"/>
          <p:cNvSpPr>
            <a:spLocks noGrp="1"/>
          </p:cNvSpPr>
          <p:nvPr>
            <p:ph type="body" sz="quarter" idx="24" hasCustomPrompt="1"/>
          </p:nvPr>
        </p:nvSpPr>
        <p:spPr>
          <a:xfrm>
            <a:off x="381001" y="6149976"/>
            <a:ext cx="11442700" cy="250825"/>
          </a:xfrm>
        </p:spPr>
        <p:txBody>
          <a:bodyPr lIns="0" tIns="0" rIns="0" bIns="0" anchor="b" anchorCtr="0">
            <a:normAutofit/>
          </a:bodyPr>
          <a:lstStyle>
            <a:lvl1pPr marL="0" indent="0">
              <a:buNone/>
              <a:defRPr sz="800"/>
            </a:lvl1pPr>
          </a:lstStyle>
          <a:p>
            <a:pPr lvl="0"/>
            <a:r>
              <a:rPr lang="en-US"/>
              <a:t>Notes: Insert notes</a:t>
            </a:r>
            <a:endParaRPr lang="en-GB"/>
          </a:p>
        </p:txBody>
      </p:sp>
      <p:sp>
        <p:nvSpPr>
          <p:cNvPr id="9" name="TextBox 8"/>
          <p:cNvSpPr txBox="1"/>
          <p:nvPr userDrawn="1"/>
        </p:nvSpPr>
        <p:spPr>
          <a:xfrm rot="16200000">
            <a:off x="-348654" y="6514957"/>
            <a:ext cx="594715" cy="76944"/>
          </a:xfrm>
          <a:prstGeom prst="rect">
            <a:avLst/>
          </a:prstGeom>
          <a:noFill/>
        </p:spPr>
        <p:txBody>
          <a:bodyPr wrap="none" lIns="0" tIns="0" rIns="0" bIns="0" rtlCol="0">
            <a:spAutoFit/>
          </a:bodyPr>
          <a:lstStyle/>
          <a:p>
            <a:pPr marL="0" indent="0">
              <a:spcAft>
                <a:spcPts val="600"/>
              </a:spcAft>
              <a:buFont typeface="Wingdings" panose="05000000000000000000" pitchFamily="2" charset="2"/>
              <a:buNone/>
            </a:pPr>
            <a:r>
              <a:rPr lang="en-GB" sz="500">
                <a:solidFill>
                  <a:schemeClr val="accent5"/>
                </a:solidFill>
              </a:rPr>
              <a:t>AER Template</a:t>
            </a:r>
            <a:r>
              <a:rPr lang="en-GB" sz="500" baseline="0">
                <a:solidFill>
                  <a:schemeClr val="accent5"/>
                </a:solidFill>
              </a:rPr>
              <a:t> 2017a</a:t>
            </a:r>
            <a:endParaRPr lang="en-GB" sz="500">
              <a:solidFill>
                <a:schemeClr val="accent5"/>
              </a:solidFill>
            </a:endParaRPr>
          </a:p>
        </p:txBody>
      </p:sp>
    </p:spTree>
    <p:extLst>
      <p:ext uri="{BB962C8B-B14F-4D97-AF65-F5344CB8AC3E}">
        <p14:creationId xmlns:p14="http://schemas.microsoft.com/office/powerpoint/2010/main" val="40248832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xecutive Summar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82825569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4" name="acb0b369-aa8c-4b31-ab38-74d78cf51d99">
            <a:extLst>
              <a:ext uri="{FF2B5EF4-FFF2-40B4-BE49-F238E27FC236}">
                <a16:creationId xmlns:a16="http://schemas.microsoft.com/office/drawing/2014/main" id="{D192A937-36F1-43E9-9FBA-8508F900F212}"/>
              </a:ext>
            </a:extLst>
          </p:cNvPr>
          <p:cNvSpPr/>
          <p:nvPr/>
        </p:nvSpPr>
        <p:spPr>
          <a:xfrm>
            <a:off x="-8393" y="-1"/>
            <a:ext cx="3588245" cy="6858001"/>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19" name="3fb81c30-15ed-4c93-9863-f6b57534edf8">
            <a:extLst>
              <a:ext uri="{FF2B5EF4-FFF2-40B4-BE49-F238E27FC236}">
                <a16:creationId xmlns:a16="http://schemas.microsoft.com/office/drawing/2014/main" id="{D6606AFB-B38F-4576-B399-255BFCDC9EEB}"/>
              </a:ext>
            </a:extLst>
          </p:cNvPr>
          <p:cNvCxnSpPr>
            <a:cxnSpLocks/>
          </p:cNvCxnSpPr>
          <p:nvPr/>
        </p:nvCxnSpPr>
        <p:spPr>
          <a:xfrm>
            <a:off x="380996" y="2643567"/>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87bda0fb-aa74-4c09-ab9d-334ef6f592c0">
            <a:extLst>
              <a:ext uri="{FF2B5EF4-FFF2-40B4-BE49-F238E27FC236}">
                <a16:creationId xmlns:a16="http://schemas.microsoft.com/office/drawing/2014/main" id="{F9F30819-AB3F-4A43-BB50-F7A130CBA66C}"/>
              </a:ext>
            </a:extLst>
          </p:cNvPr>
          <p:cNvSpPr txBox="1">
            <a:spLocks/>
          </p:cNvSpPr>
          <p:nvPr/>
        </p:nvSpPr>
        <p:spPr>
          <a:xfrm>
            <a:off x="380996" y="1133611"/>
            <a:ext cx="3164179" cy="1384995"/>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a:lnSpc>
                <a:spcPct val="100000"/>
              </a:lnSpc>
              <a:spcBef>
                <a:spcPts val="0"/>
              </a:spcBef>
            </a:pPr>
            <a:r>
              <a:rPr lang="en-GB" sz="4400" b="0" spc="60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ecutive Summary</a:t>
            </a:r>
          </a:p>
        </p:txBody>
      </p:sp>
      <p:cxnSp>
        <p:nvCxnSpPr>
          <p:cNvPr id="18" name="ffea8505-d447-4023-bd83-89b3727ac8bb">
            <a:extLst>
              <a:ext uri="{FF2B5EF4-FFF2-40B4-BE49-F238E27FC236}">
                <a16:creationId xmlns:a16="http://schemas.microsoft.com/office/drawing/2014/main" id="{91E13582-C984-4CD2-8775-E415FC532B0D}"/>
              </a:ext>
            </a:extLst>
          </p:cNvPr>
          <p:cNvCxnSpPr>
            <a:cxnSpLocks/>
          </p:cNvCxnSpPr>
          <p:nvPr/>
        </p:nvCxnSpPr>
        <p:spPr>
          <a:xfrm>
            <a:off x="3814481" y="6445604"/>
            <a:ext cx="800922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671B2B38-6A7E-4142-8E20-1DFA910CF767}"/>
              </a:ext>
            </a:extLst>
          </p:cNvPr>
          <p:cNvSpPr>
            <a:spLocks noGrp="1"/>
          </p:cNvSpPr>
          <p:nvPr>
            <p:ph type="body" sz="quarter" idx="27"/>
          </p:nvPr>
        </p:nvSpPr>
        <p:spPr>
          <a:xfrm>
            <a:off x="380996" y="2860467"/>
            <a:ext cx="3038479" cy="977191"/>
          </a:xfrm>
        </p:spPr>
        <p:txBody>
          <a:bodyPr>
            <a:spAutoFit/>
          </a:bodyPr>
          <a:lstStyle>
            <a:lvl1pPr>
              <a:lnSpc>
                <a:spcPct val="100000"/>
              </a:lnSpc>
              <a:spcBef>
                <a:spcPts val="600"/>
              </a:spcBef>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100000"/>
              </a:lnSpc>
              <a:spcBef>
                <a:spcPts val="600"/>
              </a:spcBef>
              <a:buClr>
                <a:schemeClr val="bg1"/>
              </a:buClr>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lnSpc>
                <a:spcPct val="100000"/>
              </a:lnSpc>
              <a:spcBef>
                <a:spcPts val="300"/>
              </a:spcBef>
              <a:buClr>
                <a:schemeClr val="bg1"/>
              </a:buClr>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lnSpc>
                <a:spcPct val="100000"/>
              </a:lnSpc>
              <a:spcBef>
                <a:spcPts val="0"/>
              </a:spcBef>
              <a:buClr>
                <a:schemeClr val="bg1"/>
              </a:buClr>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Placeholder 4">
            <a:extLst>
              <a:ext uri="{FF2B5EF4-FFF2-40B4-BE49-F238E27FC236}">
                <a16:creationId xmlns:a16="http://schemas.microsoft.com/office/drawing/2014/main" id="{7961071D-8A41-4BD0-BCD8-EBDC12580AE7}"/>
              </a:ext>
            </a:extLst>
          </p:cNvPr>
          <p:cNvSpPr>
            <a:spLocks noGrp="1"/>
          </p:cNvSpPr>
          <p:nvPr>
            <p:ph type="body" sz="quarter" idx="28" hasCustomPrompt="1"/>
          </p:nvPr>
        </p:nvSpPr>
        <p:spPr>
          <a:xfrm>
            <a:off x="3814481" y="1270000"/>
            <a:ext cx="8009220" cy="761747"/>
          </a:xfrm>
        </p:spPr>
        <p:txBody>
          <a:bodyPr>
            <a:spAutoFit/>
          </a:bodyPr>
          <a:lstStyle>
            <a:lvl1pPr>
              <a:lnSpc>
                <a:spcPct val="100000"/>
              </a:lnSpc>
              <a:spcBef>
                <a:spcPts val="600"/>
              </a:spcBef>
              <a:defRPr>
                <a:solidFill>
                  <a:schemeClr val="tx1"/>
                </a:solidFill>
              </a:defRPr>
            </a:lvl1pPr>
            <a:lvl2pPr>
              <a:lnSpc>
                <a:spcPct val="100000"/>
              </a:lnSpc>
              <a:spcBef>
                <a:spcPts val="12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lnSpc>
                <a:spcPct val="100000"/>
              </a:lnSpc>
              <a:spcBef>
                <a:spcPts val="3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1"/>
            <a:r>
              <a:rPr lang="en-GB"/>
              <a:t>Second level</a:t>
            </a:r>
          </a:p>
          <a:p>
            <a:pPr lvl="2"/>
            <a:r>
              <a:rPr lang="en-GB"/>
              <a:t>Third level</a:t>
            </a:r>
          </a:p>
          <a:p>
            <a:pPr lvl="3"/>
            <a:r>
              <a:rPr lang="en-GB"/>
              <a:t>Fourth level</a:t>
            </a:r>
          </a:p>
        </p:txBody>
      </p:sp>
      <p:sp>
        <p:nvSpPr>
          <p:cNvPr id="32" name="Text Placeholder 2">
            <a:extLst>
              <a:ext uri="{FF2B5EF4-FFF2-40B4-BE49-F238E27FC236}">
                <a16:creationId xmlns:a16="http://schemas.microsoft.com/office/drawing/2014/main" id="{6D7F2915-2024-405B-B85D-6EFFF849861E}"/>
              </a:ext>
            </a:extLst>
          </p:cNvPr>
          <p:cNvSpPr>
            <a:spLocks noGrp="1"/>
          </p:cNvSpPr>
          <p:nvPr>
            <p:ph type="body" sz="quarter" idx="22" hasCustomPrompt="1"/>
          </p:nvPr>
        </p:nvSpPr>
        <p:spPr>
          <a:xfrm>
            <a:off x="381448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6" name="Text Placeholder 5">
            <a:extLst>
              <a:ext uri="{FF2B5EF4-FFF2-40B4-BE49-F238E27FC236}">
                <a16:creationId xmlns:a16="http://schemas.microsoft.com/office/drawing/2014/main" id="{296E39B4-E00F-4D59-857C-878A9F55904D}"/>
              </a:ext>
            </a:extLst>
          </p:cNvPr>
          <p:cNvSpPr>
            <a:spLocks noGrp="1"/>
          </p:cNvSpPr>
          <p:nvPr>
            <p:ph type="body" sz="quarter" idx="32" hasCustomPrompt="1"/>
          </p:nvPr>
        </p:nvSpPr>
        <p:spPr>
          <a:xfrm>
            <a:off x="3814481" y="6474841"/>
            <a:ext cx="800922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5" name="Supertitle">
            <a:extLst>
              <a:ext uri="{FF2B5EF4-FFF2-40B4-BE49-F238E27FC236}">
                <a16:creationId xmlns:a16="http://schemas.microsoft.com/office/drawing/2014/main" id="{62F7998E-9755-4032-BD0C-8CD0805FC6E3}"/>
              </a:ext>
            </a:extLst>
          </p:cNvPr>
          <p:cNvSpPr>
            <a:spLocks noGrp="1"/>
          </p:cNvSpPr>
          <p:nvPr>
            <p:ph type="body" sz="quarter" idx="31" hasCustomPrompt="1"/>
          </p:nvPr>
        </p:nvSpPr>
        <p:spPr>
          <a:xfrm>
            <a:off x="3814481"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77190388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3_Standard with box">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userDrawn="1">
            <p:custDataLst>
              <p:tags r:id="rId1"/>
            </p:custDataLst>
            <p:extLst>
              <p:ext uri="{D42A27DB-BD31-4B8C-83A1-F6EECF244321}">
                <p14:modId xmlns:p14="http://schemas.microsoft.com/office/powerpoint/2010/main" val="66260680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6" name="Text Placeholder 5"/>
          <p:cNvSpPr>
            <a:spLocks noGrp="1"/>
          </p:cNvSpPr>
          <p:nvPr>
            <p:ph type="body" sz="quarter" idx="23" hasCustomPrompt="1"/>
          </p:nvPr>
        </p:nvSpPr>
        <p:spPr>
          <a:xfrm>
            <a:off x="381000" y="80964"/>
            <a:ext cx="9633859" cy="177800"/>
          </a:xfrm>
        </p:spPr>
        <p:txBody>
          <a:bodyPr lIns="0" tIns="0" rIns="0" bIns="0">
            <a:noAutofit/>
          </a:bodyPr>
          <a:lstStyle>
            <a:lvl1pPr marL="0" indent="0">
              <a:buNone/>
              <a:defRPr sz="1200" b="1">
                <a:solidFill>
                  <a:schemeClr val="accent1"/>
                </a:solidFill>
              </a:defRPr>
            </a:lvl1pPr>
          </a:lstStyle>
          <a:p>
            <a:pPr lvl="0"/>
            <a:r>
              <a:rPr lang="en-US"/>
              <a:t>Insert supertitle</a:t>
            </a:r>
            <a:endParaRPr lang="en-GB"/>
          </a:p>
        </p:txBody>
      </p:sp>
      <p:sp>
        <p:nvSpPr>
          <p:cNvPr id="2" name="Title 1"/>
          <p:cNvSpPr>
            <a:spLocks noGrp="1"/>
          </p:cNvSpPr>
          <p:nvPr>
            <p:ph type="title"/>
          </p:nvPr>
        </p:nvSpPr>
        <p:spPr/>
        <p:txBody>
          <a:bodyPr vert="horz"/>
          <a:lstStyle/>
          <a:p>
            <a:r>
              <a:rPr lang="en-US"/>
              <a:t>Click to edit Master title style</a:t>
            </a:r>
            <a:endParaRPr lang="en-GB"/>
          </a:p>
        </p:txBody>
      </p:sp>
      <p:sp>
        <p:nvSpPr>
          <p:cNvPr id="8" name="Text Placeholder 2"/>
          <p:cNvSpPr>
            <a:spLocks noGrp="1"/>
          </p:cNvSpPr>
          <p:nvPr>
            <p:ph type="body" sz="quarter" idx="22" hasCustomPrompt="1"/>
          </p:nvPr>
        </p:nvSpPr>
        <p:spPr>
          <a:xfrm>
            <a:off x="381001" y="6524522"/>
            <a:ext cx="6297084" cy="231406"/>
          </a:xfrm>
        </p:spPr>
        <p:txBody>
          <a:bodyPr lIns="0" tIns="0" rIns="0" bIns="0" anchor="b" anchorCtr="0">
            <a:noAutofit/>
          </a:bodyPr>
          <a:lstStyle>
            <a:lvl1pPr marL="0" indent="0">
              <a:buNone/>
              <a:defRPr sz="800" baseline="0"/>
            </a:lvl1pPr>
          </a:lstStyle>
          <a:p>
            <a:pPr lvl="0"/>
            <a:r>
              <a:rPr lang="en-US"/>
              <a:t>Sources: Insert sources</a:t>
            </a:r>
            <a:endParaRPr lang="en-GB"/>
          </a:p>
        </p:txBody>
      </p:sp>
      <p:sp>
        <p:nvSpPr>
          <p:cNvPr id="10" name="Text Placeholder 14"/>
          <p:cNvSpPr>
            <a:spLocks noGrp="1"/>
          </p:cNvSpPr>
          <p:nvPr>
            <p:ph type="body" sz="quarter" idx="24" hasCustomPrompt="1"/>
          </p:nvPr>
        </p:nvSpPr>
        <p:spPr>
          <a:xfrm>
            <a:off x="381001" y="6149976"/>
            <a:ext cx="11442700" cy="250825"/>
          </a:xfrm>
        </p:spPr>
        <p:txBody>
          <a:bodyPr lIns="0" tIns="0" rIns="0" bIns="0" anchor="b" anchorCtr="0">
            <a:normAutofit/>
          </a:bodyPr>
          <a:lstStyle>
            <a:lvl1pPr marL="0" indent="0">
              <a:buNone/>
              <a:defRPr sz="800"/>
            </a:lvl1pPr>
          </a:lstStyle>
          <a:p>
            <a:pPr lvl="0"/>
            <a:r>
              <a:rPr lang="en-US"/>
              <a:t>Notes: Insert notes</a:t>
            </a:r>
            <a:endParaRPr lang="en-GB"/>
          </a:p>
        </p:txBody>
      </p:sp>
      <p:sp>
        <p:nvSpPr>
          <p:cNvPr id="4" name="Text Placeholder 3"/>
          <p:cNvSpPr>
            <a:spLocks noGrp="1"/>
          </p:cNvSpPr>
          <p:nvPr>
            <p:ph type="body" sz="quarter" idx="25"/>
          </p:nvPr>
        </p:nvSpPr>
        <p:spPr>
          <a:xfrm>
            <a:off x="8578469" y="3019122"/>
            <a:ext cx="3245232" cy="1020279"/>
          </a:xfrm>
          <a:solidFill>
            <a:schemeClr val="bg1">
              <a:lumMod val="95000"/>
            </a:schemeClr>
          </a:solidFill>
          <a:ln>
            <a:solidFill>
              <a:schemeClr val="bg1">
                <a:lumMod val="65000"/>
              </a:schemeClr>
            </a:solidFill>
          </a:ln>
        </p:spPr>
        <p:txBody>
          <a:bodyPr anchor="ctr"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Box 10"/>
          <p:cNvSpPr txBox="1"/>
          <p:nvPr userDrawn="1"/>
        </p:nvSpPr>
        <p:spPr>
          <a:xfrm rot="16200000">
            <a:off x="-348654" y="6514957"/>
            <a:ext cx="594715" cy="76944"/>
          </a:xfrm>
          <a:prstGeom prst="rect">
            <a:avLst/>
          </a:prstGeom>
          <a:noFill/>
        </p:spPr>
        <p:txBody>
          <a:bodyPr wrap="none" lIns="0" tIns="0" rIns="0" bIns="0" rtlCol="0">
            <a:spAutoFit/>
          </a:bodyPr>
          <a:lstStyle/>
          <a:p>
            <a:pPr marL="0" indent="0">
              <a:spcAft>
                <a:spcPts val="600"/>
              </a:spcAft>
              <a:buFont typeface="Wingdings" panose="05000000000000000000" pitchFamily="2" charset="2"/>
              <a:buNone/>
            </a:pPr>
            <a:r>
              <a:rPr lang="en-GB" sz="500">
                <a:solidFill>
                  <a:schemeClr val="accent5"/>
                </a:solidFill>
              </a:rPr>
              <a:t>AER Template</a:t>
            </a:r>
            <a:r>
              <a:rPr lang="en-GB" sz="500" baseline="0">
                <a:solidFill>
                  <a:schemeClr val="accent5"/>
                </a:solidFill>
              </a:rPr>
              <a:t> 2017a</a:t>
            </a:r>
            <a:endParaRPr lang="en-GB" sz="500">
              <a:solidFill>
                <a:schemeClr val="accent5"/>
              </a:solidFill>
            </a:endParaRPr>
          </a:p>
        </p:txBody>
      </p:sp>
    </p:spTree>
    <p:extLst>
      <p:ext uri="{BB962C8B-B14F-4D97-AF65-F5344CB8AC3E}">
        <p14:creationId xmlns:p14="http://schemas.microsoft.com/office/powerpoint/2010/main" val="98096784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_2 Colum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30988670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492" imgH="504" progId="TCLayout.ActiveDocument.1">
                  <p:embed/>
                </p:oleObj>
              </mc:Choice>
              <mc:Fallback>
                <p:oleObj name="think-cell Slide" r:id="rId4" imgW="492" imgH="504" progId="TCLayout.ActiveDocument.1">
                  <p:embed/>
                  <p:pic>
                    <p:nvPicPr>
                      <p:cNvPr id="17" name="Object 1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054CD72-9834-4AFC-858F-F6EBC7833874}"/>
              </a:ext>
            </a:extLst>
          </p:cNvPr>
          <p:cNvSpPr/>
          <p:nvPr>
            <p:custDataLst>
              <p:tags r:id="rId2"/>
            </p:custDataLst>
          </p:nvPr>
        </p:nvSpPr>
        <p:spPr>
          <a:xfrm>
            <a:off x="0" y="0"/>
            <a:ext cx="158750" cy="158750"/>
          </a:xfrm>
          <a:prstGeom prst="rect">
            <a:avLst/>
          </a:prstGeom>
          <a:ln/>
        </p:spPr>
        <p:style>
          <a:lnRef idx="2">
            <a:schemeClr val="accent1"/>
          </a:lnRef>
          <a:fillRef idx="1">
            <a:schemeClr val="lt1"/>
          </a:fillRef>
          <a:effectRef idx="0">
            <a:schemeClr val="accent1"/>
          </a:effectRef>
          <a:fontRef idx="minor">
            <a:schemeClr val="dk1"/>
          </a:fontRef>
        </p:style>
        <p:txBody>
          <a:bodyPr wrap="none" lIns="0" tIns="0" rIns="0" bIns="0" numCol="1" spcCol="0" rtlCol="0" anchor="ctr" anchorCtr="0">
            <a:noAutofit/>
          </a:bodyPr>
          <a:lstStyle/>
          <a:p>
            <a:pPr marL="0" lvl="0" indent="0" algn="l">
              <a:spcAft>
                <a:spcPts val="1000"/>
              </a:spcAft>
              <a:buFontTx/>
              <a:buNone/>
            </a:pPr>
            <a:endParaRPr lang="en-GB" sz="2200" b="1" i="0" baseline="0">
              <a:solidFill>
                <a:schemeClr val="tx1"/>
              </a:solidFill>
              <a:latin typeface="Lato" panose="020F0502020204030203" pitchFamily="34" charset="0"/>
              <a:ea typeface="+mj-ea"/>
              <a:cs typeface="+mj-cs"/>
              <a:sym typeface="Lato" panose="020F0502020204030203" pitchFamily="34" charset="0"/>
            </a:endParaRPr>
          </a:p>
        </p:txBody>
      </p:sp>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1761928"/>
            <a:ext cx="5376000" cy="854080"/>
          </a:xfrm>
        </p:spPr>
        <p:txBody>
          <a:bodyPr>
            <a:spAutoFit/>
          </a:bodyPr>
          <a:lstStyle>
            <a:lvl1pPr>
              <a:defRPr sz="1200"/>
            </a:lvl1pPr>
            <a:lvl2pPr>
              <a:defRPr sz="1200"/>
            </a:lvl2pPr>
            <a:lvl3pPr>
              <a:defRPr sz="1200"/>
            </a:lvl3pPr>
            <a:lvl4pPr>
              <a:defRPr sz="1200"/>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6433799" y="1761928"/>
            <a:ext cx="5376000" cy="854080"/>
          </a:xfrm>
        </p:spPr>
        <p:txBody>
          <a:bodyPr>
            <a:spAutoFit/>
          </a:bodyPr>
          <a:lstStyle>
            <a:lvl1pPr>
              <a:defRPr sz="1200"/>
            </a:lvl1pPr>
            <a:lvl2pPr>
              <a:defRPr sz="1200"/>
            </a:lvl2pPr>
            <a:lvl3pPr>
              <a:defRPr sz="1200"/>
            </a:lvl3pPr>
            <a:lvl4pPr>
              <a:defRPr sz="1200"/>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5376000" cy="430887"/>
          </a:xfrm>
        </p:spPr>
        <p:txBody>
          <a:bodyPr>
            <a:spAutoFit/>
          </a:bodyPr>
          <a:lstStyle>
            <a:lvl1pPr>
              <a:spcBef>
                <a:spcPts val="0"/>
              </a:spcBef>
              <a:defRPr b="0">
                <a:latin typeface="Lato Black" panose="020F0502020204030203" pitchFamily="34" charset="0"/>
                <a:ea typeface="Lato Black" panose="020F0502020204030203" pitchFamily="34" charset="0"/>
                <a:cs typeface="Lato Black" panose="020F0502020204030203" pitchFamily="34" charset="0"/>
              </a:defRPr>
            </a:lvl1pPr>
          </a:lstStyle>
          <a:p>
            <a:pPr lvl="0"/>
            <a:r>
              <a:rPr lang="en-GB"/>
              <a:t>Header 1 </a:t>
            </a:r>
            <a:r>
              <a:rPr lang="en-GB" err="1"/>
              <a:t>Lato</a:t>
            </a:r>
            <a:r>
              <a:rPr lang="en-GB"/>
              <a:t> Black 14 Point</a:t>
            </a:r>
            <a:br>
              <a:rPr lang="en-GB"/>
            </a:br>
            <a:r>
              <a:rPr lang="en-GB"/>
              <a:t>(max. 2 lines)</a:t>
            </a:r>
          </a:p>
        </p:txBody>
      </p:sp>
      <p:sp>
        <p:nvSpPr>
          <p:cNvPr id="31" name="Header 2">
            <a:extLst>
              <a:ext uri="{FF2B5EF4-FFF2-40B4-BE49-F238E27FC236}">
                <a16:creationId xmlns:a16="http://schemas.microsoft.com/office/drawing/2014/main" id="{938E3B00-8011-4BC6-853E-AEB1265B2D21}"/>
              </a:ext>
            </a:extLst>
          </p:cNvPr>
          <p:cNvSpPr>
            <a:spLocks noGrp="1"/>
          </p:cNvSpPr>
          <p:nvPr>
            <p:ph type="body" sz="quarter" idx="30" hasCustomPrompt="1"/>
          </p:nvPr>
        </p:nvSpPr>
        <p:spPr>
          <a:xfrm>
            <a:off x="6433799" y="1263129"/>
            <a:ext cx="5376000" cy="430887"/>
          </a:xfrm>
        </p:spPr>
        <p:txBody>
          <a:bodyPr>
            <a:spAutoFit/>
          </a:bodyPr>
          <a:lstStyle>
            <a:lvl1pPr>
              <a:spcBef>
                <a:spcPts val="0"/>
              </a:spcBef>
              <a:defRPr b="1">
                <a:latin typeface="Lato Black" panose="020F0502020204030203" pitchFamily="34" charset="0"/>
                <a:ea typeface="Lato Black" panose="020F0502020204030203" pitchFamily="34" charset="0"/>
                <a:cs typeface="Lato Black" panose="020F0502020204030203" pitchFamily="34" charset="0"/>
              </a:defRPr>
            </a:lvl1pPr>
          </a:lstStyle>
          <a:p>
            <a:pPr lvl="0"/>
            <a:r>
              <a:rPr lang="en-GB"/>
              <a:t>Header 2 </a:t>
            </a:r>
            <a:r>
              <a:rPr lang="en-GB" err="1"/>
              <a:t>Lato</a:t>
            </a:r>
            <a:r>
              <a:rPr lang="en-GB"/>
              <a:t> Black 14 Point</a:t>
            </a:r>
          </a:p>
          <a:p>
            <a:pPr lvl="0"/>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 Placeholder 14">
            <a:extLst>
              <a:ext uri="{FF2B5EF4-FFF2-40B4-BE49-F238E27FC236}">
                <a16:creationId xmlns:a16="http://schemas.microsoft.com/office/drawing/2014/main" id="{596878E1-4974-4902-95AC-E7A7B12F30C1}"/>
              </a:ext>
            </a:extLst>
          </p:cNvPr>
          <p:cNvSpPr>
            <a:spLocks noGrp="1"/>
          </p:cNvSpPr>
          <p:nvPr>
            <p:ph type="body" sz="quarter" idx="26" hasCustomPrompt="1"/>
          </p:nvPr>
        </p:nvSpPr>
        <p:spPr>
          <a:xfrm>
            <a:off x="381600" y="6474841"/>
            <a:ext cx="11428800" cy="110800"/>
          </a:xfrm>
        </p:spPr>
        <p:txBody>
          <a:bodyPr vert="horz" lIns="0" tIns="0" rIns="0" bIns="0" rtlCol="0" anchor="t" anchorCtr="0">
            <a:spAutoFit/>
          </a:bodyPr>
          <a:lstStyle>
            <a:lvl1pPr>
              <a:defRPr lang="en-GB" sz="800" dirty="0"/>
            </a:lvl1pPr>
          </a:lstStyle>
          <a:p>
            <a:pPr lvl="0">
              <a:lnSpc>
                <a:spcPct val="90000"/>
              </a:lnSpc>
              <a:spcBef>
                <a:spcPts val="0"/>
              </a:spcBef>
            </a:pPr>
            <a:r>
              <a:rPr lang="en-GB"/>
              <a:t>1. xxx; 2. xxx</a:t>
            </a:r>
          </a:p>
        </p:txBody>
      </p: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374804115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1CC636-0250-42EE-B21A-05B09D669FF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CAFEDCD0-F14D-4987-A6E6-76186B39861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CC0A7102-EC94-4297-9BA7-8955984E16C3}"/>
              </a:ext>
            </a:extLst>
          </p:cNvPr>
          <p:cNvSpPr>
            <a:spLocks noGrp="1"/>
          </p:cNvSpPr>
          <p:nvPr>
            <p:ph type="dt" sz="half" idx="10"/>
          </p:nvPr>
        </p:nvSpPr>
        <p:spPr/>
        <p:txBody>
          <a:bodyPr/>
          <a:lstStyle/>
          <a:p>
            <a:fld id="{D062D7E1-F740-46B8-8387-98719CF5EFCB}" type="datetimeFigureOut">
              <a:rPr lang="en-GB" smtClean="0"/>
              <a:t>27/09/2024</a:t>
            </a:fld>
            <a:endParaRPr lang="en-GB"/>
          </a:p>
        </p:txBody>
      </p:sp>
      <p:sp>
        <p:nvSpPr>
          <p:cNvPr id="5" name="Footer Placeholder 4">
            <a:extLst>
              <a:ext uri="{FF2B5EF4-FFF2-40B4-BE49-F238E27FC236}">
                <a16:creationId xmlns:a16="http://schemas.microsoft.com/office/drawing/2014/main" id="{1D2015BC-A9C1-4CB6-BE63-25098C0B541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FD0C0E1-5D0D-41E2-A720-B88C8DEF9697}"/>
              </a:ext>
            </a:extLst>
          </p:cNvPr>
          <p:cNvSpPr>
            <a:spLocks noGrp="1"/>
          </p:cNvSpPr>
          <p:nvPr>
            <p:ph type="sldNum" sz="quarter" idx="12"/>
          </p:nvPr>
        </p:nvSpPr>
        <p:spPr/>
        <p:txBody>
          <a:bodyPr/>
          <a:lstStyle/>
          <a:p>
            <a:fld id="{319D412B-695F-4F85-9008-62131175C31E}" type="slidenum">
              <a:rPr lang="en-GB" smtClean="0"/>
              <a:t>‹#›</a:t>
            </a:fld>
            <a:endParaRPr lang="en-GB"/>
          </a:p>
        </p:txBody>
      </p:sp>
    </p:spTree>
    <p:extLst>
      <p:ext uri="{BB962C8B-B14F-4D97-AF65-F5344CB8AC3E}">
        <p14:creationId xmlns:p14="http://schemas.microsoft.com/office/powerpoint/2010/main" val="179624224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492" imgH="504" progId="TCLayout.ActiveDocument.1">
                  <p:embed/>
                </p:oleObj>
              </mc:Choice>
              <mc:Fallback>
                <p:oleObj name="think-cell Slide" r:id="rId4" imgW="492" imgH="504" progId="TCLayout.ActiveDocument.1">
                  <p:embed/>
                  <p:pic>
                    <p:nvPicPr>
                      <p:cNvPr id="17" name="Object 1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054CD72-9834-4AFC-858F-F6EBC7833874}"/>
              </a:ext>
            </a:extLst>
          </p:cNvPr>
          <p:cNvSpPr/>
          <p:nvPr>
            <p:custDataLst>
              <p:tags r:id="rId2"/>
            </p:custDataLst>
          </p:nvPr>
        </p:nvSpPr>
        <p:spPr>
          <a:xfrm>
            <a:off x="0" y="0"/>
            <a:ext cx="158750" cy="158750"/>
          </a:xfrm>
          <a:prstGeom prst="rect">
            <a:avLst/>
          </a:prstGeom>
          <a:ln/>
        </p:spPr>
        <p:style>
          <a:lnRef idx="2">
            <a:schemeClr val="accent1"/>
          </a:lnRef>
          <a:fillRef idx="1">
            <a:schemeClr val="lt1"/>
          </a:fillRef>
          <a:effectRef idx="0">
            <a:schemeClr val="accent1"/>
          </a:effectRef>
          <a:fontRef idx="minor">
            <a:schemeClr val="dk1"/>
          </a:fontRef>
        </p:style>
        <p:txBody>
          <a:bodyPr wrap="none" lIns="0" tIns="0" rIns="0" bIns="0" numCol="1" spcCol="0" rtlCol="0" anchor="ctr" anchorCtr="0">
            <a:noAutofit/>
          </a:bodyPr>
          <a:lstStyle/>
          <a:p>
            <a:pPr marL="0" lvl="0" indent="0" algn="l">
              <a:spcAft>
                <a:spcPts val="1000"/>
              </a:spcAft>
              <a:buFontTx/>
              <a:buNone/>
            </a:pPr>
            <a:endParaRPr lang="en-GB" sz="2200" b="1" i="0" baseline="0">
              <a:solidFill>
                <a:schemeClr val="tx1"/>
              </a:solidFill>
              <a:latin typeface="Lato" panose="020F0502020204030203" pitchFamily="34" charset="0"/>
              <a:ea typeface="+mj-ea"/>
              <a:cs typeface="+mj-cs"/>
              <a:sym typeface="Lato" panose="020F0502020204030203" pitchFamily="34" charset="0"/>
            </a:endParaRPr>
          </a:p>
        </p:txBody>
      </p:sp>
      <p:cxnSp>
        <p:nvCxnSpPr>
          <p:cNvPr id="18" name="Bottom line">
            <a:extLst>
              <a:ext uri="{FF2B5EF4-FFF2-40B4-BE49-F238E27FC236}">
                <a16:creationId xmlns:a16="http://schemas.microsoft.com/office/drawing/2014/main" id="{91E13582-C984-4CD2-8775-E415FC532B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3" name="Confidential">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rPr>
              <a:t>CONFIDENTIAL</a:t>
            </a: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4EADFF66-BEC8-40DA-BA4E-95EB941E1C2C}"/>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vl1pPr>
          </a:lstStyle>
          <a:p>
            <a:pPr lvl="0"/>
            <a:r>
              <a:rPr lang="en-GB"/>
              <a:t>Sources: xxx</a:t>
            </a:r>
          </a:p>
        </p:txBody>
      </p:sp>
      <p:sp>
        <p:nvSpPr>
          <p:cNvPr id="2" name="Title 1">
            <a:extLst>
              <a:ext uri="{FF2B5EF4-FFF2-40B4-BE49-F238E27FC236}">
                <a16:creationId xmlns:a16="http://schemas.microsoft.com/office/drawing/2014/main" id="{966C5BD2-F0DE-4102-97E0-F3335128DCAD}"/>
              </a:ext>
            </a:extLst>
          </p:cNvPr>
          <p:cNvSpPr>
            <a:spLocks noGrp="1"/>
          </p:cNvSpPr>
          <p:nvPr>
            <p:ph type="title"/>
          </p:nvPr>
        </p:nvSpPr>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ED31669E-9C1D-46E1-8605-888D1A1D383E}"/>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0" name="Supertitle">
            <a:extLst>
              <a:ext uri="{FF2B5EF4-FFF2-40B4-BE49-F238E27FC236}">
                <a16:creationId xmlns:a16="http://schemas.microsoft.com/office/drawing/2014/main" id="{EA78DF35-4B78-4F38-B86C-9F1BF366BFC1}"/>
              </a:ext>
            </a:extLst>
          </p:cNvPr>
          <p:cNvSpPr>
            <a:spLocks noGrp="1"/>
          </p:cNvSpPr>
          <p:nvPr>
            <p:ph type="body" sz="quarter" idx="43"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18738641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1_4 regions - comment - grey backgroun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56432054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8E3D202-E0EA-466A-8C55-E2DE7686ED4D}"/>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4" name="Confidential">
            <a:extLst>
              <a:ext uri="{FF2B5EF4-FFF2-40B4-BE49-F238E27FC236}">
                <a16:creationId xmlns:a16="http://schemas.microsoft.com/office/drawing/2014/main" id="{14C29F18-0061-4AD0-8F17-1B44E4BAED6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2" name="Text Placeholder 2">
            <a:extLst>
              <a:ext uri="{FF2B5EF4-FFF2-40B4-BE49-F238E27FC236}">
                <a16:creationId xmlns:a16="http://schemas.microsoft.com/office/drawing/2014/main" id="{D69DFB0D-DF47-4F51-8A1E-A3F04A199F5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3" name="Aurora Logo">
            <a:extLst>
              <a:ext uri="{FF2B5EF4-FFF2-40B4-BE49-F238E27FC236}">
                <a16:creationId xmlns:a16="http://schemas.microsoft.com/office/drawing/2014/main" id="{0B030AA5-8163-4F27-9057-F3025760F02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34" name="Header Comments">
            <a:extLst>
              <a:ext uri="{FF2B5EF4-FFF2-40B4-BE49-F238E27FC236}">
                <a16:creationId xmlns:a16="http://schemas.microsoft.com/office/drawing/2014/main" id="{BA58D606-2C71-4E85-8328-99C37B4B4195}"/>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35" name="Text Comments">
            <a:extLst>
              <a:ext uri="{FF2B5EF4-FFF2-40B4-BE49-F238E27FC236}">
                <a16:creationId xmlns:a16="http://schemas.microsoft.com/office/drawing/2014/main" id="{FF2AB152-2969-46CD-B5D8-B3919809B323}"/>
              </a:ext>
            </a:extLst>
          </p:cNvPr>
          <p:cNvSpPr>
            <a:spLocks noGrp="1"/>
          </p:cNvSpPr>
          <p:nvPr>
            <p:ph type="body" sz="quarter" idx="28"/>
          </p:nvPr>
        </p:nvSpPr>
        <p:spPr>
          <a:xfrm>
            <a:off x="9500714" y="1712755"/>
            <a:ext cx="2335686"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itle 3">
            <a:extLst>
              <a:ext uri="{FF2B5EF4-FFF2-40B4-BE49-F238E27FC236}">
                <a16:creationId xmlns:a16="http://schemas.microsoft.com/office/drawing/2014/main" id="{C5C9D1F5-9907-4B3A-A8FD-DB0AF4B08748}"/>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37" name="Text Placeholder 5">
            <a:extLst>
              <a:ext uri="{FF2B5EF4-FFF2-40B4-BE49-F238E27FC236}">
                <a16:creationId xmlns:a16="http://schemas.microsoft.com/office/drawing/2014/main" id="{CC0D292B-B63E-4277-A339-858F1811E07D}"/>
              </a:ext>
            </a:extLst>
          </p:cNvPr>
          <p:cNvSpPr>
            <a:spLocks noGrp="1"/>
          </p:cNvSpPr>
          <p:nvPr>
            <p:ph type="body" sz="quarter" idx="32"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39" name="Supertitle">
            <a:extLst>
              <a:ext uri="{FF2B5EF4-FFF2-40B4-BE49-F238E27FC236}">
                <a16:creationId xmlns:a16="http://schemas.microsoft.com/office/drawing/2014/main" id="{23980E38-F915-4158-AF74-34AE9E15DEA1}"/>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
        <p:nvSpPr>
          <p:cNvPr id="23" name="Header 1">
            <a:extLst>
              <a:ext uri="{FF2B5EF4-FFF2-40B4-BE49-F238E27FC236}">
                <a16:creationId xmlns:a16="http://schemas.microsoft.com/office/drawing/2014/main" id="{31D99F63-9B34-42E2-815E-E9FCF2F2AA13}"/>
              </a:ext>
            </a:extLst>
          </p:cNvPr>
          <p:cNvSpPr>
            <a:spLocks noGrp="1"/>
          </p:cNvSpPr>
          <p:nvPr>
            <p:ph type="body" sz="quarter" idx="41" hasCustomPrompt="1"/>
          </p:nvPr>
        </p:nvSpPr>
        <p:spPr>
          <a:xfrm>
            <a:off x="377525" y="1785266"/>
            <a:ext cx="38880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56" name="Text Placeholder 4">
            <a:extLst>
              <a:ext uri="{FF2B5EF4-FFF2-40B4-BE49-F238E27FC236}">
                <a16:creationId xmlns:a16="http://schemas.microsoft.com/office/drawing/2014/main" id="{1163F6F5-9703-4889-AF90-8C43A31987DD}"/>
              </a:ext>
            </a:extLst>
          </p:cNvPr>
          <p:cNvSpPr>
            <a:spLocks noGrp="1"/>
          </p:cNvSpPr>
          <p:nvPr>
            <p:ph type="body" sz="quarter" idx="54" hasCustomPrompt="1"/>
          </p:nvPr>
        </p:nvSpPr>
        <p:spPr>
          <a:xfrm>
            <a:off x="381599" y="1263129"/>
            <a:ext cx="11428800" cy="184666"/>
          </a:xfrm>
        </p:spPr>
        <p:txBody>
          <a:bodyPr vert="horz" lIns="0" tIns="0" rIns="0" bIns="0" rtlCol="0">
            <a:spAutoFit/>
          </a:bodyPr>
          <a:lstStyle>
            <a:lvl1pPr>
              <a:defRPr lang="en-GB" sz="1200" b="1"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Black, bold, Units below in grey, not bold</a:t>
            </a:r>
          </a:p>
        </p:txBody>
      </p:sp>
      <p:sp>
        <p:nvSpPr>
          <p:cNvPr id="60" name="Header 1">
            <a:extLst>
              <a:ext uri="{FF2B5EF4-FFF2-40B4-BE49-F238E27FC236}">
                <a16:creationId xmlns:a16="http://schemas.microsoft.com/office/drawing/2014/main" id="{855315BF-E1B0-4A8B-93FD-5C9C28F33EEE}"/>
              </a:ext>
            </a:extLst>
          </p:cNvPr>
          <p:cNvSpPr>
            <a:spLocks noGrp="1"/>
          </p:cNvSpPr>
          <p:nvPr>
            <p:ph type="body" sz="quarter" idx="56" hasCustomPrompt="1"/>
          </p:nvPr>
        </p:nvSpPr>
        <p:spPr>
          <a:xfrm>
            <a:off x="5094070" y="1785266"/>
            <a:ext cx="38880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62" name="Header 1">
            <a:extLst>
              <a:ext uri="{FF2B5EF4-FFF2-40B4-BE49-F238E27FC236}">
                <a16:creationId xmlns:a16="http://schemas.microsoft.com/office/drawing/2014/main" id="{C9B227B5-E411-4287-9246-2E5D5ABC7373}"/>
              </a:ext>
            </a:extLst>
          </p:cNvPr>
          <p:cNvSpPr>
            <a:spLocks noGrp="1"/>
          </p:cNvSpPr>
          <p:nvPr>
            <p:ph type="body" sz="quarter" idx="57" hasCustomPrompt="1"/>
          </p:nvPr>
        </p:nvSpPr>
        <p:spPr>
          <a:xfrm>
            <a:off x="374052" y="3905771"/>
            <a:ext cx="38880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64" name="Header 1">
            <a:extLst>
              <a:ext uri="{FF2B5EF4-FFF2-40B4-BE49-F238E27FC236}">
                <a16:creationId xmlns:a16="http://schemas.microsoft.com/office/drawing/2014/main" id="{03C296AC-8AE5-4A5D-8B6D-31C3D325DB72}"/>
              </a:ext>
            </a:extLst>
          </p:cNvPr>
          <p:cNvSpPr>
            <a:spLocks noGrp="1"/>
          </p:cNvSpPr>
          <p:nvPr>
            <p:ph type="body" sz="quarter" idx="58" hasCustomPrompt="1"/>
          </p:nvPr>
        </p:nvSpPr>
        <p:spPr>
          <a:xfrm>
            <a:off x="5094070" y="3905771"/>
            <a:ext cx="38880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Tree>
    <p:extLst>
      <p:ext uri="{BB962C8B-B14F-4D97-AF65-F5344CB8AC3E}">
        <p14:creationId xmlns:p14="http://schemas.microsoft.com/office/powerpoint/2010/main" val="210986044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1_Title Only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74927155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Confidential">
            <a:extLst>
              <a:ext uri="{FF2B5EF4-FFF2-40B4-BE49-F238E27FC236}">
                <a16:creationId xmlns:a16="http://schemas.microsoft.com/office/drawing/2014/main" id="{3F6CE3CC-2060-479C-94F1-04D18BF5C6B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D9606BCF-6B49-43F6-B1F8-D730B3DBFA1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1" name="Aurora Logo">
            <a:extLst>
              <a:ext uri="{FF2B5EF4-FFF2-40B4-BE49-F238E27FC236}">
                <a16:creationId xmlns:a16="http://schemas.microsoft.com/office/drawing/2014/main" id="{8A8EA597-F2C7-43A2-BC75-D1BDEE3A6A8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6" name="Title 5">
            <a:extLst>
              <a:ext uri="{FF2B5EF4-FFF2-40B4-BE49-F238E27FC236}">
                <a16:creationId xmlns:a16="http://schemas.microsoft.com/office/drawing/2014/main" id="{9A68FB94-22BB-418E-A3AF-9DD42AD17527}"/>
              </a:ext>
            </a:extLst>
          </p:cNvPr>
          <p:cNvSpPr>
            <a:spLocks noGrp="1"/>
          </p:cNvSpPr>
          <p:nvPr>
            <p:ph type="title"/>
          </p:nvPr>
        </p:nvSpPr>
        <p:spPr/>
        <p:txBody>
          <a:bodyPr vert="horz"/>
          <a:lstStyle>
            <a:lvl1pPr>
              <a:defRPr sz="2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8" name="Supertitle">
            <a:extLst>
              <a:ext uri="{FF2B5EF4-FFF2-40B4-BE49-F238E27FC236}">
                <a16:creationId xmlns:a16="http://schemas.microsoft.com/office/drawing/2014/main" id="{67259323-2698-47EA-85E1-F6C8C7417BEB}"/>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185919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Summary_ligh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26857174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4" name="acb0b369-aa8c-4b31-ab38-74d78cf51d99">
            <a:extLst>
              <a:ext uri="{FF2B5EF4-FFF2-40B4-BE49-F238E27FC236}">
                <a16:creationId xmlns:a16="http://schemas.microsoft.com/office/drawing/2014/main" id="{D192A937-36F1-43E9-9FBA-8508F900F212}"/>
              </a:ext>
            </a:extLst>
          </p:cNvPr>
          <p:cNvSpPr/>
          <p:nvPr/>
        </p:nvSpPr>
        <p:spPr>
          <a:xfrm>
            <a:off x="-8393" y="-1"/>
            <a:ext cx="3588245" cy="6858001"/>
          </a:xfrm>
          <a:prstGeom prst="rect">
            <a:avLst/>
          </a:prstGeom>
          <a:solidFill>
            <a:schemeClr val="bg1">
              <a:lumMod val="75000"/>
            </a:schemeClr>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19" name="3fb81c30-15ed-4c93-9863-f6b57534edf8">
            <a:extLst>
              <a:ext uri="{FF2B5EF4-FFF2-40B4-BE49-F238E27FC236}">
                <a16:creationId xmlns:a16="http://schemas.microsoft.com/office/drawing/2014/main" id="{D6606AFB-B38F-4576-B399-255BFCDC9EEB}"/>
              </a:ext>
            </a:extLst>
          </p:cNvPr>
          <p:cNvCxnSpPr>
            <a:cxnSpLocks/>
          </p:cNvCxnSpPr>
          <p:nvPr/>
        </p:nvCxnSpPr>
        <p:spPr>
          <a:xfrm>
            <a:off x="380996" y="2643567"/>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87bda0fb-aa74-4c09-ab9d-334ef6f592c0">
            <a:extLst>
              <a:ext uri="{FF2B5EF4-FFF2-40B4-BE49-F238E27FC236}">
                <a16:creationId xmlns:a16="http://schemas.microsoft.com/office/drawing/2014/main" id="{F9F30819-AB3F-4A43-BB50-F7A130CBA66C}"/>
              </a:ext>
            </a:extLst>
          </p:cNvPr>
          <p:cNvSpPr txBox="1">
            <a:spLocks/>
          </p:cNvSpPr>
          <p:nvPr/>
        </p:nvSpPr>
        <p:spPr>
          <a:xfrm>
            <a:off x="380996" y="1133611"/>
            <a:ext cx="3164179" cy="1384995"/>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a:lnSpc>
                <a:spcPct val="100000"/>
              </a:lnSpc>
              <a:spcBef>
                <a:spcPts val="0"/>
              </a:spcBef>
            </a:pPr>
            <a:r>
              <a:rPr lang="en-GB" sz="4400" b="0" spc="6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ecutive Summary</a:t>
            </a:r>
          </a:p>
        </p:txBody>
      </p:sp>
      <p:cxnSp>
        <p:nvCxnSpPr>
          <p:cNvPr id="18" name="ffea8505-d447-4023-bd83-89b3727ac8bb">
            <a:extLst>
              <a:ext uri="{FF2B5EF4-FFF2-40B4-BE49-F238E27FC236}">
                <a16:creationId xmlns:a16="http://schemas.microsoft.com/office/drawing/2014/main" id="{91E13582-C984-4CD2-8775-E415FC532B0D}"/>
              </a:ext>
            </a:extLst>
          </p:cNvPr>
          <p:cNvCxnSpPr>
            <a:cxnSpLocks/>
          </p:cNvCxnSpPr>
          <p:nvPr/>
        </p:nvCxnSpPr>
        <p:spPr>
          <a:xfrm>
            <a:off x="3814481" y="6445604"/>
            <a:ext cx="800922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671B2B38-6A7E-4142-8E20-1DFA910CF767}"/>
              </a:ext>
            </a:extLst>
          </p:cNvPr>
          <p:cNvSpPr>
            <a:spLocks noGrp="1"/>
          </p:cNvSpPr>
          <p:nvPr>
            <p:ph type="body" sz="quarter" idx="27"/>
          </p:nvPr>
        </p:nvSpPr>
        <p:spPr>
          <a:xfrm>
            <a:off x="380996" y="2860467"/>
            <a:ext cx="3038479" cy="977191"/>
          </a:xfrm>
        </p:spPr>
        <p:txBody>
          <a:bodyPr>
            <a:spAutoFit/>
          </a:bodyPr>
          <a:lstStyle>
            <a:lvl1pPr>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100000"/>
              </a:lnSpc>
              <a:spcBef>
                <a:spcPts val="60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lnSpc>
                <a:spcPct val="100000"/>
              </a:lnSpc>
              <a:spcBef>
                <a:spcPts val="30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lnSpc>
                <a:spcPct val="100000"/>
              </a:lnSpc>
              <a:spcBef>
                <a:spcPts val="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Placeholder 4">
            <a:extLst>
              <a:ext uri="{FF2B5EF4-FFF2-40B4-BE49-F238E27FC236}">
                <a16:creationId xmlns:a16="http://schemas.microsoft.com/office/drawing/2014/main" id="{7961071D-8A41-4BD0-BCD8-EBDC12580AE7}"/>
              </a:ext>
            </a:extLst>
          </p:cNvPr>
          <p:cNvSpPr>
            <a:spLocks noGrp="1"/>
          </p:cNvSpPr>
          <p:nvPr>
            <p:ph type="body" sz="quarter" idx="28" hasCustomPrompt="1"/>
          </p:nvPr>
        </p:nvSpPr>
        <p:spPr>
          <a:xfrm>
            <a:off x="3814481" y="1270000"/>
            <a:ext cx="8009220" cy="761747"/>
          </a:xfrm>
        </p:spPr>
        <p:txBody>
          <a:bodyPr>
            <a:spAutoFit/>
          </a:bodyPr>
          <a:lstStyle>
            <a:lvl1pPr>
              <a:lnSpc>
                <a:spcPct val="100000"/>
              </a:lnSpc>
              <a:spcBef>
                <a:spcPts val="600"/>
              </a:spcBef>
              <a:defRPr>
                <a:solidFill>
                  <a:schemeClr val="tx1"/>
                </a:solidFill>
              </a:defRPr>
            </a:lvl1pPr>
            <a:lvl2pPr>
              <a:lnSpc>
                <a:spcPct val="100000"/>
              </a:lnSpc>
              <a:spcBef>
                <a:spcPts val="12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lnSpc>
                <a:spcPct val="100000"/>
              </a:lnSpc>
              <a:spcBef>
                <a:spcPts val="3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1"/>
            <a:r>
              <a:rPr lang="en-GB"/>
              <a:t>Second level</a:t>
            </a:r>
          </a:p>
          <a:p>
            <a:pPr lvl="2"/>
            <a:r>
              <a:rPr lang="en-GB"/>
              <a:t>Third level</a:t>
            </a:r>
          </a:p>
          <a:p>
            <a:pPr lvl="3"/>
            <a:r>
              <a:rPr lang="en-GB"/>
              <a:t>Fourth level</a:t>
            </a:r>
          </a:p>
        </p:txBody>
      </p:sp>
      <p:sp>
        <p:nvSpPr>
          <p:cNvPr id="32" name="Text Placeholder 2">
            <a:extLst>
              <a:ext uri="{FF2B5EF4-FFF2-40B4-BE49-F238E27FC236}">
                <a16:creationId xmlns:a16="http://schemas.microsoft.com/office/drawing/2014/main" id="{6D7F2915-2024-405B-B85D-6EFFF849861E}"/>
              </a:ext>
            </a:extLst>
          </p:cNvPr>
          <p:cNvSpPr>
            <a:spLocks noGrp="1"/>
          </p:cNvSpPr>
          <p:nvPr>
            <p:ph type="body" sz="quarter" idx="22" hasCustomPrompt="1"/>
          </p:nvPr>
        </p:nvSpPr>
        <p:spPr>
          <a:xfrm>
            <a:off x="381448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5" name="Text Placeholder 5">
            <a:extLst>
              <a:ext uri="{FF2B5EF4-FFF2-40B4-BE49-F238E27FC236}">
                <a16:creationId xmlns:a16="http://schemas.microsoft.com/office/drawing/2014/main" id="{C4F4EA92-B201-44CA-85E5-A9F9BAA6DF30}"/>
              </a:ext>
            </a:extLst>
          </p:cNvPr>
          <p:cNvSpPr>
            <a:spLocks noGrp="1"/>
          </p:cNvSpPr>
          <p:nvPr>
            <p:ph type="body" sz="quarter" idx="32" hasCustomPrompt="1"/>
          </p:nvPr>
        </p:nvSpPr>
        <p:spPr>
          <a:xfrm>
            <a:off x="3814481" y="6474841"/>
            <a:ext cx="800922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6" name="Supertitle">
            <a:extLst>
              <a:ext uri="{FF2B5EF4-FFF2-40B4-BE49-F238E27FC236}">
                <a16:creationId xmlns:a16="http://schemas.microsoft.com/office/drawing/2014/main" id="{24864468-8529-4837-946B-A32F0101EA46}"/>
              </a:ext>
            </a:extLst>
          </p:cNvPr>
          <p:cNvSpPr>
            <a:spLocks noGrp="1"/>
          </p:cNvSpPr>
          <p:nvPr>
            <p:ph type="body" sz="quarter" idx="31" hasCustomPrompt="1"/>
          </p:nvPr>
        </p:nvSpPr>
        <p:spPr>
          <a:xfrm>
            <a:off x="3814481"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5219655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Key slide">
    <p:bg>
      <p:bgPr>
        <a:solidFill>
          <a:schemeClr val="accent2"/>
        </a:solidFill>
        <a:effectLst/>
      </p:bgPr>
    </p:bg>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30D8684F-2331-410E-8BCD-8E48E223924B}"/>
              </a:ext>
            </a:extLst>
          </p:cNvPr>
          <p:cNvGraphicFramePr>
            <a:graphicFrameLocks noChangeAspect="1"/>
          </p:cNvGraphicFramePr>
          <p:nvPr userDrawn="1">
            <p:custDataLst>
              <p:tags r:id="rId1"/>
            </p:custDataLst>
            <p:extLst>
              <p:ext uri="{D42A27DB-BD31-4B8C-83A1-F6EECF244321}">
                <p14:modId xmlns:p14="http://schemas.microsoft.com/office/powerpoint/2010/main" val="8690335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7" name="Object 16" hidden="1">
                        <a:extLst>
                          <a:ext uri="{FF2B5EF4-FFF2-40B4-BE49-F238E27FC236}">
                            <a16:creationId xmlns:a16="http://schemas.microsoft.com/office/drawing/2014/main" id="{30D8684F-2331-410E-8BCD-8E48E22392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274DFB-B380-4A92-94A7-A35E0797C6E7}"/>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3" name="Text Placeholder 47">
            <a:extLst>
              <a:ext uri="{FF2B5EF4-FFF2-40B4-BE49-F238E27FC236}">
                <a16:creationId xmlns:a16="http://schemas.microsoft.com/office/drawing/2014/main" id="{791FCF58-A259-4F9A-8EC3-F6830108B056}"/>
              </a:ext>
            </a:extLst>
          </p:cNvPr>
          <p:cNvSpPr>
            <a:spLocks noGrp="1"/>
          </p:cNvSpPr>
          <p:nvPr>
            <p:ph type="body" sz="quarter" idx="31" hasCustomPrompt="1"/>
          </p:nvPr>
        </p:nvSpPr>
        <p:spPr>
          <a:xfrm>
            <a:off x="380999" y="1268129"/>
            <a:ext cx="11428800" cy="215444"/>
          </a:xfrm>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solidFill>
                  <a:schemeClr val="tx1"/>
                </a:solidFill>
              </a:rPr>
              <a:t>Subtitle Key Slide</a:t>
            </a:r>
          </a:p>
        </p:txBody>
      </p:sp>
      <p:sp>
        <p:nvSpPr>
          <p:cNvPr id="4" name="Rectangle 3">
            <a:extLst>
              <a:ext uri="{FF2B5EF4-FFF2-40B4-BE49-F238E27FC236}">
                <a16:creationId xmlns:a16="http://schemas.microsoft.com/office/drawing/2014/main" id="{5DE3BBEF-4A7D-42A4-8E08-6883FD64DA5B}"/>
              </a:ext>
            </a:extLst>
          </p:cNvPr>
          <p:cNvSpPr/>
          <p:nvPr/>
        </p:nvSpPr>
        <p:spPr>
          <a:xfrm>
            <a:off x="10254343" y="411856"/>
            <a:ext cx="1670179" cy="334593"/>
          </a:xfrm>
          <a:prstGeom prst="rect">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5" name="5d8d361f-22c4-4b42-8dc9-17fbf8f083ac">
            <a:extLst>
              <a:ext uri="{FF2B5EF4-FFF2-40B4-BE49-F238E27FC236}">
                <a16:creationId xmlns:a16="http://schemas.microsoft.com/office/drawing/2014/main" id="{8A88AD16-2E5E-4CEF-8D7B-94808A9D94CC}"/>
              </a:ext>
            </a:extLst>
          </p:cNvPr>
          <p:cNvGrpSpPr/>
          <p:nvPr/>
        </p:nvGrpSpPr>
        <p:grpSpPr>
          <a:xfrm>
            <a:off x="10307419" y="465323"/>
            <a:ext cx="1510782" cy="198704"/>
            <a:chOff x="10307419" y="465323"/>
            <a:chExt cx="1510782" cy="198704"/>
          </a:xfrm>
          <a:solidFill>
            <a:schemeClr val="tx1"/>
          </a:solidFill>
        </p:grpSpPr>
        <p:sp>
          <p:nvSpPr>
            <p:cNvPr id="6" name="Freeform: Shape 5">
              <a:extLst>
                <a:ext uri="{FF2B5EF4-FFF2-40B4-BE49-F238E27FC236}">
                  <a16:creationId xmlns:a16="http://schemas.microsoft.com/office/drawing/2014/main" id="{1C0D52D9-5D86-4027-9879-849CA296714D}"/>
                </a:ext>
              </a:extLst>
            </p:cNvPr>
            <p:cNvSpPr/>
            <p:nvPr/>
          </p:nvSpPr>
          <p:spPr>
            <a:xfrm>
              <a:off x="10307419" y="479773"/>
              <a:ext cx="170004" cy="175003"/>
            </a:xfrm>
            <a:custGeom>
              <a:avLst/>
              <a:gdLst>
                <a:gd name="connsiteX0" fmla="*/ 145553 w 170003"/>
                <a:gd name="connsiteY0" fmla="*/ 178153 h 175003"/>
                <a:gd name="connsiteX1" fmla="*/ 129803 w 170003"/>
                <a:gd name="connsiteY1" fmla="*/ 138653 h 175003"/>
                <a:gd name="connsiteX2" fmla="*/ 41151 w 170003"/>
                <a:gd name="connsiteY2" fmla="*/ 138653 h 175003"/>
                <a:gd name="connsiteX3" fmla="*/ 25401 w 170003"/>
                <a:gd name="connsiteY3" fmla="*/ 178153 h 175003"/>
                <a:gd name="connsiteX4" fmla="*/ 0 w 170003"/>
                <a:gd name="connsiteY4" fmla="*/ 178153 h 175003"/>
                <a:gd name="connsiteX5" fmla="*/ 71602 w 170003"/>
                <a:gd name="connsiteY5" fmla="*/ 0 h 175003"/>
                <a:gd name="connsiteX6" fmla="*/ 99102 w 170003"/>
                <a:gd name="connsiteY6" fmla="*/ 0 h 175003"/>
                <a:gd name="connsiteX7" fmla="*/ 170954 w 170003"/>
                <a:gd name="connsiteY7" fmla="*/ 178103 h 175003"/>
                <a:gd name="connsiteX8" fmla="*/ 145553 w 170003"/>
                <a:gd name="connsiteY8" fmla="*/ 178103 h 175003"/>
                <a:gd name="connsiteX9" fmla="*/ 85502 w 170003"/>
                <a:gd name="connsiteY9" fmla="*/ 23000 h 175003"/>
                <a:gd name="connsiteX10" fmla="*/ 47601 w 170003"/>
                <a:gd name="connsiteY10" fmla="*/ 118852 h 175003"/>
                <a:gd name="connsiteX11" fmla="*/ 123203 w 170003"/>
                <a:gd name="connsiteY11" fmla="*/ 118852 h 175003"/>
                <a:gd name="connsiteX12" fmla="*/ 85502 w 170003"/>
                <a:gd name="connsiteY12" fmla="*/ 23000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0003" h="175003">
                  <a:moveTo>
                    <a:pt x="145553" y="178153"/>
                  </a:moveTo>
                  <a:lnTo>
                    <a:pt x="129803" y="138653"/>
                  </a:lnTo>
                  <a:lnTo>
                    <a:pt x="41151" y="138653"/>
                  </a:lnTo>
                  <a:lnTo>
                    <a:pt x="25401" y="178153"/>
                  </a:lnTo>
                  <a:lnTo>
                    <a:pt x="0" y="178153"/>
                  </a:lnTo>
                  <a:lnTo>
                    <a:pt x="71602" y="0"/>
                  </a:lnTo>
                  <a:lnTo>
                    <a:pt x="99102" y="0"/>
                  </a:lnTo>
                  <a:lnTo>
                    <a:pt x="170954" y="178103"/>
                  </a:lnTo>
                  <a:lnTo>
                    <a:pt x="145553" y="178103"/>
                  </a:lnTo>
                  <a:close/>
                  <a:moveTo>
                    <a:pt x="85502" y="23000"/>
                  </a:moveTo>
                  <a:lnTo>
                    <a:pt x="47601" y="118852"/>
                  </a:lnTo>
                  <a:lnTo>
                    <a:pt x="123203" y="118852"/>
                  </a:lnTo>
                  <a:lnTo>
                    <a:pt x="85502" y="23000"/>
                  </a:lnTo>
                  <a:close/>
                </a:path>
              </a:pathLst>
            </a:custGeom>
            <a:grpFill/>
            <a:ln w="4982"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7" name="Freeform: Shape 6">
              <a:extLst>
                <a:ext uri="{FF2B5EF4-FFF2-40B4-BE49-F238E27FC236}">
                  <a16:creationId xmlns:a16="http://schemas.microsoft.com/office/drawing/2014/main" id="{429AEC83-2158-49D6-9185-DE976140A84D}"/>
                </a:ext>
              </a:extLst>
            </p:cNvPr>
            <p:cNvSpPr/>
            <p:nvPr/>
          </p:nvSpPr>
          <p:spPr>
            <a:xfrm>
              <a:off x="10574675" y="479773"/>
              <a:ext cx="145003" cy="180004"/>
            </a:xfrm>
            <a:custGeom>
              <a:avLst/>
              <a:gdLst>
                <a:gd name="connsiteX0" fmla="*/ 0 w 145003"/>
                <a:gd name="connsiteY0" fmla="*/ 109002 h 180003"/>
                <a:gd name="connsiteX1" fmla="*/ 0 w 145003"/>
                <a:gd name="connsiteY1" fmla="*/ 0 h 180003"/>
                <a:gd name="connsiteX2" fmla="*/ 22150 w 145003"/>
                <a:gd name="connsiteY2" fmla="*/ 0 h 180003"/>
                <a:gd name="connsiteX3" fmla="*/ 22150 w 145003"/>
                <a:gd name="connsiteY3" fmla="*/ 108402 h 180003"/>
                <a:gd name="connsiteX4" fmla="*/ 72602 w 145003"/>
                <a:gd name="connsiteY4" fmla="*/ 161553 h 180003"/>
                <a:gd name="connsiteX5" fmla="*/ 123053 w 145003"/>
                <a:gd name="connsiteY5" fmla="*/ 108402 h 180003"/>
                <a:gd name="connsiteX6" fmla="*/ 123053 w 145003"/>
                <a:gd name="connsiteY6" fmla="*/ 0 h 180003"/>
                <a:gd name="connsiteX7" fmla="*/ 145203 w 145003"/>
                <a:gd name="connsiteY7" fmla="*/ 0 h 180003"/>
                <a:gd name="connsiteX8" fmla="*/ 145203 w 145003"/>
                <a:gd name="connsiteY8" fmla="*/ 108702 h 180003"/>
                <a:gd name="connsiteX9" fmla="*/ 72552 w 145003"/>
                <a:gd name="connsiteY9" fmla="*/ 181354 h 180003"/>
                <a:gd name="connsiteX10" fmla="*/ 0 w 145003"/>
                <a:gd name="connsiteY10" fmla="*/ 109002 h 18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5003" h="180003">
                  <a:moveTo>
                    <a:pt x="0" y="109002"/>
                  </a:moveTo>
                  <a:lnTo>
                    <a:pt x="0" y="0"/>
                  </a:lnTo>
                  <a:lnTo>
                    <a:pt x="22150" y="0"/>
                  </a:lnTo>
                  <a:lnTo>
                    <a:pt x="22150" y="108402"/>
                  </a:lnTo>
                  <a:cubicBezTo>
                    <a:pt x="22150" y="140953"/>
                    <a:pt x="39801" y="161553"/>
                    <a:pt x="72602" y="161553"/>
                  </a:cubicBezTo>
                  <a:cubicBezTo>
                    <a:pt x="105402" y="161553"/>
                    <a:pt x="123053" y="141003"/>
                    <a:pt x="123053" y="108402"/>
                  </a:cubicBezTo>
                  <a:lnTo>
                    <a:pt x="123053" y="0"/>
                  </a:lnTo>
                  <a:lnTo>
                    <a:pt x="145203" y="0"/>
                  </a:lnTo>
                  <a:lnTo>
                    <a:pt x="145203" y="108702"/>
                  </a:lnTo>
                  <a:cubicBezTo>
                    <a:pt x="145203" y="153053"/>
                    <a:pt x="120903" y="181354"/>
                    <a:pt x="72552" y="181354"/>
                  </a:cubicBezTo>
                  <a:cubicBezTo>
                    <a:pt x="24351" y="181354"/>
                    <a:pt x="0" y="152803"/>
                    <a:pt x="0" y="109002"/>
                  </a:cubicBezTo>
                  <a:close/>
                </a:path>
              </a:pathLst>
            </a:custGeom>
            <a:grpFill/>
            <a:ln w="4982"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 name="Freeform: Shape 7">
              <a:extLst>
                <a:ext uri="{FF2B5EF4-FFF2-40B4-BE49-F238E27FC236}">
                  <a16:creationId xmlns:a16="http://schemas.microsoft.com/office/drawing/2014/main" id="{72C7B6A4-FD9C-4301-BB1E-8CF467C3B0B0}"/>
                </a:ext>
              </a:extLst>
            </p:cNvPr>
            <p:cNvSpPr/>
            <p:nvPr/>
          </p:nvSpPr>
          <p:spPr>
            <a:xfrm>
              <a:off x="10841730" y="479773"/>
              <a:ext cx="125003" cy="175003"/>
            </a:xfrm>
            <a:custGeom>
              <a:avLst/>
              <a:gdLst>
                <a:gd name="connsiteX0" fmla="*/ 103052 w 125002"/>
                <a:gd name="connsiteY0" fmla="*/ 178153 h 175003"/>
                <a:gd name="connsiteX1" fmla="*/ 57651 w 125002"/>
                <a:gd name="connsiteY1" fmla="*/ 107402 h 175003"/>
                <a:gd name="connsiteX2" fmla="*/ 22150 w 125002"/>
                <a:gd name="connsiteY2" fmla="*/ 107402 h 175003"/>
                <a:gd name="connsiteX3" fmla="*/ 22150 w 125002"/>
                <a:gd name="connsiteY3" fmla="*/ 178153 h 175003"/>
                <a:gd name="connsiteX4" fmla="*/ 0 w 125002"/>
                <a:gd name="connsiteY4" fmla="*/ 178153 h 175003"/>
                <a:gd name="connsiteX5" fmla="*/ 0 w 125002"/>
                <a:gd name="connsiteY5" fmla="*/ 0 h 175003"/>
                <a:gd name="connsiteX6" fmla="*/ 71551 w 125002"/>
                <a:gd name="connsiteY6" fmla="*/ 0 h 175003"/>
                <a:gd name="connsiteX7" fmla="*/ 127353 w 125002"/>
                <a:gd name="connsiteY7" fmla="*/ 53701 h 175003"/>
                <a:gd name="connsiteX8" fmla="*/ 81152 w 125002"/>
                <a:gd name="connsiteY8" fmla="*/ 105502 h 175003"/>
                <a:gd name="connsiteX9" fmla="*/ 129203 w 125002"/>
                <a:gd name="connsiteY9" fmla="*/ 178153 h 175003"/>
                <a:gd name="connsiteX10" fmla="*/ 103052 w 125002"/>
                <a:gd name="connsiteY10" fmla="*/ 178153 h 175003"/>
                <a:gd name="connsiteX11" fmla="*/ 104402 w 125002"/>
                <a:gd name="connsiteY11" fmla="*/ 53701 h 175003"/>
                <a:gd name="connsiteX12" fmla="*/ 68901 w 125002"/>
                <a:gd name="connsiteY12" fmla="*/ 19800 h 175003"/>
                <a:gd name="connsiteX13" fmla="*/ 22150 w 125002"/>
                <a:gd name="connsiteY13" fmla="*/ 19800 h 175003"/>
                <a:gd name="connsiteX14" fmla="*/ 22150 w 125002"/>
                <a:gd name="connsiteY14" fmla="*/ 87902 h 175003"/>
                <a:gd name="connsiteX15" fmla="*/ 68901 w 125002"/>
                <a:gd name="connsiteY15" fmla="*/ 87902 h 175003"/>
                <a:gd name="connsiteX16" fmla="*/ 104402 w 125002"/>
                <a:gd name="connsiteY16" fmla="*/ 53701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002" h="175003">
                  <a:moveTo>
                    <a:pt x="103052" y="178153"/>
                  </a:moveTo>
                  <a:lnTo>
                    <a:pt x="57651" y="107402"/>
                  </a:lnTo>
                  <a:lnTo>
                    <a:pt x="22150" y="107402"/>
                  </a:lnTo>
                  <a:lnTo>
                    <a:pt x="22150" y="178153"/>
                  </a:lnTo>
                  <a:lnTo>
                    <a:pt x="0" y="178153"/>
                  </a:lnTo>
                  <a:lnTo>
                    <a:pt x="0" y="0"/>
                  </a:lnTo>
                  <a:lnTo>
                    <a:pt x="71551" y="0"/>
                  </a:lnTo>
                  <a:cubicBezTo>
                    <a:pt x="104152" y="0"/>
                    <a:pt x="127353" y="20850"/>
                    <a:pt x="127353" y="53701"/>
                  </a:cubicBezTo>
                  <a:cubicBezTo>
                    <a:pt x="127353" y="85752"/>
                    <a:pt x="105452" y="103352"/>
                    <a:pt x="81152" y="105502"/>
                  </a:cubicBezTo>
                  <a:lnTo>
                    <a:pt x="129203" y="178153"/>
                  </a:lnTo>
                  <a:lnTo>
                    <a:pt x="103052" y="178153"/>
                  </a:lnTo>
                  <a:close/>
                  <a:moveTo>
                    <a:pt x="104402" y="53701"/>
                  </a:moveTo>
                  <a:cubicBezTo>
                    <a:pt x="104402" y="33651"/>
                    <a:pt x="90002" y="19800"/>
                    <a:pt x="68901" y="19800"/>
                  </a:cubicBezTo>
                  <a:lnTo>
                    <a:pt x="22150" y="19800"/>
                  </a:lnTo>
                  <a:lnTo>
                    <a:pt x="22150" y="87902"/>
                  </a:lnTo>
                  <a:lnTo>
                    <a:pt x="68901" y="87902"/>
                  </a:lnTo>
                  <a:cubicBezTo>
                    <a:pt x="89952" y="87902"/>
                    <a:pt x="104402" y="73751"/>
                    <a:pt x="104402" y="53701"/>
                  </a:cubicBezTo>
                  <a:close/>
                </a:path>
              </a:pathLst>
            </a:custGeom>
            <a:grpFill/>
            <a:ln w="4982"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9" name="Freeform: Shape 8">
              <a:extLst>
                <a:ext uri="{FF2B5EF4-FFF2-40B4-BE49-F238E27FC236}">
                  <a16:creationId xmlns:a16="http://schemas.microsoft.com/office/drawing/2014/main" id="{A7A4A1B4-0870-4BBE-B82A-61D5AECCBB73}"/>
                </a:ext>
              </a:extLst>
            </p:cNvPr>
            <p:cNvSpPr/>
            <p:nvPr/>
          </p:nvSpPr>
          <p:spPr>
            <a:xfrm>
              <a:off x="11424193" y="479773"/>
              <a:ext cx="125003" cy="175003"/>
            </a:xfrm>
            <a:custGeom>
              <a:avLst/>
              <a:gdLst>
                <a:gd name="connsiteX0" fmla="*/ 103052 w 125002"/>
                <a:gd name="connsiteY0" fmla="*/ 178153 h 175003"/>
                <a:gd name="connsiteX1" fmla="*/ 57651 w 125002"/>
                <a:gd name="connsiteY1" fmla="*/ 107402 h 175003"/>
                <a:gd name="connsiteX2" fmla="*/ 22150 w 125002"/>
                <a:gd name="connsiteY2" fmla="*/ 107402 h 175003"/>
                <a:gd name="connsiteX3" fmla="*/ 22150 w 125002"/>
                <a:gd name="connsiteY3" fmla="*/ 178153 h 175003"/>
                <a:gd name="connsiteX4" fmla="*/ 0 w 125002"/>
                <a:gd name="connsiteY4" fmla="*/ 178153 h 175003"/>
                <a:gd name="connsiteX5" fmla="*/ 0 w 125002"/>
                <a:gd name="connsiteY5" fmla="*/ 0 h 175003"/>
                <a:gd name="connsiteX6" fmla="*/ 71551 w 125002"/>
                <a:gd name="connsiteY6" fmla="*/ 0 h 175003"/>
                <a:gd name="connsiteX7" fmla="*/ 127353 w 125002"/>
                <a:gd name="connsiteY7" fmla="*/ 53701 h 175003"/>
                <a:gd name="connsiteX8" fmla="*/ 81152 w 125002"/>
                <a:gd name="connsiteY8" fmla="*/ 105502 h 175003"/>
                <a:gd name="connsiteX9" fmla="*/ 129203 w 125002"/>
                <a:gd name="connsiteY9" fmla="*/ 178153 h 175003"/>
                <a:gd name="connsiteX10" fmla="*/ 103052 w 125002"/>
                <a:gd name="connsiteY10" fmla="*/ 178153 h 175003"/>
                <a:gd name="connsiteX11" fmla="*/ 104352 w 125002"/>
                <a:gd name="connsiteY11" fmla="*/ 53701 h 175003"/>
                <a:gd name="connsiteX12" fmla="*/ 68851 w 125002"/>
                <a:gd name="connsiteY12" fmla="*/ 19800 h 175003"/>
                <a:gd name="connsiteX13" fmla="*/ 22100 w 125002"/>
                <a:gd name="connsiteY13" fmla="*/ 19800 h 175003"/>
                <a:gd name="connsiteX14" fmla="*/ 22100 w 125002"/>
                <a:gd name="connsiteY14" fmla="*/ 87902 h 175003"/>
                <a:gd name="connsiteX15" fmla="*/ 68851 w 125002"/>
                <a:gd name="connsiteY15" fmla="*/ 87902 h 175003"/>
                <a:gd name="connsiteX16" fmla="*/ 104352 w 125002"/>
                <a:gd name="connsiteY16" fmla="*/ 53701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002" h="175003">
                  <a:moveTo>
                    <a:pt x="103052" y="178153"/>
                  </a:moveTo>
                  <a:lnTo>
                    <a:pt x="57651" y="107402"/>
                  </a:lnTo>
                  <a:lnTo>
                    <a:pt x="22150" y="107402"/>
                  </a:lnTo>
                  <a:lnTo>
                    <a:pt x="22150" y="178153"/>
                  </a:lnTo>
                  <a:lnTo>
                    <a:pt x="0" y="178153"/>
                  </a:lnTo>
                  <a:lnTo>
                    <a:pt x="0" y="0"/>
                  </a:lnTo>
                  <a:lnTo>
                    <a:pt x="71551" y="0"/>
                  </a:lnTo>
                  <a:cubicBezTo>
                    <a:pt x="104152" y="0"/>
                    <a:pt x="127353" y="20850"/>
                    <a:pt x="127353" y="53701"/>
                  </a:cubicBezTo>
                  <a:cubicBezTo>
                    <a:pt x="127353" y="85752"/>
                    <a:pt x="105452" y="103352"/>
                    <a:pt x="81152" y="105502"/>
                  </a:cubicBezTo>
                  <a:lnTo>
                    <a:pt x="129203" y="178153"/>
                  </a:lnTo>
                  <a:lnTo>
                    <a:pt x="103052" y="178153"/>
                  </a:lnTo>
                  <a:close/>
                  <a:moveTo>
                    <a:pt x="104352" y="53701"/>
                  </a:moveTo>
                  <a:cubicBezTo>
                    <a:pt x="104352" y="33651"/>
                    <a:pt x="89952" y="19800"/>
                    <a:pt x="68851" y="19800"/>
                  </a:cubicBezTo>
                  <a:lnTo>
                    <a:pt x="22100" y="19800"/>
                  </a:lnTo>
                  <a:lnTo>
                    <a:pt x="22100" y="87902"/>
                  </a:lnTo>
                  <a:lnTo>
                    <a:pt x="68851" y="87902"/>
                  </a:lnTo>
                  <a:cubicBezTo>
                    <a:pt x="89952" y="87902"/>
                    <a:pt x="104352" y="73751"/>
                    <a:pt x="104352" y="53701"/>
                  </a:cubicBezTo>
                  <a:close/>
                </a:path>
              </a:pathLst>
            </a:custGeom>
            <a:grpFill/>
            <a:ln w="4982"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0" name="Freeform: Shape 9">
              <a:extLst>
                <a:ext uri="{FF2B5EF4-FFF2-40B4-BE49-F238E27FC236}">
                  <a16:creationId xmlns:a16="http://schemas.microsoft.com/office/drawing/2014/main" id="{209CE717-BD48-49E0-A9D3-5ECB6260F6B0}"/>
                </a:ext>
              </a:extLst>
            </p:cNvPr>
            <p:cNvSpPr/>
            <p:nvPr/>
          </p:nvSpPr>
          <p:spPr>
            <a:xfrm>
              <a:off x="11648197" y="479773"/>
              <a:ext cx="170004" cy="175003"/>
            </a:xfrm>
            <a:custGeom>
              <a:avLst/>
              <a:gdLst>
                <a:gd name="connsiteX0" fmla="*/ 145503 w 170003"/>
                <a:gd name="connsiteY0" fmla="*/ 178153 h 175003"/>
                <a:gd name="connsiteX1" fmla="*/ 129753 w 170003"/>
                <a:gd name="connsiteY1" fmla="*/ 138653 h 175003"/>
                <a:gd name="connsiteX2" fmla="*/ 41101 w 170003"/>
                <a:gd name="connsiteY2" fmla="*/ 138653 h 175003"/>
                <a:gd name="connsiteX3" fmla="*/ 25351 w 170003"/>
                <a:gd name="connsiteY3" fmla="*/ 178153 h 175003"/>
                <a:gd name="connsiteX4" fmla="*/ 0 w 170003"/>
                <a:gd name="connsiteY4" fmla="*/ 178153 h 175003"/>
                <a:gd name="connsiteX5" fmla="*/ 71502 w 170003"/>
                <a:gd name="connsiteY5" fmla="*/ 0 h 175003"/>
                <a:gd name="connsiteX6" fmla="*/ 99002 w 170003"/>
                <a:gd name="connsiteY6" fmla="*/ 0 h 175003"/>
                <a:gd name="connsiteX7" fmla="*/ 170854 w 170003"/>
                <a:gd name="connsiteY7" fmla="*/ 178103 h 175003"/>
                <a:gd name="connsiteX8" fmla="*/ 145503 w 170003"/>
                <a:gd name="connsiteY8" fmla="*/ 178103 h 175003"/>
                <a:gd name="connsiteX9" fmla="*/ 85402 w 170003"/>
                <a:gd name="connsiteY9" fmla="*/ 23000 h 175003"/>
                <a:gd name="connsiteX10" fmla="*/ 47501 w 170003"/>
                <a:gd name="connsiteY10" fmla="*/ 118852 h 175003"/>
                <a:gd name="connsiteX11" fmla="*/ 123103 w 170003"/>
                <a:gd name="connsiteY11" fmla="*/ 118852 h 175003"/>
                <a:gd name="connsiteX12" fmla="*/ 85402 w 170003"/>
                <a:gd name="connsiteY12" fmla="*/ 23000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0003" h="175003">
                  <a:moveTo>
                    <a:pt x="145503" y="178153"/>
                  </a:moveTo>
                  <a:lnTo>
                    <a:pt x="129753" y="138653"/>
                  </a:lnTo>
                  <a:lnTo>
                    <a:pt x="41101" y="138653"/>
                  </a:lnTo>
                  <a:lnTo>
                    <a:pt x="25351" y="178153"/>
                  </a:lnTo>
                  <a:lnTo>
                    <a:pt x="0" y="178153"/>
                  </a:lnTo>
                  <a:lnTo>
                    <a:pt x="71502" y="0"/>
                  </a:lnTo>
                  <a:lnTo>
                    <a:pt x="99002" y="0"/>
                  </a:lnTo>
                  <a:lnTo>
                    <a:pt x="170854" y="178103"/>
                  </a:lnTo>
                  <a:lnTo>
                    <a:pt x="145503" y="178103"/>
                  </a:lnTo>
                  <a:close/>
                  <a:moveTo>
                    <a:pt x="85402" y="23000"/>
                  </a:moveTo>
                  <a:lnTo>
                    <a:pt x="47501" y="118852"/>
                  </a:lnTo>
                  <a:lnTo>
                    <a:pt x="123103" y="118852"/>
                  </a:lnTo>
                  <a:lnTo>
                    <a:pt x="85402" y="23000"/>
                  </a:lnTo>
                  <a:close/>
                </a:path>
              </a:pathLst>
            </a:custGeom>
            <a:grpFill/>
            <a:ln w="4982"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 name="Freeform: Shape 10">
              <a:extLst>
                <a:ext uri="{FF2B5EF4-FFF2-40B4-BE49-F238E27FC236}">
                  <a16:creationId xmlns:a16="http://schemas.microsoft.com/office/drawing/2014/main" id="{6C710FC0-D2DF-48E8-BC7F-F673B11235F8}"/>
                </a:ext>
              </a:extLst>
            </p:cNvPr>
            <p:cNvSpPr/>
            <p:nvPr/>
          </p:nvSpPr>
          <p:spPr>
            <a:xfrm>
              <a:off x="11094836" y="465323"/>
              <a:ext cx="200004" cy="145003"/>
            </a:xfrm>
            <a:custGeom>
              <a:avLst/>
              <a:gdLst>
                <a:gd name="connsiteX0" fmla="*/ 64701 w 200004"/>
                <a:gd name="connsiteY0" fmla="*/ 131853 h 145002"/>
                <a:gd name="connsiteX1" fmla="*/ 23001 w 200004"/>
                <a:gd name="connsiteY1" fmla="*/ 133703 h 145002"/>
                <a:gd name="connsiteX2" fmla="*/ 83552 w 200004"/>
                <a:gd name="connsiteY2" fmla="*/ 123802 h 145002"/>
                <a:gd name="connsiteX3" fmla="*/ 36401 w 200004"/>
                <a:gd name="connsiteY3" fmla="*/ 96452 h 145002"/>
                <a:gd name="connsiteX4" fmla="*/ 91652 w 200004"/>
                <a:gd name="connsiteY4" fmla="*/ 118852 h 145002"/>
                <a:gd name="connsiteX5" fmla="*/ 76352 w 200004"/>
                <a:gd name="connsiteY5" fmla="*/ 88152 h 145002"/>
                <a:gd name="connsiteX6" fmla="*/ 98002 w 200004"/>
                <a:gd name="connsiteY6" fmla="*/ 116402 h 145002"/>
                <a:gd name="connsiteX7" fmla="*/ 100952 w 200004"/>
                <a:gd name="connsiteY7" fmla="*/ 54551 h 145002"/>
                <a:gd name="connsiteX8" fmla="*/ 104252 w 200004"/>
                <a:gd name="connsiteY8" fmla="*/ 116402 h 145002"/>
                <a:gd name="connsiteX9" fmla="*/ 126453 w 200004"/>
                <a:gd name="connsiteY9" fmla="*/ 88152 h 145002"/>
                <a:gd name="connsiteX10" fmla="*/ 110602 w 200004"/>
                <a:gd name="connsiteY10" fmla="*/ 118852 h 145002"/>
                <a:gd name="connsiteX11" fmla="*/ 165853 w 200004"/>
                <a:gd name="connsiteY11" fmla="*/ 96552 h 145002"/>
                <a:gd name="connsiteX12" fmla="*/ 118703 w 200004"/>
                <a:gd name="connsiteY12" fmla="*/ 123902 h 145002"/>
                <a:gd name="connsiteX13" fmla="*/ 178854 w 200004"/>
                <a:gd name="connsiteY13" fmla="*/ 134003 h 145002"/>
                <a:gd name="connsiteX14" fmla="*/ 138703 w 200004"/>
                <a:gd name="connsiteY14" fmla="*/ 132053 h 145002"/>
                <a:gd name="connsiteX15" fmla="*/ 190304 w 200004"/>
                <a:gd name="connsiteY15" fmla="*/ 149703 h 145002"/>
                <a:gd name="connsiteX16" fmla="*/ 202704 w 200004"/>
                <a:gd name="connsiteY16" fmla="*/ 101352 h 145002"/>
                <a:gd name="connsiteX17" fmla="*/ 101352 w 200004"/>
                <a:gd name="connsiteY17" fmla="*/ 0 h 145002"/>
                <a:gd name="connsiteX18" fmla="*/ 0 w 200004"/>
                <a:gd name="connsiteY18" fmla="*/ 101352 h 145002"/>
                <a:gd name="connsiteX19" fmla="*/ 12300 w 200004"/>
                <a:gd name="connsiteY19" fmla="*/ 149503 h 145002"/>
                <a:gd name="connsiteX20" fmla="*/ 64701 w 200004"/>
                <a:gd name="connsiteY20" fmla="*/ 131853 h 14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0004" h="145002">
                  <a:moveTo>
                    <a:pt x="64701" y="131853"/>
                  </a:moveTo>
                  <a:lnTo>
                    <a:pt x="23001" y="133703"/>
                  </a:lnTo>
                  <a:lnTo>
                    <a:pt x="83552" y="123802"/>
                  </a:lnTo>
                  <a:lnTo>
                    <a:pt x="36401" y="96452"/>
                  </a:lnTo>
                  <a:lnTo>
                    <a:pt x="91652" y="118852"/>
                  </a:lnTo>
                  <a:lnTo>
                    <a:pt x="76352" y="88152"/>
                  </a:lnTo>
                  <a:lnTo>
                    <a:pt x="98002" y="116402"/>
                  </a:lnTo>
                  <a:lnTo>
                    <a:pt x="100952" y="54551"/>
                  </a:lnTo>
                  <a:lnTo>
                    <a:pt x="104252" y="116402"/>
                  </a:lnTo>
                  <a:lnTo>
                    <a:pt x="126453" y="88152"/>
                  </a:lnTo>
                  <a:lnTo>
                    <a:pt x="110602" y="118852"/>
                  </a:lnTo>
                  <a:lnTo>
                    <a:pt x="165853" y="96552"/>
                  </a:lnTo>
                  <a:lnTo>
                    <a:pt x="118703" y="123902"/>
                  </a:lnTo>
                  <a:lnTo>
                    <a:pt x="178854" y="134003"/>
                  </a:lnTo>
                  <a:lnTo>
                    <a:pt x="138703" y="132053"/>
                  </a:lnTo>
                  <a:cubicBezTo>
                    <a:pt x="157503" y="135453"/>
                    <a:pt x="175004" y="141453"/>
                    <a:pt x="190304" y="149703"/>
                  </a:cubicBezTo>
                  <a:cubicBezTo>
                    <a:pt x="198154" y="135353"/>
                    <a:pt x="202704" y="118902"/>
                    <a:pt x="202704" y="101352"/>
                  </a:cubicBezTo>
                  <a:cubicBezTo>
                    <a:pt x="202704" y="45401"/>
                    <a:pt x="157303" y="0"/>
                    <a:pt x="101352" y="0"/>
                  </a:cubicBezTo>
                  <a:cubicBezTo>
                    <a:pt x="45401" y="0"/>
                    <a:pt x="0" y="45401"/>
                    <a:pt x="0" y="101352"/>
                  </a:cubicBezTo>
                  <a:cubicBezTo>
                    <a:pt x="0" y="118802"/>
                    <a:pt x="4500" y="135203"/>
                    <a:pt x="12300" y="149503"/>
                  </a:cubicBezTo>
                  <a:cubicBezTo>
                    <a:pt x="27801" y="141253"/>
                    <a:pt x="45551" y="135203"/>
                    <a:pt x="64701" y="131853"/>
                  </a:cubicBezTo>
                  <a:close/>
                </a:path>
              </a:pathLst>
            </a:custGeom>
            <a:grpFill/>
            <a:ln w="4982"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2" name="Freeform: Shape 11">
              <a:extLst>
                <a:ext uri="{FF2B5EF4-FFF2-40B4-BE49-F238E27FC236}">
                  <a16:creationId xmlns:a16="http://schemas.microsoft.com/office/drawing/2014/main" id="{D8A2B092-7D7A-4810-80B7-8329AB797CD4}"/>
                </a:ext>
              </a:extLst>
            </p:cNvPr>
            <p:cNvSpPr/>
            <p:nvPr/>
          </p:nvSpPr>
          <p:spPr>
            <a:xfrm>
              <a:off x="11083285" y="599026"/>
              <a:ext cx="225005" cy="65001"/>
            </a:xfrm>
            <a:custGeom>
              <a:avLst/>
              <a:gdLst>
                <a:gd name="connsiteX0" fmla="*/ 225305 w 225004"/>
                <a:gd name="connsiteY0" fmla="*/ 38501 h 65001"/>
                <a:gd name="connsiteX1" fmla="*/ 112652 w 225004"/>
                <a:gd name="connsiteY1" fmla="*/ 0 h 65001"/>
                <a:gd name="connsiteX2" fmla="*/ 0 w 225004"/>
                <a:gd name="connsiteY2" fmla="*/ 38501 h 65001"/>
                <a:gd name="connsiteX3" fmla="*/ 32251 w 225004"/>
                <a:gd name="connsiteY3" fmla="*/ 28951 h 65001"/>
                <a:gd name="connsiteX4" fmla="*/ 112802 w 225004"/>
                <a:gd name="connsiteY4" fmla="*/ 69001 h 65001"/>
                <a:gd name="connsiteX5" fmla="*/ 193304 w 225004"/>
                <a:gd name="connsiteY5" fmla="*/ 29051 h 65001"/>
                <a:gd name="connsiteX6" fmla="*/ 225305 w 225004"/>
                <a:gd name="connsiteY6" fmla="*/ 38501 h 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004" h="65001">
                  <a:moveTo>
                    <a:pt x="225305" y="38501"/>
                  </a:moveTo>
                  <a:cubicBezTo>
                    <a:pt x="199904" y="15150"/>
                    <a:pt x="158903" y="0"/>
                    <a:pt x="112652" y="0"/>
                  </a:cubicBezTo>
                  <a:cubicBezTo>
                    <a:pt x="66401" y="0"/>
                    <a:pt x="25451" y="15150"/>
                    <a:pt x="0" y="38501"/>
                  </a:cubicBezTo>
                  <a:cubicBezTo>
                    <a:pt x="10000" y="34801"/>
                    <a:pt x="20850" y="31651"/>
                    <a:pt x="32251" y="28951"/>
                  </a:cubicBezTo>
                  <a:cubicBezTo>
                    <a:pt x="50751" y="53251"/>
                    <a:pt x="79902" y="69001"/>
                    <a:pt x="112802" y="69001"/>
                  </a:cubicBezTo>
                  <a:cubicBezTo>
                    <a:pt x="145653" y="69001"/>
                    <a:pt x="174804" y="53301"/>
                    <a:pt x="193304" y="29051"/>
                  </a:cubicBezTo>
                  <a:cubicBezTo>
                    <a:pt x="204604" y="31751"/>
                    <a:pt x="215355" y="34851"/>
                    <a:pt x="225305" y="38501"/>
                  </a:cubicBezTo>
                  <a:close/>
                </a:path>
              </a:pathLst>
            </a:custGeom>
            <a:grpFill/>
            <a:ln w="4982"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13" name="Text Placeholder 2">
            <a:extLst>
              <a:ext uri="{FF2B5EF4-FFF2-40B4-BE49-F238E27FC236}">
                <a16:creationId xmlns:a16="http://schemas.microsoft.com/office/drawing/2014/main" id="{4385B810-D51F-480F-99F0-CF5EDD196369}"/>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6" name="Text Placeholder 5">
            <a:extLst>
              <a:ext uri="{FF2B5EF4-FFF2-40B4-BE49-F238E27FC236}">
                <a16:creationId xmlns:a16="http://schemas.microsoft.com/office/drawing/2014/main" id="{99298B8F-4BE3-4951-998C-9CFA975CB237}"/>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E3D4CD55-9B84-46C1-A69B-246D06DB9777}"/>
              </a:ext>
            </a:extLst>
          </p:cNvPr>
          <p:cNvSpPr>
            <a:spLocks noGrp="1"/>
          </p:cNvSpPr>
          <p:nvPr>
            <p:ph type="body" sz="quarter" idx="33"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0622481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Key fac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18898908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381601" y="411856"/>
            <a:ext cx="8601074" cy="609398"/>
          </a:xfrm>
        </p:spPr>
        <p:txBody>
          <a:bodyPr vert="horz" lIns="0" tIns="0" rIns="0" bIns="0" rtlCol="0" anchor="t" anchorCtr="0">
            <a:noAutofit/>
          </a:bodyPr>
          <a:lstStyle>
            <a:lvl1pPr>
              <a:defRPr lang="en-GB" dirty="0">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marL="0" lvl="0"/>
            <a:r>
              <a:rPr lang="en-GB"/>
              <a:t>Click to edit Master title style</a:t>
            </a:r>
            <a:br>
              <a:rPr lang="en-GB"/>
            </a:br>
            <a:endParaRPr lang="en-GB"/>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2755"/>
            <a:ext cx="8601074"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4" name="Text Placeholder 4">
            <a:extLst>
              <a:ext uri="{FF2B5EF4-FFF2-40B4-BE49-F238E27FC236}">
                <a16:creationId xmlns:a16="http://schemas.microsoft.com/office/drawing/2014/main" id="{32BAE579-0324-4306-9E4A-CEFBFBCF8241}"/>
              </a:ext>
            </a:extLst>
          </p:cNvPr>
          <p:cNvSpPr>
            <a:spLocks noGrp="1"/>
          </p:cNvSpPr>
          <p:nvPr>
            <p:ph type="body" sz="quarter" idx="29" hasCustomPrompt="1"/>
          </p:nvPr>
        </p:nvSpPr>
        <p:spPr>
          <a:xfrm>
            <a:off x="381000" y="1263129"/>
            <a:ext cx="8601074"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lvl="0"/>
            <a:r>
              <a:rPr lang="en-GB"/>
              <a:t>(max. 2 lines)</a:t>
            </a:r>
          </a:p>
        </p:txBody>
      </p:sp>
      <p:sp>
        <p:nvSpPr>
          <p:cNvPr id="18" name="372d6bc3-9354-4d6b-957c-e6191d9c64fa">
            <a:extLst>
              <a:ext uri="{FF2B5EF4-FFF2-40B4-BE49-F238E27FC236}">
                <a16:creationId xmlns:a16="http://schemas.microsoft.com/office/drawing/2014/main" id="{98045FE0-93EF-4C6C-97B7-815398D71268}"/>
              </a:ext>
            </a:extLst>
          </p:cNvPr>
          <p:cNvSpPr/>
          <p:nvPr/>
        </p:nvSpPr>
        <p:spPr>
          <a:xfrm flipV="1">
            <a:off x="9220201" y="2"/>
            <a:ext cx="2971799" cy="6857998"/>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24" name="f454b7a7-e679-4423-93fd-eb5c8cfdb3ea">
            <a:extLst>
              <a:ext uri="{FF2B5EF4-FFF2-40B4-BE49-F238E27FC236}">
                <a16:creationId xmlns:a16="http://schemas.microsoft.com/office/drawing/2014/main" id="{9214D2F2-E3DD-4C51-B731-AD5FD781FBE4}"/>
              </a:ext>
            </a:extLst>
          </p:cNvPr>
          <p:cNvGrpSpPr>
            <a:grpSpLocks/>
          </p:cNvGrpSpPr>
          <p:nvPr/>
        </p:nvGrpSpPr>
        <p:grpSpPr>
          <a:xfrm>
            <a:off x="10315575" y="467242"/>
            <a:ext cx="1495425" cy="200915"/>
            <a:chOff x="4412270" y="5962497"/>
            <a:chExt cx="3840163" cy="515938"/>
          </a:xfrm>
        </p:grpSpPr>
        <p:sp>
          <p:nvSpPr>
            <p:cNvPr id="25" name="Freeform 7">
              <a:extLst>
                <a:ext uri="{FF2B5EF4-FFF2-40B4-BE49-F238E27FC236}">
                  <a16:creationId xmlns:a16="http://schemas.microsoft.com/office/drawing/2014/main" id="{8DA25A64-39FC-4C9F-B34F-88CF573E36B4}"/>
                </a:ext>
              </a:extLst>
            </p:cNvPr>
            <p:cNvSpPr>
              <a:spLocks noEditPoints="1"/>
            </p:cNvSpPr>
            <p:nvPr/>
          </p:nvSpPr>
          <p:spPr bwMode="auto">
            <a:xfrm>
              <a:off x="4412270" y="6000597"/>
              <a:ext cx="433388" cy="452438"/>
            </a:xfrm>
            <a:custGeom>
              <a:avLst/>
              <a:gdLst>
                <a:gd name="T0" fmla="*/ 273 w 547"/>
                <a:gd name="T1" fmla="*/ 73 h 570"/>
                <a:gd name="T2" fmla="*/ 153 w 547"/>
                <a:gd name="T3" fmla="*/ 381 h 570"/>
                <a:gd name="T4" fmla="*/ 394 w 547"/>
                <a:gd name="T5" fmla="*/ 381 h 570"/>
                <a:gd name="T6" fmla="*/ 273 w 547"/>
                <a:gd name="T7" fmla="*/ 73 h 570"/>
                <a:gd name="T8" fmla="*/ 229 w 547"/>
                <a:gd name="T9" fmla="*/ 0 h 570"/>
                <a:gd name="T10" fmla="*/ 317 w 547"/>
                <a:gd name="T11" fmla="*/ 0 h 570"/>
                <a:gd name="T12" fmla="*/ 547 w 547"/>
                <a:gd name="T13" fmla="*/ 570 h 570"/>
                <a:gd name="T14" fmla="*/ 466 w 547"/>
                <a:gd name="T15" fmla="*/ 570 h 570"/>
                <a:gd name="T16" fmla="*/ 416 w 547"/>
                <a:gd name="T17" fmla="*/ 444 h 570"/>
                <a:gd name="T18" fmla="*/ 132 w 547"/>
                <a:gd name="T19" fmla="*/ 444 h 570"/>
                <a:gd name="T20" fmla="*/ 81 w 547"/>
                <a:gd name="T21" fmla="*/ 570 h 570"/>
                <a:gd name="T22" fmla="*/ 0 w 547"/>
                <a:gd name="T23" fmla="*/ 570 h 570"/>
                <a:gd name="T24" fmla="*/ 229 w 547"/>
                <a:gd name="T25"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7" h="570">
                  <a:moveTo>
                    <a:pt x="273" y="73"/>
                  </a:moveTo>
                  <a:lnTo>
                    <a:pt x="153" y="381"/>
                  </a:lnTo>
                  <a:lnTo>
                    <a:pt x="394" y="381"/>
                  </a:lnTo>
                  <a:lnTo>
                    <a:pt x="273" y="73"/>
                  </a:lnTo>
                  <a:close/>
                  <a:moveTo>
                    <a:pt x="229" y="0"/>
                  </a:moveTo>
                  <a:lnTo>
                    <a:pt x="317" y="0"/>
                  </a:lnTo>
                  <a:lnTo>
                    <a:pt x="547" y="570"/>
                  </a:lnTo>
                  <a:lnTo>
                    <a:pt x="466" y="570"/>
                  </a:lnTo>
                  <a:lnTo>
                    <a:pt x="416" y="444"/>
                  </a:lnTo>
                  <a:lnTo>
                    <a:pt x="132" y="444"/>
                  </a:lnTo>
                  <a:lnTo>
                    <a:pt x="81" y="570"/>
                  </a:lnTo>
                  <a:lnTo>
                    <a:pt x="0" y="570"/>
                  </a:lnTo>
                  <a:lnTo>
                    <a:pt x="22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6" name="Freeform 8">
              <a:extLst>
                <a:ext uri="{FF2B5EF4-FFF2-40B4-BE49-F238E27FC236}">
                  <a16:creationId xmlns:a16="http://schemas.microsoft.com/office/drawing/2014/main" id="{F5F38BAC-8001-4808-A809-064C9183B318}"/>
                </a:ext>
              </a:extLst>
            </p:cNvPr>
            <p:cNvSpPr>
              <a:spLocks/>
            </p:cNvSpPr>
            <p:nvPr/>
          </p:nvSpPr>
          <p:spPr bwMode="auto">
            <a:xfrm>
              <a:off x="5091720" y="6000597"/>
              <a:ext cx="368300" cy="460375"/>
            </a:xfrm>
            <a:custGeom>
              <a:avLst/>
              <a:gdLst>
                <a:gd name="T0" fmla="*/ 0 w 466"/>
                <a:gd name="T1" fmla="*/ 0 h 581"/>
                <a:gd name="T2" fmla="*/ 71 w 466"/>
                <a:gd name="T3" fmla="*/ 0 h 581"/>
                <a:gd name="T4" fmla="*/ 71 w 466"/>
                <a:gd name="T5" fmla="*/ 347 h 581"/>
                <a:gd name="T6" fmla="*/ 73 w 466"/>
                <a:gd name="T7" fmla="*/ 384 h 581"/>
                <a:gd name="T8" fmla="*/ 82 w 466"/>
                <a:gd name="T9" fmla="*/ 417 h 581"/>
                <a:gd name="T10" fmla="*/ 94 w 466"/>
                <a:gd name="T11" fmla="*/ 447 h 581"/>
                <a:gd name="T12" fmla="*/ 113 w 466"/>
                <a:gd name="T13" fmla="*/ 470 h 581"/>
                <a:gd name="T14" fmla="*/ 135 w 466"/>
                <a:gd name="T15" fmla="*/ 491 h 581"/>
                <a:gd name="T16" fmla="*/ 163 w 466"/>
                <a:gd name="T17" fmla="*/ 506 h 581"/>
                <a:gd name="T18" fmla="*/ 195 w 466"/>
                <a:gd name="T19" fmla="*/ 514 h 581"/>
                <a:gd name="T20" fmla="*/ 232 w 466"/>
                <a:gd name="T21" fmla="*/ 517 h 581"/>
                <a:gd name="T22" fmla="*/ 270 w 466"/>
                <a:gd name="T23" fmla="*/ 514 h 581"/>
                <a:gd name="T24" fmla="*/ 303 w 466"/>
                <a:gd name="T25" fmla="*/ 506 h 581"/>
                <a:gd name="T26" fmla="*/ 331 w 466"/>
                <a:gd name="T27" fmla="*/ 491 h 581"/>
                <a:gd name="T28" fmla="*/ 353 w 466"/>
                <a:gd name="T29" fmla="*/ 470 h 581"/>
                <a:gd name="T30" fmla="*/ 370 w 466"/>
                <a:gd name="T31" fmla="*/ 447 h 581"/>
                <a:gd name="T32" fmla="*/ 383 w 466"/>
                <a:gd name="T33" fmla="*/ 417 h 581"/>
                <a:gd name="T34" fmla="*/ 392 w 466"/>
                <a:gd name="T35" fmla="*/ 384 h 581"/>
                <a:gd name="T36" fmla="*/ 394 w 466"/>
                <a:gd name="T37" fmla="*/ 347 h 581"/>
                <a:gd name="T38" fmla="*/ 394 w 466"/>
                <a:gd name="T39" fmla="*/ 0 h 581"/>
                <a:gd name="T40" fmla="*/ 466 w 466"/>
                <a:gd name="T41" fmla="*/ 0 h 581"/>
                <a:gd name="T42" fmla="*/ 466 w 466"/>
                <a:gd name="T43" fmla="*/ 347 h 581"/>
                <a:gd name="T44" fmla="*/ 463 w 466"/>
                <a:gd name="T45" fmla="*/ 388 h 581"/>
                <a:gd name="T46" fmla="*/ 455 w 466"/>
                <a:gd name="T47" fmla="*/ 426 h 581"/>
                <a:gd name="T48" fmla="*/ 444 w 466"/>
                <a:gd name="T49" fmla="*/ 460 h 581"/>
                <a:gd name="T50" fmla="*/ 428 w 466"/>
                <a:gd name="T51" fmla="*/ 491 h 581"/>
                <a:gd name="T52" fmla="*/ 407 w 466"/>
                <a:gd name="T53" fmla="*/ 517 h 581"/>
                <a:gd name="T54" fmla="*/ 382 w 466"/>
                <a:gd name="T55" fmla="*/ 539 h 581"/>
                <a:gd name="T56" fmla="*/ 351 w 466"/>
                <a:gd name="T57" fmla="*/ 557 h 581"/>
                <a:gd name="T58" fmla="*/ 316 w 466"/>
                <a:gd name="T59" fmla="*/ 570 h 581"/>
                <a:gd name="T60" fmla="*/ 276 w 466"/>
                <a:gd name="T61" fmla="*/ 578 h 581"/>
                <a:gd name="T62" fmla="*/ 232 w 466"/>
                <a:gd name="T63" fmla="*/ 581 h 581"/>
                <a:gd name="T64" fmla="*/ 188 w 466"/>
                <a:gd name="T65" fmla="*/ 578 h 581"/>
                <a:gd name="T66" fmla="*/ 148 w 466"/>
                <a:gd name="T67" fmla="*/ 569 h 581"/>
                <a:gd name="T68" fmla="*/ 115 w 466"/>
                <a:gd name="T69" fmla="*/ 557 h 581"/>
                <a:gd name="T70" fmla="*/ 84 w 466"/>
                <a:gd name="T71" fmla="*/ 539 h 581"/>
                <a:gd name="T72" fmla="*/ 59 w 466"/>
                <a:gd name="T73" fmla="*/ 517 h 581"/>
                <a:gd name="T74" fmla="*/ 38 w 466"/>
                <a:gd name="T75" fmla="*/ 491 h 581"/>
                <a:gd name="T76" fmla="*/ 21 w 466"/>
                <a:gd name="T77" fmla="*/ 460 h 581"/>
                <a:gd name="T78" fmla="*/ 9 w 466"/>
                <a:gd name="T79" fmla="*/ 426 h 581"/>
                <a:gd name="T80" fmla="*/ 3 w 466"/>
                <a:gd name="T81" fmla="*/ 389 h 581"/>
                <a:gd name="T82" fmla="*/ 0 w 466"/>
                <a:gd name="T83" fmla="*/ 348 h 581"/>
                <a:gd name="T84" fmla="*/ 0 w 466"/>
                <a:gd name="T85" fmla="*/ 0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66" h="581">
                  <a:moveTo>
                    <a:pt x="0" y="0"/>
                  </a:moveTo>
                  <a:lnTo>
                    <a:pt x="71" y="0"/>
                  </a:lnTo>
                  <a:lnTo>
                    <a:pt x="71" y="347"/>
                  </a:lnTo>
                  <a:lnTo>
                    <a:pt x="73" y="384"/>
                  </a:lnTo>
                  <a:lnTo>
                    <a:pt x="82" y="417"/>
                  </a:lnTo>
                  <a:lnTo>
                    <a:pt x="94" y="447"/>
                  </a:lnTo>
                  <a:lnTo>
                    <a:pt x="113" y="470"/>
                  </a:lnTo>
                  <a:lnTo>
                    <a:pt x="135" y="491"/>
                  </a:lnTo>
                  <a:lnTo>
                    <a:pt x="163" y="506"/>
                  </a:lnTo>
                  <a:lnTo>
                    <a:pt x="195" y="514"/>
                  </a:lnTo>
                  <a:lnTo>
                    <a:pt x="232" y="517"/>
                  </a:lnTo>
                  <a:lnTo>
                    <a:pt x="270" y="514"/>
                  </a:lnTo>
                  <a:lnTo>
                    <a:pt x="303" y="506"/>
                  </a:lnTo>
                  <a:lnTo>
                    <a:pt x="331" y="491"/>
                  </a:lnTo>
                  <a:lnTo>
                    <a:pt x="353" y="470"/>
                  </a:lnTo>
                  <a:lnTo>
                    <a:pt x="370" y="447"/>
                  </a:lnTo>
                  <a:lnTo>
                    <a:pt x="383" y="417"/>
                  </a:lnTo>
                  <a:lnTo>
                    <a:pt x="392" y="384"/>
                  </a:lnTo>
                  <a:lnTo>
                    <a:pt x="394" y="347"/>
                  </a:lnTo>
                  <a:lnTo>
                    <a:pt x="394" y="0"/>
                  </a:lnTo>
                  <a:lnTo>
                    <a:pt x="466" y="0"/>
                  </a:lnTo>
                  <a:lnTo>
                    <a:pt x="466" y="347"/>
                  </a:lnTo>
                  <a:lnTo>
                    <a:pt x="463" y="388"/>
                  </a:lnTo>
                  <a:lnTo>
                    <a:pt x="455" y="426"/>
                  </a:lnTo>
                  <a:lnTo>
                    <a:pt x="444" y="460"/>
                  </a:lnTo>
                  <a:lnTo>
                    <a:pt x="428" y="491"/>
                  </a:lnTo>
                  <a:lnTo>
                    <a:pt x="407" y="517"/>
                  </a:lnTo>
                  <a:lnTo>
                    <a:pt x="382" y="539"/>
                  </a:lnTo>
                  <a:lnTo>
                    <a:pt x="351" y="557"/>
                  </a:lnTo>
                  <a:lnTo>
                    <a:pt x="316" y="570"/>
                  </a:lnTo>
                  <a:lnTo>
                    <a:pt x="276" y="578"/>
                  </a:lnTo>
                  <a:lnTo>
                    <a:pt x="232" y="581"/>
                  </a:lnTo>
                  <a:lnTo>
                    <a:pt x="188" y="578"/>
                  </a:lnTo>
                  <a:lnTo>
                    <a:pt x="148" y="569"/>
                  </a:lnTo>
                  <a:lnTo>
                    <a:pt x="115" y="557"/>
                  </a:lnTo>
                  <a:lnTo>
                    <a:pt x="84" y="539"/>
                  </a:lnTo>
                  <a:lnTo>
                    <a:pt x="59" y="517"/>
                  </a:lnTo>
                  <a:lnTo>
                    <a:pt x="38" y="491"/>
                  </a:lnTo>
                  <a:lnTo>
                    <a:pt x="21" y="460"/>
                  </a:lnTo>
                  <a:lnTo>
                    <a:pt x="9" y="426"/>
                  </a:lnTo>
                  <a:lnTo>
                    <a:pt x="3" y="389"/>
                  </a:lnTo>
                  <a:lnTo>
                    <a:pt x="0" y="34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0" name="Freeform 9">
              <a:extLst>
                <a:ext uri="{FF2B5EF4-FFF2-40B4-BE49-F238E27FC236}">
                  <a16:creationId xmlns:a16="http://schemas.microsoft.com/office/drawing/2014/main" id="{46C9943F-3D9C-4871-AD7B-1E320FBEB0CA}"/>
                </a:ext>
              </a:extLst>
            </p:cNvPr>
            <p:cNvSpPr>
              <a:spLocks noEditPoints="1"/>
            </p:cNvSpPr>
            <p:nvPr/>
          </p:nvSpPr>
          <p:spPr bwMode="auto">
            <a:xfrm>
              <a:off x="5769583" y="6000597"/>
              <a:ext cx="327025" cy="452438"/>
            </a:xfrm>
            <a:custGeom>
              <a:avLst/>
              <a:gdLst>
                <a:gd name="T0" fmla="*/ 71 w 413"/>
                <a:gd name="T1" fmla="*/ 63 h 570"/>
                <a:gd name="T2" fmla="*/ 71 w 413"/>
                <a:gd name="T3" fmla="*/ 281 h 570"/>
                <a:gd name="T4" fmla="*/ 220 w 413"/>
                <a:gd name="T5" fmla="*/ 281 h 570"/>
                <a:gd name="T6" fmla="*/ 251 w 413"/>
                <a:gd name="T7" fmla="*/ 278 h 570"/>
                <a:gd name="T8" fmla="*/ 279 w 413"/>
                <a:gd name="T9" fmla="*/ 267 h 570"/>
                <a:gd name="T10" fmla="*/ 303 w 413"/>
                <a:gd name="T11" fmla="*/ 250 h 570"/>
                <a:gd name="T12" fmla="*/ 319 w 413"/>
                <a:gd name="T13" fmla="*/ 228 h 570"/>
                <a:gd name="T14" fmla="*/ 331 w 413"/>
                <a:gd name="T15" fmla="*/ 201 h 570"/>
                <a:gd name="T16" fmla="*/ 334 w 413"/>
                <a:gd name="T17" fmla="*/ 172 h 570"/>
                <a:gd name="T18" fmla="*/ 331 w 413"/>
                <a:gd name="T19" fmla="*/ 141 h 570"/>
                <a:gd name="T20" fmla="*/ 319 w 413"/>
                <a:gd name="T21" fmla="*/ 115 h 570"/>
                <a:gd name="T22" fmla="*/ 303 w 413"/>
                <a:gd name="T23" fmla="*/ 93 h 570"/>
                <a:gd name="T24" fmla="*/ 279 w 413"/>
                <a:gd name="T25" fmla="*/ 76 h 570"/>
                <a:gd name="T26" fmla="*/ 251 w 413"/>
                <a:gd name="T27" fmla="*/ 66 h 570"/>
                <a:gd name="T28" fmla="*/ 220 w 413"/>
                <a:gd name="T29" fmla="*/ 63 h 570"/>
                <a:gd name="T30" fmla="*/ 71 w 413"/>
                <a:gd name="T31" fmla="*/ 63 h 570"/>
                <a:gd name="T32" fmla="*/ 0 w 413"/>
                <a:gd name="T33" fmla="*/ 0 h 570"/>
                <a:gd name="T34" fmla="*/ 229 w 413"/>
                <a:gd name="T35" fmla="*/ 0 h 570"/>
                <a:gd name="T36" fmla="*/ 266 w 413"/>
                <a:gd name="T37" fmla="*/ 3 h 570"/>
                <a:gd name="T38" fmla="*/ 301 w 413"/>
                <a:gd name="T39" fmla="*/ 12 h 570"/>
                <a:gd name="T40" fmla="*/ 331 w 413"/>
                <a:gd name="T41" fmla="*/ 26 h 570"/>
                <a:gd name="T42" fmla="*/ 357 w 413"/>
                <a:gd name="T43" fmla="*/ 46 h 570"/>
                <a:gd name="T44" fmla="*/ 378 w 413"/>
                <a:gd name="T45" fmla="*/ 71 h 570"/>
                <a:gd name="T46" fmla="*/ 394 w 413"/>
                <a:gd name="T47" fmla="*/ 100 h 570"/>
                <a:gd name="T48" fmla="*/ 404 w 413"/>
                <a:gd name="T49" fmla="*/ 134 h 570"/>
                <a:gd name="T50" fmla="*/ 407 w 413"/>
                <a:gd name="T51" fmla="*/ 172 h 570"/>
                <a:gd name="T52" fmla="*/ 404 w 413"/>
                <a:gd name="T53" fmla="*/ 207 h 570"/>
                <a:gd name="T54" fmla="*/ 395 w 413"/>
                <a:gd name="T55" fmla="*/ 240 h 570"/>
                <a:gd name="T56" fmla="*/ 381 w 413"/>
                <a:gd name="T57" fmla="*/ 267 h 570"/>
                <a:gd name="T58" fmla="*/ 363 w 413"/>
                <a:gd name="T59" fmla="*/ 291 h 570"/>
                <a:gd name="T60" fmla="*/ 341 w 413"/>
                <a:gd name="T61" fmla="*/ 309 h 570"/>
                <a:gd name="T62" fmla="*/ 316 w 413"/>
                <a:gd name="T63" fmla="*/ 323 h 570"/>
                <a:gd name="T64" fmla="*/ 288 w 413"/>
                <a:gd name="T65" fmla="*/ 332 h 570"/>
                <a:gd name="T66" fmla="*/ 260 w 413"/>
                <a:gd name="T67" fmla="*/ 338 h 570"/>
                <a:gd name="T68" fmla="*/ 413 w 413"/>
                <a:gd name="T69" fmla="*/ 570 h 570"/>
                <a:gd name="T70" fmla="*/ 329 w 413"/>
                <a:gd name="T71" fmla="*/ 570 h 570"/>
                <a:gd name="T72" fmla="*/ 184 w 413"/>
                <a:gd name="T73" fmla="*/ 344 h 570"/>
                <a:gd name="T74" fmla="*/ 71 w 413"/>
                <a:gd name="T75" fmla="*/ 344 h 570"/>
                <a:gd name="T76" fmla="*/ 71 w 413"/>
                <a:gd name="T77" fmla="*/ 570 h 570"/>
                <a:gd name="T78" fmla="*/ 0 w 413"/>
                <a:gd name="T79" fmla="*/ 570 h 570"/>
                <a:gd name="T80" fmla="*/ 0 w 413"/>
                <a:gd name="T8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3" h="570">
                  <a:moveTo>
                    <a:pt x="71" y="63"/>
                  </a:moveTo>
                  <a:lnTo>
                    <a:pt x="71" y="281"/>
                  </a:lnTo>
                  <a:lnTo>
                    <a:pt x="220" y="281"/>
                  </a:lnTo>
                  <a:lnTo>
                    <a:pt x="251" y="278"/>
                  </a:lnTo>
                  <a:lnTo>
                    <a:pt x="279" y="267"/>
                  </a:lnTo>
                  <a:lnTo>
                    <a:pt x="303" y="250"/>
                  </a:lnTo>
                  <a:lnTo>
                    <a:pt x="319" y="228"/>
                  </a:lnTo>
                  <a:lnTo>
                    <a:pt x="331" y="201"/>
                  </a:lnTo>
                  <a:lnTo>
                    <a:pt x="334" y="172"/>
                  </a:lnTo>
                  <a:lnTo>
                    <a:pt x="331" y="141"/>
                  </a:lnTo>
                  <a:lnTo>
                    <a:pt x="319" y="115"/>
                  </a:lnTo>
                  <a:lnTo>
                    <a:pt x="303" y="93"/>
                  </a:lnTo>
                  <a:lnTo>
                    <a:pt x="279" y="76"/>
                  </a:lnTo>
                  <a:lnTo>
                    <a:pt x="251" y="66"/>
                  </a:lnTo>
                  <a:lnTo>
                    <a:pt x="220" y="63"/>
                  </a:lnTo>
                  <a:lnTo>
                    <a:pt x="71" y="63"/>
                  </a:lnTo>
                  <a:close/>
                  <a:moveTo>
                    <a:pt x="0" y="0"/>
                  </a:moveTo>
                  <a:lnTo>
                    <a:pt x="229" y="0"/>
                  </a:lnTo>
                  <a:lnTo>
                    <a:pt x="266" y="3"/>
                  </a:lnTo>
                  <a:lnTo>
                    <a:pt x="301" y="12"/>
                  </a:lnTo>
                  <a:lnTo>
                    <a:pt x="331" y="26"/>
                  </a:lnTo>
                  <a:lnTo>
                    <a:pt x="357" y="46"/>
                  </a:lnTo>
                  <a:lnTo>
                    <a:pt x="378" y="71"/>
                  </a:lnTo>
                  <a:lnTo>
                    <a:pt x="394" y="100"/>
                  </a:lnTo>
                  <a:lnTo>
                    <a:pt x="404" y="134"/>
                  </a:lnTo>
                  <a:lnTo>
                    <a:pt x="407" y="172"/>
                  </a:lnTo>
                  <a:lnTo>
                    <a:pt x="404" y="207"/>
                  </a:lnTo>
                  <a:lnTo>
                    <a:pt x="395" y="240"/>
                  </a:lnTo>
                  <a:lnTo>
                    <a:pt x="381" y="267"/>
                  </a:lnTo>
                  <a:lnTo>
                    <a:pt x="363" y="291"/>
                  </a:lnTo>
                  <a:lnTo>
                    <a:pt x="341" y="309"/>
                  </a:lnTo>
                  <a:lnTo>
                    <a:pt x="316" y="323"/>
                  </a:lnTo>
                  <a:lnTo>
                    <a:pt x="288" y="332"/>
                  </a:lnTo>
                  <a:lnTo>
                    <a:pt x="260" y="338"/>
                  </a:lnTo>
                  <a:lnTo>
                    <a:pt x="413" y="570"/>
                  </a:lnTo>
                  <a:lnTo>
                    <a:pt x="329" y="570"/>
                  </a:lnTo>
                  <a:lnTo>
                    <a:pt x="184" y="344"/>
                  </a:lnTo>
                  <a:lnTo>
                    <a:pt x="71" y="344"/>
                  </a:lnTo>
                  <a:lnTo>
                    <a:pt x="71" y="570"/>
                  </a:lnTo>
                  <a:lnTo>
                    <a:pt x="0" y="570"/>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1" name="Freeform 10">
              <a:extLst>
                <a:ext uri="{FF2B5EF4-FFF2-40B4-BE49-F238E27FC236}">
                  <a16:creationId xmlns:a16="http://schemas.microsoft.com/office/drawing/2014/main" id="{6CA1C8F6-67FD-412D-8FB4-BD1BB9DCDE2B}"/>
                </a:ext>
              </a:extLst>
            </p:cNvPr>
            <p:cNvSpPr>
              <a:spLocks noEditPoints="1"/>
            </p:cNvSpPr>
            <p:nvPr/>
          </p:nvSpPr>
          <p:spPr bwMode="auto">
            <a:xfrm>
              <a:off x="7247545" y="6000597"/>
              <a:ext cx="330200" cy="452438"/>
            </a:xfrm>
            <a:custGeom>
              <a:avLst/>
              <a:gdLst>
                <a:gd name="T0" fmla="*/ 72 w 414"/>
                <a:gd name="T1" fmla="*/ 63 h 570"/>
                <a:gd name="T2" fmla="*/ 72 w 414"/>
                <a:gd name="T3" fmla="*/ 281 h 570"/>
                <a:gd name="T4" fmla="*/ 220 w 414"/>
                <a:gd name="T5" fmla="*/ 281 h 570"/>
                <a:gd name="T6" fmla="*/ 253 w 414"/>
                <a:gd name="T7" fmla="*/ 278 h 570"/>
                <a:gd name="T8" fmla="*/ 280 w 414"/>
                <a:gd name="T9" fmla="*/ 267 h 570"/>
                <a:gd name="T10" fmla="*/ 302 w 414"/>
                <a:gd name="T11" fmla="*/ 250 h 570"/>
                <a:gd name="T12" fmla="*/ 320 w 414"/>
                <a:gd name="T13" fmla="*/ 228 h 570"/>
                <a:gd name="T14" fmla="*/ 330 w 414"/>
                <a:gd name="T15" fmla="*/ 201 h 570"/>
                <a:gd name="T16" fmla="*/ 335 w 414"/>
                <a:gd name="T17" fmla="*/ 172 h 570"/>
                <a:gd name="T18" fmla="*/ 330 w 414"/>
                <a:gd name="T19" fmla="*/ 141 h 570"/>
                <a:gd name="T20" fmla="*/ 320 w 414"/>
                <a:gd name="T21" fmla="*/ 115 h 570"/>
                <a:gd name="T22" fmla="*/ 302 w 414"/>
                <a:gd name="T23" fmla="*/ 93 h 570"/>
                <a:gd name="T24" fmla="*/ 280 w 414"/>
                <a:gd name="T25" fmla="*/ 76 h 570"/>
                <a:gd name="T26" fmla="*/ 253 w 414"/>
                <a:gd name="T27" fmla="*/ 66 h 570"/>
                <a:gd name="T28" fmla="*/ 220 w 414"/>
                <a:gd name="T29" fmla="*/ 63 h 570"/>
                <a:gd name="T30" fmla="*/ 72 w 414"/>
                <a:gd name="T31" fmla="*/ 63 h 570"/>
                <a:gd name="T32" fmla="*/ 0 w 414"/>
                <a:gd name="T33" fmla="*/ 0 h 570"/>
                <a:gd name="T34" fmla="*/ 229 w 414"/>
                <a:gd name="T35" fmla="*/ 0 h 570"/>
                <a:gd name="T36" fmla="*/ 267 w 414"/>
                <a:gd name="T37" fmla="*/ 3 h 570"/>
                <a:gd name="T38" fmla="*/ 301 w 414"/>
                <a:gd name="T39" fmla="*/ 12 h 570"/>
                <a:gd name="T40" fmla="*/ 332 w 414"/>
                <a:gd name="T41" fmla="*/ 26 h 570"/>
                <a:gd name="T42" fmla="*/ 358 w 414"/>
                <a:gd name="T43" fmla="*/ 46 h 570"/>
                <a:gd name="T44" fmla="*/ 379 w 414"/>
                <a:gd name="T45" fmla="*/ 71 h 570"/>
                <a:gd name="T46" fmla="*/ 395 w 414"/>
                <a:gd name="T47" fmla="*/ 100 h 570"/>
                <a:gd name="T48" fmla="*/ 405 w 414"/>
                <a:gd name="T49" fmla="*/ 134 h 570"/>
                <a:gd name="T50" fmla="*/ 408 w 414"/>
                <a:gd name="T51" fmla="*/ 172 h 570"/>
                <a:gd name="T52" fmla="*/ 405 w 414"/>
                <a:gd name="T53" fmla="*/ 207 h 570"/>
                <a:gd name="T54" fmla="*/ 396 w 414"/>
                <a:gd name="T55" fmla="*/ 240 h 570"/>
                <a:gd name="T56" fmla="*/ 382 w 414"/>
                <a:gd name="T57" fmla="*/ 267 h 570"/>
                <a:gd name="T58" fmla="*/ 363 w 414"/>
                <a:gd name="T59" fmla="*/ 291 h 570"/>
                <a:gd name="T60" fmla="*/ 341 w 414"/>
                <a:gd name="T61" fmla="*/ 309 h 570"/>
                <a:gd name="T62" fmla="*/ 316 w 414"/>
                <a:gd name="T63" fmla="*/ 323 h 570"/>
                <a:gd name="T64" fmla="*/ 289 w 414"/>
                <a:gd name="T65" fmla="*/ 332 h 570"/>
                <a:gd name="T66" fmla="*/ 260 w 414"/>
                <a:gd name="T67" fmla="*/ 338 h 570"/>
                <a:gd name="T68" fmla="*/ 414 w 414"/>
                <a:gd name="T69" fmla="*/ 570 h 570"/>
                <a:gd name="T70" fmla="*/ 330 w 414"/>
                <a:gd name="T71" fmla="*/ 570 h 570"/>
                <a:gd name="T72" fmla="*/ 185 w 414"/>
                <a:gd name="T73" fmla="*/ 344 h 570"/>
                <a:gd name="T74" fmla="*/ 72 w 414"/>
                <a:gd name="T75" fmla="*/ 344 h 570"/>
                <a:gd name="T76" fmla="*/ 72 w 414"/>
                <a:gd name="T77" fmla="*/ 570 h 570"/>
                <a:gd name="T78" fmla="*/ 0 w 414"/>
                <a:gd name="T79" fmla="*/ 570 h 570"/>
                <a:gd name="T80" fmla="*/ 0 w 414"/>
                <a:gd name="T8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4" h="570">
                  <a:moveTo>
                    <a:pt x="72" y="63"/>
                  </a:moveTo>
                  <a:lnTo>
                    <a:pt x="72" y="281"/>
                  </a:lnTo>
                  <a:lnTo>
                    <a:pt x="220" y="281"/>
                  </a:lnTo>
                  <a:lnTo>
                    <a:pt x="253" y="278"/>
                  </a:lnTo>
                  <a:lnTo>
                    <a:pt x="280" y="267"/>
                  </a:lnTo>
                  <a:lnTo>
                    <a:pt x="302" y="250"/>
                  </a:lnTo>
                  <a:lnTo>
                    <a:pt x="320" y="228"/>
                  </a:lnTo>
                  <a:lnTo>
                    <a:pt x="330" y="201"/>
                  </a:lnTo>
                  <a:lnTo>
                    <a:pt x="335" y="172"/>
                  </a:lnTo>
                  <a:lnTo>
                    <a:pt x="330" y="141"/>
                  </a:lnTo>
                  <a:lnTo>
                    <a:pt x="320" y="115"/>
                  </a:lnTo>
                  <a:lnTo>
                    <a:pt x="302" y="93"/>
                  </a:lnTo>
                  <a:lnTo>
                    <a:pt x="280" y="76"/>
                  </a:lnTo>
                  <a:lnTo>
                    <a:pt x="253" y="66"/>
                  </a:lnTo>
                  <a:lnTo>
                    <a:pt x="220" y="63"/>
                  </a:lnTo>
                  <a:lnTo>
                    <a:pt x="72" y="63"/>
                  </a:lnTo>
                  <a:close/>
                  <a:moveTo>
                    <a:pt x="0" y="0"/>
                  </a:moveTo>
                  <a:lnTo>
                    <a:pt x="229" y="0"/>
                  </a:lnTo>
                  <a:lnTo>
                    <a:pt x="267" y="3"/>
                  </a:lnTo>
                  <a:lnTo>
                    <a:pt x="301" y="12"/>
                  </a:lnTo>
                  <a:lnTo>
                    <a:pt x="332" y="26"/>
                  </a:lnTo>
                  <a:lnTo>
                    <a:pt x="358" y="46"/>
                  </a:lnTo>
                  <a:lnTo>
                    <a:pt x="379" y="71"/>
                  </a:lnTo>
                  <a:lnTo>
                    <a:pt x="395" y="100"/>
                  </a:lnTo>
                  <a:lnTo>
                    <a:pt x="405" y="134"/>
                  </a:lnTo>
                  <a:lnTo>
                    <a:pt x="408" y="172"/>
                  </a:lnTo>
                  <a:lnTo>
                    <a:pt x="405" y="207"/>
                  </a:lnTo>
                  <a:lnTo>
                    <a:pt x="396" y="240"/>
                  </a:lnTo>
                  <a:lnTo>
                    <a:pt x="382" y="267"/>
                  </a:lnTo>
                  <a:lnTo>
                    <a:pt x="363" y="291"/>
                  </a:lnTo>
                  <a:lnTo>
                    <a:pt x="341" y="309"/>
                  </a:lnTo>
                  <a:lnTo>
                    <a:pt x="316" y="323"/>
                  </a:lnTo>
                  <a:lnTo>
                    <a:pt x="289" y="332"/>
                  </a:lnTo>
                  <a:lnTo>
                    <a:pt x="260" y="338"/>
                  </a:lnTo>
                  <a:lnTo>
                    <a:pt x="414" y="570"/>
                  </a:lnTo>
                  <a:lnTo>
                    <a:pt x="330" y="570"/>
                  </a:lnTo>
                  <a:lnTo>
                    <a:pt x="185" y="344"/>
                  </a:lnTo>
                  <a:lnTo>
                    <a:pt x="72" y="344"/>
                  </a:lnTo>
                  <a:lnTo>
                    <a:pt x="72" y="570"/>
                  </a:lnTo>
                  <a:lnTo>
                    <a:pt x="0" y="570"/>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3" name="Freeform 11">
              <a:extLst>
                <a:ext uri="{FF2B5EF4-FFF2-40B4-BE49-F238E27FC236}">
                  <a16:creationId xmlns:a16="http://schemas.microsoft.com/office/drawing/2014/main" id="{1BF77FA2-453F-46AC-88C7-A53B318A4C81}"/>
                </a:ext>
              </a:extLst>
            </p:cNvPr>
            <p:cNvSpPr>
              <a:spLocks noEditPoints="1"/>
            </p:cNvSpPr>
            <p:nvPr/>
          </p:nvSpPr>
          <p:spPr bwMode="auto">
            <a:xfrm>
              <a:off x="7817458" y="6000597"/>
              <a:ext cx="434975" cy="452438"/>
            </a:xfrm>
            <a:custGeom>
              <a:avLst/>
              <a:gdLst>
                <a:gd name="T0" fmla="*/ 273 w 548"/>
                <a:gd name="T1" fmla="*/ 73 h 570"/>
                <a:gd name="T2" fmla="*/ 153 w 548"/>
                <a:gd name="T3" fmla="*/ 381 h 570"/>
                <a:gd name="T4" fmla="*/ 393 w 548"/>
                <a:gd name="T5" fmla="*/ 381 h 570"/>
                <a:gd name="T6" fmla="*/ 273 w 548"/>
                <a:gd name="T7" fmla="*/ 73 h 570"/>
                <a:gd name="T8" fmla="*/ 229 w 548"/>
                <a:gd name="T9" fmla="*/ 0 h 570"/>
                <a:gd name="T10" fmla="*/ 317 w 548"/>
                <a:gd name="T11" fmla="*/ 0 h 570"/>
                <a:gd name="T12" fmla="*/ 548 w 548"/>
                <a:gd name="T13" fmla="*/ 570 h 570"/>
                <a:gd name="T14" fmla="*/ 548 w 548"/>
                <a:gd name="T15" fmla="*/ 570 h 570"/>
                <a:gd name="T16" fmla="*/ 465 w 548"/>
                <a:gd name="T17" fmla="*/ 570 h 570"/>
                <a:gd name="T18" fmla="*/ 415 w 548"/>
                <a:gd name="T19" fmla="*/ 444 h 570"/>
                <a:gd name="T20" fmla="*/ 132 w 548"/>
                <a:gd name="T21" fmla="*/ 444 h 570"/>
                <a:gd name="T22" fmla="*/ 82 w 548"/>
                <a:gd name="T23" fmla="*/ 570 h 570"/>
                <a:gd name="T24" fmla="*/ 0 w 548"/>
                <a:gd name="T25" fmla="*/ 570 h 570"/>
                <a:gd name="T26" fmla="*/ 229 w 548"/>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8" h="570">
                  <a:moveTo>
                    <a:pt x="273" y="73"/>
                  </a:moveTo>
                  <a:lnTo>
                    <a:pt x="153" y="381"/>
                  </a:lnTo>
                  <a:lnTo>
                    <a:pt x="393" y="381"/>
                  </a:lnTo>
                  <a:lnTo>
                    <a:pt x="273" y="73"/>
                  </a:lnTo>
                  <a:close/>
                  <a:moveTo>
                    <a:pt x="229" y="0"/>
                  </a:moveTo>
                  <a:lnTo>
                    <a:pt x="317" y="0"/>
                  </a:lnTo>
                  <a:lnTo>
                    <a:pt x="548" y="570"/>
                  </a:lnTo>
                  <a:lnTo>
                    <a:pt x="548" y="570"/>
                  </a:lnTo>
                  <a:lnTo>
                    <a:pt x="465" y="570"/>
                  </a:lnTo>
                  <a:lnTo>
                    <a:pt x="415" y="444"/>
                  </a:lnTo>
                  <a:lnTo>
                    <a:pt x="132" y="444"/>
                  </a:lnTo>
                  <a:lnTo>
                    <a:pt x="82" y="570"/>
                  </a:lnTo>
                  <a:lnTo>
                    <a:pt x="0" y="570"/>
                  </a:lnTo>
                  <a:lnTo>
                    <a:pt x="22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5" name="Freeform 26">
              <a:extLst>
                <a:ext uri="{FF2B5EF4-FFF2-40B4-BE49-F238E27FC236}">
                  <a16:creationId xmlns:a16="http://schemas.microsoft.com/office/drawing/2014/main" id="{52734611-9414-4FBB-8752-6E36D291F0D5}"/>
                </a:ext>
              </a:extLst>
            </p:cNvPr>
            <p:cNvSpPr>
              <a:spLocks/>
            </p:cNvSpPr>
            <p:nvPr/>
          </p:nvSpPr>
          <p:spPr bwMode="auto">
            <a:xfrm>
              <a:off x="6412520" y="5962497"/>
              <a:ext cx="514350" cy="381000"/>
            </a:xfrm>
            <a:custGeom>
              <a:avLst/>
              <a:gdLst>
                <a:gd name="T0" fmla="*/ 325 w 650"/>
                <a:gd name="T1" fmla="*/ 0 h 479"/>
                <a:gd name="T2" fmla="*/ 378 w 650"/>
                <a:gd name="T3" fmla="*/ 4 h 479"/>
                <a:gd name="T4" fmla="*/ 428 w 650"/>
                <a:gd name="T5" fmla="*/ 18 h 479"/>
                <a:gd name="T6" fmla="*/ 474 w 650"/>
                <a:gd name="T7" fmla="*/ 37 h 479"/>
                <a:gd name="T8" fmla="*/ 516 w 650"/>
                <a:gd name="T9" fmla="*/ 63 h 479"/>
                <a:gd name="T10" fmla="*/ 554 w 650"/>
                <a:gd name="T11" fmla="*/ 95 h 479"/>
                <a:gd name="T12" fmla="*/ 587 w 650"/>
                <a:gd name="T13" fmla="*/ 134 h 479"/>
                <a:gd name="T14" fmla="*/ 613 w 650"/>
                <a:gd name="T15" fmla="*/ 176 h 479"/>
                <a:gd name="T16" fmla="*/ 632 w 650"/>
                <a:gd name="T17" fmla="*/ 222 h 479"/>
                <a:gd name="T18" fmla="*/ 645 w 650"/>
                <a:gd name="T19" fmla="*/ 272 h 479"/>
                <a:gd name="T20" fmla="*/ 650 w 650"/>
                <a:gd name="T21" fmla="*/ 325 h 479"/>
                <a:gd name="T22" fmla="*/ 647 w 650"/>
                <a:gd name="T23" fmla="*/ 366 h 479"/>
                <a:gd name="T24" fmla="*/ 638 w 650"/>
                <a:gd name="T25" fmla="*/ 406 h 479"/>
                <a:gd name="T26" fmla="*/ 626 w 650"/>
                <a:gd name="T27" fmla="*/ 444 h 479"/>
                <a:gd name="T28" fmla="*/ 610 w 650"/>
                <a:gd name="T29" fmla="*/ 479 h 479"/>
                <a:gd name="T30" fmla="*/ 559 w 650"/>
                <a:gd name="T31" fmla="*/ 456 h 479"/>
                <a:gd name="T32" fmla="*/ 503 w 650"/>
                <a:gd name="T33" fmla="*/ 436 h 479"/>
                <a:gd name="T34" fmla="*/ 444 w 650"/>
                <a:gd name="T35" fmla="*/ 423 h 479"/>
                <a:gd name="T36" fmla="*/ 573 w 650"/>
                <a:gd name="T37" fmla="*/ 429 h 479"/>
                <a:gd name="T38" fmla="*/ 381 w 650"/>
                <a:gd name="T39" fmla="*/ 397 h 479"/>
                <a:gd name="T40" fmla="*/ 531 w 650"/>
                <a:gd name="T41" fmla="*/ 309 h 479"/>
                <a:gd name="T42" fmla="*/ 355 w 650"/>
                <a:gd name="T43" fmla="*/ 381 h 479"/>
                <a:gd name="T44" fmla="*/ 406 w 650"/>
                <a:gd name="T45" fmla="*/ 282 h 479"/>
                <a:gd name="T46" fmla="*/ 334 w 650"/>
                <a:gd name="T47" fmla="*/ 373 h 479"/>
                <a:gd name="T48" fmla="*/ 324 w 650"/>
                <a:gd name="T49" fmla="*/ 175 h 479"/>
                <a:gd name="T50" fmla="*/ 315 w 650"/>
                <a:gd name="T51" fmla="*/ 373 h 479"/>
                <a:gd name="T52" fmla="*/ 244 w 650"/>
                <a:gd name="T53" fmla="*/ 282 h 479"/>
                <a:gd name="T54" fmla="*/ 294 w 650"/>
                <a:gd name="T55" fmla="*/ 381 h 479"/>
                <a:gd name="T56" fmla="*/ 117 w 650"/>
                <a:gd name="T57" fmla="*/ 309 h 479"/>
                <a:gd name="T58" fmla="*/ 268 w 650"/>
                <a:gd name="T59" fmla="*/ 397 h 479"/>
                <a:gd name="T60" fmla="*/ 74 w 650"/>
                <a:gd name="T61" fmla="*/ 429 h 479"/>
                <a:gd name="T62" fmla="*/ 208 w 650"/>
                <a:gd name="T63" fmla="*/ 422 h 479"/>
                <a:gd name="T64" fmla="*/ 147 w 650"/>
                <a:gd name="T65" fmla="*/ 436 h 479"/>
                <a:gd name="T66" fmla="*/ 92 w 650"/>
                <a:gd name="T67" fmla="*/ 456 h 479"/>
                <a:gd name="T68" fmla="*/ 40 w 650"/>
                <a:gd name="T69" fmla="*/ 479 h 479"/>
                <a:gd name="T70" fmla="*/ 23 w 650"/>
                <a:gd name="T71" fmla="*/ 444 h 479"/>
                <a:gd name="T72" fmla="*/ 11 w 650"/>
                <a:gd name="T73" fmla="*/ 406 h 479"/>
                <a:gd name="T74" fmla="*/ 3 w 650"/>
                <a:gd name="T75" fmla="*/ 366 h 479"/>
                <a:gd name="T76" fmla="*/ 0 w 650"/>
                <a:gd name="T77" fmla="*/ 325 h 479"/>
                <a:gd name="T78" fmla="*/ 5 w 650"/>
                <a:gd name="T79" fmla="*/ 272 h 479"/>
                <a:gd name="T80" fmla="*/ 17 w 650"/>
                <a:gd name="T81" fmla="*/ 222 h 479"/>
                <a:gd name="T82" fmla="*/ 37 w 650"/>
                <a:gd name="T83" fmla="*/ 176 h 479"/>
                <a:gd name="T84" fmla="*/ 64 w 650"/>
                <a:gd name="T85" fmla="*/ 134 h 479"/>
                <a:gd name="T86" fmla="*/ 96 w 650"/>
                <a:gd name="T87" fmla="*/ 95 h 479"/>
                <a:gd name="T88" fmla="*/ 133 w 650"/>
                <a:gd name="T89" fmla="*/ 63 h 479"/>
                <a:gd name="T90" fmla="*/ 175 w 650"/>
                <a:gd name="T91" fmla="*/ 37 h 479"/>
                <a:gd name="T92" fmla="*/ 222 w 650"/>
                <a:gd name="T93" fmla="*/ 18 h 479"/>
                <a:gd name="T94" fmla="*/ 272 w 650"/>
                <a:gd name="T95" fmla="*/ 4 h 479"/>
                <a:gd name="T96" fmla="*/ 325 w 650"/>
                <a:gd name="T97" fmla="*/ 0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50" h="479">
                  <a:moveTo>
                    <a:pt x="325" y="0"/>
                  </a:moveTo>
                  <a:lnTo>
                    <a:pt x="378" y="4"/>
                  </a:lnTo>
                  <a:lnTo>
                    <a:pt x="428" y="18"/>
                  </a:lnTo>
                  <a:lnTo>
                    <a:pt x="474" y="37"/>
                  </a:lnTo>
                  <a:lnTo>
                    <a:pt x="516" y="63"/>
                  </a:lnTo>
                  <a:lnTo>
                    <a:pt x="554" y="95"/>
                  </a:lnTo>
                  <a:lnTo>
                    <a:pt x="587" y="134"/>
                  </a:lnTo>
                  <a:lnTo>
                    <a:pt x="613" y="176"/>
                  </a:lnTo>
                  <a:lnTo>
                    <a:pt x="632" y="222"/>
                  </a:lnTo>
                  <a:lnTo>
                    <a:pt x="645" y="272"/>
                  </a:lnTo>
                  <a:lnTo>
                    <a:pt x="650" y="325"/>
                  </a:lnTo>
                  <a:lnTo>
                    <a:pt x="647" y="366"/>
                  </a:lnTo>
                  <a:lnTo>
                    <a:pt x="638" y="406"/>
                  </a:lnTo>
                  <a:lnTo>
                    <a:pt x="626" y="444"/>
                  </a:lnTo>
                  <a:lnTo>
                    <a:pt x="610" y="479"/>
                  </a:lnTo>
                  <a:lnTo>
                    <a:pt x="559" y="456"/>
                  </a:lnTo>
                  <a:lnTo>
                    <a:pt x="503" y="436"/>
                  </a:lnTo>
                  <a:lnTo>
                    <a:pt x="444" y="423"/>
                  </a:lnTo>
                  <a:lnTo>
                    <a:pt x="573" y="429"/>
                  </a:lnTo>
                  <a:lnTo>
                    <a:pt x="381" y="397"/>
                  </a:lnTo>
                  <a:lnTo>
                    <a:pt x="531" y="309"/>
                  </a:lnTo>
                  <a:lnTo>
                    <a:pt x="355" y="381"/>
                  </a:lnTo>
                  <a:lnTo>
                    <a:pt x="406" y="282"/>
                  </a:lnTo>
                  <a:lnTo>
                    <a:pt x="334" y="373"/>
                  </a:lnTo>
                  <a:lnTo>
                    <a:pt x="324" y="175"/>
                  </a:lnTo>
                  <a:lnTo>
                    <a:pt x="315" y="373"/>
                  </a:lnTo>
                  <a:lnTo>
                    <a:pt x="244" y="282"/>
                  </a:lnTo>
                  <a:lnTo>
                    <a:pt x="294" y="381"/>
                  </a:lnTo>
                  <a:lnTo>
                    <a:pt x="117" y="309"/>
                  </a:lnTo>
                  <a:lnTo>
                    <a:pt x="268" y="397"/>
                  </a:lnTo>
                  <a:lnTo>
                    <a:pt x="74" y="429"/>
                  </a:lnTo>
                  <a:lnTo>
                    <a:pt x="208" y="422"/>
                  </a:lnTo>
                  <a:lnTo>
                    <a:pt x="147" y="436"/>
                  </a:lnTo>
                  <a:lnTo>
                    <a:pt x="92" y="456"/>
                  </a:lnTo>
                  <a:lnTo>
                    <a:pt x="40" y="479"/>
                  </a:lnTo>
                  <a:lnTo>
                    <a:pt x="23" y="444"/>
                  </a:lnTo>
                  <a:lnTo>
                    <a:pt x="11" y="406"/>
                  </a:lnTo>
                  <a:lnTo>
                    <a:pt x="3" y="366"/>
                  </a:lnTo>
                  <a:lnTo>
                    <a:pt x="0" y="325"/>
                  </a:lnTo>
                  <a:lnTo>
                    <a:pt x="5" y="272"/>
                  </a:lnTo>
                  <a:lnTo>
                    <a:pt x="17" y="222"/>
                  </a:lnTo>
                  <a:lnTo>
                    <a:pt x="37" y="176"/>
                  </a:lnTo>
                  <a:lnTo>
                    <a:pt x="64" y="134"/>
                  </a:lnTo>
                  <a:lnTo>
                    <a:pt x="96" y="95"/>
                  </a:lnTo>
                  <a:lnTo>
                    <a:pt x="133" y="63"/>
                  </a:lnTo>
                  <a:lnTo>
                    <a:pt x="175" y="37"/>
                  </a:lnTo>
                  <a:lnTo>
                    <a:pt x="222" y="18"/>
                  </a:lnTo>
                  <a:lnTo>
                    <a:pt x="272" y="4"/>
                  </a:lnTo>
                  <a:lnTo>
                    <a:pt x="325" y="0"/>
                  </a:lnTo>
                  <a:close/>
                </a:path>
              </a:pathLst>
            </a:custGeom>
            <a:solidFill>
              <a:srgbClr val="FFCC00"/>
            </a:solidFill>
            <a:ln w="1905">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7" name="Freeform 28">
              <a:extLst>
                <a:ext uri="{FF2B5EF4-FFF2-40B4-BE49-F238E27FC236}">
                  <a16:creationId xmlns:a16="http://schemas.microsoft.com/office/drawing/2014/main" id="{66515C01-3222-4EC7-9828-056DF1D4C2E7}"/>
                </a:ext>
              </a:extLst>
            </p:cNvPr>
            <p:cNvSpPr>
              <a:spLocks/>
            </p:cNvSpPr>
            <p:nvPr/>
          </p:nvSpPr>
          <p:spPr bwMode="auto">
            <a:xfrm>
              <a:off x="6382358" y="6302222"/>
              <a:ext cx="573088" cy="176213"/>
            </a:xfrm>
            <a:custGeom>
              <a:avLst/>
              <a:gdLst>
                <a:gd name="T0" fmla="*/ 360 w 721"/>
                <a:gd name="T1" fmla="*/ 0 h 222"/>
                <a:gd name="T2" fmla="*/ 423 w 721"/>
                <a:gd name="T3" fmla="*/ 3 h 222"/>
                <a:gd name="T4" fmla="*/ 482 w 721"/>
                <a:gd name="T5" fmla="*/ 11 h 222"/>
                <a:gd name="T6" fmla="*/ 539 w 721"/>
                <a:gd name="T7" fmla="*/ 25 h 222"/>
                <a:gd name="T8" fmla="*/ 592 w 721"/>
                <a:gd name="T9" fmla="*/ 44 h 222"/>
                <a:gd name="T10" fmla="*/ 639 w 721"/>
                <a:gd name="T11" fmla="*/ 66 h 222"/>
                <a:gd name="T12" fmla="*/ 683 w 721"/>
                <a:gd name="T13" fmla="*/ 94 h 222"/>
                <a:gd name="T14" fmla="*/ 721 w 721"/>
                <a:gd name="T15" fmla="*/ 123 h 222"/>
                <a:gd name="T16" fmla="*/ 671 w 721"/>
                <a:gd name="T17" fmla="*/ 107 h 222"/>
                <a:gd name="T18" fmla="*/ 618 w 721"/>
                <a:gd name="T19" fmla="*/ 94 h 222"/>
                <a:gd name="T20" fmla="*/ 586 w 721"/>
                <a:gd name="T21" fmla="*/ 130 h 222"/>
                <a:gd name="T22" fmla="*/ 549 w 721"/>
                <a:gd name="T23" fmla="*/ 161 h 222"/>
                <a:gd name="T24" fmla="*/ 507 w 721"/>
                <a:gd name="T25" fmla="*/ 186 h 222"/>
                <a:gd name="T26" fmla="*/ 461 w 721"/>
                <a:gd name="T27" fmla="*/ 205 h 222"/>
                <a:gd name="T28" fmla="*/ 413 w 721"/>
                <a:gd name="T29" fmla="*/ 217 h 222"/>
                <a:gd name="T30" fmla="*/ 361 w 721"/>
                <a:gd name="T31" fmla="*/ 222 h 222"/>
                <a:gd name="T32" fmla="*/ 310 w 721"/>
                <a:gd name="T33" fmla="*/ 217 h 222"/>
                <a:gd name="T34" fmla="*/ 260 w 721"/>
                <a:gd name="T35" fmla="*/ 205 h 222"/>
                <a:gd name="T36" fmla="*/ 214 w 721"/>
                <a:gd name="T37" fmla="*/ 186 h 222"/>
                <a:gd name="T38" fmla="*/ 173 w 721"/>
                <a:gd name="T39" fmla="*/ 161 h 222"/>
                <a:gd name="T40" fmla="*/ 135 w 721"/>
                <a:gd name="T41" fmla="*/ 129 h 222"/>
                <a:gd name="T42" fmla="*/ 103 w 721"/>
                <a:gd name="T43" fmla="*/ 94 h 222"/>
                <a:gd name="T44" fmla="*/ 50 w 721"/>
                <a:gd name="T45" fmla="*/ 107 h 222"/>
                <a:gd name="T46" fmla="*/ 0 w 721"/>
                <a:gd name="T47" fmla="*/ 123 h 222"/>
                <a:gd name="T48" fmla="*/ 38 w 721"/>
                <a:gd name="T49" fmla="*/ 94 h 222"/>
                <a:gd name="T50" fmla="*/ 81 w 721"/>
                <a:gd name="T51" fmla="*/ 66 h 222"/>
                <a:gd name="T52" fmla="*/ 129 w 721"/>
                <a:gd name="T53" fmla="*/ 44 h 222"/>
                <a:gd name="T54" fmla="*/ 182 w 721"/>
                <a:gd name="T55" fmla="*/ 25 h 222"/>
                <a:gd name="T56" fmla="*/ 238 w 721"/>
                <a:gd name="T57" fmla="*/ 11 h 222"/>
                <a:gd name="T58" fmla="*/ 298 w 721"/>
                <a:gd name="T59" fmla="*/ 3 h 222"/>
                <a:gd name="T60" fmla="*/ 360 w 721"/>
                <a:gd name="T61"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1" h="222">
                  <a:moveTo>
                    <a:pt x="360" y="0"/>
                  </a:moveTo>
                  <a:lnTo>
                    <a:pt x="423" y="3"/>
                  </a:lnTo>
                  <a:lnTo>
                    <a:pt x="482" y="11"/>
                  </a:lnTo>
                  <a:lnTo>
                    <a:pt x="539" y="25"/>
                  </a:lnTo>
                  <a:lnTo>
                    <a:pt x="592" y="44"/>
                  </a:lnTo>
                  <a:lnTo>
                    <a:pt x="639" y="66"/>
                  </a:lnTo>
                  <a:lnTo>
                    <a:pt x="683" y="94"/>
                  </a:lnTo>
                  <a:lnTo>
                    <a:pt x="721" y="123"/>
                  </a:lnTo>
                  <a:lnTo>
                    <a:pt x="671" y="107"/>
                  </a:lnTo>
                  <a:lnTo>
                    <a:pt x="618" y="94"/>
                  </a:lnTo>
                  <a:lnTo>
                    <a:pt x="586" y="130"/>
                  </a:lnTo>
                  <a:lnTo>
                    <a:pt x="549" y="161"/>
                  </a:lnTo>
                  <a:lnTo>
                    <a:pt x="507" y="186"/>
                  </a:lnTo>
                  <a:lnTo>
                    <a:pt x="461" y="205"/>
                  </a:lnTo>
                  <a:lnTo>
                    <a:pt x="413" y="217"/>
                  </a:lnTo>
                  <a:lnTo>
                    <a:pt x="361" y="222"/>
                  </a:lnTo>
                  <a:lnTo>
                    <a:pt x="310" y="217"/>
                  </a:lnTo>
                  <a:lnTo>
                    <a:pt x="260" y="205"/>
                  </a:lnTo>
                  <a:lnTo>
                    <a:pt x="214" y="186"/>
                  </a:lnTo>
                  <a:lnTo>
                    <a:pt x="173" y="161"/>
                  </a:lnTo>
                  <a:lnTo>
                    <a:pt x="135" y="129"/>
                  </a:lnTo>
                  <a:lnTo>
                    <a:pt x="103" y="94"/>
                  </a:lnTo>
                  <a:lnTo>
                    <a:pt x="50" y="107"/>
                  </a:lnTo>
                  <a:lnTo>
                    <a:pt x="0" y="123"/>
                  </a:lnTo>
                  <a:lnTo>
                    <a:pt x="38" y="94"/>
                  </a:lnTo>
                  <a:lnTo>
                    <a:pt x="81" y="66"/>
                  </a:lnTo>
                  <a:lnTo>
                    <a:pt x="129" y="44"/>
                  </a:lnTo>
                  <a:lnTo>
                    <a:pt x="182" y="25"/>
                  </a:lnTo>
                  <a:lnTo>
                    <a:pt x="238" y="11"/>
                  </a:lnTo>
                  <a:lnTo>
                    <a:pt x="298" y="3"/>
                  </a:lnTo>
                  <a:lnTo>
                    <a:pt x="36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8" name="Text Placeholder 4">
            <a:extLst>
              <a:ext uri="{FF2B5EF4-FFF2-40B4-BE49-F238E27FC236}">
                <a16:creationId xmlns:a16="http://schemas.microsoft.com/office/drawing/2014/main" id="{AA81721A-67FD-41CF-929D-2C54FA84CE83}"/>
              </a:ext>
            </a:extLst>
          </p:cNvPr>
          <p:cNvSpPr>
            <a:spLocks noGrp="1"/>
          </p:cNvSpPr>
          <p:nvPr>
            <p:ph type="body" sz="quarter" idx="31" hasCustomPrompt="1"/>
          </p:nvPr>
        </p:nvSpPr>
        <p:spPr>
          <a:xfrm>
            <a:off x="9500714" y="1263129"/>
            <a:ext cx="2335686" cy="338554"/>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2200" b="1">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Key facts</a:t>
            </a:r>
          </a:p>
        </p:txBody>
      </p:sp>
      <p:sp>
        <p:nvSpPr>
          <p:cNvPr id="39" name="Text Placeholder 4">
            <a:extLst>
              <a:ext uri="{FF2B5EF4-FFF2-40B4-BE49-F238E27FC236}">
                <a16:creationId xmlns:a16="http://schemas.microsoft.com/office/drawing/2014/main" id="{4CBD7913-5B3C-4408-8218-FFF47783F855}"/>
              </a:ext>
            </a:extLst>
          </p:cNvPr>
          <p:cNvSpPr>
            <a:spLocks noGrp="1"/>
          </p:cNvSpPr>
          <p:nvPr>
            <p:ph type="body" sz="quarter" idx="32"/>
          </p:nvPr>
        </p:nvSpPr>
        <p:spPr>
          <a:xfrm>
            <a:off x="9500714" y="1712755"/>
            <a:ext cx="2335686" cy="854080"/>
          </a:xfrm>
        </p:spPr>
        <p:txBody>
          <a:bodyPr>
            <a:spAutoFit/>
          </a:bodyPr>
          <a:lstStyle>
            <a:lvl1pP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buClr>
                <a:schemeClr val="bg1"/>
              </a:buCl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buClr>
                <a:schemeClr val="bg1"/>
              </a:buCl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buClr>
                <a:schemeClr val="bg1"/>
              </a:buCl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4" name="Text Placeholder 2">
            <a:extLst>
              <a:ext uri="{FF2B5EF4-FFF2-40B4-BE49-F238E27FC236}">
                <a16:creationId xmlns:a16="http://schemas.microsoft.com/office/drawing/2014/main" id="{35CBE728-73FD-4E81-81D2-C2FD2A68979D}"/>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2" name="Text Placeholder 5">
            <a:extLst>
              <a:ext uri="{FF2B5EF4-FFF2-40B4-BE49-F238E27FC236}">
                <a16:creationId xmlns:a16="http://schemas.microsoft.com/office/drawing/2014/main" id="{8F11272A-6435-4CA8-99DD-0474751E9214}"/>
              </a:ext>
            </a:extLst>
          </p:cNvPr>
          <p:cNvSpPr>
            <a:spLocks noGrp="1"/>
          </p:cNvSpPr>
          <p:nvPr>
            <p:ph type="body" sz="quarter" idx="33"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41" name="Supertitle">
            <a:extLst>
              <a:ext uri="{FF2B5EF4-FFF2-40B4-BE49-F238E27FC236}">
                <a16:creationId xmlns:a16="http://schemas.microsoft.com/office/drawing/2014/main" id="{33C03219-68CC-46CB-ACB8-7CA3FFF44A3F}"/>
              </a:ext>
            </a:extLst>
          </p:cNvPr>
          <p:cNvSpPr>
            <a:spLocks noGrp="1"/>
          </p:cNvSpPr>
          <p:nvPr>
            <p:ph type="body" sz="quarter" idx="34"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2343634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02039173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9525"/>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2">
            <a:extLst>
              <a:ext uri="{FF2B5EF4-FFF2-40B4-BE49-F238E27FC236}">
                <a16:creationId xmlns:a16="http://schemas.microsoft.com/office/drawing/2014/main" id="{D9606BCF-6B49-43F6-B1F8-D730B3DBFA1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1" name="Aurora Logo">
            <a:extLst>
              <a:ext uri="{FF2B5EF4-FFF2-40B4-BE49-F238E27FC236}">
                <a16:creationId xmlns:a16="http://schemas.microsoft.com/office/drawing/2014/main" id="{8A8EA597-F2C7-43A2-BC75-D1BDEE3A6A8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6" name="Title 5">
            <a:extLst>
              <a:ext uri="{FF2B5EF4-FFF2-40B4-BE49-F238E27FC236}">
                <a16:creationId xmlns:a16="http://schemas.microsoft.com/office/drawing/2014/main" id="{9A68FB94-22BB-418E-A3AF-9DD42AD17527}"/>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6" name="Text Placeholder 5">
            <a:extLst>
              <a:ext uri="{FF2B5EF4-FFF2-40B4-BE49-F238E27FC236}">
                <a16:creationId xmlns:a16="http://schemas.microsoft.com/office/drawing/2014/main" id="{623E6946-0748-48B6-97C6-CE6BE01F7EAB}"/>
              </a:ext>
            </a:extLst>
          </p:cNvPr>
          <p:cNvSpPr>
            <a:spLocks noGrp="1"/>
          </p:cNvSpPr>
          <p:nvPr>
            <p:ph type="body" sz="quarter" idx="32"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67259323-2698-47EA-85E1-F6C8C7417BEB}"/>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6466635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 Column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94343912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Header 2">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0172"/>
            <a:ext cx="8601074"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4" name="Header 1">
            <a:extLst>
              <a:ext uri="{FF2B5EF4-FFF2-40B4-BE49-F238E27FC236}">
                <a16:creationId xmlns:a16="http://schemas.microsoft.com/office/drawing/2014/main" id="{32BAE579-0324-4306-9E4A-CEFBFBCF8241}"/>
              </a:ext>
            </a:extLst>
          </p:cNvPr>
          <p:cNvSpPr>
            <a:spLocks noGrp="1"/>
          </p:cNvSpPr>
          <p:nvPr>
            <p:ph type="body" sz="quarter" idx="29" hasCustomPrompt="1"/>
          </p:nvPr>
        </p:nvSpPr>
        <p:spPr>
          <a:xfrm>
            <a:off x="381000" y="1268129"/>
            <a:ext cx="8601074"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br>
              <a:rPr lang="en-GB"/>
            </a:br>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Text Placeholder 2">
            <a:extLst>
              <a:ext uri="{FF2B5EF4-FFF2-40B4-BE49-F238E27FC236}">
                <a16:creationId xmlns:a16="http://schemas.microsoft.com/office/drawing/2014/main" id="{D9606BCF-6B49-43F6-B1F8-D730B3DBFA1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1" name="Aurora Logo">
            <a:extLst>
              <a:ext uri="{FF2B5EF4-FFF2-40B4-BE49-F238E27FC236}">
                <a16:creationId xmlns:a16="http://schemas.microsoft.com/office/drawing/2014/main" id="{8A8EA597-F2C7-43A2-BC75-D1BDEE3A6A8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6" name="Title 5">
            <a:extLst>
              <a:ext uri="{FF2B5EF4-FFF2-40B4-BE49-F238E27FC236}">
                <a16:creationId xmlns:a16="http://schemas.microsoft.com/office/drawing/2014/main" id="{9A68FB94-22BB-418E-A3AF-9DD42AD17527}"/>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9" name="Text Placeholder 5">
            <a:extLst>
              <a:ext uri="{FF2B5EF4-FFF2-40B4-BE49-F238E27FC236}">
                <a16:creationId xmlns:a16="http://schemas.microsoft.com/office/drawing/2014/main" id="{E72DEEE7-DA59-4851-9CD4-CC9406230800}"/>
              </a:ext>
            </a:extLst>
          </p:cNvPr>
          <p:cNvSpPr>
            <a:spLocks noGrp="1"/>
          </p:cNvSpPr>
          <p:nvPr>
            <p:ph type="body" sz="quarter" idx="32"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Supertitle">
            <a:extLst>
              <a:ext uri="{FF2B5EF4-FFF2-40B4-BE49-F238E27FC236}">
                <a16:creationId xmlns:a16="http://schemas.microsoft.com/office/drawing/2014/main" id="{56C4E603-64F7-4F39-A735-5CCD3A8AEBF5}"/>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247345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_Presentatio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62767781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E482D81-5A53-4272-99E2-F748697E0896}"/>
              </a:ext>
            </a:extLst>
          </p:cNvPr>
          <p:cNvSpPr>
            <a:spLocks noGrp="1"/>
          </p:cNvSpPr>
          <p:nvPr>
            <p:ph type="body" sz="quarter" idx="28"/>
          </p:nvPr>
        </p:nvSpPr>
        <p:spPr>
          <a:xfrm>
            <a:off x="0" y="1273038"/>
            <a:ext cx="12192000" cy="355799"/>
          </a:xfrm>
          <a:solidFill>
            <a:schemeClr val="accent2"/>
          </a:solidFill>
        </p:spPr>
        <p:txBody>
          <a:bodyPr anchor="ctr" anchorCtr="0">
            <a:noAutofit/>
          </a:bodyPr>
          <a:lstStyle>
            <a:lvl1pPr>
              <a:defRPr>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US"/>
              <a:t>Click to edit Master text styles</a:t>
            </a: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4A973469-D94E-4DFF-BEA2-7F02DADA0F87}"/>
              </a:ext>
            </a:extLst>
          </p:cNvPr>
          <p:cNvSpPr>
            <a:spLocks noGrp="1"/>
          </p:cNvSpPr>
          <p:nvPr>
            <p:ph type="body" sz="quarter" idx="27" hasCustomPrompt="1"/>
          </p:nvPr>
        </p:nvSpPr>
        <p:spPr>
          <a:xfrm>
            <a:off x="381000" y="1348181"/>
            <a:ext cx="11428411" cy="4878259"/>
          </a:xfrm>
          <a:prstGeom prst="rect">
            <a:avLst/>
          </a:prstGeom>
        </p:spPr>
        <p:txBody>
          <a:bodyPr/>
          <a:lstStyle>
            <a:lvl1pPr marL="447675" indent="-447675" fontAlgn="base">
              <a:lnSpc>
                <a:spcPct val="100000"/>
              </a:lnSpc>
              <a:spcBef>
                <a:spcPts val="1800"/>
              </a:spcBef>
              <a:spcAft>
                <a:spcPct val="0"/>
              </a:spcAft>
              <a:buClr>
                <a:schemeClr val="tx1"/>
              </a:buClr>
              <a:buSzPct val="100000"/>
              <a:buFont typeface="+mj-lt"/>
              <a:buAutoNum type="romanUcPeriod"/>
              <a:tabLst>
                <a:tab pos="11412538" algn="r"/>
              </a:tabLst>
              <a:defRPr sz="16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800100" indent="-342900" fontAlgn="base">
              <a:lnSpc>
                <a:spcPct val="100000"/>
              </a:lnSpc>
              <a:spcBef>
                <a:spcPts val="1200"/>
              </a:spcBef>
              <a:spcAft>
                <a:spcPct val="0"/>
              </a:spcAft>
              <a:buClr>
                <a:schemeClr val="tx1"/>
              </a:buClr>
              <a:buSzPct val="100000"/>
              <a:buFont typeface="+mj-lt"/>
              <a:buAutoNum type="arabicPeriod"/>
              <a:tabLst>
                <a:tab pos="11412538" algn="r"/>
              </a:tabLst>
              <a:defRPr sz="1600" b="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1073150" indent="-271463">
              <a:buFont typeface="+mj-lt"/>
              <a:buAutoNum type="romanLcPeriod"/>
              <a:tabLst>
                <a:tab pos="11412000" algn="r"/>
              </a:tabLst>
              <a:defRPr sz="1600" b="0"/>
            </a:lvl3pPr>
            <a:lvl4pPr marL="758825" indent="-400050">
              <a:buFont typeface="+mj-lt"/>
              <a:buAutoNum type="romanUcPeriod"/>
              <a:defRPr sz="1600" b="1"/>
            </a:lvl4pPr>
            <a:lvl5pPr marL="1771616" indent="-400050">
              <a:buFont typeface="+mj-lt"/>
              <a:buAutoNum type="romanUcPeriod"/>
              <a:defRPr sz="1600" b="1"/>
            </a:lvl5pPr>
          </a:lstStyle>
          <a:p>
            <a:pPr lvl="0"/>
            <a:r>
              <a:rPr lang="en-GB"/>
              <a:t>Section I	xx</a:t>
            </a:r>
          </a:p>
          <a:p>
            <a:pPr lvl="1"/>
            <a:r>
              <a:rPr lang="en-GB"/>
              <a:t>Sub-section 1	xx</a:t>
            </a:r>
          </a:p>
          <a:p>
            <a:pPr lvl="1"/>
            <a:r>
              <a:rPr lang="en-GB"/>
              <a:t>Sub-section 2	xx</a:t>
            </a:r>
          </a:p>
          <a:p>
            <a:pPr lvl="0"/>
            <a:r>
              <a:rPr lang="en-GB"/>
              <a:t>Sub-section 2	xx</a:t>
            </a:r>
          </a:p>
          <a:p>
            <a:pPr lvl="1"/>
            <a:r>
              <a:rPr lang="en-GB"/>
              <a:t>Sub-section 1	xx</a:t>
            </a:r>
          </a:p>
          <a:p>
            <a:pPr lvl="1"/>
            <a:r>
              <a:rPr lang="en-GB"/>
              <a:t>Sub-section 2	xx</a:t>
            </a:r>
          </a:p>
          <a:p>
            <a:pPr lvl="0"/>
            <a:r>
              <a:rPr lang="en-GB"/>
              <a:t>Sub-section 2	xx</a:t>
            </a:r>
          </a:p>
          <a:p>
            <a:pPr lvl="1"/>
            <a:r>
              <a:rPr lang="en-GB"/>
              <a:t>Sub-section 1	xx</a:t>
            </a:r>
          </a:p>
          <a:p>
            <a:pPr lvl="1"/>
            <a:r>
              <a:rPr lang="en-GB"/>
              <a:t>Sub-section 2	xx</a:t>
            </a:r>
          </a:p>
          <a:p>
            <a:pPr lvl="0"/>
            <a:r>
              <a:rPr lang="en-GB"/>
              <a:t>Sub-section 2	xx</a:t>
            </a:r>
          </a:p>
          <a:p>
            <a:pPr lvl="1"/>
            <a:r>
              <a:rPr lang="en-GB"/>
              <a:t>Sub-section 1	xx</a:t>
            </a:r>
          </a:p>
          <a:p>
            <a:pPr lvl="1"/>
            <a:r>
              <a:rPr lang="en-GB"/>
              <a:t>Sub-section 2	xx</a:t>
            </a:r>
          </a:p>
        </p:txBody>
      </p:sp>
      <p:sp>
        <p:nvSpPr>
          <p:cNvPr id="8" name="38f1b144-a7dc-4fbe-8223-e0ddcb76a106">
            <a:extLst>
              <a:ext uri="{FF2B5EF4-FFF2-40B4-BE49-F238E27FC236}">
                <a16:creationId xmlns:a16="http://schemas.microsoft.com/office/drawing/2014/main" id="{CECB2688-9A12-4EEC-A783-25B02F3230D6}"/>
              </a:ext>
            </a:extLst>
          </p:cNvPr>
          <p:cNvSpPr txBox="1">
            <a:spLocks/>
          </p:cNvSpPr>
          <p:nvPr/>
        </p:nvSpPr>
        <p:spPr>
          <a:xfrm>
            <a:off x="381000" y="411856"/>
            <a:ext cx="8600471" cy="304699"/>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genda</a:t>
            </a:r>
          </a:p>
        </p:txBody>
      </p:sp>
    </p:spTree>
    <p:extLst>
      <p:ext uri="{BB962C8B-B14F-4D97-AF65-F5344CB8AC3E}">
        <p14:creationId xmlns:p14="http://schemas.microsoft.com/office/powerpoint/2010/main" val="1595710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Row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70419044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0172"/>
            <a:ext cx="8601074"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2">
            <a:extLst>
              <a:ext uri="{FF2B5EF4-FFF2-40B4-BE49-F238E27FC236}">
                <a16:creationId xmlns:a16="http://schemas.microsoft.com/office/drawing/2014/main" id="{766DB440-58A0-4B3F-8D90-E88EB6E32957}"/>
              </a:ext>
            </a:extLst>
          </p:cNvPr>
          <p:cNvSpPr>
            <a:spLocks noGrp="1"/>
          </p:cNvSpPr>
          <p:nvPr>
            <p:ph type="body" sz="quarter" idx="31"/>
          </p:nvPr>
        </p:nvSpPr>
        <p:spPr>
          <a:xfrm>
            <a:off x="381000" y="4408803"/>
            <a:ext cx="8601074"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Text Placeholder 2">
            <a:extLst>
              <a:ext uri="{FF2B5EF4-FFF2-40B4-BE49-F238E27FC236}">
                <a16:creationId xmlns:a16="http://schemas.microsoft.com/office/drawing/2014/main" id="{B6DF8740-3263-4373-A52E-C92738D1F837}"/>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7" name="Aurora Logo">
            <a:extLst>
              <a:ext uri="{FF2B5EF4-FFF2-40B4-BE49-F238E27FC236}">
                <a16:creationId xmlns:a16="http://schemas.microsoft.com/office/drawing/2014/main" id="{0769C0C2-7FCE-4192-A778-F353FEF67DF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4" name="Title 3">
            <a:extLst>
              <a:ext uri="{FF2B5EF4-FFF2-40B4-BE49-F238E27FC236}">
                <a16:creationId xmlns:a16="http://schemas.microsoft.com/office/drawing/2014/main" id="{4BD59661-299C-4955-992A-E3CC7751A919}"/>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22" name="Header 1">
            <a:extLst>
              <a:ext uri="{FF2B5EF4-FFF2-40B4-BE49-F238E27FC236}">
                <a16:creationId xmlns:a16="http://schemas.microsoft.com/office/drawing/2014/main" id="{A3739E06-BCC4-4BE2-8465-7C275005EB1B}"/>
              </a:ext>
            </a:extLst>
          </p:cNvPr>
          <p:cNvSpPr>
            <a:spLocks noGrp="1"/>
          </p:cNvSpPr>
          <p:nvPr>
            <p:ph type="body" sz="quarter" idx="29" hasCustomPrompt="1"/>
          </p:nvPr>
        </p:nvSpPr>
        <p:spPr>
          <a:xfrm>
            <a:off x="381000" y="1268129"/>
            <a:ext cx="8601074"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Header 2">
            <a:extLst>
              <a:ext uri="{FF2B5EF4-FFF2-40B4-BE49-F238E27FC236}">
                <a16:creationId xmlns:a16="http://schemas.microsoft.com/office/drawing/2014/main" id="{7744C131-E445-449A-9D7A-C3330908F943}"/>
              </a:ext>
            </a:extLst>
          </p:cNvPr>
          <p:cNvSpPr>
            <a:spLocks noGrp="1"/>
          </p:cNvSpPr>
          <p:nvPr>
            <p:ph type="body" sz="quarter" idx="33" hasCustomPrompt="1"/>
          </p:nvPr>
        </p:nvSpPr>
        <p:spPr>
          <a:xfrm>
            <a:off x="381000" y="3961759"/>
            <a:ext cx="8601074"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0" name="Text Placeholder 5">
            <a:extLst>
              <a:ext uri="{FF2B5EF4-FFF2-40B4-BE49-F238E27FC236}">
                <a16:creationId xmlns:a16="http://schemas.microsoft.com/office/drawing/2014/main" id="{2A292F9D-6C89-415E-83D3-55D0817A9C6E}"/>
              </a:ext>
            </a:extLst>
          </p:cNvPr>
          <p:cNvSpPr>
            <a:spLocks noGrp="1"/>
          </p:cNvSpPr>
          <p:nvPr>
            <p:ph type="body" sz="quarter" idx="32"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1" name="Supertitle">
            <a:extLst>
              <a:ext uri="{FF2B5EF4-FFF2-40B4-BE49-F238E27FC236}">
                <a16:creationId xmlns:a16="http://schemas.microsoft.com/office/drawing/2014/main" id="{5E90CA15-507C-4009-8650-4586F5995820}"/>
              </a:ext>
            </a:extLst>
          </p:cNvPr>
          <p:cNvSpPr>
            <a:spLocks noGrp="1"/>
          </p:cNvSpPr>
          <p:nvPr>
            <p:ph type="body" sz="quarter" idx="34"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1864537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Row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01620124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0172"/>
            <a:ext cx="8601074"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2">
            <a:extLst>
              <a:ext uri="{FF2B5EF4-FFF2-40B4-BE49-F238E27FC236}">
                <a16:creationId xmlns:a16="http://schemas.microsoft.com/office/drawing/2014/main" id="{766DB440-58A0-4B3F-8D90-E88EB6E32957}"/>
              </a:ext>
            </a:extLst>
          </p:cNvPr>
          <p:cNvSpPr>
            <a:spLocks noGrp="1"/>
          </p:cNvSpPr>
          <p:nvPr>
            <p:ph type="body" sz="quarter" idx="31"/>
          </p:nvPr>
        </p:nvSpPr>
        <p:spPr>
          <a:xfrm>
            <a:off x="381000" y="3421913"/>
            <a:ext cx="8601074"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Text Placeholder 2">
            <a:extLst>
              <a:ext uri="{FF2B5EF4-FFF2-40B4-BE49-F238E27FC236}">
                <a16:creationId xmlns:a16="http://schemas.microsoft.com/office/drawing/2014/main" id="{B6DF8740-3263-4373-A52E-C92738D1F837}"/>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7" name="Aurora Logo">
            <a:extLst>
              <a:ext uri="{FF2B5EF4-FFF2-40B4-BE49-F238E27FC236}">
                <a16:creationId xmlns:a16="http://schemas.microsoft.com/office/drawing/2014/main" id="{0769C0C2-7FCE-4192-A778-F353FEF67DF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4" name="Title 3">
            <a:extLst>
              <a:ext uri="{FF2B5EF4-FFF2-40B4-BE49-F238E27FC236}">
                <a16:creationId xmlns:a16="http://schemas.microsoft.com/office/drawing/2014/main" id="{4BD59661-299C-4955-992A-E3CC7751A919}"/>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20" name="Text 2">
            <a:extLst>
              <a:ext uri="{FF2B5EF4-FFF2-40B4-BE49-F238E27FC236}">
                <a16:creationId xmlns:a16="http://schemas.microsoft.com/office/drawing/2014/main" id="{B52C0C7C-A921-4477-94C1-D3B37AE18DA7}"/>
              </a:ext>
            </a:extLst>
          </p:cNvPr>
          <p:cNvSpPr>
            <a:spLocks noGrp="1"/>
          </p:cNvSpPr>
          <p:nvPr>
            <p:ph type="body" sz="quarter" idx="33"/>
          </p:nvPr>
        </p:nvSpPr>
        <p:spPr>
          <a:xfrm>
            <a:off x="381000" y="5144472"/>
            <a:ext cx="8601074"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Header 1">
            <a:extLst>
              <a:ext uri="{FF2B5EF4-FFF2-40B4-BE49-F238E27FC236}">
                <a16:creationId xmlns:a16="http://schemas.microsoft.com/office/drawing/2014/main" id="{6D5D929B-1295-4B1D-B4FF-E7026B5C2C52}"/>
              </a:ext>
            </a:extLst>
          </p:cNvPr>
          <p:cNvSpPr>
            <a:spLocks noGrp="1"/>
          </p:cNvSpPr>
          <p:nvPr>
            <p:ph type="body" sz="quarter" idx="29" hasCustomPrompt="1"/>
          </p:nvPr>
        </p:nvSpPr>
        <p:spPr>
          <a:xfrm>
            <a:off x="381000" y="1268129"/>
            <a:ext cx="8601074"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Header 2">
            <a:extLst>
              <a:ext uri="{FF2B5EF4-FFF2-40B4-BE49-F238E27FC236}">
                <a16:creationId xmlns:a16="http://schemas.microsoft.com/office/drawing/2014/main" id="{6BBC2BEC-EDFC-48F8-B92B-DF737A476BA4}"/>
              </a:ext>
            </a:extLst>
          </p:cNvPr>
          <p:cNvSpPr>
            <a:spLocks noGrp="1"/>
          </p:cNvSpPr>
          <p:nvPr>
            <p:ph type="body" sz="quarter" idx="35" hasCustomPrompt="1"/>
          </p:nvPr>
        </p:nvSpPr>
        <p:spPr>
          <a:xfrm>
            <a:off x="381000" y="2972287"/>
            <a:ext cx="8601074"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4" name="Header 3">
            <a:extLst>
              <a:ext uri="{FF2B5EF4-FFF2-40B4-BE49-F238E27FC236}">
                <a16:creationId xmlns:a16="http://schemas.microsoft.com/office/drawing/2014/main" id="{CBB7CE2B-E4BF-4D55-92E0-410EF2F14686}"/>
              </a:ext>
            </a:extLst>
          </p:cNvPr>
          <p:cNvSpPr>
            <a:spLocks noGrp="1"/>
          </p:cNvSpPr>
          <p:nvPr>
            <p:ph type="body" sz="quarter" idx="36" hasCustomPrompt="1"/>
          </p:nvPr>
        </p:nvSpPr>
        <p:spPr>
          <a:xfrm>
            <a:off x="381000" y="4694846"/>
            <a:ext cx="8601074"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Back 12 Point</a:t>
            </a:r>
            <a:br>
              <a:rPr lang="en-GB"/>
            </a:br>
            <a:r>
              <a:rPr lang="en-GB"/>
              <a:t>(max. 2 lines)</a:t>
            </a:r>
          </a:p>
        </p:txBody>
      </p:sp>
      <p:sp>
        <p:nvSpPr>
          <p:cNvPr id="30" name="Text Placeholder 5">
            <a:extLst>
              <a:ext uri="{FF2B5EF4-FFF2-40B4-BE49-F238E27FC236}">
                <a16:creationId xmlns:a16="http://schemas.microsoft.com/office/drawing/2014/main" id="{C2D14B43-FA7F-4C1C-BDCF-88D7C793E9F5}"/>
              </a:ext>
            </a:extLst>
          </p:cNvPr>
          <p:cNvSpPr>
            <a:spLocks noGrp="1"/>
          </p:cNvSpPr>
          <p:nvPr>
            <p:ph type="body" sz="quarter" idx="32"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5" name="Supertitle">
            <a:extLst>
              <a:ext uri="{FF2B5EF4-FFF2-40B4-BE49-F238E27FC236}">
                <a16:creationId xmlns:a16="http://schemas.microsoft.com/office/drawing/2014/main" id="{668E88DA-65CD-4DAA-A768-FB88FADA6060}"/>
              </a:ext>
            </a:extLst>
          </p:cNvPr>
          <p:cNvSpPr>
            <a:spLocks noGrp="1"/>
          </p:cNvSpPr>
          <p:nvPr>
            <p:ph type="body" sz="quarter" idx="37"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66741781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Column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410017365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8E3D202-E0EA-466A-8C55-E2DE7686ED4D}"/>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8" name="Text 1">
            <a:extLst>
              <a:ext uri="{FF2B5EF4-FFF2-40B4-BE49-F238E27FC236}">
                <a16:creationId xmlns:a16="http://schemas.microsoft.com/office/drawing/2014/main" id="{9B01E7D4-48BF-4E5D-A571-B8D98E87B856}"/>
              </a:ext>
            </a:extLst>
          </p:cNvPr>
          <p:cNvSpPr>
            <a:spLocks noGrp="1"/>
          </p:cNvSpPr>
          <p:nvPr>
            <p:ph type="body" sz="quarter" idx="33"/>
          </p:nvPr>
        </p:nvSpPr>
        <p:spPr>
          <a:xfrm>
            <a:off x="381000" y="1710172"/>
            <a:ext cx="3962400"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0" name="Text 2">
            <a:extLst>
              <a:ext uri="{FF2B5EF4-FFF2-40B4-BE49-F238E27FC236}">
                <a16:creationId xmlns:a16="http://schemas.microsoft.com/office/drawing/2014/main" id="{FA718C05-6704-4077-8FC4-2F09B5649B9A}"/>
              </a:ext>
            </a:extLst>
          </p:cNvPr>
          <p:cNvSpPr>
            <a:spLocks noGrp="1"/>
          </p:cNvSpPr>
          <p:nvPr>
            <p:ph type="body" sz="quarter" idx="35"/>
          </p:nvPr>
        </p:nvSpPr>
        <p:spPr>
          <a:xfrm>
            <a:off x="5020274" y="1712755"/>
            <a:ext cx="3962400"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2" name="Text Placeholder 2">
            <a:extLst>
              <a:ext uri="{FF2B5EF4-FFF2-40B4-BE49-F238E27FC236}">
                <a16:creationId xmlns:a16="http://schemas.microsoft.com/office/drawing/2014/main" id="{D69DFB0D-DF47-4F51-8A1E-A3F04A199F5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3" name="Aurora Logo">
            <a:extLst>
              <a:ext uri="{FF2B5EF4-FFF2-40B4-BE49-F238E27FC236}">
                <a16:creationId xmlns:a16="http://schemas.microsoft.com/office/drawing/2014/main" id="{0B030AA5-8163-4F27-9057-F3025760F02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34" name="Header Comments">
            <a:extLst>
              <a:ext uri="{FF2B5EF4-FFF2-40B4-BE49-F238E27FC236}">
                <a16:creationId xmlns:a16="http://schemas.microsoft.com/office/drawing/2014/main" id="{BA58D606-2C71-4E85-8328-99C37B4B4195}"/>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35" name="Text Comments">
            <a:extLst>
              <a:ext uri="{FF2B5EF4-FFF2-40B4-BE49-F238E27FC236}">
                <a16:creationId xmlns:a16="http://schemas.microsoft.com/office/drawing/2014/main" id="{FF2AB152-2969-46CD-B5D8-B3919809B323}"/>
              </a:ext>
            </a:extLst>
          </p:cNvPr>
          <p:cNvSpPr>
            <a:spLocks noGrp="1"/>
          </p:cNvSpPr>
          <p:nvPr>
            <p:ph type="body" sz="quarter" idx="28"/>
          </p:nvPr>
        </p:nvSpPr>
        <p:spPr>
          <a:xfrm>
            <a:off x="9500714" y="1712755"/>
            <a:ext cx="2335686"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itle 3">
            <a:extLst>
              <a:ext uri="{FF2B5EF4-FFF2-40B4-BE49-F238E27FC236}">
                <a16:creationId xmlns:a16="http://schemas.microsoft.com/office/drawing/2014/main" id="{C5C9D1F5-9907-4B3A-A8FD-DB0AF4B08748}"/>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9" name="Header 1">
            <a:extLst>
              <a:ext uri="{FF2B5EF4-FFF2-40B4-BE49-F238E27FC236}">
                <a16:creationId xmlns:a16="http://schemas.microsoft.com/office/drawing/2014/main" id="{899B6044-5D69-4BA0-AD5A-9F13BA4D536F}"/>
              </a:ext>
            </a:extLst>
          </p:cNvPr>
          <p:cNvSpPr>
            <a:spLocks noGrp="1"/>
          </p:cNvSpPr>
          <p:nvPr>
            <p:ph type="body" sz="quarter" idx="29" hasCustomPrompt="1"/>
          </p:nvPr>
        </p:nvSpPr>
        <p:spPr>
          <a:xfrm>
            <a:off x="381000" y="1268129"/>
            <a:ext cx="39624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0" name="Header 2">
            <a:extLst>
              <a:ext uri="{FF2B5EF4-FFF2-40B4-BE49-F238E27FC236}">
                <a16:creationId xmlns:a16="http://schemas.microsoft.com/office/drawing/2014/main" id="{29068DE1-26EE-4CC0-A093-29AD7EDF6CF6}"/>
              </a:ext>
            </a:extLst>
          </p:cNvPr>
          <p:cNvSpPr>
            <a:spLocks noGrp="1"/>
          </p:cNvSpPr>
          <p:nvPr>
            <p:ph type="body" sz="quarter" idx="36" hasCustomPrompt="1"/>
          </p:nvPr>
        </p:nvSpPr>
        <p:spPr>
          <a:xfrm>
            <a:off x="5020274" y="1268129"/>
            <a:ext cx="39624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Text Placeholder 5">
            <a:extLst>
              <a:ext uri="{FF2B5EF4-FFF2-40B4-BE49-F238E27FC236}">
                <a16:creationId xmlns:a16="http://schemas.microsoft.com/office/drawing/2014/main" id="{5A1619A7-4E66-467A-816F-8D216D356284}"/>
              </a:ext>
            </a:extLst>
          </p:cNvPr>
          <p:cNvSpPr>
            <a:spLocks noGrp="1"/>
          </p:cNvSpPr>
          <p:nvPr>
            <p:ph type="body" sz="quarter" idx="32"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2" name="Supertitle">
            <a:extLst>
              <a:ext uri="{FF2B5EF4-FFF2-40B4-BE49-F238E27FC236}">
                <a16:creationId xmlns:a16="http://schemas.microsoft.com/office/drawing/2014/main" id="{E2B9C89C-9E0B-4344-82D2-A5C064C33F64}"/>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9226477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x2 Column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416825480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8E3D202-E0EA-466A-8C55-E2DE7686ED4D}"/>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8" name="Text 1">
            <a:extLst>
              <a:ext uri="{FF2B5EF4-FFF2-40B4-BE49-F238E27FC236}">
                <a16:creationId xmlns:a16="http://schemas.microsoft.com/office/drawing/2014/main" id="{9B01E7D4-48BF-4E5D-A571-B8D98E87B856}"/>
              </a:ext>
            </a:extLst>
          </p:cNvPr>
          <p:cNvSpPr>
            <a:spLocks noGrp="1"/>
          </p:cNvSpPr>
          <p:nvPr>
            <p:ph type="body" sz="quarter" idx="33"/>
          </p:nvPr>
        </p:nvSpPr>
        <p:spPr>
          <a:xfrm>
            <a:off x="381000" y="1710172"/>
            <a:ext cx="3962400"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0" name="Text 2">
            <a:extLst>
              <a:ext uri="{FF2B5EF4-FFF2-40B4-BE49-F238E27FC236}">
                <a16:creationId xmlns:a16="http://schemas.microsoft.com/office/drawing/2014/main" id="{FA718C05-6704-4077-8FC4-2F09B5649B9A}"/>
              </a:ext>
            </a:extLst>
          </p:cNvPr>
          <p:cNvSpPr>
            <a:spLocks noGrp="1"/>
          </p:cNvSpPr>
          <p:nvPr>
            <p:ph type="body" sz="quarter" idx="35"/>
          </p:nvPr>
        </p:nvSpPr>
        <p:spPr>
          <a:xfrm>
            <a:off x="5020274" y="1712755"/>
            <a:ext cx="3962400"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2" name="Text Placeholder 2">
            <a:extLst>
              <a:ext uri="{FF2B5EF4-FFF2-40B4-BE49-F238E27FC236}">
                <a16:creationId xmlns:a16="http://schemas.microsoft.com/office/drawing/2014/main" id="{D69DFB0D-DF47-4F51-8A1E-A3F04A199F5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3" name="Aurora Logo">
            <a:extLst>
              <a:ext uri="{FF2B5EF4-FFF2-40B4-BE49-F238E27FC236}">
                <a16:creationId xmlns:a16="http://schemas.microsoft.com/office/drawing/2014/main" id="{0B030AA5-8163-4F27-9057-F3025760F02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34" name="Header Comments">
            <a:extLst>
              <a:ext uri="{FF2B5EF4-FFF2-40B4-BE49-F238E27FC236}">
                <a16:creationId xmlns:a16="http://schemas.microsoft.com/office/drawing/2014/main" id="{BA58D606-2C71-4E85-8328-99C37B4B4195}"/>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35" name="Text Comments">
            <a:extLst>
              <a:ext uri="{FF2B5EF4-FFF2-40B4-BE49-F238E27FC236}">
                <a16:creationId xmlns:a16="http://schemas.microsoft.com/office/drawing/2014/main" id="{FF2AB152-2969-46CD-B5D8-B3919809B323}"/>
              </a:ext>
            </a:extLst>
          </p:cNvPr>
          <p:cNvSpPr>
            <a:spLocks noGrp="1"/>
          </p:cNvSpPr>
          <p:nvPr>
            <p:ph type="body" sz="quarter" idx="28"/>
          </p:nvPr>
        </p:nvSpPr>
        <p:spPr>
          <a:xfrm>
            <a:off x="9500714" y="1712755"/>
            <a:ext cx="2335686"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itle 3">
            <a:extLst>
              <a:ext uri="{FF2B5EF4-FFF2-40B4-BE49-F238E27FC236}">
                <a16:creationId xmlns:a16="http://schemas.microsoft.com/office/drawing/2014/main" id="{C5C9D1F5-9907-4B3A-A8FD-DB0AF4B08748}"/>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9" name="Text 1">
            <a:extLst>
              <a:ext uri="{FF2B5EF4-FFF2-40B4-BE49-F238E27FC236}">
                <a16:creationId xmlns:a16="http://schemas.microsoft.com/office/drawing/2014/main" id="{1AB28788-F537-4100-8E92-B79AAFA2EBE2}"/>
              </a:ext>
            </a:extLst>
          </p:cNvPr>
          <p:cNvSpPr>
            <a:spLocks noGrp="1"/>
          </p:cNvSpPr>
          <p:nvPr>
            <p:ph type="body" sz="quarter" idx="37"/>
          </p:nvPr>
        </p:nvSpPr>
        <p:spPr>
          <a:xfrm>
            <a:off x="381000" y="4408803"/>
            <a:ext cx="3962400"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2">
            <a:extLst>
              <a:ext uri="{FF2B5EF4-FFF2-40B4-BE49-F238E27FC236}">
                <a16:creationId xmlns:a16="http://schemas.microsoft.com/office/drawing/2014/main" id="{1A8068DE-3744-4018-BC69-71A4401B61FB}"/>
              </a:ext>
            </a:extLst>
          </p:cNvPr>
          <p:cNvSpPr>
            <a:spLocks noGrp="1"/>
          </p:cNvSpPr>
          <p:nvPr>
            <p:ph type="body" sz="quarter" idx="39"/>
          </p:nvPr>
        </p:nvSpPr>
        <p:spPr>
          <a:xfrm>
            <a:off x="5020274" y="4408803"/>
            <a:ext cx="3962400"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Header 1">
            <a:extLst>
              <a:ext uri="{FF2B5EF4-FFF2-40B4-BE49-F238E27FC236}">
                <a16:creationId xmlns:a16="http://schemas.microsoft.com/office/drawing/2014/main" id="{CB4DC502-8D89-4CEA-A1D5-C3310F837805}"/>
              </a:ext>
            </a:extLst>
          </p:cNvPr>
          <p:cNvSpPr>
            <a:spLocks noGrp="1"/>
          </p:cNvSpPr>
          <p:nvPr>
            <p:ph type="body" sz="quarter" idx="29" hasCustomPrompt="1"/>
          </p:nvPr>
        </p:nvSpPr>
        <p:spPr>
          <a:xfrm>
            <a:off x="381000" y="1263129"/>
            <a:ext cx="39624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6" name="Header 2">
            <a:extLst>
              <a:ext uri="{FF2B5EF4-FFF2-40B4-BE49-F238E27FC236}">
                <a16:creationId xmlns:a16="http://schemas.microsoft.com/office/drawing/2014/main" id="{FC9BB27E-9C6E-43D6-8A3B-1C3475AEB274}"/>
              </a:ext>
            </a:extLst>
          </p:cNvPr>
          <p:cNvSpPr>
            <a:spLocks noGrp="1"/>
          </p:cNvSpPr>
          <p:nvPr>
            <p:ph type="body" sz="quarter" idx="36" hasCustomPrompt="1"/>
          </p:nvPr>
        </p:nvSpPr>
        <p:spPr>
          <a:xfrm>
            <a:off x="5020274" y="1263129"/>
            <a:ext cx="39624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30" name="Header 3">
            <a:extLst>
              <a:ext uri="{FF2B5EF4-FFF2-40B4-BE49-F238E27FC236}">
                <a16:creationId xmlns:a16="http://schemas.microsoft.com/office/drawing/2014/main" id="{D12FEAB3-1729-4D16-9A00-CC88221F1E0E}"/>
              </a:ext>
            </a:extLst>
          </p:cNvPr>
          <p:cNvSpPr>
            <a:spLocks noGrp="1"/>
          </p:cNvSpPr>
          <p:nvPr>
            <p:ph type="body" sz="quarter" idx="40" hasCustomPrompt="1"/>
          </p:nvPr>
        </p:nvSpPr>
        <p:spPr>
          <a:xfrm>
            <a:off x="381000" y="3961759"/>
            <a:ext cx="39624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36" name="Header 4">
            <a:extLst>
              <a:ext uri="{FF2B5EF4-FFF2-40B4-BE49-F238E27FC236}">
                <a16:creationId xmlns:a16="http://schemas.microsoft.com/office/drawing/2014/main" id="{7E808397-1165-4076-BD0A-BE6A90C19E9B}"/>
              </a:ext>
            </a:extLst>
          </p:cNvPr>
          <p:cNvSpPr>
            <a:spLocks noGrp="1"/>
          </p:cNvSpPr>
          <p:nvPr>
            <p:ph type="body" sz="quarter" idx="41" hasCustomPrompt="1"/>
          </p:nvPr>
        </p:nvSpPr>
        <p:spPr>
          <a:xfrm>
            <a:off x="5020274" y="3961759"/>
            <a:ext cx="39624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37" name="Text Placeholder 5">
            <a:extLst>
              <a:ext uri="{FF2B5EF4-FFF2-40B4-BE49-F238E27FC236}">
                <a16:creationId xmlns:a16="http://schemas.microsoft.com/office/drawing/2014/main" id="{CC0D292B-B63E-4277-A339-858F1811E07D}"/>
              </a:ext>
            </a:extLst>
          </p:cNvPr>
          <p:cNvSpPr>
            <a:spLocks noGrp="1"/>
          </p:cNvSpPr>
          <p:nvPr>
            <p:ph type="body" sz="quarter" idx="32"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39" name="Supertitle">
            <a:extLst>
              <a:ext uri="{FF2B5EF4-FFF2-40B4-BE49-F238E27FC236}">
                <a16:creationId xmlns:a16="http://schemas.microsoft.com/office/drawing/2014/main" id="{23980E38-F915-4158-AF74-34AE9E15DEA1}"/>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5667825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13400097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4" name="Text Placeholder 4">
            <a:extLst>
              <a:ext uri="{FF2B5EF4-FFF2-40B4-BE49-F238E27FC236}">
                <a16:creationId xmlns:a16="http://schemas.microsoft.com/office/drawing/2014/main" id="{1E8FE108-DC54-4409-9662-F8ED8D794459}"/>
              </a:ext>
            </a:extLst>
          </p:cNvPr>
          <p:cNvSpPr>
            <a:spLocks noGrp="1"/>
          </p:cNvSpPr>
          <p:nvPr>
            <p:ph type="body" sz="quarter" idx="31" hasCustomPrompt="1"/>
          </p:nvPr>
        </p:nvSpPr>
        <p:spPr>
          <a:xfrm>
            <a:off x="381599" y="1263129"/>
            <a:ext cx="11428800" cy="369332"/>
          </a:xfrm>
        </p:spPr>
        <p:txBody>
          <a:bodyPr>
            <a:spAutoFit/>
          </a:bodyPr>
          <a:lstStyle>
            <a:lvl1pPr>
              <a:spcBef>
                <a:spcPts val="0"/>
              </a:spcBef>
              <a:defRPr sz="1200" b="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Grey 12 Point </a:t>
            </a:r>
          </a:p>
          <a:p>
            <a:pPr lvl="0"/>
            <a:r>
              <a:rPr lang="en-GB"/>
              <a:t>(max. 2 lines)</a:t>
            </a:r>
          </a:p>
        </p:txBody>
      </p:sp>
      <p:cxnSp>
        <p:nvCxnSpPr>
          <p:cNvPr id="55" name="Straight Connector 54">
            <a:extLst>
              <a:ext uri="{FF2B5EF4-FFF2-40B4-BE49-F238E27FC236}">
                <a16:creationId xmlns:a16="http://schemas.microsoft.com/office/drawing/2014/main" id="{CB6E8ECA-899B-49C9-9F8D-7B1CB0242CFB}"/>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7389D3C2-0654-4942-8DE0-23A2E181063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6" name="Title 5">
            <a:extLst>
              <a:ext uri="{FF2B5EF4-FFF2-40B4-BE49-F238E27FC236}">
                <a16:creationId xmlns:a16="http://schemas.microsoft.com/office/drawing/2014/main" id="{B2D0A33F-6A0B-4236-BEAF-EC5C09F9F742}"/>
              </a:ext>
            </a:extLst>
          </p:cNvPr>
          <p:cNvSpPr>
            <a:spLocks noGrp="1"/>
          </p:cNvSpPr>
          <p:nvPr>
            <p:ph type="title"/>
          </p:nvPr>
        </p:nvSpPr>
        <p:spPr>
          <a:xfrm>
            <a:off x="381599" y="411856"/>
            <a:ext cx="8600471" cy="609398"/>
          </a:xfrm>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cxnSp>
        <p:nvCxnSpPr>
          <p:cNvPr id="11" name="Bottom line">
            <a:extLst>
              <a:ext uri="{FF2B5EF4-FFF2-40B4-BE49-F238E27FC236}">
                <a16:creationId xmlns:a16="http://schemas.microsoft.com/office/drawing/2014/main" id="{FD8396C6-C8F6-47C9-9402-AD6FEBA89BC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5">
            <a:extLst>
              <a:ext uri="{FF2B5EF4-FFF2-40B4-BE49-F238E27FC236}">
                <a16:creationId xmlns:a16="http://schemas.microsoft.com/office/drawing/2014/main" id="{F8FD374B-EC81-45FE-82A5-5D0B614B0955}"/>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4" name="Supertitle">
            <a:extLst>
              <a:ext uri="{FF2B5EF4-FFF2-40B4-BE49-F238E27FC236}">
                <a16:creationId xmlns:a16="http://schemas.microsoft.com/office/drawing/2014/main" id="{BFED85D2-3BE9-4F6A-8B42-D15CF7D8BD05}"/>
              </a:ext>
            </a:extLst>
          </p:cNvPr>
          <p:cNvSpPr>
            <a:spLocks noGrp="1"/>
          </p:cNvSpPr>
          <p:nvPr>
            <p:ph type="body" sz="quarter" idx="33"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83391078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mp;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427525210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1710172"/>
            <a:ext cx="114288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4" name="Text Placeholder 4">
            <a:extLst>
              <a:ext uri="{FF2B5EF4-FFF2-40B4-BE49-F238E27FC236}">
                <a16:creationId xmlns:a16="http://schemas.microsoft.com/office/drawing/2014/main" id="{1E8FE108-DC54-4409-9662-F8ED8D794459}"/>
              </a:ext>
            </a:extLst>
          </p:cNvPr>
          <p:cNvSpPr>
            <a:spLocks noGrp="1"/>
          </p:cNvSpPr>
          <p:nvPr>
            <p:ph type="body" sz="quarter" idx="31" hasCustomPrompt="1"/>
          </p:nvPr>
        </p:nvSpPr>
        <p:spPr>
          <a:xfrm>
            <a:off x="381599" y="1263129"/>
            <a:ext cx="11428800" cy="369332"/>
          </a:xfrm>
        </p:spPr>
        <p:txBody>
          <a:bodyPr>
            <a:spAutoFit/>
          </a:bodyPr>
          <a:lstStyle>
            <a:lvl1pPr>
              <a:spcBef>
                <a:spcPts val="0"/>
              </a:spcBef>
              <a:defRPr sz="1200" b="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Grey 12 Point </a:t>
            </a:r>
          </a:p>
          <a:p>
            <a:pPr lvl="0"/>
            <a:r>
              <a:rPr lang="en-GB"/>
              <a:t>(max. 2 lines)</a:t>
            </a:r>
          </a:p>
        </p:txBody>
      </p:sp>
      <p:cxnSp>
        <p:nvCxnSpPr>
          <p:cNvPr id="55" name="Straight Connector 54">
            <a:extLst>
              <a:ext uri="{FF2B5EF4-FFF2-40B4-BE49-F238E27FC236}">
                <a16:creationId xmlns:a16="http://schemas.microsoft.com/office/drawing/2014/main" id="{CB6E8ECA-899B-49C9-9F8D-7B1CB0242CFB}"/>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7389D3C2-0654-4942-8DE0-23A2E181063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6" name="Title 5">
            <a:extLst>
              <a:ext uri="{FF2B5EF4-FFF2-40B4-BE49-F238E27FC236}">
                <a16:creationId xmlns:a16="http://schemas.microsoft.com/office/drawing/2014/main" id="{B2D0A33F-6A0B-4236-BEAF-EC5C09F9F742}"/>
              </a:ext>
            </a:extLst>
          </p:cNvPr>
          <p:cNvSpPr>
            <a:spLocks noGrp="1"/>
          </p:cNvSpPr>
          <p:nvPr>
            <p:ph type="title"/>
          </p:nvPr>
        </p:nvSpPr>
        <p:spPr>
          <a:xfrm>
            <a:off x="381599" y="411856"/>
            <a:ext cx="8600471" cy="609398"/>
          </a:xfrm>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cxnSp>
        <p:nvCxnSpPr>
          <p:cNvPr id="11" name="Bottom line">
            <a:extLst>
              <a:ext uri="{FF2B5EF4-FFF2-40B4-BE49-F238E27FC236}">
                <a16:creationId xmlns:a16="http://schemas.microsoft.com/office/drawing/2014/main" id="{FD8396C6-C8F6-47C9-9402-AD6FEBA89BC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5">
            <a:extLst>
              <a:ext uri="{FF2B5EF4-FFF2-40B4-BE49-F238E27FC236}">
                <a16:creationId xmlns:a16="http://schemas.microsoft.com/office/drawing/2014/main" id="{FE6F81A4-8F17-497F-9CA3-86176E23011F}"/>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4" name="Supertitle">
            <a:extLst>
              <a:ext uri="{FF2B5EF4-FFF2-40B4-BE49-F238E27FC236}">
                <a16:creationId xmlns:a16="http://schemas.microsoft.com/office/drawing/2014/main" id="{9C0238B2-67A9-4A0D-A1CF-60F3C0D5A161}"/>
              </a:ext>
            </a:extLst>
          </p:cNvPr>
          <p:cNvSpPr>
            <a:spLocks noGrp="1"/>
          </p:cNvSpPr>
          <p:nvPr>
            <p:ph type="body" sz="quarter" idx="33"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6632286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Rows w/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93068123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2159069"/>
            <a:ext cx="11428799"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 2">
            <a:extLst>
              <a:ext uri="{FF2B5EF4-FFF2-40B4-BE49-F238E27FC236}">
                <a16:creationId xmlns:a16="http://schemas.microsoft.com/office/drawing/2014/main" id="{C1D21A04-198F-4CDC-8469-16165405FDC5}"/>
              </a:ext>
            </a:extLst>
          </p:cNvPr>
          <p:cNvSpPr>
            <a:spLocks noGrp="1"/>
          </p:cNvSpPr>
          <p:nvPr>
            <p:ph type="body" sz="quarter" idx="31"/>
          </p:nvPr>
        </p:nvSpPr>
        <p:spPr>
          <a:xfrm>
            <a:off x="381599" y="4408803"/>
            <a:ext cx="11428799"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Header 2">
            <a:extLst>
              <a:ext uri="{FF2B5EF4-FFF2-40B4-BE49-F238E27FC236}">
                <a16:creationId xmlns:a16="http://schemas.microsoft.com/office/drawing/2014/main" id="{2802A5D6-C82B-4708-901E-1A6481C0F245}"/>
              </a:ext>
            </a:extLst>
          </p:cNvPr>
          <p:cNvSpPr>
            <a:spLocks noGrp="1"/>
          </p:cNvSpPr>
          <p:nvPr>
            <p:ph type="body" sz="quarter" idx="36" hasCustomPrompt="1"/>
          </p:nvPr>
        </p:nvSpPr>
        <p:spPr>
          <a:xfrm>
            <a:off x="381599" y="3961759"/>
            <a:ext cx="11428799"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25" name="Bottom line">
            <a:extLst>
              <a:ext uri="{FF2B5EF4-FFF2-40B4-BE49-F238E27FC236}">
                <a16:creationId xmlns:a16="http://schemas.microsoft.com/office/drawing/2014/main" id="{A72FF3B7-BC75-4064-BD6B-EB44619D9346}"/>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 Placeholder 2">
            <a:extLst>
              <a:ext uri="{FF2B5EF4-FFF2-40B4-BE49-F238E27FC236}">
                <a16:creationId xmlns:a16="http://schemas.microsoft.com/office/drawing/2014/main" id="{07B36058-653D-447D-8669-EC979FD9C70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B23A8BAD-E2A3-4E1C-AB3E-B7DD1A21187A}"/>
              </a:ext>
            </a:extLst>
          </p:cNvPr>
          <p:cNvSpPr>
            <a:spLocks noGrp="1"/>
          </p:cNvSpPr>
          <p:nvPr>
            <p:ph type="title"/>
          </p:nvPr>
        </p:nvSpPr>
        <p:spPr>
          <a:xfrm>
            <a:off x="381599" y="411856"/>
            <a:ext cx="8600471" cy="609398"/>
          </a:xfrm>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Text Placeholder 4">
            <a:extLst>
              <a:ext uri="{FF2B5EF4-FFF2-40B4-BE49-F238E27FC236}">
                <a16:creationId xmlns:a16="http://schemas.microsoft.com/office/drawing/2014/main" id="{80B7FFA5-CA01-4BA8-9847-6596B7EB6A80}"/>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15" name="Header 1">
            <a:extLst>
              <a:ext uri="{FF2B5EF4-FFF2-40B4-BE49-F238E27FC236}">
                <a16:creationId xmlns:a16="http://schemas.microsoft.com/office/drawing/2014/main" id="{CC4CB824-191F-4530-95D8-E0D18B1F7B49}"/>
              </a:ext>
            </a:extLst>
          </p:cNvPr>
          <p:cNvSpPr>
            <a:spLocks noGrp="1"/>
          </p:cNvSpPr>
          <p:nvPr>
            <p:ph type="body" sz="quarter" idx="37" hasCustomPrompt="1"/>
          </p:nvPr>
        </p:nvSpPr>
        <p:spPr>
          <a:xfrm>
            <a:off x="381599" y="1710172"/>
            <a:ext cx="11428799"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8" name="Text Placeholder 5">
            <a:extLst>
              <a:ext uri="{FF2B5EF4-FFF2-40B4-BE49-F238E27FC236}">
                <a16:creationId xmlns:a16="http://schemas.microsoft.com/office/drawing/2014/main" id="{B47CA606-B2FB-45DB-974F-2AD9CF287F71}"/>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2" name="Supertitle">
            <a:extLst>
              <a:ext uri="{FF2B5EF4-FFF2-40B4-BE49-F238E27FC236}">
                <a16:creationId xmlns:a16="http://schemas.microsoft.com/office/drawing/2014/main" id="{EF09A4E9-1555-4510-897B-0853590EBBC6}"/>
              </a:ext>
            </a:extLst>
          </p:cNvPr>
          <p:cNvSpPr>
            <a:spLocks noGrp="1"/>
          </p:cNvSpPr>
          <p:nvPr>
            <p:ph type="body" sz="quarter" idx="38"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3625416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s w/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69914231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2157215"/>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6433799" y="2157215"/>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710172"/>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Text Placeholder 4">
            <a:extLst>
              <a:ext uri="{FF2B5EF4-FFF2-40B4-BE49-F238E27FC236}">
                <a16:creationId xmlns:a16="http://schemas.microsoft.com/office/drawing/2014/main" id="{E3BE1143-B024-49D1-A0D1-6FD6EE38346C}"/>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15" name="Header 2">
            <a:extLst>
              <a:ext uri="{FF2B5EF4-FFF2-40B4-BE49-F238E27FC236}">
                <a16:creationId xmlns:a16="http://schemas.microsoft.com/office/drawing/2014/main" id="{4CDAD24F-66BA-429F-B1D6-CC3E9F342B2E}"/>
              </a:ext>
            </a:extLst>
          </p:cNvPr>
          <p:cNvSpPr>
            <a:spLocks noGrp="1"/>
          </p:cNvSpPr>
          <p:nvPr>
            <p:ph type="body" sz="quarter" idx="32" hasCustomPrompt="1"/>
          </p:nvPr>
        </p:nvSpPr>
        <p:spPr>
          <a:xfrm>
            <a:off x="6433799" y="1710172"/>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8" name="Text Placeholder 5">
            <a:extLst>
              <a:ext uri="{FF2B5EF4-FFF2-40B4-BE49-F238E27FC236}">
                <a16:creationId xmlns:a16="http://schemas.microsoft.com/office/drawing/2014/main" id="{D31B44AB-E325-4D85-AD6C-F9D8A8EBD7A4}"/>
              </a:ext>
            </a:extLst>
          </p:cNvPr>
          <p:cNvSpPr>
            <a:spLocks noGrp="1"/>
          </p:cNvSpPr>
          <p:nvPr>
            <p:ph type="body" sz="quarter" idx="33"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Supertitle">
            <a:extLst>
              <a:ext uri="{FF2B5EF4-FFF2-40B4-BE49-F238E27FC236}">
                <a16:creationId xmlns:a16="http://schemas.microsoft.com/office/drawing/2014/main" id="{B13715BD-CF0D-4BD6-9FF9-55A24368CD77}"/>
              </a:ext>
            </a:extLst>
          </p:cNvPr>
          <p:cNvSpPr>
            <a:spLocks noGrp="1"/>
          </p:cNvSpPr>
          <p:nvPr>
            <p:ph type="body" sz="quarter" idx="34"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0583650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Columns &amp; ST ">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07314264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2157827"/>
            <a:ext cx="3517128"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2157827"/>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710172"/>
            <a:ext cx="3517128" cy="369332"/>
          </a:xfrm>
        </p:spPr>
        <p:txBody>
          <a:bodyPr wrap="square">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710172"/>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2157827"/>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710172"/>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5" name="Text Placeholder 4">
            <a:extLst>
              <a:ext uri="{FF2B5EF4-FFF2-40B4-BE49-F238E27FC236}">
                <a16:creationId xmlns:a16="http://schemas.microsoft.com/office/drawing/2014/main" id="{F8DCD7AD-925F-43E4-B518-7C85FF5C6E73}"/>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23" name="Supertitle">
            <a:extLst>
              <a:ext uri="{FF2B5EF4-FFF2-40B4-BE49-F238E27FC236}">
                <a16:creationId xmlns:a16="http://schemas.microsoft.com/office/drawing/2014/main" id="{0E4B5625-6591-44EC-86EF-CA23C10F1388}"/>
              </a:ext>
            </a:extLst>
          </p:cNvPr>
          <p:cNvSpPr>
            <a:spLocks noGrp="1"/>
          </p:cNvSpPr>
          <p:nvPr>
            <p:ph type="body" sz="quarter" idx="35"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510984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3 Columns &amp; ST &amp; resul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8867081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5311770"/>
            <a:ext cx="3517128"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5311770"/>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710172"/>
            <a:ext cx="3517128" cy="369332"/>
          </a:xfrm>
        </p:spPr>
        <p:txBody>
          <a:bodyPr wrap="square">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710172"/>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5311770"/>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710172"/>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5" name="Text Placeholder 4">
            <a:extLst>
              <a:ext uri="{FF2B5EF4-FFF2-40B4-BE49-F238E27FC236}">
                <a16:creationId xmlns:a16="http://schemas.microsoft.com/office/drawing/2014/main" id="{F8DCD7AD-925F-43E4-B518-7C85FF5C6E73}"/>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23" name="Supertitle">
            <a:extLst>
              <a:ext uri="{FF2B5EF4-FFF2-40B4-BE49-F238E27FC236}">
                <a16:creationId xmlns:a16="http://schemas.microsoft.com/office/drawing/2014/main" id="{4CF9AB07-A543-4F9B-BA8A-FA616EDBFCE4}"/>
              </a:ext>
            </a:extLst>
          </p:cNvPr>
          <p:cNvSpPr>
            <a:spLocks noGrp="1"/>
          </p:cNvSpPr>
          <p:nvPr>
            <p:ph type="body" sz="quarter" idx="35"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9889853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_Repor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06097934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1" name="Text Placeholder 3">
            <a:extLst>
              <a:ext uri="{FF2B5EF4-FFF2-40B4-BE49-F238E27FC236}">
                <a16:creationId xmlns:a16="http://schemas.microsoft.com/office/drawing/2014/main" id="{91C5274C-F47E-4592-A554-EF60A986DFB9}"/>
              </a:ext>
            </a:extLst>
          </p:cNvPr>
          <p:cNvSpPr>
            <a:spLocks noGrp="1"/>
          </p:cNvSpPr>
          <p:nvPr>
            <p:ph type="body" sz="quarter" idx="29"/>
          </p:nvPr>
        </p:nvSpPr>
        <p:spPr>
          <a:xfrm>
            <a:off x="0" y="1272245"/>
            <a:ext cx="6095996" cy="252000"/>
          </a:xfrm>
          <a:solidFill>
            <a:schemeClr val="accent2"/>
          </a:solidFill>
        </p:spPr>
        <p:txBody>
          <a:bodyPr anchor="ctr" anchorCtr="0">
            <a:noAutofit/>
          </a:bodyPr>
          <a:lstStyle>
            <a:lvl1pPr>
              <a:defRPr>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US"/>
              <a:t>Click to edit Master text styles</a:t>
            </a: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62c64e16-bc6f-401c-8aa6-7389769131f3">
            <a:extLst>
              <a:ext uri="{FF2B5EF4-FFF2-40B4-BE49-F238E27FC236}">
                <a16:creationId xmlns:a16="http://schemas.microsoft.com/office/drawing/2014/main" id="{24CDEDBE-51B8-4919-89D3-38AB9D7D93CE}"/>
              </a:ext>
            </a:extLst>
          </p:cNvPr>
          <p:cNvCxnSpPr>
            <a:cxnSpLocks/>
          </p:cNvCxnSpPr>
          <p:nvPr/>
        </p:nvCxnSpPr>
        <p:spPr>
          <a:xfrm>
            <a:off x="6096000" y="1281770"/>
            <a:ext cx="0" cy="489305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9F1D0497-9D43-47C1-B0A9-27757300FDD8}"/>
              </a:ext>
            </a:extLst>
          </p:cNvPr>
          <p:cNvSpPr>
            <a:spLocks noGrp="1"/>
          </p:cNvSpPr>
          <p:nvPr>
            <p:ph type="body" sz="quarter" idx="28" hasCustomPrompt="1"/>
          </p:nvPr>
        </p:nvSpPr>
        <p:spPr>
          <a:xfrm>
            <a:off x="381000" y="1306835"/>
            <a:ext cx="11428413" cy="3813596"/>
          </a:xfrm>
          <a:prstGeom prst="rect">
            <a:avLst/>
          </a:prstGeom>
        </p:spPr>
        <p:txBody>
          <a:bodyPr numCol="2" spcCol="216000">
            <a:noAutofit/>
          </a:bodyPr>
          <a:lstStyle>
            <a:lvl1pPr marL="361950" indent="-361950">
              <a:spcBef>
                <a:spcPts val="1800"/>
              </a:spcBef>
              <a:buClr>
                <a:schemeClr val="tx1"/>
              </a:buClr>
              <a:buFont typeface="+mj-lt"/>
              <a:buAutoNum type="romanUcPeriod"/>
              <a:tabLst>
                <a:tab pos="5599113" algn="r"/>
              </a:tabLst>
              <a:defRPr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628650" indent="-266700">
              <a:buFont typeface="+mj-lt"/>
              <a:buAutoNum type="arabicPeriod"/>
              <a:tabLst>
                <a:tab pos="5599113" algn="r"/>
              </a:tabLst>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896938" indent="-266700">
              <a:buFont typeface="+mj-lt"/>
              <a:buAutoNum type="romanLcPeriod"/>
              <a:tabLst>
                <a:tab pos="5598000" algn="r"/>
              </a:tabLst>
              <a:defRPr/>
            </a:lvl3pPr>
          </a:lstStyle>
          <a:p>
            <a:r>
              <a:rPr lang="en-GB"/>
              <a:t>Section I	xx</a:t>
            </a:r>
          </a:p>
          <a:p>
            <a:pPr lvl="1"/>
            <a:r>
              <a:rPr lang="en-GB"/>
              <a:t>Sub-section 1	xx</a:t>
            </a:r>
          </a:p>
          <a:p>
            <a:pPr lvl="1"/>
            <a:r>
              <a:rPr lang="en-GB"/>
              <a:t>Sub-section 2	xx</a:t>
            </a:r>
          </a:p>
          <a:p>
            <a:pPr lvl="1"/>
            <a:r>
              <a:rPr lang="en-GB"/>
              <a:t>Sub-section 3	xx</a:t>
            </a:r>
          </a:p>
          <a:p>
            <a:r>
              <a:rPr lang="en-GB"/>
              <a:t>Section II	xx</a:t>
            </a:r>
          </a:p>
          <a:p>
            <a:pPr lvl="1"/>
            <a:r>
              <a:rPr lang="en-GB"/>
              <a:t>Sub-section 1	xx</a:t>
            </a:r>
          </a:p>
          <a:p>
            <a:pPr lvl="1"/>
            <a:r>
              <a:rPr lang="en-GB"/>
              <a:t>Sub-section 2	xx</a:t>
            </a:r>
          </a:p>
          <a:p>
            <a:pPr lvl="1"/>
            <a:r>
              <a:rPr lang="en-GB"/>
              <a:t>Sub-section 3	xx</a:t>
            </a:r>
          </a:p>
          <a:p>
            <a:r>
              <a:rPr lang="en-GB"/>
              <a:t>Section II	xx</a:t>
            </a:r>
          </a:p>
          <a:p>
            <a:pPr lvl="1"/>
            <a:r>
              <a:rPr lang="en-GB"/>
              <a:t>Sub-section 1	xx</a:t>
            </a:r>
          </a:p>
          <a:p>
            <a:pPr lvl="1"/>
            <a:r>
              <a:rPr lang="en-GB"/>
              <a:t>Sub-section 2	xx</a:t>
            </a:r>
          </a:p>
          <a:p>
            <a:pPr lvl="1"/>
            <a:r>
              <a:rPr lang="en-GB"/>
              <a:t>Sub-section 3	xx</a:t>
            </a:r>
          </a:p>
          <a:p>
            <a:endParaRPr lang="en-GB"/>
          </a:p>
          <a:p>
            <a:r>
              <a:rPr lang="en-GB"/>
              <a:t>Section III	xx</a:t>
            </a:r>
          </a:p>
          <a:p>
            <a:pPr lvl="1"/>
            <a:r>
              <a:rPr lang="en-GB"/>
              <a:t>Sub-section 1	xx</a:t>
            </a:r>
          </a:p>
          <a:p>
            <a:pPr lvl="1"/>
            <a:r>
              <a:rPr lang="en-GB"/>
              <a:t>Sub-section 2	xx</a:t>
            </a:r>
          </a:p>
          <a:p>
            <a:pPr lvl="1"/>
            <a:r>
              <a:rPr lang="en-GB"/>
              <a:t>Sub-section 3	xx</a:t>
            </a:r>
          </a:p>
          <a:p>
            <a:r>
              <a:rPr lang="en-GB"/>
              <a:t>Section IV	xx</a:t>
            </a:r>
          </a:p>
          <a:p>
            <a:pPr lvl="1"/>
            <a:r>
              <a:rPr lang="en-GB"/>
              <a:t>Sub-section 1	xx</a:t>
            </a:r>
          </a:p>
          <a:p>
            <a:pPr lvl="1"/>
            <a:r>
              <a:rPr lang="en-GB"/>
              <a:t>Sub-section 2	xx</a:t>
            </a:r>
          </a:p>
          <a:p>
            <a:pPr lvl="1"/>
            <a:r>
              <a:rPr lang="en-GB"/>
              <a:t>Sub-section 3	xx</a:t>
            </a:r>
          </a:p>
          <a:p>
            <a:r>
              <a:rPr lang="en-GB"/>
              <a:t>Section V	xx</a:t>
            </a:r>
          </a:p>
          <a:p>
            <a:pPr lvl="1"/>
            <a:r>
              <a:rPr lang="en-GB"/>
              <a:t>Sub-section 1	xx</a:t>
            </a:r>
          </a:p>
          <a:p>
            <a:pPr lvl="1"/>
            <a:r>
              <a:rPr lang="en-GB"/>
              <a:t>Sub-section 2	xx</a:t>
            </a:r>
          </a:p>
          <a:p>
            <a:pPr lvl="1"/>
            <a:r>
              <a:rPr lang="en-GB"/>
              <a:t>Sub-section 3	xx</a:t>
            </a:r>
          </a:p>
        </p:txBody>
      </p:sp>
      <p:sp>
        <p:nvSpPr>
          <p:cNvPr id="9" name="38f1b144-a7dc-4fbe-8223-e0ddcb76a106">
            <a:extLst>
              <a:ext uri="{FF2B5EF4-FFF2-40B4-BE49-F238E27FC236}">
                <a16:creationId xmlns:a16="http://schemas.microsoft.com/office/drawing/2014/main" id="{2019F545-B144-4AAC-AF7F-6469E7AAFFCD}"/>
              </a:ext>
            </a:extLst>
          </p:cNvPr>
          <p:cNvSpPr txBox="1">
            <a:spLocks/>
          </p:cNvSpPr>
          <p:nvPr/>
        </p:nvSpPr>
        <p:spPr>
          <a:xfrm>
            <a:off x="381000" y="411856"/>
            <a:ext cx="8600471" cy="304699"/>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genda</a:t>
            </a:r>
          </a:p>
        </p:txBody>
      </p:sp>
    </p:spTree>
    <p:extLst>
      <p:ext uri="{BB962C8B-B14F-4D97-AF65-F5344CB8AC3E}">
        <p14:creationId xmlns:p14="http://schemas.microsoft.com/office/powerpoint/2010/main" val="65447586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x2 Columns w/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25186127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381000" y="2156849"/>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6433799" y="2156849"/>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381000" y="4408803"/>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6433799" y="4408803"/>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8" name="Text Placeholder 4">
            <a:extLst>
              <a:ext uri="{FF2B5EF4-FFF2-40B4-BE49-F238E27FC236}">
                <a16:creationId xmlns:a16="http://schemas.microsoft.com/office/drawing/2014/main" id="{F1C9B74D-AA4A-41C9-908C-F5884B578581}"/>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19" name="Header 1">
            <a:extLst>
              <a:ext uri="{FF2B5EF4-FFF2-40B4-BE49-F238E27FC236}">
                <a16:creationId xmlns:a16="http://schemas.microsoft.com/office/drawing/2014/main" id="{CE85712C-A9D9-4D8D-9215-D2F8C7B77277}"/>
              </a:ext>
            </a:extLst>
          </p:cNvPr>
          <p:cNvSpPr>
            <a:spLocks noGrp="1"/>
          </p:cNvSpPr>
          <p:nvPr>
            <p:ph type="body" sz="quarter" idx="29" hasCustomPrompt="1"/>
          </p:nvPr>
        </p:nvSpPr>
        <p:spPr>
          <a:xfrm>
            <a:off x="381000" y="1710172"/>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0" name="Header 2">
            <a:extLst>
              <a:ext uri="{FF2B5EF4-FFF2-40B4-BE49-F238E27FC236}">
                <a16:creationId xmlns:a16="http://schemas.microsoft.com/office/drawing/2014/main" id="{9811013D-C8B9-4C12-B29D-D49896202E0B}"/>
              </a:ext>
            </a:extLst>
          </p:cNvPr>
          <p:cNvSpPr>
            <a:spLocks noGrp="1"/>
          </p:cNvSpPr>
          <p:nvPr>
            <p:ph type="body" sz="quarter" idx="32" hasCustomPrompt="1"/>
          </p:nvPr>
        </p:nvSpPr>
        <p:spPr>
          <a:xfrm>
            <a:off x="6433799" y="1710172"/>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1" name="Header 3">
            <a:extLst>
              <a:ext uri="{FF2B5EF4-FFF2-40B4-BE49-F238E27FC236}">
                <a16:creationId xmlns:a16="http://schemas.microsoft.com/office/drawing/2014/main" id="{81C32393-35A4-4D57-9C71-3766A762518F}"/>
              </a:ext>
            </a:extLst>
          </p:cNvPr>
          <p:cNvSpPr>
            <a:spLocks noGrp="1"/>
          </p:cNvSpPr>
          <p:nvPr>
            <p:ph type="body" sz="quarter" idx="40" hasCustomPrompt="1"/>
          </p:nvPr>
        </p:nvSpPr>
        <p:spPr>
          <a:xfrm>
            <a:off x="381000" y="396175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2" name="Header 4">
            <a:extLst>
              <a:ext uri="{FF2B5EF4-FFF2-40B4-BE49-F238E27FC236}">
                <a16:creationId xmlns:a16="http://schemas.microsoft.com/office/drawing/2014/main" id="{ED5EF0B4-A865-481D-B6EB-CE3AA5032265}"/>
              </a:ext>
            </a:extLst>
          </p:cNvPr>
          <p:cNvSpPr>
            <a:spLocks noGrp="1"/>
          </p:cNvSpPr>
          <p:nvPr>
            <p:ph type="body" sz="quarter" idx="41" hasCustomPrompt="1"/>
          </p:nvPr>
        </p:nvSpPr>
        <p:spPr>
          <a:xfrm>
            <a:off x="6433799" y="396175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7" name="Text Placeholder 5">
            <a:extLst>
              <a:ext uri="{FF2B5EF4-FFF2-40B4-BE49-F238E27FC236}">
                <a16:creationId xmlns:a16="http://schemas.microsoft.com/office/drawing/2014/main" id="{26764055-1C71-464F-9EC3-37CF1D5172BE}"/>
              </a:ext>
            </a:extLst>
          </p:cNvPr>
          <p:cNvSpPr>
            <a:spLocks noGrp="1"/>
          </p:cNvSpPr>
          <p:nvPr>
            <p:ph type="body" sz="quarter" idx="4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3" name="Supertitle">
            <a:extLst>
              <a:ext uri="{FF2B5EF4-FFF2-40B4-BE49-F238E27FC236}">
                <a16:creationId xmlns:a16="http://schemas.microsoft.com/office/drawing/2014/main" id="{59160C87-BA14-41C1-99AB-D59B8122C92A}"/>
              </a:ext>
            </a:extLst>
          </p:cNvPr>
          <p:cNvSpPr>
            <a:spLocks noGrp="1"/>
          </p:cNvSpPr>
          <p:nvPr>
            <p:ph type="body" sz="quarter" idx="43"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74031416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x2 Columns w/ boxes lef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57195106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42" name="Header 1">
            <a:extLst>
              <a:ext uri="{FF2B5EF4-FFF2-40B4-BE49-F238E27FC236}">
                <a16:creationId xmlns:a16="http://schemas.microsoft.com/office/drawing/2014/main" id="{C6F2795A-D810-4E5B-A614-A4D19B261450}"/>
              </a:ext>
            </a:extLst>
          </p:cNvPr>
          <p:cNvSpPr>
            <a:spLocks noGrp="1"/>
          </p:cNvSpPr>
          <p:nvPr>
            <p:ph type="body" sz="quarter" idx="44" hasCustomPrompt="1"/>
          </p:nvPr>
        </p:nvSpPr>
        <p:spPr>
          <a:xfrm>
            <a:off x="6436872" y="1724728"/>
            <a:ext cx="908686" cy="2068113"/>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1344260" y="2154644"/>
            <a:ext cx="4412739" cy="1638197"/>
          </a:xfrm>
        </p:spPr>
        <p:txBody>
          <a:bodyPr>
            <a:no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7397660" y="2154644"/>
            <a:ext cx="4412739" cy="1638197"/>
          </a:xfrm>
        </p:spPr>
        <p:txBody>
          <a:bodyPr>
            <a:no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7" name="Header 1">
            <a:extLst>
              <a:ext uri="{FF2B5EF4-FFF2-40B4-BE49-F238E27FC236}">
                <a16:creationId xmlns:a16="http://schemas.microsoft.com/office/drawing/2014/main" id="{4260A183-6570-43A4-947E-594FDC5180ED}"/>
              </a:ext>
            </a:extLst>
          </p:cNvPr>
          <p:cNvSpPr>
            <a:spLocks noGrp="1"/>
          </p:cNvSpPr>
          <p:nvPr>
            <p:ph type="body" sz="quarter" idx="36" hasCustomPrompt="1"/>
          </p:nvPr>
        </p:nvSpPr>
        <p:spPr>
          <a:xfrm>
            <a:off x="1344260" y="1724727"/>
            <a:ext cx="4412739"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0" name="Header 2">
            <a:extLst>
              <a:ext uri="{FF2B5EF4-FFF2-40B4-BE49-F238E27FC236}">
                <a16:creationId xmlns:a16="http://schemas.microsoft.com/office/drawing/2014/main" id="{30B40A43-AF85-4C48-AB3A-DA05DE732F35}"/>
              </a:ext>
            </a:extLst>
          </p:cNvPr>
          <p:cNvSpPr>
            <a:spLocks noGrp="1"/>
          </p:cNvSpPr>
          <p:nvPr>
            <p:ph type="body" sz="quarter" idx="30" hasCustomPrompt="1"/>
          </p:nvPr>
        </p:nvSpPr>
        <p:spPr>
          <a:xfrm>
            <a:off x="7397660" y="1724727"/>
            <a:ext cx="4412739"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1344260" y="4514955"/>
            <a:ext cx="4412739" cy="1638196"/>
          </a:xfrm>
        </p:spPr>
        <p:txBody>
          <a:bodyPr>
            <a:no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7397660" y="4514955"/>
            <a:ext cx="4412739" cy="1638196"/>
          </a:xfrm>
        </p:spPr>
        <p:txBody>
          <a:bodyPr>
            <a:no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Header 3">
            <a:extLst>
              <a:ext uri="{FF2B5EF4-FFF2-40B4-BE49-F238E27FC236}">
                <a16:creationId xmlns:a16="http://schemas.microsoft.com/office/drawing/2014/main" id="{831DB6E1-CBAC-4ECF-88CF-E8D51B29C19C}"/>
              </a:ext>
            </a:extLst>
          </p:cNvPr>
          <p:cNvSpPr>
            <a:spLocks noGrp="1"/>
          </p:cNvSpPr>
          <p:nvPr>
            <p:ph type="body" sz="quarter" idx="39" hasCustomPrompt="1"/>
          </p:nvPr>
        </p:nvSpPr>
        <p:spPr>
          <a:xfrm>
            <a:off x="1344260" y="4085037"/>
            <a:ext cx="4412739"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6" name="Header 4">
            <a:extLst>
              <a:ext uri="{FF2B5EF4-FFF2-40B4-BE49-F238E27FC236}">
                <a16:creationId xmlns:a16="http://schemas.microsoft.com/office/drawing/2014/main" id="{F2730FC7-2E6F-466D-9221-BB8A8A498DDA}"/>
              </a:ext>
            </a:extLst>
          </p:cNvPr>
          <p:cNvSpPr>
            <a:spLocks noGrp="1"/>
          </p:cNvSpPr>
          <p:nvPr>
            <p:ph type="body" sz="quarter" idx="40" hasCustomPrompt="1"/>
          </p:nvPr>
        </p:nvSpPr>
        <p:spPr>
          <a:xfrm>
            <a:off x="7397660" y="4085037"/>
            <a:ext cx="4412739"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4 </a:t>
            </a:r>
            <a:r>
              <a:rPr lang="en-GB" err="1"/>
              <a:t>Lato</a:t>
            </a:r>
            <a:r>
              <a:rPr lang="en-GB"/>
              <a:t> 12 Point</a:t>
            </a:r>
          </a:p>
          <a:p>
            <a:pPr lvl="0"/>
            <a:r>
              <a:rPr lang="en-GB"/>
              <a:t>(max. 2 lines)</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62856"/>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8" name="Text Placeholder 4">
            <a:extLst>
              <a:ext uri="{FF2B5EF4-FFF2-40B4-BE49-F238E27FC236}">
                <a16:creationId xmlns:a16="http://schemas.microsoft.com/office/drawing/2014/main" id="{F1C9B74D-AA4A-41C9-908C-F5884B578581}"/>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38" name="Header 1">
            <a:extLst>
              <a:ext uri="{FF2B5EF4-FFF2-40B4-BE49-F238E27FC236}">
                <a16:creationId xmlns:a16="http://schemas.microsoft.com/office/drawing/2014/main" id="{7FCA4893-4428-4B85-88ED-35A9A51FAEF7}"/>
              </a:ext>
            </a:extLst>
          </p:cNvPr>
          <p:cNvSpPr>
            <a:spLocks noGrp="1"/>
          </p:cNvSpPr>
          <p:nvPr>
            <p:ph type="body" sz="quarter" idx="41" hasCustomPrompt="1"/>
          </p:nvPr>
        </p:nvSpPr>
        <p:spPr>
          <a:xfrm>
            <a:off x="381599" y="1724728"/>
            <a:ext cx="908686" cy="2068113"/>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39" name="Text Placeholder 4">
            <a:extLst>
              <a:ext uri="{FF2B5EF4-FFF2-40B4-BE49-F238E27FC236}">
                <a16:creationId xmlns:a16="http://schemas.microsoft.com/office/drawing/2014/main" id="{2717A667-C17A-4A65-A0DA-460F20A79959}"/>
              </a:ext>
            </a:extLst>
          </p:cNvPr>
          <p:cNvSpPr>
            <a:spLocks noGrp="1"/>
          </p:cNvSpPr>
          <p:nvPr>
            <p:ph type="body" sz="quarter" idx="42" hasCustomPrompt="1"/>
          </p:nvPr>
        </p:nvSpPr>
        <p:spPr>
          <a:xfrm>
            <a:off x="346075" y="1705124"/>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1</a:t>
            </a:r>
          </a:p>
        </p:txBody>
      </p:sp>
      <p:sp>
        <p:nvSpPr>
          <p:cNvPr id="41" name="Text Placeholder 4">
            <a:extLst>
              <a:ext uri="{FF2B5EF4-FFF2-40B4-BE49-F238E27FC236}">
                <a16:creationId xmlns:a16="http://schemas.microsoft.com/office/drawing/2014/main" id="{D44F1B25-5AEF-475A-B24F-9978D0EFEE15}"/>
              </a:ext>
            </a:extLst>
          </p:cNvPr>
          <p:cNvSpPr>
            <a:spLocks noGrp="1"/>
          </p:cNvSpPr>
          <p:nvPr>
            <p:ph type="body" sz="quarter" idx="43" hasCustomPrompt="1"/>
          </p:nvPr>
        </p:nvSpPr>
        <p:spPr>
          <a:xfrm>
            <a:off x="6370022" y="1705124"/>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2</a:t>
            </a:r>
          </a:p>
        </p:txBody>
      </p:sp>
      <p:sp>
        <p:nvSpPr>
          <p:cNvPr id="43" name="Header 1">
            <a:extLst>
              <a:ext uri="{FF2B5EF4-FFF2-40B4-BE49-F238E27FC236}">
                <a16:creationId xmlns:a16="http://schemas.microsoft.com/office/drawing/2014/main" id="{7E37013A-460E-47E1-A9DF-15009C673120}"/>
              </a:ext>
            </a:extLst>
          </p:cNvPr>
          <p:cNvSpPr>
            <a:spLocks noGrp="1"/>
          </p:cNvSpPr>
          <p:nvPr>
            <p:ph type="body" sz="quarter" idx="45" hasCustomPrompt="1"/>
          </p:nvPr>
        </p:nvSpPr>
        <p:spPr>
          <a:xfrm>
            <a:off x="6436872" y="4085037"/>
            <a:ext cx="908686" cy="2068113"/>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44" name="Header 1">
            <a:extLst>
              <a:ext uri="{FF2B5EF4-FFF2-40B4-BE49-F238E27FC236}">
                <a16:creationId xmlns:a16="http://schemas.microsoft.com/office/drawing/2014/main" id="{4A7A49FE-90F8-49D5-92A6-BEF37210A6B8}"/>
              </a:ext>
            </a:extLst>
          </p:cNvPr>
          <p:cNvSpPr>
            <a:spLocks noGrp="1"/>
          </p:cNvSpPr>
          <p:nvPr>
            <p:ph type="body" sz="quarter" idx="46" hasCustomPrompt="1"/>
          </p:nvPr>
        </p:nvSpPr>
        <p:spPr>
          <a:xfrm>
            <a:off x="381599" y="4085037"/>
            <a:ext cx="908686" cy="2068113"/>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45" name="Text Placeholder 4">
            <a:extLst>
              <a:ext uri="{FF2B5EF4-FFF2-40B4-BE49-F238E27FC236}">
                <a16:creationId xmlns:a16="http://schemas.microsoft.com/office/drawing/2014/main" id="{8EBB7965-F4C9-42ED-AD20-20DAD9D6CC5E}"/>
              </a:ext>
            </a:extLst>
          </p:cNvPr>
          <p:cNvSpPr>
            <a:spLocks noGrp="1"/>
          </p:cNvSpPr>
          <p:nvPr>
            <p:ph type="body" sz="quarter" idx="47" hasCustomPrompt="1"/>
          </p:nvPr>
        </p:nvSpPr>
        <p:spPr>
          <a:xfrm>
            <a:off x="346075" y="4045651"/>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3</a:t>
            </a:r>
          </a:p>
        </p:txBody>
      </p:sp>
      <p:sp>
        <p:nvSpPr>
          <p:cNvPr id="46" name="Text Placeholder 4">
            <a:extLst>
              <a:ext uri="{FF2B5EF4-FFF2-40B4-BE49-F238E27FC236}">
                <a16:creationId xmlns:a16="http://schemas.microsoft.com/office/drawing/2014/main" id="{DC5BF429-E5B1-4EF1-9507-F7FADE5F65D8}"/>
              </a:ext>
            </a:extLst>
          </p:cNvPr>
          <p:cNvSpPr>
            <a:spLocks noGrp="1"/>
          </p:cNvSpPr>
          <p:nvPr>
            <p:ph type="body" sz="quarter" idx="48" hasCustomPrompt="1"/>
          </p:nvPr>
        </p:nvSpPr>
        <p:spPr>
          <a:xfrm>
            <a:off x="6370022" y="4016385"/>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4</a:t>
            </a:r>
          </a:p>
        </p:txBody>
      </p:sp>
      <p:sp>
        <p:nvSpPr>
          <p:cNvPr id="37" name="Text Placeholder 5">
            <a:extLst>
              <a:ext uri="{FF2B5EF4-FFF2-40B4-BE49-F238E27FC236}">
                <a16:creationId xmlns:a16="http://schemas.microsoft.com/office/drawing/2014/main" id="{8574D18D-32EA-452E-8261-FB6F366D0871}"/>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CF05201-D523-4050-AE16-80986FCB8FAA}"/>
              </a:ext>
            </a:extLst>
          </p:cNvPr>
          <p:cNvSpPr>
            <a:spLocks noGrp="1"/>
          </p:cNvSpPr>
          <p:nvPr>
            <p:ph type="body" sz="quarter" idx="49"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12797232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x2 Columns w/ header boxe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68241371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381000" y="2421389"/>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6433799" y="2421389"/>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7" name="Header 1">
            <a:extLst>
              <a:ext uri="{FF2B5EF4-FFF2-40B4-BE49-F238E27FC236}">
                <a16:creationId xmlns:a16="http://schemas.microsoft.com/office/drawing/2014/main" id="{4260A183-6570-43A4-947E-594FDC5180ED}"/>
              </a:ext>
            </a:extLst>
          </p:cNvPr>
          <p:cNvSpPr>
            <a:spLocks noGrp="1"/>
          </p:cNvSpPr>
          <p:nvPr>
            <p:ph type="body" sz="quarter" idx="36" hasCustomPrompt="1"/>
          </p:nvPr>
        </p:nvSpPr>
        <p:spPr>
          <a:xfrm>
            <a:off x="381000" y="1974346"/>
            <a:ext cx="5376000"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0" name="Header 2">
            <a:extLst>
              <a:ext uri="{FF2B5EF4-FFF2-40B4-BE49-F238E27FC236}">
                <a16:creationId xmlns:a16="http://schemas.microsoft.com/office/drawing/2014/main" id="{30B40A43-AF85-4C48-AB3A-DA05DE732F35}"/>
              </a:ext>
            </a:extLst>
          </p:cNvPr>
          <p:cNvSpPr>
            <a:spLocks noGrp="1"/>
          </p:cNvSpPr>
          <p:nvPr>
            <p:ph type="body" sz="quarter" idx="30" hasCustomPrompt="1"/>
          </p:nvPr>
        </p:nvSpPr>
        <p:spPr>
          <a:xfrm>
            <a:off x="6433799" y="1974346"/>
            <a:ext cx="5376000"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381000" y="4794573"/>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6433799" y="4794573"/>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Header 3">
            <a:extLst>
              <a:ext uri="{FF2B5EF4-FFF2-40B4-BE49-F238E27FC236}">
                <a16:creationId xmlns:a16="http://schemas.microsoft.com/office/drawing/2014/main" id="{831DB6E1-CBAC-4ECF-88CF-E8D51B29C19C}"/>
              </a:ext>
            </a:extLst>
          </p:cNvPr>
          <p:cNvSpPr>
            <a:spLocks noGrp="1"/>
          </p:cNvSpPr>
          <p:nvPr>
            <p:ph type="body" sz="quarter" idx="39" hasCustomPrompt="1"/>
          </p:nvPr>
        </p:nvSpPr>
        <p:spPr>
          <a:xfrm>
            <a:off x="381000" y="4344470"/>
            <a:ext cx="5376000"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6" name="Header 4">
            <a:extLst>
              <a:ext uri="{FF2B5EF4-FFF2-40B4-BE49-F238E27FC236}">
                <a16:creationId xmlns:a16="http://schemas.microsoft.com/office/drawing/2014/main" id="{F2730FC7-2E6F-466D-9221-BB8A8A498DDA}"/>
              </a:ext>
            </a:extLst>
          </p:cNvPr>
          <p:cNvSpPr>
            <a:spLocks noGrp="1"/>
          </p:cNvSpPr>
          <p:nvPr>
            <p:ph type="body" sz="quarter" idx="40" hasCustomPrompt="1"/>
          </p:nvPr>
        </p:nvSpPr>
        <p:spPr>
          <a:xfrm>
            <a:off x="6433799" y="4344470"/>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lvl="0"/>
            <a:r>
              <a:rPr lang="en-GB"/>
              <a:t>(max. 2 lines)</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8" name="Text Placeholder 4">
            <a:extLst>
              <a:ext uri="{FF2B5EF4-FFF2-40B4-BE49-F238E27FC236}">
                <a16:creationId xmlns:a16="http://schemas.microsoft.com/office/drawing/2014/main" id="{F1C9B74D-AA4A-41C9-908C-F5884B578581}"/>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43" name="Header 1">
            <a:extLst>
              <a:ext uri="{FF2B5EF4-FFF2-40B4-BE49-F238E27FC236}">
                <a16:creationId xmlns:a16="http://schemas.microsoft.com/office/drawing/2014/main" id="{A579CFF5-C5B3-474E-AF68-241D17CCE7C8}"/>
              </a:ext>
            </a:extLst>
          </p:cNvPr>
          <p:cNvSpPr>
            <a:spLocks noGrp="1"/>
          </p:cNvSpPr>
          <p:nvPr>
            <p:ph type="body" sz="quarter" idx="41" hasCustomPrompt="1"/>
          </p:nvPr>
        </p:nvSpPr>
        <p:spPr>
          <a:xfrm>
            <a:off x="495300" y="1723182"/>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46" name="Header 1">
            <a:extLst>
              <a:ext uri="{FF2B5EF4-FFF2-40B4-BE49-F238E27FC236}">
                <a16:creationId xmlns:a16="http://schemas.microsoft.com/office/drawing/2014/main" id="{15492E27-0423-4B7C-9F8A-92CAFE37CEF1}"/>
              </a:ext>
            </a:extLst>
          </p:cNvPr>
          <p:cNvSpPr>
            <a:spLocks noGrp="1"/>
          </p:cNvSpPr>
          <p:nvPr>
            <p:ph type="body" sz="quarter" idx="43" hasCustomPrompt="1"/>
          </p:nvPr>
        </p:nvSpPr>
        <p:spPr>
          <a:xfrm>
            <a:off x="6548099" y="1723182"/>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47" name="Text Placeholder 4">
            <a:extLst>
              <a:ext uri="{FF2B5EF4-FFF2-40B4-BE49-F238E27FC236}">
                <a16:creationId xmlns:a16="http://schemas.microsoft.com/office/drawing/2014/main" id="{22123AE3-2808-4107-B118-172F8E99A326}"/>
              </a:ext>
            </a:extLst>
          </p:cNvPr>
          <p:cNvSpPr>
            <a:spLocks noGrp="1"/>
          </p:cNvSpPr>
          <p:nvPr>
            <p:ph type="body" sz="quarter" idx="44" hasCustomPrompt="1"/>
          </p:nvPr>
        </p:nvSpPr>
        <p:spPr>
          <a:xfrm>
            <a:off x="6433799" y="1706754"/>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2</a:t>
            </a:r>
          </a:p>
        </p:txBody>
      </p:sp>
      <p:sp>
        <p:nvSpPr>
          <p:cNvPr id="48" name="Header 1">
            <a:extLst>
              <a:ext uri="{FF2B5EF4-FFF2-40B4-BE49-F238E27FC236}">
                <a16:creationId xmlns:a16="http://schemas.microsoft.com/office/drawing/2014/main" id="{ADD9AFFE-56A6-4380-8BEF-EB516EA5EA71}"/>
              </a:ext>
            </a:extLst>
          </p:cNvPr>
          <p:cNvSpPr>
            <a:spLocks noGrp="1"/>
          </p:cNvSpPr>
          <p:nvPr>
            <p:ph type="body" sz="quarter" idx="45" hasCustomPrompt="1"/>
          </p:nvPr>
        </p:nvSpPr>
        <p:spPr>
          <a:xfrm>
            <a:off x="495300" y="4090556"/>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49" name="Text Placeholder 4">
            <a:extLst>
              <a:ext uri="{FF2B5EF4-FFF2-40B4-BE49-F238E27FC236}">
                <a16:creationId xmlns:a16="http://schemas.microsoft.com/office/drawing/2014/main" id="{5430CA55-3194-437D-886F-57F7C5BF7738}"/>
              </a:ext>
            </a:extLst>
          </p:cNvPr>
          <p:cNvSpPr>
            <a:spLocks noGrp="1"/>
          </p:cNvSpPr>
          <p:nvPr>
            <p:ph type="body" sz="quarter" idx="46" hasCustomPrompt="1"/>
          </p:nvPr>
        </p:nvSpPr>
        <p:spPr>
          <a:xfrm>
            <a:off x="381000" y="4070594"/>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3</a:t>
            </a:r>
          </a:p>
        </p:txBody>
      </p:sp>
      <p:sp>
        <p:nvSpPr>
          <p:cNvPr id="50" name="Header 1">
            <a:extLst>
              <a:ext uri="{FF2B5EF4-FFF2-40B4-BE49-F238E27FC236}">
                <a16:creationId xmlns:a16="http://schemas.microsoft.com/office/drawing/2014/main" id="{AA2F41B8-E21B-46B0-BCA2-6056C9D8C5D8}"/>
              </a:ext>
            </a:extLst>
          </p:cNvPr>
          <p:cNvSpPr>
            <a:spLocks noGrp="1"/>
          </p:cNvSpPr>
          <p:nvPr>
            <p:ph type="body" sz="quarter" idx="47" hasCustomPrompt="1"/>
          </p:nvPr>
        </p:nvSpPr>
        <p:spPr>
          <a:xfrm>
            <a:off x="6548099" y="4090556"/>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51" name="Text Placeholder 4">
            <a:extLst>
              <a:ext uri="{FF2B5EF4-FFF2-40B4-BE49-F238E27FC236}">
                <a16:creationId xmlns:a16="http://schemas.microsoft.com/office/drawing/2014/main" id="{E03268E8-248B-45BF-9BE3-8E6103F84597}"/>
              </a:ext>
            </a:extLst>
          </p:cNvPr>
          <p:cNvSpPr>
            <a:spLocks noGrp="1"/>
          </p:cNvSpPr>
          <p:nvPr>
            <p:ph type="body" sz="quarter" idx="48" hasCustomPrompt="1"/>
          </p:nvPr>
        </p:nvSpPr>
        <p:spPr>
          <a:xfrm>
            <a:off x="6433799" y="4070594"/>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4</a:t>
            </a:r>
          </a:p>
        </p:txBody>
      </p:sp>
      <p:sp>
        <p:nvSpPr>
          <p:cNvPr id="8" name="Text Placeholder 7">
            <a:extLst>
              <a:ext uri="{FF2B5EF4-FFF2-40B4-BE49-F238E27FC236}">
                <a16:creationId xmlns:a16="http://schemas.microsoft.com/office/drawing/2014/main" id="{C13C1FBD-2B60-4422-8E94-1A95A3DE93D5}"/>
              </a:ext>
            </a:extLst>
          </p:cNvPr>
          <p:cNvSpPr>
            <a:spLocks noGrp="1"/>
          </p:cNvSpPr>
          <p:nvPr>
            <p:ph type="body" sz="quarter" idx="49" hasCustomPrompt="1"/>
          </p:nvPr>
        </p:nvSpPr>
        <p:spPr>
          <a:xfrm>
            <a:off x="381000" y="1706754"/>
            <a:ext cx="252000" cy="251670"/>
          </a:xfrm>
          <a:prstGeom prst="ellipse">
            <a:avLst/>
          </a:prstGeom>
          <a:solidFill>
            <a:schemeClr val="accent2"/>
          </a:solidFill>
        </p:spPr>
        <p:txBody>
          <a:bodyPr anchor="ctr" anchorCtr="0">
            <a:noAutofit/>
          </a:bodyPr>
          <a:lstStyle>
            <a:lvl1pPr algn="ctr">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1</a:t>
            </a:r>
          </a:p>
        </p:txBody>
      </p:sp>
      <p:sp>
        <p:nvSpPr>
          <p:cNvPr id="37" name="Text Placeholder 5">
            <a:extLst>
              <a:ext uri="{FF2B5EF4-FFF2-40B4-BE49-F238E27FC236}">
                <a16:creationId xmlns:a16="http://schemas.microsoft.com/office/drawing/2014/main" id="{CADDEF87-26F6-4A8C-8D0F-27EC3695F06F}"/>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D5122C1-D049-4CBA-8381-0C6B2BE92B9E}"/>
              </a:ext>
            </a:extLst>
          </p:cNvPr>
          <p:cNvSpPr>
            <a:spLocks noGrp="1"/>
          </p:cNvSpPr>
          <p:nvPr>
            <p:ph type="body" sz="quarter" idx="50"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907614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5 regions - bar chart - commen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82781196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43" name="Header 1">
            <a:extLst>
              <a:ext uri="{FF2B5EF4-FFF2-40B4-BE49-F238E27FC236}">
                <a16:creationId xmlns:a16="http://schemas.microsoft.com/office/drawing/2014/main" id="{A579CFF5-C5B3-474E-AF68-241D17CCE7C8}"/>
              </a:ext>
            </a:extLst>
          </p:cNvPr>
          <p:cNvSpPr>
            <a:spLocks noGrp="1"/>
          </p:cNvSpPr>
          <p:nvPr>
            <p:ph type="body" sz="quarter" idx="41" hasCustomPrompt="1"/>
          </p:nvPr>
        </p:nvSpPr>
        <p:spPr>
          <a:xfrm>
            <a:off x="377525"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46" name="Header 1">
            <a:extLst>
              <a:ext uri="{FF2B5EF4-FFF2-40B4-BE49-F238E27FC236}">
                <a16:creationId xmlns:a16="http://schemas.microsoft.com/office/drawing/2014/main" id="{15492E27-0423-4B7C-9F8A-92CAFE37CEF1}"/>
              </a:ext>
            </a:extLst>
          </p:cNvPr>
          <p:cNvSpPr>
            <a:spLocks noGrp="1"/>
          </p:cNvSpPr>
          <p:nvPr>
            <p:ph type="body" sz="quarter" idx="43" hasCustomPrompt="1"/>
          </p:nvPr>
        </p:nvSpPr>
        <p:spPr>
          <a:xfrm>
            <a:off x="4283512"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48" name="Header 1">
            <a:extLst>
              <a:ext uri="{FF2B5EF4-FFF2-40B4-BE49-F238E27FC236}">
                <a16:creationId xmlns:a16="http://schemas.microsoft.com/office/drawing/2014/main" id="{ADD9AFFE-56A6-4380-8BEF-EB516EA5EA71}"/>
              </a:ext>
            </a:extLst>
          </p:cNvPr>
          <p:cNvSpPr>
            <a:spLocks noGrp="1"/>
          </p:cNvSpPr>
          <p:nvPr>
            <p:ph type="body" sz="quarter" idx="45" hasCustomPrompt="1"/>
          </p:nvPr>
        </p:nvSpPr>
        <p:spPr>
          <a:xfrm>
            <a:off x="377525" y="3848034"/>
            <a:ext cx="3635840" cy="187200"/>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50" name="Header 1">
            <a:extLst>
              <a:ext uri="{FF2B5EF4-FFF2-40B4-BE49-F238E27FC236}">
                <a16:creationId xmlns:a16="http://schemas.microsoft.com/office/drawing/2014/main" id="{AA2F41B8-E21B-46B0-BCA2-6056C9D8C5D8}"/>
              </a:ext>
            </a:extLst>
          </p:cNvPr>
          <p:cNvSpPr>
            <a:spLocks noGrp="1"/>
          </p:cNvSpPr>
          <p:nvPr>
            <p:ph type="body" sz="quarter" idx="47" hasCustomPrompt="1"/>
          </p:nvPr>
        </p:nvSpPr>
        <p:spPr>
          <a:xfrm>
            <a:off x="4283512" y="3848034"/>
            <a:ext cx="3635840" cy="187200"/>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5</a:t>
            </a:r>
          </a:p>
        </p:txBody>
      </p:sp>
      <p:sp>
        <p:nvSpPr>
          <p:cNvPr id="37" name="Text Placeholder 5">
            <a:extLst>
              <a:ext uri="{FF2B5EF4-FFF2-40B4-BE49-F238E27FC236}">
                <a16:creationId xmlns:a16="http://schemas.microsoft.com/office/drawing/2014/main" id="{CADDEF87-26F6-4A8C-8D0F-27EC3695F06F}"/>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D5122C1-D049-4CBA-8381-0C6B2BE92B9E}"/>
              </a:ext>
            </a:extLst>
          </p:cNvPr>
          <p:cNvSpPr>
            <a:spLocks noGrp="1"/>
          </p:cNvSpPr>
          <p:nvPr>
            <p:ph type="body" sz="quarter" idx="50"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
        <p:nvSpPr>
          <p:cNvPr id="44" name="Header 1">
            <a:extLst>
              <a:ext uri="{FF2B5EF4-FFF2-40B4-BE49-F238E27FC236}">
                <a16:creationId xmlns:a16="http://schemas.microsoft.com/office/drawing/2014/main" id="{B9DFF9B2-EA65-4F16-AE77-78189FC247FD}"/>
              </a:ext>
            </a:extLst>
          </p:cNvPr>
          <p:cNvSpPr>
            <a:spLocks noGrp="1"/>
          </p:cNvSpPr>
          <p:nvPr>
            <p:ph type="body" sz="quarter" idx="52" hasCustomPrompt="1"/>
          </p:nvPr>
        </p:nvSpPr>
        <p:spPr>
          <a:xfrm>
            <a:off x="8176649"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56" name="Text 3">
            <a:extLst>
              <a:ext uri="{FF2B5EF4-FFF2-40B4-BE49-F238E27FC236}">
                <a16:creationId xmlns:a16="http://schemas.microsoft.com/office/drawing/2014/main" id="{D0B2870A-8204-4594-A776-A3DA73C035B9}"/>
              </a:ext>
            </a:extLst>
          </p:cNvPr>
          <p:cNvSpPr>
            <a:spLocks noGrp="1"/>
          </p:cNvSpPr>
          <p:nvPr>
            <p:ph type="body" sz="quarter" idx="37"/>
          </p:nvPr>
        </p:nvSpPr>
        <p:spPr>
          <a:xfrm>
            <a:off x="8234803" y="4035234"/>
            <a:ext cx="3635233"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7" name="Text Placeholder 4">
            <a:extLst>
              <a:ext uri="{FF2B5EF4-FFF2-40B4-BE49-F238E27FC236}">
                <a16:creationId xmlns:a16="http://schemas.microsoft.com/office/drawing/2014/main" id="{E106BF0B-FA51-492C-9864-4E75F8CA876E}"/>
              </a:ext>
            </a:extLst>
          </p:cNvPr>
          <p:cNvSpPr>
            <a:spLocks noGrp="1"/>
          </p:cNvSpPr>
          <p:nvPr>
            <p:ph type="body" sz="quarter" idx="31" hasCustomPrompt="1"/>
          </p:nvPr>
        </p:nvSpPr>
        <p:spPr>
          <a:xfrm>
            <a:off x="381599" y="1263129"/>
            <a:ext cx="11428800" cy="184666"/>
          </a:xfrm>
        </p:spPr>
        <p:txBody>
          <a:bodyPr vert="horz" lIns="0" tIns="0" rIns="0" bIns="0" rtlCol="0">
            <a:spAutoFit/>
          </a:bodyPr>
          <a:lstStyle>
            <a:lvl1pPr>
              <a:defRPr lang="en-GB" sz="1200" b="1"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p:txBody>
      </p:sp>
      <p:sp>
        <p:nvSpPr>
          <p:cNvPr id="58" name="Text Placeholder 4">
            <a:extLst>
              <a:ext uri="{FF2B5EF4-FFF2-40B4-BE49-F238E27FC236}">
                <a16:creationId xmlns:a16="http://schemas.microsoft.com/office/drawing/2014/main" id="{FB9C1B2F-60BB-41B1-82E1-CEC967EB46F3}"/>
              </a:ext>
            </a:extLst>
          </p:cNvPr>
          <p:cNvSpPr>
            <a:spLocks noGrp="1"/>
          </p:cNvSpPr>
          <p:nvPr>
            <p:ph type="body" sz="quarter" idx="53" hasCustomPrompt="1"/>
          </p:nvPr>
        </p:nvSpPr>
        <p:spPr>
          <a:xfrm>
            <a:off x="374054" y="1486557"/>
            <a:ext cx="11428800" cy="184666"/>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Units</a:t>
            </a:r>
          </a:p>
        </p:txBody>
      </p:sp>
    </p:spTree>
    <p:extLst>
      <p:ext uri="{BB962C8B-B14F-4D97-AF65-F5344CB8AC3E}">
        <p14:creationId xmlns:p14="http://schemas.microsoft.com/office/powerpoint/2010/main" val="113656496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 regions - comment - white backgroun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80015407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43" name="Header 1">
            <a:extLst>
              <a:ext uri="{FF2B5EF4-FFF2-40B4-BE49-F238E27FC236}">
                <a16:creationId xmlns:a16="http://schemas.microsoft.com/office/drawing/2014/main" id="{A579CFF5-C5B3-474E-AF68-241D17CCE7C8}"/>
              </a:ext>
            </a:extLst>
          </p:cNvPr>
          <p:cNvSpPr>
            <a:spLocks noGrp="1"/>
          </p:cNvSpPr>
          <p:nvPr>
            <p:ph type="body" sz="quarter" idx="41" hasCustomPrompt="1"/>
          </p:nvPr>
        </p:nvSpPr>
        <p:spPr>
          <a:xfrm>
            <a:off x="377525"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46" name="Header 1">
            <a:extLst>
              <a:ext uri="{FF2B5EF4-FFF2-40B4-BE49-F238E27FC236}">
                <a16:creationId xmlns:a16="http://schemas.microsoft.com/office/drawing/2014/main" id="{15492E27-0423-4B7C-9F8A-92CAFE37CEF1}"/>
              </a:ext>
            </a:extLst>
          </p:cNvPr>
          <p:cNvSpPr>
            <a:spLocks noGrp="1"/>
          </p:cNvSpPr>
          <p:nvPr>
            <p:ph type="body" sz="quarter" idx="43" hasCustomPrompt="1"/>
          </p:nvPr>
        </p:nvSpPr>
        <p:spPr>
          <a:xfrm>
            <a:off x="4283512"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48" name="Header 1">
            <a:extLst>
              <a:ext uri="{FF2B5EF4-FFF2-40B4-BE49-F238E27FC236}">
                <a16:creationId xmlns:a16="http://schemas.microsoft.com/office/drawing/2014/main" id="{ADD9AFFE-56A6-4380-8BEF-EB516EA5EA71}"/>
              </a:ext>
            </a:extLst>
          </p:cNvPr>
          <p:cNvSpPr>
            <a:spLocks noGrp="1"/>
          </p:cNvSpPr>
          <p:nvPr>
            <p:ph type="body" sz="quarter" idx="45" hasCustomPrompt="1"/>
          </p:nvPr>
        </p:nvSpPr>
        <p:spPr>
          <a:xfrm>
            <a:off x="377525" y="3962330"/>
            <a:ext cx="3635840" cy="187200"/>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50" name="Header 1">
            <a:extLst>
              <a:ext uri="{FF2B5EF4-FFF2-40B4-BE49-F238E27FC236}">
                <a16:creationId xmlns:a16="http://schemas.microsoft.com/office/drawing/2014/main" id="{AA2F41B8-E21B-46B0-BCA2-6056C9D8C5D8}"/>
              </a:ext>
            </a:extLst>
          </p:cNvPr>
          <p:cNvSpPr>
            <a:spLocks noGrp="1"/>
          </p:cNvSpPr>
          <p:nvPr>
            <p:ph type="body" sz="quarter" idx="47" hasCustomPrompt="1"/>
          </p:nvPr>
        </p:nvSpPr>
        <p:spPr>
          <a:xfrm>
            <a:off x="4283512" y="3962330"/>
            <a:ext cx="3635840" cy="187200"/>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5</a:t>
            </a:r>
          </a:p>
        </p:txBody>
      </p:sp>
      <p:sp>
        <p:nvSpPr>
          <p:cNvPr id="37" name="Text Placeholder 5">
            <a:extLst>
              <a:ext uri="{FF2B5EF4-FFF2-40B4-BE49-F238E27FC236}">
                <a16:creationId xmlns:a16="http://schemas.microsoft.com/office/drawing/2014/main" id="{CADDEF87-26F6-4A8C-8D0F-27EC3695F06F}"/>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D5122C1-D049-4CBA-8381-0C6B2BE92B9E}"/>
              </a:ext>
            </a:extLst>
          </p:cNvPr>
          <p:cNvSpPr>
            <a:spLocks noGrp="1"/>
          </p:cNvSpPr>
          <p:nvPr>
            <p:ph type="body" sz="quarter" idx="50"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
        <p:nvSpPr>
          <p:cNvPr id="44" name="Header 1">
            <a:extLst>
              <a:ext uri="{FF2B5EF4-FFF2-40B4-BE49-F238E27FC236}">
                <a16:creationId xmlns:a16="http://schemas.microsoft.com/office/drawing/2014/main" id="{B9DFF9B2-EA65-4F16-AE77-78189FC247FD}"/>
              </a:ext>
            </a:extLst>
          </p:cNvPr>
          <p:cNvSpPr>
            <a:spLocks noGrp="1"/>
          </p:cNvSpPr>
          <p:nvPr>
            <p:ph type="body" sz="quarter" idx="52" hasCustomPrompt="1"/>
          </p:nvPr>
        </p:nvSpPr>
        <p:spPr>
          <a:xfrm>
            <a:off x="8176649"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56" name="Text 3">
            <a:extLst>
              <a:ext uri="{FF2B5EF4-FFF2-40B4-BE49-F238E27FC236}">
                <a16:creationId xmlns:a16="http://schemas.microsoft.com/office/drawing/2014/main" id="{D0B2870A-8204-4594-A776-A3DA73C035B9}"/>
              </a:ext>
            </a:extLst>
          </p:cNvPr>
          <p:cNvSpPr>
            <a:spLocks noGrp="1"/>
          </p:cNvSpPr>
          <p:nvPr>
            <p:ph type="body" sz="quarter" idx="37"/>
          </p:nvPr>
        </p:nvSpPr>
        <p:spPr>
          <a:xfrm>
            <a:off x="8234803" y="4149530"/>
            <a:ext cx="3635233"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7" name="Text Placeholder 4">
            <a:extLst>
              <a:ext uri="{FF2B5EF4-FFF2-40B4-BE49-F238E27FC236}">
                <a16:creationId xmlns:a16="http://schemas.microsoft.com/office/drawing/2014/main" id="{E106BF0B-FA51-492C-9864-4E75F8CA876E}"/>
              </a:ext>
            </a:extLst>
          </p:cNvPr>
          <p:cNvSpPr>
            <a:spLocks noGrp="1"/>
          </p:cNvSpPr>
          <p:nvPr>
            <p:ph type="body" sz="quarter" idx="31" hasCustomPrompt="1"/>
          </p:nvPr>
        </p:nvSpPr>
        <p:spPr>
          <a:xfrm>
            <a:off x="381599" y="1263129"/>
            <a:ext cx="11428800" cy="184666"/>
          </a:xfrm>
        </p:spPr>
        <p:txBody>
          <a:bodyPr vert="horz" lIns="0" tIns="0" rIns="0" bIns="0" rtlCol="0">
            <a:spAutoFit/>
          </a:bodyPr>
          <a:lstStyle>
            <a:lvl1pPr>
              <a:defRPr lang="en-GB" sz="1200" b="1"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p:txBody>
      </p:sp>
      <p:sp>
        <p:nvSpPr>
          <p:cNvPr id="58" name="Text Placeholder 4">
            <a:extLst>
              <a:ext uri="{FF2B5EF4-FFF2-40B4-BE49-F238E27FC236}">
                <a16:creationId xmlns:a16="http://schemas.microsoft.com/office/drawing/2014/main" id="{FB9C1B2F-60BB-41B1-82E1-CEC967EB46F3}"/>
              </a:ext>
            </a:extLst>
          </p:cNvPr>
          <p:cNvSpPr>
            <a:spLocks noGrp="1"/>
          </p:cNvSpPr>
          <p:nvPr>
            <p:ph type="body" sz="quarter" idx="53" hasCustomPrompt="1"/>
          </p:nvPr>
        </p:nvSpPr>
        <p:spPr>
          <a:xfrm>
            <a:off x="374054" y="1486557"/>
            <a:ext cx="11428800" cy="184666"/>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Units</a:t>
            </a:r>
          </a:p>
        </p:txBody>
      </p:sp>
    </p:spTree>
    <p:extLst>
      <p:ext uri="{BB962C8B-B14F-4D97-AF65-F5344CB8AC3E}">
        <p14:creationId xmlns:p14="http://schemas.microsoft.com/office/powerpoint/2010/main" val="11957298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 regions - comment - grey backgroun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89111528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8E3D202-E0EA-466A-8C55-E2DE7686ED4D}"/>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4" name="Confidential">
            <a:extLst>
              <a:ext uri="{FF2B5EF4-FFF2-40B4-BE49-F238E27FC236}">
                <a16:creationId xmlns:a16="http://schemas.microsoft.com/office/drawing/2014/main" id="{14C29F18-0061-4AD0-8F17-1B44E4BAED6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2" name="Text Placeholder 2">
            <a:extLst>
              <a:ext uri="{FF2B5EF4-FFF2-40B4-BE49-F238E27FC236}">
                <a16:creationId xmlns:a16="http://schemas.microsoft.com/office/drawing/2014/main" id="{D69DFB0D-DF47-4F51-8A1E-A3F04A199F5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3" name="Aurora Logo">
            <a:extLst>
              <a:ext uri="{FF2B5EF4-FFF2-40B4-BE49-F238E27FC236}">
                <a16:creationId xmlns:a16="http://schemas.microsoft.com/office/drawing/2014/main" id="{0B030AA5-8163-4F27-9057-F3025760F02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34" name="Header Comments">
            <a:extLst>
              <a:ext uri="{FF2B5EF4-FFF2-40B4-BE49-F238E27FC236}">
                <a16:creationId xmlns:a16="http://schemas.microsoft.com/office/drawing/2014/main" id="{BA58D606-2C71-4E85-8328-99C37B4B4195}"/>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35" name="Text Comments">
            <a:extLst>
              <a:ext uri="{FF2B5EF4-FFF2-40B4-BE49-F238E27FC236}">
                <a16:creationId xmlns:a16="http://schemas.microsoft.com/office/drawing/2014/main" id="{FF2AB152-2969-46CD-B5D8-B3919809B323}"/>
              </a:ext>
            </a:extLst>
          </p:cNvPr>
          <p:cNvSpPr>
            <a:spLocks noGrp="1"/>
          </p:cNvSpPr>
          <p:nvPr>
            <p:ph type="body" sz="quarter" idx="28"/>
          </p:nvPr>
        </p:nvSpPr>
        <p:spPr>
          <a:xfrm>
            <a:off x="9500714" y="1712755"/>
            <a:ext cx="2335686"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itle 3">
            <a:extLst>
              <a:ext uri="{FF2B5EF4-FFF2-40B4-BE49-F238E27FC236}">
                <a16:creationId xmlns:a16="http://schemas.microsoft.com/office/drawing/2014/main" id="{C5C9D1F5-9907-4B3A-A8FD-DB0AF4B08748}"/>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37" name="Text Placeholder 5">
            <a:extLst>
              <a:ext uri="{FF2B5EF4-FFF2-40B4-BE49-F238E27FC236}">
                <a16:creationId xmlns:a16="http://schemas.microsoft.com/office/drawing/2014/main" id="{CC0D292B-B63E-4277-A339-858F1811E07D}"/>
              </a:ext>
            </a:extLst>
          </p:cNvPr>
          <p:cNvSpPr>
            <a:spLocks noGrp="1"/>
          </p:cNvSpPr>
          <p:nvPr>
            <p:ph type="body" sz="quarter" idx="32"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39" name="Supertitle">
            <a:extLst>
              <a:ext uri="{FF2B5EF4-FFF2-40B4-BE49-F238E27FC236}">
                <a16:creationId xmlns:a16="http://schemas.microsoft.com/office/drawing/2014/main" id="{23980E38-F915-4158-AF74-34AE9E15DEA1}"/>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
        <p:nvSpPr>
          <p:cNvPr id="23" name="Header 1">
            <a:extLst>
              <a:ext uri="{FF2B5EF4-FFF2-40B4-BE49-F238E27FC236}">
                <a16:creationId xmlns:a16="http://schemas.microsoft.com/office/drawing/2014/main" id="{31D99F63-9B34-42E2-815E-E9FCF2F2AA13}"/>
              </a:ext>
            </a:extLst>
          </p:cNvPr>
          <p:cNvSpPr>
            <a:spLocks noGrp="1"/>
          </p:cNvSpPr>
          <p:nvPr>
            <p:ph type="body" sz="quarter" idx="41" hasCustomPrompt="1"/>
          </p:nvPr>
        </p:nvSpPr>
        <p:spPr>
          <a:xfrm>
            <a:off x="377525" y="1785266"/>
            <a:ext cx="38880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47" name="Text Placeholder 4">
            <a:extLst>
              <a:ext uri="{FF2B5EF4-FFF2-40B4-BE49-F238E27FC236}">
                <a16:creationId xmlns:a16="http://schemas.microsoft.com/office/drawing/2014/main" id="{3AEDFCF7-D380-4799-A922-137FF625D814}"/>
              </a:ext>
            </a:extLst>
          </p:cNvPr>
          <p:cNvSpPr>
            <a:spLocks noGrp="1"/>
          </p:cNvSpPr>
          <p:nvPr>
            <p:ph type="body" sz="quarter" idx="53" hasCustomPrompt="1"/>
          </p:nvPr>
        </p:nvSpPr>
        <p:spPr>
          <a:xfrm>
            <a:off x="374054" y="1486557"/>
            <a:ext cx="11428800" cy="184666"/>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Units</a:t>
            </a:r>
          </a:p>
        </p:txBody>
      </p:sp>
      <p:sp>
        <p:nvSpPr>
          <p:cNvPr id="56" name="Text Placeholder 4">
            <a:extLst>
              <a:ext uri="{FF2B5EF4-FFF2-40B4-BE49-F238E27FC236}">
                <a16:creationId xmlns:a16="http://schemas.microsoft.com/office/drawing/2014/main" id="{1163F6F5-9703-4889-AF90-8C43A31987DD}"/>
              </a:ext>
            </a:extLst>
          </p:cNvPr>
          <p:cNvSpPr>
            <a:spLocks noGrp="1"/>
          </p:cNvSpPr>
          <p:nvPr>
            <p:ph type="body" sz="quarter" idx="54" hasCustomPrompt="1"/>
          </p:nvPr>
        </p:nvSpPr>
        <p:spPr>
          <a:xfrm>
            <a:off x="381599" y="1263129"/>
            <a:ext cx="11428800" cy="184666"/>
          </a:xfrm>
        </p:spPr>
        <p:txBody>
          <a:bodyPr vert="horz" lIns="0" tIns="0" rIns="0" bIns="0" rtlCol="0">
            <a:spAutoFit/>
          </a:bodyPr>
          <a:lstStyle>
            <a:lvl1pPr>
              <a:defRPr lang="en-GB" sz="1200" b="1"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p:txBody>
      </p:sp>
      <p:sp>
        <p:nvSpPr>
          <p:cNvPr id="60" name="Header 1">
            <a:extLst>
              <a:ext uri="{FF2B5EF4-FFF2-40B4-BE49-F238E27FC236}">
                <a16:creationId xmlns:a16="http://schemas.microsoft.com/office/drawing/2014/main" id="{855315BF-E1B0-4A8B-93FD-5C9C28F33EEE}"/>
              </a:ext>
            </a:extLst>
          </p:cNvPr>
          <p:cNvSpPr>
            <a:spLocks noGrp="1"/>
          </p:cNvSpPr>
          <p:nvPr>
            <p:ph type="body" sz="quarter" idx="56" hasCustomPrompt="1"/>
          </p:nvPr>
        </p:nvSpPr>
        <p:spPr>
          <a:xfrm>
            <a:off x="5094070" y="1785266"/>
            <a:ext cx="38880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62" name="Header 1">
            <a:extLst>
              <a:ext uri="{FF2B5EF4-FFF2-40B4-BE49-F238E27FC236}">
                <a16:creationId xmlns:a16="http://schemas.microsoft.com/office/drawing/2014/main" id="{C9B227B5-E411-4287-9246-2E5D5ABC7373}"/>
              </a:ext>
            </a:extLst>
          </p:cNvPr>
          <p:cNvSpPr>
            <a:spLocks noGrp="1"/>
          </p:cNvSpPr>
          <p:nvPr>
            <p:ph type="body" sz="quarter" idx="57" hasCustomPrompt="1"/>
          </p:nvPr>
        </p:nvSpPr>
        <p:spPr>
          <a:xfrm>
            <a:off x="374052" y="3937670"/>
            <a:ext cx="38880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64" name="Header 1">
            <a:extLst>
              <a:ext uri="{FF2B5EF4-FFF2-40B4-BE49-F238E27FC236}">
                <a16:creationId xmlns:a16="http://schemas.microsoft.com/office/drawing/2014/main" id="{03C296AC-8AE5-4A5D-8B6D-31C3D325DB72}"/>
              </a:ext>
            </a:extLst>
          </p:cNvPr>
          <p:cNvSpPr>
            <a:spLocks noGrp="1"/>
          </p:cNvSpPr>
          <p:nvPr>
            <p:ph type="body" sz="quarter" idx="58" hasCustomPrompt="1"/>
          </p:nvPr>
        </p:nvSpPr>
        <p:spPr>
          <a:xfrm>
            <a:off x="5094070" y="3937670"/>
            <a:ext cx="38880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Tree>
    <p:extLst>
      <p:ext uri="{BB962C8B-B14F-4D97-AF65-F5344CB8AC3E}">
        <p14:creationId xmlns:p14="http://schemas.microsoft.com/office/powerpoint/2010/main" val="146448596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regions - no commen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99489212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43" name="Header 1">
            <a:extLst>
              <a:ext uri="{FF2B5EF4-FFF2-40B4-BE49-F238E27FC236}">
                <a16:creationId xmlns:a16="http://schemas.microsoft.com/office/drawing/2014/main" id="{A579CFF5-C5B3-474E-AF68-241D17CCE7C8}"/>
              </a:ext>
            </a:extLst>
          </p:cNvPr>
          <p:cNvSpPr>
            <a:spLocks noGrp="1"/>
          </p:cNvSpPr>
          <p:nvPr>
            <p:ph type="body" sz="quarter" idx="41" hasCustomPrompt="1"/>
          </p:nvPr>
        </p:nvSpPr>
        <p:spPr>
          <a:xfrm>
            <a:off x="377525" y="1785266"/>
            <a:ext cx="54936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37" name="Text Placeholder 5">
            <a:extLst>
              <a:ext uri="{FF2B5EF4-FFF2-40B4-BE49-F238E27FC236}">
                <a16:creationId xmlns:a16="http://schemas.microsoft.com/office/drawing/2014/main" id="{CADDEF87-26F6-4A8C-8D0F-27EC3695F06F}"/>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D5122C1-D049-4CBA-8381-0C6B2BE92B9E}"/>
              </a:ext>
            </a:extLst>
          </p:cNvPr>
          <p:cNvSpPr>
            <a:spLocks noGrp="1"/>
          </p:cNvSpPr>
          <p:nvPr>
            <p:ph type="body" sz="quarter" idx="50"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
        <p:nvSpPr>
          <p:cNvPr id="57" name="Text Placeholder 4">
            <a:extLst>
              <a:ext uri="{FF2B5EF4-FFF2-40B4-BE49-F238E27FC236}">
                <a16:creationId xmlns:a16="http://schemas.microsoft.com/office/drawing/2014/main" id="{E106BF0B-FA51-492C-9864-4E75F8CA876E}"/>
              </a:ext>
            </a:extLst>
          </p:cNvPr>
          <p:cNvSpPr>
            <a:spLocks noGrp="1"/>
          </p:cNvSpPr>
          <p:nvPr>
            <p:ph type="body" sz="quarter" idx="31" hasCustomPrompt="1"/>
          </p:nvPr>
        </p:nvSpPr>
        <p:spPr>
          <a:xfrm>
            <a:off x="381599" y="1263129"/>
            <a:ext cx="11428800" cy="184666"/>
          </a:xfrm>
        </p:spPr>
        <p:txBody>
          <a:bodyPr vert="horz" lIns="0" tIns="0" rIns="0" bIns="0" rtlCol="0">
            <a:spAutoFit/>
          </a:bodyPr>
          <a:lstStyle>
            <a:lvl1pPr>
              <a:defRPr lang="en-GB" sz="1200" b="1"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p:txBody>
      </p:sp>
      <p:sp>
        <p:nvSpPr>
          <p:cNvPr id="58" name="Text Placeholder 4">
            <a:extLst>
              <a:ext uri="{FF2B5EF4-FFF2-40B4-BE49-F238E27FC236}">
                <a16:creationId xmlns:a16="http://schemas.microsoft.com/office/drawing/2014/main" id="{FB9C1B2F-60BB-41B1-82E1-CEC967EB46F3}"/>
              </a:ext>
            </a:extLst>
          </p:cNvPr>
          <p:cNvSpPr>
            <a:spLocks noGrp="1"/>
          </p:cNvSpPr>
          <p:nvPr>
            <p:ph type="body" sz="quarter" idx="53" hasCustomPrompt="1"/>
          </p:nvPr>
        </p:nvSpPr>
        <p:spPr>
          <a:xfrm>
            <a:off x="374054" y="1486557"/>
            <a:ext cx="11428800" cy="184666"/>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Units</a:t>
            </a:r>
          </a:p>
        </p:txBody>
      </p:sp>
      <p:sp>
        <p:nvSpPr>
          <p:cNvPr id="30" name="Header 1">
            <a:extLst>
              <a:ext uri="{FF2B5EF4-FFF2-40B4-BE49-F238E27FC236}">
                <a16:creationId xmlns:a16="http://schemas.microsoft.com/office/drawing/2014/main" id="{46E0C9A3-F0A4-4B11-B190-BE85518AE9EE}"/>
              </a:ext>
            </a:extLst>
          </p:cNvPr>
          <p:cNvSpPr>
            <a:spLocks noGrp="1"/>
          </p:cNvSpPr>
          <p:nvPr>
            <p:ph type="body" sz="quarter" idx="55" hasCustomPrompt="1"/>
          </p:nvPr>
        </p:nvSpPr>
        <p:spPr>
          <a:xfrm>
            <a:off x="6325325" y="1785266"/>
            <a:ext cx="54936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32" name="Header 1">
            <a:extLst>
              <a:ext uri="{FF2B5EF4-FFF2-40B4-BE49-F238E27FC236}">
                <a16:creationId xmlns:a16="http://schemas.microsoft.com/office/drawing/2014/main" id="{C4F220CD-4FA8-42B2-BC6A-7E113A1E87F4}"/>
              </a:ext>
            </a:extLst>
          </p:cNvPr>
          <p:cNvSpPr>
            <a:spLocks noGrp="1"/>
          </p:cNvSpPr>
          <p:nvPr>
            <p:ph type="body" sz="quarter" idx="56" hasCustomPrompt="1"/>
          </p:nvPr>
        </p:nvSpPr>
        <p:spPr>
          <a:xfrm>
            <a:off x="380996" y="4046879"/>
            <a:ext cx="54936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33" name="Header 1">
            <a:extLst>
              <a:ext uri="{FF2B5EF4-FFF2-40B4-BE49-F238E27FC236}">
                <a16:creationId xmlns:a16="http://schemas.microsoft.com/office/drawing/2014/main" id="{9D9FE029-2E2C-4CA8-864E-5F92CB211DAF}"/>
              </a:ext>
            </a:extLst>
          </p:cNvPr>
          <p:cNvSpPr>
            <a:spLocks noGrp="1"/>
          </p:cNvSpPr>
          <p:nvPr>
            <p:ph type="body" sz="quarter" idx="57" hasCustomPrompt="1"/>
          </p:nvPr>
        </p:nvSpPr>
        <p:spPr>
          <a:xfrm>
            <a:off x="6325325" y="4046879"/>
            <a:ext cx="54936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Tree>
    <p:extLst>
      <p:ext uri="{BB962C8B-B14F-4D97-AF65-F5344CB8AC3E}">
        <p14:creationId xmlns:p14="http://schemas.microsoft.com/office/powerpoint/2010/main" val="40337544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clusio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60967021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63d2e65d-6c78-4ff1-a99a-dd29d915a147">
            <a:extLst>
              <a:ext uri="{FF2B5EF4-FFF2-40B4-BE49-F238E27FC236}">
                <a16:creationId xmlns:a16="http://schemas.microsoft.com/office/drawing/2014/main" id="{850A5AD8-A7CC-46D7-B07D-B23066194F7A}"/>
              </a:ext>
            </a:extLst>
          </p:cNvPr>
          <p:cNvSpPr/>
          <p:nvPr/>
        </p:nvSpPr>
        <p:spPr>
          <a:xfrm flipV="1">
            <a:off x="1" y="5510470"/>
            <a:ext cx="12192000" cy="644816"/>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8" name="Freeform: Shape 17">
            <a:extLst>
              <a:ext uri="{FF2B5EF4-FFF2-40B4-BE49-F238E27FC236}">
                <a16:creationId xmlns:a16="http://schemas.microsoft.com/office/drawing/2014/main" id="{E999386E-A4BE-41B8-B323-366658A98FA7}"/>
              </a:ext>
            </a:extLst>
          </p:cNvPr>
          <p:cNvSpPr/>
          <p:nvPr/>
        </p:nvSpPr>
        <p:spPr>
          <a:xfrm>
            <a:off x="-3028" y="5509760"/>
            <a:ext cx="273478" cy="646241"/>
          </a:xfrm>
          <a:custGeom>
            <a:avLst/>
            <a:gdLst>
              <a:gd name="connsiteX0" fmla="*/ 0 w 273478"/>
              <a:gd name="connsiteY0" fmla="*/ 0 h 646241"/>
              <a:gd name="connsiteX1" fmla="*/ 11034 w 273478"/>
              <a:gd name="connsiteY1" fmla="*/ 1112 h 646241"/>
              <a:gd name="connsiteX2" fmla="*/ 273478 w 273478"/>
              <a:gd name="connsiteY2" fmla="*/ 323120 h 646241"/>
              <a:gd name="connsiteX3" fmla="*/ 11034 w 273478"/>
              <a:gd name="connsiteY3" fmla="*/ 645129 h 646241"/>
              <a:gd name="connsiteX4" fmla="*/ 0 w 273478"/>
              <a:gd name="connsiteY4" fmla="*/ 646241 h 646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478" h="646241">
                <a:moveTo>
                  <a:pt x="0" y="0"/>
                </a:moveTo>
                <a:lnTo>
                  <a:pt x="11034" y="1112"/>
                </a:lnTo>
                <a:cubicBezTo>
                  <a:pt x="160810" y="31761"/>
                  <a:pt x="273478" y="164283"/>
                  <a:pt x="273478" y="323120"/>
                </a:cubicBezTo>
                <a:cubicBezTo>
                  <a:pt x="273478" y="481957"/>
                  <a:pt x="160810" y="614480"/>
                  <a:pt x="11034" y="645129"/>
                </a:cubicBezTo>
                <a:lnTo>
                  <a:pt x="0" y="646241"/>
                </a:lnTo>
                <a:close/>
              </a:path>
            </a:pathLst>
          </a:custGeom>
          <a:solidFill>
            <a:schemeClr val="accent2"/>
          </a:solidFill>
          <a:ln>
            <a:noFill/>
          </a:ln>
        </p:spPr>
        <p:style>
          <a:lnRef idx="2">
            <a:schemeClr val="accent1"/>
          </a:lnRef>
          <a:fillRef idx="1">
            <a:schemeClr val="lt1"/>
          </a:fillRef>
          <a:effectRef idx="0">
            <a:schemeClr val="accent1"/>
          </a:effectRef>
          <a:fontRef idx="minor">
            <a:schemeClr val="dk1"/>
          </a:fontRef>
        </p:style>
        <p:txBody>
          <a:bodyPr wrap="square" tIns="90000" bIns="90000" rtlCol="0" anchor="ctr" anchorCtr="0">
            <a:noAutofit/>
          </a:bodyPr>
          <a:lstStyle/>
          <a:p>
            <a:pPr marL="285750" indent="-285750" algn="l">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5" name="Text Placeholder 4">
            <a:extLst>
              <a:ext uri="{FF2B5EF4-FFF2-40B4-BE49-F238E27FC236}">
                <a16:creationId xmlns:a16="http://schemas.microsoft.com/office/drawing/2014/main" id="{9E0CB1CA-2673-4B31-A700-221496DAC274}"/>
              </a:ext>
            </a:extLst>
          </p:cNvPr>
          <p:cNvSpPr>
            <a:spLocks noGrp="1"/>
          </p:cNvSpPr>
          <p:nvPr>
            <p:ph type="body" sz="quarter" idx="27"/>
          </p:nvPr>
        </p:nvSpPr>
        <p:spPr>
          <a:xfrm>
            <a:off x="381000" y="1710172"/>
            <a:ext cx="114288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4">
            <a:extLst>
              <a:ext uri="{FF2B5EF4-FFF2-40B4-BE49-F238E27FC236}">
                <a16:creationId xmlns:a16="http://schemas.microsoft.com/office/drawing/2014/main" id="{E6001AB0-D6CA-4DE1-B60C-B634BCB97865}"/>
              </a:ext>
            </a:extLst>
          </p:cNvPr>
          <p:cNvSpPr>
            <a:spLocks noGrp="1"/>
          </p:cNvSpPr>
          <p:nvPr>
            <p:ph type="body" sz="quarter" idx="31" hasCustomPrompt="1"/>
          </p:nvPr>
        </p:nvSpPr>
        <p:spPr>
          <a:xfrm>
            <a:off x="3809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27" name="Text Placeholder 4">
            <a:extLst>
              <a:ext uri="{FF2B5EF4-FFF2-40B4-BE49-F238E27FC236}">
                <a16:creationId xmlns:a16="http://schemas.microsoft.com/office/drawing/2014/main" id="{E4842526-521A-4171-BA27-E5BAD58192F9}"/>
              </a:ext>
            </a:extLst>
          </p:cNvPr>
          <p:cNvSpPr>
            <a:spLocks noGrp="1"/>
          </p:cNvSpPr>
          <p:nvPr>
            <p:ph type="body" sz="quarter" idx="36" hasCustomPrompt="1"/>
          </p:nvPr>
        </p:nvSpPr>
        <p:spPr>
          <a:xfrm>
            <a:off x="381000" y="5586657"/>
            <a:ext cx="11428800" cy="492443"/>
          </a:xfrm>
        </p:spPr>
        <p:txBody>
          <a:bodyPr anchor="ctr" anchorCtr="0">
            <a:spAutoFit/>
          </a:bodyPr>
          <a:lstStyle>
            <a:lvl1pPr>
              <a:defRPr sz="16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600"/>
            </a:lvl2pPr>
            <a:lvl3pPr>
              <a:defRPr sz="1600"/>
            </a:lvl3pPr>
            <a:lvl4pPr>
              <a:defRPr sz="1600"/>
            </a:lvl4pPr>
          </a:lstStyle>
          <a:p>
            <a:pPr lvl="0"/>
            <a:r>
              <a:rPr lang="en-GB"/>
              <a:t>Conclusion: Lorem ipsum dolor sit amet, consectetuer adipiscing elit. Maecenas porttitor congue massa. Fusce posuere, magna sed pulvinar ultricies, purus lectus malesuada libero, sit amet commodo magna eros quis </a:t>
            </a:r>
            <a:r>
              <a:rPr lang="en-GB" err="1"/>
              <a:t>urna</a:t>
            </a:r>
            <a:r>
              <a:rPr lang="en-GB"/>
              <a:t>.</a:t>
            </a:r>
          </a:p>
        </p:txBody>
      </p:sp>
      <p:sp>
        <p:nvSpPr>
          <p:cNvPr id="28" name="Confidential">
            <a:extLst>
              <a:ext uri="{FF2B5EF4-FFF2-40B4-BE49-F238E27FC236}">
                <a16:creationId xmlns:a16="http://schemas.microsoft.com/office/drawing/2014/main" id="{CA4BE958-1557-4F4B-AC25-7461D9D65387}"/>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2" name="Text Placeholder 2">
            <a:extLst>
              <a:ext uri="{FF2B5EF4-FFF2-40B4-BE49-F238E27FC236}">
                <a16:creationId xmlns:a16="http://schemas.microsoft.com/office/drawing/2014/main" id="{16315AB2-20C9-434E-A56D-259096E1615D}"/>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06814CC-68D5-4C9C-BF65-8A91571A06F0}"/>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cxnSp>
        <p:nvCxnSpPr>
          <p:cNvPr id="14" name="Bottom line">
            <a:extLst>
              <a:ext uri="{FF2B5EF4-FFF2-40B4-BE49-F238E27FC236}">
                <a16:creationId xmlns:a16="http://schemas.microsoft.com/office/drawing/2014/main" id="{BC64208B-5568-4DBF-ACA2-533DF10F10D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Text Placeholder 5">
            <a:extLst>
              <a:ext uri="{FF2B5EF4-FFF2-40B4-BE49-F238E27FC236}">
                <a16:creationId xmlns:a16="http://schemas.microsoft.com/office/drawing/2014/main" id="{15EAA528-DB1A-4AE8-A9F4-1CD21CED50EA}"/>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5" name="Supertitle">
            <a:extLst>
              <a:ext uri="{FF2B5EF4-FFF2-40B4-BE49-F238E27FC236}">
                <a16:creationId xmlns:a16="http://schemas.microsoft.com/office/drawing/2014/main" id="{4A325F33-0AA7-476D-BD9A-4344A6711E20}"/>
              </a:ext>
            </a:extLst>
          </p:cNvPr>
          <p:cNvSpPr>
            <a:spLocks noGrp="1"/>
          </p:cNvSpPr>
          <p:nvPr>
            <p:ph type="body" sz="quarter" idx="37"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07640208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isclaimer &amp; Details_EN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8025985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6" name="43c3cef7-b209-4f1f-a261-318da2372fe8">
            <a:extLst>
              <a:ext uri="{FF2B5EF4-FFF2-40B4-BE49-F238E27FC236}">
                <a16:creationId xmlns:a16="http://schemas.microsoft.com/office/drawing/2014/main" id="{57400D9F-282B-4411-962D-7AD2AEEFC01C}"/>
              </a:ext>
            </a:extLst>
          </p:cNvPr>
          <p:cNvSpPr/>
          <p:nvPr/>
        </p:nvSpPr>
        <p:spPr>
          <a:xfrm>
            <a:off x="-6845" y="-3"/>
            <a:ext cx="3588245" cy="6858001"/>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201424"/>
          </a:xfrm>
          <a:prstGeom prst="rect">
            <a:avLst/>
          </a:prstGeom>
          <a:noFill/>
        </p:spPr>
        <p:txBody>
          <a:bodyPr wrap="square" lIns="0" tIns="0" rIns="0" bIns="0" rtlCol="0">
            <a:spAutoFit/>
          </a:bodyPr>
          <a:lstStyle/>
          <a:p>
            <a:pPr algn="just">
              <a:lnSpc>
                <a:spcPct val="100000"/>
              </a:lnSpc>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ral Disclaimer</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provided "as is" for your information only and no representation or warranty, express or implied, is given by Aurora Energy Research Limited and its subsidiaries Aurora Energy Research GmbH and Aurora Energy Research Pty Ltd (together,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heir directors, employees agents or affiliates (together, Aurora’s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ssociates</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s to its accuracy, reliability or completeness. Aurora and its Associates assume no responsibility, and accept no liability for, any loss arising out of your use of this document. This document is not to be relied upon for any purpose or used in substitution for your own independent investigations and sound judgment. The information contained in this document reflects our beliefs, assumptions, intentions and expectations as of the date of this document and is subject to change. Aurora assumes no obligation, and does not intend, to update this information.</a:t>
            </a:r>
          </a:p>
          <a:p>
            <a:pPr algn="just">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ward-looking statement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contains forward-looking statements and information, which reflect Aurora’s current view with respect to future events and financial performance. When used in this document, the words "believes", "expects", "plans", "may", "will", "would", "could", "should", "anticipates", "estimates", "project", "intend" or "outlook" or other variations of these words or other similar expressions are intended to identify forward-looking statements and information. Actual results may differ materially from the expectations expressed or implied in the forward-looking statements as a result of known and unknown risks and uncertainties. Known risks and uncertainties include but are not limited to: risks associated with political events in Europe and elsewhere, contractual risks, creditworthiness of customers, performance of suppliers and management of plant and personnel; risk associated with financial factors such as volatility in exchange rates, increases in interest rates, restrictions on access to capital, and swings in global financial markets; risks associated with domestic and foreign government regulation, including export controls and economic sanctions; and other risks, including litigation. The foregoing list of important factors is not exhaustive. </a:t>
            </a:r>
          </a:p>
          <a:p>
            <a:pPr algn="just">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pyrig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and its content (including, but not limited to, the text, images, graphics and illustrations) is the copyright material of Aurora, unless otherwise stated. </a:t>
            </a:r>
          </a:p>
          <a:p>
            <a:pPr algn="just">
              <a:lnSpc>
                <a:spcPct val="100000"/>
              </a:lnSpc>
            </a:pPr>
            <a:r>
              <a:rPr lang="en-GB" sz="12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confidential and it may not be copied, reproduced, distributed or in any way used for commercial purposes without the prior written consent of Aurora.</a:t>
            </a:r>
          </a:p>
        </p:txBody>
      </p:sp>
      <p:cxnSp>
        <p:nvCxnSpPr>
          <p:cNvPr id="30" name="e393ebc3-55b1-4ffd-a99f-f5012d6d099d">
            <a:extLst>
              <a:ext uri="{FF2B5EF4-FFF2-40B4-BE49-F238E27FC236}">
                <a16:creationId xmlns:a16="http://schemas.microsoft.com/office/drawing/2014/main" id="{170025E0-54A0-4A56-A1C9-1695DADA63FC}"/>
              </a:ext>
            </a:extLst>
          </p:cNvPr>
          <p:cNvCxnSpPr>
            <a:cxnSpLocks/>
          </p:cNvCxnSpPr>
          <p:nvPr/>
        </p:nvCxnSpPr>
        <p:spPr>
          <a:xfrm>
            <a:off x="381001" y="1975910"/>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a:lnSpc>
                <a:spcPct val="100000"/>
              </a:lnSpc>
            </a:pPr>
            <a: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and </a:t>
            </a:r>
            <a:b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sclaimer</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a:spcBef>
                <a:spcPts val="0"/>
              </a:spcBef>
              <a:defRPr sz="1200" b="1">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a:t>Publication</a:t>
            </a:r>
          </a:p>
          <a:p>
            <a:pPr lvl="0"/>
            <a:endParaRPr lang="en-GB"/>
          </a:p>
          <a:p>
            <a:pPr lvl="0"/>
            <a:endParaRPr lang="en-GB"/>
          </a:p>
        </p:txBody>
      </p:sp>
    </p:spTree>
    <p:extLst>
      <p:ext uri="{BB962C8B-B14F-4D97-AF65-F5344CB8AC3E}">
        <p14:creationId xmlns:p14="http://schemas.microsoft.com/office/powerpoint/2010/main" val="161021002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isclaimer &amp; Details_GER">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22280383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6" name="43c3cef7-b209-4f1f-a261-318da2372fe8">
            <a:extLst>
              <a:ext uri="{FF2B5EF4-FFF2-40B4-BE49-F238E27FC236}">
                <a16:creationId xmlns:a16="http://schemas.microsoft.com/office/drawing/2014/main" id="{57400D9F-282B-4411-962D-7AD2AEEFC01C}"/>
              </a:ext>
            </a:extLst>
          </p:cNvPr>
          <p:cNvSpPr/>
          <p:nvPr/>
        </p:nvSpPr>
        <p:spPr>
          <a:xfrm>
            <a:off x="-6845" y="-3"/>
            <a:ext cx="3588245" cy="6858001"/>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416868"/>
          </a:xfrm>
          <a:prstGeom prst="rect">
            <a:avLst/>
          </a:prstGeom>
          <a:noFill/>
        </p:spPr>
        <p:txBody>
          <a:bodyPr wrap="square" lIns="0" tIns="0" rIns="0" bIns="0" rtlCol="0">
            <a:spAutoFit/>
          </a:bodyPr>
          <a:lstStyle/>
          <a:p>
            <a:pPr algn="just">
              <a:lnSpc>
                <a:spcPct val="100000"/>
              </a:lnSpc>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lgemeiner</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sausschlus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liegen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or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formati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reitgestel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urora Energy Research Limite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ochtergesellschaf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Energy Research GmbH und Aurora Energy Research Pty Lt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äftsführ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Mitarbeit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e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ne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achfolg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Partn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eichn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ib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insich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chtig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lässlich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lständig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o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illschweig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ich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währleis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b. Aurora und seine Partn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e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antwor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jedwe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a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tz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steh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weck</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erangezo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undlag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rsatz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such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undier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urteil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alte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piegel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e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zeug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na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ich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eitpunk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fassen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wi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nder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behal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imm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pflich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endPar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12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ä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urora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ell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ätz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insich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ünftig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eig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derspiegel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aub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la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ü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l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ausse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ätz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rognostizie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Prognos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zw</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ria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hnlich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gesetz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nnzeich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atsäch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tretend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a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lie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mulier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plizier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sen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we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u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hö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agli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onitä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un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eis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efera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al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nlagen und Personal;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ha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akto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atilitä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chselkurs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höh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inssätz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schränk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u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apitalzuga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wank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oba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märk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ländis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ländis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aatl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schrif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ließ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portkontrol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tschaftl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ank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ite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 B.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echtsstreitigk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b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ann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s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ich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chließ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p>
          <a:p>
            <a:pPr algn="just">
              <a:lnSpc>
                <a:spcPct val="100000"/>
              </a:lnSpc>
              <a:spcBef>
                <a:spcPts val="12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se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ha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Tex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bild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af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llustr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ützte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tu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a:t>
            </a:r>
          </a:p>
          <a:p>
            <a:pPr algn="just">
              <a:lnSpc>
                <a:spcPct val="100000"/>
              </a:lnSpc>
            </a:pP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 Teil dieses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hn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herig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riftlich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hmigung</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pier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vielfältig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eil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rgendeiner</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rt und Weise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mmerziell</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utz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endParaRPr lang="en-GB" sz="11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30" name="e393ebc3-55b1-4ffd-a99f-f5012d6d099d">
            <a:extLst>
              <a:ext uri="{FF2B5EF4-FFF2-40B4-BE49-F238E27FC236}">
                <a16:creationId xmlns:a16="http://schemas.microsoft.com/office/drawing/2014/main" id="{170025E0-54A0-4A56-A1C9-1695DADA63FC}"/>
              </a:ext>
            </a:extLst>
          </p:cNvPr>
          <p:cNvCxnSpPr>
            <a:cxnSpLocks/>
          </p:cNvCxnSpPr>
          <p:nvPr/>
        </p:nvCxnSpPr>
        <p:spPr>
          <a:xfrm>
            <a:off x="381001" y="1975910"/>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a:lnSpc>
                <a:spcPct val="100000"/>
              </a:lnSpc>
            </a:pPr>
            <a: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und Haftungsausschluss</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a:spcBef>
                <a:spcPts val="0"/>
              </a:spcBef>
              <a:defRPr sz="1200" b="1">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a:t>Publikation</a:t>
            </a:r>
          </a:p>
          <a:p>
            <a:pPr lvl="0"/>
            <a:endParaRPr lang="en-GB"/>
          </a:p>
          <a:p>
            <a:pPr lvl="0"/>
            <a:endParaRPr lang="en-GB"/>
          </a:p>
        </p:txBody>
      </p:sp>
    </p:spTree>
    <p:extLst>
      <p:ext uri="{BB962C8B-B14F-4D97-AF65-F5344CB8AC3E}">
        <p14:creationId xmlns:p14="http://schemas.microsoft.com/office/powerpoint/2010/main" val="17671343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808991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18" name="Bottom line">
            <a:extLst>
              <a:ext uri="{FF2B5EF4-FFF2-40B4-BE49-F238E27FC236}">
                <a16:creationId xmlns:a16="http://schemas.microsoft.com/office/drawing/2014/main" id="{91E13582-C984-4CD2-8775-E415FC532B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4EADFF66-BEC8-40DA-BA4E-95EB941E1C2C}"/>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966C5BD2-F0DE-4102-97E0-F3335128DCAD}"/>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ED31669E-9C1D-46E1-8605-888D1A1D383E}"/>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0" name="Supertitle">
            <a:extLst>
              <a:ext uri="{FF2B5EF4-FFF2-40B4-BE49-F238E27FC236}">
                <a16:creationId xmlns:a16="http://schemas.microsoft.com/office/drawing/2014/main" id="{5C0A816F-1947-4BDC-A02C-3BD69CF16153}"/>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0878505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isclaimer &amp; Details_light_EN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2207322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6" name="43c3cef7-b209-4f1f-a261-318da2372fe8">
            <a:extLst>
              <a:ext uri="{FF2B5EF4-FFF2-40B4-BE49-F238E27FC236}">
                <a16:creationId xmlns:a16="http://schemas.microsoft.com/office/drawing/2014/main" id="{57400D9F-282B-4411-962D-7AD2AEEFC01C}"/>
              </a:ext>
            </a:extLst>
          </p:cNvPr>
          <p:cNvSpPr/>
          <p:nvPr/>
        </p:nvSpPr>
        <p:spPr>
          <a:xfrm>
            <a:off x="-6845" y="-3"/>
            <a:ext cx="3588245" cy="6858001"/>
          </a:xfrm>
          <a:prstGeom prst="rect">
            <a:avLst/>
          </a:prstGeom>
          <a:solidFill>
            <a:schemeClr val="bg1">
              <a:lumMod val="75000"/>
            </a:schemeClr>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201424"/>
          </a:xfrm>
          <a:prstGeom prst="rect">
            <a:avLst/>
          </a:prstGeom>
          <a:noFill/>
        </p:spPr>
        <p:txBody>
          <a:bodyPr wrap="square" lIns="0" tIns="0" rIns="0" bIns="0" rtlCol="0">
            <a:spAutoFit/>
          </a:bodyPr>
          <a:lstStyle/>
          <a:p>
            <a:pPr algn="just">
              <a:lnSpc>
                <a:spcPct val="100000"/>
              </a:lnSpc>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ral Disclaimer</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provided "as is" for your information only and no representation or warranty, express or implied, is given by Aurora Energy Research Limited and its subsidiaries Aurora Energy Research GmbH and Aurora Energy Research Pty Ltd (together,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heir directors, employees agents or affiliates (together, Aurora’s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ssociates</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s to its accuracy, reliability or completeness. Aurora and its Associates assume no responsibility, and accept no liability for, any loss arising out of your use of this document. This document is not to be relied upon for any purpose or used in substitution for your own independent investigations and sound judgment. The information contained in this document reflects our beliefs, assumptions, intentions and expectations as of the date of this document and is subject to change. Aurora assumes no obligation, and does not intend, to update this information.</a:t>
            </a:r>
          </a:p>
          <a:p>
            <a:pPr algn="just">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ward-looking statement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contains forward-looking statements and information, which reflect Aurora’s current view with respect to future events and financial performance. When used in this document, the words "believes", "expects", "plans", "may", "will", "would", "could", "should", "anticipates", "estimates", "project", "intend" or "outlook" or other variations of these words or other similar expressions are intended to identify forward-looking statements and information. Actual results may differ materially from the expectations expressed or implied in the forward-looking statements as a result of known and unknown risks and uncertainties. Known risks and uncertainties include but are not limited to: risks associated with political events in Europe and elsewhere, contractual risks, creditworthiness of customers, performance of suppliers and management of plant and personnel; risk associated with financial factors such as volatility in exchange rates, increases in interest rates, restrictions on access to capital, and swings in global financial markets; risks associated with domestic and foreign government regulation, including export controls and economic sanctions; and other risks, including litigation. The foregoing list of important factors is not exhaustive. </a:t>
            </a:r>
          </a:p>
          <a:p>
            <a:pPr algn="just">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pyrig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and its content (including, but not limited to, the text, images, graphics and illustrations) is the copyright material of Aurora, unless otherwise stated. </a:t>
            </a:r>
          </a:p>
          <a:p>
            <a:pPr algn="just">
              <a:lnSpc>
                <a:spcPct val="100000"/>
              </a:lnSpc>
            </a:pPr>
            <a:r>
              <a:rPr lang="en-GB" sz="12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confidential and it may not be copied, reproduced, distributed or in any way used for commercial purposes without the prior written consent of Aurora.</a:t>
            </a:r>
          </a:p>
        </p:txBody>
      </p:sp>
      <p:cxnSp>
        <p:nvCxnSpPr>
          <p:cNvPr id="30" name="e393ebc3-55b1-4ffd-a99f-f5012d6d099d">
            <a:extLst>
              <a:ext uri="{FF2B5EF4-FFF2-40B4-BE49-F238E27FC236}">
                <a16:creationId xmlns:a16="http://schemas.microsoft.com/office/drawing/2014/main" id="{170025E0-54A0-4A56-A1C9-1695DADA63FC}"/>
              </a:ext>
            </a:extLst>
          </p:cNvPr>
          <p:cNvCxnSpPr>
            <a:cxnSpLocks/>
          </p:cNvCxnSpPr>
          <p:nvPr/>
        </p:nvCxnSpPr>
        <p:spPr>
          <a:xfrm>
            <a:off x="381001" y="1975910"/>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a:lnSpc>
                <a:spcPct val="100000"/>
              </a:lnSpc>
            </a:pPr>
            <a: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and </a:t>
            </a:r>
            <a:b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sclaimer</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a:spcBef>
                <a:spcPts val="0"/>
              </a:spcBef>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a:t>Publication</a:t>
            </a:r>
          </a:p>
          <a:p>
            <a:pPr lvl="0"/>
            <a:endParaRPr lang="en-GB"/>
          </a:p>
        </p:txBody>
      </p:sp>
    </p:spTree>
    <p:extLst>
      <p:ext uri="{BB962C8B-B14F-4D97-AF65-F5344CB8AC3E}">
        <p14:creationId xmlns:p14="http://schemas.microsoft.com/office/powerpoint/2010/main" val="301855406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1_Disclaimer &amp; Details_GER">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64389598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1" name="43c3cef7-b209-4f1f-a261-318da2372fe8">
            <a:extLst>
              <a:ext uri="{FF2B5EF4-FFF2-40B4-BE49-F238E27FC236}">
                <a16:creationId xmlns:a16="http://schemas.microsoft.com/office/drawing/2014/main" id="{4B722E6D-9FA2-4CA8-9BB5-2AAECBD11AFF}"/>
              </a:ext>
            </a:extLst>
          </p:cNvPr>
          <p:cNvSpPr/>
          <p:nvPr/>
        </p:nvSpPr>
        <p:spPr>
          <a:xfrm>
            <a:off x="-6845" y="-3"/>
            <a:ext cx="3588245" cy="6858001"/>
          </a:xfrm>
          <a:prstGeom prst="rect">
            <a:avLst/>
          </a:prstGeom>
          <a:solidFill>
            <a:schemeClr val="bg1">
              <a:lumMod val="75000"/>
            </a:schemeClr>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416868"/>
          </a:xfrm>
          <a:prstGeom prst="rect">
            <a:avLst/>
          </a:prstGeom>
          <a:noFill/>
        </p:spPr>
        <p:txBody>
          <a:bodyPr wrap="square" lIns="0" tIns="0" rIns="0" bIns="0" rtlCol="0">
            <a:spAutoFit/>
          </a:bodyPr>
          <a:lstStyle/>
          <a:p>
            <a:pPr algn="just">
              <a:lnSpc>
                <a:spcPct val="100000"/>
              </a:lnSpc>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lgemeiner</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sausschlus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liegen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or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formati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reitgestel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urora Energy Research Limite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ochtergesellschaf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Energy Research GmbH und Aurora Energy Research Pty Lt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äftsführ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Mitarbeit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e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ne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achfolg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Partn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eichn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ib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insich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chtig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lässlich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lständig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o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illschweig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ich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währleis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b. Aurora und seine Partn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e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antwor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jedwe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a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tz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steh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weck</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erangezo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undlag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rsatz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such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undier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urteil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alte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piegel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e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zeug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na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ich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eitpunk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fassen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wi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nder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behal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imm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pflich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endPar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12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ä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urora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ell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ätz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insich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ünftig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eig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derspiegel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aub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la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ü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l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ausse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ätz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rognostizie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Prognos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zw</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ria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hnlich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gesetz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nnzeich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atsäch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tretend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a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lie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mulier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plizier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sen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we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u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hö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agli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onitä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un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eis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efera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al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nlagen und Personal;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ha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akto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atilitä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chselkurs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höh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inssätz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schränk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u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apitalzuga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wank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oba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märk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ländis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ländis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aatl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schrif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ließ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portkontrol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tschaftl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ank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ite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 B.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echtsstreitigk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b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ann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s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ich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chließ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p>
          <a:p>
            <a:pPr algn="just">
              <a:lnSpc>
                <a:spcPct val="100000"/>
              </a:lnSpc>
              <a:spcBef>
                <a:spcPts val="12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se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ha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Tex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bild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af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llustr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ützte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tu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a:t>
            </a:r>
          </a:p>
          <a:p>
            <a:pPr algn="just">
              <a:lnSpc>
                <a:spcPct val="100000"/>
              </a:lnSpc>
            </a:pP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eil dieses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hn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herig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riftlich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hmigung</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pier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vielfältig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eil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rgendeiner</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rt und Weise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mmerziell</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utz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endParaRPr lang="en-GB" sz="11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a:lnSpc>
                <a:spcPct val="100000"/>
              </a:lnSpc>
            </a:pPr>
            <a: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und Haftungsausschluss</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a:spcBef>
                <a:spcPts val="0"/>
              </a:spcBef>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a:t>Publikation</a:t>
            </a:r>
          </a:p>
          <a:p>
            <a:pPr lvl="0"/>
            <a:endParaRPr lang="en-GB"/>
          </a:p>
          <a:p>
            <a:pPr lvl="0"/>
            <a:endParaRPr lang="en-GB"/>
          </a:p>
        </p:txBody>
      </p:sp>
      <p:cxnSp>
        <p:nvCxnSpPr>
          <p:cNvPr id="10" name="e393ebc3-55b1-4ffd-a99f-f5012d6d099d">
            <a:extLst>
              <a:ext uri="{FF2B5EF4-FFF2-40B4-BE49-F238E27FC236}">
                <a16:creationId xmlns:a16="http://schemas.microsoft.com/office/drawing/2014/main" id="{4B7F0A9E-01B9-4FC2-9C7C-69924AD23DE6}"/>
              </a:ext>
            </a:extLst>
          </p:cNvPr>
          <p:cNvCxnSpPr>
            <a:cxnSpLocks/>
          </p:cNvCxnSpPr>
          <p:nvPr/>
        </p:nvCxnSpPr>
        <p:spPr>
          <a:xfrm>
            <a:off x="381001" y="1975910"/>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310419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isclaimer_EN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96183198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599" y="1268413"/>
            <a:ext cx="11428800" cy="4047262"/>
          </a:xfrm>
          <a:prstGeom prst="rect">
            <a:avLst/>
          </a:prstGeom>
          <a:noFill/>
        </p:spPr>
        <p:txBody>
          <a:bodyPr wrap="square" lIns="0" tIns="0" rIns="0" bIns="0" rtlCol="0">
            <a:spAutoFit/>
          </a:bodyPr>
          <a:lstStyle/>
          <a:p>
            <a:pPr algn="just">
              <a:lnSpc>
                <a:spcPct val="100000"/>
              </a:lnSpc>
              <a:spcBef>
                <a:spcPts val="6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ral Disclaimer</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0"/>
              </a:spcBef>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provided "as is" for your information only and no representation or warranty, express or implied, is given by Aurora Energy Research Limited and its subsidiaries Aurora Energy Research GmbH and Aurora Energy Research Pty Ltd (together,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heir directors, employees agents or affiliates (together, Aurora’s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ssociates</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s to its accuracy, reliability or completeness. Aurora and its Associates assume no responsibility, and accept no liability for, any loss arising out of your use of this document. This document is not to be relied upon for any purpose or used in substitution for your own independent investigations and sound judgment. The information contained in this document reflects our beliefs, assumptions, intentions and expectations as of the date of this document and is subject to change. Aurora assumes no obligation, and does not intend, to update this information.</a:t>
            </a:r>
          </a:p>
          <a:p>
            <a:pPr algn="just">
              <a:lnSpc>
                <a:spcPct val="100000"/>
              </a:lnSpc>
              <a:spcBef>
                <a:spcPts val="18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ward-looking statement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0"/>
              </a:spcBef>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contains forward-looking statements and information, which reflect Aurora’s current view with respect to future events and financial performance. When used in this document, the words "believes", "expects", "plans", "may", "will", "would", "could", "should", "anticipates", "estimates", "project", "intend" or "outlook" or other variations of these words or other similar expressions are intended to identify forward-looking statements and information. Actual results may differ materially from the expectations expressed or implied in the forward-looking statements as a result of known and unknown risks and uncertainties. Known risks and uncertainties include but are not limited to: risks associated with political events in Europe and elsewhere, contractual risks, creditworthiness of customers, performance of suppliers and management of plant and personnel; risk associated with financial factors such as volatility in exchange rates, increases in interest rates, restrictions on access to capital, and swings in global financial markets; risks associated with domestic and foreign government regulation, including export controls and economic sanctions; and other risks, including litigation. The foregoing list of important factors is not exhaustive. </a:t>
            </a:r>
          </a:p>
          <a:p>
            <a:pPr algn="just">
              <a:lnSpc>
                <a:spcPct val="100000"/>
              </a:lnSpc>
              <a:spcBef>
                <a:spcPts val="18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pyrig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0"/>
              </a:spcBef>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and its content (including, but not limited to, the text, images, graphics and illustrations) is the copyright material of Aurora, unless otherwise stated. </a:t>
            </a:r>
          </a:p>
          <a:p>
            <a:pPr algn="just">
              <a:lnSpc>
                <a:spcPct val="100000"/>
              </a:lnSpc>
              <a:spcBef>
                <a:spcPts val="0"/>
              </a:spcBef>
            </a:pPr>
            <a:r>
              <a:rPr lang="en-GB" sz="12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confidential and it may not be copied, reproduced, distributed or in any way used for commercial purposes without the prior written consent of Aurora.</a:t>
            </a:r>
          </a:p>
        </p:txBody>
      </p:sp>
      <p:cxnSp>
        <p:nvCxnSpPr>
          <p:cNvPr id="10" name="Straight Connector 9">
            <a:extLst>
              <a:ext uri="{FF2B5EF4-FFF2-40B4-BE49-F238E27FC236}">
                <a16:creationId xmlns:a16="http://schemas.microsoft.com/office/drawing/2014/main" id="{3399C645-B355-4BF8-A0FD-AB66337228D3}"/>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3738d0d7-0a6d-4acc-b630-0f72ea09deea">
            <a:extLst>
              <a:ext uri="{FF2B5EF4-FFF2-40B4-BE49-F238E27FC236}">
                <a16:creationId xmlns:a16="http://schemas.microsoft.com/office/drawing/2014/main" id="{B10FD820-C0F0-420F-A3F7-1B0218FB2443}"/>
              </a:ext>
            </a:extLst>
          </p:cNvPr>
          <p:cNvSpPr txBox="1">
            <a:spLocks/>
          </p:cNvSpPr>
          <p:nvPr/>
        </p:nvSpPr>
        <p:spPr>
          <a:xfrm>
            <a:off x="381600" y="411856"/>
            <a:ext cx="8600471" cy="338554"/>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sclaimer and Copyright</a:t>
            </a:r>
          </a:p>
        </p:txBody>
      </p:sp>
    </p:spTree>
    <p:extLst>
      <p:ext uri="{BB962C8B-B14F-4D97-AF65-F5344CB8AC3E}">
        <p14:creationId xmlns:p14="http://schemas.microsoft.com/office/powerpoint/2010/main" val="321863694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Disclaimer_D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98070542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599" y="1268413"/>
            <a:ext cx="11428800" cy="4785926"/>
          </a:xfrm>
          <a:prstGeom prst="rect">
            <a:avLst/>
          </a:prstGeom>
          <a:noFill/>
        </p:spPr>
        <p:txBody>
          <a:bodyPr wrap="square" lIns="0" tIns="0" rIns="0" bIns="0" rtlCol="0">
            <a:spAutoFit/>
          </a:bodyPr>
          <a:lstStyle/>
          <a:p>
            <a:pPr algn="just">
              <a:lnSpc>
                <a:spcPct val="100000"/>
              </a:lnSpc>
              <a:spcBef>
                <a:spcPts val="6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lgemeiner</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sausschluss</a:t>
            </a:r>
            <a:endPar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0"/>
              </a:spcBef>
            </a:pP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d</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liegend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orm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formation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reitgestell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urora Energy Research Limite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ochtergesellschaft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Energy Research GmbH und Aurora Energy Research Pty Lt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äftsführ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Mitarbeit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et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neh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achfolgend</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Partn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eichne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ib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insichtlich</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chtigkei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lässlichkei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lständigkei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lich</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och</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illschweigend</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icher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währleist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b. Aurora und seine Partn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eh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antwort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jedwed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ad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tz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steh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weck</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erangezo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undlag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rsatz fü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r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such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undiert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urteil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m</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alte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piegel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er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zeug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nah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icht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m</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eitpunk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fassen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wi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nder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behalt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imm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pflicht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p>
          <a:p>
            <a:pPr algn="just">
              <a:lnSpc>
                <a:spcPct val="100000"/>
              </a:lnSpc>
              <a:spcBef>
                <a:spcPts val="18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0"/>
              </a:spcBef>
            </a:pP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äl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uroras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ell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ätzu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insicht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ünftig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eigniss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derspiegel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aub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la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ürd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l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ausse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ätz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rognostizier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Prognos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zw</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ria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hnlich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gesetz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m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nnzeich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atsäch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tretend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a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bekan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lie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de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mulier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plizier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sent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wei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u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hör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aglich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onitä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und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eistu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efera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altu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nlagen und Personal;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ha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aktor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atilitä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chselkurs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höhu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inssätz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schränkun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u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apitalzuga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wankun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obal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märk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ländis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ländis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aatli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schrif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ließ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portkontroll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tschaftli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anktio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iter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 B.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echtsstreitigkei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b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annt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st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ich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chließend</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p>
          <a:p>
            <a:pPr algn="just">
              <a:lnSpc>
                <a:spcPct val="100000"/>
              </a:lnSpc>
              <a:spcBef>
                <a:spcPts val="18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0"/>
              </a:spcBef>
            </a:pP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sei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hal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Text,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bildun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af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llustratio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ütztes</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tum</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 </a:t>
            </a:r>
            <a:b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eil dieses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hn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herig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riftlich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hmigung</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piert</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vielfältigt</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eilt</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rgendeiner</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rt und Weise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mmerziell</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utzt</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p>
        </p:txBody>
      </p:sp>
      <p:cxnSp>
        <p:nvCxnSpPr>
          <p:cNvPr id="7" name="Straight Connector 6">
            <a:extLst>
              <a:ext uri="{FF2B5EF4-FFF2-40B4-BE49-F238E27FC236}">
                <a16:creationId xmlns:a16="http://schemas.microsoft.com/office/drawing/2014/main" id="{6FBCA722-93A5-43EB-ACB0-0BA183C7B423}"/>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3738d0d7-0a6d-4acc-b630-0f72ea09deea">
            <a:extLst>
              <a:ext uri="{FF2B5EF4-FFF2-40B4-BE49-F238E27FC236}">
                <a16:creationId xmlns:a16="http://schemas.microsoft.com/office/drawing/2014/main" id="{F6026BE4-2B9D-4B6F-9DC8-C648690E0847}"/>
              </a:ext>
            </a:extLst>
          </p:cNvPr>
          <p:cNvSpPr txBox="1">
            <a:spLocks/>
          </p:cNvSpPr>
          <p:nvPr/>
        </p:nvSpPr>
        <p:spPr>
          <a:xfrm>
            <a:off x="381600" y="411856"/>
            <a:ext cx="8600471" cy="304699"/>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sausschluss und Urheberrecht</a:t>
            </a:r>
          </a:p>
        </p:txBody>
      </p:sp>
    </p:spTree>
    <p:extLst>
      <p:ext uri="{BB962C8B-B14F-4D97-AF65-F5344CB8AC3E}">
        <p14:creationId xmlns:p14="http://schemas.microsoft.com/office/powerpoint/2010/main" val="262154132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Last Page_Log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5E57110-B039-481A-B7E2-2B76E2AB4EA2}"/>
              </a:ext>
            </a:extLst>
          </p:cNvPr>
          <p:cNvGraphicFramePr>
            <a:graphicFrameLocks noChangeAspect="1"/>
          </p:cNvGraphicFramePr>
          <p:nvPr>
            <p:custDataLst>
              <p:tags r:id="rId1"/>
            </p:custDataLst>
            <p:extLst>
              <p:ext uri="{D42A27DB-BD31-4B8C-83A1-F6EECF244321}">
                <p14:modId xmlns:p14="http://schemas.microsoft.com/office/powerpoint/2010/main" val="2443533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55E57110-B039-481A-B7E2-2B76E2AB4E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126A2FE5-B585-4EEB-B516-1A9AC455B10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494888" y="2821504"/>
            <a:ext cx="5202223" cy="1214993"/>
          </a:xfrm>
          <a:prstGeom prst="rect">
            <a:avLst/>
          </a:prstGeom>
        </p:spPr>
      </p:pic>
      <p:sp>
        <p:nvSpPr>
          <p:cNvPr id="3" name="Rectangle 2">
            <a:extLst>
              <a:ext uri="{FF2B5EF4-FFF2-40B4-BE49-F238E27FC236}">
                <a16:creationId xmlns:a16="http://schemas.microsoft.com/office/drawing/2014/main" id="{3EB4029C-17E9-4AA0-BC76-5B1904183B6C}"/>
              </a:ext>
            </a:extLst>
          </p:cNvPr>
          <p:cNvSpPr/>
          <p:nvPr/>
        </p:nvSpPr>
        <p:spPr>
          <a:xfrm>
            <a:off x="10272464" y="404664"/>
            <a:ext cx="1656184" cy="36004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 name="Rectangle 1">
            <a:extLst>
              <a:ext uri="{FF2B5EF4-FFF2-40B4-BE49-F238E27FC236}">
                <a16:creationId xmlns:a16="http://schemas.microsoft.com/office/drawing/2014/main" id="{E3A2AB1F-850B-492A-B682-98652722B1A4}"/>
              </a:ext>
            </a:extLst>
          </p:cNvPr>
          <p:cNvSpPr/>
          <p:nvPr/>
        </p:nvSpPr>
        <p:spPr>
          <a:xfrm>
            <a:off x="11544300" y="6616700"/>
            <a:ext cx="384348" cy="2413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269062570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501550E-0551-47DC-B19E-B3684AE7028B}"/>
              </a:ext>
            </a:extLst>
          </p:cNvPr>
          <p:cNvGraphicFramePr>
            <a:graphicFrameLocks noChangeAspect="1"/>
          </p:cNvGraphicFramePr>
          <p:nvPr>
            <p:custDataLst>
              <p:tags r:id="rId1"/>
            </p:custDataLst>
            <p:extLst>
              <p:ext uri="{D42A27DB-BD31-4B8C-83A1-F6EECF244321}">
                <p14:modId xmlns:p14="http://schemas.microsoft.com/office/powerpoint/2010/main" val="3806640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8501550E-0551-47DC-B19E-B3684AE702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9378DD12-45E2-4111-950A-BF131F54ABF1}"/>
              </a:ext>
            </a:extLst>
          </p:cNvPr>
          <p:cNvSpPr/>
          <p:nvPr/>
        </p:nvSpPr>
        <p:spPr>
          <a:xfrm>
            <a:off x="10272464" y="404664"/>
            <a:ext cx="1656184" cy="36004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200902551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Title Slide add client logo">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extLst>
              <p:ext uri="{D42A27DB-BD31-4B8C-83A1-F6EECF244321}">
                <p14:modId xmlns:p14="http://schemas.microsoft.com/office/powerpoint/2010/main" val="322620054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492" imgH="504" progId="TCLayout.ActiveDocument.1">
                  <p:embed/>
                </p:oleObj>
              </mc:Choice>
              <mc:Fallback>
                <p:oleObj name="think-cell Slide" r:id="rId5" imgW="492" imgH="504" progId="TCLayout.ActiveDocument.1">
                  <p:embed/>
                  <p:pic>
                    <p:nvPicPr>
                      <p:cNvPr id="18" name="Object 17"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41B9B2B-AD9B-4C54-9056-21A1AC246198}"/>
              </a:ext>
            </a:extLst>
          </p:cNvPr>
          <p:cNvSpPr/>
          <p:nvPr userDrawn="1">
            <p:custDataLst>
              <p:tags r:id="rId2"/>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spcBef>
                <a:spcPts val="600"/>
              </a:spcBef>
            </a:pPr>
            <a:endParaRPr lang="en-GB" sz="3400" b="1" i="0" baseline="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pic>
        <p:nvPicPr>
          <p:cNvPr id="4" name="Picture 3" descr="A large yellow structure in the water&#10;&#10;Description automatically generated">
            <a:extLst>
              <a:ext uri="{FF2B5EF4-FFF2-40B4-BE49-F238E27FC236}">
                <a16:creationId xmlns:a16="http://schemas.microsoft.com/office/drawing/2014/main" id="{9484E68D-E882-126F-07BD-CF671EE7BFD1}"/>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r="18409"/>
          <a:stretch/>
        </p:blipFill>
        <p:spPr>
          <a:xfrm>
            <a:off x="3766833" y="0"/>
            <a:ext cx="8425168" cy="6858000"/>
          </a:xfrm>
          <a:prstGeom prst="rect">
            <a:avLst/>
          </a:prstGeom>
        </p:spPr>
      </p:pic>
      <p:grpSp>
        <p:nvGrpSpPr>
          <p:cNvPr id="8" name="07c27c03-86d7-43f9-a4a8-0264cf953919">
            <a:extLst>
              <a:ext uri="{FF2B5EF4-FFF2-40B4-BE49-F238E27FC236}">
                <a16:creationId xmlns:a16="http://schemas.microsoft.com/office/drawing/2014/main" id="{1FC626AE-19AB-4933-9C18-1AA73CB968B5}"/>
              </a:ext>
            </a:extLst>
          </p:cNvPr>
          <p:cNvGrpSpPr/>
          <p:nvPr/>
        </p:nvGrpSpPr>
        <p:grpSpPr>
          <a:xfrm>
            <a:off x="0" y="0"/>
            <a:ext cx="12192000" cy="6858000"/>
            <a:chOff x="0" y="0"/>
            <a:chExt cx="12192000" cy="6858000"/>
          </a:xfrm>
        </p:grpSpPr>
        <p:sp>
          <p:nvSpPr>
            <p:cNvPr id="10" name="Freeform: Shape 9">
              <a:extLst>
                <a:ext uri="{FF2B5EF4-FFF2-40B4-BE49-F238E27FC236}">
                  <a16:creationId xmlns:a16="http://schemas.microsoft.com/office/drawing/2014/main" id="{A18F3B72-2D96-4D16-B281-7A01BFE5536D}"/>
                </a:ext>
              </a:extLst>
            </p:cNvPr>
            <p:cNvSpPr/>
            <p:nvPr/>
          </p:nvSpPr>
          <p:spPr>
            <a:xfrm>
              <a:off x="0" y="0"/>
              <a:ext cx="12192000" cy="6858000"/>
            </a:xfrm>
            <a:custGeom>
              <a:avLst/>
              <a:gdLst>
                <a:gd name="connsiteX0" fmla="*/ 12192000 w 12192000"/>
                <a:gd name="connsiteY0" fmla="*/ 5903927 h 6858000"/>
                <a:gd name="connsiteX1" fmla="*/ 12192000 w 12192000"/>
                <a:gd name="connsiteY1" fmla="*/ 6858000 h 6858000"/>
                <a:gd name="connsiteX2" fmla="*/ 10516834 w 12192000"/>
                <a:gd name="connsiteY2" fmla="*/ 6858000 h 6858000"/>
                <a:gd name="connsiteX3" fmla="*/ 10558223 w 12192000"/>
                <a:gd name="connsiteY3" fmla="*/ 6848448 h 6858000"/>
                <a:gd name="connsiteX4" fmla="*/ 12172382 w 12192000"/>
                <a:gd name="connsiteY4" fmla="*/ 5925512 h 6858000"/>
                <a:gd name="connsiteX5" fmla="*/ 10516834 w 12192000"/>
                <a:gd name="connsiteY5" fmla="*/ 0 h 6858000"/>
                <a:gd name="connsiteX6" fmla="*/ 12192000 w 12192000"/>
                <a:gd name="connsiteY6" fmla="*/ 0 h 6858000"/>
                <a:gd name="connsiteX7" fmla="*/ 12192000 w 12192000"/>
                <a:gd name="connsiteY7" fmla="*/ 954074 h 6858000"/>
                <a:gd name="connsiteX8" fmla="*/ 12172382 w 12192000"/>
                <a:gd name="connsiteY8" fmla="*/ 932489 h 6858000"/>
                <a:gd name="connsiteX9" fmla="*/ 10558223 w 12192000"/>
                <a:gd name="connsiteY9" fmla="*/ 9553 h 6858000"/>
                <a:gd name="connsiteX10" fmla="*/ 0 w 12192000"/>
                <a:gd name="connsiteY10" fmla="*/ 0 h 6858000"/>
                <a:gd name="connsiteX11" fmla="*/ 8834908 w 12192000"/>
                <a:gd name="connsiteY11" fmla="*/ 0 h 6858000"/>
                <a:gd name="connsiteX12" fmla="*/ 8793519 w 12192000"/>
                <a:gd name="connsiteY12" fmla="*/ 9553 h 6858000"/>
                <a:gd name="connsiteX13" fmla="*/ 6145271 w 12192000"/>
                <a:gd name="connsiteY13" fmla="*/ 3429000 h 6858000"/>
                <a:gd name="connsiteX14" fmla="*/ 8793519 w 12192000"/>
                <a:gd name="connsiteY14" fmla="*/ 6848448 h 6858000"/>
                <a:gd name="connsiteX15" fmla="*/ 8834908 w 12192000"/>
                <a:gd name="connsiteY15" fmla="*/ 6858000 h 6858000"/>
                <a:gd name="connsiteX16" fmla="*/ 0 w 12192000"/>
                <a:gd name="connsiteY1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192000" h="6858000">
                  <a:moveTo>
                    <a:pt x="12192000" y="5903927"/>
                  </a:moveTo>
                  <a:lnTo>
                    <a:pt x="12192000" y="6858000"/>
                  </a:lnTo>
                  <a:lnTo>
                    <a:pt x="10516834" y="6858000"/>
                  </a:lnTo>
                  <a:lnTo>
                    <a:pt x="10558223" y="6848448"/>
                  </a:lnTo>
                  <a:cubicBezTo>
                    <a:pt x="11178673" y="6688813"/>
                    <a:pt x="11733130" y="6364764"/>
                    <a:pt x="12172382" y="5925512"/>
                  </a:cubicBezTo>
                  <a:close/>
                  <a:moveTo>
                    <a:pt x="10516834" y="0"/>
                  </a:moveTo>
                  <a:lnTo>
                    <a:pt x="12192000" y="0"/>
                  </a:lnTo>
                  <a:lnTo>
                    <a:pt x="12192000" y="954074"/>
                  </a:lnTo>
                  <a:lnTo>
                    <a:pt x="12172382" y="932489"/>
                  </a:lnTo>
                  <a:cubicBezTo>
                    <a:pt x="11733130" y="493236"/>
                    <a:pt x="11178673" y="169187"/>
                    <a:pt x="10558223" y="9553"/>
                  </a:cubicBezTo>
                  <a:close/>
                  <a:moveTo>
                    <a:pt x="0" y="0"/>
                  </a:moveTo>
                  <a:lnTo>
                    <a:pt x="8834908" y="0"/>
                  </a:lnTo>
                  <a:lnTo>
                    <a:pt x="8793519" y="9553"/>
                  </a:lnTo>
                  <a:cubicBezTo>
                    <a:pt x="7270596" y="401383"/>
                    <a:pt x="6145271" y="1783775"/>
                    <a:pt x="6145271" y="3429000"/>
                  </a:cubicBezTo>
                  <a:cubicBezTo>
                    <a:pt x="6145271" y="5074226"/>
                    <a:pt x="7270596" y="6456617"/>
                    <a:pt x="8793519" y="6848448"/>
                  </a:cubicBezTo>
                  <a:lnTo>
                    <a:pt x="8834908" y="6858000"/>
                  </a:lnTo>
                  <a:lnTo>
                    <a:pt x="0" y="6858000"/>
                  </a:lnTo>
                  <a:close/>
                </a:path>
              </a:pathLst>
            </a:custGeom>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400">
                <a:solidFill>
                  <a:schemeClr val="accent6"/>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 name="Freeform: Shape 10">
              <a:extLst>
                <a:ext uri="{FF2B5EF4-FFF2-40B4-BE49-F238E27FC236}">
                  <a16:creationId xmlns:a16="http://schemas.microsoft.com/office/drawing/2014/main" id="{A4569E97-E2DB-4177-A1BA-8C69D20EF9B6}"/>
                </a:ext>
              </a:extLst>
            </p:cNvPr>
            <p:cNvSpPr>
              <a:spLocks/>
            </p:cNvSpPr>
            <p:nvPr/>
          </p:nvSpPr>
          <p:spPr>
            <a:xfrm>
              <a:off x="5877042" y="0"/>
              <a:ext cx="6314958" cy="6858000"/>
            </a:xfrm>
            <a:custGeom>
              <a:avLst/>
              <a:gdLst>
                <a:gd name="connsiteX0" fmla="*/ 6314958 w 6314958"/>
                <a:gd name="connsiteY0" fmla="*/ 5906568 h 6858000"/>
                <a:gd name="connsiteX1" fmla="*/ 6314958 w 6314958"/>
                <a:gd name="connsiteY1" fmla="*/ 6269729 h 6858000"/>
                <a:gd name="connsiteX2" fmla="*/ 6215237 w 6314958"/>
                <a:gd name="connsiteY2" fmla="*/ 6360361 h 6858000"/>
                <a:gd name="connsiteX3" fmla="*/ 5445778 w 6314958"/>
                <a:gd name="connsiteY3" fmla="*/ 6853223 h 6858000"/>
                <a:gd name="connsiteX4" fmla="*/ 5435212 w 6314958"/>
                <a:gd name="connsiteY4" fmla="*/ 6858000 h 6858000"/>
                <a:gd name="connsiteX5" fmla="*/ 4647701 w 6314958"/>
                <a:gd name="connsiteY5" fmla="*/ 6858000 h 6858000"/>
                <a:gd name="connsiteX6" fmla="*/ 4681626 w 6314958"/>
                <a:gd name="connsiteY6" fmla="*/ 6850171 h 6858000"/>
                <a:gd name="connsiteX7" fmla="*/ 5173790 w 6314958"/>
                <a:gd name="connsiteY7" fmla="*/ 6683787 h 6858000"/>
                <a:gd name="connsiteX8" fmla="*/ 5271135 w 6314958"/>
                <a:gd name="connsiteY8" fmla="*/ 6636894 h 6858000"/>
                <a:gd name="connsiteX9" fmla="*/ 5348751 w 6314958"/>
                <a:gd name="connsiteY9" fmla="*/ 6602092 h 6858000"/>
                <a:gd name="connsiteX10" fmla="*/ 5400784 w 6314958"/>
                <a:gd name="connsiteY10" fmla="*/ 6574439 h 6858000"/>
                <a:gd name="connsiteX11" fmla="*/ 5482571 w 6314958"/>
                <a:gd name="connsiteY11" fmla="*/ 6535040 h 6858000"/>
                <a:gd name="connsiteX12" fmla="*/ 5536048 w 6314958"/>
                <a:gd name="connsiteY12" fmla="*/ 6502552 h 6858000"/>
                <a:gd name="connsiteX13" fmla="*/ 5556210 w 6314958"/>
                <a:gd name="connsiteY13" fmla="*/ 6491837 h 6858000"/>
                <a:gd name="connsiteX14" fmla="*/ 5678830 w 6314958"/>
                <a:gd name="connsiteY14" fmla="*/ 6415809 h 6858000"/>
                <a:gd name="connsiteX15" fmla="*/ 5773816 w 6314958"/>
                <a:gd name="connsiteY15" fmla="*/ 6358104 h 6858000"/>
                <a:gd name="connsiteX16" fmla="*/ 5866153 w 6314958"/>
                <a:gd name="connsiteY16" fmla="*/ 6289055 h 6858000"/>
                <a:gd name="connsiteX17" fmla="*/ 5945069 w 6314958"/>
                <a:gd name="connsiteY17" fmla="*/ 6232582 h 6858000"/>
                <a:gd name="connsiteX18" fmla="*/ 5980102 w 6314958"/>
                <a:gd name="connsiteY18" fmla="*/ 6203847 h 6858000"/>
                <a:gd name="connsiteX19" fmla="*/ 6045750 w 6314958"/>
                <a:gd name="connsiteY19" fmla="*/ 6154756 h 6858000"/>
                <a:gd name="connsiteX20" fmla="*/ 6099423 w 6314958"/>
                <a:gd name="connsiteY20" fmla="*/ 6105974 h 6858000"/>
                <a:gd name="connsiteX21" fmla="*/ 6125316 w 6314958"/>
                <a:gd name="connsiteY21" fmla="*/ 6084735 h 6858000"/>
                <a:gd name="connsiteX22" fmla="*/ 6208411 w 6314958"/>
                <a:gd name="connsiteY22" fmla="*/ 6006920 h 6858000"/>
                <a:gd name="connsiteX23" fmla="*/ 6296598 w 6314958"/>
                <a:gd name="connsiteY23" fmla="*/ 5926769 h 6858000"/>
                <a:gd name="connsiteX24" fmla="*/ 4647701 w 6314958"/>
                <a:gd name="connsiteY24" fmla="*/ 0 h 6858000"/>
                <a:gd name="connsiteX25" fmla="*/ 5435212 w 6314958"/>
                <a:gd name="connsiteY25" fmla="*/ 0 h 6858000"/>
                <a:gd name="connsiteX26" fmla="*/ 5445778 w 6314958"/>
                <a:gd name="connsiteY26" fmla="*/ 4777 h 6858000"/>
                <a:gd name="connsiteX27" fmla="*/ 6215237 w 6314958"/>
                <a:gd name="connsiteY27" fmla="*/ 497639 h 6858000"/>
                <a:gd name="connsiteX28" fmla="*/ 6314958 w 6314958"/>
                <a:gd name="connsiteY28" fmla="*/ 588272 h 6858000"/>
                <a:gd name="connsiteX29" fmla="*/ 6314958 w 6314958"/>
                <a:gd name="connsiteY29" fmla="*/ 951432 h 6858000"/>
                <a:gd name="connsiteX30" fmla="*/ 6296598 w 6314958"/>
                <a:gd name="connsiteY30" fmla="*/ 931231 h 6858000"/>
                <a:gd name="connsiteX31" fmla="*/ 6208380 w 6314958"/>
                <a:gd name="connsiteY31" fmla="*/ 851053 h 6858000"/>
                <a:gd name="connsiteX32" fmla="*/ 6125316 w 6314958"/>
                <a:gd name="connsiteY32" fmla="*/ 773266 h 6858000"/>
                <a:gd name="connsiteX33" fmla="*/ 6099430 w 6314958"/>
                <a:gd name="connsiteY33" fmla="*/ 752033 h 6858000"/>
                <a:gd name="connsiteX34" fmla="*/ 6045750 w 6314958"/>
                <a:gd name="connsiteY34" fmla="*/ 703245 h 6858000"/>
                <a:gd name="connsiteX35" fmla="*/ 5980095 w 6314958"/>
                <a:gd name="connsiteY35" fmla="*/ 654149 h 6858000"/>
                <a:gd name="connsiteX36" fmla="*/ 5945069 w 6314958"/>
                <a:gd name="connsiteY36" fmla="*/ 625419 h 6858000"/>
                <a:gd name="connsiteX37" fmla="*/ 5866166 w 6314958"/>
                <a:gd name="connsiteY37" fmla="*/ 568954 h 6858000"/>
                <a:gd name="connsiteX38" fmla="*/ 5773816 w 6314958"/>
                <a:gd name="connsiteY38" fmla="*/ 499896 h 6858000"/>
                <a:gd name="connsiteX39" fmla="*/ 5678803 w 6314958"/>
                <a:gd name="connsiteY39" fmla="*/ 442174 h 6858000"/>
                <a:gd name="connsiteX40" fmla="*/ 5556210 w 6314958"/>
                <a:gd name="connsiteY40" fmla="*/ 366164 h 6858000"/>
                <a:gd name="connsiteX41" fmla="*/ 5536052 w 6314958"/>
                <a:gd name="connsiteY41" fmla="*/ 355451 h 6858000"/>
                <a:gd name="connsiteX42" fmla="*/ 5482571 w 6314958"/>
                <a:gd name="connsiteY42" fmla="*/ 322960 h 6858000"/>
                <a:gd name="connsiteX43" fmla="*/ 5400777 w 6314958"/>
                <a:gd name="connsiteY43" fmla="*/ 283558 h 6858000"/>
                <a:gd name="connsiteX44" fmla="*/ 5348751 w 6314958"/>
                <a:gd name="connsiteY44" fmla="*/ 255909 h 6858000"/>
                <a:gd name="connsiteX45" fmla="*/ 5271147 w 6314958"/>
                <a:gd name="connsiteY45" fmla="*/ 221112 h 6858000"/>
                <a:gd name="connsiteX46" fmla="*/ 5173790 w 6314958"/>
                <a:gd name="connsiteY46" fmla="*/ 174213 h 6858000"/>
                <a:gd name="connsiteX47" fmla="*/ 4681626 w 6314958"/>
                <a:gd name="connsiteY47" fmla="*/ 7830 h 6858000"/>
                <a:gd name="connsiteX48" fmla="*/ 2162446 w 6314958"/>
                <a:gd name="connsiteY48" fmla="*/ 0 h 6858000"/>
                <a:gd name="connsiteX49" fmla="*/ 2949957 w 6314958"/>
                <a:gd name="connsiteY49" fmla="*/ 0 h 6858000"/>
                <a:gd name="connsiteX50" fmla="*/ 2916032 w 6314958"/>
                <a:gd name="connsiteY50" fmla="*/ 7830 h 6858000"/>
                <a:gd name="connsiteX51" fmla="*/ 2423868 w 6314958"/>
                <a:gd name="connsiteY51" fmla="*/ 174213 h 6858000"/>
                <a:gd name="connsiteX52" fmla="*/ 2375455 w 6314958"/>
                <a:gd name="connsiteY52" fmla="*/ 197535 h 6858000"/>
                <a:gd name="connsiteX53" fmla="*/ 2365440 w 6314958"/>
                <a:gd name="connsiteY53" fmla="*/ 201501 h 6858000"/>
                <a:gd name="connsiteX54" fmla="*/ 2300569 w 6314958"/>
                <a:gd name="connsiteY54" fmla="*/ 233609 h 6858000"/>
                <a:gd name="connsiteX55" fmla="*/ 2115088 w 6314958"/>
                <a:gd name="connsiteY55" fmla="*/ 322960 h 6858000"/>
                <a:gd name="connsiteX56" fmla="*/ 1863446 w 6314958"/>
                <a:gd name="connsiteY56" fmla="*/ 475836 h 6858000"/>
                <a:gd name="connsiteX57" fmla="*/ 1860205 w 6314958"/>
                <a:gd name="connsiteY57" fmla="*/ 477785 h 6858000"/>
                <a:gd name="connsiteX58" fmla="*/ 1860025 w 6314958"/>
                <a:gd name="connsiteY58" fmla="*/ 477915 h 6858000"/>
                <a:gd name="connsiteX59" fmla="*/ 1823843 w 6314958"/>
                <a:gd name="connsiteY59" fmla="*/ 499896 h 6858000"/>
                <a:gd name="connsiteX60" fmla="*/ 1690354 w 6314958"/>
                <a:gd name="connsiteY60" fmla="*/ 599717 h 6858000"/>
                <a:gd name="connsiteX61" fmla="*/ 1627429 w 6314958"/>
                <a:gd name="connsiteY61" fmla="*/ 644889 h 6858000"/>
                <a:gd name="connsiteX62" fmla="*/ 1608663 w 6314958"/>
                <a:gd name="connsiteY62" fmla="*/ 660805 h 6858000"/>
                <a:gd name="connsiteX63" fmla="*/ 1551908 w 6314958"/>
                <a:gd name="connsiteY63" fmla="*/ 703245 h 6858000"/>
                <a:gd name="connsiteX64" fmla="*/ 1458256 w 6314958"/>
                <a:gd name="connsiteY64" fmla="*/ 788362 h 6858000"/>
                <a:gd name="connsiteX65" fmla="*/ 1409302 w 6314958"/>
                <a:gd name="connsiteY65" fmla="*/ 829879 h 6858000"/>
                <a:gd name="connsiteX66" fmla="*/ 1375552 w 6314958"/>
                <a:gd name="connsiteY66" fmla="*/ 863529 h 6858000"/>
                <a:gd name="connsiteX67" fmla="*/ 1301060 w 6314958"/>
                <a:gd name="connsiteY67" fmla="*/ 931231 h 6858000"/>
                <a:gd name="connsiteX68" fmla="*/ 1237457 w 6314958"/>
                <a:gd name="connsiteY68" fmla="*/ 1001213 h 6858000"/>
                <a:gd name="connsiteX69" fmla="*/ 1206889 w 6314958"/>
                <a:gd name="connsiteY69" fmla="*/ 1031689 h 6858000"/>
                <a:gd name="connsiteX70" fmla="*/ 1162896 w 6314958"/>
                <a:gd name="connsiteY70" fmla="*/ 1083250 h 6858000"/>
                <a:gd name="connsiteX71" fmla="*/ 1073074 w 6314958"/>
                <a:gd name="connsiteY71" fmla="*/ 1182079 h 6858000"/>
                <a:gd name="connsiteX72" fmla="*/ 1034080 w 6314958"/>
                <a:gd name="connsiteY72" fmla="*/ 1234225 h 6858000"/>
                <a:gd name="connsiteX73" fmla="*/ 1021257 w 6314958"/>
                <a:gd name="connsiteY73" fmla="*/ 1249253 h 6858000"/>
                <a:gd name="connsiteX74" fmla="*/ 976117 w 6314958"/>
                <a:gd name="connsiteY74" fmla="*/ 1311738 h 6858000"/>
                <a:gd name="connsiteX75" fmla="*/ 869725 w 6314958"/>
                <a:gd name="connsiteY75" fmla="*/ 1454013 h 6858000"/>
                <a:gd name="connsiteX76" fmla="*/ 692789 w 6314958"/>
                <a:gd name="connsiteY76" fmla="*/ 1745259 h 6858000"/>
                <a:gd name="connsiteX77" fmla="*/ 610933 w 6314958"/>
                <a:gd name="connsiteY77" fmla="*/ 1915182 h 6858000"/>
                <a:gd name="connsiteX78" fmla="*/ 575706 w 6314958"/>
                <a:gd name="connsiteY78" fmla="*/ 1985812 h 6858000"/>
                <a:gd name="connsiteX79" fmla="*/ 569857 w 6314958"/>
                <a:gd name="connsiteY79" fmla="*/ 2000450 h 6858000"/>
                <a:gd name="connsiteX80" fmla="*/ 544042 w 6314958"/>
                <a:gd name="connsiteY80" fmla="*/ 2054039 h 6858000"/>
                <a:gd name="connsiteX81" fmla="*/ 496009 w 6314958"/>
                <a:gd name="connsiteY81" fmla="*/ 2185276 h 6858000"/>
                <a:gd name="connsiteX82" fmla="*/ 467857 w 6314958"/>
                <a:gd name="connsiteY82" fmla="*/ 2255733 h 6858000"/>
                <a:gd name="connsiteX83" fmla="*/ 455842 w 6314958"/>
                <a:gd name="connsiteY83" fmla="*/ 2295020 h 6858000"/>
                <a:gd name="connsiteX84" fmla="*/ 425259 w 6314958"/>
                <a:gd name="connsiteY84" fmla="*/ 2378579 h 6858000"/>
                <a:gd name="connsiteX85" fmla="*/ 398714 w 6314958"/>
                <a:gd name="connsiteY85" fmla="*/ 2481816 h 6858000"/>
                <a:gd name="connsiteX86" fmla="*/ 382119 w 6314958"/>
                <a:gd name="connsiteY86" fmla="*/ 2536079 h 6858000"/>
                <a:gd name="connsiteX87" fmla="*/ 368259 w 6314958"/>
                <a:gd name="connsiteY87" fmla="*/ 2600260 h 6858000"/>
                <a:gd name="connsiteX88" fmla="*/ 338216 w 6314958"/>
                <a:gd name="connsiteY88" fmla="*/ 2717103 h 6858000"/>
                <a:gd name="connsiteX89" fmla="*/ 326621 w 6314958"/>
                <a:gd name="connsiteY89" fmla="*/ 2793072 h 6858000"/>
                <a:gd name="connsiteX90" fmla="*/ 319558 w 6314958"/>
                <a:gd name="connsiteY90" fmla="*/ 2825782 h 6858000"/>
                <a:gd name="connsiteX91" fmla="*/ 308473 w 6314958"/>
                <a:gd name="connsiteY91" fmla="*/ 2911989 h 6858000"/>
                <a:gd name="connsiteX92" fmla="*/ 284688 w 6314958"/>
                <a:gd name="connsiteY92" fmla="*/ 3067835 h 6858000"/>
                <a:gd name="connsiteX93" fmla="*/ 282266 w 6314958"/>
                <a:gd name="connsiteY93" fmla="*/ 3115792 h 6858000"/>
                <a:gd name="connsiteX94" fmla="*/ 281239 w 6314958"/>
                <a:gd name="connsiteY94" fmla="*/ 3123778 h 6858000"/>
                <a:gd name="connsiteX95" fmla="*/ 277862 w 6314958"/>
                <a:gd name="connsiteY95" fmla="*/ 3203005 h 6858000"/>
                <a:gd name="connsiteX96" fmla="*/ 266450 w 6314958"/>
                <a:gd name="connsiteY96" fmla="*/ 3429000 h 6858000"/>
                <a:gd name="connsiteX97" fmla="*/ 277862 w 6314958"/>
                <a:gd name="connsiteY97" fmla="*/ 3654994 h 6858000"/>
                <a:gd name="connsiteX98" fmla="*/ 281239 w 6314958"/>
                <a:gd name="connsiteY98" fmla="*/ 3734222 h 6858000"/>
                <a:gd name="connsiteX99" fmla="*/ 282266 w 6314958"/>
                <a:gd name="connsiteY99" fmla="*/ 3742209 h 6858000"/>
                <a:gd name="connsiteX100" fmla="*/ 284688 w 6314958"/>
                <a:gd name="connsiteY100" fmla="*/ 3790165 h 6858000"/>
                <a:gd name="connsiteX101" fmla="*/ 308472 w 6314958"/>
                <a:gd name="connsiteY101" fmla="*/ 3946009 h 6858000"/>
                <a:gd name="connsiteX102" fmla="*/ 319558 w 6314958"/>
                <a:gd name="connsiteY102" fmla="*/ 4032218 h 6858000"/>
                <a:gd name="connsiteX103" fmla="*/ 326622 w 6314958"/>
                <a:gd name="connsiteY103" fmla="*/ 4064929 h 6858000"/>
                <a:gd name="connsiteX104" fmla="*/ 338216 w 6314958"/>
                <a:gd name="connsiteY104" fmla="*/ 4140898 h 6858000"/>
                <a:gd name="connsiteX105" fmla="*/ 368259 w 6314958"/>
                <a:gd name="connsiteY105" fmla="*/ 4257739 h 6858000"/>
                <a:gd name="connsiteX106" fmla="*/ 382119 w 6314958"/>
                <a:gd name="connsiteY106" fmla="*/ 4321922 h 6858000"/>
                <a:gd name="connsiteX107" fmla="*/ 398715 w 6314958"/>
                <a:gd name="connsiteY107" fmla="*/ 4376187 h 6858000"/>
                <a:gd name="connsiteX108" fmla="*/ 425259 w 6314958"/>
                <a:gd name="connsiteY108" fmla="*/ 4479422 h 6858000"/>
                <a:gd name="connsiteX109" fmla="*/ 455841 w 6314958"/>
                <a:gd name="connsiteY109" fmla="*/ 4562978 h 6858000"/>
                <a:gd name="connsiteX110" fmla="*/ 467857 w 6314958"/>
                <a:gd name="connsiteY110" fmla="*/ 4602268 h 6858000"/>
                <a:gd name="connsiteX111" fmla="*/ 496011 w 6314958"/>
                <a:gd name="connsiteY111" fmla="*/ 4672730 h 6858000"/>
                <a:gd name="connsiteX112" fmla="*/ 544042 w 6314958"/>
                <a:gd name="connsiteY112" fmla="*/ 4803962 h 6858000"/>
                <a:gd name="connsiteX113" fmla="*/ 569856 w 6314958"/>
                <a:gd name="connsiteY113" fmla="*/ 4857548 h 6858000"/>
                <a:gd name="connsiteX114" fmla="*/ 575706 w 6314958"/>
                <a:gd name="connsiteY114" fmla="*/ 4872189 h 6858000"/>
                <a:gd name="connsiteX115" fmla="*/ 610939 w 6314958"/>
                <a:gd name="connsiteY115" fmla="*/ 4942832 h 6858000"/>
                <a:gd name="connsiteX116" fmla="*/ 692789 w 6314958"/>
                <a:gd name="connsiteY116" fmla="*/ 5112742 h 6858000"/>
                <a:gd name="connsiteX117" fmla="*/ 869725 w 6314958"/>
                <a:gd name="connsiteY117" fmla="*/ 5403987 h 6858000"/>
                <a:gd name="connsiteX118" fmla="*/ 976106 w 6314958"/>
                <a:gd name="connsiteY118" fmla="*/ 5546248 h 6858000"/>
                <a:gd name="connsiteX119" fmla="*/ 1021257 w 6314958"/>
                <a:gd name="connsiteY119" fmla="*/ 5608747 h 6858000"/>
                <a:gd name="connsiteX120" fmla="*/ 1034083 w 6314958"/>
                <a:gd name="connsiteY120" fmla="*/ 5623780 h 6858000"/>
                <a:gd name="connsiteX121" fmla="*/ 1073074 w 6314958"/>
                <a:gd name="connsiteY121" fmla="*/ 5675921 h 6858000"/>
                <a:gd name="connsiteX122" fmla="*/ 1162889 w 6314958"/>
                <a:gd name="connsiteY122" fmla="*/ 5774742 h 6858000"/>
                <a:gd name="connsiteX123" fmla="*/ 1206889 w 6314958"/>
                <a:gd name="connsiteY123" fmla="*/ 5826312 h 6858000"/>
                <a:gd name="connsiteX124" fmla="*/ 1237462 w 6314958"/>
                <a:gd name="connsiteY124" fmla="*/ 5856794 h 6858000"/>
                <a:gd name="connsiteX125" fmla="*/ 1301060 w 6314958"/>
                <a:gd name="connsiteY125" fmla="*/ 5926769 h 6858000"/>
                <a:gd name="connsiteX126" fmla="*/ 1375546 w 6314958"/>
                <a:gd name="connsiteY126" fmla="*/ 5994467 h 6858000"/>
                <a:gd name="connsiteX127" fmla="*/ 1409302 w 6314958"/>
                <a:gd name="connsiteY127" fmla="*/ 6028122 h 6858000"/>
                <a:gd name="connsiteX128" fmla="*/ 1458264 w 6314958"/>
                <a:gd name="connsiteY128" fmla="*/ 6069646 h 6858000"/>
                <a:gd name="connsiteX129" fmla="*/ 1551908 w 6314958"/>
                <a:gd name="connsiteY129" fmla="*/ 6154756 h 6858000"/>
                <a:gd name="connsiteX130" fmla="*/ 1608657 w 6314958"/>
                <a:gd name="connsiteY130" fmla="*/ 6197192 h 6858000"/>
                <a:gd name="connsiteX131" fmla="*/ 1627429 w 6314958"/>
                <a:gd name="connsiteY131" fmla="*/ 6213112 h 6858000"/>
                <a:gd name="connsiteX132" fmla="*/ 1690373 w 6314958"/>
                <a:gd name="connsiteY132" fmla="*/ 6258298 h 6858000"/>
                <a:gd name="connsiteX133" fmla="*/ 1823843 w 6314958"/>
                <a:gd name="connsiteY133" fmla="*/ 6358104 h 6858000"/>
                <a:gd name="connsiteX134" fmla="*/ 1860020 w 6314958"/>
                <a:gd name="connsiteY134" fmla="*/ 6380082 h 6858000"/>
                <a:gd name="connsiteX135" fmla="*/ 1860205 w 6314958"/>
                <a:gd name="connsiteY135" fmla="*/ 6380216 h 6858000"/>
                <a:gd name="connsiteX136" fmla="*/ 1863538 w 6314958"/>
                <a:gd name="connsiteY136" fmla="*/ 6382220 h 6858000"/>
                <a:gd name="connsiteX137" fmla="*/ 2115088 w 6314958"/>
                <a:gd name="connsiteY137" fmla="*/ 6535040 h 6858000"/>
                <a:gd name="connsiteX138" fmla="*/ 2300511 w 6314958"/>
                <a:gd name="connsiteY138" fmla="*/ 6624363 h 6858000"/>
                <a:gd name="connsiteX139" fmla="*/ 2365440 w 6314958"/>
                <a:gd name="connsiteY139" fmla="*/ 6656500 h 6858000"/>
                <a:gd name="connsiteX140" fmla="*/ 2375464 w 6314958"/>
                <a:gd name="connsiteY140" fmla="*/ 6660470 h 6858000"/>
                <a:gd name="connsiteX141" fmla="*/ 2423868 w 6314958"/>
                <a:gd name="connsiteY141" fmla="*/ 6683787 h 6858000"/>
                <a:gd name="connsiteX142" fmla="*/ 2916032 w 6314958"/>
                <a:gd name="connsiteY142" fmla="*/ 6850171 h 6858000"/>
                <a:gd name="connsiteX143" fmla="*/ 2949957 w 6314958"/>
                <a:gd name="connsiteY143" fmla="*/ 6858000 h 6858000"/>
                <a:gd name="connsiteX144" fmla="*/ 2162446 w 6314958"/>
                <a:gd name="connsiteY144" fmla="*/ 6858000 h 6858000"/>
                <a:gd name="connsiteX145" fmla="*/ 2151880 w 6314958"/>
                <a:gd name="connsiteY145" fmla="*/ 6853223 h 6858000"/>
                <a:gd name="connsiteX146" fmla="*/ 0 w 6314958"/>
                <a:gd name="connsiteY146" fmla="*/ 3429000 h 6858000"/>
                <a:gd name="connsiteX147" fmla="*/ 2151880 w 6314958"/>
                <a:gd name="connsiteY147" fmla="*/ 477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6314958" h="6858000">
                  <a:moveTo>
                    <a:pt x="6314958" y="5906568"/>
                  </a:moveTo>
                  <a:lnTo>
                    <a:pt x="6314958" y="6269729"/>
                  </a:lnTo>
                  <a:lnTo>
                    <a:pt x="6215237" y="6360361"/>
                  </a:lnTo>
                  <a:cubicBezTo>
                    <a:pt x="5980715" y="6553906"/>
                    <a:pt x="5722571" y="6719851"/>
                    <a:pt x="5445778" y="6853223"/>
                  </a:cubicBezTo>
                  <a:lnTo>
                    <a:pt x="5435212" y="6858000"/>
                  </a:lnTo>
                  <a:lnTo>
                    <a:pt x="4647701" y="6858000"/>
                  </a:lnTo>
                  <a:lnTo>
                    <a:pt x="4681626" y="6850171"/>
                  </a:lnTo>
                  <a:cubicBezTo>
                    <a:pt x="4850924" y="6806612"/>
                    <a:pt x="5015312" y="6750818"/>
                    <a:pt x="5173790" y="6683787"/>
                  </a:cubicBezTo>
                  <a:lnTo>
                    <a:pt x="5271135" y="6636894"/>
                  </a:lnTo>
                  <a:lnTo>
                    <a:pt x="5348751" y="6602092"/>
                  </a:lnTo>
                  <a:lnTo>
                    <a:pt x="5400784" y="6574439"/>
                  </a:lnTo>
                  <a:lnTo>
                    <a:pt x="5482571" y="6535040"/>
                  </a:lnTo>
                  <a:lnTo>
                    <a:pt x="5536048" y="6502552"/>
                  </a:lnTo>
                  <a:lnTo>
                    <a:pt x="5556210" y="6491837"/>
                  </a:lnTo>
                  <a:lnTo>
                    <a:pt x="5678830" y="6415809"/>
                  </a:lnTo>
                  <a:lnTo>
                    <a:pt x="5773816" y="6358104"/>
                  </a:lnTo>
                  <a:lnTo>
                    <a:pt x="5866153" y="6289055"/>
                  </a:lnTo>
                  <a:lnTo>
                    <a:pt x="5945069" y="6232582"/>
                  </a:lnTo>
                  <a:lnTo>
                    <a:pt x="5980102" y="6203847"/>
                  </a:lnTo>
                  <a:lnTo>
                    <a:pt x="6045750" y="6154756"/>
                  </a:lnTo>
                  <a:lnTo>
                    <a:pt x="6099423" y="6105974"/>
                  </a:lnTo>
                  <a:lnTo>
                    <a:pt x="6125316" y="6084735"/>
                  </a:lnTo>
                  <a:lnTo>
                    <a:pt x="6208411" y="6006920"/>
                  </a:lnTo>
                  <a:lnTo>
                    <a:pt x="6296598" y="5926769"/>
                  </a:lnTo>
                  <a:close/>
                  <a:moveTo>
                    <a:pt x="4647701" y="0"/>
                  </a:moveTo>
                  <a:lnTo>
                    <a:pt x="5435212" y="0"/>
                  </a:lnTo>
                  <a:lnTo>
                    <a:pt x="5445778" y="4777"/>
                  </a:lnTo>
                  <a:cubicBezTo>
                    <a:pt x="5722571" y="138149"/>
                    <a:pt x="5980715" y="304094"/>
                    <a:pt x="6215237" y="497639"/>
                  </a:cubicBezTo>
                  <a:lnTo>
                    <a:pt x="6314958" y="588272"/>
                  </a:lnTo>
                  <a:lnTo>
                    <a:pt x="6314958" y="951432"/>
                  </a:lnTo>
                  <a:lnTo>
                    <a:pt x="6296598" y="931231"/>
                  </a:lnTo>
                  <a:lnTo>
                    <a:pt x="6208380" y="851053"/>
                  </a:lnTo>
                  <a:lnTo>
                    <a:pt x="6125316" y="773266"/>
                  </a:lnTo>
                  <a:lnTo>
                    <a:pt x="6099430" y="752033"/>
                  </a:lnTo>
                  <a:lnTo>
                    <a:pt x="6045750" y="703245"/>
                  </a:lnTo>
                  <a:lnTo>
                    <a:pt x="5980095" y="654149"/>
                  </a:lnTo>
                  <a:lnTo>
                    <a:pt x="5945069" y="625419"/>
                  </a:lnTo>
                  <a:lnTo>
                    <a:pt x="5866166" y="568954"/>
                  </a:lnTo>
                  <a:lnTo>
                    <a:pt x="5773816" y="499896"/>
                  </a:lnTo>
                  <a:lnTo>
                    <a:pt x="5678803" y="442174"/>
                  </a:lnTo>
                  <a:lnTo>
                    <a:pt x="5556210" y="366164"/>
                  </a:lnTo>
                  <a:lnTo>
                    <a:pt x="5536052" y="355451"/>
                  </a:lnTo>
                  <a:lnTo>
                    <a:pt x="5482571" y="322960"/>
                  </a:lnTo>
                  <a:lnTo>
                    <a:pt x="5400777" y="283558"/>
                  </a:lnTo>
                  <a:lnTo>
                    <a:pt x="5348751" y="255909"/>
                  </a:lnTo>
                  <a:lnTo>
                    <a:pt x="5271147" y="221112"/>
                  </a:lnTo>
                  <a:lnTo>
                    <a:pt x="5173790" y="174213"/>
                  </a:lnTo>
                  <a:cubicBezTo>
                    <a:pt x="5015312" y="107182"/>
                    <a:pt x="4850924" y="51388"/>
                    <a:pt x="4681626" y="7830"/>
                  </a:cubicBezTo>
                  <a:close/>
                  <a:moveTo>
                    <a:pt x="2162446" y="0"/>
                  </a:moveTo>
                  <a:lnTo>
                    <a:pt x="2949957" y="0"/>
                  </a:lnTo>
                  <a:lnTo>
                    <a:pt x="2916032" y="7830"/>
                  </a:lnTo>
                  <a:cubicBezTo>
                    <a:pt x="2746734" y="51388"/>
                    <a:pt x="2582346" y="107182"/>
                    <a:pt x="2423868" y="174213"/>
                  </a:cubicBezTo>
                  <a:lnTo>
                    <a:pt x="2375455" y="197535"/>
                  </a:lnTo>
                  <a:lnTo>
                    <a:pt x="2365440" y="201501"/>
                  </a:lnTo>
                  <a:lnTo>
                    <a:pt x="2300569" y="233609"/>
                  </a:lnTo>
                  <a:lnTo>
                    <a:pt x="2115088" y="322960"/>
                  </a:lnTo>
                  <a:lnTo>
                    <a:pt x="1863446" y="475836"/>
                  </a:lnTo>
                  <a:lnTo>
                    <a:pt x="1860205" y="477785"/>
                  </a:lnTo>
                  <a:lnTo>
                    <a:pt x="1860025" y="477915"/>
                  </a:lnTo>
                  <a:lnTo>
                    <a:pt x="1823843" y="499896"/>
                  </a:lnTo>
                  <a:lnTo>
                    <a:pt x="1690354" y="599717"/>
                  </a:lnTo>
                  <a:lnTo>
                    <a:pt x="1627429" y="644889"/>
                  </a:lnTo>
                  <a:lnTo>
                    <a:pt x="1608663" y="660805"/>
                  </a:lnTo>
                  <a:lnTo>
                    <a:pt x="1551908" y="703245"/>
                  </a:lnTo>
                  <a:lnTo>
                    <a:pt x="1458256" y="788362"/>
                  </a:lnTo>
                  <a:lnTo>
                    <a:pt x="1409302" y="829879"/>
                  </a:lnTo>
                  <a:lnTo>
                    <a:pt x="1375552" y="863529"/>
                  </a:lnTo>
                  <a:lnTo>
                    <a:pt x="1301060" y="931231"/>
                  </a:lnTo>
                  <a:lnTo>
                    <a:pt x="1237457" y="1001213"/>
                  </a:lnTo>
                  <a:lnTo>
                    <a:pt x="1206889" y="1031689"/>
                  </a:lnTo>
                  <a:lnTo>
                    <a:pt x="1162896" y="1083250"/>
                  </a:lnTo>
                  <a:lnTo>
                    <a:pt x="1073074" y="1182079"/>
                  </a:lnTo>
                  <a:lnTo>
                    <a:pt x="1034080" y="1234225"/>
                  </a:lnTo>
                  <a:lnTo>
                    <a:pt x="1021257" y="1249253"/>
                  </a:lnTo>
                  <a:lnTo>
                    <a:pt x="976117" y="1311738"/>
                  </a:lnTo>
                  <a:lnTo>
                    <a:pt x="869725" y="1454013"/>
                  </a:lnTo>
                  <a:cubicBezTo>
                    <a:pt x="806246" y="1547975"/>
                    <a:pt x="747169" y="1645156"/>
                    <a:pt x="692789" y="1745259"/>
                  </a:cubicBezTo>
                  <a:lnTo>
                    <a:pt x="610933" y="1915182"/>
                  </a:lnTo>
                  <a:lnTo>
                    <a:pt x="575706" y="1985812"/>
                  </a:lnTo>
                  <a:lnTo>
                    <a:pt x="569857" y="2000450"/>
                  </a:lnTo>
                  <a:lnTo>
                    <a:pt x="544042" y="2054039"/>
                  </a:lnTo>
                  <a:lnTo>
                    <a:pt x="496009" y="2185276"/>
                  </a:lnTo>
                  <a:lnTo>
                    <a:pt x="467857" y="2255733"/>
                  </a:lnTo>
                  <a:lnTo>
                    <a:pt x="455842" y="2295020"/>
                  </a:lnTo>
                  <a:lnTo>
                    <a:pt x="425259" y="2378579"/>
                  </a:lnTo>
                  <a:lnTo>
                    <a:pt x="398714" y="2481816"/>
                  </a:lnTo>
                  <a:lnTo>
                    <a:pt x="382119" y="2536079"/>
                  </a:lnTo>
                  <a:lnTo>
                    <a:pt x="368259" y="2600260"/>
                  </a:lnTo>
                  <a:lnTo>
                    <a:pt x="338216" y="2717103"/>
                  </a:lnTo>
                  <a:lnTo>
                    <a:pt x="326621" y="2793072"/>
                  </a:lnTo>
                  <a:lnTo>
                    <a:pt x="319558" y="2825782"/>
                  </a:lnTo>
                  <a:lnTo>
                    <a:pt x="308473" y="2911989"/>
                  </a:lnTo>
                  <a:lnTo>
                    <a:pt x="284688" y="3067835"/>
                  </a:lnTo>
                  <a:lnTo>
                    <a:pt x="282266" y="3115792"/>
                  </a:lnTo>
                  <a:lnTo>
                    <a:pt x="281239" y="3123778"/>
                  </a:lnTo>
                  <a:lnTo>
                    <a:pt x="277862" y="3203005"/>
                  </a:lnTo>
                  <a:lnTo>
                    <a:pt x="266450" y="3429000"/>
                  </a:lnTo>
                  <a:lnTo>
                    <a:pt x="277862" y="3654994"/>
                  </a:lnTo>
                  <a:lnTo>
                    <a:pt x="281239" y="3734222"/>
                  </a:lnTo>
                  <a:lnTo>
                    <a:pt x="282266" y="3742209"/>
                  </a:lnTo>
                  <a:lnTo>
                    <a:pt x="284688" y="3790165"/>
                  </a:lnTo>
                  <a:lnTo>
                    <a:pt x="308472" y="3946009"/>
                  </a:lnTo>
                  <a:lnTo>
                    <a:pt x="319558" y="4032218"/>
                  </a:lnTo>
                  <a:lnTo>
                    <a:pt x="326622" y="4064929"/>
                  </a:lnTo>
                  <a:lnTo>
                    <a:pt x="338216" y="4140898"/>
                  </a:lnTo>
                  <a:lnTo>
                    <a:pt x="368259" y="4257739"/>
                  </a:lnTo>
                  <a:lnTo>
                    <a:pt x="382119" y="4321922"/>
                  </a:lnTo>
                  <a:lnTo>
                    <a:pt x="398715" y="4376187"/>
                  </a:lnTo>
                  <a:lnTo>
                    <a:pt x="425259" y="4479422"/>
                  </a:lnTo>
                  <a:lnTo>
                    <a:pt x="455841" y="4562978"/>
                  </a:lnTo>
                  <a:lnTo>
                    <a:pt x="467857" y="4602268"/>
                  </a:lnTo>
                  <a:lnTo>
                    <a:pt x="496011" y="4672730"/>
                  </a:lnTo>
                  <a:lnTo>
                    <a:pt x="544042" y="4803962"/>
                  </a:lnTo>
                  <a:lnTo>
                    <a:pt x="569856" y="4857548"/>
                  </a:lnTo>
                  <a:lnTo>
                    <a:pt x="575706" y="4872189"/>
                  </a:lnTo>
                  <a:lnTo>
                    <a:pt x="610939" y="4942832"/>
                  </a:lnTo>
                  <a:lnTo>
                    <a:pt x="692789" y="5112742"/>
                  </a:lnTo>
                  <a:cubicBezTo>
                    <a:pt x="747169" y="5212845"/>
                    <a:pt x="806246" y="5310025"/>
                    <a:pt x="869725" y="5403987"/>
                  </a:cubicBezTo>
                  <a:lnTo>
                    <a:pt x="976106" y="5546248"/>
                  </a:lnTo>
                  <a:lnTo>
                    <a:pt x="1021257" y="5608747"/>
                  </a:lnTo>
                  <a:lnTo>
                    <a:pt x="1034083" y="5623780"/>
                  </a:lnTo>
                  <a:lnTo>
                    <a:pt x="1073074" y="5675921"/>
                  </a:lnTo>
                  <a:lnTo>
                    <a:pt x="1162889" y="5774742"/>
                  </a:lnTo>
                  <a:lnTo>
                    <a:pt x="1206889" y="5826312"/>
                  </a:lnTo>
                  <a:lnTo>
                    <a:pt x="1237462" y="5856794"/>
                  </a:lnTo>
                  <a:lnTo>
                    <a:pt x="1301060" y="5926769"/>
                  </a:lnTo>
                  <a:lnTo>
                    <a:pt x="1375546" y="5994467"/>
                  </a:lnTo>
                  <a:lnTo>
                    <a:pt x="1409302" y="6028122"/>
                  </a:lnTo>
                  <a:lnTo>
                    <a:pt x="1458264" y="6069646"/>
                  </a:lnTo>
                  <a:lnTo>
                    <a:pt x="1551908" y="6154756"/>
                  </a:lnTo>
                  <a:lnTo>
                    <a:pt x="1608657" y="6197192"/>
                  </a:lnTo>
                  <a:lnTo>
                    <a:pt x="1627429" y="6213112"/>
                  </a:lnTo>
                  <a:lnTo>
                    <a:pt x="1690373" y="6258298"/>
                  </a:lnTo>
                  <a:lnTo>
                    <a:pt x="1823843" y="6358104"/>
                  </a:lnTo>
                  <a:lnTo>
                    <a:pt x="1860020" y="6380082"/>
                  </a:lnTo>
                  <a:lnTo>
                    <a:pt x="1860205" y="6380216"/>
                  </a:lnTo>
                  <a:lnTo>
                    <a:pt x="1863538" y="6382220"/>
                  </a:lnTo>
                  <a:lnTo>
                    <a:pt x="2115088" y="6535040"/>
                  </a:lnTo>
                  <a:lnTo>
                    <a:pt x="2300511" y="6624363"/>
                  </a:lnTo>
                  <a:lnTo>
                    <a:pt x="2365440" y="6656500"/>
                  </a:lnTo>
                  <a:lnTo>
                    <a:pt x="2375464" y="6660470"/>
                  </a:lnTo>
                  <a:lnTo>
                    <a:pt x="2423868" y="6683787"/>
                  </a:lnTo>
                  <a:cubicBezTo>
                    <a:pt x="2582346" y="6750818"/>
                    <a:pt x="2746734" y="6806612"/>
                    <a:pt x="2916032" y="6850171"/>
                  </a:cubicBezTo>
                  <a:lnTo>
                    <a:pt x="2949957" y="6858000"/>
                  </a:lnTo>
                  <a:lnTo>
                    <a:pt x="2162446" y="6858000"/>
                  </a:lnTo>
                  <a:lnTo>
                    <a:pt x="2151880" y="6853223"/>
                  </a:lnTo>
                  <a:cubicBezTo>
                    <a:pt x="878633" y="6239710"/>
                    <a:pt x="0" y="4936963"/>
                    <a:pt x="0" y="3429000"/>
                  </a:cubicBezTo>
                  <a:cubicBezTo>
                    <a:pt x="0" y="1921037"/>
                    <a:pt x="878633" y="618290"/>
                    <a:pt x="2151880" y="4777"/>
                  </a:cubicBezTo>
                  <a:close/>
                </a:path>
              </a:pathLst>
            </a:custGeom>
            <a:solidFill>
              <a:schemeClr val="accent2"/>
            </a:solidFill>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400">
                <a:solidFill>
                  <a:schemeClr val="accent6"/>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12" name="Title 1"/>
          <p:cNvSpPr>
            <a:spLocks noGrp="1"/>
          </p:cNvSpPr>
          <p:nvPr>
            <p:ph type="ctrTitle" hasCustomPrompt="1"/>
          </p:nvPr>
        </p:nvSpPr>
        <p:spPr>
          <a:xfrm>
            <a:off x="391584" y="3677095"/>
            <a:ext cx="5158316" cy="1046440"/>
          </a:xfrm>
          <a:prstGeom prst="rect">
            <a:avLst/>
          </a:prstGeom>
        </p:spPr>
        <p:txBody>
          <a:bodyPr vert="horz" lIns="0" rIns="0" anchor="b" anchorCtr="0">
            <a:spAutoFit/>
          </a:bodyPr>
          <a:lstStyle>
            <a:lvl1pPr>
              <a:lnSpc>
                <a:spcPct val="100000"/>
              </a:lnSpc>
              <a:defRPr sz="34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Presentation title </a:t>
            </a:r>
            <a:br>
              <a:rPr lang="en-GB"/>
            </a:br>
            <a:r>
              <a:rPr lang="en-GB" err="1"/>
              <a:t>Lato</a:t>
            </a:r>
            <a:r>
              <a:rPr lang="en-GB"/>
              <a:t> </a:t>
            </a:r>
            <a:r>
              <a:rPr lang="en-GB" err="1"/>
              <a:t>34pt</a:t>
            </a:r>
            <a:r>
              <a:rPr lang="en-GB"/>
              <a:t> (max. 2 lines)</a:t>
            </a:r>
          </a:p>
        </p:txBody>
      </p:sp>
      <p:sp>
        <p:nvSpPr>
          <p:cNvPr id="14" name="Text Placeholder 3"/>
          <p:cNvSpPr>
            <a:spLocks noGrp="1"/>
          </p:cNvSpPr>
          <p:nvPr>
            <p:ph type="body" sz="quarter" idx="11" hasCustomPrompt="1"/>
          </p:nvPr>
        </p:nvSpPr>
        <p:spPr>
          <a:xfrm>
            <a:off x="391585" y="4892984"/>
            <a:ext cx="5158316" cy="595035"/>
          </a:xfrm>
          <a:prstGeom prst="rect">
            <a:avLst/>
          </a:prstGeom>
        </p:spPr>
        <p:txBody>
          <a:bodyPr lIns="0">
            <a:spAutoFit/>
          </a:bodyPr>
          <a:lstStyle>
            <a:lvl1pPr marL="0" indent="0">
              <a:lnSpc>
                <a:spcPct val="100000"/>
              </a:lnSpc>
              <a:buNone/>
              <a:defRPr sz="16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 Author (max. 2 lines)</a:t>
            </a:r>
          </a:p>
          <a:p>
            <a:pPr lvl="0"/>
            <a:r>
              <a:rPr lang="en-GB"/>
              <a:t>Location, Date</a:t>
            </a:r>
          </a:p>
        </p:txBody>
      </p:sp>
      <p:pic>
        <p:nvPicPr>
          <p:cNvPr id="20" name="Graphic 19">
            <a:extLst>
              <a:ext uri="{FF2B5EF4-FFF2-40B4-BE49-F238E27FC236}">
                <a16:creationId xmlns:a16="http://schemas.microsoft.com/office/drawing/2014/main" id="{F7835C38-364E-4B2E-9335-5D86F8C053E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91584" y="655042"/>
            <a:ext cx="2053960" cy="479708"/>
          </a:xfrm>
          <a:prstGeom prst="rect">
            <a:avLst/>
          </a:prstGeom>
        </p:spPr>
      </p:pic>
    </p:spTree>
    <p:extLst>
      <p:ext uri="{BB962C8B-B14F-4D97-AF65-F5344CB8AC3E}">
        <p14:creationId xmlns:p14="http://schemas.microsoft.com/office/powerpoint/2010/main" val="383309605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Title Slide_Aurora only">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extLst>
              <p:ext uri="{D42A27DB-BD31-4B8C-83A1-F6EECF244321}">
                <p14:modId xmlns:p14="http://schemas.microsoft.com/office/powerpoint/2010/main" val="89312465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492" imgH="504" progId="TCLayout.ActiveDocument.1">
                  <p:embed/>
                </p:oleObj>
              </mc:Choice>
              <mc:Fallback>
                <p:oleObj name="think-cell Slide" r:id="rId5" imgW="492" imgH="504" progId="TCLayout.ActiveDocument.1">
                  <p:embed/>
                  <p:pic>
                    <p:nvPicPr>
                      <p:cNvPr id="18" name="Object 17"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D08E92-02C7-40C9-B7CC-A2066E47388E}"/>
              </a:ext>
            </a:extLst>
          </p:cNvPr>
          <p:cNvSpPr/>
          <p:nvPr userDrawn="1">
            <p:custDataLst>
              <p:tags r:id="rId2"/>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spcBef>
                <a:spcPts val="600"/>
              </a:spcBef>
            </a:pPr>
            <a:endParaRPr lang="en-GB" sz="3400" b="1" i="0" baseline="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8" name="07c27c03-86d7-43f9-a4a8-0264cf953919">
            <a:extLst>
              <a:ext uri="{FF2B5EF4-FFF2-40B4-BE49-F238E27FC236}">
                <a16:creationId xmlns:a16="http://schemas.microsoft.com/office/drawing/2014/main" id="{1FC626AE-19AB-4933-9C18-1AA73CB968B5}"/>
              </a:ext>
            </a:extLst>
          </p:cNvPr>
          <p:cNvGrpSpPr/>
          <p:nvPr/>
        </p:nvGrpSpPr>
        <p:grpSpPr>
          <a:xfrm>
            <a:off x="0" y="0"/>
            <a:ext cx="12192000" cy="6858000"/>
            <a:chOff x="0" y="0"/>
            <a:chExt cx="12192000" cy="6858000"/>
          </a:xfrm>
        </p:grpSpPr>
        <p:sp>
          <p:nvSpPr>
            <p:cNvPr id="10" name="Freeform: Shape 9">
              <a:extLst>
                <a:ext uri="{FF2B5EF4-FFF2-40B4-BE49-F238E27FC236}">
                  <a16:creationId xmlns:a16="http://schemas.microsoft.com/office/drawing/2014/main" id="{A18F3B72-2D96-4D16-B281-7A01BFE5536D}"/>
                </a:ext>
              </a:extLst>
            </p:cNvPr>
            <p:cNvSpPr/>
            <p:nvPr/>
          </p:nvSpPr>
          <p:spPr>
            <a:xfrm>
              <a:off x="0" y="0"/>
              <a:ext cx="12192000" cy="6858000"/>
            </a:xfrm>
            <a:custGeom>
              <a:avLst/>
              <a:gdLst>
                <a:gd name="connsiteX0" fmla="*/ 12192000 w 12192000"/>
                <a:gd name="connsiteY0" fmla="*/ 5903927 h 6858000"/>
                <a:gd name="connsiteX1" fmla="*/ 12192000 w 12192000"/>
                <a:gd name="connsiteY1" fmla="*/ 6858000 h 6858000"/>
                <a:gd name="connsiteX2" fmla="*/ 10516834 w 12192000"/>
                <a:gd name="connsiteY2" fmla="*/ 6858000 h 6858000"/>
                <a:gd name="connsiteX3" fmla="*/ 10558223 w 12192000"/>
                <a:gd name="connsiteY3" fmla="*/ 6848448 h 6858000"/>
                <a:gd name="connsiteX4" fmla="*/ 12172382 w 12192000"/>
                <a:gd name="connsiteY4" fmla="*/ 5925512 h 6858000"/>
                <a:gd name="connsiteX5" fmla="*/ 10516834 w 12192000"/>
                <a:gd name="connsiteY5" fmla="*/ 0 h 6858000"/>
                <a:gd name="connsiteX6" fmla="*/ 12192000 w 12192000"/>
                <a:gd name="connsiteY6" fmla="*/ 0 h 6858000"/>
                <a:gd name="connsiteX7" fmla="*/ 12192000 w 12192000"/>
                <a:gd name="connsiteY7" fmla="*/ 954074 h 6858000"/>
                <a:gd name="connsiteX8" fmla="*/ 12172382 w 12192000"/>
                <a:gd name="connsiteY8" fmla="*/ 932489 h 6858000"/>
                <a:gd name="connsiteX9" fmla="*/ 10558223 w 12192000"/>
                <a:gd name="connsiteY9" fmla="*/ 9553 h 6858000"/>
                <a:gd name="connsiteX10" fmla="*/ 0 w 12192000"/>
                <a:gd name="connsiteY10" fmla="*/ 0 h 6858000"/>
                <a:gd name="connsiteX11" fmla="*/ 8834908 w 12192000"/>
                <a:gd name="connsiteY11" fmla="*/ 0 h 6858000"/>
                <a:gd name="connsiteX12" fmla="*/ 8793519 w 12192000"/>
                <a:gd name="connsiteY12" fmla="*/ 9553 h 6858000"/>
                <a:gd name="connsiteX13" fmla="*/ 6145271 w 12192000"/>
                <a:gd name="connsiteY13" fmla="*/ 3429000 h 6858000"/>
                <a:gd name="connsiteX14" fmla="*/ 8793519 w 12192000"/>
                <a:gd name="connsiteY14" fmla="*/ 6848448 h 6858000"/>
                <a:gd name="connsiteX15" fmla="*/ 8834908 w 12192000"/>
                <a:gd name="connsiteY15" fmla="*/ 6858000 h 6858000"/>
                <a:gd name="connsiteX16" fmla="*/ 0 w 12192000"/>
                <a:gd name="connsiteY1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192000" h="6858000">
                  <a:moveTo>
                    <a:pt x="12192000" y="5903927"/>
                  </a:moveTo>
                  <a:lnTo>
                    <a:pt x="12192000" y="6858000"/>
                  </a:lnTo>
                  <a:lnTo>
                    <a:pt x="10516834" y="6858000"/>
                  </a:lnTo>
                  <a:lnTo>
                    <a:pt x="10558223" y="6848448"/>
                  </a:lnTo>
                  <a:cubicBezTo>
                    <a:pt x="11178673" y="6688813"/>
                    <a:pt x="11733130" y="6364764"/>
                    <a:pt x="12172382" y="5925512"/>
                  </a:cubicBezTo>
                  <a:close/>
                  <a:moveTo>
                    <a:pt x="10516834" y="0"/>
                  </a:moveTo>
                  <a:lnTo>
                    <a:pt x="12192000" y="0"/>
                  </a:lnTo>
                  <a:lnTo>
                    <a:pt x="12192000" y="954074"/>
                  </a:lnTo>
                  <a:lnTo>
                    <a:pt x="12172382" y="932489"/>
                  </a:lnTo>
                  <a:cubicBezTo>
                    <a:pt x="11733130" y="493236"/>
                    <a:pt x="11178673" y="169187"/>
                    <a:pt x="10558223" y="9553"/>
                  </a:cubicBezTo>
                  <a:close/>
                  <a:moveTo>
                    <a:pt x="0" y="0"/>
                  </a:moveTo>
                  <a:lnTo>
                    <a:pt x="8834908" y="0"/>
                  </a:lnTo>
                  <a:lnTo>
                    <a:pt x="8793519" y="9553"/>
                  </a:lnTo>
                  <a:cubicBezTo>
                    <a:pt x="7270596" y="401383"/>
                    <a:pt x="6145271" y="1783775"/>
                    <a:pt x="6145271" y="3429000"/>
                  </a:cubicBezTo>
                  <a:cubicBezTo>
                    <a:pt x="6145271" y="5074226"/>
                    <a:pt x="7270596" y="6456617"/>
                    <a:pt x="8793519" y="6848448"/>
                  </a:cubicBezTo>
                  <a:lnTo>
                    <a:pt x="8834908" y="6858000"/>
                  </a:lnTo>
                  <a:lnTo>
                    <a:pt x="0" y="6858000"/>
                  </a:lnTo>
                  <a:close/>
                </a:path>
              </a:pathLst>
            </a:custGeom>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400">
                <a:solidFill>
                  <a:schemeClr val="accent6"/>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 name="Freeform: Shape 10">
              <a:extLst>
                <a:ext uri="{FF2B5EF4-FFF2-40B4-BE49-F238E27FC236}">
                  <a16:creationId xmlns:a16="http://schemas.microsoft.com/office/drawing/2014/main" id="{A4569E97-E2DB-4177-A1BA-8C69D20EF9B6}"/>
                </a:ext>
              </a:extLst>
            </p:cNvPr>
            <p:cNvSpPr>
              <a:spLocks/>
            </p:cNvSpPr>
            <p:nvPr/>
          </p:nvSpPr>
          <p:spPr>
            <a:xfrm>
              <a:off x="5877042" y="0"/>
              <a:ext cx="6314958" cy="6858000"/>
            </a:xfrm>
            <a:custGeom>
              <a:avLst/>
              <a:gdLst>
                <a:gd name="connsiteX0" fmla="*/ 6314958 w 6314958"/>
                <a:gd name="connsiteY0" fmla="*/ 5906568 h 6858000"/>
                <a:gd name="connsiteX1" fmla="*/ 6314958 w 6314958"/>
                <a:gd name="connsiteY1" fmla="*/ 6269729 h 6858000"/>
                <a:gd name="connsiteX2" fmla="*/ 6215237 w 6314958"/>
                <a:gd name="connsiteY2" fmla="*/ 6360361 h 6858000"/>
                <a:gd name="connsiteX3" fmla="*/ 5445778 w 6314958"/>
                <a:gd name="connsiteY3" fmla="*/ 6853223 h 6858000"/>
                <a:gd name="connsiteX4" fmla="*/ 5435212 w 6314958"/>
                <a:gd name="connsiteY4" fmla="*/ 6858000 h 6858000"/>
                <a:gd name="connsiteX5" fmla="*/ 4647701 w 6314958"/>
                <a:gd name="connsiteY5" fmla="*/ 6858000 h 6858000"/>
                <a:gd name="connsiteX6" fmla="*/ 4681626 w 6314958"/>
                <a:gd name="connsiteY6" fmla="*/ 6850171 h 6858000"/>
                <a:gd name="connsiteX7" fmla="*/ 5173790 w 6314958"/>
                <a:gd name="connsiteY7" fmla="*/ 6683787 h 6858000"/>
                <a:gd name="connsiteX8" fmla="*/ 5271135 w 6314958"/>
                <a:gd name="connsiteY8" fmla="*/ 6636894 h 6858000"/>
                <a:gd name="connsiteX9" fmla="*/ 5348751 w 6314958"/>
                <a:gd name="connsiteY9" fmla="*/ 6602092 h 6858000"/>
                <a:gd name="connsiteX10" fmla="*/ 5400784 w 6314958"/>
                <a:gd name="connsiteY10" fmla="*/ 6574439 h 6858000"/>
                <a:gd name="connsiteX11" fmla="*/ 5482571 w 6314958"/>
                <a:gd name="connsiteY11" fmla="*/ 6535040 h 6858000"/>
                <a:gd name="connsiteX12" fmla="*/ 5536048 w 6314958"/>
                <a:gd name="connsiteY12" fmla="*/ 6502552 h 6858000"/>
                <a:gd name="connsiteX13" fmla="*/ 5556210 w 6314958"/>
                <a:gd name="connsiteY13" fmla="*/ 6491837 h 6858000"/>
                <a:gd name="connsiteX14" fmla="*/ 5678830 w 6314958"/>
                <a:gd name="connsiteY14" fmla="*/ 6415809 h 6858000"/>
                <a:gd name="connsiteX15" fmla="*/ 5773816 w 6314958"/>
                <a:gd name="connsiteY15" fmla="*/ 6358104 h 6858000"/>
                <a:gd name="connsiteX16" fmla="*/ 5866153 w 6314958"/>
                <a:gd name="connsiteY16" fmla="*/ 6289055 h 6858000"/>
                <a:gd name="connsiteX17" fmla="*/ 5945069 w 6314958"/>
                <a:gd name="connsiteY17" fmla="*/ 6232582 h 6858000"/>
                <a:gd name="connsiteX18" fmla="*/ 5980102 w 6314958"/>
                <a:gd name="connsiteY18" fmla="*/ 6203847 h 6858000"/>
                <a:gd name="connsiteX19" fmla="*/ 6045750 w 6314958"/>
                <a:gd name="connsiteY19" fmla="*/ 6154756 h 6858000"/>
                <a:gd name="connsiteX20" fmla="*/ 6099423 w 6314958"/>
                <a:gd name="connsiteY20" fmla="*/ 6105974 h 6858000"/>
                <a:gd name="connsiteX21" fmla="*/ 6125316 w 6314958"/>
                <a:gd name="connsiteY21" fmla="*/ 6084735 h 6858000"/>
                <a:gd name="connsiteX22" fmla="*/ 6208411 w 6314958"/>
                <a:gd name="connsiteY22" fmla="*/ 6006920 h 6858000"/>
                <a:gd name="connsiteX23" fmla="*/ 6296598 w 6314958"/>
                <a:gd name="connsiteY23" fmla="*/ 5926769 h 6858000"/>
                <a:gd name="connsiteX24" fmla="*/ 4647701 w 6314958"/>
                <a:gd name="connsiteY24" fmla="*/ 0 h 6858000"/>
                <a:gd name="connsiteX25" fmla="*/ 5435212 w 6314958"/>
                <a:gd name="connsiteY25" fmla="*/ 0 h 6858000"/>
                <a:gd name="connsiteX26" fmla="*/ 5445778 w 6314958"/>
                <a:gd name="connsiteY26" fmla="*/ 4777 h 6858000"/>
                <a:gd name="connsiteX27" fmla="*/ 6215237 w 6314958"/>
                <a:gd name="connsiteY27" fmla="*/ 497639 h 6858000"/>
                <a:gd name="connsiteX28" fmla="*/ 6314958 w 6314958"/>
                <a:gd name="connsiteY28" fmla="*/ 588272 h 6858000"/>
                <a:gd name="connsiteX29" fmla="*/ 6314958 w 6314958"/>
                <a:gd name="connsiteY29" fmla="*/ 951432 h 6858000"/>
                <a:gd name="connsiteX30" fmla="*/ 6296598 w 6314958"/>
                <a:gd name="connsiteY30" fmla="*/ 931231 h 6858000"/>
                <a:gd name="connsiteX31" fmla="*/ 6208380 w 6314958"/>
                <a:gd name="connsiteY31" fmla="*/ 851053 h 6858000"/>
                <a:gd name="connsiteX32" fmla="*/ 6125316 w 6314958"/>
                <a:gd name="connsiteY32" fmla="*/ 773266 h 6858000"/>
                <a:gd name="connsiteX33" fmla="*/ 6099430 w 6314958"/>
                <a:gd name="connsiteY33" fmla="*/ 752033 h 6858000"/>
                <a:gd name="connsiteX34" fmla="*/ 6045750 w 6314958"/>
                <a:gd name="connsiteY34" fmla="*/ 703245 h 6858000"/>
                <a:gd name="connsiteX35" fmla="*/ 5980095 w 6314958"/>
                <a:gd name="connsiteY35" fmla="*/ 654149 h 6858000"/>
                <a:gd name="connsiteX36" fmla="*/ 5945069 w 6314958"/>
                <a:gd name="connsiteY36" fmla="*/ 625419 h 6858000"/>
                <a:gd name="connsiteX37" fmla="*/ 5866166 w 6314958"/>
                <a:gd name="connsiteY37" fmla="*/ 568954 h 6858000"/>
                <a:gd name="connsiteX38" fmla="*/ 5773816 w 6314958"/>
                <a:gd name="connsiteY38" fmla="*/ 499896 h 6858000"/>
                <a:gd name="connsiteX39" fmla="*/ 5678803 w 6314958"/>
                <a:gd name="connsiteY39" fmla="*/ 442174 h 6858000"/>
                <a:gd name="connsiteX40" fmla="*/ 5556210 w 6314958"/>
                <a:gd name="connsiteY40" fmla="*/ 366164 h 6858000"/>
                <a:gd name="connsiteX41" fmla="*/ 5536052 w 6314958"/>
                <a:gd name="connsiteY41" fmla="*/ 355451 h 6858000"/>
                <a:gd name="connsiteX42" fmla="*/ 5482571 w 6314958"/>
                <a:gd name="connsiteY42" fmla="*/ 322960 h 6858000"/>
                <a:gd name="connsiteX43" fmla="*/ 5400777 w 6314958"/>
                <a:gd name="connsiteY43" fmla="*/ 283558 h 6858000"/>
                <a:gd name="connsiteX44" fmla="*/ 5348751 w 6314958"/>
                <a:gd name="connsiteY44" fmla="*/ 255909 h 6858000"/>
                <a:gd name="connsiteX45" fmla="*/ 5271147 w 6314958"/>
                <a:gd name="connsiteY45" fmla="*/ 221112 h 6858000"/>
                <a:gd name="connsiteX46" fmla="*/ 5173790 w 6314958"/>
                <a:gd name="connsiteY46" fmla="*/ 174213 h 6858000"/>
                <a:gd name="connsiteX47" fmla="*/ 4681626 w 6314958"/>
                <a:gd name="connsiteY47" fmla="*/ 7830 h 6858000"/>
                <a:gd name="connsiteX48" fmla="*/ 2162446 w 6314958"/>
                <a:gd name="connsiteY48" fmla="*/ 0 h 6858000"/>
                <a:gd name="connsiteX49" fmla="*/ 2949957 w 6314958"/>
                <a:gd name="connsiteY49" fmla="*/ 0 h 6858000"/>
                <a:gd name="connsiteX50" fmla="*/ 2916032 w 6314958"/>
                <a:gd name="connsiteY50" fmla="*/ 7830 h 6858000"/>
                <a:gd name="connsiteX51" fmla="*/ 2423868 w 6314958"/>
                <a:gd name="connsiteY51" fmla="*/ 174213 h 6858000"/>
                <a:gd name="connsiteX52" fmla="*/ 2375455 w 6314958"/>
                <a:gd name="connsiteY52" fmla="*/ 197535 h 6858000"/>
                <a:gd name="connsiteX53" fmla="*/ 2365440 w 6314958"/>
                <a:gd name="connsiteY53" fmla="*/ 201501 h 6858000"/>
                <a:gd name="connsiteX54" fmla="*/ 2300569 w 6314958"/>
                <a:gd name="connsiteY54" fmla="*/ 233609 h 6858000"/>
                <a:gd name="connsiteX55" fmla="*/ 2115088 w 6314958"/>
                <a:gd name="connsiteY55" fmla="*/ 322960 h 6858000"/>
                <a:gd name="connsiteX56" fmla="*/ 1863446 w 6314958"/>
                <a:gd name="connsiteY56" fmla="*/ 475836 h 6858000"/>
                <a:gd name="connsiteX57" fmla="*/ 1860205 w 6314958"/>
                <a:gd name="connsiteY57" fmla="*/ 477785 h 6858000"/>
                <a:gd name="connsiteX58" fmla="*/ 1860025 w 6314958"/>
                <a:gd name="connsiteY58" fmla="*/ 477915 h 6858000"/>
                <a:gd name="connsiteX59" fmla="*/ 1823843 w 6314958"/>
                <a:gd name="connsiteY59" fmla="*/ 499896 h 6858000"/>
                <a:gd name="connsiteX60" fmla="*/ 1690354 w 6314958"/>
                <a:gd name="connsiteY60" fmla="*/ 599717 h 6858000"/>
                <a:gd name="connsiteX61" fmla="*/ 1627429 w 6314958"/>
                <a:gd name="connsiteY61" fmla="*/ 644889 h 6858000"/>
                <a:gd name="connsiteX62" fmla="*/ 1608663 w 6314958"/>
                <a:gd name="connsiteY62" fmla="*/ 660805 h 6858000"/>
                <a:gd name="connsiteX63" fmla="*/ 1551908 w 6314958"/>
                <a:gd name="connsiteY63" fmla="*/ 703245 h 6858000"/>
                <a:gd name="connsiteX64" fmla="*/ 1458256 w 6314958"/>
                <a:gd name="connsiteY64" fmla="*/ 788362 h 6858000"/>
                <a:gd name="connsiteX65" fmla="*/ 1409302 w 6314958"/>
                <a:gd name="connsiteY65" fmla="*/ 829879 h 6858000"/>
                <a:gd name="connsiteX66" fmla="*/ 1375552 w 6314958"/>
                <a:gd name="connsiteY66" fmla="*/ 863529 h 6858000"/>
                <a:gd name="connsiteX67" fmla="*/ 1301060 w 6314958"/>
                <a:gd name="connsiteY67" fmla="*/ 931231 h 6858000"/>
                <a:gd name="connsiteX68" fmla="*/ 1237457 w 6314958"/>
                <a:gd name="connsiteY68" fmla="*/ 1001213 h 6858000"/>
                <a:gd name="connsiteX69" fmla="*/ 1206889 w 6314958"/>
                <a:gd name="connsiteY69" fmla="*/ 1031689 h 6858000"/>
                <a:gd name="connsiteX70" fmla="*/ 1162896 w 6314958"/>
                <a:gd name="connsiteY70" fmla="*/ 1083250 h 6858000"/>
                <a:gd name="connsiteX71" fmla="*/ 1073074 w 6314958"/>
                <a:gd name="connsiteY71" fmla="*/ 1182079 h 6858000"/>
                <a:gd name="connsiteX72" fmla="*/ 1034080 w 6314958"/>
                <a:gd name="connsiteY72" fmla="*/ 1234225 h 6858000"/>
                <a:gd name="connsiteX73" fmla="*/ 1021257 w 6314958"/>
                <a:gd name="connsiteY73" fmla="*/ 1249253 h 6858000"/>
                <a:gd name="connsiteX74" fmla="*/ 976117 w 6314958"/>
                <a:gd name="connsiteY74" fmla="*/ 1311738 h 6858000"/>
                <a:gd name="connsiteX75" fmla="*/ 869725 w 6314958"/>
                <a:gd name="connsiteY75" fmla="*/ 1454013 h 6858000"/>
                <a:gd name="connsiteX76" fmla="*/ 692789 w 6314958"/>
                <a:gd name="connsiteY76" fmla="*/ 1745259 h 6858000"/>
                <a:gd name="connsiteX77" fmla="*/ 610933 w 6314958"/>
                <a:gd name="connsiteY77" fmla="*/ 1915182 h 6858000"/>
                <a:gd name="connsiteX78" fmla="*/ 575706 w 6314958"/>
                <a:gd name="connsiteY78" fmla="*/ 1985812 h 6858000"/>
                <a:gd name="connsiteX79" fmla="*/ 569857 w 6314958"/>
                <a:gd name="connsiteY79" fmla="*/ 2000450 h 6858000"/>
                <a:gd name="connsiteX80" fmla="*/ 544042 w 6314958"/>
                <a:gd name="connsiteY80" fmla="*/ 2054039 h 6858000"/>
                <a:gd name="connsiteX81" fmla="*/ 496009 w 6314958"/>
                <a:gd name="connsiteY81" fmla="*/ 2185276 h 6858000"/>
                <a:gd name="connsiteX82" fmla="*/ 467857 w 6314958"/>
                <a:gd name="connsiteY82" fmla="*/ 2255733 h 6858000"/>
                <a:gd name="connsiteX83" fmla="*/ 455842 w 6314958"/>
                <a:gd name="connsiteY83" fmla="*/ 2295020 h 6858000"/>
                <a:gd name="connsiteX84" fmla="*/ 425259 w 6314958"/>
                <a:gd name="connsiteY84" fmla="*/ 2378579 h 6858000"/>
                <a:gd name="connsiteX85" fmla="*/ 398714 w 6314958"/>
                <a:gd name="connsiteY85" fmla="*/ 2481816 h 6858000"/>
                <a:gd name="connsiteX86" fmla="*/ 382119 w 6314958"/>
                <a:gd name="connsiteY86" fmla="*/ 2536079 h 6858000"/>
                <a:gd name="connsiteX87" fmla="*/ 368259 w 6314958"/>
                <a:gd name="connsiteY87" fmla="*/ 2600260 h 6858000"/>
                <a:gd name="connsiteX88" fmla="*/ 338216 w 6314958"/>
                <a:gd name="connsiteY88" fmla="*/ 2717103 h 6858000"/>
                <a:gd name="connsiteX89" fmla="*/ 326621 w 6314958"/>
                <a:gd name="connsiteY89" fmla="*/ 2793072 h 6858000"/>
                <a:gd name="connsiteX90" fmla="*/ 319558 w 6314958"/>
                <a:gd name="connsiteY90" fmla="*/ 2825782 h 6858000"/>
                <a:gd name="connsiteX91" fmla="*/ 308473 w 6314958"/>
                <a:gd name="connsiteY91" fmla="*/ 2911989 h 6858000"/>
                <a:gd name="connsiteX92" fmla="*/ 284688 w 6314958"/>
                <a:gd name="connsiteY92" fmla="*/ 3067835 h 6858000"/>
                <a:gd name="connsiteX93" fmla="*/ 282266 w 6314958"/>
                <a:gd name="connsiteY93" fmla="*/ 3115792 h 6858000"/>
                <a:gd name="connsiteX94" fmla="*/ 281239 w 6314958"/>
                <a:gd name="connsiteY94" fmla="*/ 3123778 h 6858000"/>
                <a:gd name="connsiteX95" fmla="*/ 277862 w 6314958"/>
                <a:gd name="connsiteY95" fmla="*/ 3203005 h 6858000"/>
                <a:gd name="connsiteX96" fmla="*/ 266450 w 6314958"/>
                <a:gd name="connsiteY96" fmla="*/ 3429000 h 6858000"/>
                <a:gd name="connsiteX97" fmla="*/ 277862 w 6314958"/>
                <a:gd name="connsiteY97" fmla="*/ 3654994 h 6858000"/>
                <a:gd name="connsiteX98" fmla="*/ 281239 w 6314958"/>
                <a:gd name="connsiteY98" fmla="*/ 3734222 h 6858000"/>
                <a:gd name="connsiteX99" fmla="*/ 282266 w 6314958"/>
                <a:gd name="connsiteY99" fmla="*/ 3742209 h 6858000"/>
                <a:gd name="connsiteX100" fmla="*/ 284688 w 6314958"/>
                <a:gd name="connsiteY100" fmla="*/ 3790165 h 6858000"/>
                <a:gd name="connsiteX101" fmla="*/ 308472 w 6314958"/>
                <a:gd name="connsiteY101" fmla="*/ 3946009 h 6858000"/>
                <a:gd name="connsiteX102" fmla="*/ 319558 w 6314958"/>
                <a:gd name="connsiteY102" fmla="*/ 4032218 h 6858000"/>
                <a:gd name="connsiteX103" fmla="*/ 326622 w 6314958"/>
                <a:gd name="connsiteY103" fmla="*/ 4064929 h 6858000"/>
                <a:gd name="connsiteX104" fmla="*/ 338216 w 6314958"/>
                <a:gd name="connsiteY104" fmla="*/ 4140898 h 6858000"/>
                <a:gd name="connsiteX105" fmla="*/ 368259 w 6314958"/>
                <a:gd name="connsiteY105" fmla="*/ 4257739 h 6858000"/>
                <a:gd name="connsiteX106" fmla="*/ 382119 w 6314958"/>
                <a:gd name="connsiteY106" fmla="*/ 4321922 h 6858000"/>
                <a:gd name="connsiteX107" fmla="*/ 398715 w 6314958"/>
                <a:gd name="connsiteY107" fmla="*/ 4376187 h 6858000"/>
                <a:gd name="connsiteX108" fmla="*/ 425259 w 6314958"/>
                <a:gd name="connsiteY108" fmla="*/ 4479422 h 6858000"/>
                <a:gd name="connsiteX109" fmla="*/ 455841 w 6314958"/>
                <a:gd name="connsiteY109" fmla="*/ 4562978 h 6858000"/>
                <a:gd name="connsiteX110" fmla="*/ 467857 w 6314958"/>
                <a:gd name="connsiteY110" fmla="*/ 4602268 h 6858000"/>
                <a:gd name="connsiteX111" fmla="*/ 496011 w 6314958"/>
                <a:gd name="connsiteY111" fmla="*/ 4672730 h 6858000"/>
                <a:gd name="connsiteX112" fmla="*/ 544042 w 6314958"/>
                <a:gd name="connsiteY112" fmla="*/ 4803962 h 6858000"/>
                <a:gd name="connsiteX113" fmla="*/ 569856 w 6314958"/>
                <a:gd name="connsiteY113" fmla="*/ 4857548 h 6858000"/>
                <a:gd name="connsiteX114" fmla="*/ 575706 w 6314958"/>
                <a:gd name="connsiteY114" fmla="*/ 4872189 h 6858000"/>
                <a:gd name="connsiteX115" fmla="*/ 610939 w 6314958"/>
                <a:gd name="connsiteY115" fmla="*/ 4942832 h 6858000"/>
                <a:gd name="connsiteX116" fmla="*/ 692789 w 6314958"/>
                <a:gd name="connsiteY116" fmla="*/ 5112742 h 6858000"/>
                <a:gd name="connsiteX117" fmla="*/ 869725 w 6314958"/>
                <a:gd name="connsiteY117" fmla="*/ 5403987 h 6858000"/>
                <a:gd name="connsiteX118" fmla="*/ 976106 w 6314958"/>
                <a:gd name="connsiteY118" fmla="*/ 5546248 h 6858000"/>
                <a:gd name="connsiteX119" fmla="*/ 1021257 w 6314958"/>
                <a:gd name="connsiteY119" fmla="*/ 5608747 h 6858000"/>
                <a:gd name="connsiteX120" fmla="*/ 1034083 w 6314958"/>
                <a:gd name="connsiteY120" fmla="*/ 5623780 h 6858000"/>
                <a:gd name="connsiteX121" fmla="*/ 1073074 w 6314958"/>
                <a:gd name="connsiteY121" fmla="*/ 5675921 h 6858000"/>
                <a:gd name="connsiteX122" fmla="*/ 1162889 w 6314958"/>
                <a:gd name="connsiteY122" fmla="*/ 5774742 h 6858000"/>
                <a:gd name="connsiteX123" fmla="*/ 1206889 w 6314958"/>
                <a:gd name="connsiteY123" fmla="*/ 5826312 h 6858000"/>
                <a:gd name="connsiteX124" fmla="*/ 1237462 w 6314958"/>
                <a:gd name="connsiteY124" fmla="*/ 5856794 h 6858000"/>
                <a:gd name="connsiteX125" fmla="*/ 1301060 w 6314958"/>
                <a:gd name="connsiteY125" fmla="*/ 5926769 h 6858000"/>
                <a:gd name="connsiteX126" fmla="*/ 1375546 w 6314958"/>
                <a:gd name="connsiteY126" fmla="*/ 5994467 h 6858000"/>
                <a:gd name="connsiteX127" fmla="*/ 1409302 w 6314958"/>
                <a:gd name="connsiteY127" fmla="*/ 6028122 h 6858000"/>
                <a:gd name="connsiteX128" fmla="*/ 1458264 w 6314958"/>
                <a:gd name="connsiteY128" fmla="*/ 6069646 h 6858000"/>
                <a:gd name="connsiteX129" fmla="*/ 1551908 w 6314958"/>
                <a:gd name="connsiteY129" fmla="*/ 6154756 h 6858000"/>
                <a:gd name="connsiteX130" fmla="*/ 1608657 w 6314958"/>
                <a:gd name="connsiteY130" fmla="*/ 6197192 h 6858000"/>
                <a:gd name="connsiteX131" fmla="*/ 1627429 w 6314958"/>
                <a:gd name="connsiteY131" fmla="*/ 6213112 h 6858000"/>
                <a:gd name="connsiteX132" fmla="*/ 1690373 w 6314958"/>
                <a:gd name="connsiteY132" fmla="*/ 6258298 h 6858000"/>
                <a:gd name="connsiteX133" fmla="*/ 1823843 w 6314958"/>
                <a:gd name="connsiteY133" fmla="*/ 6358104 h 6858000"/>
                <a:gd name="connsiteX134" fmla="*/ 1860020 w 6314958"/>
                <a:gd name="connsiteY134" fmla="*/ 6380082 h 6858000"/>
                <a:gd name="connsiteX135" fmla="*/ 1860205 w 6314958"/>
                <a:gd name="connsiteY135" fmla="*/ 6380216 h 6858000"/>
                <a:gd name="connsiteX136" fmla="*/ 1863538 w 6314958"/>
                <a:gd name="connsiteY136" fmla="*/ 6382220 h 6858000"/>
                <a:gd name="connsiteX137" fmla="*/ 2115088 w 6314958"/>
                <a:gd name="connsiteY137" fmla="*/ 6535040 h 6858000"/>
                <a:gd name="connsiteX138" fmla="*/ 2300511 w 6314958"/>
                <a:gd name="connsiteY138" fmla="*/ 6624363 h 6858000"/>
                <a:gd name="connsiteX139" fmla="*/ 2365440 w 6314958"/>
                <a:gd name="connsiteY139" fmla="*/ 6656500 h 6858000"/>
                <a:gd name="connsiteX140" fmla="*/ 2375464 w 6314958"/>
                <a:gd name="connsiteY140" fmla="*/ 6660470 h 6858000"/>
                <a:gd name="connsiteX141" fmla="*/ 2423868 w 6314958"/>
                <a:gd name="connsiteY141" fmla="*/ 6683787 h 6858000"/>
                <a:gd name="connsiteX142" fmla="*/ 2916032 w 6314958"/>
                <a:gd name="connsiteY142" fmla="*/ 6850171 h 6858000"/>
                <a:gd name="connsiteX143" fmla="*/ 2949957 w 6314958"/>
                <a:gd name="connsiteY143" fmla="*/ 6858000 h 6858000"/>
                <a:gd name="connsiteX144" fmla="*/ 2162446 w 6314958"/>
                <a:gd name="connsiteY144" fmla="*/ 6858000 h 6858000"/>
                <a:gd name="connsiteX145" fmla="*/ 2151880 w 6314958"/>
                <a:gd name="connsiteY145" fmla="*/ 6853223 h 6858000"/>
                <a:gd name="connsiteX146" fmla="*/ 0 w 6314958"/>
                <a:gd name="connsiteY146" fmla="*/ 3429000 h 6858000"/>
                <a:gd name="connsiteX147" fmla="*/ 2151880 w 6314958"/>
                <a:gd name="connsiteY147" fmla="*/ 477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6314958" h="6858000">
                  <a:moveTo>
                    <a:pt x="6314958" y="5906568"/>
                  </a:moveTo>
                  <a:lnTo>
                    <a:pt x="6314958" y="6269729"/>
                  </a:lnTo>
                  <a:lnTo>
                    <a:pt x="6215237" y="6360361"/>
                  </a:lnTo>
                  <a:cubicBezTo>
                    <a:pt x="5980715" y="6553906"/>
                    <a:pt x="5722571" y="6719851"/>
                    <a:pt x="5445778" y="6853223"/>
                  </a:cubicBezTo>
                  <a:lnTo>
                    <a:pt x="5435212" y="6858000"/>
                  </a:lnTo>
                  <a:lnTo>
                    <a:pt x="4647701" y="6858000"/>
                  </a:lnTo>
                  <a:lnTo>
                    <a:pt x="4681626" y="6850171"/>
                  </a:lnTo>
                  <a:cubicBezTo>
                    <a:pt x="4850924" y="6806612"/>
                    <a:pt x="5015312" y="6750818"/>
                    <a:pt x="5173790" y="6683787"/>
                  </a:cubicBezTo>
                  <a:lnTo>
                    <a:pt x="5271135" y="6636894"/>
                  </a:lnTo>
                  <a:lnTo>
                    <a:pt x="5348751" y="6602092"/>
                  </a:lnTo>
                  <a:lnTo>
                    <a:pt x="5400784" y="6574439"/>
                  </a:lnTo>
                  <a:lnTo>
                    <a:pt x="5482571" y="6535040"/>
                  </a:lnTo>
                  <a:lnTo>
                    <a:pt x="5536048" y="6502552"/>
                  </a:lnTo>
                  <a:lnTo>
                    <a:pt x="5556210" y="6491837"/>
                  </a:lnTo>
                  <a:lnTo>
                    <a:pt x="5678830" y="6415809"/>
                  </a:lnTo>
                  <a:lnTo>
                    <a:pt x="5773816" y="6358104"/>
                  </a:lnTo>
                  <a:lnTo>
                    <a:pt x="5866153" y="6289055"/>
                  </a:lnTo>
                  <a:lnTo>
                    <a:pt x="5945069" y="6232582"/>
                  </a:lnTo>
                  <a:lnTo>
                    <a:pt x="5980102" y="6203847"/>
                  </a:lnTo>
                  <a:lnTo>
                    <a:pt x="6045750" y="6154756"/>
                  </a:lnTo>
                  <a:lnTo>
                    <a:pt x="6099423" y="6105974"/>
                  </a:lnTo>
                  <a:lnTo>
                    <a:pt x="6125316" y="6084735"/>
                  </a:lnTo>
                  <a:lnTo>
                    <a:pt x="6208411" y="6006920"/>
                  </a:lnTo>
                  <a:lnTo>
                    <a:pt x="6296598" y="5926769"/>
                  </a:lnTo>
                  <a:close/>
                  <a:moveTo>
                    <a:pt x="4647701" y="0"/>
                  </a:moveTo>
                  <a:lnTo>
                    <a:pt x="5435212" y="0"/>
                  </a:lnTo>
                  <a:lnTo>
                    <a:pt x="5445778" y="4777"/>
                  </a:lnTo>
                  <a:cubicBezTo>
                    <a:pt x="5722571" y="138149"/>
                    <a:pt x="5980715" y="304094"/>
                    <a:pt x="6215237" y="497639"/>
                  </a:cubicBezTo>
                  <a:lnTo>
                    <a:pt x="6314958" y="588272"/>
                  </a:lnTo>
                  <a:lnTo>
                    <a:pt x="6314958" y="951432"/>
                  </a:lnTo>
                  <a:lnTo>
                    <a:pt x="6296598" y="931231"/>
                  </a:lnTo>
                  <a:lnTo>
                    <a:pt x="6208380" y="851053"/>
                  </a:lnTo>
                  <a:lnTo>
                    <a:pt x="6125316" y="773266"/>
                  </a:lnTo>
                  <a:lnTo>
                    <a:pt x="6099430" y="752033"/>
                  </a:lnTo>
                  <a:lnTo>
                    <a:pt x="6045750" y="703245"/>
                  </a:lnTo>
                  <a:lnTo>
                    <a:pt x="5980095" y="654149"/>
                  </a:lnTo>
                  <a:lnTo>
                    <a:pt x="5945069" y="625419"/>
                  </a:lnTo>
                  <a:lnTo>
                    <a:pt x="5866166" y="568954"/>
                  </a:lnTo>
                  <a:lnTo>
                    <a:pt x="5773816" y="499896"/>
                  </a:lnTo>
                  <a:lnTo>
                    <a:pt x="5678803" y="442174"/>
                  </a:lnTo>
                  <a:lnTo>
                    <a:pt x="5556210" y="366164"/>
                  </a:lnTo>
                  <a:lnTo>
                    <a:pt x="5536052" y="355451"/>
                  </a:lnTo>
                  <a:lnTo>
                    <a:pt x="5482571" y="322960"/>
                  </a:lnTo>
                  <a:lnTo>
                    <a:pt x="5400777" y="283558"/>
                  </a:lnTo>
                  <a:lnTo>
                    <a:pt x="5348751" y="255909"/>
                  </a:lnTo>
                  <a:lnTo>
                    <a:pt x="5271147" y="221112"/>
                  </a:lnTo>
                  <a:lnTo>
                    <a:pt x="5173790" y="174213"/>
                  </a:lnTo>
                  <a:cubicBezTo>
                    <a:pt x="5015312" y="107182"/>
                    <a:pt x="4850924" y="51388"/>
                    <a:pt x="4681626" y="7830"/>
                  </a:cubicBezTo>
                  <a:close/>
                  <a:moveTo>
                    <a:pt x="2162446" y="0"/>
                  </a:moveTo>
                  <a:lnTo>
                    <a:pt x="2949957" y="0"/>
                  </a:lnTo>
                  <a:lnTo>
                    <a:pt x="2916032" y="7830"/>
                  </a:lnTo>
                  <a:cubicBezTo>
                    <a:pt x="2746734" y="51388"/>
                    <a:pt x="2582346" y="107182"/>
                    <a:pt x="2423868" y="174213"/>
                  </a:cubicBezTo>
                  <a:lnTo>
                    <a:pt x="2375455" y="197535"/>
                  </a:lnTo>
                  <a:lnTo>
                    <a:pt x="2365440" y="201501"/>
                  </a:lnTo>
                  <a:lnTo>
                    <a:pt x="2300569" y="233609"/>
                  </a:lnTo>
                  <a:lnTo>
                    <a:pt x="2115088" y="322960"/>
                  </a:lnTo>
                  <a:lnTo>
                    <a:pt x="1863446" y="475836"/>
                  </a:lnTo>
                  <a:lnTo>
                    <a:pt x="1860205" y="477785"/>
                  </a:lnTo>
                  <a:lnTo>
                    <a:pt x="1860025" y="477915"/>
                  </a:lnTo>
                  <a:lnTo>
                    <a:pt x="1823843" y="499896"/>
                  </a:lnTo>
                  <a:lnTo>
                    <a:pt x="1690354" y="599717"/>
                  </a:lnTo>
                  <a:lnTo>
                    <a:pt x="1627429" y="644889"/>
                  </a:lnTo>
                  <a:lnTo>
                    <a:pt x="1608663" y="660805"/>
                  </a:lnTo>
                  <a:lnTo>
                    <a:pt x="1551908" y="703245"/>
                  </a:lnTo>
                  <a:lnTo>
                    <a:pt x="1458256" y="788362"/>
                  </a:lnTo>
                  <a:lnTo>
                    <a:pt x="1409302" y="829879"/>
                  </a:lnTo>
                  <a:lnTo>
                    <a:pt x="1375552" y="863529"/>
                  </a:lnTo>
                  <a:lnTo>
                    <a:pt x="1301060" y="931231"/>
                  </a:lnTo>
                  <a:lnTo>
                    <a:pt x="1237457" y="1001213"/>
                  </a:lnTo>
                  <a:lnTo>
                    <a:pt x="1206889" y="1031689"/>
                  </a:lnTo>
                  <a:lnTo>
                    <a:pt x="1162896" y="1083250"/>
                  </a:lnTo>
                  <a:lnTo>
                    <a:pt x="1073074" y="1182079"/>
                  </a:lnTo>
                  <a:lnTo>
                    <a:pt x="1034080" y="1234225"/>
                  </a:lnTo>
                  <a:lnTo>
                    <a:pt x="1021257" y="1249253"/>
                  </a:lnTo>
                  <a:lnTo>
                    <a:pt x="976117" y="1311738"/>
                  </a:lnTo>
                  <a:lnTo>
                    <a:pt x="869725" y="1454013"/>
                  </a:lnTo>
                  <a:cubicBezTo>
                    <a:pt x="806246" y="1547975"/>
                    <a:pt x="747169" y="1645156"/>
                    <a:pt x="692789" y="1745259"/>
                  </a:cubicBezTo>
                  <a:lnTo>
                    <a:pt x="610933" y="1915182"/>
                  </a:lnTo>
                  <a:lnTo>
                    <a:pt x="575706" y="1985812"/>
                  </a:lnTo>
                  <a:lnTo>
                    <a:pt x="569857" y="2000450"/>
                  </a:lnTo>
                  <a:lnTo>
                    <a:pt x="544042" y="2054039"/>
                  </a:lnTo>
                  <a:lnTo>
                    <a:pt x="496009" y="2185276"/>
                  </a:lnTo>
                  <a:lnTo>
                    <a:pt x="467857" y="2255733"/>
                  </a:lnTo>
                  <a:lnTo>
                    <a:pt x="455842" y="2295020"/>
                  </a:lnTo>
                  <a:lnTo>
                    <a:pt x="425259" y="2378579"/>
                  </a:lnTo>
                  <a:lnTo>
                    <a:pt x="398714" y="2481816"/>
                  </a:lnTo>
                  <a:lnTo>
                    <a:pt x="382119" y="2536079"/>
                  </a:lnTo>
                  <a:lnTo>
                    <a:pt x="368259" y="2600260"/>
                  </a:lnTo>
                  <a:lnTo>
                    <a:pt x="338216" y="2717103"/>
                  </a:lnTo>
                  <a:lnTo>
                    <a:pt x="326621" y="2793072"/>
                  </a:lnTo>
                  <a:lnTo>
                    <a:pt x="319558" y="2825782"/>
                  </a:lnTo>
                  <a:lnTo>
                    <a:pt x="308473" y="2911989"/>
                  </a:lnTo>
                  <a:lnTo>
                    <a:pt x="284688" y="3067835"/>
                  </a:lnTo>
                  <a:lnTo>
                    <a:pt x="282266" y="3115792"/>
                  </a:lnTo>
                  <a:lnTo>
                    <a:pt x="281239" y="3123778"/>
                  </a:lnTo>
                  <a:lnTo>
                    <a:pt x="277862" y="3203005"/>
                  </a:lnTo>
                  <a:lnTo>
                    <a:pt x="266450" y="3429000"/>
                  </a:lnTo>
                  <a:lnTo>
                    <a:pt x="277862" y="3654994"/>
                  </a:lnTo>
                  <a:lnTo>
                    <a:pt x="281239" y="3734222"/>
                  </a:lnTo>
                  <a:lnTo>
                    <a:pt x="282266" y="3742209"/>
                  </a:lnTo>
                  <a:lnTo>
                    <a:pt x="284688" y="3790165"/>
                  </a:lnTo>
                  <a:lnTo>
                    <a:pt x="308472" y="3946009"/>
                  </a:lnTo>
                  <a:lnTo>
                    <a:pt x="319558" y="4032218"/>
                  </a:lnTo>
                  <a:lnTo>
                    <a:pt x="326622" y="4064929"/>
                  </a:lnTo>
                  <a:lnTo>
                    <a:pt x="338216" y="4140898"/>
                  </a:lnTo>
                  <a:lnTo>
                    <a:pt x="368259" y="4257739"/>
                  </a:lnTo>
                  <a:lnTo>
                    <a:pt x="382119" y="4321922"/>
                  </a:lnTo>
                  <a:lnTo>
                    <a:pt x="398715" y="4376187"/>
                  </a:lnTo>
                  <a:lnTo>
                    <a:pt x="425259" y="4479422"/>
                  </a:lnTo>
                  <a:lnTo>
                    <a:pt x="455841" y="4562978"/>
                  </a:lnTo>
                  <a:lnTo>
                    <a:pt x="467857" y="4602268"/>
                  </a:lnTo>
                  <a:lnTo>
                    <a:pt x="496011" y="4672730"/>
                  </a:lnTo>
                  <a:lnTo>
                    <a:pt x="544042" y="4803962"/>
                  </a:lnTo>
                  <a:lnTo>
                    <a:pt x="569856" y="4857548"/>
                  </a:lnTo>
                  <a:lnTo>
                    <a:pt x="575706" y="4872189"/>
                  </a:lnTo>
                  <a:lnTo>
                    <a:pt x="610939" y="4942832"/>
                  </a:lnTo>
                  <a:lnTo>
                    <a:pt x="692789" y="5112742"/>
                  </a:lnTo>
                  <a:cubicBezTo>
                    <a:pt x="747169" y="5212845"/>
                    <a:pt x="806246" y="5310025"/>
                    <a:pt x="869725" y="5403987"/>
                  </a:cubicBezTo>
                  <a:lnTo>
                    <a:pt x="976106" y="5546248"/>
                  </a:lnTo>
                  <a:lnTo>
                    <a:pt x="1021257" y="5608747"/>
                  </a:lnTo>
                  <a:lnTo>
                    <a:pt x="1034083" y="5623780"/>
                  </a:lnTo>
                  <a:lnTo>
                    <a:pt x="1073074" y="5675921"/>
                  </a:lnTo>
                  <a:lnTo>
                    <a:pt x="1162889" y="5774742"/>
                  </a:lnTo>
                  <a:lnTo>
                    <a:pt x="1206889" y="5826312"/>
                  </a:lnTo>
                  <a:lnTo>
                    <a:pt x="1237462" y="5856794"/>
                  </a:lnTo>
                  <a:lnTo>
                    <a:pt x="1301060" y="5926769"/>
                  </a:lnTo>
                  <a:lnTo>
                    <a:pt x="1375546" y="5994467"/>
                  </a:lnTo>
                  <a:lnTo>
                    <a:pt x="1409302" y="6028122"/>
                  </a:lnTo>
                  <a:lnTo>
                    <a:pt x="1458264" y="6069646"/>
                  </a:lnTo>
                  <a:lnTo>
                    <a:pt x="1551908" y="6154756"/>
                  </a:lnTo>
                  <a:lnTo>
                    <a:pt x="1608657" y="6197192"/>
                  </a:lnTo>
                  <a:lnTo>
                    <a:pt x="1627429" y="6213112"/>
                  </a:lnTo>
                  <a:lnTo>
                    <a:pt x="1690373" y="6258298"/>
                  </a:lnTo>
                  <a:lnTo>
                    <a:pt x="1823843" y="6358104"/>
                  </a:lnTo>
                  <a:lnTo>
                    <a:pt x="1860020" y="6380082"/>
                  </a:lnTo>
                  <a:lnTo>
                    <a:pt x="1860205" y="6380216"/>
                  </a:lnTo>
                  <a:lnTo>
                    <a:pt x="1863538" y="6382220"/>
                  </a:lnTo>
                  <a:lnTo>
                    <a:pt x="2115088" y="6535040"/>
                  </a:lnTo>
                  <a:lnTo>
                    <a:pt x="2300511" y="6624363"/>
                  </a:lnTo>
                  <a:lnTo>
                    <a:pt x="2365440" y="6656500"/>
                  </a:lnTo>
                  <a:lnTo>
                    <a:pt x="2375464" y="6660470"/>
                  </a:lnTo>
                  <a:lnTo>
                    <a:pt x="2423868" y="6683787"/>
                  </a:lnTo>
                  <a:cubicBezTo>
                    <a:pt x="2582346" y="6750818"/>
                    <a:pt x="2746734" y="6806612"/>
                    <a:pt x="2916032" y="6850171"/>
                  </a:cubicBezTo>
                  <a:lnTo>
                    <a:pt x="2949957" y="6858000"/>
                  </a:lnTo>
                  <a:lnTo>
                    <a:pt x="2162446" y="6858000"/>
                  </a:lnTo>
                  <a:lnTo>
                    <a:pt x="2151880" y="6853223"/>
                  </a:lnTo>
                  <a:cubicBezTo>
                    <a:pt x="878633" y="6239710"/>
                    <a:pt x="0" y="4936963"/>
                    <a:pt x="0" y="3429000"/>
                  </a:cubicBezTo>
                  <a:cubicBezTo>
                    <a:pt x="0" y="1921037"/>
                    <a:pt x="878633" y="618290"/>
                    <a:pt x="2151880" y="4777"/>
                  </a:cubicBezTo>
                  <a:close/>
                </a:path>
              </a:pathLst>
            </a:custGeom>
            <a:solidFill>
              <a:schemeClr val="accent2"/>
            </a:solidFill>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400">
                <a:solidFill>
                  <a:schemeClr val="accent6"/>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16" name="e09db3f0-6e02-44e0-9dd8-3eaaa4d6d991">
            <a:extLst>
              <a:ext uri="{FF2B5EF4-FFF2-40B4-BE49-F238E27FC236}">
                <a16:creationId xmlns:a16="http://schemas.microsoft.com/office/drawing/2014/main" id="{EC36045C-2F27-4D1F-8FC2-77CB5C497B18}"/>
              </a:ext>
            </a:extLst>
          </p:cNvPr>
          <p:cNvSpPr txBox="1"/>
          <p:nvPr/>
        </p:nvSpPr>
        <p:spPr>
          <a:xfrm>
            <a:off x="467784" y="6677739"/>
            <a:ext cx="2250616" cy="123111"/>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pPr>
            <a:r>
              <a:rPr lang="en-US" sz="800">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Energy Research Ltd. – CONFIDENTIAL</a:t>
            </a:r>
          </a:p>
        </p:txBody>
      </p:sp>
      <p:sp>
        <p:nvSpPr>
          <p:cNvPr id="12" name="Title 1"/>
          <p:cNvSpPr>
            <a:spLocks noGrp="1"/>
          </p:cNvSpPr>
          <p:nvPr>
            <p:ph type="ctrTitle" hasCustomPrompt="1"/>
          </p:nvPr>
        </p:nvSpPr>
        <p:spPr>
          <a:xfrm>
            <a:off x="391584" y="3677095"/>
            <a:ext cx="5158316" cy="1046440"/>
          </a:xfrm>
          <a:prstGeom prst="rect">
            <a:avLst/>
          </a:prstGeom>
        </p:spPr>
        <p:txBody>
          <a:bodyPr vert="horz" lIns="0" rIns="0" anchor="b" anchorCtr="0">
            <a:spAutoFit/>
          </a:bodyPr>
          <a:lstStyle>
            <a:lvl1pPr>
              <a:lnSpc>
                <a:spcPct val="100000"/>
              </a:lnSpc>
              <a:defRPr sz="34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Presentation title </a:t>
            </a:r>
            <a:br>
              <a:rPr lang="en-GB"/>
            </a:br>
            <a:r>
              <a:rPr lang="en-GB" err="1"/>
              <a:t>Lato</a:t>
            </a:r>
            <a:r>
              <a:rPr lang="en-GB"/>
              <a:t> </a:t>
            </a:r>
            <a:r>
              <a:rPr lang="en-GB" err="1"/>
              <a:t>34pt</a:t>
            </a:r>
            <a:r>
              <a:rPr lang="en-GB"/>
              <a:t> (max. 2 lines)</a:t>
            </a:r>
          </a:p>
        </p:txBody>
      </p:sp>
      <p:sp>
        <p:nvSpPr>
          <p:cNvPr id="14" name="Text Placeholder 3"/>
          <p:cNvSpPr>
            <a:spLocks noGrp="1"/>
          </p:cNvSpPr>
          <p:nvPr>
            <p:ph type="body" sz="quarter" idx="11" hasCustomPrompt="1"/>
          </p:nvPr>
        </p:nvSpPr>
        <p:spPr>
          <a:xfrm>
            <a:off x="391585" y="4892984"/>
            <a:ext cx="5158316" cy="595035"/>
          </a:xfrm>
          <a:prstGeom prst="rect">
            <a:avLst/>
          </a:prstGeom>
        </p:spPr>
        <p:txBody>
          <a:bodyPr lIns="0">
            <a:spAutoFit/>
          </a:bodyPr>
          <a:lstStyle>
            <a:lvl1pPr marL="0" indent="0">
              <a:lnSpc>
                <a:spcPct val="100000"/>
              </a:lnSpc>
              <a:buNone/>
              <a:defRPr sz="16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 Author (max. 2 lines)</a:t>
            </a:r>
          </a:p>
          <a:p>
            <a:pPr lvl="0"/>
            <a:r>
              <a:rPr lang="en-GB"/>
              <a:t>Location, Date</a:t>
            </a:r>
          </a:p>
        </p:txBody>
      </p:sp>
      <p:pic>
        <p:nvPicPr>
          <p:cNvPr id="17" name="76b2c494-e833-47c5-ac9f-1f63996dd2f9">
            <a:extLst>
              <a:ext uri="{FF2B5EF4-FFF2-40B4-BE49-F238E27FC236}">
                <a16:creationId xmlns:a16="http://schemas.microsoft.com/office/drawing/2014/main" id="{042F3FEA-3A90-4E71-A2A9-E49B6FE2258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91584" y="655041"/>
            <a:ext cx="2389716" cy="558125"/>
          </a:xfrm>
          <a:prstGeom prst="rect">
            <a:avLst/>
          </a:prstGeom>
        </p:spPr>
      </p:pic>
      <p:sp>
        <p:nvSpPr>
          <p:cNvPr id="13" name="TextBox 12">
            <a:extLst>
              <a:ext uri="{FF2B5EF4-FFF2-40B4-BE49-F238E27FC236}">
                <a16:creationId xmlns:a16="http://schemas.microsoft.com/office/drawing/2014/main" id="{71D3F1E6-FC24-4027-8703-DD054B62F84B}"/>
              </a:ext>
            </a:extLst>
          </p:cNvPr>
          <p:cNvSpPr txBox="1"/>
          <p:nvPr userDrawn="1"/>
        </p:nvSpPr>
        <p:spPr>
          <a:xfrm>
            <a:off x="0" y="-172292"/>
            <a:ext cx="676467" cy="123111"/>
          </a:xfrm>
          <a:prstGeom prst="rect">
            <a:avLst/>
          </a:prstGeom>
          <a:noFill/>
        </p:spPr>
        <p:txBody>
          <a:bodyPr wrap="none" lIns="0" tIns="0" rIns="0" bIns="0" rtlCol="0">
            <a:spAutoFit/>
          </a:bodyPr>
          <a:lstStyle/>
          <a:p>
            <a:pPr marL="0" indent="0" algn="l">
              <a:spcBef>
                <a:spcPts val="600"/>
              </a:spcBef>
              <a:buFont typeface="Wingdings" panose="05000000000000000000" pitchFamily="2" charset="2"/>
              <a:buNone/>
            </a:pPr>
            <a:r>
              <a:rPr lang="en-GB" sz="800" noProof="1"/>
              <a:t>Aurora_2021.1</a:t>
            </a:r>
          </a:p>
        </p:txBody>
      </p:sp>
    </p:spTree>
    <p:extLst>
      <p:ext uri="{BB962C8B-B14F-4D97-AF65-F5344CB8AC3E}">
        <p14:creationId xmlns:p14="http://schemas.microsoft.com/office/powerpoint/2010/main" val="89919578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genda_Presentatio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62767781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E482D81-5A53-4272-99E2-F748697E0896}"/>
              </a:ext>
            </a:extLst>
          </p:cNvPr>
          <p:cNvSpPr>
            <a:spLocks noGrp="1"/>
          </p:cNvSpPr>
          <p:nvPr>
            <p:ph type="body" sz="quarter" idx="28"/>
          </p:nvPr>
        </p:nvSpPr>
        <p:spPr>
          <a:xfrm>
            <a:off x="0" y="1273038"/>
            <a:ext cx="12192000" cy="355799"/>
          </a:xfrm>
          <a:solidFill>
            <a:schemeClr val="accent2"/>
          </a:solidFill>
        </p:spPr>
        <p:txBody>
          <a:bodyPr anchor="ctr" anchorCtr="0">
            <a:noAutofit/>
          </a:bodyPr>
          <a:lstStyle>
            <a:lvl1pPr>
              <a:defRPr>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US"/>
              <a:t>Click to edit Master text styles</a:t>
            </a:r>
          </a:p>
        </p:txBody>
      </p:sp>
      <p:sp>
        <p:nvSpPr>
          <p:cNvPr id="23" name="Confidential">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4A973469-D94E-4DFF-BEA2-7F02DADA0F87}"/>
              </a:ext>
            </a:extLst>
          </p:cNvPr>
          <p:cNvSpPr>
            <a:spLocks noGrp="1"/>
          </p:cNvSpPr>
          <p:nvPr>
            <p:ph type="body" sz="quarter" idx="27" hasCustomPrompt="1"/>
          </p:nvPr>
        </p:nvSpPr>
        <p:spPr>
          <a:xfrm>
            <a:off x="381000" y="1348181"/>
            <a:ext cx="11428411" cy="4878259"/>
          </a:xfrm>
          <a:prstGeom prst="rect">
            <a:avLst/>
          </a:prstGeom>
        </p:spPr>
        <p:txBody>
          <a:bodyPr/>
          <a:lstStyle>
            <a:lvl1pPr marL="447675" indent="-447675" fontAlgn="base">
              <a:lnSpc>
                <a:spcPct val="100000"/>
              </a:lnSpc>
              <a:spcBef>
                <a:spcPts val="1800"/>
              </a:spcBef>
              <a:spcAft>
                <a:spcPct val="0"/>
              </a:spcAft>
              <a:buClr>
                <a:schemeClr val="tx1"/>
              </a:buClr>
              <a:buSzPct val="100000"/>
              <a:buFont typeface="+mj-lt"/>
              <a:buAutoNum type="romanUcPeriod"/>
              <a:tabLst>
                <a:tab pos="11412538" algn="r"/>
              </a:tabLst>
              <a:defRPr sz="16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800100" indent="-342900" fontAlgn="base">
              <a:lnSpc>
                <a:spcPct val="100000"/>
              </a:lnSpc>
              <a:spcBef>
                <a:spcPts val="1200"/>
              </a:spcBef>
              <a:spcAft>
                <a:spcPct val="0"/>
              </a:spcAft>
              <a:buClr>
                <a:schemeClr val="tx1"/>
              </a:buClr>
              <a:buSzPct val="100000"/>
              <a:buFont typeface="+mj-lt"/>
              <a:buAutoNum type="arabicPeriod"/>
              <a:tabLst>
                <a:tab pos="11412538" algn="r"/>
              </a:tabLst>
              <a:defRPr sz="1600" b="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1073150" indent="-271463">
              <a:buFont typeface="+mj-lt"/>
              <a:buAutoNum type="romanLcPeriod"/>
              <a:tabLst>
                <a:tab pos="11412000" algn="r"/>
              </a:tabLst>
              <a:defRPr sz="1600" b="0"/>
            </a:lvl3pPr>
            <a:lvl4pPr marL="758825" indent="-400050">
              <a:buFont typeface="+mj-lt"/>
              <a:buAutoNum type="romanUcPeriod"/>
              <a:defRPr sz="1600" b="1"/>
            </a:lvl4pPr>
            <a:lvl5pPr marL="1771616" indent="-400050">
              <a:buFont typeface="+mj-lt"/>
              <a:buAutoNum type="romanUcPeriod"/>
              <a:defRPr sz="1600" b="1"/>
            </a:lvl5pPr>
          </a:lstStyle>
          <a:p>
            <a:pPr lvl="0"/>
            <a:r>
              <a:rPr lang="en-GB"/>
              <a:t>Section I	xx</a:t>
            </a:r>
          </a:p>
          <a:p>
            <a:pPr lvl="1"/>
            <a:r>
              <a:rPr lang="en-GB"/>
              <a:t>Sub-section 1	xx</a:t>
            </a:r>
          </a:p>
          <a:p>
            <a:pPr lvl="1"/>
            <a:r>
              <a:rPr lang="en-GB"/>
              <a:t>Sub-section 2	xx</a:t>
            </a:r>
          </a:p>
          <a:p>
            <a:pPr lvl="0"/>
            <a:r>
              <a:rPr lang="en-GB"/>
              <a:t>Sub-section 2	xx</a:t>
            </a:r>
          </a:p>
          <a:p>
            <a:pPr lvl="1"/>
            <a:r>
              <a:rPr lang="en-GB"/>
              <a:t>Sub-section 1	xx</a:t>
            </a:r>
          </a:p>
          <a:p>
            <a:pPr lvl="1"/>
            <a:r>
              <a:rPr lang="en-GB"/>
              <a:t>Sub-section 2	xx</a:t>
            </a:r>
          </a:p>
          <a:p>
            <a:pPr lvl="0"/>
            <a:r>
              <a:rPr lang="en-GB"/>
              <a:t>Sub-section 2	xx</a:t>
            </a:r>
          </a:p>
          <a:p>
            <a:pPr lvl="1"/>
            <a:r>
              <a:rPr lang="en-GB"/>
              <a:t>Sub-section 1	xx</a:t>
            </a:r>
          </a:p>
          <a:p>
            <a:pPr lvl="1"/>
            <a:r>
              <a:rPr lang="en-GB"/>
              <a:t>Sub-section 2	xx</a:t>
            </a:r>
          </a:p>
          <a:p>
            <a:pPr lvl="0"/>
            <a:r>
              <a:rPr lang="en-GB"/>
              <a:t>Sub-section 2	xx</a:t>
            </a:r>
          </a:p>
          <a:p>
            <a:pPr lvl="1"/>
            <a:r>
              <a:rPr lang="en-GB"/>
              <a:t>Sub-section 1	xx</a:t>
            </a:r>
          </a:p>
          <a:p>
            <a:pPr lvl="1"/>
            <a:r>
              <a:rPr lang="en-GB"/>
              <a:t>Sub-section 2	xx</a:t>
            </a:r>
          </a:p>
        </p:txBody>
      </p:sp>
      <p:sp>
        <p:nvSpPr>
          <p:cNvPr id="8" name="38f1b144-a7dc-4fbe-8223-e0ddcb76a106">
            <a:extLst>
              <a:ext uri="{FF2B5EF4-FFF2-40B4-BE49-F238E27FC236}">
                <a16:creationId xmlns:a16="http://schemas.microsoft.com/office/drawing/2014/main" id="{CECB2688-9A12-4EEC-A783-25B02F3230D6}"/>
              </a:ext>
            </a:extLst>
          </p:cNvPr>
          <p:cNvSpPr txBox="1">
            <a:spLocks/>
          </p:cNvSpPr>
          <p:nvPr/>
        </p:nvSpPr>
        <p:spPr>
          <a:xfrm>
            <a:off x="381000" y="411856"/>
            <a:ext cx="8600471" cy="304699"/>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genda</a:t>
            </a:r>
          </a:p>
        </p:txBody>
      </p:sp>
    </p:spTree>
    <p:extLst>
      <p:ext uri="{BB962C8B-B14F-4D97-AF65-F5344CB8AC3E}">
        <p14:creationId xmlns:p14="http://schemas.microsoft.com/office/powerpoint/2010/main" val="226221149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genda_Repor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06097934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1" name="Text Placeholder 3">
            <a:extLst>
              <a:ext uri="{FF2B5EF4-FFF2-40B4-BE49-F238E27FC236}">
                <a16:creationId xmlns:a16="http://schemas.microsoft.com/office/drawing/2014/main" id="{91C5274C-F47E-4592-A554-EF60A986DFB9}"/>
              </a:ext>
            </a:extLst>
          </p:cNvPr>
          <p:cNvSpPr>
            <a:spLocks noGrp="1"/>
          </p:cNvSpPr>
          <p:nvPr>
            <p:ph type="body" sz="quarter" idx="29"/>
          </p:nvPr>
        </p:nvSpPr>
        <p:spPr>
          <a:xfrm>
            <a:off x="0" y="1272245"/>
            <a:ext cx="6095996" cy="252000"/>
          </a:xfrm>
          <a:solidFill>
            <a:schemeClr val="accent2"/>
          </a:solidFill>
        </p:spPr>
        <p:txBody>
          <a:bodyPr anchor="ctr" anchorCtr="0">
            <a:noAutofit/>
          </a:bodyPr>
          <a:lstStyle>
            <a:lvl1pPr>
              <a:defRPr>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US"/>
              <a:t>Click to edit Master text styles</a:t>
            </a:r>
          </a:p>
        </p:txBody>
      </p:sp>
      <p:sp>
        <p:nvSpPr>
          <p:cNvPr id="23" name="Confidential">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62c64e16-bc6f-401c-8aa6-7389769131f3">
            <a:extLst>
              <a:ext uri="{FF2B5EF4-FFF2-40B4-BE49-F238E27FC236}">
                <a16:creationId xmlns:a16="http://schemas.microsoft.com/office/drawing/2014/main" id="{24CDEDBE-51B8-4919-89D3-38AB9D7D93CE}"/>
              </a:ext>
            </a:extLst>
          </p:cNvPr>
          <p:cNvCxnSpPr>
            <a:cxnSpLocks/>
          </p:cNvCxnSpPr>
          <p:nvPr/>
        </p:nvCxnSpPr>
        <p:spPr>
          <a:xfrm>
            <a:off x="6096000" y="1281770"/>
            <a:ext cx="0" cy="489305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9F1D0497-9D43-47C1-B0A9-27757300FDD8}"/>
              </a:ext>
            </a:extLst>
          </p:cNvPr>
          <p:cNvSpPr>
            <a:spLocks noGrp="1"/>
          </p:cNvSpPr>
          <p:nvPr>
            <p:ph type="body" sz="quarter" idx="28" hasCustomPrompt="1"/>
          </p:nvPr>
        </p:nvSpPr>
        <p:spPr>
          <a:xfrm>
            <a:off x="381000" y="1306835"/>
            <a:ext cx="11428413" cy="3813596"/>
          </a:xfrm>
          <a:prstGeom prst="rect">
            <a:avLst/>
          </a:prstGeom>
        </p:spPr>
        <p:txBody>
          <a:bodyPr numCol="2" spcCol="216000">
            <a:noAutofit/>
          </a:bodyPr>
          <a:lstStyle>
            <a:lvl1pPr marL="361950" indent="-361950">
              <a:spcBef>
                <a:spcPts val="1800"/>
              </a:spcBef>
              <a:buClr>
                <a:schemeClr val="tx1"/>
              </a:buClr>
              <a:buFont typeface="+mj-lt"/>
              <a:buAutoNum type="romanUcPeriod"/>
              <a:tabLst>
                <a:tab pos="5599113" algn="r"/>
              </a:tabLst>
              <a:defRPr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628650" indent="-266700">
              <a:buFont typeface="+mj-lt"/>
              <a:buAutoNum type="arabicPeriod"/>
              <a:tabLst>
                <a:tab pos="5599113" algn="r"/>
              </a:tabLst>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896938" indent="-266700">
              <a:buFont typeface="+mj-lt"/>
              <a:buAutoNum type="romanLcPeriod"/>
              <a:tabLst>
                <a:tab pos="5598000" algn="r"/>
              </a:tabLst>
              <a:defRPr/>
            </a:lvl3pPr>
          </a:lstStyle>
          <a:p>
            <a:r>
              <a:rPr lang="en-GB"/>
              <a:t>Section I	xx</a:t>
            </a:r>
          </a:p>
          <a:p>
            <a:pPr lvl="1"/>
            <a:r>
              <a:rPr lang="en-GB"/>
              <a:t>Sub-section 1	xx</a:t>
            </a:r>
          </a:p>
          <a:p>
            <a:pPr lvl="1"/>
            <a:r>
              <a:rPr lang="en-GB"/>
              <a:t>Sub-section 2	xx</a:t>
            </a:r>
          </a:p>
          <a:p>
            <a:pPr lvl="1"/>
            <a:r>
              <a:rPr lang="en-GB"/>
              <a:t>Sub-section 3	xx</a:t>
            </a:r>
          </a:p>
          <a:p>
            <a:r>
              <a:rPr lang="en-GB"/>
              <a:t>Section II	xx</a:t>
            </a:r>
          </a:p>
          <a:p>
            <a:pPr lvl="1"/>
            <a:r>
              <a:rPr lang="en-GB"/>
              <a:t>Sub-section 1	xx</a:t>
            </a:r>
          </a:p>
          <a:p>
            <a:pPr lvl="1"/>
            <a:r>
              <a:rPr lang="en-GB"/>
              <a:t>Sub-section 2	xx</a:t>
            </a:r>
          </a:p>
          <a:p>
            <a:pPr lvl="1"/>
            <a:r>
              <a:rPr lang="en-GB"/>
              <a:t>Sub-section 3	xx</a:t>
            </a:r>
          </a:p>
          <a:p>
            <a:r>
              <a:rPr lang="en-GB"/>
              <a:t>Section II	xx</a:t>
            </a:r>
          </a:p>
          <a:p>
            <a:pPr lvl="1"/>
            <a:r>
              <a:rPr lang="en-GB"/>
              <a:t>Sub-section 1	xx</a:t>
            </a:r>
          </a:p>
          <a:p>
            <a:pPr lvl="1"/>
            <a:r>
              <a:rPr lang="en-GB"/>
              <a:t>Sub-section 2	xx</a:t>
            </a:r>
          </a:p>
          <a:p>
            <a:pPr lvl="1"/>
            <a:r>
              <a:rPr lang="en-GB"/>
              <a:t>Sub-section 3	xx</a:t>
            </a:r>
          </a:p>
          <a:p>
            <a:endParaRPr lang="en-GB"/>
          </a:p>
          <a:p>
            <a:r>
              <a:rPr lang="en-GB"/>
              <a:t>Section III	xx</a:t>
            </a:r>
          </a:p>
          <a:p>
            <a:pPr lvl="1"/>
            <a:r>
              <a:rPr lang="en-GB"/>
              <a:t>Sub-section 1	xx</a:t>
            </a:r>
          </a:p>
          <a:p>
            <a:pPr lvl="1"/>
            <a:r>
              <a:rPr lang="en-GB"/>
              <a:t>Sub-section 2	xx</a:t>
            </a:r>
          </a:p>
          <a:p>
            <a:pPr lvl="1"/>
            <a:r>
              <a:rPr lang="en-GB"/>
              <a:t>Sub-section 3	xx</a:t>
            </a:r>
          </a:p>
          <a:p>
            <a:r>
              <a:rPr lang="en-GB"/>
              <a:t>Section IV	xx</a:t>
            </a:r>
          </a:p>
          <a:p>
            <a:pPr lvl="1"/>
            <a:r>
              <a:rPr lang="en-GB"/>
              <a:t>Sub-section 1	xx</a:t>
            </a:r>
          </a:p>
          <a:p>
            <a:pPr lvl="1"/>
            <a:r>
              <a:rPr lang="en-GB"/>
              <a:t>Sub-section 2	xx</a:t>
            </a:r>
          </a:p>
          <a:p>
            <a:pPr lvl="1"/>
            <a:r>
              <a:rPr lang="en-GB"/>
              <a:t>Sub-section 3	xx</a:t>
            </a:r>
          </a:p>
          <a:p>
            <a:r>
              <a:rPr lang="en-GB"/>
              <a:t>Section V	xx</a:t>
            </a:r>
          </a:p>
          <a:p>
            <a:pPr lvl="1"/>
            <a:r>
              <a:rPr lang="en-GB"/>
              <a:t>Sub-section 1	xx</a:t>
            </a:r>
          </a:p>
          <a:p>
            <a:pPr lvl="1"/>
            <a:r>
              <a:rPr lang="en-GB"/>
              <a:t>Sub-section 2	xx</a:t>
            </a:r>
          </a:p>
          <a:p>
            <a:pPr lvl="1"/>
            <a:r>
              <a:rPr lang="en-GB"/>
              <a:t>Sub-section 3	xx</a:t>
            </a:r>
          </a:p>
        </p:txBody>
      </p:sp>
      <p:sp>
        <p:nvSpPr>
          <p:cNvPr id="9" name="38f1b144-a7dc-4fbe-8223-e0ddcb76a106">
            <a:extLst>
              <a:ext uri="{FF2B5EF4-FFF2-40B4-BE49-F238E27FC236}">
                <a16:creationId xmlns:a16="http://schemas.microsoft.com/office/drawing/2014/main" id="{2019F545-B144-4AAC-AF7F-6469E7AAFFCD}"/>
              </a:ext>
            </a:extLst>
          </p:cNvPr>
          <p:cNvSpPr txBox="1">
            <a:spLocks/>
          </p:cNvSpPr>
          <p:nvPr/>
        </p:nvSpPr>
        <p:spPr>
          <a:xfrm>
            <a:off x="381000" y="411856"/>
            <a:ext cx="8600471" cy="304699"/>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genda</a:t>
            </a:r>
          </a:p>
        </p:txBody>
      </p:sp>
    </p:spTree>
    <p:extLst>
      <p:ext uri="{BB962C8B-B14F-4D97-AF65-F5344CB8AC3E}">
        <p14:creationId xmlns:p14="http://schemas.microsoft.com/office/powerpoint/2010/main" val="17016503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 Column_Text onl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76654918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1270033"/>
            <a:ext cx="114288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551AAFC0-23D8-44F1-A784-6888E5BC8BBF}"/>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 Placeholder 2">
            <a:extLst>
              <a:ext uri="{FF2B5EF4-FFF2-40B4-BE49-F238E27FC236}">
                <a16:creationId xmlns:a16="http://schemas.microsoft.com/office/drawing/2014/main" id="{B6BEC55A-E3A2-4B0E-8692-C3CB67F7154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A1B13C52-4931-4546-AD7E-D99897E43A53}"/>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3" name="Text Placeholder 5">
            <a:extLst>
              <a:ext uri="{FF2B5EF4-FFF2-40B4-BE49-F238E27FC236}">
                <a16:creationId xmlns:a16="http://schemas.microsoft.com/office/drawing/2014/main" id="{8249FAAD-0B39-45B2-A52D-09E60D0FB5AF}"/>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2" name="Supertitle">
            <a:extLst>
              <a:ext uri="{FF2B5EF4-FFF2-40B4-BE49-F238E27FC236}">
                <a16:creationId xmlns:a16="http://schemas.microsoft.com/office/drawing/2014/main" id="{11E3AFDC-8A2A-4B3C-BA3F-6981C6D23632}"/>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330307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808991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18" name="Bottom line">
            <a:extLst>
              <a:ext uri="{FF2B5EF4-FFF2-40B4-BE49-F238E27FC236}">
                <a16:creationId xmlns:a16="http://schemas.microsoft.com/office/drawing/2014/main" id="{91E13582-C984-4CD2-8775-E415FC532B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3" name="Confidential">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4EADFF66-BEC8-40DA-BA4E-95EB941E1C2C}"/>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966C5BD2-F0DE-4102-97E0-F3335128DCAD}"/>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ED31669E-9C1D-46E1-8605-888D1A1D383E}"/>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0" name="Supertitle">
            <a:extLst>
              <a:ext uri="{FF2B5EF4-FFF2-40B4-BE49-F238E27FC236}">
                <a16:creationId xmlns:a16="http://schemas.microsoft.com/office/drawing/2014/main" id="{5C0A816F-1947-4BDC-A02C-3BD69CF16153}"/>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66353522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 Column_Text onl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76654918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1270033"/>
            <a:ext cx="114288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551AAFC0-23D8-44F1-A784-6888E5BC8BBF}"/>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 Placeholder 2">
            <a:extLst>
              <a:ext uri="{FF2B5EF4-FFF2-40B4-BE49-F238E27FC236}">
                <a16:creationId xmlns:a16="http://schemas.microsoft.com/office/drawing/2014/main" id="{B6BEC55A-E3A2-4B0E-8692-C3CB67F7154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A1B13C52-4931-4546-AD7E-D99897E43A53}"/>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3" name="Text Placeholder 5">
            <a:extLst>
              <a:ext uri="{FF2B5EF4-FFF2-40B4-BE49-F238E27FC236}">
                <a16:creationId xmlns:a16="http://schemas.microsoft.com/office/drawing/2014/main" id="{8249FAAD-0B39-45B2-A52D-09E60D0FB5AF}"/>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2" name="Supertitle">
            <a:extLst>
              <a:ext uri="{FF2B5EF4-FFF2-40B4-BE49-F238E27FC236}">
                <a16:creationId xmlns:a16="http://schemas.microsoft.com/office/drawing/2014/main" id="{11E3AFDC-8A2A-4B3C-BA3F-6981C6D23632}"/>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70601439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426516233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1710172"/>
            <a:ext cx="114288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599" y="1263129"/>
            <a:ext cx="114288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551AAFC0-23D8-44F1-A784-6888E5BC8BBF}"/>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609753E2-8329-46F7-804D-D1DD09BED2F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8" name="Text Placeholder 2">
            <a:extLst>
              <a:ext uri="{FF2B5EF4-FFF2-40B4-BE49-F238E27FC236}">
                <a16:creationId xmlns:a16="http://schemas.microsoft.com/office/drawing/2014/main" id="{B6BEC55A-E3A2-4B0E-8692-C3CB67F7154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A1B13C52-4931-4546-AD7E-D99897E43A53}"/>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Text Placeholder 5">
            <a:extLst>
              <a:ext uri="{FF2B5EF4-FFF2-40B4-BE49-F238E27FC236}">
                <a16:creationId xmlns:a16="http://schemas.microsoft.com/office/drawing/2014/main" id="{866FB387-E820-4B00-9284-503FDF8E7CB6}"/>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3" name="Supertitle">
            <a:extLst>
              <a:ext uri="{FF2B5EF4-FFF2-40B4-BE49-F238E27FC236}">
                <a16:creationId xmlns:a16="http://schemas.microsoft.com/office/drawing/2014/main" id="{6E091A24-038E-467B-9EA3-036FD3A20C08}"/>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1371349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92668136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1710172"/>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6433799" y="1710172"/>
            <a:ext cx="5376000" cy="854080"/>
          </a:xfrm>
        </p:spPr>
        <p:txBody>
          <a:bodyPr>
            <a:spAutoFit/>
          </a:bodyPr>
          <a:lstStyle>
            <a:lvl1pPr>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88303"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 </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6433799" y="126312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A3879DDF-1FC7-44C7-A138-E840EF13C695}"/>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588846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 Columns &amp; resul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45883317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5302245"/>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6433799" y="5302245"/>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6433799" y="126312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EE93A44D-E748-4D8D-A17F-5384A0EE4B00}"/>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44922828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425188743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1710172"/>
            <a:ext cx="3517128"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1710172"/>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3517128" cy="369332"/>
          </a:xfrm>
        </p:spPr>
        <p:txBody>
          <a:bodyPr wrap="square">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263129"/>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1710172"/>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263129"/>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Supertitle">
            <a:extLst>
              <a:ext uri="{FF2B5EF4-FFF2-40B4-BE49-F238E27FC236}">
                <a16:creationId xmlns:a16="http://schemas.microsoft.com/office/drawing/2014/main" id="{9EEBA4A1-1C33-45CD-8C84-6132F5FA68D9}"/>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30833857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 Columns &amp; resul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85576263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5311770"/>
            <a:ext cx="3517128"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5311770"/>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3517128" cy="369332"/>
          </a:xfrm>
        </p:spPr>
        <p:txBody>
          <a:bodyPr wrap="square">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263129"/>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5311770"/>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263129"/>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Supertitle">
            <a:extLst>
              <a:ext uri="{FF2B5EF4-FFF2-40B4-BE49-F238E27FC236}">
                <a16:creationId xmlns:a16="http://schemas.microsoft.com/office/drawing/2014/main" id="{DC597492-B8FB-4245-88C4-120E467CFE58}"/>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48480996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x2 Columns ">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42465603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381000" y="1710172"/>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6433799" y="1710172"/>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381000" y="4411862"/>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6433799" y="4411862"/>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8" name="Header 1">
            <a:extLst>
              <a:ext uri="{FF2B5EF4-FFF2-40B4-BE49-F238E27FC236}">
                <a16:creationId xmlns:a16="http://schemas.microsoft.com/office/drawing/2014/main" id="{B3A70672-DEF1-4781-8187-BBE12AC5BDA8}"/>
              </a:ext>
            </a:extLst>
          </p:cNvPr>
          <p:cNvSpPr>
            <a:spLocks noGrp="1"/>
          </p:cNvSpPr>
          <p:nvPr>
            <p:ph type="body" sz="quarter" idx="29" hasCustomPrompt="1"/>
          </p:nvPr>
        </p:nvSpPr>
        <p:spPr>
          <a:xfrm>
            <a:off x="381000" y="126312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9" name="Header 2">
            <a:extLst>
              <a:ext uri="{FF2B5EF4-FFF2-40B4-BE49-F238E27FC236}">
                <a16:creationId xmlns:a16="http://schemas.microsoft.com/office/drawing/2014/main" id="{A4563EEA-EE02-448A-9297-03EDBEB06ECF}"/>
              </a:ext>
            </a:extLst>
          </p:cNvPr>
          <p:cNvSpPr>
            <a:spLocks noGrp="1"/>
          </p:cNvSpPr>
          <p:nvPr>
            <p:ph type="body" sz="quarter" idx="30" hasCustomPrompt="1"/>
          </p:nvPr>
        </p:nvSpPr>
        <p:spPr>
          <a:xfrm>
            <a:off x="6433799" y="126312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0" name="Header 3">
            <a:extLst>
              <a:ext uri="{FF2B5EF4-FFF2-40B4-BE49-F238E27FC236}">
                <a16:creationId xmlns:a16="http://schemas.microsoft.com/office/drawing/2014/main" id="{DBCFF04C-DDD2-4735-9A77-9C0D16B52B63}"/>
              </a:ext>
            </a:extLst>
          </p:cNvPr>
          <p:cNvSpPr>
            <a:spLocks noGrp="1"/>
          </p:cNvSpPr>
          <p:nvPr>
            <p:ph type="body" sz="quarter" idx="40" hasCustomPrompt="1"/>
          </p:nvPr>
        </p:nvSpPr>
        <p:spPr>
          <a:xfrm>
            <a:off x="381000" y="396175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1" name="Header 4">
            <a:extLst>
              <a:ext uri="{FF2B5EF4-FFF2-40B4-BE49-F238E27FC236}">
                <a16:creationId xmlns:a16="http://schemas.microsoft.com/office/drawing/2014/main" id="{79FB59F5-1A7D-4B39-B4D2-835B2134FB50}"/>
              </a:ext>
            </a:extLst>
          </p:cNvPr>
          <p:cNvSpPr>
            <a:spLocks noGrp="1"/>
          </p:cNvSpPr>
          <p:nvPr>
            <p:ph type="body" sz="quarter" idx="41" hasCustomPrompt="1"/>
          </p:nvPr>
        </p:nvSpPr>
        <p:spPr>
          <a:xfrm>
            <a:off x="6433799" y="396175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Text Placeholder 5">
            <a:extLst>
              <a:ext uri="{FF2B5EF4-FFF2-40B4-BE49-F238E27FC236}">
                <a16:creationId xmlns:a16="http://schemas.microsoft.com/office/drawing/2014/main" id="{C90526E6-79C0-41FB-941B-65EF72C734ED}"/>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7" name="Supertitle">
            <a:extLst>
              <a:ext uri="{FF2B5EF4-FFF2-40B4-BE49-F238E27FC236}">
                <a16:creationId xmlns:a16="http://schemas.microsoft.com/office/drawing/2014/main" id="{59F222D9-1944-4EC5-82BF-3282F1AF5531}"/>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61274341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 Row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3788735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1710172"/>
            <a:ext cx="11428799"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599" y="1263129"/>
            <a:ext cx="11428799" cy="369332"/>
          </a:xfrm>
        </p:spPr>
        <p:txBody>
          <a:bodyPr vert="horz" lIns="0" tIns="0" rIns="0" bIns="0" rtlCol="0">
            <a:spAutoFit/>
          </a:bodyPr>
          <a:lstStyle>
            <a:lvl1pPr>
              <a:spcBef>
                <a:spcPts val="0"/>
              </a:spcBef>
              <a:defRPr lang="en-GB" sz="1200" b="1" dirty="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 2">
            <a:extLst>
              <a:ext uri="{FF2B5EF4-FFF2-40B4-BE49-F238E27FC236}">
                <a16:creationId xmlns:a16="http://schemas.microsoft.com/office/drawing/2014/main" id="{C1D21A04-198F-4CDC-8469-16165405FDC5}"/>
              </a:ext>
            </a:extLst>
          </p:cNvPr>
          <p:cNvSpPr>
            <a:spLocks noGrp="1"/>
          </p:cNvSpPr>
          <p:nvPr>
            <p:ph type="body" sz="quarter" idx="31"/>
          </p:nvPr>
        </p:nvSpPr>
        <p:spPr>
          <a:xfrm>
            <a:off x="381599" y="4408803"/>
            <a:ext cx="11428799"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Header 2">
            <a:extLst>
              <a:ext uri="{FF2B5EF4-FFF2-40B4-BE49-F238E27FC236}">
                <a16:creationId xmlns:a16="http://schemas.microsoft.com/office/drawing/2014/main" id="{2802A5D6-C82B-4708-901E-1A6481C0F245}"/>
              </a:ext>
            </a:extLst>
          </p:cNvPr>
          <p:cNvSpPr>
            <a:spLocks noGrp="1"/>
          </p:cNvSpPr>
          <p:nvPr>
            <p:ph type="body" sz="quarter" idx="36" hasCustomPrompt="1"/>
          </p:nvPr>
        </p:nvSpPr>
        <p:spPr>
          <a:xfrm>
            <a:off x="381599" y="3961759"/>
            <a:ext cx="11428799"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25" name="Bottom line">
            <a:extLst>
              <a:ext uri="{FF2B5EF4-FFF2-40B4-BE49-F238E27FC236}">
                <a16:creationId xmlns:a16="http://schemas.microsoft.com/office/drawing/2014/main" id="{A72FF3B7-BC75-4064-BD6B-EB44619D9346}"/>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Confidential">
            <a:extLst>
              <a:ext uri="{FF2B5EF4-FFF2-40B4-BE49-F238E27FC236}">
                <a16:creationId xmlns:a16="http://schemas.microsoft.com/office/drawing/2014/main" id="{29BED52F-2D38-4AFD-937A-7F5F4180A7BD}"/>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1" name="Text Placeholder 2">
            <a:extLst>
              <a:ext uri="{FF2B5EF4-FFF2-40B4-BE49-F238E27FC236}">
                <a16:creationId xmlns:a16="http://schemas.microsoft.com/office/drawing/2014/main" id="{07B36058-653D-447D-8669-EC979FD9C70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B23A8BAD-E2A3-4E1C-AB3E-B7DD1A21187A}"/>
              </a:ext>
            </a:extLst>
          </p:cNvPr>
          <p:cNvSpPr>
            <a:spLocks noGrp="1"/>
          </p:cNvSpPr>
          <p:nvPr>
            <p:ph type="title"/>
          </p:nvPr>
        </p:nvSpPr>
        <p:spPr>
          <a:xfrm>
            <a:off x="381599" y="411856"/>
            <a:ext cx="8600471" cy="609398"/>
          </a:xfrm>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5" name="Text Placeholder 5">
            <a:extLst>
              <a:ext uri="{FF2B5EF4-FFF2-40B4-BE49-F238E27FC236}">
                <a16:creationId xmlns:a16="http://schemas.microsoft.com/office/drawing/2014/main" id="{985C6688-BDF1-491A-9553-45D65D0BD91B}"/>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6" name="Supertitle">
            <a:extLst>
              <a:ext uri="{FF2B5EF4-FFF2-40B4-BE49-F238E27FC236}">
                <a16:creationId xmlns:a16="http://schemas.microsoft.com/office/drawing/2014/main" id="{C3A59FB0-5222-4FB6-94EF-BE589A10664B}"/>
              </a:ext>
            </a:extLst>
          </p:cNvPr>
          <p:cNvSpPr>
            <a:spLocks noGrp="1"/>
          </p:cNvSpPr>
          <p:nvPr>
            <p:ph type="body" sz="quarter" idx="37"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66541557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Rows &amp; tex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75462497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7899396" y="1263129"/>
            <a:ext cx="3910399"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5410200" cy="369332"/>
          </a:xfrm>
        </p:spPr>
        <p:txBody>
          <a:bodyPr vert="horz" wrap="square" lIns="0" tIns="0" rIns="0" bIns="0" rtlCol="0">
            <a:spAutoFit/>
          </a:bodyPr>
          <a:lstStyle>
            <a:lvl1pPr>
              <a:spcBef>
                <a:spcPts val="0"/>
              </a:spcBef>
              <a:defRPr lang="en-GB" sz="1200" b="1" dirty="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 2">
            <a:extLst>
              <a:ext uri="{FF2B5EF4-FFF2-40B4-BE49-F238E27FC236}">
                <a16:creationId xmlns:a16="http://schemas.microsoft.com/office/drawing/2014/main" id="{C1D21A04-198F-4CDC-8469-16165405FDC5}"/>
              </a:ext>
            </a:extLst>
          </p:cNvPr>
          <p:cNvSpPr>
            <a:spLocks noGrp="1"/>
          </p:cNvSpPr>
          <p:nvPr>
            <p:ph type="body" sz="quarter" idx="31"/>
          </p:nvPr>
        </p:nvSpPr>
        <p:spPr>
          <a:xfrm>
            <a:off x="7899400" y="2974637"/>
            <a:ext cx="3910399"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Header 2">
            <a:extLst>
              <a:ext uri="{FF2B5EF4-FFF2-40B4-BE49-F238E27FC236}">
                <a16:creationId xmlns:a16="http://schemas.microsoft.com/office/drawing/2014/main" id="{2802A5D6-C82B-4708-901E-1A6481C0F245}"/>
              </a:ext>
            </a:extLst>
          </p:cNvPr>
          <p:cNvSpPr>
            <a:spLocks noGrp="1"/>
          </p:cNvSpPr>
          <p:nvPr>
            <p:ph type="body" sz="quarter" idx="36" hasCustomPrompt="1"/>
          </p:nvPr>
        </p:nvSpPr>
        <p:spPr>
          <a:xfrm>
            <a:off x="381001" y="2974637"/>
            <a:ext cx="5410200" cy="369332"/>
          </a:xfrm>
        </p:spPr>
        <p:txBody>
          <a:bodyPr wrap="square">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25" name="Bottom line">
            <a:extLst>
              <a:ext uri="{FF2B5EF4-FFF2-40B4-BE49-F238E27FC236}">
                <a16:creationId xmlns:a16="http://schemas.microsoft.com/office/drawing/2014/main" id="{A72FF3B7-BC75-4064-BD6B-EB44619D9346}"/>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Confidential">
            <a:extLst>
              <a:ext uri="{FF2B5EF4-FFF2-40B4-BE49-F238E27FC236}">
                <a16:creationId xmlns:a16="http://schemas.microsoft.com/office/drawing/2014/main" id="{29BED52F-2D38-4AFD-937A-7F5F4180A7BD}"/>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1" name="Text Placeholder 2">
            <a:extLst>
              <a:ext uri="{FF2B5EF4-FFF2-40B4-BE49-F238E27FC236}">
                <a16:creationId xmlns:a16="http://schemas.microsoft.com/office/drawing/2014/main" id="{07B36058-653D-447D-8669-EC979FD9C70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B23A8BAD-E2A3-4E1C-AB3E-B7DD1A21187A}"/>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Text 2">
            <a:extLst>
              <a:ext uri="{FF2B5EF4-FFF2-40B4-BE49-F238E27FC236}">
                <a16:creationId xmlns:a16="http://schemas.microsoft.com/office/drawing/2014/main" id="{4687F94A-322A-4EB6-8A12-48525F91E4D6}"/>
              </a:ext>
            </a:extLst>
          </p:cNvPr>
          <p:cNvSpPr>
            <a:spLocks noGrp="1"/>
          </p:cNvSpPr>
          <p:nvPr>
            <p:ph type="body" sz="quarter" idx="37"/>
          </p:nvPr>
        </p:nvSpPr>
        <p:spPr>
          <a:xfrm>
            <a:off x="7899400" y="4690707"/>
            <a:ext cx="3910399"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Header 2">
            <a:extLst>
              <a:ext uri="{FF2B5EF4-FFF2-40B4-BE49-F238E27FC236}">
                <a16:creationId xmlns:a16="http://schemas.microsoft.com/office/drawing/2014/main" id="{F3848A98-EF77-446F-8A2A-A34B897D5A2F}"/>
              </a:ext>
            </a:extLst>
          </p:cNvPr>
          <p:cNvSpPr>
            <a:spLocks noGrp="1"/>
          </p:cNvSpPr>
          <p:nvPr>
            <p:ph type="body" sz="quarter" idx="38" hasCustomPrompt="1"/>
          </p:nvPr>
        </p:nvSpPr>
        <p:spPr>
          <a:xfrm>
            <a:off x="381001" y="4690707"/>
            <a:ext cx="5410200" cy="369332"/>
          </a:xfrm>
        </p:spPr>
        <p:txBody>
          <a:bodyPr wrap="square">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8" name="Text Placeholder 5">
            <a:extLst>
              <a:ext uri="{FF2B5EF4-FFF2-40B4-BE49-F238E27FC236}">
                <a16:creationId xmlns:a16="http://schemas.microsoft.com/office/drawing/2014/main" id="{C77996AB-B18E-46E4-996A-2DB51A023F19}"/>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2" name="Supertitle">
            <a:extLst>
              <a:ext uri="{FF2B5EF4-FFF2-40B4-BE49-F238E27FC236}">
                <a16:creationId xmlns:a16="http://schemas.microsoft.com/office/drawing/2014/main" id="{1D38A38A-3AF0-47D4-A7EB-872A8891B8C3}"/>
              </a:ext>
            </a:extLst>
          </p:cNvPr>
          <p:cNvSpPr>
            <a:spLocks noGrp="1"/>
          </p:cNvSpPr>
          <p:nvPr>
            <p:ph type="body" sz="quarter" idx="39"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1743788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426516233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1710172"/>
            <a:ext cx="114288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599" y="1263129"/>
            <a:ext cx="114288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551AAFC0-23D8-44F1-A784-6888E5BC8BBF}"/>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 Placeholder 2">
            <a:extLst>
              <a:ext uri="{FF2B5EF4-FFF2-40B4-BE49-F238E27FC236}">
                <a16:creationId xmlns:a16="http://schemas.microsoft.com/office/drawing/2014/main" id="{B6BEC55A-E3A2-4B0E-8692-C3CB67F7154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A1B13C52-4931-4546-AD7E-D99897E43A53}"/>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Text Placeholder 5">
            <a:extLst>
              <a:ext uri="{FF2B5EF4-FFF2-40B4-BE49-F238E27FC236}">
                <a16:creationId xmlns:a16="http://schemas.microsoft.com/office/drawing/2014/main" id="{866FB387-E820-4B00-9284-503FDF8E7CB6}"/>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3" name="Supertitle">
            <a:extLst>
              <a:ext uri="{FF2B5EF4-FFF2-40B4-BE49-F238E27FC236}">
                <a16:creationId xmlns:a16="http://schemas.microsoft.com/office/drawing/2014/main" id="{6E091A24-038E-467B-9EA3-036FD3A20C08}"/>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62076781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Executive Summar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82825569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4" name="acb0b369-aa8c-4b31-ab38-74d78cf51d99">
            <a:extLst>
              <a:ext uri="{FF2B5EF4-FFF2-40B4-BE49-F238E27FC236}">
                <a16:creationId xmlns:a16="http://schemas.microsoft.com/office/drawing/2014/main" id="{D192A937-36F1-43E9-9FBA-8508F900F212}"/>
              </a:ext>
            </a:extLst>
          </p:cNvPr>
          <p:cNvSpPr/>
          <p:nvPr/>
        </p:nvSpPr>
        <p:spPr>
          <a:xfrm>
            <a:off x="-8393" y="-1"/>
            <a:ext cx="3588245" cy="6858001"/>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19" name="3fb81c30-15ed-4c93-9863-f6b57534edf8">
            <a:extLst>
              <a:ext uri="{FF2B5EF4-FFF2-40B4-BE49-F238E27FC236}">
                <a16:creationId xmlns:a16="http://schemas.microsoft.com/office/drawing/2014/main" id="{D6606AFB-B38F-4576-B399-255BFCDC9EEB}"/>
              </a:ext>
            </a:extLst>
          </p:cNvPr>
          <p:cNvCxnSpPr>
            <a:cxnSpLocks/>
          </p:cNvCxnSpPr>
          <p:nvPr/>
        </p:nvCxnSpPr>
        <p:spPr>
          <a:xfrm>
            <a:off x="380996" y="2643567"/>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87bda0fb-aa74-4c09-ab9d-334ef6f592c0">
            <a:extLst>
              <a:ext uri="{FF2B5EF4-FFF2-40B4-BE49-F238E27FC236}">
                <a16:creationId xmlns:a16="http://schemas.microsoft.com/office/drawing/2014/main" id="{F9F30819-AB3F-4A43-BB50-F7A130CBA66C}"/>
              </a:ext>
            </a:extLst>
          </p:cNvPr>
          <p:cNvSpPr txBox="1">
            <a:spLocks/>
          </p:cNvSpPr>
          <p:nvPr/>
        </p:nvSpPr>
        <p:spPr>
          <a:xfrm>
            <a:off x="380996" y="1133611"/>
            <a:ext cx="3164179" cy="1384995"/>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a:lnSpc>
                <a:spcPct val="100000"/>
              </a:lnSpc>
              <a:spcBef>
                <a:spcPts val="0"/>
              </a:spcBef>
            </a:pPr>
            <a:r>
              <a:rPr lang="en-GB" sz="4400" b="0" spc="60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ecutive Summary</a:t>
            </a:r>
          </a:p>
        </p:txBody>
      </p:sp>
      <p:cxnSp>
        <p:nvCxnSpPr>
          <p:cNvPr id="18" name="ffea8505-d447-4023-bd83-89b3727ac8bb">
            <a:extLst>
              <a:ext uri="{FF2B5EF4-FFF2-40B4-BE49-F238E27FC236}">
                <a16:creationId xmlns:a16="http://schemas.microsoft.com/office/drawing/2014/main" id="{91E13582-C984-4CD2-8775-E415FC532B0D}"/>
              </a:ext>
            </a:extLst>
          </p:cNvPr>
          <p:cNvCxnSpPr>
            <a:cxnSpLocks/>
          </p:cNvCxnSpPr>
          <p:nvPr/>
        </p:nvCxnSpPr>
        <p:spPr>
          <a:xfrm>
            <a:off x="3814481" y="6445604"/>
            <a:ext cx="800922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671B2B38-6A7E-4142-8E20-1DFA910CF767}"/>
              </a:ext>
            </a:extLst>
          </p:cNvPr>
          <p:cNvSpPr>
            <a:spLocks noGrp="1"/>
          </p:cNvSpPr>
          <p:nvPr>
            <p:ph type="body" sz="quarter" idx="27"/>
          </p:nvPr>
        </p:nvSpPr>
        <p:spPr>
          <a:xfrm>
            <a:off x="380996" y="2860467"/>
            <a:ext cx="3038479" cy="977191"/>
          </a:xfrm>
        </p:spPr>
        <p:txBody>
          <a:bodyPr>
            <a:spAutoFit/>
          </a:bodyPr>
          <a:lstStyle>
            <a:lvl1pPr>
              <a:lnSpc>
                <a:spcPct val="100000"/>
              </a:lnSpc>
              <a:spcBef>
                <a:spcPts val="600"/>
              </a:spcBef>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100000"/>
              </a:lnSpc>
              <a:spcBef>
                <a:spcPts val="600"/>
              </a:spcBef>
              <a:buClr>
                <a:schemeClr val="bg1"/>
              </a:buClr>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lnSpc>
                <a:spcPct val="100000"/>
              </a:lnSpc>
              <a:spcBef>
                <a:spcPts val="300"/>
              </a:spcBef>
              <a:buClr>
                <a:schemeClr val="bg1"/>
              </a:buClr>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lnSpc>
                <a:spcPct val="100000"/>
              </a:lnSpc>
              <a:spcBef>
                <a:spcPts val="0"/>
              </a:spcBef>
              <a:buClr>
                <a:schemeClr val="bg1"/>
              </a:buClr>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Placeholder 4">
            <a:extLst>
              <a:ext uri="{FF2B5EF4-FFF2-40B4-BE49-F238E27FC236}">
                <a16:creationId xmlns:a16="http://schemas.microsoft.com/office/drawing/2014/main" id="{7961071D-8A41-4BD0-BCD8-EBDC12580AE7}"/>
              </a:ext>
            </a:extLst>
          </p:cNvPr>
          <p:cNvSpPr>
            <a:spLocks noGrp="1"/>
          </p:cNvSpPr>
          <p:nvPr>
            <p:ph type="body" sz="quarter" idx="28" hasCustomPrompt="1"/>
          </p:nvPr>
        </p:nvSpPr>
        <p:spPr>
          <a:xfrm>
            <a:off x="3814481" y="1270000"/>
            <a:ext cx="8009220" cy="761747"/>
          </a:xfrm>
        </p:spPr>
        <p:txBody>
          <a:bodyPr>
            <a:spAutoFit/>
          </a:bodyPr>
          <a:lstStyle>
            <a:lvl1pPr>
              <a:lnSpc>
                <a:spcPct val="100000"/>
              </a:lnSpc>
              <a:spcBef>
                <a:spcPts val="600"/>
              </a:spcBef>
              <a:defRPr>
                <a:solidFill>
                  <a:schemeClr val="tx1"/>
                </a:solidFill>
              </a:defRPr>
            </a:lvl1pPr>
            <a:lvl2pPr>
              <a:lnSpc>
                <a:spcPct val="100000"/>
              </a:lnSpc>
              <a:spcBef>
                <a:spcPts val="12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lnSpc>
                <a:spcPct val="100000"/>
              </a:lnSpc>
              <a:spcBef>
                <a:spcPts val="3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1"/>
            <a:r>
              <a:rPr lang="en-GB"/>
              <a:t>Second level</a:t>
            </a:r>
          </a:p>
          <a:p>
            <a:pPr lvl="2"/>
            <a:r>
              <a:rPr lang="en-GB"/>
              <a:t>Third level</a:t>
            </a:r>
          </a:p>
          <a:p>
            <a:pPr lvl="3"/>
            <a:r>
              <a:rPr lang="en-GB"/>
              <a:t>Fourth level</a:t>
            </a:r>
          </a:p>
        </p:txBody>
      </p:sp>
      <p:sp>
        <p:nvSpPr>
          <p:cNvPr id="32" name="Text Placeholder 2">
            <a:extLst>
              <a:ext uri="{FF2B5EF4-FFF2-40B4-BE49-F238E27FC236}">
                <a16:creationId xmlns:a16="http://schemas.microsoft.com/office/drawing/2014/main" id="{6D7F2915-2024-405B-B85D-6EFFF849861E}"/>
              </a:ext>
            </a:extLst>
          </p:cNvPr>
          <p:cNvSpPr>
            <a:spLocks noGrp="1"/>
          </p:cNvSpPr>
          <p:nvPr>
            <p:ph type="body" sz="quarter" idx="22" hasCustomPrompt="1"/>
          </p:nvPr>
        </p:nvSpPr>
        <p:spPr>
          <a:xfrm>
            <a:off x="381448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2" name="Confidential">
            <a:extLst>
              <a:ext uri="{FF2B5EF4-FFF2-40B4-BE49-F238E27FC236}">
                <a16:creationId xmlns:a16="http://schemas.microsoft.com/office/drawing/2014/main" id="{04A7469E-A6EE-486C-9196-7B95043F65D8}"/>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16" name="Text Placeholder 5">
            <a:extLst>
              <a:ext uri="{FF2B5EF4-FFF2-40B4-BE49-F238E27FC236}">
                <a16:creationId xmlns:a16="http://schemas.microsoft.com/office/drawing/2014/main" id="{296E39B4-E00F-4D59-857C-878A9F55904D}"/>
              </a:ext>
            </a:extLst>
          </p:cNvPr>
          <p:cNvSpPr>
            <a:spLocks noGrp="1"/>
          </p:cNvSpPr>
          <p:nvPr>
            <p:ph type="body" sz="quarter" idx="32" hasCustomPrompt="1"/>
          </p:nvPr>
        </p:nvSpPr>
        <p:spPr>
          <a:xfrm>
            <a:off x="3814481" y="6474841"/>
            <a:ext cx="800922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5" name="Supertitle">
            <a:extLst>
              <a:ext uri="{FF2B5EF4-FFF2-40B4-BE49-F238E27FC236}">
                <a16:creationId xmlns:a16="http://schemas.microsoft.com/office/drawing/2014/main" id="{62F7998E-9755-4032-BD0C-8CD0805FC6E3}"/>
              </a:ext>
            </a:extLst>
          </p:cNvPr>
          <p:cNvSpPr>
            <a:spLocks noGrp="1"/>
          </p:cNvSpPr>
          <p:nvPr>
            <p:ph type="body" sz="quarter" idx="31" hasCustomPrompt="1"/>
          </p:nvPr>
        </p:nvSpPr>
        <p:spPr>
          <a:xfrm>
            <a:off x="3814481"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19002683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Executive Summary_ligh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26857174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4" name="acb0b369-aa8c-4b31-ab38-74d78cf51d99">
            <a:extLst>
              <a:ext uri="{FF2B5EF4-FFF2-40B4-BE49-F238E27FC236}">
                <a16:creationId xmlns:a16="http://schemas.microsoft.com/office/drawing/2014/main" id="{D192A937-36F1-43E9-9FBA-8508F900F212}"/>
              </a:ext>
            </a:extLst>
          </p:cNvPr>
          <p:cNvSpPr/>
          <p:nvPr/>
        </p:nvSpPr>
        <p:spPr>
          <a:xfrm>
            <a:off x="-8393" y="-1"/>
            <a:ext cx="3588245" cy="6858001"/>
          </a:xfrm>
          <a:prstGeom prst="rect">
            <a:avLst/>
          </a:prstGeom>
          <a:solidFill>
            <a:schemeClr val="bg1">
              <a:lumMod val="75000"/>
            </a:schemeClr>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19" name="3fb81c30-15ed-4c93-9863-f6b57534edf8">
            <a:extLst>
              <a:ext uri="{FF2B5EF4-FFF2-40B4-BE49-F238E27FC236}">
                <a16:creationId xmlns:a16="http://schemas.microsoft.com/office/drawing/2014/main" id="{D6606AFB-B38F-4576-B399-255BFCDC9EEB}"/>
              </a:ext>
            </a:extLst>
          </p:cNvPr>
          <p:cNvCxnSpPr>
            <a:cxnSpLocks/>
          </p:cNvCxnSpPr>
          <p:nvPr/>
        </p:nvCxnSpPr>
        <p:spPr>
          <a:xfrm>
            <a:off x="380996" y="2643567"/>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87bda0fb-aa74-4c09-ab9d-334ef6f592c0">
            <a:extLst>
              <a:ext uri="{FF2B5EF4-FFF2-40B4-BE49-F238E27FC236}">
                <a16:creationId xmlns:a16="http://schemas.microsoft.com/office/drawing/2014/main" id="{F9F30819-AB3F-4A43-BB50-F7A130CBA66C}"/>
              </a:ext>
            </a:extLst>
          </p:cNvPr>
          <p:cNvSpPr txBox="1">
            <a:spLocks/>
          </p:cNvSpPr>
          <p:nvPr/>
        </p:nvSpPr>
        <p:spPr>
          <a:xfrm>
            <a:off x="380996" y="1133611"/>
            <a:ext cx="3164179" cy="1384995"/>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a:lnSpc>
                <a:spcPct val="100000"/>
              </a:lnSpc>
              <a:spcBef>
                <a:spcPts val="0"/>
              </a:spcBef>
            </a:pPr>
            <a:r>
              <a:rPr lang="en-GB" sz="4400" b="0" spc="6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ecutive Summary</a:t>
            </a:r>
          </a:p>
        </p:txBody>
      </p:sp>
      <p:cxnSp>
        <p:nvCxnSpPr>
          <p:cNvPr id="18" name="ffea8505-d447-4023-bd83-89b3727ac8bb">
            <a:extLst>
              <a:ext uri="{FF2B5EF4-FFF2-40B4-BE49-F238E27FC236}">
                <a16:creationId xmlns:a16="http://schemas.microsoft.com/office/drawing/2014/main" id="{91E13582-C984-4CD2-8775-E415FC532B0D}"/>
              </a:ext>
            </a:extLst>
          </p:cNvPr>
          <p:cNvCxnSpPr>
            <a:cxnSpLocks/>
          </p:cNvCxnSpPr>
          <p:nvPr/>
        </p:nvCxnSpPr>
        <p:spPr>
          <a:xfrm>
            <a:off x="3814481" y="6445604"/>
            <a:ext cx="800922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671B2B38-6A7E-4142-8E20-1DFA910CF767}"/>
              </a:ext>
            </a:extLst>
          </p:cNvPr>
          <p:cNvSpPr>
            <a:spLocks noGrp="1"/>
          </p:cNvSpPr>
          <p:nvPr>
            <p:ph type="body" sz="quarter" idx="27"/>
          </p:nvPr>
        </p:nvSpPr>
        <p:spPr>
          <a:xfrm>
            <a:off x="380996" y="2860467"/>
            <a:ext cx="3038479" cy="977191"/>
          </a:xfrm>
        </p:spPr>
        <p:txBody>
          <a:bodyPr>
            <a:spAutoFit/>
          </a:bodyPr>
          <a:lstStyle>
            <a:lvl1pPr>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100000"/>
              </a:lnSpc>
              <a:spcBef>
                <a:spcPts val="60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lnSpc>
                <a:spcPct val="100000"/>
              </a:lnSpc>
              <a:spcBef>
                <a:spcPts val="30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lnSpc>
                <a:spcPct val="100000"/>
              </a:lnSpc>
              <a:spcBef>
                <a:spcPts val="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Placeholder 4">
            <a:extLst>
              <a:ext uri="{FF2B5EF4-FFF2-40B4-BE49-F238E27FC236}">
                <a16:creationId xmlns:a16="http://schemas.microsoft.com/office/drawing/2014/main" id="{7961071D-8A41-4BD0-BCD8-EBDC12580AE7}"/>
              </a:ext>
            </a:extLst>
          </p:cNvPr>
          <p:cNvSpPr>
            <a:spLocks noGrp="1"/>
          </p:cNvSpPr>
          <p:nvPr>
            <p:ph type="body" sz="quarter" idx="28" hasCustomPrompt="1"/>
          </p:nvPr>
        </p:nvSpPr>
        <p:spPr>
          <a:xfrm>
            <a:off x="3814481" y="1270000"/>
            <a:ext cx="8009220" cy="761747"/>
          </a:xfrm>
        </p:spPr>
        <p:txBody>
          <a:bodyPr>
            <a:spAutoFit/>
          </a:bodyPr>
          <a:lstStyle>
            <a:lvl1pPr>
              <a:lnSpc>
                <a:spcPct val="100000"/>
              </a:lnSpc>
              <a:spcBef>
                <a:spcPts val="600"/>
              </a:spcBef>
              <a:defRPr>
                <a:solidFill>
                  <a:schemeClr val="tx1"/>
                </a:solidFill>
              </a:defRPr>
            </a:lvl1pPr>
            <a:lvl2pPr>
              <a:lnSpc>
                <a:spcPct val="100000"/>
              </a:lnSpc>
              <a:spcBef>
                <a:spcPts val="12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lnSpc>
                <a:spcPct val="100000"/>
              </a:lnSpc>
              <a:spcBef>
                <a:spcPts val="3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1"/>
            <a:r>
              <a:rPr lang="en-GB"/>
              <a:t>Second level</a:t>
            </a:r>
          </a:p>
          <a:p>
            <a:pPr lvl="2"/>
            <a:r>
              <a:rPr lang="en-GB"/>
              <a:t>Third level</a:t>
            </a:r>
          </a:p>
          <a:p>
            <a:pPr lvl="3"/>
            <a:r>
              <a:rPr lang="en-GB"/>
              <a:t>Fourth level</a:t>
            </a:r>
          </a:p>
        </p:txBody>
      </p:sp>
      <p:sp>
        <p:nvSpPr>
          <p:cNvPr id="32" name="Text Placeholder 2">
            <a:extLst>
              <a:ext uri="{FF2B5EF4-FFF2-40B4-BE49-F238E27FC236}">
                <a16:creationId xmlns:a16="http://schemas.microsoft.com/office/drawing/2014/main" id="{6D7F2915-2024-405B-B85D-6EFFF849861E}"/>
              </a:ext>
            </a:extLst>
          </p:cNvPr>
          <p:cNvSpPr>
            <a:spLocks noGrp="1"/>
          </p:cNvSpPr>
          <p:nvPr>
            <p:ph type="body" sz="quarter" idx="22" hasCustomPrompt="1"/>
          </p:nvPr>
        </p:nvSpPr>
        <p:spPr>
          <a:xfrm>
            <a:off x="381448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2" name="Confidential">
            <a:extLst>
              <a:ext uri="{FF2B5EF4-FFF2-40B4-BE49-F238E27FC236}">
                <a16:creationId xmlns:a16="http://schemas.microsoft.com/office/drawing/2014/main" id="{04A7469E-A6EE-486C-9196-7B95043F65D8}"/>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15" name="Text Placeholder 5">
            <a:extLst>
              <a:ext uri="{FF2B5EF4-FFF2-40B4-BE49-F238E27FC236}">
                <a16:creationId xmlns:a16="http://schemas.microsoft.com/office/drawing/2014/main" id="{C4F4EA92-B201-44CA-85E5-A9F9BAA6DF30}"/>
              </a:ext>
            </a:extLst>
          </p:cNvPr>
          <p:cNvSpPr>
            <a:spLocks noGrp="1"/>
          </p:cNvSpPr>
          <p:nvPr>
            <p:ph type="body" sz="quarter" idx="32" hasCustomPrompt="1"/>
          </p:nvPr>
        </p:nvSpPr>
        <p:spPr>
          <a:xfrm>
            <a:off x="3814481" y="6474841"/>
            <a:ext cx="800922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6" name="Supertitle">
            <a:extLst>
              <a:ext uri="{FF2B5EF4-FFF2-40B4-BE49-F238E27FC236}">
                <a16:creationId xmlns:a16="http://schemas.microsoft.com/office/drawing/2014/main" id="{24864468-8529-4837-946B-A32F0101EA46}"/>
              </a:ext>
            </a:extLst>
          </p:cNvPr>
          <p:cNvSpPr>
            <a:spLocks noGrp="1"/>
          </p:cNvSpPr>
          <p:nvPr>
            <p:ph type="body" sz="quarter" idx="31" hasCustomPrompt="1"/>
          </p:nvPr>
        </p:nvSpPr>
        <p:spPr>
          <a:xfrm>
            <a:off x="3814481"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32116728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Key slide">
    <p:bg>
      <p:bgPr>
        <a:solidFill>
          <a:schemeClr val="accent2"/>
        </a:solidFill>
        <a:effectLst/>
      </p:bgPr>
    </p:bg>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30D8684F-2331-410E-8BCD-8E48E223924B}"/>
              </a:ext>
            </a:extLst>
          </p:cNvPr>
          <p:cNvGraphicFramePr>
            <a:graphicFrameLocks noChangeAspect="1"/>
          </p:cNvGraphicFramePr>
          <p:nvPr userDrawn="1">
            <p:custDataLst>
              <p:tags r:id="rId1"/>
            </p:custDataLst>
            <p:extLst>
              <p:ext uri="{D42A27DB-BD31-4B8C-83A1-F6EECF244321}">
                <p14:modId xmlns:p14="http://schemas.microsoft.com/office/powerpoint/2010/main" val="8690335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7" name="Object 16" hidden="1">
                        <a:extLst>
                          <a:ext uri="{FF2B5EF4-FFF2-40B4-BE49-F238E27FC236}">
                            <a16:creationId xmlns:a16="http://schemas.microsoft.com/office/drawing/2014/main" id="{30D8684F-2331-410E-8BCD-8E48E22392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274DFB-B380-4A92-94A7-A35E0797C6E7}"/>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3" name="Text Placeholder 47">
            <a:extLst>
              <a:ext uri="{FF2B5EF4-FFF2-40B4-BE49-F238E27FC236}">
                <a16:creationId xmlns:a16="http://schemas.microsoft.com/office/drawing/2014/main" id="{791FCF58-A259-4F9A-8EC3-F6830108B056}"/>
              </a:ext>
            </a:extLst>
          </p:cNvPr>
          <p:cNvSpPr>
            <a:spLocks noGrp="1"/>
          </p:cNvSpPr>
          <p:nvPr>
            <p:ph type="body" sz="quarter" idx="31" hasCustomPrompt="1"/>
          </p:nvPr>
        </p:nvSpPr>
        <p:spPr>
          <a:xfrm>
            <a:off x="380999" y="1268129"/>
            <a:ext cx="11428800" cy="215444"/>
          </a:xfrm>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solidFill>
                  <a:schemeClr val="tx1"/>
                </a:solidFill>
              </a:rPr>
              <a:t>Subtitle Key Slide</a:t>
            </a:r>
          </a:p>
        </p:txBody>
      </p:sp>
      <p:sp>
        <p:nvSpPr>
          <p:cNvPr id="4" name="Rectangle 3">
            <a:extLst>
              <a:ext uri="{FF2B5EF4-FFF2-40B4-BE49-F238E27FC236}">
                <a16:creationId xmlns:a16="http://schemas.microsoft.com/office/drawing/2014/main" id="{5DE3BBEF-4A7D-42A4-8E08-6883FD64DA5B}"/>
              </a:ext>
            </a:extLst>
          </p:cNvPr>
          <p:cNvSpPr/>
          <p:nvPr/>
        </p:nvSpPr>
        <p:spPr>
          <a:xfrm>
            <a:off x="10254343" y="411856"/>
            <a:ext cx="1670179" cy="334593"/>
          </a:xfrm>
          <a:prstGeom prst="rect">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5" name="5d8d361f-22c4-4b42-8dc9-17fbf8f083ac">
            <a:extLst>
              <a:ext uri="{FF2B5EF4-FFF2-40B4-BE49-F238E27FC236}">
                <a16:creationId xmlns:a16="http://schemas.microsoft.com/office/drawing/2014/main" id="{8A88AD16-2E5E-4CEF-8D7B-94808A9D94CC}"/>
              </a:ext>
            </a:extLst>
          </p:cNvPr>
          <p:cNvGrpSpPr/>
          <p:nvPr/>
        </p:nvGrpSpPr>
        <p:grpSpPr>
          <a:xfrm>
            <a:off x="10307419" y="465323"/>
            <a:ext cx="1510782" cy="198704"/>
            <a:chOff x="10307419" y="465323"/>
            <a:chExt cx="1510782" cy="198704"/>
          </a:xfrm>
          <a:solidFill>
            <a:schemeClr val="tx1"/>
          </a:solidFill>
        </p:grpSpPr>
        <p:sp>
          <p:nvSpPr>
            <p:cNvPr id="6" name="Freeform: Shape 5">
              <a:extLst>
                <a:ext uri="{FF2B5EF4-FFF2-40B4-BE49-F238E27FC236}">
                  <a16:creationId xmlns:a16="http://schemas.microsoft.com/office/drawing/2014/main" id="{1C0D52D9-5D86-4027-9879-849CA296714D}"/>
                </a:ext>
              </a:extLst>
            </p:cNvPr>
            <p:cNvSpPr/>
            <p:nvPr/>
          </p:nvSpPr>
          <p:spPr>
            <a:xfrm>
              <a:off x="10307419" y="479773"/>
              <a:ext cx="170004" cy="175003"/>
            </a:xfrm>
            <a:custGeom>
              <a:avLst/>
              <a:gdLst>
                <a:gd name="connsiteX0" fmla="*/ 145553 w 170003"/>
                <a:gd name="connsiteY0" fmla="*/ 178153 h 175003"/>
                <a:gd name="connsiteX1" fmla="*/ 129803 w 170003"/>
                <a:gd name="connsiteY1" fmla="*/ 138653 h 175003"/>
                <a:gd name="connsiteX2" fmla="*/ 41151 w 170003"/>
                <a:gd name="connsiteY2" fmla="*/ 138653 h 175003"/>
                <a:gd name="connsiteX3" fmla="*/ 25401 w 170003"/>
                <a:gd name="connsiteY3" fmla="*/ 178153 h 175003"/>
                <a:gd name="connsiteX4" fmla="*/ 0 w 170003"/>
                <a:gd name="connsiteY4" fmla="*/ 178153 h 175003"/>
                <a:gd name="connsiteX5" fmla="*/ 71602 w 170003"/>
                <a:gd name="connsiteY5" fmla="*/ 0 h 175003"/>
                <a:gd name="connsiteX6" fmla="*/ 99102 w 170003"/>
                <a:gd name="connsiteY6" fmla="*/ 0 h 175003"/>
                <a:gd name="connsiteX7" fmla="*/ 170954 w 170003"/>
                <a:gd name="connsiteY7" fmla="*/ 178103 h 175003"/>
                <a:gd name="connsiteX8" fmla="*/ 145553 w 170003"/>
                <a:gd name="connsiteY8" fmla="*/ 178103 h 175003"/>
                <a:gd name="connsiteX9" fmla="*/ 85502 w 170003"/>
                <a:gd name="connsiteY9" fmla="*/ 23000 h 175003"/>
                <a:gd name="connsiteX10" fmla="*/ 47601 w 170003"/>
                <a:gd name="connsiteY10" fmla="*/ 118852 h 175003"/>
                <a:gd name="connsiteX11" fmla="*/ 123203 w 170003"/>
                <a:gd name="connsiteY11" fmla="*/ 118852 h 175003"/>
                <a:gd name="connsiteX12" fmla="*/ 85502 w 170003"/>
                <a:gd name="connsiteY12" fmla="*/ 23000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0003" h="175003">
                  <a:moveTo>
                    <a:pt x="145553" y="178153"/>
                  </a:moveTo>
                  <a:lnTo>
                    <a:pt x="129803" y="138653"/>
                  </a:lnTo>
                  <a:lnTo>
                    <a:pt x="41151" y="138653"/>
                  </a:lnTo>
                  <a:lnTo>
                    <a:pt x="25401" y="178153"/>
                  </a:lnTo>
                  <a:lnTo>
                    <a:pt x="0" y="178153"/>
                  </a:lnTo>
                  <a:lnTo>
                    <a:pt x="71602" y="0"/>
                  </a:lnTo>
                  <a:lnTo>
                    <a:pt x="99102" y="0"/>
                  </a:lnTo>
                  <a:lnTo>
                    <a:pt x="170954" y="178103"/>
                  </a:lnTo>
                  <a:lnTo>
                    <a:pt x="145553" y="178103"/>
                  </a:lnTo>
                  <a:close/>
                  <a:moveTo>
                    <a:pt x="85502" y="23000"/>
                  </a:moveTo>
                  <a:lnTo>
                    <a:pt x="47601" y="118852"/>
                  </a:lnTo>
                  <a:lnTo>
                    <a:pt x="123203" y="118852"/>
                  </a:lnTo>
                  <a:lnTo>
                    <a:pt x="85502" y="23000"/>
                  </a:lnTo>
                  <a:close/>
                </a:path>
              </a:pathLst>
            </a:custGeom>
            <a:grpFill/>
            <a:ln w="4982"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7" name="Freeform: Shape 6">
              <a:extLst>
                <a:ext uri="{FF2B5EF4-FFF2-40B4-BE49-F238E27FC236}">
                  <a16:creationId xmlns:a16="http://schemas.microsoft.com/office/drawing/2014/main" id="{429AEC83-2158-49D6-9185-DE976140A84D}"/>
                </a:ext>
              </a:extLst>
            </p:cNvPr>
            <p:cNvSpPr/>
            <p:nvPr/>
          </p:nvSpPr>
          <p:spPr>
            <a:xfrm>
              <a:off x="10574675" y="479773"/>
              <a:ext cx="145003" cy="180004"/>
            </a:xfrm>
            <a:custGeom>
              <a:avLst/>
              <a:gdLst>
                <a:gd name="connsiteX0" fmla="*/ 0 w 145003"/>
                <a:gd name="connsiteY0" fmla="*/ 109002 h 180003"/>
                <a:gd name="connsiteX1" fmla="*/ 0 w 145003"/>
                <a:gd name="connsiteY1" fmla="*/ 0 h 180003"/>
                <a:gd name="connsiteX2" fmla="*/ 22150 w 145003"/>
                <a:gd name="connsiteY2" fmla="*/ 0 h 180003"/>
                <a:gd name="connsiteX3" fmla="*/ 22150 w 145003"/>
                <a:gd name="connsiteY3" fmla="*/ 108402 h 180003"/>
                <a:gd name="connsiteX4" fmla="*/ 72602 w 145003"/>
                <a:gd name="connsiteY4" fmla="*/ 161553 h 180003"/>
                <a:gd name="connsiteX5" fmla="*/ 123053 w 145003"/>
                <a:gd name="connsiteY5" fmla="*/ 108402 h 180003"/>
                <a:gd name="connsiteX6" fmla="*/ 123053 w 145003"/>
                <a:gd name="connsiteY6" fmla="*/ 0 h 180003"/>
                <a:gd name="connsiteX7" fmla="*/ 145203 w 145003"/>
                <a:gd name="connsiteY7" fmla="*/ 0 h 180003"/>
                <a:gd name="connsiteX8" fmla="*/ 145203 w 145003"/>
                <a:gd name="connsiteY8" fmla="*/ 108702 h 180003"/>
                <a:gd name="connsiteX9" fmla="*/ 72552 w 145003"/>
                <a:gd name="connsiteY9" fmla="*/ 181354 h 180003"/>
                <a:gd name="connsiteX10" fmla="*/ 0 w 145003"/>
                <a:gd name="connsiteY10" fmla="*/ 109002 h 18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5003" h="180003">
                  <a:moveTo>
                    <a:pt x="0" y="109002"/>
                  </a:moveTo>
                  <a:lnTo>
                    <a:pt x="0" y="0"/>
                  </a:lnTo>
                  <a:lnTo>
                    <a:pt x="22150" y="0"/>
                  </a:lnTo>
                  <a:lnTo>
                    <a:pt x="22150" y="108402"/>
                  </a:lnTo>
                  <a:cubicBezTo>
                    <a:pt x="22150" y="140953"/>
                    <a:pt x="39801" y="161553"/>
                    <a:pt x="72602" y="161553"/>
                  </a:cubicBezTo>
                  <a:cubicBezTo>
                    <a:pt x="105402" y="161553"/>
                    <a:pt x="123053" y="141003"/>
                    <a:pt x="123053" y="108402"/>
                  </a:cubicBezTo>
                  <a:lnTo>
                    <a:pt x="123053" y="0"/>
                  </a:lnTo>
                  <a:lnTo>
                    <a:pt x="145203" y="0"/>
                  </a:lnTo>
                  <a:lnTo>
                    <a:pt x="145203" y="108702"/>
                  </a:lnTo>
                  <a:cubicBezTo>
                    <a:pt x="145203" y="153053"/>
                    <a:pt x="120903" y="181354"/>
                    <a:pt x="72552" y="181354"/>
                  </a:cubicBezTo>
                  <a:cubicBezTo>
                    <a:pt x="24351" y="181354"/>
                    <a:pt x="0" y="152803"/>
                    <a:pt x="0" y="109002"/>
                  </a:cubicBezTo>
                  <a:close/>
                </a:path>
              </a:pathLst>
            </a:custGeom>
            <a:grpFill/>
            <a:ln w="4982"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 name="Freeform: Shape 7">
              <a:extLst>
                <a:ext uri="{FF2B5EF4-FFF2-40B4-BE49-F238E27FC236}">
                  <a16:creationId xmlns:a16="http://schemas.microsoft.com/office/drawing/2014/main" id="{72C7B6A4-FD9C-4301-BB1E-8CF467C3B0B0}"/>
                </a:ext>
              </a:extLst>
            </p:cNvPr>
            <p:cNvSpPr/>
            <p:nvPr/>
          </p:nvSpPr>
          <p:spPr>
            <a:xfrm>
              <a:off x="10841730" y="479773"/>
              <a:ext cx="125003" cy="175003"/>
            </a:xfrm>
            <a:custGeom>
              <a:avLst/>
              <a:gdLst>
                <a:gd name="connsiteX0" fmla="*/ 103052 w 125002"/>
                <a:gd name="connsiteY0" fmla="*/ 178153 h 175003"/>
                <a:gd name="connsiteX1" fmla="*/ 57651 w 125002"/>
                <a:gd name="connsiteY1" fmla="*/ 107402 h 175003"/>
                <a:gd name="connsiteX2" fmla="*/ 22150 w 125002"/>
                <a:gd name="connsiteY2" fmla="*/ 107402 h 175003"/>
                <a:gd name="connsiteX3" fmla="*/ 22150 w 125002"/>
                <a:gd name="connsiteY3" fmla="*/ 178153 h 175003"/>
                <a:gd name="connsiteX4" fmla="*/ 0 w 125002"/>
                <a:gd name="connsiteY4" fmla="*/ 178153 h 175003"/>
                <a:gd name="connsiteX5" fmla="*/ 0 w 125002"/>
                <a:gd name="connsiteY5" fmla="*/ 0 h 175003"/>
                <a:gd name="connsiteX6" fmla="*/ 71551 w 125002"/>
                <a:gd name="connsiteY6" fmla="*/ 0 h 175003"/>
                <a:gd name="connsiteX7" fmla="*/ 127353 w 125002"/>
                <a:gd name="connsiteY7" fmla="*/ 53701 h 175003"/>
                <a:gd name="connsiteX8" fmla="*/ 81152 w 125002"/>
                <a:gd name="connsiteY8" fmla="*/ 105502 h 175003"/>
                <a:gd name="connsiteX9" fmla="*/ 129203 w 125002"/>
                <a:gd name="connsiteY9" fmla="*/ 178153 h 175003"/>
                <a:gd name="connsiteX10" fmla="*/ 103052 w 125002"/>
                <a:gd name="connsiteY10" fmla="*/ 178153 h 175003"/>
                <a:gd name="connsiteX11" fmla="*/ 104402 w 125002"/>
                <a:gd name="connsiteY11" fmla="*/ 53701 h 175003"/>
                <a:gd name="connsiteX12" fmla="*/ 68901 w 125002"/>
                <a:gd name="connsiteY12" fmla="*/ 19800 h 175003"/>
                <a:gd name="connsiteX13" fmla="*/ 22150 w 125002"/>
                <a:gd name="connsiteY13" fmla="*/ 19800 h 175003"/>
                <a:gd name="connsiteX14" fmla="*/ 22150 w 125002"/>
                <a:gd name="connsiteY14" fmla="*/ 87902 h 175003"/>
                <a:gd name="connsiteX15" fmla="*/ 68901 w 125002"/>
                <a:gd name="connsiteY15" fmla="*/ 87902 h 175003"/>
                <a:gd name="connsiteX16" fmla="*/ 104402 w 125002"/>
                <a:gd name="connsiteY16" fmla="*/ 53701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002" h="175003">
                  <a:moveTo>
                    <a:pt x="103052" y="178153"/>
                  </a:moveTo>
                  <a:lnTo>
                    <a:pt x="57651" y="107402"/>
                  </a:lnTo>
                  <a:lnTo>
                    <a:pt x="22150" y="107402"/>
                  </a:lnTo>
                  <a:lnTo>
                    <a:pt x="22150" y="178153"/>
                  </a:lnTo>
                  <a:lnTo>
                    <a:pt x="0" y="178153"/>
                  </a:lnTo>
                  <a:lnTo>
                    <a:pt x="0" y="0"/>
                  </a:lnTo>
                  <a:lnTo>
                    <a:pt x="71551" y="0"/>
                  </a:lnTo>
                  <a:cubicBezTo>
                    <a:pt x="104152" y="0"/>
                    <a:pt x="127353" y="20850"/>
                    <a:pt x="127353" y="53701"/>
                  </a:cubicBezTo>
                  <a:cubicBezTo>
                    <a:pt x="127353" y="85752"/>
                    <a:pt x="105452" y="103352"/>
                    <a:pt x="81152" y="105502"/>
                  </a:cubicBezTo>
                  <a:lnTo>
                    <a:pt x="129203" y="178153"/>
                  </a:lnTo>
                  <a:lnTo>
                    <a:pt x="103052" y="178153"/>
                  </a:lnTo>
                  <a:close/>
                  <a:moveTo>
                    <a:pt x="104402" y="53701"/>
                  </a:moveTo>
                  <a:cubicBezTo>
                    <a:pt x="104402" y="33651"/>
                    <a:pt x="90002" y="19800"/>
                    <a:pt x="68901" y="19800"/>
                  </a:cubicBezTo>
                  <a:lnTo>
                    <a:pt x="22150" y="19800"/>
                  </a:lnTo>
                  <a:lnTo>
                    <a:pt x="22150" y="87902"/>
                  </a:lnTo>
                  <a:lnTo>
                    <a:pt x="68901" y="87902"/>
                  </a:lnTo>
                  <a:cubicBezTo>
                    <a:pt x="89952" y="87902"/>
                    <a:pt x="104402" y="73751"/>
                    <a:pt x="104402" y="53701"/>
                  </a:cubicBezTo>
                  <a:close/>
                </a:path>
              </a:pathLst>
            </a:custGeom>
            <a:grpFill/>
            <a:ln w="4982"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9" name="Freeform: Shape 8">
              <a:extLst>
                <a:ext uri="{FF2B5EF4-FFF2-40B4-BE49-F238E27FC236}">
                  <a16:creationId xmlns:a16="http://schemas.microsoft.com/office/drawing/2014/main" id="{A7A4A1B4-0870-4BBE-B82A-61D5AECCBB73}"/>
                </a:ext>
              </a:extLst>
            </p:cNvPr>
            <p:cNvSpPr/>
            <p:nvPr/>
          </p:nvSpPr>
          <p:spPr>
            <a:xfrm>
              <a:off x="11424193" y="479773"/>
              <a:ext cx="125003" cy="175003"/>
            </a:xfrm>
            <a:custGeom>
              <a:avLst/>
              <a:gdLst>
                <a:gd name="connsiteX0" fmla="*/ 103052 w 125002"/>
                <a:gd name="connsiteY0" fmla="*/ 178153 h 175003"/>
                <a:gd name="connsiteX1" fmla="*/ 57651 w 125002"/>
                <a:gd name="connsiteY1" fmla="*/ 107402 h 175003"/>
                <a:gd name="connsiteX2" fmla="*/ 22150 w 125002"/>
                <a:gd name="connsiteY2" fmla="*/ 107402 h 175003"/>
                <a:gd name="connsiteX3" fmla="*/ 22150 w 125002"/>
                <a:gd name="connsiteY3" fmla="*/ 178153 h 175003"/>
                <a:gd name="connsiteX4" fmla="*/ 0 w 125002"/>
                <a:gd name="connsiteY4" fmla="*/ 178153 h 175003"/>
                <a:gd name="connsiteX5" fmla="*/ 0 w 125002"/>
                <a:gd name="connsiteY5" fmla="*/ 0 h 175003"/>
                <a:gd name="connsiteX6" fmla="*/ 71551 w 125002"/>
                <a:gd name="connsiteY6" fmla="*/ 0 h 175003"/>
                <a:gd name="connsiteX7" fmla="*/ 127353 w 125002"/>
                <a:gd name="connsiteY7" fmla="*/ 53701 h 175003"/>
                <a:gd name="connsiteX8" fmla="*/ 81152 w 125002"/>
                <a:gd name="connsiteY8" fmla="*/ 105502 h 175003"/>
                <a:gd name="connsiteX9" fmla="*/ 129203 w 125002"/>
                <a:gd name="connsiteY9" fmla="*/ 178153 h 175003"/>
                <a:gd name="connsiteX10" fmla="*/ 103052 w 125002"/>
                <a:gd name="connsiteY10" fmla="*/ 178153 h 175003"/>
                <a:gd name="connsiteX11" fmla="*/ 104352 w 125002"/>
                <a:gd name="connsiteY11" fmla="*/ 53701 h 175003"/>
                <a:gd name="connsiteX12" fmla="*/ 68851 w 125002"/>
                <a:gd name="connsiteY12" fmla="*/ 19800 h 175003"/>
                <a:gd name="connsiteX13" fmla="*/ 22100 w 125002"/>
                <a:gd name="connsiteY13" fmla="*/ 19800 h 175003"/>
                <a:gd name="connsiteX14" fmla="*/ 22100 w 125002"/>
                <a:gd name="connsiteY14" fmla="*/ 87902 h 175003"/>
                <a:gd name="connsiteX15" fmla="*/ 68851 w 125002"/>
                <a:gd name="connsiteY15" fmla="*/ 87902 h 175003"/>
                <a:gd name="connsiteX16" fmla="*/ 104352 w 125002"/>
                <a:gd name="connsiteY16" fmla="*/ 53701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002" h="175003">
                  <a:moveTo>
                    <a:pt x="103052" y="178153"/>
                  </a:moveTo>
                  <a:lnTo>
                    <a:pt x="57651" y="107402"/>
                  </a:lnTo>
                  <a:lnTo>
                    <a:pt x="22150" y="107402"/>
                  </a:lnTo>
                  <a:lnTo>
                    <a:pt x="22150" y="178153"/>
                  </a:lnTo>
                  <a:lnTo>
                    <a:pt x="0" y="178153"/>
                  </a:lnTo>
                  <a:lnTo>
                    <a:pt x="0" y="0"/>
                  </a:lnTo>
                  <a:lnTo>
                    <a:pt x="71551" y="0"/>
                  </a:lnTo>
                  <a:cubicBezTo>
                    <a:pt x="104152" y="0"/>
                    <a:pt x="127353" y="20850"/>
                    <a:pt x="127353" y="53701"/>
                  </a:cubicBezTo>
                  <a:cubicBezTo>
                    <a:pt x="127353" y="85752"/>
                    <a:pt x="105452" y="103352"/>
                    <a:pt x="81152" y="105502"/>
                  </a:cubicBezTo>
                  <a:lnTo>
                    <a:pt x="129203" y="178153"/>
                  </a:lnTo>
                  <a:lnTo>
                    <a:pt x="103052" y="178153"/>
                  </a:lnTo>
                  <a:close/>
                  <a:moveTo>
                    <a:pt x="104352" y="53701"/>
                  </a:moveTo>
                  <a:cubicBezTo>
                    <a:pt x="104352" y="33651"/>
                    <a:pt x="89952" y="19800"/>
                    <a:pt x="68851" y="19800"/>
                  </a:cubicBezTo>
                  <a:lnTo>
                    <a:pt x="22100" y="19800"/>
                  </a:lnTo>
                  <a:lnTo>
                    <a:pt x="22100" y="87902"/>
                  </a:lnTo>
                  <a:lnTo>
                    <a:pt x="68851" y="87902"/>
                  </a:lnTo>
                  <a:cubicBezTo>
                    <a:pt x="89952" y="87902"/>
                    <a:pt x="104352" y="73751"/>
                    <a:pt x="104352" y="53701"/>
                  </a:cubicBezTo>
                  <a:close/>
                </a:path>
              </a:pathLst>
            </a:custGeom>
            <a:grpFill/>
            <a:ln w="4982"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0" name="Freeform: Shape 9">
              <a:extLst>
                <a:ext uri="{FF2B5EF4-FFF2-40B4-BE49-F238E27FC236}">
                  <a16:creationId xmlns:a16="http://schemas.microsoft.com/office/drawing/2014/main" id="{209CE717-BD48-49E0-A9D3-5ECB6260F6B0}"/>
                </a:ext>
              </a:extLst>
            </p:cNvPr>
            <p:cNvSpPr/>
            <p:nvPr/>
          </p:nvSpPr>
          <p:spPr>
            <a:xfrm>
              <a:off x="11648197" y="479773"/>
              <a:ext cx="170004" cy="175003"/>
            </a:xfrm>
            <a:custGeom>
              <a:avLst/>
              <a:gdLst>
                <a:gd name="connsiteX0" fmla="*/ 145503 w 170003"/>
                <a:gd name="connsiteY0" fmla="*/ 178153 h 175003"/>
                <a:gd name="connsiteX1" fmla="*/ 129753 w 170003"/>
                <a:gd name="connsiteY1" fmla="*/ 138653 h 175003"/>
                <a:gd name="connsiteX2" fmla="*/ 41101 w 170003"/>
                <a:gd name="connsiteY2" fmla="*/ 138653 h 175003"/>
                <a:gd name="connsiteX3" fmla="*/ 25351 w 170003"/>
                <a:gd name="connsiteY3" fmla="*/ 178153 h 175003"/>
                <a:gd name="connsiteX4" fmla="*/ 0 w 170003"/>
                <a:gd name="connsiteY4" fmla="*/ 178153 h 175003"/>
                <a:gd name="connsiteX5" fmla="*/ 71502 w 170003"/>
                <a:gd name="connsiteY5" fmla="*/ 0 h 175003"/>
                <a:gd name="connsiteX6" fmla="*/ 99002 w 170003"/>
                <a:gd name="connsiteY6" fmla="*/ 0 h 175003"/>
                <a:gd name="connsiteX7" fmla="*/ 170854 w 170003"/>
                <a:gd name="connsiteY7" fmla="*/ 178103 h 175003"/>
                <a:gd name="connsiteX8" fmla="*/ 145503 w 170003"/>
                <a:gd name="connsiteY8" fmla="*/ 178103 h 175003"/>
                <a:gd name="connsiteX9" fmla="*/ 85402 w 170003"/>
                <a:gd name="connsiteY9" fmla="*/ 23000 h 175003"/>
                <a:gd name="connsiteX10" fmla="*/ 47501 w 170003"/>
                <a:gd name="connsiteY10" fmla="*/ 118852 h 175003"/>
                <a:gd name="connsiteX11" fmla="*/ 123103 w 170003"/>
                <a:gd name="connsiteY11" fmla="*/ 118852 h 175003"/>
                <a:gd name="connsiteX12" fmla="*/ 85402 w 170003"/>
                <a:gd name="connsiteY12" fmla="*/ 23000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0003" h="175003">
                  <a:moveTo>
                    <a:pt x="145503" y="178153"/>
                  </a:moveTo>
                  <a:lnTo>
                    <a:pt x="129753" y="138653"/>
                  </a:lnTo>
                  <a:lnTo>
                    <a:pt x="41101" y="138653"/>
                  </a:lnTo>
                  <a:lnTo>
                    <a:pt x="25351" y="178153"/>
                  </a:lnTo>
                  <a:lnTo>
                    <a:pt x="0" y="178153"/>
                  </a:lnTo>
                  <a:lnTo>
                    <a:pt x="71502" y="0"/>
                  </a:lnTo>
                  <a:lnTo>
                    <a:pt x="99002" y="0"/>
                  </a:lnTo>
                  <a:lnTo>
                    <a:pt x="170854" y="178103"/>
                  </a:lnTo>
                  <a:lnTo>
                    <a:pt x="145503" y="178103"/>
                  </a:lnTo>
                  <a:close/>
                  <a:moveTo>
                    <a:pt x="85402" y="23000"/>
                  </a:moveTo>
                  <a:lnTo>
                    <a:pt x="47501" y="118852"/>
                  </a:lnTo>
                  <a:lnTo>
                    <a:pt x="123103" y="118852"/>
                  </a:lnTo>
                  <a:lnTo>
                    <a:pt x="85402" y="23000"/>
                  </a:lnTo>
                  <a:close/>
                </a:path>
              </a:pathLst>
            </a:custGeom>
            <a:grpFill/>
            <a:ln w="4982"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 name="Freeform: Shape 10">
              <a:extLst>
                <a:ext uri="{FF2B5EF4-FFF2-40B4-BE49-F238E27FC236}">
                  <a16:creationId xmlns:a16="http://schemas.microsoft.com/office/drawing/2014/main" id="{6C710FC0-D2DF-48E8-BC7F-F673B11235F8}"/>
                </a:ext>
              </a:extLst>
            </p:cNvPr>
            <p:cNvSpPr/>
            <p:nvPr/>
          </p:nvSpPr>
          <p:spPr>
            <a:xfrm>
              <a:off x="11094836" y="465323"/>
              <a:ext cx="200004" cy="145003"/>
            </a:xfrm>
            <a:custGeom>
              <a:avLst/>
              <a:gdLst>
                <a:gd name="connsiteX0" fmla="*/ 64701 w 200004"/>
                <a:gd name="connsiteY0" fmla="*/ 131853 h 145002"/>
                <a:gd name="connsiteX1" fmla="*/ 23001 w 200004"/>
                <a:gd name="connsiteY1" fmla="*/ 133703 h 145002"/>
                <a:gd name="connsiteX2" fmla="*/ 83552 w 200004"/>
                <a:gd name="connsiteY2" fmla="*/ 123802 h 145002"/>
                <a:gd name="connsiteX3" fmla="*/ 36401 w 200004"/>
                <a:gd name="connsiteY3" fmla="*/ 96452 h 145002"/>
                <a:gd name="connsiteX4" fmla="*/ 91652 w 200004"/>
                <a:gd name="connsiteY4" fmla="*/ 118852 h 145002"/>
                <a:gd name="connsiteX5" fmla="*/ 76352 w 200004"/>
                <a:gd name="connsiteY5" fmla="*/ 88152 h 145002"/>
                <a:gd name="connsiteX6" fmla="*/ 98002 w 200004"/>
                <a:gd name="connsiteY6" fmla="*/ 116402 h 145002"/>
                <a:gd name="connsiteX7" fmla="*/ 100952 w 200004"/>
                <a:gd name="connsiteY7" fmla="*/ 54551 h 145002"/>
                <a:gd name="connsiteX8" fmla="*/ 104252 w 200004"/>
                <a:gd name="connsiteY8" fmla="*/ 116402 h 145002"/>
                <a:gd name="connsiteX9" fmla="*/ 126453 w 200004"/>
                <a:gd name="connsiteY9" fmla="*/ 88152 h 145002"/>
                <a:gd name="connsiteX10" fmla="*/ 110602 w 200004"/>
                <a:gd name="connsiteY10" fmla="*/ 118852 h 145002"/>
                <a:gd name="connsiteX11" fmla="*/ 165853 w 200004"/>
                <a:gd name="connsiteY11" fmla="*/ 96552 h 145002"/>
                <a:gd name="connsiteX12" fmla="*/ 118703 w 200004"/>
                <a:gd name="connsiteY12" fmla="*/ 123902 h 145002"/>
                <a:gd name="connsiteX13" fmla="*/ 178854 w 200004"/>
                <a:gd name="connsiteY13" fmla="*/ 134003 h 145002"/>
                <a:gd name="connsiteX14" fmla="*/ 138703 w 200004"/>
                <a:gd name="connsiteY14" fmla="*/ 132053 h 145002"/>
                <a:gd name="connsiteX15" fmla="*/ 190304 w 200004"/>
                <a:gd name="connsiteY15" fmla="*/ 149703 h 145002"/>
                <a:gd name="connsiteX16" fmla="*/ 202704 w 200004"/>
                <a:gd name="connsiteY16" fmla="*/ 101352 h 145002"/>
                <a:gd name="connsiteX17" fmla="*/ 101352 w 200004"/>
                <a:gd name="connsiteY17" fmla="*/ 0 h 145002"/>
                <a:gd name="connsiteX18" fmla="*/ 0 w 200004"/>
                <a:gd name="connsiteY18" fmla="*/ 101352 h 145002"/>
                <a:gd name="connsiteX19" fmla="*/ 12300 w 200004"/>
                <a:gd name="connsiteY19" fmla="*/ 149503 h 145002"/>
                <a:gd name="connsiteX20" fmla="*/ 64701 w 200004"/>
                <a:gd name="connsiteY20" fmla="*/ 131853 h 14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0004" h="145002">
                  <a:moveTo>
                    <a:pt x="64701" y="131853"/>
                  </a:moveTo>
                  <a:lnTo>
                    <a:pt x="23001" y="133703"/>
                  </a:lnTo>
                  <a:lnTo>
                    <a:pt x="83552" y="123802"/>
                  </a:lnTo>
                  <a:lnTo>
                    <a:pt x="36401" y="96452"/>
                  </a:lnTo>
                  <a:lnTo>
                    <a:pt x="91652" y="118852"/>
                  </a:lnTo>
                  <a:lnTo>
                    <a:pt x="76352" y="88152"/>
                  </a:lnTo>
                  <a:lnTo>
                    <a:pt x="98002" y="116402"/>
                  </a:lnTo>
                  <a:lnTo>
                    <a:pt x="100952" y="54551"/>
                  </a:lnTo>
                  <a:lnTo>
                    <a:pt x="104252" y="116402"/>
                  </a:lnTo>
                  <a:lnTo>
                    <a:pt x="126453" y="88152"/>
                  </a:lnTo>
                  <a:lnTo>
                    <a:pt x="110602" y="118852"/>
                  </a:lnTo>
                  <a:lnTo>
                    <a:pt x="165853" y="96552"/>
                  </a:lnTo>
                  <a:lnTo>
                    <a:pt x="118703" y="123902"/>
                  </a:lnTo>
                  <a:lnTo>
                    <a:pt x="178854" y="134003"/>
                  </a:lnTo>
                  <a:lnTo>
                    <a:pt x="138703" y="132053"/>
                  </a:lnTo>
                  <a:cubicBezTo>
                    <a:pt x="157503" y="135453"/>
                    <a:pt x="175004" y="141453"/>
                    <a:pt x="190304" y="149703"/>
                  </a:cubicBezTo>
                  <a:cubicBezTo>
                    <a:pt x="198154" y="135353"/>
                    <a:pt x="202704" y="118902"/>
                    <a:pt x="202704" y="101352"/>
                  </a:cubicBezTo>
                  <a:cubicBezTo>
                    <a:pt x="202704" y="45401"/>
                    <a:pt x="157303" y="0"/>
                    <a:pt x="101352" y="0"/>
                  </a:cubicBezTo>
                  <a:cubicBezTo>
                    <a:pt x="45401" y="0"/>
                    <a:pt x="0" y="45401"/>
                    <a:pt x="0" y="101352"/>
                  </a:cubicBezTo>
                  <a:cubicBezTo>
                    <a:pt x="0" y="118802"/>
                    <a:pt x="4500" y="135203"/>
                    <a:pt x="12300" y="149503"/>
                  </a:cubicBezTo>
                  <a:cubicBezTo>
                    <a:pt x="27801" y="141253"/>
                    <a:pt x="45551" y="135203"/>
                    <a:pt x="64701" y="131853"/>
                  </a:cubicBezTo>
                  <a:close/>
                </a:path>
              </a:pathLst>
            </a:custGeom>
            <a:grpFill/>
            <a:ln w="4982"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2" name="Freeform: Shape 11">
              <a:extLst>
                <a:ext uri="{FF2B5EF4-FFF2-40B4-BE49-F238E27FC236}">
                  <a16:creationId xmlns:a16="http://schemas.microsoft.com/office/drawing/2014/main" id="{D8A2B092-7D7A-4810-80B7-8329AB797CD4}"/>
                </a:ext>
              </a:extLst>
            </p:cNvPr>
            <p:cNvSpPr/>
            <p:nvPr/>
          </p:nvSpPr>
          <p:spPr>
            <a:xfrm>
              <a:off x="11083285" y="599026"/>
              <a:ext cx="225005" cy="65001"/>
            </a:xfrm>
            <a:custGeom>
              <a:avLst/>
              <a:gdLst>
                <a:gd name="connsiteX0" fmla="*/ 225305 w 225004"/>
                <a:gd name="connsiteY0" fmla="*/ 38501 h 65001"/>
                <a:gd name="connsiteX1" fmla="*/ 112652 w 225004"/>
                <a:gd name="connsiteY1" fmla="*/ 0 h 65001"/>
                <a:gd name="connsiteX2" fmla="*/ 0 w 225004"/>
                <a:gd name="connsiteY2" fmla="*/ 38501 h 65001"/>
                <a:gd name="connsiteX3" fmla="*/ 32251 w 225004"/>
                <a:gd name="connsiteY3" fmla="*/ 28951 h 65001"/>
                <a:gd name="connsiteX4" fmla="*/ 112802 w 225004"/>
                <a:gd name="connsiteY4" fmla="*/ 69001 h 65001"/>
                <a:gd name="connsiteX5" fmla="*/ 193304 w 225004"/>
                <a:gd name="connsiteY5" fmla="*/ 29051 h 65001"/>
                <a:gd name="connsiteX6" fmla="*/ 225305 w 225004"/>
                <a:gd name="connsiteY6" fmla="*/ 38501 h 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004" h="65001">
                  <a:moveTo>
                    <a:pt x="225305" y="38501"/>
                  </a:moveTo>
                  <a:cubicBezTo>
                    <a:pt x="199904" y="15150"/>
                    <a:pt x="158903" y="0"/>
                    <a:pt x="112652" y="0"/>
                  </a:cubicBezTo>
                  <a:cubicBezTo>
                    <a:pt x="66401" y="0"/>
                    <a:pt x="25451" y="15150"/>
                    <a:pt x="0" y="38501"/>
                  </a:cubicBezTo>
                  <a:cubicBezTo>
                    <a:pt x="10000" y="34801"/>
                    <a:pt x="20850" y="31651"/>
                    <a:pt x="32251" y="28951"/>
                  </a:cubicBezTo>
                  <a:cubicBezTo>
                    <a:pt x="50751" y="53251"/>
                    <a:pt x="79902" y="69001"/>
                    <a:pt x="112802" y="69001"/>
                  </a:cubicBezTo>
                  <a:cubicBezTo>
                    <a:pt x="145653" y="69001"/>
                    <a:pt x="174804" y="53301"/>
                    <a:pt x="193304" y="29051"/>
                  </a:cubicBezTo>
                  <a:cubicBezTo>
                    <a:pt x="204604" y="31751"/>
                    <a:pt x="215355" y="34851"/>
                    <a:pt x="225305" y="38501"/>
                  </a:cubicBezTo>
                  <a:close/>
                </a:path>
              </a:pathLst>
            </a:custGeom>
            <a:grpFill/>
            <a:ln w="4982"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13" name="Text Placeholder 2">
            <a:extLst>
              <a:ext uri="{FF2B5EF4-FFF2-40B4-BE49-F238E27FC236}">
                <a16:creationId xmlns:a16="http://schemas.microsoft.com/office/drawing/2014/main" id="{4385B810-D51F-480F-99F0-CF5EDD196369}"/>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6" name="Text Placeholder 5">
            <a:extLst>
              <a:ext uri="{FF2B5EF4-FFF2-40B4-BE49-F238E27FC236}">
                <a16:creationId xmlns:a16="http://schemas.microsoft.com/office/drawing/2014/main" id="{99298B8F-4BE3-4951-998C-9CFA975CB237}"/>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E3D4CD55-9B84-46C1-A69B-246D06DB9777}"/>
              </a:ext>
            </a:extLst>
          </p:cNvPr>
          <p:cNvSpPr>
            <a:spLocks noGrp="1"/>
          </p:cNvSpPr>
          <p:nvPr>
            <p:ph type="body" sz="quarter" idx="33"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29411734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Key fac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18898908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381601" y="411856"/>
            <a:ext cx="8601074" cy="609398"/>
          </a:xfrm>
        </p:spPr>
        <p:txBody>
          <a:bodyPr vert="horz" lIns="0" tIns="0" rIns="0" bIns="0" rtlCol="0" anchor="t" anchorCtr="0">
            <a:noAutofit/>
          </a:bodyPr>
          <a:lstStyle>
            <a:lvl1pPr>
              <a:defRPr lang="en-GB" dirty="0">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marL="0" lvl="0"/>
            <a:r>
              <a:rPr lang="en-GB"/>
              <a:t>Click to edit Master title style</a:t>
            </a:r>
            <a:br>
              <a:rPr lang="en-GB"/>
            </a:br>
            <a:endParaRPr lang="en-GB"/>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2755"/>
            <a:ext cx="8601074"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4" name="Text Placeholder 4">
            <a:extLst>
              <a:ext uri="{FF2B5EF4-FFF2-40B4-BE49-F238E27FC236}">
                <a16:creationId xmlns:a16="http://schemas.microsoft.com/office/drawing/2014/main" id="{32BAE579-0324-4306-9E4A-CEFBFBCF8241}"/>
              </a:ext>
            </a:extLst>
          </p:cNvPr>
          <p:cNvSpPr>
            <a:spLocks noGrp="1"/>
          </p:cNvSpPr>
          <p:nvPr>
            <p:ph type="body" sz="quarter" idx="29" hasCustomPrompt="1"/>
          </p:nvPr>
        </p:nvSpPr>
        <p:spPr>
          <a:xfrm>
            <a:off x="381000" y="1263129"/>
            <a:ext cx="8601074"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lvl="0"/>
            <a:r>
              <a:rPr lang="en-GB"/>
              <a:t>(max. 2 lines)</a:t>
            </a:r>
          </a:p>
        </p:txBody>
      </p:sp>
      <p:sp>
        <p:nvSpPr>
          <p:cNvPr id="18" name="372d6bc3-9354-4d6b-957c-e6191d9c64fa">
            <a:extLst>
              <a:ext uri="{FF2B5EF4-FFF2-40B4-BE49-F238E27FC236}">
                <a16:creationId xmlns:a16="http://schemas.microsoft.com/office/drawing/2014/main" id="{98045FE0-93EF-4C6C-97B7-815398D71268}"/>
              </a:ext>
            </a:extLst>
          </p:cNvPr>
          <p:cNvSpPr/>
          <p:nvPr/>
        </p:nvSpPr>
        <p:spPr>
          <a:xfrm flipV="1">
            <a:off x="9220201" y="2"/>
            <a:ext cx="2971799" cy="6857998"/>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24" name="f454b7a7-e679-4423-93fd-eb5c8cfdb3ea">
            <a:extLst>
              <a:ext uri="{FF2B5EF4-FFF2-40B4-BE49-F238E27FC236}">
                <a16:creationId xmlns:a16="http://schemas.microsoft.com/office/drawing/2014/main" id="{9214D2F2-E3DD-4C51-B731-AD5FD781FBE4}"/>
              </a:ext>
            </a:extLst>
          </p:cNvPr>
          <p:cNvGrpSpPr>
            <a:grpSpLocks/>
          </p:cNvGrpSpPr>
          <p:nvPr/>
        </p:nvGrpSpPr>
        <p:grpSpPr>
          <a:xfrm>
            <a:off x="10315575" y="467242"/>
            <a:ext cx="1495425" cy="200915"/>
            <a:chOff x="4412270" y="5962497"/>
            <a:chExt cx="3840163" cy="515938"/>
          </a:xfrm>
        </p:grpSpPr>
        <p:sp>
          <p:nvSpPr>
            <p:cNvPr id="25" name="Freeform 7">
              <a:extLst>
                <a:ext uri="{FF2B5EF4-FFF2-40B4-BE49-F238E27FC236}">
                  <a16:creationId xmlns:a16="http://schemas.microsoft.com/office/drawing/2014/main" id="{8DA25A64-39FC-4C9F-B34F-88CF573E36B4}"/>
                </a:ext>
              </a:extLst>
            </p:cNvPr>
            <p:cNvSpPr>
              <a:spLocks noEditPoints="1"/>
            </p:cNvSpPr>
            <p:nvPr/>
          </p:nvSpPr>
          <p:spPr bwMode="auto">
            <a:xfrm>
              <a:off x="4412270" y="6000597"/>
              <a:ext cx="433388" cy="452438"/>
            </a:xfrm>
            <a:custGeom>
              <a:avLst/>
              <a:gdLst>
                <a:gd name="T0" fmla="*/ 273 w 547"/>
                <a:gd name="T1" fmla="*/ 73 h 570"/>
                <a:gd name="T2" fmla="*/ 153 w 547"/>
                <a:gd name="T3" fmla="*/ 381 h 570"/>
                <a:gd name="T4" fmla="*/ 394 w 547"/>
                <a:gd name="T5" fmla="*/ 381 h 570"/>
                <a:gd name="T6" fmla="*/ 273 w 547"/>
                <a:gd name="T7" fmla="*/ 73 h 570"/>
                <a:gd name="T8" fmla="*/ 229 w 547"/>
                <a:gd name="T9" fmla="*/ 0 h 570"/>
                <a:gd name="T10" fmla="*/ 317 w 547"/>
                <a:gd name="T11" fmla="*/ 0 h 570"/>
                <a:gd name="T12" fmla="*/ 547 w 547"/>
                <a:gd name="T13" fmla="*/ 570 h 570"/>
                <a:gd name="T14" fmla="*/ 466 w 547"/>
                <a:gd name="T15" fmla="*/ 570 h 570"/>
                <a:gd name="T16" fmla="*/ 416 w 547"/>
                <a:gd name="T17" fmla="*/ 444 h 570"/>
                <a:gd name="T18" fmla="*/ 132 w 547"/>
                <a:gd name="T19" fmla="*/ 444 h 570"/>
                <a:gd name="T20" fmla="*/ 81 w 547"/>
                <a:gd name="T21" fmla="*/ 570 h 570"/>
                <a:gd name="T22" fmla="*/ 0 w 547"/>
                <a:gd name="T23" fmla="*/ 570 h 570"/>
                <a:gd name="T24" fmla="*/ 229 w 547"/>
                <a:gd name="T25"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7" h="570">
                  <a:moveTo>
                    <a:pt x="273" y="73"/>
                  </a:moveTo>
                  <a:lnTo>
                    <a:pt x="153" y="381"/>
                  </a:lnTo>
                  <a:lnTo>
                    <a:pt x="394" y="381"/>
                  </a:lnTo>
                  <a:lnTo>
                    <a:pt x="273" y="73"/>
                  </a:lnTo>
                  <a:close/>
                  <a:moveTo>
                    <a:pt x="229" y="0"/>
                  </a:moveTo>
                  <a:lnTo>
                    <a:pt x="317" y="0"/>
                  </a:lnTo>
                  <a:lnTo>
                    <a:pt x="547" y="570"/>
                  </a:lnTo>
                  <a:lnTo>
                    <a:pt x="466" y="570"/>
                  </a:lnTo>
                  <a:lnTo>
                    <a:pt x="416" y="444"/>
                  </a:lnTo>
                  <a:lnTo>
                    <a:pt x="132" y="444"/>
                  </a:lnTo>
                  <a:lnTo>
                    <a:pt x="81" y="570"/>
                  </a:lnTo>
                  <a:lnTo>
                    <a:pt x="0" y="570"/>
                  </a:lnTo>
                  <a:lnTo>
                    <a:pt x="22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6" name="Freeform 8">
              <a:extLst>
                <a:ext uri="{FF2B5EF4-FFF2-40B4-BE49-F238E27FC236}">
                  <a16:creationId xmlns:a16="http://schemas.microsoft.com/office/drawing/2014/main" id="{F5F38BAC-8001-4808-A809-064C9183B318}"/>
                </a:ext>
              </a:extLst>
            </p:cNvPr>
            <p:cNvSpPr>
              <a:spLocks/>
            </p:cNvSpPr>
            <p:nvPr/>
          </p:nvSpPr>
          <p:spPr bwMode="auto">
            <a:xfrm>
              <a:off x="5091720" y="6000597"/>
              <a:ext cx="368300" cy="460375"/>
            </a:xfrm>
            <a:custGeom>
              <a:avLst/>
              <a:gdLst>
                <a:gd name="T0" fmla="*/ 0 w 466"/>
                <a:gd name="T1" fmla="*/ 0 h 581"/>
                <a:gd name="T2" fmla="*/ 71 w 466"/>
                <a:gd name="T3" fmla="*/ 0 h 581"/>
                <a:gd name="T4" fmla="*/ 71 w 466"/>
                <a:gd name="T5" fmla="*/ 347 h 581"/>
                <a:gd name="T6" fmla="*/ 73 w 466"/>
                <a:gd name="T7" fmla="*/ 384 h 581"/>
                <a:gd name="T8" fmla="*/ 82 w 466"/>
                <a:gd name="T9" fmla="*/ 417 h 581"/>
                <a:gd name="T10" fmla="*/ 94 w 466"/>
                <a:gd name="T11" fmla="*/ 447 h 581"/>
                <a:gd name="T12" fmla="*/ 113 w 466"/>
                <a:gd name="T13" fmla="*/ 470 h 581"/>
                <a:gd name="T14" fmla="*/ 135 w 466"/>
                <a:gd name="T15" fmla="*/ 491 h 581"/>
                <a:gd name="T16" fmla="*/ 163 w 466"/>
                <a:gd name="T17" fmla="*/ 506 h 581"/>
                <a:gd name="T18" fmla="*/ 195 w 466"/>
                <a:gd name="T19" fmla="*/ 514 h 581"/>
                <a:gd name="T20" fmla="*/ 232 w 466"/>
                <a:gd name="T21" fmla="*/ 517 h 581"/>
                <a:gd name="T22" fmla="*/ 270 w 466"/>
                <a:gd name="T23" fmla="*/ 514 h 581"/>
                <a:gd name="T24" fmla="*/ 303 w 466"/>
                <a:gd name="T25" fmla="*/ 506 h 581"/>
                <a:gd name="T26" fmla="*/ 331 w 466"/>
                <a:gd name="T27" fmla="*/ 491 h 581"/>
                <a:gd name="T28" fmla="*/ 353 w 466"/>
                <a:gd name="T29" fmla="*/ 470 h 581"/>
                <a:gd name="T30" fmla="*/ 370 w 466"/>
                <a:gd name="T31" fmla="*/ 447 h 581"/>
                <a:gd name="T32" fmla="*/ 383 w 466"/>
                <a:gd name="T33" fmla="*/ 417 h 581"/>
                <a:gd name="T34" fmla="*/ 392 w 466"/>
                <a:gd name="T35" fmla="*/ 384 h 581"/>
                <a:gd name="T36" fmla="*/ 394 w 466"/>
                <a:gd name="T37" fmla="*/ 347 h 581"/>
                <a:gd name="T38" fmla="*/ 394 w 466"/>
                <a:gd name="T39" fmla="*/ 0 h 581"/>
                <a:gd name="T40" fmla="*/ 466 w 466"/>
                <a:gd name="T41" fmla="*/ 0 h 581"/>
                <a:gd name="T42" fmla="*/ 466 w 466"/>
                <a:gd name="T43" fmla="*/ 347 h 581"/>
                <a:gd name="T44" fmla="*/ 463 w 466"/>
                <a:gd name="T45" fmla="*/ 388 h 581"/>
                <a:gd name="T46" fmla="*/ 455 w 466"/>
                <a:gd name="T47" fmla="*/ 426 h 581"/>
                <a:gd name="T48" fmla="*/ 444 w 466"/>
                <a:gd name="T49" fmla="*/ 460 h 581"/>
                <a:gd name="T50" fmla="*/ 428 w 466"/>
                <a:gd name="T51" fmla="*/ 491 h 581"/>
                <a:gd name="T52" fmla="*/ 407 w 466"/>
                <a:gd name="T53" fmla="*/ 517 h 581"/>
                <a:gd name="T54" fmla="*/ 382 w 466"/>
                <a:gd name="T55" fmla="*/ 539 h 581"/>
                <a:gd name="T56" fmla="*/ 351 w 466"/>
                <a:gd name="T57" fmla="*/ 557 h 581"/>
                <a:gd name="T58" fmla="*/ 316 w 466"/>
                <a:gd name="T59" fmla="*/ 570 h 581"/>
                <a:gd name="T60" fmla="*/ 276 w 466"/>
                <a:gd name="T61" fmla="*/ 578 h 581"/>
                <a:gd name="T62" fmla="*/ 232 w 466"/>
                <a:gd name="T63" fmla="*/ 581 h 581"/>
                <a:gd name="T64" fmla="*/ 188 w 466"/>
                <a:gd name="T65" fmla="*/ 578 h 581"/>
                <a:gd name="T66" fmla="*/ 148 w 466"/>
                <a:gd name="T67" fmla="*/ 569 h 581"/>
                <a:gd name="T68" fmla="*/ 115 w 466"/>
                <a:gd name="T69" fmla="*/ 557 h 581"/>
                <a:gd name="T70" fmla="*/ 84 w 466"/>
                <a:gd name="T71" fmla="*/ 539 h 581"/>
                <a:gd name="T72" fmla="*/ 59 w 466"/>
                <a:gd name="T73" fmla="*/ 517 h 581"/>
                <a:gd name="T74" fmla="*/ 38 w 466"/>
                <a:gd name="T75" fmla="*/ 491 h 581"/>
                <a:gd name="T76" fmla="*/ 21 w 466"/>
                <a:gd name="T77" fmla="*/ 460 h 581"/>
                <a:gd name="T78" fmla="*/ 9 w 466"/>
                <a:gd name="T79" fmla="*/ 426 h 581"/>
                <a:gd name="T80" fmla="*/ 3 w 466"/>
                <a:gd name="T81" fmla="*/ 389 h 581"/>
                <a:gd name="T82" fmla="*/ 0 w 466"/>
                <a:gd name="T83" fmla="*/ 348 h 581"/>
                <a:gd name="T84" fmla="*/ 0 w 466"/>
                <a:gd name="T85" fmla="*/ 0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66" h="581">
                  <a:moveTo>
                    <a:pt x="0" y="0"/>
                  </a:moveTo>
                  <a:lnTo>
                    <a:pt x="71" y="0"/>
                  </a:lnTo>
                  <a:lnTo>
                    <a:pt x="71" y="347"/>
                  </a:lnTo>
                  <a:lnTo>
                    <a:pt x="73" y="384"/>
                  </a:lnTo>
                  <a:lnTo>
                    <a:pt x="82" y="417"/>
                  </a:lnTo>
                  <a:lnTo>
                    <a:pt x="94" y="447"/>
                  </a:lnTo>
                  <a:lnTo>
                    <a:pt x="113" y="470"/>
                  </a:lnTo>
                  <a:lnTo>
                    <a:pt x="135" y="491"/>
                  </a:lnTo>
                  <a:lnTo>
                    <a:pt x="163" y="506"/>
                  </a:lnTo>
                  <a:lnTo>
                    <a:pt x="195" y="514"/>
                  </a:lnTo>
                  <a:lnTo>
                    <a:pt x="232" y="517"/>
                  </a:lnTo>
                  <a:lnTo>
                    <a:pt x="270" y="514"/>
                  </a:lnTo>
                  <a:lnTo>
                    <a:pt x="303" y="506"/>
                  </a:lnTo>
                  <a:lnTo>
                    <a:pt x="331" y="491"/>
                  </a:lnTo>
                  <a:lnTo>
                    <a:pt x="353" y="470"/>
                  </a:lnTo>
                  <a:lnTo>
                    <a:pt x="370" y="447"/>
                  </a:lnTo>
                  <a:lnTo>
                    <a:pt x="383" y="417"/>
                  </a:lnTo>
                  <a:lnTo>
                    <a:pt x="392" y="384"/>
                  </a:lnTo>
                  <a:lnTo>
                    <a:pt x="394" y="347"/>
                  </a:lnTo>
                  <a:lnTo>
                    <a:pt x="394" y="0"/>
                  </a:lnTo>
                  <a:lnTo>
                    <a:pt x="466" y="0"/>
                  </a:lnTo>
                  <a:lnTo>
                    <a:pt x="466" y="347"/>
                  </a:lnTo>
                  <a:lnTo>
                    <a:pt x="463" y="388"/>
                  </a:lnTo>
                  <a:lnTo>
                    <a:pt x="455" y="426"/>
                  </a:lnTo>
                  <a:lnTo>
                    <a:pt x="444" y="460"/>
                  </a:lnTo>
                  <a:lnTo>
                    <a:pt x="428" y="491"/>
                  </a:lnTo>
                  <a:lnTo>
                    <a:pt x="407" y="517"/>
                  </a:lnTo>
                  <a:lnTo>
                    <a:pt x="382" y="539"/>
                  </a:lnTo>
                  <a:lnTo>
                    <a:pt x="351" y="557"/>
                  </a:lnTo>
                  <a:lnTo>
                    <a:pt x="316" y="570"/>
                  </a:lnTo>
                  <a:lnTo>
                    <a:pt x="276" y="578"/>
                  </a:lnTo>
                  <a:lnTo>
                    <a:pt x="232" y="581"/>
                  </a:lnTo>
                  <a:lnTo>
                    <a:pt x="188" y="578"/>
                  </a:lnTo>
                  <a:lnTo>
                    <a:pt x="148" y="569"/>
                  </a:lnTo>
                  <a:lnTo>
                    <a:pt x="115" y="557"/>
                  </a:lnTo>
                  <a:lnTo>
                    <a:pt x="84" y="539"/>
                  </a:lnTo>
                  <a:lnTo>
                    <a:pt x="59" y="517"/>
                  </a:lnTo>
                  <a:lnTo>
                    <a:pt x="38" y="491"/>
                  </a:lnTo>
                  <a:lnTo>
                    <a:pt x="21" y="460"/>
                  </a:lnTo>
                  <a:lnTo>
                    <a:pt x="9" y="426"/>
                  </a:lnTo>
                  <a:lnTo>
                    <a:pt x="3" y="389"/>
                  </a:lnTo>
                  <a:lnTo>
                    <a:pt x="0" y="34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0" name="Freeform 9">
              <a:extLst>
                <a:ext uri="{FF2B5EF4-FFF2-40B4-BE49-F238E27FC236}">
                  <a16:creationId xmlns:a16="http://schemas.microsoft.com/office/drawing/2014/main" id="{46C9943F-3D9C-4871-AD7B-1E320FBEB0CA}"/>
                </a:ext>
              </a:extLst>
            </p:cNvPr>
            <p:cNvSpPr>
              <a:spLocks noEditPoints="1"/>
            </p:cNvSpPr>
            <p:nvPr/>
          </p:nvSpPr>
          <p:spPr bwMode="auto">
            <a:xfrm>
              <a:off x="5769583" y="6000597"/>
              <a:ext cx="327025" cy="452438"/>
            </a:xfrm>
            <a:custGeom>
              <a:avLst/>
              <a:gdLst>
                <a:gd name="T0" fmla="*/ 71 w 413"/>
                <a:gd name="T1" fmla="*/ 63 h 570"/>
                <a:gd name="T2" fmla="*/ 71 w 413"/>
                <a:gd name="T3" fmla="*/ 281 h 570"/>
                <a:gd name="T4" fmla="*/ 220 w 413"/>
                <a:gd name="T5" fmla="*/ 281 h 570"/>
                <a:gd name="T6" fmla="*/ 251 w 413"/>
                <a:gd name="T7" fmla="*/ 278 h 570"/>
                <a:gd name="T8" fmla="*/ 279 w 413"/>
                <a:gd name="T9" fmla="*/ 267 h 570"/>
                <a:gd name="T10" fmla="*/ 303 w 413"/>
                <a:gd name="T11" fmla="*/ 250 h 570"/>
                <a:gd name="T12" fmla="*/ 319 w 413"/>
                <a:gd name="T13" fmla="*/ 228 h 570"/>
                <a:gd name="T14" fmla="*/ 331 w 413"/>
                <a:gd name="T15" fmla="*/ 201 h 570"/>
                <a:gd name="T16" fmla="*/ 334 w 413"/>
                <a:gd name="T17" fmla="*/ 172 h 570"/>
                <a:gd name="T18" fmla="*/ 331 w 413"/>
                <a:gd name="T19" fmla="*/ 141 h 570"/>
                <a:gd name="T20" fmla="*/ 319 w 413"/>
                <a:gd name="T21" fmla="*/ 115 h 570"/>
                <a:gd name="T22" fmla="*/ 303 w 413"/>
                <a:gd name="T23" fmla="*/ 93 h 570"/>
                <a:gd name="T24" fmla="*/ 279 w 413"/>
                <a:gd name="T25" fmla="*/ 76 h 570"/>
                <a:gd name="T26" fmla="*/ 251 w 413"/>
                <a:gd name="T27" fmla="*/ 66 h 570"/>
                <a:gd name="T28" fmla="*/ 220 w 413"/>
                <a:gd name="T29" fmla="*/ 63 h 570"/>
                <a:gd name="T30" fmla="*/ 71 w 413"/>
                <a:gd name="T31" fmla="*/ 63 h 570"/>
                <a:gd name="T32" fmla="*/ 0 w 413"/>
                <a:gd name="T33" fmla="*/ 0 h 570"/>
                <a:gd name="T34" fmla="*/ 229 w 413"/>
                <a:gd name="T35" fmla="*/ 0 h 570"/>
                <a:gd name="T36" fmla="*/ 266 w 413"/>
                <a:gd name="T37" fmla="*/ 3 h 570"/>
                <a:gd name="T38" fmla="*/ 301 w 413"/>
                <a:gd name="T39" fmla="*/ 12 h 570"/>
                <a:gd name="T40" fmla="*/ 331 w 413"/>
                <a:gd name="T41" fmla="*/ 26 h 570"/>
                <a:gd name="T42" fmla="*/ 357 w 413"/>
                <a:gd name="T43" fmla="*/ 46 h 570"/>
                <a:gd name="T44" fmla="*/ 378 w 413"/>
                <a:gd name="T45" fmla="*/ 71 h 570"/>
                <a:gd name="T46" fmla="*/ 394 w 413"/>
                <a:gd name="T47" fmla="*/ 100 h 570"/>
                <a:gd name="T48" fmla="*/ 404 w 413"/>
                <a:gd name="T49" fmla="*/ 134 h 570"/>
                <a:gd name="T50" fmla="*/ 407 w 413"/>
                <a:gd name="T51" fmla="*/ 172 h 570"/>
                <a:gd name="T52" fmla="*/ 404 w 413"/>
                <a:gd name="T53" fmla="*/ 207 h 570"/>
                <a:gd name="T54" fmla="*/ 395 w 413"/>
                <a:gd name="T55" fmla="*/ 240 h 570"/>
                <a:gd name="T56" fmla="*/ 381 w 413"/>
                <a:gd name="T57" fmla="*/ 267 h 570"/>
                <a:gd name="T58" fmla="*/ 363 w 413"/>
                <a:gd name="T59" fmla="*/ 291 h 570"/>
                <a:gd name="T60" fmla="*/ 341 w 413"/>
                <a:gd name="T61" fmla="*/ 309 h 570"/>
                <a:gd name="T62" fmla="*/ 316 w 413"/>
                <a:gd name="T63" fmla="*/ 323 h 570"/>
                <a:gd name="T64" fmla="*/ 288 w 413"/>
                <a:gd name="T65" fmla="*/ 332 h 570"/>
                <a:gd name="T66" fmla="*/ 260 w 413"/>
                <a:gd name="T67" fmla="*/ 338 h 570"/>
                <a:gd name="T68" fmla="*/ 413 w 413"/>
                <a:gd name="T69" fmla="*/ 570 h 570"/>
                <a:gd name="T70" fmla="*/ 329 w 413"/>
                <a:gd name="T71" fmla="*/ 570 h 570"/>
                <a:gd name="T72" fmla="*/ 184 w 413"/>
                <a:gd name="T73" fmla="*/ 344 h 570"/>
                <a:gd name="T74" fmla="*/ 71 w 413"/>
                <a:gd name="T75" fmla="*/ 344 h 570"/>
                <a:gd name="T76" fmla="*/ 71 w 413"/>
                <a:gd name="T77" fmla="*/ 570 h 570"/>
                <a:gd name="T78" fmla="*/ 0 w 413"/>
                <a:gd name="T79" fmla="*/ 570 h 570"/>
                <a:gd name="T80" fmla="*/ 0 w 413"/>
                <a:gd name="T8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3" h="570">
                  <a:moveTo>
                    <a:pt x="71" y="63"/>
                  </a:moveTo>
                  <a:lnTo>
                    <a:pt x="71" y="281"/>
                  </a:lnTo>
                  <a:lnTo>
                    <a:pt x="220" y="281"/>
                  </a:lnTo>
                  <a:lnTo>
                    <a:pt x="251" y="278"/>
                  </a:lnTo>
                  <a:lnTo>
                    <a:pt x="279" y="267"/>
                  </a:lnTo>
                  <a:lnTo>
                    <a:pt x="303" y="250"/>
                  </a:lnTo>
                  <a:lnTo>
                    <a:pt x="319" y="228"/>
                  </a:lnTo>
                  <a:lnTo>
                    <a:pt x="331" y="201"/>
                  </a:lnTo>
                  <a:lnTo>
                    <a:pt x="334" y="172"/>
                  </a:lnTo>
                  <a:lnTo>
                    <a:pt x="331" y="141"/>
                  </a:lnTo>
                  <a:lnTo>
                    <a:pt x="319" y="115"/>
                  </a:lnTo>
                  <a:lnTo>
                    <a:pt x="303" y="93"/>
                  </a:lnTo>
                  <a:lnTo>
                    <a:pt x="279" y="76"/>
                  </a:lnTo>
                  <a:lnTo>
                    <a:pt x="251" y="66"/>
                  </a:lnTo>
                  <a:lnTo>
                    <a:pt x="220" y="63"/>
                  </a:lnTo>
                  <a:lnTo>
                    <a:pt x="71" y="63"/>
                  </a:lnTo>
                  <a:close/>
                  <a:moveTo>
                    <a:pt x="0" y="0"/>
                  </a:moveTo>
                  <a:lnTo>
                    <a:pt x="229" y="0"/>
                  </a:lnTo>
                  <a:lnTo>
                    <a:pt x="266" y="3"/>
                  </a:lnTo>
                  <a:lnTo>
                    <a:pt x="301" y="12"/>
                  </a:lnTo>
                  <a:lnTo>
                    <a:pt x="331" y="26"/>
                  </a:lnTo>
                  <a:lnTo>
                    <a:pt x="357" y="46"/>
                  </a:lnTo>
                  <a:lnTo>
                    <a:pt x="378" y="71"/>
                  </a:lnTo>
                  <a:lnTo>
                    <a:pt x="394" y="100"/>
                  </a:lnTo>
                  <a:lnTo>
                    <a:pt x="404" y="134"/>
                  </a:lnTo>
                  <a:lnTo>
                    <a:pt x="407" y="172"/>
                  </a:lnTo>
                  <a:lnTo>
                    <a:pt x="404" y="207"/>
                  </a:lnTo>
                  <a:lnTo>
                    <a:pt x="395" y="240"/>
                  </a:lnTo>
                  <a:lnTo>
                    <a:pt x="381" y="267"/>
                  </a:lnTo>
                  <a:lnTo>
                    <a:pt x="363" y="291"/>
                  </a:lnTo>
                  <a:lnTo>
                    <a:pt x="341" y="309"/>
                  </a:lnTo>
                  <a:lnTo>
                    <a:pt x="316" y="323"/>
                  </a:lnTo>
                  <a:lnTo>
                    <a:pt x="288" y="332"/>
                  </a:lnTo>
                  <a:lnTo>
                    <a:pt x="260" y="338"/>
                  </a:lnTo>
                  <a:lnTo>
                    <a:pt x="413" y="570"/>
                  </a:lnTo>
                  <a:lnTo>
                    <a:pt x="329" y="570"/>
                  </a:lnTo>
                  <a:lnTo>
                    <a:pt x="184" y="344"/>
                  </a:lnTo>
                  <a:lnTo>
                    <a:pt x="71" y="344"/>
                  </a:lnTo>
                  <a:lnTo>
                    <a:pt x="71" y="570"/>
                  </a:lnTo>
                  <a:lnTo>
                    <a:pt x="0" y="570"/>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1" name="Freeform 10">
              <a:extLst>
                <a:ext uri="{FF2B5EF4-FFF2-40B4-BE49-F238E27FC236}">
                  <a16:creationId xmlns:a16="http://schemas.microsoft.com/office/drawing/2014/main" id="{6CA1C8F6-67FD-412D-8FB4-BD1BB9DCDE2B}"/>
                </a:ext>
              </a:extLst>
            </p:cNvPr>
            <p:cNvSpPr>
              <a:spLocks noEditPoints="1"/>
            </p:cNvSpPr>
            <p:nvPr/>
          </p:nvSpPr>
          <p:spPr bwMode="auto">
            <a:xfrm>
              <a:off x="7247545" y="6000597"/>
              <a:ext cx="330200" cy="452438"/>
            </a:xfrm>
            <a:custGeom>
              <a:avLst/>
              <a:gdLst>
                <a:gd name="T0" fmla="*/ 72 w 414"/>
                <a:gd name="T1" fmla="*/ 63 h 570"/>
                <a:gd name="T2" fmla="*/ 72 w 414"/>
                <a:gd name="T3" fmla="*/ 281 h 570"/>
                <a:gd name="T4" fmla="*/ 220 w 414"/>
                <a:gd name="T5" fmla="*/ 281 h 570"/>
                <a:gd name="T6" fmla="*/ 253 w 414"/>
                <a:gd name="T7" fmla="*/ 278 h 570"/>
                <a:gd name="T8" fmla="*/ 280 w 414"/>
                <a:gd name="T9" fmla="*/ 267 h 570"/>
                <a:gd name="T10" fmla="*/ 302 w 414"/>
                <a:gd name="T11" fmla="*/ 250 h 570"/>
                <a:gd name="T12" fmla="*/ 320 w 414"/>
                <a:gd name="T13" fmla="*/ 228 h 570"/>
                <a:gd name="T14" fmla="*/ 330 w 414"/>
                <a:gd name="T15" fmla="*/ 201 h 570"/>
                <a:gd name="T16" fmla="*/ 335 w 414"/>
                <a:gd name="T17" fmla="*/ 172 h 570"/>
                <a:gd name="T18" fmla="*/ 330 w 414"/>
                <a:gd name="T19" fmla="*/ 141 h 570"/>
                <a:gd name="T20" fmla="*/ 320 w 414"/>
                <a:gd name="T21" fmla="*/ 115 h 570"/>
                <a:gd name="T22" fmla="*/ 302 w 414"/>
                <a:gd name="T23" fmla="*/ 93 h 570"/>
                <a:gd name="T24" fmla="*/ 280 w 414"/>
                <a:gd name="T25" fmla="*/ 76 h 570"/>
                <a:gd name="T26" fmla="*/ 253 w 414"/>
                <a:gd name="T27" fmla="*/ 66 h 570"/>
                <a:gd name="T28" fmla="*/ 220 w 414"/>
                <a:gd name="T29" fmla="*/ 63 h 570"/>
                <a:gd name="T30" fmla="*/ 72 w 414"/>
                <a:gd name="T31" fmla="*/ 63 h 570"/>
                <a:gd name="T32" fmla="*/ 0 w 414"/>
                <a:gd name="T33" fmla="*/ 0 h 570"/>
                <a:gd name="T34" fmla="*/ 229 w 414"/>
                <a:gd name="T35" fmla="*/ 0 h 570"/>
                <a:gd name="T36" fmla="*/ 267 w 414"/>
                <a:gd name="T37" fmla="*/ 3 h 570"/>
                <a:gd name="T38" fmla="*/ 301 w 414"/>
                <a:gd name="T39" fmla="*/ 12 h 570"/>
                <a:gd name="T40" fmla="*/ 332 w 414"/>
                <a:gd name="T41" fmla="*/ 26 h 570"/>
                <a:gd name="T42" fmla="*/ 358 w 414"/>
                <a:gd name="T43" fmla="*/ 46 h 570"/>
                <a:gd name="T44" fmla="*/ 379 w 414"/>
                <a:gd name="T45" fmla="*/ 71 h 570"/>
                <a:gd name="T46" fmla="*/ 395 w 414"/>
                <a:gd name="T47" fmla="*/ 100 h 570"/>
                <a:gd name="T48" fmla="*/ 405 w 414"/>
                <a:gd name="T49" fmla="*/ 134 h 570"/>
                <a:gd name="T50" fmla="*/ 408 w 414"/>
                <a:gd name="T51" fmla="*/ 172 h 570"/>
                <a:gd name="T52" fmla="*/ 405 w 414"/>
                <a:gd name="T53" fmla="*/ 207 h 570"/>
                <a:gd name="T54" fmla="*/ 396 w 414"/>
                <a:gd name="T55" fmla="*/ 240 h 570"/>
                <a:gd name="T56" fmla="*/ 382 w 414"/>
                <a:gd name="T57" fmla="*/ 267 h 570"/>
                <a:gd name="T58" fmla="*/ 363 w 414"/>
                <a:gd name="T59" fmla="*/ 291 h 570"/>
                <a:gd name="T60" fmla="*/ 341 w 414"/>
                <a:gd name="T61" fmla="*/ 309 h 570"/>
                <a:gd name="T62" fmla="*/ 316 w 414"/>
                <a:gd name="T63" fmla="*/ 323 h 570"/>
                <a:gd name="T64" fmla="*/ 289 w 414"/>
                <a:gd name="T65" fmla="*/ 332 h 570"/>
                <a:gd name="T66" fmla="*/ 260 w 414"/>
                <a:gd name="T67" fmla="*/ 338 h 570"/>
                <a:gd name="T68" fmla="*/ 414 w 414"/>
                <a:gd name="T69" fmla="*/ 570 h 570"/>
                <a:gd name="T70" fmla="*/ 330 w 414"/>
                <a:gd name="T71" fmla="*/ 570 h 570"/>
                <a:gd name="T72" fmla="*/ 185 w 414"/>
                <a:gd name="T73" fmla="*/ 344 h 570"/>
                <a:gd name="T74" fmla="*/ 72 w 414"/>
                <a:gd name="T75" fmla="*/ 344 h 570"/>
                <a:gd name="T76" fmla="*/ 72 w 414"/>
                <a:gd name="T77" fmla="*/ 570 h 570"/>
                <a:gd name="T78" fmla="*/ 0 w 414"/>
                <a:gd name="T79" fmla="*/ 570 h 570"/>
                <a:gd name="T80" fmla="*/ 0 w 414"/>
                <a:gd name="T8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4" h="570">
                  <a:moveTo>
                    <a:pt x="72" y="63"/>
                  </a:moveTo>
                  <a:lnTo>
                    <a:pt x="72" y="281"/>
                  </a:lnTo>
                  <a:lnTo>
                    <a:pt x="220" y="281"/>
                  </a:lnTo>
                  <a:lnTo>
                    <a:pt x="253" y="278"/>
                  </a:lnTo>
                  <a:lnTo>
                    <a:pt x="280" y="267"/>
                  </a:lnTo>
                  <a:lnTo>
                    <a:pt x="302" y="250"/>
                  </a:lnTo>
                  <a:lnTo>
                    <a:pt x="320" y="228"/>
                  </a:lnTo>
                  <a:lnTo>
                    <a:pt x="330" y="201"/>
                  </a:lnTo>
                  <a:lnTo>
                    <a:pt x="335" y="172"/>
                  </a:lnTo>
                  <a:lnTo>
                    <a:pt x="330" y="141"/>
                  </a:lnTo>
                  <a:lnTo>
                    <a:pt x="320" y="115"/>
                  </a:lnTo>
                  <a:lnTo>
                    <a:pt x="302" y="93"/>
                  </a:lnTo>
                  <a:lnTo>
                    <a:pt x="280" y="76"/>
                  </a:lnTo>
                  <a:lnTo>
                    <a:pt x="253" y="66"/>
                  </a:lnTo>
                  <a:lnTo>
                    <a:pt x="220" y="63"/>
                  </a:lnTo>
                  <a:lnTo>
                    <a:pt x="72" y="63"/>
                  </a:lnTo>
                  <a:close/>
                  <a:moveTo>
                    <a:pt x="0" y="0"/>
                  </a:moveTo>
                  <a:lnTo>
                    <a:pt x="229" y="0"/>
                  </a:lnTo>
                  <a:lnTo>
                    <a:pt x="267" y="3"/>
                  </a:lnTo>
                  <a:lnTo>
                    <a:pt x="301" y="12"/>
                  </a:lnTo>
                  <a:lnTo>
                    <a:pt x="332" y="26"/>
                  </a:lnTo>
                  <a:lnTo>
                    <a:pt x="358" y="46"/>
                  </a:lnTo>
                  <a:lnTo>
                    <a:pt x="379" y="71"/>
                  </a:lnTo>
                  <a:lnTo>
                    <a:pt x="395" y="100"/>
                  </a:lnTo>
                  <a:lnTo>
                    <a:pt x="405" y="134"/>
                  </a:lnTo>
                  <a:lnTo>
                    <a:pt x="408" y="172"/>
                  </a:lnTo>
                  <a:lnTo>
                    <a:pt x="405" y="207"/>
                  </a:lnTo>
                  <a:lnTo>
                    <a:pt x="396" y="240"/>
                  </a:lnTo>
                  <a:lnTo>
                    <a:pt x="382" y="267"/>
                  </a:lnTo>
                  <a:lnTo>
                    <a:pt x="363" y="291"/>
                  </a:lnTo>
                  <a:lnTo>
                    <a:pt x="341" y="309"/>
                  </a:lnTo>
                  <a:lnTo>
                    <a:pt x="316" y="323"/>
                  </a:lnTo>
                  <a:lnTo>
                    <a:pt x="289" y="332"/>
                  </a:lnTo>
                  <a:lnTo>
                    <a:pt x="260" y="338"/>
                  </a:lnTo>
                  <a:lnTo>
                    <a:pt x="414" y="570"/>
                  </a:lnTo>
                  <a:lnTo>
                    <a:pt x="330" y="570"/>
                  </a:lnTo>
                  <a:lnTo>
                    <a:pt x="185" y="344"/>
                  </a:lnTo>
                  <a:lnTo>
                    <a:pt x="72" y="344"/>
                  </a:lnTo>
                  <a:lnTo>
                    <a:pt x="72" y="570"/>
                  </a:lnTo>
                  <a:lnTo>
                    <a:pt x="0" y="570"/>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3" name="Freeform 11">
              <a:extLst>
                <a:ext uri="{FF2B5EF4-FFF2-40B4-BE49-F238E27FC236}">
                  <a16:creationId xmlns:a16="http://schemas.microsoft.com/office/drawing/2014/main" id="{1BF77FA2-453F-46AC-88C7-A53B318A4C81}"/>
                </a:ext>
              </a:extLst>
            </p:cNvPr>
            <p:cNvSpPr>
              <a:spLocks noEditPoints="1"/>
            </p:cNvSpPr>
            <p:nvPr/>
          </p:nvSpPr>
          <p:spPr bwMode="auto">
            <a:xfrm>
              <a:off x="7817458" y="6000597"/>
              <a:ext cx="434975" cy="452438"/>
            </a:xfrm>
            <a:custGeom>
              <a:avLst/>
              <a:gdLst>
                <a:gd name="T0" fmla="*/ 273 w 548"/>
                <a:gd name="T1" fmla="*/ 73 h 570"/>
                <a:gd name="T2" fmla="*/ 153 w 548"/>
                <a:gd name="T3" fmla="*/ 381 h 570"/>
                <a:gd name="T4" fmla="*/ 393 w 548"/>
                <a:gd name="T5" fmla="*/ 381 h 570"/>
                <a:gd name="T6" fmla="*/ 273 w 548"/>
                <a:gd name="T7" fmla="*/ 73 h 570"/>
                <a:gd name="T8" fmla="*/ 229 w 548"/>
                <a:gd name="T9" fmla="*/ 0 h 570"/>
                <a:gd name="T10" fmla="*/ 317 w 548"/>
                <a:gd name="T11" fmla="*/ 0 h 570"/>
                <a:gd name="T12" fmla="*/ 548 w 548"/>
                <a:gd name="T13" fmla="*/ 570 h 570"/>
                <a:gd name="T14" fmla="*/ 548 w 548"/>
                <a:gd name="T15" fmla="*/ 570 h 570"/>
                <a:gd name="T16" fmla="*/ 465 w 548"/>
                <a:gd name="T17" fmla="*/ 570 h 570"/>
                <a:gd name="T18" fmla="*/ 415 w 548"/>
                <a:gd name="T19" fmla="*/ 444 h 570"/>
                <a:gd name="T20" fmla="*/ 132 w 548"/>
                <a:gd name="T21" fmla="*/ 444 h 570"/>
                <a:gd name="T22" fmla="*/ 82 w 548"/>
                <a:gd name="T23" fmla="*/ 570 h 570"/>
                <a:gd name="T24" fmla="*/ 0 w 548"/>
                <a:gd name="T25" fmla="*/ 570 h 570"/>
                <a:gd name="T26" fmla="*/ 229 w 548"/>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8" h="570">
                  <a:moveTo>
                    <a:pt x="273" y="73"/>
                  </a:moveTo>
                  <a:lnTo>
                    <a:pt x="153" y="381"/>
                  </a:lnTo>
                  <a:lnTo>
                    <a:pt x="393" y="381"/>
                  </a:lnTo>
                  <a:lnTo>
                    <a:pt x="273" y="73"/>
                  </a:lnTo>
                  <a:close/>
                  <a:moveTo>
                    <a:pt x="229" y="0"/>
                  </a:moveTo>
                  <a:lnTo>
                    <a:pt x="317" y="0"/>
                  </a:lnTo>
                  <a:lnTo>
                    <a:pt x="548" y="570"/>
                  </a:lnTo>
                  <a:lnTo>
                    <a:pt x="548" y="570"/>
                  </a:lnTo>
                  <a:lnTo>
                    <a:pt x="465" y="570"/>
                  </a:lnTo>
                  <a:lnTo>
                    <a:pt x="415" y="444"/>
                  </a:lnTo>
                  <a:lnTo>
                    <a:pt x="132" y="444"/>
                  </a:lnTo>
                  <a:lnTo>
                    <a:pt x="82" y="570"/>
                  </a:lnTo>
                  <a:lnTo>
                    <a:pt x="0" y="570"/>
                  </a:lnTo>
                  <a:lnTo>
                    <a:pt x="22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5" name="Freeform 26">
              <a:extLst>
                <a:ext uri="{FF2B5EF4-FFF2-40B4-BE49-F238E27FC236}">
                  <a16:creationId xmlns:a16="http://schemas.microsoft.com/office/drawing/2014/main" id="{52734611-9414-4FBB-8752-6E36D291F0D5}"/>
                </a:ext>
              </a:extLst>
            </p:cNvPr>
            <p:cNvSpPr>
              <a:spLocks/>
            </p:cNvSpPr>
            <p:nvPr/>
          </p:nvSpPr>
          <p:spPr bwMode="auto">
            <a:xfrm>
              <a:off x="6412520" y="5962497"/>
              <a:ext cx="514350" cy="381000"/>
            </a:xfrm>
            <a:custGeom>
              <a:avLst/>
              <a:gdLst>
                <a:gd name="T0" fmla="*/ 325 w 650"/>
                <a:gd name="T1" fmla="*/ 0 h 479"/>
                <a:gd name="T2" fmla="*/ 378 w 650"/>
                <a:gd name="T3" fmla="*/ 4 h 479"/>
                <a:gd name="T4" fmla="*/ 428 w 650"/>
                <a:gd name="T5" fmla="*/ 18 h 479"/>
                <a:gd name="T6" fmla="*/ 474 w 650"/>
                <a:gd name="T7" fmla="*/ 37 h 479"/>
                <a:gd name="T8" fmla="*/ 516 w 650"/>
                <a:gd name="T9" fmla="*/ 63 h 479"/>
                <a:gd name="T10" fmla="*/ 554 w 650"/>
                <a:gd name="T11" fmla="*/ 95 h 479"/>
                <a:gd name="T12" fmla="*/ 587 w 650"/>
                <a:gd name="T13" fmla="*/ 134 h 479"/>
                <a:gd name="T14" fmla="*/ 613 w 650"/>
                <a:gd name="T15" fmla="*/ 176 h 479"/>
                <a:gd name="T16" fmla="*/ 632 w 650"/>
                <a:gd name="T17" fmla="*/ 222 h 479"/>
                <a:gd name="T18" fmla="*/ 645 w 650"/>
                <a:gd name="T19" fmla="*/ 272 h 479"/>
                <a:gd name="T20" fmla="*/ 650 w 650"/>
                <a:gd name="T21" fmla="*/ 325 h 479"/>
                <a:gd name="T22" fmla="*/ 647 w 650"/>
                <a:gd name="T23" fmla="*/ 366 h 479"/>
                <a:gd name="T24" fmla="*/ 638 w 650"/>
                <a:gd name="T25" fmla="*/ 406 h 479"/>
                <a:gd name="T26" fmla="*/ 626 w 650"/>
                <a:gd name="T27" fmla="*/ 444 h 479"/>
                <a:gd name="T28" fmla="*/ 610 w 650"/>
                <a:gd name="T29" fmla="*/ 479 h 479"/>
                <a:gd name="T30" fmla="*/ 559 w 650"/>
                <a:gd name="T31" fmla="*/ 456 h 479"/>
                <a:gd name="T32" fmla="*/ 503 w 650"/>
                <a:gd name="T33" fmla="*/ 436 h 479"/>
                <a:gd name="T34" fmla="*/ 444 w 650"/>
                <a:gd name="T35" fmla="*/ 423 h 479"/>
                <a:gd name="T36" fmla="*/ 573 w 650"/>
                <a:gd name="T37" fmla="*/ 429 h 479"/>
                <a:gd name="T38" fmla="*/ 381 w 650"/>
                <a:gd name="T39" fmla="*/ 397 h 479"/>
                <a:gd name="T40" fmla="*/ 531 w 650"/>
                <a:gd name="T41" fmla="*/ 309 h 479"/>
                <a:gd name="T42" fmla="*/ 355 w 650"/>
                <a:gd name="T43" fmla="*/ 381 h 479"/>
                <a:gd name="T44" fmla="*/ 406 w 650"/>
                <a:gd name="T45" fmla="*/ 282 h 479"/>
                <a:gd name="T46" fmla="*/ 334 w 650"/>
                <a:gd name="T47" fmla="*/ 373 h 479"/>
                <a:gd name="T48" fmla="*/ 324 w 650"/>
                <a:gd name="T49" fmla="*/ 175 h 479"/>
                <a:gd name="T50" fmla="*/ 315 w 650"/>
                <a:gd name="T51" fmla="*/ 373 h 479"/>
                <a:gd name="T52" fmla="*/ 244 w 650"/>
                <a:gd name="T53" fmla="*/ 282 h 479"/>
                <a:gd name="T54" fmla="*/ 294 w 650"/>
                <a:gd name="T55" fmla="*/ 381 h 479"/>
                <a:gd name="T56" fmla="*/ 117 w 650"/>
                <a:gd name="T57" fmla="*/ 309 h 479"/>
                <a:gd name="T58" fmla="*/ 268 w 650"/>
                <a:gd name="T59" fmla="*/ 397 h 479"/>
                <a:gd name="T60" fmla="*/ 74 w 650"/>
                <a:gd name="T61" fmla="*/ 429 h 479"/>
                <a:gd name="T62" fmla="*/ 208 w 650"/>
                <a:gd name="T63" fmla="*/ 422 h 479"/>
                <a:gd name="T64" fmla="*/ 147 w 650"/>
                <a:gd name="T65" fmla="*/ 436 h 479"/>
                <a:gd name="T66" fmla="*/ 92 w 650"/>
                <a:gd name="T67" fmla="*/ 456 h 479"/>
                <a:gd name="T68" fmla="*/ 40 w 650"/>
                <a:gd name="T69" fmla="*/ 479 h 479"/>
                <a:gd name="T70" fmla="*/ 23 w 650"/>
                <a:gd name="T71" fmla="*/ 444 h 479"/>
                <a:gd name="T72" fmla="*/ 11 w 650"/>
                <a:gd name="T73" fmla="*/ 406 h 479"/>
                <a:gd name="T74" fmla="*/ 3 w 650"/>
                <a:gd name="T75" fmla="*/ 366 h 479"/>
                <a:gd name="T76" fmla="*/ 0 w 650"/>
                <a:gd name="T77" fmla="*/ 325 h 479"/>
                <a:gd name="T78" fmla="*/ 5 w 650"/>
                <a:gd name="T79" fmla="*/ 272 h 479"/>
                <a:gd name="T80" fmla="*/ 17 w 650"/>
                <a:gd name="T81" fmla="*/ 222 h 479"/>
                <a:gd name="T82" fmla="*/ 37 w 650"/>
                <a:gd name="T83" fmla="*/ 176 h 479"/>
                <a:gd name="T84" fmla="*/ 64 w 650"/>
                <a:gd name="T85" fmla="*/ 134 h 479"/>
                <a:gd name="T86" fmla="*/ 96 w 650"/>
                <a:gd name="T87" fmla="*/ 95 h 479"/>
                <a:gd name="T88" fmla="*/ 133 w 650"/>
                <a:gd name="T89" fmla="*/ 63 h 479"/>
                <a:gd name="T90" fmla="*/ 175 w 650"/>
                <a:gd name="T91" fmla="*/ 37 h 479"/>
                <a:gd name="T92" fmla="*/ 222 w 650"/>
                <a:gd name="T93" fmla="*/ 18 h 479"/>
                <a:gd name="T94" fmla="*/ 272 w 650"/>
                <a:gd name="T95" fmla="*/ 4 h 479"/>
                <a:gd name="T96" fmla="*/ 325 w 650"/>
                <a:gd name="T97" fmla="*/ 0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50" h="479">
                  <a:moveTo>
                    <a:pt x="325" y="0"/>
                  </a:moveTo>
                  <a:lnTo>
                    <a:pt x="378" y="4"/>
                  </a:lnTo>
                  <a:lnTo>
                    <a:pt x="428" y="18"/>
                  </a:lnTo>
                  <a:lnTo>
                    <a:pt x="474" y="37"/>
                  </a:lnTo>
                  <a:lnTo>
                    <a:pt x="516" y="63"/>
                  </a:lnTo>
                  <a:lnTo>
                    <a:pt x="554" y="95"/>
                  </a:lnTo>
                  <a:lnTo>
                    <a:pt x="587" y="134"/>
                  </a:lnTo>
                  <a:lnTo>
                    <a:pt x="613" y="176"/>
                  </a:lnTo>
                  <a:lnTo>
                    <a:pt x="632" y="222"/>
                  </a:lnTo>
                  <a:lnTo>
                    <a:pt x="645" y="272"/>
                  </a:lnTo>
                  <a:lnTo>
                    <a:pt x="650" y="325"/>
                  </a:lnTo>
                  <a:lnTo>
                    <a:pt x="647" y="366"/>
                  </a:lnTo>
                  <a:lnTo>
                    <a:pt x="638" y="406"/>
                  </a:lnTo>
                  <a:lnTo>
                    <a:pt x="626" y="444"/>
                  </a:lnTo>
                  <a:lnTo>
                    <a:pt x="610" y="479"/>
                  </a:lnTo>
                  <a:lnTo>
                    <a:pt x="559" y="456"/>
                  </a:lnTo>
                  <a:lnTo>
                    <a:pt x="503" y="436"/>
                  </a:lnTo>
                  <a:lnTo>
                    <a:pt x="444" y="423"/>
                  </a:lnTo>
                  <a:lnTo>
                    <a:pt x="573" y="429"/>
                  </a:lnTo>
                  <a:lnTo>
                    <a:pt x="381" y="397"/>
                  </a:lnTo>
                  <a:lnTo>
                    <a:pt x="531" y="309"/>
                  </a:lnTo>
                  <a:lnTo>
                    <a:pt x="355" y="381"/>
                  </a:lnTo>
                  <a:lnTo>
                    <a:pt x="406" y="282"/>
                  </a:lnTo>
                  <a:lnTo>
                    <a:pt x="334" y="373"/>
                  </a:lnTo>
                  <a:lnTo>
                    <a:pt x="324" y="175"/>
                  </a:lnTo>
                  <a:lnTo>
                    <a:pt x="315" y="373"/>
                  </a:lnTo>
                  <a:lnTo>
                    <a:pt x="244" y="282"/>
                  </a:lnTo>
                  <a:lnTo>
                    <a:pt x="294" y="381"/>
                  </a:lnTo>
                  <a:lnTo>
                    <a:pt x="117" y="309"/>
                  </a:lnTo>
                  <a:lnTo>
                    <a:pt x="268" y="397"/>
                  </a:lnTo>
                  <a:lnTo>
                    <a:pt x="74" y="429"/>
                  </a:lnTo>
                  <a:lnTo>
                    <a:pt x="208" y="422"/>
                  </a:lnTo>
                  <a:lnTo>
                    <a:pt x="147" y="436"/>
                  </a:lnTo>
                  <a:lnTo>
                    <a:pt x="92" y="456"/>
                  </a:lnTo>
                  <a:lnTo>
                    <a:pt x="40" y="479"/>
                  </a:lnTo>
                  <a:lnTo>
                    <a:pt x="23" y="444"/>
                  </a:lnTo>
                  <a:lnTo>
                    <a:pt x="11" y="406"/>
                  </a:lnTo>
                  <a:lnTo>
                    <a:pt x="3" y="366"/>
                  </a:lnTo>
                  <a:lnTo>
                    <a:pt x="0" y="325"/>
                  </a:lnTo>
                  <a:lnTo>
                    <a:pt x="5" y="272"/>
                  </a:lnTo>
                  <a:lnTo>
                    <a:pt x="17" y="222"/>
                  </a:lnTo>
                  <a:lnTo>
                    <a:pt x="37" y="176"/>
                  </a:lnTo>
                  <a:lnTo>
                    <a:pt x="64" y="134"/>
                  </a:lnTo>
                  <a:lnTo>
                    <a:pt x="96" y="95"/>
                  </a:lnTo>
                  <a:lnTo>
                    <a:pt x="133" y="63"/>
                  </a:lnTo>
                  <a:lnTo>
                    <a:pt x="175" y="37"/>
                  </a:lnTo>
                  <a:lnTo>
                    <a:pt x="222" y="18"/>
                  </a:lnTo>
                  <a:lnTo>
                    <a:pt x="272" y="4"/>
                  </a:lnTo>
                  <a:lnTo>
                    <a:pt x="325" y="0"/>
                  </a:lnTo>
                  <a:close/>
                </a:path>
              </a:pathLst>
            </a:custGeom>
            <a:solidFill>
              <a:srgbClr val="FFCC00"/>
            </a:solidFill>
            <a:ln w="1905">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7" name="Freeform 28">
              <a:extLst>
                <a:ext uri="{FF2B5EF4-FFF2-40B4-BE49-F238E27FC236}">
                  <a16:creationId xmlns:a16="http://schemas.microsoft.com/office/drawing/2014/main" id="{66515C01-3222-4EC7-9828-056DF1D4C2E7}"/>
                </a:ext>
              </a:extLst>
            </p:cNvPr>
            <p:cNvSpPr>
              <a:spLocks/>
            </p:cNvSpPr>
            <p:nvPr/>
          </p:nvSpPr>
          <p:spPr bwMode="auto">
            <a:xfrm>
              <a:off x="6382358" y="6302222"/>
              <a:ext cx="573088" cy="176213"/>
            </a:xfrm>
            <a:custGeom>
              <a:avLst/>
              <a:gdLst>
                <a:gd name="T0" fmla="*/ 360 w 721"/>
                <a:gd name="T1" fmla="*/ 0 h 222"/>
                <a:gd name="T2" fmla="*/ 423 w 721"/>
                <a:gd name="T3" fmla="*/ 3 h 222"/>
                <a:gd name="T4" fmla="*/ 482 w 721"/>
                <a:gd name="T5" fmla="*/ 11 h 222"/>
                <a:gd name="T6" fmla="*/ 539 w 721"/>
                <a:gd name="T7" fmla="*/ 25 h 222"/>
                <a:gd name="T8" fmla="*/ 592 w 721"/>
                <a:gd name="T9" fmla="*/ 44 h 222"/>
                <a:gd name="T10" fmla="*/ 639 w 721"/>
                <a:gd name="T11" fmla="*/ 66 h 222"/>
                <a:gd name="T12" fmla="*/ 683 w 721"/>
                <a:gd name="T13" fmla="*/ 94 h 222"/>
                <a:gd name="T14" fmla="*/ 721 w 721"/>
                <a:gd name="T15" fmla="*/ 123 h 222"/>
                <a:gd name="T16" fmla="*/ 671 w 721"/>
                <a:gd name="T17" fmla="*/ 107 h 222"/>
                <a:gd name="T18" fmla="*/ 618 w 721"/>
                <a:gd name="T19" fmla="*/ 94 h 222"/>
                <a:gd name="T20" fmla="*/ 586 w 721"/>
                <a:gd name="T21" fmla="*/ 130 h 222"/>
                <a:gd name="T22" fmla="*/ 549 w 721"/>
                <a:gd name="T23" fmla="*/ 161 h 222"/>
                <a:gd name="T24" fmla="*/ 507 w 721"/>
                <a:gd name="T25" fmla="*/ 186 h 222"/>
                <a:gd name="T26" fmla="*/ 461 w 721"/>
                <a:gd name="T27" fmla="*/ 205 h 222"/>
                <a:gd name="T28" fmla="*/ 413 w 721"/>
                <a:gd name="T29" fmla="*/ 217 h 222"/>
                <a:gd name="T30" fmla="*/ 361 w 721"/>
                <a:gd name="T31" fmla="*/ 222 h 222"/>
                <a:gd name="T32" fmla="*/ 310 w 721"/>
                <a:gd name="T33" fmla="*/ 217 h 222"/>
                <a:gd name="T34" fmla="*/ 260 w 721"/>
                <a:gd name="T35" fmla="*/ 205 h 222"/>
                <a:gd name="T36" fmla="*/ 214 w 721"/>
                <a:gd name="T37" fmla="*/ 186 h 222"/>
                <a:gd name="T38" fmla="*/ 173 w 721"/>
                <a:gd name="T39" fmla="*/ 161 h 222"/>
                <a:gd name="T40" fmla="*/ 135 w 721"/>
                <a:gd name="T41" fmla="*/ 129 h 222"/>
                <a:gd name="T42" fmla="*/ 103 w 721"/>
                <a:gd name="T43" fmla="*/ 94 h 222"/>
                <a:gd name="T44" fmla="*/ 50 w 721"/>
                <a:gd name="T45" fmla="*/ 107 h 222"/>
                <a:gd name="T46" fmla="*/ 0 w 721"/>
                <a:gd name="T47" fmla="*/ 123 h 222"/>
                <a:gd name="T48" fmla="*/ 38 w 721"/>
                <a:gd name="T49" fmla="*/ 94 h 222"/>
                <a:gd name="T50" fmla="*/ 81 w 721"/>
                <a:gd name="T51" fmla="*/ 66 h 222"/>
                <a:gd name="T52" fmla="*/ 129 w 721"/>
                <a:gd name="T53" fmla="*/ 44 h 222"/>
                <a:gd name="T54" fmla="*/ 182 w 721"/>
                <a:gd name="T55" fmla="*/ 25 h 222"/>
                <a:gd name="T56" fmla="*/ 238 w 721"/>
                <a:gd name="T57" fmla="*/ 11 h 222"/>
                <a:gd name="T58" fmla="*/ 298 w 721"/>
                <a:gd name="T59" fmla="*/ 3 h 222"/>
                <a:gd name="T60" fmla="*/ 360 w 721"/>
                <a:gd name="T61"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1" h="222">
                  <a:moveTo>
                    <a:pt x="360" y="0"/>
                  </a:moveTo>
                  <a:lnTo>
                    <a:pt x="423" y="3"/>
                  </a:lnTo>
                  <a:lnTo>
                    <a:pt x="482" y="11"/>
                  </a:lnTo>
                  <a:lnTo>
                    <a:pt x="539" y="25"/>
                  </a:lnTo>
                  <a:lnTo>
                    <a:pt x="592" y="44"/>
                  </a:lnTo>
                  <a:lnTo>
                    <a:pt x="639" y="66"/>
                  </a:lnTo>
                  <a:lnTo>
                    <a:pt x="683" y="94"/>
                  </a:lnTo>
                  <a:lnTo>
                    <a:pt x="721" y="123"/>
                  </a:lnTo>
                  <a:lnTo>
                    <a:pt x="671" y="107"/>
                  </a:lnTo>
                  <a:lnTo>
                    <a:pt x="618" y="94"/>
                  </a:lnTo>
                  <a:lnTo>
                    <a:pt x="586" y="130"/>
                  </a:lnTo>
                  <a:lnTo>
                    <a:pt x="549" y="161"/>
                  </a:lnTo>
                  <a:lnTo>
                    <a:pt x="507" y="186"/>
                  </a:lnTo>
                  <a:lnTo>
                    <a:pt x="461" y="205"/>
                  </a:lnTo>
                  <a:lnTo>
                    <a:pt x="413" y="217"/>
                  </a:lnTo>
                  <a:lnTo>
                    <a:pt x="361" y="222"/>
                  </a:lnTo>
                  <a:lnTo>
                    <a:pt x="310" y="217"/>
                  </a:lnTo>
                  <a:lnTo>
                    <a:pt x="260" y="205"/>
                  </a:lnTo>
                  <a:lnTo>
                    <a:pt x="214" y="186"/>
                  </a:lnTo>
                  <a:lnTo>
                    <a:pt x="173" y="161"/>
                  </a:lnTo>
                  <a:lnTo>
                    <a:pt x="135" y="129"/>
                  </a:lnTo>
                  <a:lnTo>
                    <a:pt x="103" y="94"/>
                  </a:lnTo>
                  <a:lnTo>
                    <a:pt x="50" y="107"/>
                  </a:lnTo>
                  <a:lnTo>
                    <a:pt x="0" y="123"/>
                  </a:lnTo>
                  <a:lnTo>
                    <a:pt x="38" y="94"/>
                  </a:lnTo>
                  <a:lnTo>
                    <a:pt x="81" y="66"/>
                  </a:lnTo>
                  <a:lnTo>
                    <a:pt x="129" y="44"/>
                  </a:lnTo>
                  <a:lnTo>
                    <a:pt x="182" y="25"/>
                  </a:lnTo>
                  <a:lnTo>
                    <a:pt x="238" y="11"/>
                  </a:lnTo>
                  <a:lnTo>
                    <a:pt x="298" y="3"/>
                  </a:lnTo>
                  <a:lnTo>
                    <a:pt x="36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8" name="Text Placeholder 4">
            <a:extLst>
              <a:ext uri="{FF2B5EF4-FFF2-40B4-BE49-F238E27FC236}">
                <a16:creationId xmlns:a16="http://schemas.microsoft.com/office/drawing/2014/main" id="{AA81721A-67FD-41CF-929D-2C54FA84CE83}"/>
              </a:ext>
            </a:extLst>
          </p:cNvPr>
          <p:cNvSpPr>
            <a:spLocks noGrp="1"/>
          </p:cNvSpPr>
          <p:nvPr>
            <p:ph type="body" sz="quarter" idx="31" hasCustomPrompt="1"/>
          </p:nvPr>
        </p:nvSpPr>
        <p:spPr>
          <a:xfrm>
            <a:off x="9500714" y="1263129"/>
            <a:ext cx="2335686" cy="338554"/>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2200" b="1">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Key facts</a:t>
            </a:r>
          </a:p>
        </p:txBody>
      </p:sp>
      <p:sp>
        <p:nvSpPr>
          <p:cNvPr id="39" name="Text Placeholder 4">
            <a:extLst>
              <a:ext uri="{FF2B5EF4-FFF2-40B4-BE49-F238E27FC236}">
                <a16:creationId xmlns:a16="http://schemas.microsoft.com/office/drawing/2014/main" id="{4CBD7913-5B3C-4408-8218-FFF47783F855}"/>
              </a:ext>
            </a:extLst>
          </p:cNvPr>
          <p:cNvSpPr>
            <a:spLocks noGrp="1"/>
          </p:cNvSpPr>
          <p:nvPr>
            <p:ph type="body" sz="quarter" idx="32"/>
          </p:nvPr>
        </p:nvSpPr>
        <p:spPr>
          <a:xfrm>
            <a:off x="9500714" y="1712755"/>
            <a:ext cx="2335686" cy="854080"/>
          </a:xfrm>
        </p:spPr>
        <p:txBody>
          <a:bodyPr>
            <a:spAutoFit/>
          </a:bodyPr>
          <a:lstStyle>
            <a:lvl1pP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buClr>
                <a:schemeClr val="bg1"/>
              </a:buCl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buClr>
                <a:schemeClr val="bg1"/>
              </a:buCl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buClr>
                <a:schemeClr val="bg1"/>
              </a:buCl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0" name="Confidential">
            <a:extLst>
              <a:ext uri="{FF2B5EF4-FFF2-40B4-BE49-F238E27FC236}">
                <a16:creationId xmlns:a16="http://schemas.microsoft.com/office/drawing/2014/main" id="{9A5A9F84-A329-4FF8-9CAE-6D721520C4BB}"/>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4" name="Text Placeholder 2">
            <a:extLst>
              <a:ext uri="{FF2B5EF4-FFF2-40B4-BE49-F238E27FC236}">
                <a16:creationId xmlns:a16="http://schemas.microsoft.com/office/drawing/2014/main" id="{35CBE728-73FD-4E81-81D2-C2FD2A68979D}"/>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2" name="Text Placeholder 5">
            <a:extLst>
              <a:ext uri="{FF2B5EF4-FFF2-40B4-BE49-F238E27FC236}">
                <a16:creationId xmlns:a16="http://schemas.microsoft.com/office/drawing/2014/main" id="{8F11272A-6435-4CA8-99DD-0474751E9214}"/>
              </a:ext>
            </a:extLst>
          </p:cNvPr>
          <p:cNvSpPr>
            <a:spLocks noGrp="1"/>
          </p:cNvSpPr>
          <p:nvPr>
            <p:ph type="body" sz="quarter" idx="33"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41" name="Supertitle">
            <a:extLst>
              <a:ext uri="{FF2B5EF4-FFF2-40B4-BE49-F238E27FC236}">
                <a16:creationId xmlns:a16="http://schemas.microsoft.com/office/drawing/2014/main" id="{33C03219-68CC-46CB-ACB8-7CA3FFF44A3F}"/>
              </a:ext>
            </a:extLst>
          </p:cNvPr>
          <p:cNvSpPr>
            <a:spLocks noGrp="1"/>
          </p:cNvSpPr>
          <p:nvPr>
            <p:ph type="body" sz="quarter" idx="34"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43124758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02039173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Confidential">
            <a:extLst>
              <a:ext uri="{FF2B5EF4-FFF2-40B4-BE49-F238E27FC236}">
                <a16:creationId xmlns:a16="http://schemas.microsoft.com/office/drawing/2014/main" id="{3F6CE3CC-2060-479C-94F1-04D18BF5C6B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D9606BCF-6B49-43F6-B1F8-D730B3DBFA1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1" name="Aurora Logo">
            <a:extLst>
              <a:ext uri="{FF2B5EF4-FFF2-40B4-BE49-F238E27FC236}">
                <a16:creationId xmlns:a16="http://schemas.microsoft.com/office/drawing/2014/main" id="{8A8EA597-F2C7-43A2-BC75-D1BDEE3A6A8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6" name="Title 5">
            <a:extLst>
              <a:ext uri="{FF2B5EF4-FFF2-40B4-BE49-F238E27FC236}">
                <a16:creationId xmlns:a16="http://schemas.microsoft.com/office/drawing/2014/main" id="{9A68FB94-22BB-418E-A3AF-9DD42AD17527}"/>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6" name="Text Placeholder 5">
            <a:extLst>
              <a:ext uri="{FF2B5EF4-FFF2-40B4-BE49-F238E27FC236}">
                <a16:creationId xmlns:a16="http://schemas.microsoft.com/office/drawing/2014/main" id="{623E6946-0748-48B6-97C6-CE6BE01F7EAB}"/>
              </a:ext>
            </a:extLst>
          </p:cNvPr>
          <p:cNvSpPr>
            <a:spLocks noGrp="1"/>
          </p:cNvSpPr>
          <p:nvPr>
            <p:ph type="body" sz="quarter" idx="32"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67259323-2698-47EA-85E1-F6C8C7417BEB}"/>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9204760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 Column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94343912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Header 2">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0172"/>
            <a:ext cx="8601074"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4" name="Header 1">
            <a:extLst>
              <a:ext uri="{FF2B5EF4-FFF2-40B4-BE49-F238E27FC236}">
                <a16:creationId xmlns:a16="http://schemas.microsoft.com/office/drawing/2014/main" id="{32BAE579-0324-4306-9E4A-CEFBFBCF8241}"/>
              </a:ext>
            </a:extLst>
          </p:cNvPr>
          <p:cNvSpPr>
            <a:spLocks noGrp="1"/>
          </p:cNvSpPr>
          <p:nvPr>
            <p:ph type="body" sz="quarter" idx="29" hasCustomPrompt="1"/>
          </p:nvPr>
        </p:nvSpPr>
        <p:spPr>
          <a:xfrm>
            <a:off x="381000" y="1268129"/>
            <a:ext cx="8601074"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br>
              <a:rPr lang="en-GB"/>
            </a:br>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Confidential">
            <a:extLst>
              <a:ext uri="{FF2B5EF4-FFF2-40B4-BE49-F238E27FC236}">
                <a16:creationId xmlns:a16="http://schemas.microsoft.com/office/drawing/2014/main" id="{3F6CE3CC-2060-479C-94F1-04D18BF5C6B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D9606BCF-6B49-43F6-B1F8-D730B3DBFA1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1" name="Aurora Logo">
            <a:extLst>
              <a:ext uri="{FF2B5EF4-FFF2-40B4-BE49-F238E27FC236}">
                <a16:creationId xmlns:a16="http://schemas.microsoft.com/office/drawing/2014/main" id="{8A8EA597-F2C7-43A2-BC75-D1BDEE3A6A8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6" name="Title 5">
            <a:extLst>
              <a:ext uri="{FF2B5EF4-FFF2-40B4-BE49-F238E27FC236}">
                <a16:creationId xmlns:a16="http://schemas.microsoft.com/office/drawing/2014/main" id="{9A68FB94-22BB-418E-A3AF-9DD42AD17527}"/>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9" name="Text Placeholder 5">
            <a:extLst>
              <a:ext uri="{FF2B5EF4-FFF2-40B4-BE49-F238E27FC236}">
                <a16:creationId xmlns:a16="http://schemas.microsoft.com/office/drawing/2014/main" id="{E72DEEE7-DA59-4851-9CD4-CC9406230800}"/>
              </a:ext>
            </a:extLst>
          </p:cNvPr>
          <p:cNvSpPr>
            <a:spLocks noGrp="1"/>
          </p:cNvSpPr>
          <p:nvPr>
            <p:ph type="body" sz="quarter" idx="32"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Supertitle">
            <a:extLst>
              <a:ext uri="{FF2B5EF4-FFF2-40B4-BE49-F238E27FC236}">
                <a16:creationId xmlns:a16="http://schemas.microsoft.com/office/drawing/2014/main" id="{56C4E603-64F7-4F39-A735-5CCD3A8AEBF5}"/>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49134713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Row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70419044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0172"/>
            <a:ext cx="8601074"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2">
            <a:extLst>
              <a:ext uri="{FF2B5EF4-FFF2-40B4-BE49-F238E27FC236}">
                <a16:creationId xmlns:a16="http://schemas.microsoft.com/office/drawing/2014/main" id="{766DB440-58A0-4B3F-8D90-E88EB6E32957}"/>
              </a:ext>
            </a:extLst>
          </p:cNvPr>
          <p:cNvSpPr>
            <a:spLocks noGrp="1"/>
          </p:cNvSpPr>
          <p:nvPr>
            <p:ph type="body" sz="quarter" idx="31"/>
          </p:nvPr>
        </p:nvSpPr>
        <p:spPr>
          <a:xfrm>
            <a:off x="381000" y="4408803"/>
            <a:ext cx="8601074"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Confidential">
            <a:extLst>
              <a:ext uri="{FF2B5EF4-FFF2-40B4-BE49-F238E27FC236}">
                <a16:creationId xmlns:a16="http://schemas.microsoft.com/office/drawing/2014/main" id="{84F846B3-E161-4A72-A3AD-915A061022EB}"/>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5" name="Text Placeholder 2">
            <a:extLst>
              <a:ext uri="{FF2B5EF4-FFF2-40B4-BE49-F238E27FC236}">
                <a16:creationId xmlns:a16="http://schemas.microsoft.com/office/drawing/2014/main" id="{B6DF8740-3263-4373-A52E-C92738D1F837}"/>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7" name="Aurora Logo">
            <a:extLst>
              <a:ext uri="{FF2B5EF4-FFF2-40B4-BE49-F238E27FC236}">
                <a16:creationId xmlns:a16="http://schemas.microsoft.com/office/drawing/2014/main" id="{0769C0C2-7FCE-4192-A778-F353FEF67DF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4" name="Title 3">
            <a:extLst>
              <a:ext uri="{FF2B5EF4-FFF2-40B4-BE49-F238E27FC236}">
                <a16:creationId xmlns:a16="http://schemas.microsoft.com/office/drawing/2014/main" id="{4BD59661-299C-4955-992A-E3CC7751A919}"/>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22" name="Header 1">
            <a:extLst>
              <a:ext uri="{FF2B5EF4-FFF2-40B4-BE49-F238E27FC236}">
                <a16:creationId xmlns:a16="http://schemas.microsoft.com/office/drawing/2014/main" id="{A3739E06-BCC4-4BE2-8465-7C275005EB1B}"/>
              </a:ext>
            </a:extLst>
          </p:cNvPr>
          <p:cNvSpPr>
            <a:spLocks noGrp="1"/>
          </p:cNvSpPr>
          <p:nvPr>
            <p:ph type="body" sz="quarter" idx="29" hasCustomPrompt="1"/>
          </p:nvPr>
        </p:nvSpPr>
        <p:spPr>
          <a:xfrm>
            <a:off x="381000" y="1268129"/>
            <a:ext cx="8601074"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Header 2">
            <a:extLst>
              <a:ext uri="{FF2B5EF4-FFF2-40B4-BE49-F238E27FC236}">
                <a16:creationId xmlns:a16="http://schemas.microsoft.com/office/drawing/2014/main" id="{7744C131-E445-449A-9D7A-C3330908F943}"/>
              </a:ext>
            </a:extLst>
          </p:cNvPr>
          <p:cNvSpPr>
            <a:spLocks noGrp="1"/>
          </p:cNvSpPr>
          <p:nvPr>
            <p:ph type="body" sz="quarter" idx="33" hasCustomPrompt="1"/>
          </p:nvPr>
        </p:nvSpPr>
        <p:spPr>
          <a:xfrm>
            <a:off x="381000" y="3961759"/>
            <a:ext cx="8601074"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0" name="Text Placeholder 5">
            <a:extLst>
              <a:ext uri="{FF2B5EF4-FFF2-40B4-BE49-F238E27FC236}">
                <a16:creationId xmlns:a16="http://schemas.microsoft.com/office/drawing/2014/main" id="{2A292F9D-6C89-415E-83D3-55D0817A9C6E}"/>
              </a:ext>
            </a:extLst>
          </p:cNvPr>
          <p:cNvSpPr>
            <a:spLocks noGrp="1"/>
          </p:cNvSpPr>
          <p:nvPr>
            <p:ph type="body" sz="quarter" idx="32"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1" name="Supertitle">
            <a:extLst>
              <a:ext uri="{FF2B5EF4-FFF2-40B4-BE49-F238E27FC236}">
                <a16:creationId xmlns:a16="http://schemas.microsoft.com/office/drawing/2014/main" id="{5E90CA15-507C-4009-8650-4586F5995820}"/>
              </a:ext>
            </a:extLst>
          </p:cNvPr>
          <p:cNvSpPr>
            <a:spLocks noGrp="1"/>
          </p:cNvSpPr>
          <p:nvPr>
            <p:ph type="body" sz="quarter" idx="34"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98225968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 Row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01620124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0172"/>
            <a:ext cx="8601074"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2">
            <a:extLst>
              <a:ext uri="{FF2B5EF4-FFF2-40B4-BE49-F238E27FC236}">
                <a16:creationId xmlns:a16="http://schemas.microsoft.com/office/drawing/2014/main" id="{766DB440-58A0-4B3F-8D90-E88EB6E32957}"/>
              </a:ext>
            </a:extLst>
          </p:cNvPr>
          <p:cNvSpPr>
            <a:spLocks noGrp="1"/>
          </p:cNvSpPr>
          <p:nvPr>
            <p:ph type="body" sz="quarter" idx="31"/>
          </p:nvPr>
        </p:nvSpPr>
        <p:spPr>
          <a:xfrm>
            <a:off x="381000" y="3421913"/>
            <a:ext cx="8601074"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Confidential">
            <a:extLst>
              <a:ext uri="{FF2B5EF4-FFF2-40B4-BE49-F238E27FC236}">
                <a16:creationId xmlns:a16="http://schemas.microsoft.com/office/drawing/2014/main" id="{84F846B3-E161-4A72-A3AD-915A061022EB}"/>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5" name="Text Placeholder 2">
            <a:extLst>
              <a:ext uri="{FF2B5EF4-FFF2-40B4-BE49-F238E27FC236}">
                <a16:creationId xmlns:a16="http://schemas.microsoft.com/office/drawing/2014/main" id="{B6DF8740-3263-4373-A52E-C92738D1F837}"/>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7" name="Aurora Logo">
            <a:extLst>
              <a:ext uri="{FF2B5EF4-FFF2-40B4-BE49-F238E27FC236}">
                <a16:creationId xmlns:a16="http://schemas.microsoft.com/office/drawing/2014/main" id="{0769C0C2-7FCE-4192-A778-F353FEF67DF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4" name="Title 3">
            <a:extLst>
              <a:ext uri="{FF2B5EF4-FFF2-40B4-BE49-F238E27FC236}">
                <a16:creationId xmlns:a16="http://schemas.microsoft.com/office/drawing/2014/main" id="{4BD59661-299C-4955-992A-E3CC7751A919}"/>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20" name="Text 2">
            <a:extLst>
              <a:ext uri="{FF2B5EF4-FFF2-40B4-BE49-F238E27FC236}">
                <a16:creationId xmlns:a16="http://schemas.microsoft.com/office/drawing/2014/main" id="{B52C0C7C-A921-4477-94C1-D3B37AE18DA7}"/>
              </a:ext>
            </a:extLst>
          </p:cNvPr>
          <p:cNvSpPr>
            <a:spLocks noGrp="1"/>
          </p:cNvSpPr>
          <p:nvPr>
            <p:ph type="body" sz="quarter" idx="33"/>
          </p:nvPr>
        </p:nvSpPr>
        <p:spPr>
          <a:xfrm>
            <a:off x="381000" y="5144472"/>
            <a:ext cx="8601074"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Header 1">
            <a:extLst>
              <a:ext uri="{FF2B5EF4-FFF2-40B4-BE49-F238E27FC236}">
                <a16:creationId xmlns:a16="http://schemas.microsoft.com/office/drawing/2014/main" id="{6D5D929B-1295-4B1D-B4FF-E7026B5C2C52}"/>
              </a:ext>
            </a:extLst>
          </p:cNvPr>
          <p:cNvSpPr>
            <a:spLocks noGrp="1"/>
          </p:cNvSpPr>
          <p:nvPr>
            <p:ph type="body" sz="quarter" idx="29" hasCustomPrompt="1"/>
          </p:nvPr>
        </p:nvSpPr>
        <p:spPr>
          <a:xfrm>
            <a:off x="381000" y="1268129"/>
            <a:ext cx="8601074"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Header 2">
            <a:extLst>
              <a:ext uri="{FF2B5EF4-FFF2-40B4-BE49-F238E27FC236}">
                <a16:creationId xmlns:a16="http://schemas.microsoft.com/office/drawing/2014/main" id="{6BBC2BEC-EDFC-48F8-B92B-DF737A476BA4}"/>
              </a:ext>
            </a:extLst>
          </p:cNvPr>
          <p:cNvSpPr>
            <a:spLocks noGrp="1"/>
          </p:cNvSpPr>
          <p:nvPr>
            <p:ph type="body" sz="quarter" idx="35" hasCustomPrompt="1"/>
          </p:nvPr>
        </p:nvSpPr>
        <p:spPr>
          <a:xfrm>
            <a:off x="381000" y="2972287"/>
            <a:ext cx="8601074"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4" name="Header 3">
            <a:extLst>
              <a:ext uri="{FF2B5EF4-FFF2-40B4-BE49-F238E27FC236}">
                <a16:creationId xmlns:a16="http://schemas.microsoft.com/office/drawing/2014/main" id="{CBB7CE2B-E4BF-4D55-92E0-410EF2F14686}"/>
              </a:ext>
            </a:extLst>
          </p:cNvPr>
          <p:cNvSpPr>
            <a:spLocks noGrp="1"/>
          </p:cNvSpPr>
          <p:nvPr>
            <p:ph type="body" sz="quarter" idx="36" hasCustomPrompt="1"/>
          </p:nvPr>
        </p:nvSpPr>
        <p:spPr>
          <a:xfrm>
            <a:off x="381000" y="4694846"/>
            <a:ext cx="8601074"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Back 12 Point</a:t>
            </a:r>
            <a:br>
              <a:rPr lang="en-GB"/>
            </a:br>
            <a:r>
              <a:rPr lang="en-GB"/>
              <a:t>(max. 2 lines)</a:t>
            </a:r>
          </a:p>
        </p:txBody>
      </p:sp>
      <p:sp>
        <p:nvSpPr>
          <p:cNvPr id="30" name="Text Placeholder 5">
            <a:extLst>
              <a:ext uri="{FF2B5EF4-FFF2-40B4-BE49-F238E27FC236}">
                <a16:creationId xmlns:a16="http://schemas.microsoft.com/office/drawing/2014/main" id="{C2D14B43-FA7F-4C1C-BDCF-88D7C793E9F5}"/>
              </a:ext>
            </a:extLst>
          </p:cNvPr>
          <p:cNvSpPr>
            <a:spLocks noGrp="1"/>
          </p:cNvSpPr>
          <p:nvPr>
            <p:ph type="body" sz="quarter" idx="32"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5" name="Supertitle">
            <a:extLst>
              <a:ext uri="{FF2B5EF4-FFF2-40B4-BE49-F238E27FC236}">
                <a16:creationId xmlns:a16="http://schemas.microsoft.com/office/drawing/2014/main" id="{668E88DA-65CD-4DAA-A768-FB88FADA6060}"/>
              </a:ext>
            </a:extLst>
          </p:cNvPr>
          <p:cNvSpPr>
            <a:spLocks noGrp="1"/>
          </p:cNvSpPr>
          <p:nvPr>
            <p:ph type="body" sz="quarter" idx="37"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04087604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 Column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410017365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8E3D202-E0EA-466A-8C55-E2DE7686ED4D}"/>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8" name="Text 1">
            <a:extLst>
              <a:ext uri="{FF2B5EF4-FFF2-40B4-BE49-F238E27FC236}">
                <a16:creationId xmlns:a16="http://schemas.microsoft.com/office/drawing/2014/main" id="{9B01E7D4-48BF-4E5D-A571-B8D98E87B856}"/>
              </a:ext>
            </a:extLst>
          </p:cNvPr>
          <p:cNvSpPr>
            <a:spLocks noGrp="1"/>
          </p:cNvSpPr>
          <p:nvPr>
            <p:ph type="body" sz="quarter" idx="33"/>
          </p:nvPr>
        </p:nvSpPr>
        <p:spPr>
          <a:xfrm>
            <a:off x="381000" y="1710172"/>
            <a:ext cx="3962400"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0" name="Text 2">
            <a:extLst>
              <a:ext uri="{FF2B5EF4-FFF2-40B4-BE49-F238E27FC236}">
                <a16:creationId xmlns:a16="http://schemas.microsoft.com/office/drawing/2014/main" id="{FA718C05-6704-4077-8FC4-2F09B5649B9A}"/>
              </a:ext>
            </a:extLst>
          </p:cNvPr>
          <p:cNvSpPr>
            <a:spLocks noGrp="1"/>
          </p:cNvSpPr>
          <p:nvPr>
            <p:ph type="body" sz="quarter" idx="35"/>
          </p:nvPr>
        </p:nvSpPr>
        <p:spPr>
          <a:xfrm>
            <a:off x="5020274" y="1712755"/>
            <a:ext cx="3962400"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Confidential">
            <a:extLst>
              <a:ext uri="{FF2B5EF4-FFF2-40B4-BE49-F238E27FC236}">
                <a16:creationId xmlns:a16="http://schemas.microsoft.com/office/drawing/2014/main" id="{14C29F18-0061-4AD0-8F17-1B44E4BAED6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2" name="Text Placeholder 2">
            <a:extLst>
              <a:ext uri="{FF2B5EF4-FFF2-40B4-BE49-F238E27FC236}">
                <a16:creationId xmlns:a16="http://schemas.microsoft.com/office/drawing/2014/main" id="{D69DFB0D-DF47-4F51-8A1E-A3F04A199F5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3" name="Aurora Logo">
            <a:extLst>
              <a:ext uri="{FF2B5EF4-FFF2-40B4-BE49-F238E27FC236}">
                <a16:creationId xmlns:a16="http://schemas.microsoft.com/office/drawing/2014/main" id="{0B030AA5-8163-4F27-9057-F3025760F02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34" name="Header Comments">
            <a:extLst>
              <a:ext uri="{FF2B5EF4-FFF2-40B4-BE49-F238E27FC236}">
                <a16:creationId xmlns:a16="http://schemas.microsoft.com/office/drawing/2014/main" id="{BA58D606-2C71-4E85-8328-99C37B4B4195}"/>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35" name="Text Comments">
            <a:extLst>
              <a:ext uri="{FF2B5EF4-FFF2-40B4-BE49-F238E27FC236}">
                <a16:creationId xmlns:a16="http://schemas.microsoft.com/office/drawing/2014/main" id="{FF2AB152-2969-46CD-B5D8-B3919809B323}"/>
              </a:ext>
            </a:extLst>
          </p:cNvPr>
          <p:cNvSpPr>
            <a:spLocks noGrp="1"/>
          </p:cNvSpPr>
          <p:nvPr>
            <p:ph type="body" sz="quarter" idx="28"/>
          </p:nvPr>
        </p:nvSpPr>
        <p:spPr>
          <a:xfrm>
            <a:off x="9500714" y="1712755"/>
            <a:ext cx="2335686"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itle 3">
            <a:extLst>
              <a:ext uri="{FF2B5EF4-FFF2-40B4-BE49-F238E27FC236}">
                <a16:creationId xmlns:a16="http://schemas.microsoft.com/office/drawing/2014/main" id="{C5C9D1F5-9907-4B3A-A8FD-DB0AF4B08748}"/>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9" name="Header 1">
            <a:extLst>
              <a:ext uri="{FF2B5EF4-FFF2-40B4-BE49-F238E27FC236}">
                <a16:creationId xmlns:a16="http://schemas.microsoft.com/office/drawing/2014/main" id="{899B6044-5D69-4BA0-AD5A-9F13BA4D536F}"/>
              </a:ext>
            </a:extLst>
          </p:cNvPr>
          <p:cNvSpPr>
            <a:spLocks noGrp="1"/>
          </p:cNvSpPr>
          <p:nvPr>
            <p:ph type="body" sz="quarter" idx="29" hasCustomPrompt="1"/>
          </p:nvPr>
        </p:nvSpPr>
        <p:spPr>
          <a:xfrm>
            <a:off x="381000" y="1268129"/>
            <a:ext cx="39624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0" name="Header 2">
            <a:extLst>
              <a:ext uri="{FF2B5EF4-FFF2-40B4-BE49-F238E27FC236}">
                <a16:creationId xmlns:a16="http://schemas.microsoft.com/office/drawing/2014/main" id="{29068DE1-26EE-4CC0-A093-29AD7EDF6CF6}"/>
              </a:ext>
            </a:extLst>
          </p:cNvPr>
          <p:cNvSpPr>
            <a:spLocks noGrp="1"/>
          </p:cNvSpPr>
          <p:nvPr>
            <p:ph type="body" sz="quarter" idx="36" hasCustomPrompt="1"/>
          </p:nvPr>
        </p:nvSpPr>
        <p:spPr>
          <a:xfrm>
            <a:off x="5020274" y="1268129"/>
            <a:ext cx="39624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Text Placeholder 5">
            <a:extLst>
              <a:ext uri="{FF2B5EF4-FFF2-40B4-BE49-F238E27FC236}">
                <a16:creationId xmlns:a16="http://schemas.microsoft.com/office/drawing/2014/main" id="{5A1619A7-4E66-467A-816F-8D216D356284}"/>
              </a:ext>
            </a:extLst>
          </p:cNvPr>
          <p:cNvSpPr>
            <a:spLocks noGrp="1"/>
          </p:cNvSpPr>
          <p:nvPr>
            <p:ph type="body" sz="quarter" idx="32"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2" name="Supertitle">
            <a:extLst>
              <a:ext uri="{FF2B5EF4-FFF2-40B4-BE49-F238E27FC236}">
                <a16:creationId xmlns:a16="http://schemas.microsoft.com/office/drawing/2014/main" id="{E2B9C89C-9E0B-4344-82D2-A5C064C33F64}"/>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23404398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x2 Column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416825480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8E3D202-E0EA-466A-8C55-E2DE7686ED4D}"/>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8" name="Text 1">
            <a:extLst>
              <a:ext uri="{FF2B5EF4-FFF2-40B4-BE49-F238E27FC236}">
                <a16:creationId xmlns:a16="http://schemas.microsoft.com/office/drawing/2014/main" id="{9B01E7D4-48BF-4E5D-A571-B8D98E87B856}"/>
              </a:ext>
            </a:extLst>
          </p:cNvPr>
          <p:cNvSpPr>
            <a:spLocks noGrp="1"/>
          </p:cNvSpPr>
          <p:nvPr>
            <p:ph type="body" sz="quarter" idx="33"/>
          </p:nvPr>
        </p:nvSpPr>
        <p:spPr>
          <a:xfrm>
            <a:off x="381000" y="1710172"/>
            <a:ext cx="3962400"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0" name="Text 2">
            <a:extLst>
              <a:ext uri="{FF2B5EF4-FFF2-40B4-BE49-F238E27FC236}">
                <a16:creationId xmlns:a16="http://schemas.microsoft.com/office/drawing/2014/main" id="{FA718C05-6704-4077-8FC4-2F09B5649B9A}"/>
              </a:ext>
            </a:extLst>
          </p:cNvPr>
          <p:cNvSpPr>
            <a:spLocks noGrp="1"/>
          </p:cNvSpPr>
          <p:nvPr>
            <p:ph type="body" sz="quarter" idx="35"/>
          </p:nvPr>
        </p:nvSpPr>
        <p:spPr>
          <a:xfrm>
            <a:off x="5020274" y="1712755"/>
            <a:ext cx="3962400"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Confidential">
            <a:extLst>
              <a:ext uri="{FF2B5EF4-FFF2-40B4-BE49-F238E27FC236}">
                <a16:creationId xmlns:a16="http://schemas.microsoft.com/office/drawing/2014/main" id="{14C29F18-0061-4AD0-8F17-1B44E4BAED6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2" name="Text Placeholder 2">
            <a:extLst>
              <a:ext uri="{FF2B5EF4-FFF2-40B4-BE49-F238E27FC236}">
                <a16:creationId xmlns:a16="http://schemas.microsoft.com/office/drawing/2014/main" id="{D69DFB0D-DF47-4F51-8A1E-A3F04A199F5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3" name="Aurora Logo">
            <a:extLst>
              <a:ext uri="{FF2B5EF4-FFF2-40B4-BE49-F238E27FC236}">
                <a16:creationId xmlns:a16="http://schemas.microsoft.com/office/drawing/2014/main" id="{0B030AA5-8163-4F27-9057-F3025760F02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34" name="Header Comments">
            <a:extLst>
              <a:ext uri="{FF2B5EF4-FFF2-40B4-BE49-F238E27FC236}">
                <a16:creationId xmlns:a16="http://schemas.microsoft.com/office/drawing/2014/main" id="{BA58D606-2C71-4E85-8328-99C37B4B4195}"/>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35" name="Text Comments">
            <a:extLst>
              <a:ext uri="{FF2B5EF4-FFF2-40B4-BE49-F238E27FC236}">
                <a16:creationId xmlns:a16="http://schemas.microsoft.com/office/drawing/2014/main" id="{FF2AB152-2969-46CD-B5D8-B3919809B323}"/>
              </a:ext>
            </a:extLst>
          </p:cNvPr>
          <p:cNvSpPr>
            <a:spLocks noGrp="1"/>
          </p:cNvSpPr>
          <p:nvPr>
            <p:ph type="body" sz="quarter" idx="28"/>
          </p:nvPr>
        </p:nvSpPr>
        <p:spPr>
          <a:xfrm>
            <a:off x="9500714" y="1712755"/>
            <a:ext cx="2335686"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itle 3">
            <a:extLst>
              <a:ext uri="{FF2B5EF4-FFF2-40B4-BE49-F238E27FC236}">
                <a16:creationId xmlns:a16="http://schemas.microsoft.com/office/drawing/2014/main" id="{C5C9D1F5-9907-4B3A-A8FD-DB0AF4B08748}"/>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9" name="Text 1">
            <a:extLst>
              <a:ext uri="{FF2B5EF4-FFF2-40B4-BE49-F238E27FC236}">
                <a16:creationId xmlns:a16="http://schemas.microsoft.com/office/drawing/2014/main" id="{1AB28788-F537-4100-8E92-B79AAFA2EBE2}"/>
              </a:ext>
            </a:extLst>
          </p:cNvPr>
          <p:cNvSpPr>
            <a:spLocks noGrp="1"/>
          </p:cNvSpPr>
          <p:nvPr>
            <p:ph type="body" sz="quarter" idx="37"/>
          </p:nvPr>
        </p:nvSpPr>
        <p:spPr>
          <a:xfrm>
            <a:off x="381000" y="4408803"/>
            <a:ext cx="3962400"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2">
            <a:extLst>
              <a:ext uri="{FF2B5EF4-FFF2-40B4-BE49-F238E27FC236}">
                <a16:creationId xmlns:a16="http://schemas.microsoft.com/office/drawing/2014/main" id="{1A8068DE-3744-4018-BC69-71A4401B61FB}"/>
              </a:ext>
            </a:extLst>
          </p:cNvPr>
          <p:cNvSpPr>
            <a:spLocks noGrp="1"/>
          </p:cNvSpPr>
          <p:nvPr>
            <p:ph type="body" sz="quarter" idx="39"/>
          </p:nvPr>
        </p:nvSpPr>
        <p:spPr>
          <a:xfrm>
            <a:off x="5020274" y="4408803"/>
            <a:ext cx="3962400"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Header 1">
            <a:extLst>
              <a:ext uri="{FF2B5EF4-FFF2-40B4-BE49-F238E27FC236}">
                <a16:creationId xmlns:a16="http://schemas.microsoft.com/office/drawing/2014/main" id="{CB4DC502-8D89-4CEA-A1D5-C3310F837805}"/>
              </a:ext>
            </a:extLst>
          </p:cNvPr>
          <p:cNvSpPr>
            <a:spLocks noGrp="1"/>
          </p:cNvSpPr>
          <p:nvPr>
            <p:ph type="body" sz="quarter" idx="29" hasCustomPrompt="1"/>
          </p:nvPr>
        </p:nvSpPr>
        <p:spPr>
          <a:xfrm>
            <a:off x="381000" y="1263129"/>
            <a:ext cx="39624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6" name="Header 2">
            <a:extLst>
              <a:ext uri="{FF2B5EF4-FFF2-40B4-BE49-F238E27FC236}">
                <a16:creationId xmlns:a16="http://schemas.microsoft.com/office/drawing/2014/main" id="{FC9BB27E-9C6E-43D6-8A3B-1C3475AEB274}"/>
              </a:ext>
            </a:extLst>
          </p:cNvPr>
          <p:cNvSpPr>
            <a:spLocks noGrp="1"/>
          </p:cNvSpPr>
          <p:nvPr>
            <p:ph type="body" sz="quarter" idx="36" hasCustomPrompt="1"/>
          </p:nvPr>
        </p:nvSpPr>
        <p:spPr>
          <a:xfrm>
            <a:off x="5020274" y="1263129"/>
            <a:ext cx="39624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30" name="Header 3">
            <a:extLst>
              <a:ext uri="{FF2B5EF4-FFF2-40B4-BE49-F238E27FC236}">
                <a16:creationId xmlns:a16="http://schemas.microsoft.com/office/drawing/2014/main" id="{D12FEAB3-1729-4D16-9A00-CC88221F1E0E}"/>
              </a:ext>
            </a:extLst>
          </p:cNvPr>
          <p:cNvSpPr>
            <a:spLocks noGrp="1"/>
          </p:cNvSpPr>
          <p:nvPr>
            <p:ph type="body" sz="quarter" idx="40" hasCustomPrompt="1"/>
          </p:nvPr>
        </p:nvSpPr>
        <p:spPr>
          <a:xfrm>
            <a:off x="381000" y="3961759"/>
            <a:ext cx="39624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36" name="Header 4">
            <a:extLst>
              <a:ext uri="{FF2B5EF4-FFF2-40B4-BE49-F238E27FC236}">
                <a16:creationId xmlns:a16="http://schemas.microsoft.com/office/drawing/2014/main" id="{7E808397-1165-4076-BD0A-BE6A90C19E9B}"/>
              </a:ext>
            </a:extLst>
          </p:cNvPr>
          <p:cNvSpPr>
            <a:spLocks noGrp="1"/>
          </p:cNvSpPr>
          <p:nvPr>
            <p:ph type="body" sz="quarter" idx="41" hasCustomPrompt="1"/>
          </p:nvPr>
        </p:nvSpPr>
        <p:spPr>
          <a:xfrm>
            <a:off x="5020274" y="3961759"/>
            <a:ext cx="39624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37" name="Text Placeholder 5">
            <a:extLst>
              <a:ext uri="{FF2B5EF4-FFF2-40B4-BE49-F238E27FC236}">
                <a16:creationId xmlns:a16="http://schemas.microsoft.com/office/drawing/2014/main" id="{CC0D292B-B63E-4277-A339-858F1811E07D}"/>
              </a:ext>
            </a:extLst>
          </p:cNvPr>
          <p:cNvSpPr>
            <a:spLocks noGrp="1"/>
          </p:cNvSpPr>
          <p:nvPr>
            <p:ph type="body" sz="quarter" idx="32"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39" name="Supertitle">
            <a:extLst>
              <a:ext uri="{FF2B5EF4-FFF2-40B4-BE49-F238E27FC236}">
                <a16:creationId xmlns:a16="http://schemas.microsoft.com/office/drawing/2014/main" id="{23980E38-F915-4158-AF74-34AE9E15DEA1}"/>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5404098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92668136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1710172"/>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6433799" y="1710172"/>
            <a:ext cx="5376000" cy="854080"/>
          </a:xfrm>
        </p:spPr>
        <p:txBody>
          <a:bodyPr>
            <a:spAutoFit/>
          </a:bodyPr>
          <a:lstStyle>
            <a:lvl1pPr>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88303"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 </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6433799" y="126312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A3879DDF-1FC7-44C7-A138-E840EF13C695}"/>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55381760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13400097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4" name="Text Placeholder 4">
            <a:extLst>
              <a:ext uri="{FF2B5EF4-FFF2-40B4-BE49-F238E27FC236}">
                <a16:creationId xmlns:a16="http://schemas.microsoft.com/office/drawing/2014/main" id="{1E8FE108-DC54-4409-9662-F8ED8D794459}"/>
              </a:ext>
            </a:extLst>
          </p:cNvPr>
          <p:cNvSpPr>
            <a:spLocks noGrp="1"/>
          </p:cNvSpPr>
          <p:nvPr>
            <p:ph type="body" sz="quarter" idx="31" hasCustomPrompt="1"/>
          </p:nvPr>
        </p:nvSpPr>
        <p:spPr>
          <a:xfrm>
            <a:off x="381599" y="1263129"/>
            <a:ext cx="11428800" cy="369332"/>
          </a:xfrm>
        </p:spPr>
        <p:txBody>
          <a:bodyPr>
            <a:spAutoFit/>
          </a:bodyPr>
          <a:lstStyle>
            <a:lvl1pPr>
              <a:spcBef>
                <a:spcPts val="0"/>
              </a:spcBef>
              <a:defRPr sz="1200" b="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Grey 12 Point </a:t>
            </a:r>
          </a:p>
          <a:p>
            <a:pPr lvl="0"/>
            <a:r>
              <a:rPr lang="en-GB"/>
              <a:t>(max. 2 lines)</a:t>
            </a:r>
          </a:p>
        </p:txBody>
      </p:sp>
      <p:cxnSp>
        <p:nvCxnSpPr>
          <p:cNvPr id="55" name="Straight Connector 54">
            <a:extLst>
              <a:ext uri="{FF2B5EF4-FFF2-40B4-BE49-F238E27FC236}">
                <a16:creationId xmlns:a16="http://schemas.microsoft.com/office/drawing/2014/main" id="{CB6E8ECA-899B-49C9-9F8D-7B1CB0242CFB}"/>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Confidential">
            <a:extLst>
              <a:ext uri="{FF2B5EF4-FFF2-40B4-BE49-F238E27FC236}">
                <a16:creationId xmlns:a16="http://schemas.microsoft.com/office/drawing/2014/main" id="{1E6624B9-93B9-4B77-AE26-6B03082B5DE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6" name="Text Placeholder 2">
            <a:extLst>
              <a:ext uri="{FF2B5EF4-FFF2-40B4-BE49-F238E27FC236}">
                <a16:creationId xmlns:a16="http://schemas.microsoft.com/office/drawing/2014/main" id="{7389D3C2-0654-4942-8DE0-23A2E181063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6" name="Title 5">
            <a:extLst>
              <a:ext uri="{FF2B5EF4-FFF2-40B4-BE49-F238E27FC236}">
                <a16:creationId xmlns:a16="http://schemas.microsoft.com/office/drawing/2014/main" id="{B2D0A33F-6A0B-4236-BEAF-EC5C09F9F742}"/>
              </a:ext>
            </a:extLst>
          </p:cNvPr>
          <p:cNvSpPr>
            <a:spLocks noGrp="1"/>
          </p:cNvSpPr>
          <p:nvPr>
            <p:ph type="title"/>
          </p:nvPr>
        </p:nvSpPr>
        <p:spPr>
          <a:xfrm>
            <a:off x="381599" y="411856"/>
            <a:ext cx="8600471" cy="609398"/>
          </a:xfrm>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cxnSp>
        <p:nvCxnSpPr>
          <p:cNvPr id="11" name="Bottom line">
            <a:extLst>
              <a:ext uri="{FF2B5EF4-FFF2-40B4-BE49-F238E27FC236}">
                <a16:creationId xmlns:a16="http://schemas.microsoft.com/office/drawing/2014/main" id="{FD8396C6-C8F6-47C9-9402-AD6FEBA89BC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5">
            <a:extLst>
              <a:ext uri="{FF2B5EF4-FFF2-40B4-BE49-F238E27FC236}">
                <a16:creationId xmlns:a16="http://schemas.microsoft.com/office/drawing/2014/main" id="{F8FD374B-EC81-45FE-82A5-5D0B614B0955}"/>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4" name="Supertitle">
            <a:extLst>
              <a:ext uri="{FF2B5EF4-FFF2-40B4-BE49-F238E27FC236}">
                <a16:creationId xmlns:a16="http://schemas.microsoft.com/office/drawing/2014/main" id="{BFED85D2-3BE9-4F6A-8B42-D15CF7D8BD05}"/>
              </a:ext>
            </a:extLst>
          </p:cNvPr>
          <p:cNvSpPr>
            <a:spLocks noGrp="1"/>
          </p:cNvSpPr>
          <p:nvPr>
            <p:ph type="body" sz="quarter" idx="33"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24813519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xt &amp;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427525210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1710172"/>
            <a:ext cx="114288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4" name="Text Placeholder 4">
            <a:extLst>
              <a:ext uri="{FF2B5EF4-FFF2-40B4-BE49-F238E27FC236}">
                <a16:creationId xmlns:a16="http://schemas.microsoft.com/office/drawing/2014/main" id="{1E8FE108-DC54-4409-9662-F8ED8D794459}"/>
              </a:ext>
            </a:extLst>
          </p:cNvPr>
          <p:cNvSpPr>
            <a:spLocks noGrp="1"/>
          </p:cNvSpPr>
          <p:nvPr>
            <p:ph type="body" sz="quarter" idx="31" hasCustomPrompt="1"/>
          </p:nvPr>
        </p:nvSpPr>
        <p:spPr>
          <a:xfrm>
            <a:off x="381599" y="1263129"/>
            <a:ext cx="11428800" cy="369332"/>
          </a:xfrm>
        </p:spPr>
        <p:txBody>
          <a:bodyPr>
            <a:spAutoFit/>
          </a:bodyPr>
          <a:lstStyle>
            <a:lvl1pPr>
              <a:spcBef>
                <a:spcPts val="0"/>
              </a:spcBef>
              <a:defRPr sz="1200" b="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Grey 12 Point </a:t>
            </a:r>
          </a:p>
          <a:p>
            <a:pPr lvl="0"/>
            <a:r>
              <a:rPr lang="en-GB"/>
              <a:t>(max. 2 lines)</a:t>
            </a:r>
          </a:p>
        </p:txBody>
      </p:sp>
      <p:cxnSp>
        <p:nvCxnSpPr>
          <p:cNvPr id="55" name="Straight Connector 54">
            <a:extLst>
              <a:ext uri="{FF2B5EF4-FFF2-40B4-BE49-F238E27FC236}">
                <a16:creationId xmlns:a16="http://schemas.microsoft.com/office/drawing/2014/main" id="{CB6E8ECA-899B-49C9-9F8D-7B1CB0242CFB}"/>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Confidential">
            <a:extLst>
              <a:ext uri="{FF2B5EF4-FFF2-40B4-BE49-F238E27FC236}">
                <a16:creationId xmlns:a16="http://schemas.microsoft.com/office/drawing/2014/main" id="{1E6624B9-93B9-4B77-AE26-6B03082B5DE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6" name="Text Placeholder 2">
            <a:extLst>
              <a:ext uri="{FF2B5EF4-FFF2-40B4-BE49-F238E27FC236}">
                <a16:creationId xmlns:a16="http://schemas.microsoft.com/office/drawing/2014/main" id="{7389D3C2-0654-4942-8DE0-23A2E181063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6" name="Title 5">
            <a:extLst>
              <a:ext uri="{FF2B5EF4-FFF2-40B4-BE49-F238E27FC236}">
                <a16:creationId xmlns:a16="http://schemas.microsoft.com/office/drawing/2014/main" id="{B2D0A33F-6A0B-4236-BEAF-EC5C09F9F742}"/>
              </a:ext>
            </a:extLst>
          </p:cNvPr>
          <p:cNvSpPr>
            <a:spLocks noGrp="1"/>
          </p:cNvSpPr>
          <p:nvPr>
            <p:ph type="title"/>
          </p:nvPr>
        </p:nvSpPr>
        <p:spPr>
          <a:xfrm>
            <a:off x="381599" y="411856"/>
            <a:ext cx="8600471" cy="609398"/>
          </a:xfrm>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cxnSp>
        <p:nvCxnSpPr>
          <p:cNvPr id="11" name="Bottom line">
            <a:extLst>
              <a:ext uri="{FF2B5EF4-FFF2-40B4-BE49-F238E27FC236}">
                <a16:creationId xmlns:a16="http://schemas.microsoft.com/office/drawing/2014/main" id="{FD8396C6-C8F6-47C9-9402-AD6FEBA89BC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5">
            <a:extLst>
              <a:ext uri="{FF2B5EF4-FFF2-40B4-BE49-F238E27FC236}">
                <a16:creationId xmlns:a16="http://schemas.microsoft.com/office/drawing/2014/main" id="{FE6F81A4-8F17-497F-9CA3-86176E23011F}"/>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4" name="Supertitle">
            <a:extLst>
              <a:ext uri="{FF2B5EF4-FFF2-40B4-BE49-F238E27FC236}">
                <a16:creationId xmlns:a16="http://schemas.microsoft.com/office/drawing/2014/main" id="{9C0238B2-67A9-4A0D-A1CF-60F3C0D5A161}"/>
              </a:ext>
            </a:extLst>
          </p:cNvPr>
          <p:cNvSpPr>
            <a:spLocks noGrp="1"/>
          </p:cNvSpPr>
          <p:nvPr>
            <p:ph type="body" sz="quarter" idx="33"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34273923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 Rows w/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93068123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2159069"/>
            <a:ext cx="11428799"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 2">
            <a:extLst>
              <a:ext uri="{FF2B5EF4-FFF2-40B4-BE49-F238E27FC236}">
                <a16:creationId xmlns:a16="http://schemas.microsoft.com/office/drawing/2014/main" id="{C1D21A04-198F-4CDC-8469-16165405FDC5}"/>
              </a:ext>
            </a:extLst>
          </p:cNvPr>
          <p:cNvSpPr>
            <a:spLocks noGrp="1"/>
          </p:cNvSpPr>
          <p:nvPr>
            <p:ph type="body" sz="quarter" idx="31"/>
          </p:nvPr>
        </p:nvSpPr>
        <p:spPr>
          <a:xfrm>
            <a:off x="381599" y="4408803"/>
            <a:ext cx="11428799"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Header 2">
            <a:extLst>
              <a:ext uri="{FF2B5EF4-FFF2-40B4-BE49-F238E27FC236}">
                <a16:creationId xmlns:a16="http://schemas.microsoft.com/office/drawing/2014/main" id="{2802A5D6-C82B-4708-901E-1A6481C0F245}"/>
              </a:ext>
            </a:extLst>
          </p:cNvPr>
          <p:cNvSpPr>
            <a:spLocks noGrp="1"/>
          </p:cNvSpPr>
          <p:nvPr>
            <p:ph type="body" sz="quarter" idx="36" hasCustomPrompt="1"/>
          </p:nvPr>
        </p:nvSpPr>
        <p:spPr>
          <a:xfrm>
            <a:off x="381599" y="3961759"/>
            <a:ext cx="11428799"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25" name="Bottom line">
            <a:extLst>
              <a:ext uri="{FF2B5EF4-FFF2-40B4-BE49-F238E27FC236}">
                <a16:creationId xmlns:a16="http://schemas.microsoft.com/office/drawing/2014/main" id="{A72FF3B7-BC75-4064-BD6B-EB44619D9346}"/>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Confidential">
            <a:extLst>
              <a:ext uri="{FF2B5EF4-FFF2-40B4-BE49-F238E27FC236}">
                <a16:creationId xmlns:a16="http://schemas.microsoft.com/office/drawing/2014/main" id="{29BED52F-2D38-4AFD-937A-7F5F4180A7BD}"/>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1" name="Text Placeholder 2">
            <a:extLst>
              <a:ext uri="{FF2B5EF4-FFF2-40B4-BE49-F238E27FC236}">
                <a16:creationId xmlns:a16="http://schemas.microsoft.com/office/drawing/2014/main" id="{07B36058-653D-447D-8669-EC979FD9C70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B23A8BAD-E2A3-4E1C-AB3E-B7DD1A21187A}"/>
              </a:ext>
            </a:extLst>
          </p:cNvPr>
          <p:cNvSpPr>
            <a:spLocks noGrp="1"/>
          </p:cNvSpPr>
          <p:nvPr>
            <p:ph type="title"/>
          </p:nvPr>
        </p:nvSpPr>
        <p:spPr>
          <a:xfrm>
            <a:off x="381599" y="411856"/>
            <a:ext cx="8600471" cy="609398"/>
          </a:xfrm>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Text Placeholder 4">
            <a:extLst>
              <a:ext uri="{FF2B5EF4-FFF2-40B4-BE49-F238E27FC236}">
                <a16:creationId xmlns:a16="http://schemas.microsoft.com/office/drawing/2014/main" id="{80B7FFA5-CA01-4BA8-9847-6596B7EB6A80}"/>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15" name="Header 1">
            <a:extLst>
              <a:ext uri="{FF2B5EF4-FFF2-40B4-BE49-F238E27FC236}">
                <a16:creationId xmlns:a16="http://schemas.microsoft.com/office/drawing/2014/main" id="{CC4CB824-191F-4530-95D8-E0D18B1F7B49}"/>
              </a:ext>
            </a:extLst>
          </p:cNvPr>
          <p:cNvSpPr>
            <a:spLocks noGrp="1"/>
          </p:cNvSpPr>
          <p:nvPr>
            <p:ph type="body" sz="quarter" idx="37" hasCustomPrompt="1"/>
          </p:nvPr>
        </p:nvSpPr>
        <p:spPr>
          <a:xfrm>
            <a:off x="381599" y="1710172"/>
            <a:ext cx="11428799"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8" name="Text Placeholder 5">
            <a:extLst>
              <a:ext uri="{FF2B5EF4-FFF2-40B4-BE49-F238E27FC236}">
                <a16:creationId xmlns:a16="http://schemas.microsoft.com/office/drawing/2014/main" id="{B47CA606-B2FB-45DB-974F-2AD9CF287F71}"/>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2" name="Supertitle">
            <a:extLst>
              <a:ext uri="{FF2B5EF4-FFF2-40B4-BE49-F238E27FC236}">
                <a16:creationId xmlns:a16="http://schemas.microsoft.com/office/drawing/2014/main" id="{EF09A4E9-1555-4510-897B-0853590EBBC6}"/>
              </a:ext>
            </a:extLst>
          </p:cNvPr>
          <p:cNvSpPr>
            <a:spLocks noGrp="1"/>
          </p:cNvSpPr>
          <p:nvPr>
            <p:ph type="body" sz="quarter" idx="38"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61292806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 Columns w/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69914231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2157215"/>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6433799" y="2157215"/>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710172"/>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Text Placeholder 4">
            <a:extLst>
              <a:ext uri="{FF2B5EF4-FFF2-40B4-BE49-F238E27FC236}">
                <a16:creationId xmlns:a16="http://schemas.microsoft.com/office/drawing/2014/main" id="{E3BE1143-B024-49D1-A0D1-6FD6EE38346C}"/>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15" name="Header 2">
            <a:extLst>
              <a:ext uri="{FF2B5EF4-FFF2-40B4-BE49-F238E27FC236}">
                <a16:creationId xmlns:a16="http://schemas.microsoft.com/office/drawing/2014/main" id="{4CDAD24F-66BA-429F-B1D6-CC3E9F342B2E}"/>
              </a:ext>
            </a:extLst>
          </p:cNvPr>
          <p:cNvSpPr>
            <a:spLocks noGrp="1"/>
          </p:cNvSpPr>
          <p:nvPr>
            <p:ph type="body" sz="quarter" idx="32" hasCustomPrompt="1"/>
          </p:nvPr>
        </p:nvSpPr>
        <p:spPr>
          <a:xfrm>
            <a:off x="6433799" y="1710172"/>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8" name="Text Placeholder 5">
            <a:extLst>
              <a:ext uri="{FF2B5EF4-FFF2-40B4-BE49-F238E27FC236}">
                <a16:creationId xmlns:a16="http://schemas.microsoft.com/office/drawing/2014/main" id="{D31B44AB-E325-4D85-AD6C-F9D8A8EBD7A4}"/>
              </a:ext>
            </a:extLst>
          </p:cNvPr>
          <p:cNvSpPr>
            <a:spLocks noGrp="1"/>
          </p:cNvSpPr>
          <p:nvPr>
            <p:ph type="body" sz="quarter" idx="33"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Supertitle">
            <a:extLst>
              <a:ext uri="{FF2B5EF4-FFF2-40B4-BE49-F238E27FC236}">
                <a16:creationId xmlns:a16="http://schemas.microsoft.com/office/drawing/2014/main" id="{B13715BD-CF0D-4BD6-9FF9-55A24368CD77}"/>
              </a:ext>
            </a:extLst>
          </p:cNvPr>
          <p:cNvSpPr>
            <a:spLocks noGrp="1"/>
          </p:cNvSpPr>
          <p:nvPr>
            <p:ph type="body" sz="quarter" idx="34"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76522397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 Columns &amp; ST ">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07314264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2157827"/>
            <a:ext cx="3517128"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2157827"/>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710172"/>
            <a:ext cx="3517128" cy="369332"/>
          </a:xfrm>
        </p:spPr>
        <p:txBody>
          <a:bodyPr wrap="square">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710172"/>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2157827"/>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710172"/>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5" name="Text Placeholder 4">
            <a:extLst>
              <a:ext uri="{FF2B5EF4-FFF2-40B4-BE49-F238E27FC236}">
                <a16:creationId xmlns:a16="http://schemas.microsoft.com/office/drawing/2014/main" id="{F8DCD7AD-925F-43E4-B518-7C85FF5C6E73}"/>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23" name="Supertitle">
            <a:extLst>
              <a:ext uri="{FF2B5EF4-FFF2-40B4-BE49-F238E27FC236}">
                <a16:creationId xmlns:a16="http://schemas.microsoft.com/office/drawing/2014/main" id="{0E4B5625-6591-44EC-86EF-CA23C10F1388}"/>
              </a:ext>
            </a:extLst>
          </p:cNvPr>
          <p:cNvSpPr>
            <a:spLocks noGrp="1"/>
          </p:cNvSpPr>
          <p:nvPr>
            <p:ph type="body" sz="quarter" idx="35"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6636995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3 Columns &amp; ST &amp; resul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8867081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5311770"/>
            <a:ext cx="3517128"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5311770"/>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710172"/>
            <a:ext cx="3517128" cy="369332"/>
          </a:xfrm>
        </p:spPr>
        <p:txBody>
          <a:bodyPr wrap="square">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710172"/>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5311770"/>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710172"/>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5" name="Text Placeholder 4">
            <a:extLst>
              <a:ext uri="{FF2B5EF4-FFF2-40B4-BE49-F238E27FC236}">
                <a16:creationId xmlns:a16="http://schemas.microsoft.com/office/drawing/2014/main" id="{F8DCD7AD-925F-43E4-B518-7C85FF5C6E73}"/>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23" name="Supertitle">
            <a:extLst>
              <a:ext uri="{FF2B5EF4-FFF2-40B4-BE49-F238E27FC236}">
                <a16:creationId xmlns:a16="http://schemas.microsoft.com/office/drawing/2014/main" id="{4CF9AB07-A543-4F9B-BA8A-FA616EDBFCE4}"/>
              </a:ext>
            </a:extLst>
          </p:cNvPr>
          <p:cNvSpPr>
            <a:spLocks noGrp="1"/>
          </p:cNvSpPr>
          <p:nvPr>
            <p:ph type="body" sz="quarter" idx="35"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67204132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x2 Columns w/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25186127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381000" y="2156849"/>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6433799" y="2156849"/>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381000" y="4408803"/>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6433799" y="4408803"/>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8" name="Text Placeholder 4">
            <a:extLst>
              <a:ext uri="{FF2B5EF4-FFF2-40B4-BE49-F238E27FC236}">
                <a16:creationId xmlns:a16="http://schemas.microsoft.com/office/drawing/2014/main" id="{F1C9B74D-AA4A-41C9-908C-F5884B578581}"/>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19" name="Header 1">
            <a:extLst>
              <a:ext uri="{FF2B5EF4-FFF2-40B4-BE49-F238E27FC236}">
                <a16:creationId xmlns:a16="http://schemas.microsoft.com/office/drawing/2014/main" id="{CE85712C-A9D9-4D8D-9215-D2F8C7B77277}"/>
              </a:ext>
            </a:extLst>
          </p:cNvPr>
          <p:cNvSpPr>
            <a:spLocks noGrp="1"/>
          </p:cNvSpPr>
          <p:nvPr>
            <p:ph type="body" sz="quarter" idx="29" hasCustomPrompt="1"/>
          </p:nvPr>
        </p:nvSpPr>
        <p:spPr>
          <a:xfrm>
            <a:off x="381000" y="1710172"/>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0" name="Header 2">
            <a:extLst>
              <a:ext uri="{FF2B5EF4-FFF2-40B4-BE49-F238E27FC236}">
                <a16:creationId xmlns:a16="http://schemas.microsoft.com/office/drawing/2014/main" id="{9811013D-C8B9-4C12-B29D-D49896202E0B}"/>
              </a:ext>
            </a:extLst>
          </p:cNvPr>
          <p:cNvSpPr>
            <a:spLocks noGrp="1"/>
          </p:cNvSpPr>
          <p:nvPr>
            <p:ph type="body" sz="quarter" idx="32" hasCustomPrompt="1"/>
          </p:nvPr>
        </p:nvSpPr>
        <p:spPr>
          <a:xfrm>
            <a:off x="6433799" y="1710172"/>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1" name="Header 3">
            <a:extLst>
              <a:ext uri="{FF2B5EF4-FFF2-40B4-BE49-F238E27FC236}">
                <a16:creationId xmlns:a16="http://schemas.microsoft.com/office/drawing/2014/main" id="{81C32393-35A4-4D57-9C71-3766A762518F}"/>
              </a:ext>
            </a:extLst>
          </p:cNvPr>
          <p:cNvSpPr>
            <a:spLocks noGrp="1"/>
          </p:cNvSpPr>
          <p:nvPr>
            <p:ph type="body" sz="quarter" idx="40" hasCustomPrompt="1"/>
          </p:nvPr>
        </p:nvSpPr>
        <p:spPr>
          <a:xfrm>
            <a:off x="381000" y="396175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2" name="Header 4">
            <a:extLst>
              <a:ext uri="{FF2B5EF4-FFF2-40B4-BE49-F238E27FC236}">
                <a16:creationId xmlns:a16="http://schemas.microsoft.com/office/drawing/2014/main" id="{ED5EF0B4-A865-481D-B6EB-CE3AA5032265}"/>
              </a:ext>
            </a:extLst>
          </p:cNvPr>
          <p:cNvSpPr>
            <a:spLocks noGrp="1"/>
          </p:cNvSpPr>
          <p:nvPr>
            <p:ph type="body" sz="quarter" idx="41" hasCustomPrompt="1"/>
          </p:nvPr>
        </p:nvSpPr>
        <p:spPr>
          <a:xfrm>
            <a:off x="6433799" y="396175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7" name="Text Placeholder 5">
            <a:extLst>
              <a:ext uri="{FF2B5EF4-FFF2-40B4-BE49-F238E27FC236}">
                <a16:creationId xmlns:a16="http://schemas.microsoft.com/office/drawing/2014/main" id="{26764055-1C71-464F-9EC3-37CF1D5172BE}"/>
              </a:ext>
            </a:extLst>
          </p:cNvPr>
          <p:cNvSpPr>
            <a:spLocks noGrp="1"/>
          </p:cNvSpPr>
          <p:nvPr>
            <p:ph type="body" sz="quarter" idx="4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3" name="Supertitle">
            <a:extLst>
              <a:ext uri="{FF2B5EF4-FFF2-40B4-BE49-F238E27FC236}">
                <a16:creationId xmlns:a16="http://schemas.microsoft.com/office/drawing/2014/main" id="{59160C87-BA14-41C1-99AB-D59B8122C92A}"/>
              </a:ext>
            </a:extLst>
          </p:cNvPr>
          <p:cNvSpPr>
            <a:spLocks noGrp="1"/>
          </p:cNvSpPr>
          <p:nvPr>
            <p:ph type="body" sz="quarter" idx="43"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92757154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x2 Columns w/ boxes lef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57195106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42" name="Header 1">
            <a:extLst>
              <a:ext uri="{FF2B5EF4-FFF2-40B4-BE49-F238E27FC236}">
                <a16:creationId xmlns:a16="http://schemas.microsoft.com/office/drawing/2014/main" id="{C6F2795A-D810-4E5B-A614-A4D19B261450}"/>
              </a:ext>
            </a:extLst>
          </p:cNvPr>
          <p:cNvSpPr>
            <a:spLocks noGrp="1"/>
          </p:cNvSpPr>
          <p:nvPr>
            <p:ph type="body" sz="quarter" idx="44" hasCustomPrompt="1"/>
          </p:nvPr>
        </p:nvSpPr>
        <p:spPr>
          <a:xfrm>
            <a:off x="6436872" y="1724728"/>
            <a:ext cx="908686" cy="2068113"/>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1344260" y="2154644"/>
            <a:ext cx="4412739" cy="1638197"/>
          </a:xfrm>
        </p:spPr>
        <p:txBody>
          <a:bodyPr>
            <a:no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7397660" y="2154644"/>
            <a:ext cx="4412739" cy="1638197"/>
          </a:xfrm>
        </p:spPr>
        <p:txBody>
          <a:bodyPr>
            <a:no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7" name="Header 1">
            <a:extLst>
              <a:ext uri="{FF2B5EF4-FFF2-40B4-BE49-F238E27FC236}">
                <a16:creationId xmlns:a16="http://schemas.microsoft.com/office/drawing/2014/main" id="{4260A183-6570-43A4-947E-594FDC5180ED}"/>
              </a:ext>
            </a:extLst>
          </p:cNvPr>
          <p:cNvSpPr>
            <a:spLocks noGrp="1"/>
          </p:cNvSpPr>
          <p:nvPr>
            <p:ph type="body" sz="quarter" idx="36" hasCustomPrompt="1"/>
          </p:nvPr>
        </p:nvSpPr>
        <p:spPr>
          <a:xfrm>
            <a:off x="1344260" y="1724727"/>
            <a:ext cx="4412739"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0" name="Header 2">
            <a:extLst>
              <a:ext uri="{FF2B5EF4-FFF2-40B4-BE49-F238E27FC236}">
                <a16:creationId xmlns:a16="http://schemas.microsoft.com/office/drawing/2014/main" id="{30B40A43-AF85-4C48-AB3A-DA05DE732F35}"/>
              </a:ext>
            </a:extLst>
          </p:cNvPr>
          <p:cNvSpPr>
            <a:spLocks noGrp="1"/>
          </p:cNvSpPr>
          <p:nvPr>
            <p:ph type="body" sz="quarter" idx="30" hasCustomPrompt="1"/>
          </p:nvPr>
        </p:nvSpPr>
        <p:spPr>
          <a:xfrm>
            <a:off x="7397660" y="1724727"/>
            <a:ext cx="4412739"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1344260" y="4514955"/>
            <a:ext cx="4412739" cy="1638196"/>
          </a:xfrm>
        </p:spPr>
        <p:txBody>
          <a:bodyPr>
            <a:no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7397660" y="4514955"/>
            <a:ext cx="4412739" cy="1638196"/>
          </a:xfrm>
        </p:spPr>
        <p:txBody>
          <a:bodyPr>
            <a:no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Header 3">
            <a:extLst>
              <a:ext uri="{FF2B5EF4-FFF2-40B4-BE49-F238E27FC236}">
                <a16:creationId xmlns:a16="http://schemas.microsoft.com/office/drawing/2014/main" id="{831DB6E1-CBAC-4ECF-88CF-E8D51B29C19C}"/>
              </a:ext>
            </a:extLst>
          </p:cNvPr>
          <p:cNvSpPr>
            <a:spLocks noGrp="1"/>
          </p:cNvSpPr>
          <p:nvPr>
            <p:ph type="body" sz="quarter" idx="39" hasCustomPrompt="1"/>
          </p:nvPr>
        </p:nvSpPr>
        <p:spPr>
          <a:xfrm>
            <a:off x="1344260" y="4085037"/>
            <a:ext cx="4412739"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6" name="Header 4">
            <a:extLst>
              <a:ext uri="{FF2B5EF4-FFF2-40B4-BE49-F238E27FC236}">
                <a16:creationId xmlns:a16="http://schemas.microsoft.com/office/drawing/2014/main" id="{F2730FC7-2E6F-466D-9221-BB8A8A498DDA}"/>
              </a:ext>
            </a:extLst>
          </p:cNvPr>
          <p:cNvSpPr>
            <a:spLocks noGrp="1"/>
          </p:cNvSpPr>
          <p:nvPr>
            <p:ph type="body" sz="quarter" idx="40" hasCustomPrompt="1"/>
          </p:nvPr>
        </p:nvSpPr>
        <p:spPr>
          <a:xfrm>
            <a:off x="7397660" y="4085037"/>
            <a:ext cx="4412739"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4 </a:t>
            </a:r>
            <a:r>
              <a:rPr lang="en-GB" err="1"/>
              <a:t>Lato</a:t>
            </a:r>
            <a:r>
              <a:rPr lang="en-GB"/>
              <a:t> 12 Point</a:t>
            </a:r>
          </a:p>
          <a:p>
            <a:pPr lvl="0"/>
            <a:r>
              <a:rPr lang="en-GB"/>
              <a:t>(max. 2 lines)</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62856"/>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8" name="Text Placeholder 4">
            <a:extLst>
              <a:ext uri="{FF2B5EF4-FFF2-40B4-BE49-F238E27FC236}">
                <a16:creationId xmlns:a16="http://schemas.microsoft.com/office/drawing/2014/main" id="{F1C9B74D-AA4A-41C9-908C-F5884B578581}"/>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38" name="Header 1">
            <a:extLst>
              <a:ext uri="{FF2B5EF4-FFF2-40B4-BE49-F238E27FC236}">
                <a16:creationId xmlns:a16="http://schemas.microsoft.com/office/drawing/2014/main" id="{7FCA4893-4428-4B85-88ED-35A9A51FAEF7}"/>
              </a:ext>
            </a:extLst>
          </p:cNvPr>
          <p:cNvSpPr>
            <a:spLocks noGrp="1"/>
          </p:cNvSpPr>
          <p:nvPr>
            <p:ph type="body" sz="quarter" idx="41" hasCustomPrompt="1"/>
          </p:nvPr>
        </p:nvSpPr>
        <p:spPr>
          <a:xfrm>
            <a:off x="381599" y="1724728"/>
            <a:ext cx="908686" cy="2068113"/>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39" name="Text Placeholder 4">
            <a:extLst>
              <a:ext uri="{FF2B5EF4-FFF2-40B4-BE49-F238E27FC236}">
                <a16:creationId xmlns:a16="http://schemas.microsoft.com/office/drawing/2014/main" id="{2717A667-C17A-4A65-A0DA-460F20A79959}"/>
              </a:ext>
            </a:extLst>
          </p:cNvPr>
          <p:cNvSpPr>
            <a:spLocks noGrp="1"/>
          </p:cNvSpPr>
          <p:nvPr>
            <p:ph type="body" sz="quarter" idx="42" hasCustomPrompt="1"/>
          </p:nvPr>
        </p:nvSpPr>
        <p:spPr>
          <a:xfrm>
            <a:off x="346075" y="1705124"/>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1</a:t>
            </a:r>
          </a:p>
        </p:txBody>
      </p:sp>
      <p:sp>
        <p:nvSpPr>
          <p:cNvPr id="41" name="Text Placeholder 4">
            <a:extLst>
              <a:ext uri="{FF2B5EF4-FFF2-40B4-BE49-F238E27FC236}">
                <a16:creationId xmlns:a16="http://schemas.microsoft.com/office/drawing/2014/main" id="{D44F1B25-5AEF-475A-B24F-9978D0EFEE15}"/>
              </a:ext>
            </a:extLst>
          </p:cNvPr>
          <p:cNvSpPr>
            <a:spLocks noGrp="1"/>
          </p:cNvSpPr>
          <p:nvPr>
            <p:ph type="body" sz="quarter" idx="43" hasCustomPrompt="1"/>
          </p:nvPr>
        </p:nvSpPr>
        <p:spPr>
          <a:xfrm>
            <a:off x="6370022" y="1705124"/>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2</a:t>
            </a:r>
          </a:p>
        </p:txBody>
      </p:sp>
      <p:sp>
        <p:nvSpPr>
          <p:cNvPr id="43" name="Header 1">
            <a:extLst>
              <a:ext uri="{FF2B5EF4-FFF2-40B4-BE49-F238E27FC236}">
                <a16:creationId xmlns:a16="http://schemas.microsoft.com/office/drawing/2014/main" id="{7E37013A-460E-47E1-A9DF-15009C673120}"/>
              </a:ext>
            </a:extLst>
          </p:cNvPr>
          <p:cNvSpPr>
            <a:spLocks noGrp="1"/>
          </p:cNvSpPr>
          <p:nvPr>
            <p:ph type="body" sz="quarter" idx="45" hasCustomPrompt="1"/>
          </p:nvPr>
        </p:nvSpPr>
        <p:spPr>
          <a:xfrm>
            <a:off x="6436872" y="4085037"/>
            <a:ext cx="908686" cy="2068113"/>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44" name="Header 1">
            <a:extLst>
              <a:ext uri="{FF2B5EF4-FFF2-40B4-BE49-F238E27FC236}">
                <a16:creationId xmlns:a16="http://schemas.microsoft.com/office/drawing/2014/main" id="{4A7A49FE-90F8-49D5-92A6-BEF37210A6B8}"/>
              </a:ext>
            </a:extLst>
          </p:cNvPr>
          <p:cNvSpPr>
            <a:spLocks noGrp="1"/>
          </p:cNvSpPr>
          <p:nvPr>
            <p:ph type="body" sz="quarter" idx="46" hasCustomPrompt="1"/>
          </p:nvPr>
        </p:nvSpPr>
        <p:spPr>
          <a:xfrm>
            <a:off x="381599" y="4085037"/>
            <a:ext cx="908686" cy="2068113"/>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45" name="Text Placeholder 4">
            <a:extLst>
              <a:ext uri="{FF2B5EF4-FFF2-40B4-BE49-F238E27FC236}">
                <a16:creationId xmlns:a16="http://schemas.microsoft.com/office/drawing/2014/main" id="{8EBB7965-F4C9-42ED-AD20-20DAD9D6CC5E}"/>
              </a:ext>
            </a:extLst>
          </p:cNvPr>
          <p:cNvSpPr>
            <a:spLocks noGrp="1"/>
          </p:cNvSpPr>
          <p:nvPr>
            <p:ph type="body" sz="quarter" idx="47" hasCustomPrompt="1"/>
          </p:nvPr>
        </p:nvSpPr>
        <p:spPr>
          <a:xfrm>
            <a:off x="346075" y="4045651"/>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3</a:t>
            </a:r>
          </a:p>
        </p:txBody>
      </p:sp>
      <p:sp>
        <p:nvSpPr>
          <p:cNvPr id="46" name="Text Placeholder 4">
            <a:extLst>
              <a:ext uri="{FF2B5EF4-FFF2-40B4-BE49-F238E27FC236}">
                <a16:creationId xmlns:a16="http://schemas.microsoft.com/office/drawing/2014/main" id="{DC5BF429-E5B1-4EF1-9507-F7FADE5F65D8}"/>
              </a:ext>
            </a:extLst>
          </p:cNvPr>
          <p:cNvSpPr>
            <a:spLocks noGrp="1"/>
          </p:cNvSpPr>
          <p:nvPr>
            <p:ph type="body" sz="quarter" idx="48" hasCustomPrompt="1"/>
          </p:nvPr>
        </p:nvSpPr>
        <p:spPr>
          <a:xfrm>
            <a:off x="6370022" y="4016385"/>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4</a:t>
            </a:r>
          </a:p>
        </p:txBody>
      </p:sp>
      <p:sp>
        <p:nvSpPr>
          <p:cNvPr id="37" name="Text Placeholder 5">
            <a:extLst>
              <a:ext uri="{FF2B5EF4-FFF2-40B4-BE49-F238E27FC236}">
                <a16:creationId xmlns:a16="http://schemas.microsoft.com/office/drawing/2014/main" id="{8574D18D-32EA-452E-8261-FB6F366D0871}"/>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CF05201-D523-4050-AE16-80986FCB8FAA}"/>
              </a:ext>
            </a:extLst>
          </p:cNvPr>
          <p:cNvSpPr>
            <a:spLocks noGrp="1"/>
          </p:cNvSpPr>
          <p:nvPr>
            <p:ph type="body" sz="quarter" idx="49"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87583388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x2 Columns w/ header boxe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68241371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381000" y="2421389"/>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6433799" y="2421389"/>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7" name="Header 1">
            <a:extLst>
              <a:ext uri="{FF2B5EF4-FFF2-40B4-BE49-F238E27FC236}">
                <a16:creationId xmlns:a16="http://schemas.microsoft.com/office/drawing/2014/main" id="{4260A183-6570-43A4-947E-594FDC5180ED}"/>
              </a:ext>
            </a:extLst>
          </p:cNvPr>
          <p:cNvSpPr>
            <a:spLocks noGrp="1"/>
          </p:cNvSpPr>
          <p:nvPr>
            <p:ph type="body" sz="quarter" idx="36" hasCustomPrompt="1"/>
          </p:nvPr>
        </p:nvSpPr>
        <p:spPr>
          <a:xfrm>
            <a:off x="381000" y="1974346"/>
            <a:ext cx="5376000"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0" name="Header 2">
            <a:extLst>
              <a:ext uri="{FF2B5EF4-FFF2-40B4-BE49-F238E27FC236}">
                <a16:creationId xmlns:a16="http://schemas.microsoft.com/office/drawing/2014/main" id="{30B40A43-AF85-4C48-AB3A-DA05DE732F35}"/>
              </a:ext>
            </a:extLst>
          </p:cNvPr>
          <p:cNvSpPr>
            <a:spLocks noGrp="1"/>
          </p:cNvSpPr>
          <p:nvPr>
            <p:ph type="body" sz="quarter" idx="30" hasCustomPrompt="1"/>
          </p:nvPr>
        </p:nvSpPr>
        <p:spPr>
          <a:xfrm>
            <a:off x="6433799" y="1974346"/>
            <a:ext cx="5376000"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381000" y="4794573"/>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6433799" y="4794573"/>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Header 3">
            <a:extLst>
              <a:ext uri="{FF2B5EF4-FFF2-40B4-BE49-F238E27FC236}">
                <a16:creationId xmlns:a16="http://schemas.microsoft.com/office/drawing/2014/main" id="{831DB6E1-CBAC-4ECF-88CF-E8D51B29C19C}"/>
              </a:ext>
            </a:extLst>
          </p:cNvPr>
          <p:cNvSpPr>
            <a:spLocks noGrp="1"/>
          </p:cNvSpPr>
          <p:nvPr>
            <p:ph type="body" sz="quarter" idx="39" hasCustomPrompt="1"/>
          </p:nvPr>
        </p:nvSpPr>
        <p:spPr>
          <a:xfrm>
            <a:off x="381000" y="4344470"/>
            <a:ext cx="5376000"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6" name="Header 4">
            <a:extLst>
              <a:ext uri="{FF2B5EF4-FFF2-40B4-BE49-F238E27FC236}">
                <a16:creationId xmlns:a16="http://schemas.microsoft.com/office/drawing/2014/main" id="{F2730FC7-2E6F-466D-9221-BB8A8A498DDA}"/>
              </a:ext>
            </a:extLst>
          </p:cNvPr>
          <p:cNvSpPr>
            <a:spLocks noGrp="1"/>
          </p:cNvSpPr>
          <p:nvPr>
            <p:ph type="body" sz="quarter" idx="40" hasCustomPrompt="1"/>
          </p:nvPr>
        </p:nvSpPr>
        <p:spPr>
          <a:xfrm>
            <a:off x="6433799" y="4344470"/>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lvl="0"/>
            <a:r>
              <a:rPr lang="en-GB"/>
              <a:t>(max. 2 lines)</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8" name="Text Placeholder 4">
            <a:extLst>
              <a:ext uri="{FF2B5EF4-FFF2-40B4-BE49-F238E27FC236}">
                <a16:creationId xmlns:a16="http://schemas.microsoft.com/office/drawing/2014/main" id="{F1C9B74D-AA4A-41C9-908C-F5884B578581}"/>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43" name="Header 1">
            <a:extLst>
              <a:ext uri="{FF2B5EF4-FFF2-40B4-BE49-F238E27FC236}">
                <a16:creationId xmlns:a16="http://schemas.microsoft.com/office/drawing/2014/main" id="{A579CFF5-C5B3-474E-AF68-241D17CCE7C8}"/>
              </a:ext>
            </a:extLst>
          </p:cNvPr>
          <p:cNvSpPr>
            <a:spLocks noGrp="1"/>
          </p:cNvSpPr>
          <p:nvPr>
            <p:ph type="body" sz="quarter" idx="41" hasCustomPrompt="1"/>
          </p:nvPr>
        </p:nvSpPr>
        <p:spPr>
          <a:xfrm>
            <a:off x="495300" y="1723182"/>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46" name="Header 1">
            <a:extLst>
              <a:ext uri="{FF2B5EF4-FFF2-40B4-BE49-F238E27FC236}">
                <a16:creationId xmlns:a16="http://schemas.microsoft.com/office/drawing/2014/main" id="{15492E27-0423-4B7C-9F8A-92CAFE37CEF1}"/>
              </a:ext>
            </a:extLst>
          </p:cNvPr>
          <p:cNvSpPr>
            <a:spLocks noGrp="1"/>
          </p:cNvSpPr>
          <p:nvPr>
            <p:ph type="body" sz="quarter" idx="43" hasCustomPrompt="1"/>
          </p:nvPr>
        </p:nvSpPr>
        <p:spPr>
          <a:xfrm>
            <a:off x="6548099" y="1723182"/>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47" name="Text Placeholder 4">
            <a:extLst>
              <a:ext uri="{FF2B5EF4-FFF2-40B4-BE49-F238E27FC236}">
                <a16:creationId xmlns:a16="http://schemas.microsoft.com/office/drawing/2014/main" id="{22123AE3-2808-4107-B118-172F8E99A326}"/>
              </a:ext>
            </a:extLst>
          </p:cNvPr>
          <p:cNvSpPr>
            <a:spLocks noGrp="1"/>
          </p:cNvSpPr>
          <p:nvPr>
            <p:ph type="body" sz="quarter" idx="44" hasCustomPrompt="1"/>
          </p:nvPr>
        </p:nvSpPr>
        <p:spPr>
          <a:xfrm>
            <a:off x="6433799" y="1706754"/>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2</a:t>
            </a:r>
          </a:p>
        </p:txBody>
      </p:sp>
      <p:sp>
        <p:nvSpPr>
          <p:cNvPr id="48" name="Header 1">
            <a:extLst>
              <a:ext uri="{FF2B5EF4-FFF2-40B4-BE49-F238E27FC236}">
                <a16:creationId xmlns:a16="http://schemas.microsoft.com/office/drawing/2014/main" id="{ADD9AFFE-56A6-4380-8BEF-EB516EA5EA71}"/>
              </a:ext>
            </a:extLst>
          </p:cNvPr>
          <p:cNvSpPr>
            <a:spLocks noGrp="1"/>
          </p:cNvSpPr>
          <p:nvPr>
            <p:ph type="body" sz="quarter" idx="45" hasCustomPrompt="1"/>
          </p:nvPr>
        </p:nvSpPr>
        <p:spPr>
          <a:xfrm>
            <a:off x="495300" y="4090556"/>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49" name="Text Placeholder 4">
            <a:extLst>
              <a:ext uri="{FF2B5EF4-FFF2-40B4-BE49-F238E27FC236}">
                <a16:creationId xmlns:a16="http://schemas.microsoft.com/office/drawing/2014/main" id="{5430CA55-3194-437D-886F-57F7C5BF7738}"/>
              </a:ext>
            </a:extLst>
          </p:cNvPr>
          <p:cNvSpPr>
            <a:spLocks noGrp="1"/>
          </p:cNvSpPr>
          <p:nvPr>
            <p:ph type="body" sz="quarter" idx="46" hasCustomPrompt="1"/>
          </p:nvPr>
        </p:nvSpPr>
        <p:spPr>
          <a:xfrm>
            <a:off x="381000" y="4070594"/>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3</a:t>
            </a:r>
          </a:p>
        </p:txBody>
      </p:sp>
      <p:sp>
        <p:nvSpPr>
          <p:cNvPr id="50" name="Header 1">
            <a:extLst>
              <a:ext uri="{FF2B5EF4-FFF2-40B4-BE49-F238E27FC236}">
                <a16:creationId xmlns:a16="http://schemas.microsoft.com/office/drawing/2014/main" id="{AA2F41B8-E21B-46B0-BCA2-6056C9D8C5D8}"/>
              </a:ext>
            </a:extLst>
          </p:cNvPr>
          <p:cNvSpPr>
            <a:spLocks noGrp="1"/>
          </p:cNvSpPr>
          <p:nvPr>
            <p:ph type="body" sz="quarter" idx="47" hasCustomPrompt="1"/>
          </p:nvPr>
        </p:nvSpPr>
        <p:spPr>
          <a:xfrm>
            <a:off x="6548099" y="4090556"/>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51" name="Text Placeholder 4">
            <a:extLst>
              <a:ext uri="{FF2B5EF4-FFF2-40B4-BE49-F238E27FC236}">
                <a16:creationId xmlns:a16="http://schemas.microsoft.com/office/drawing/2014/main" id="{E03268E8-248B-45BF-9BE3-8E6103F84597}"/>
              </a:ext>
            </a:extLst>
          </p:cNvPr>
          <p:cNvSpPr>
            <a:spLocks noGrp="1"/>
          </p:cNvSpPr>
          <p:nvPr>
            <p:ph type="body" sz="quarter" idx="48" hasCustomPrompt="1"/>
          </p:nvPr>
        </p:nvSpPr>
        <p:spPr>
          <a:xfrm>
            <a:off x="6433799" y="4070594"/>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4</a:t>
            </a:r>
          </a:p>
        </p:txBody>
      </p:sp>
      <p:sp>
        <p:nvSpPr>
          <p:cNvPr id="8" name="Text Placeholder 7">
            <a:extLst>
              <a:ext uri="{FF2B5EF4-FFF2-40B4-BE49-F238E27FC236}">
                <a16:creationId xmlns:a16="http://schemas.microsoft.com/office/drawing/2014/main" id="{C13C1FBD-2B60-4422-8E94-1A95A3DE93D5}"/>
              </a:ext>
            </a:extLst>
          </p:cNvPr>
          <p:cNvSpPr>
            <a:spLocks noGrp="1"/>
          </p:cNvSpPr>
          <p:nvPr>
            <p:ph type="body" sz="quarter" idx="49" hasCustomPrompt="1"/>
          </p:nvPr>
        </p:nvSpPr>
        <p:spPr>
          <a:xfrm>
            <a:off x="381000" y="1706754"/>
            <a:ext cx="252000" cy="251670"/>
          </a:xfrm>
          <a:prstGeom prst="ellipse">
            <a:avLst/>
          </a:prstGeom>
          <a:solidFill>
            <a:schemeClr val="accent2"/>
          </a:solidFill>
        </p:spPr>
        <p:txBody>
          <a:bodyPr anchor="ctr" anchorCtr="0">
            <a:noAutofit/>
          </a:bodyPr>
          <a:lstStyle>
            <a:lvl1pPr algn="ctr">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1</a:t>
            </a:r>
          </a:p>
        </p:txBody>
      </p:sp>
      <p:sp>
        <p:nvSpPr>
          <p:cNvPr id="37" name="Text Placeholder 5">
            <a:extLst>
              <a:ext uri="{FF2B5EF4-FFF2-40B4-BE49-F238E27FC236}">
                <a16:creationId xmlns:a16="http://schemas.microsoft.com/office/drawing/2014/main" id="{CADDEF87-26F6-4A8C-8D0F-27EC3695F06F}"/>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D5122C1-D049-4CBA-8381-0C6B2BE92B9E}"/>
              </a:ext>
            </a:extLst>
          </p:cNvPr>
          <p:cNvSpPr>
            <a:spLocks noGrp="1"/>
          </p:cNvSpPr>
          <p:nvPr>
            <p:ph type="body" sz="quarter" idx="50"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22569561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5 regions - bar chart - commen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82781196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43" name="Header 1">
            <a:extLst>
              <a:ext uri="{FF2B5EF4-FFF2-40B4-BE49-F238E27FC236}">
                <a16:creationId xmlns:a16="http://schemas.microsoft.com/office/drawing/2014/main" id="{A579CFF5-C5B3-474E-AF68-241D17CCE7C8}"/>
              </a:ext>
            </a:extLst>
          </p:cNvPr>
          <p:cNvSpPr>
            <a:spLocks noGrp="1"/>
          </p:cNvSpPr>
          <p:nvPr>
            <p:ph type="body" sz="quarter" idx="41" hasCustomPrompt="1"/>
          </p:nvPr>
        </p:nvSpPr>
        <p:spPr>
          <a:xfrm>
            <a:off x="377525"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46" name="Header 1">
            <a:extLst>
              <a:ext uri="{FF2B5EF4-FFF2-40B4-BE49-F238E27FC236}">
                <a16:creationId xmlns:a16="http://schemas.microsoft.com/office/drawing/2014/main" id="{15492E27-0423-4B7C-9F8A-92CAFE37CEF1}"/>
              </a:ext>
            </a:extLst>
          </p:cNvPr>
          <p:cNvSpPr>
            <a:spLocks noGrp="1"/>
          </p:cNvSpPr>
          <p:nvPr>
            <p:ph type="body" sz="quarter" idx="43" hasCustomPrompt="1"/>
          </p:nvPr>
        </p:nvSpPr>
        <p:spPr>
          <a:xfrm>
            <a:off x="4283512"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48" name="Header 1">
            <a:extLst>
              <a:ext uri="{FF2B5EF4-FFF2-40B4-BE49-F238E27FC236}">
                <a16:creationId xmlns:a16="http://schemas.microsoft.com/office/drawing/2014/main" id="{ADD9AFFE-56A6-4380-8BEF-EB516EA5EA71}"/>
              </a:ext>
            </a:extLst>
          </p:cNvPr>
          <p:cNvSpPr>
            <a:spLocks noGrp="1"/>
          </p:cNvSpPr>
          <p:nvPr>
            <p:ph type="body" sz="quarter" idx="45" hasCustomPrompt="1"/>
          </p:nvPr>
        </p:nvSpPr>
        <p:spPr>
          <a:xfrm>
            <a:off x="377525" y="3848034"/>
            <a:ext cx="3635840" cy="187200"/>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50" name="Header 1">
            <a:extLst>
              <a:ext uri="{FF2B5EF4-FFF2-40B4-BE49-F238E27FC236}">
                <a16:creationId xmlns:a16="http://schemas.microsoft.com/office/drawing/2014/main" id="{AA2F41B8-E21B-46B0-BCA2-6056C9D8C5D8}"/>
              </a:ext>
            </a:extLst>
          </p:cNvPr>
          <p:cNvSpPr>
            <a:spLocks noGrp="1"/>
          </p:cNvSpPr>
          <p:nvPr>
            <p:ph type="body" sz="quarter" idx="47" hasCustomPrompt="1"/>
          </p:nvPr>
        </p:nvSpPr>
        <p:spPr>
          <a:xfrm>
            <a:off x="4283512" y="3848034"/>
            <a:ext cx="3635840" cy="187200"/>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5</a:t>
            </a:r>
          </a:p>
        </p:txBody>
      </p:sp>
      <p:sp>
        <p:nvSpPr>
          <p:cNvPr id="37" name="Text Placeholder 5">
            <a:extLst>
              <a:ext uri="{FF2B5EF4-FFF2-40B4-BE49-F238E27FC236}">
                <a16:creationId xmlns:a16="http://schemas.microsoft.com/office/drawing/2014/main" id="{CADDEF87-26F6-4A8C-8D0F-27EC3695F06F}"/>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D5122C1-D049-4CBA-8381-0C6B2BE92B9E}"/>
              </a:ext>
            </a:extLst>
          </p:cNvPr>
          <p:cNvSpPr>
            <a:spLocks noGrp="1"/>
          </p:cNvSpPr>
          <p:nvPr>
            <p:ph type="body" sz="quarter" idx="50"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
        <p:nvSpPr>
          <p:cNvPr id="44" name="Header 1">
            <a:extLst>
              <a:ext uri="{FF2B5EF4-FFF2-40B4-BE49-F238E27FC236}">
                <a16:creationId xmlns:a16="http://schemas.microsoft.com/office/drawing/2014/main" id="{B9DFF9B2-EA65-4F16-AE77-78189FC247FD}"/>
              </a:ext>
            </a:extLst>
          </p:cNvPr>
          <p:cNvSpPr>
            <a:spLocks noGrp="1"/>
          </p:cNvSpPr>
          <p:nvPr>
            <p:ph type="body" sz="quarter" idx="52" hasCustomPrompt="1"/>
          </p:nvPr>
        </p:nvSpPr>
        <p:spPr>
          <a:xfrm>
            <a:off x="8176649"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56" name="Text 3">
            <a:extLst>
              <a:ext uri="{FF2B5EF4-FFF2-40B4-BE49-F238E27FC236}">
                <a16:creationId xmlns:a16="http://schemas.microsoft.com/office/drawing/2014/main" id="{D0B2870A-8204-4594-A776-A3DA73C035B9}"/>
              </a:ext>
            </a:extLst>
          </p:cNvPr>
          <p:cNvSpPr>
            <a:spLocks noGrp="1"/>
          </p:cNvSpPr>
          <p:nvPr>
            <p:ph type="body" sz="quarter" idx="37"/>
          </p:nvPr>
        </p:nvSpPr>
        <p:spPr>
          <a:xfrm>
            <a:off x="8234803" y="4035234"/>
            <a:ext cx="3635233"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7" name="Text Placeholder 4">
            <a:extLst>
              <a:ext uri="{FF2B5EF4-FFF2-40B4-BE49-F238E27FC236}">
                <a16:creationId xmlns:a16="http://schemas.microsoft.com/office/drawing/2014/main" id="{E106BF0B-FA51-492C-9864-4E75F8CA876E}"/>
              </a:ext>
            </a:extLst>
          </p:cNvPr>
          <p:cNvSpPr>
            <a:spLocks noGrp="1"/>
          </p:cNvSpPr>
          <p:nvPr>
            <p:ph type="body" sz="quarter" idx="31" hasCustomPrompt="1"/>
          </p:nvPr>
        </p:nvSpPr>
        <p:spPr>
          <a:xfrm>
            <a:off x="381599" y="1263129"/>
            <a:ext cx="11428800" cy="184666"/>
          </a:xfrm>
        </p:spPr>
        <p:txBody>
          <a:bodyPr vert="horz" lIns="0" tIns="0" rIns="0" bIns="0" rtlCol="0">
            <a:spAutoFit/>
          </a:bodyPr>
          <a:lstStyle>
            <a:lvl1pPr>
              <a:defRPr lang="en-GB" sz="1200" b="1"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p:txBody>
      </p:sp>
      <p:sp>
        <p:nvSpPr>
          <p:cNvPr id="58" name="Text Placeholder 4">
            <a:extLst>
              <a:ext uri="{FF2B5EF4-FFF2-40B4-BE49-F238E27FC236}">
                <a16:creationId xmlns:a16="http://schemas.microsoft.com/office/drawing/2014/main" id="{FB9C1B2F-60BB-41B1-82E1-CEC967EB46F3}"/>
              </a:ext>
            </a:extLst>
          </p:cNvPr>
          <p:cNvSpPr>
            <a:spLocks noGrp="1"/>
          </p:cNvSpPr>
          <p:nvPr>
            <p:ph type="body" sz="quarter" idx="53" hasCustomPrompt="1"/>
          </p:nvPr>
        </p:nvSpPr>
        <p:spPr>
          <a:xfrm>
            <a:off x="374054" y="1486557"/>
            <a:ext cx="11428800" cy="184666"/>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Units</a:t>
            </a:r>
          </a:p>
        </p:txBody>
      </p:sp>
    </p:spTree>
    <p:extLst>
      <p:ext uri="{BB962C8B-B14F-4D97-AF65-F5344CB8AC3E}">
        <p14:creationId xmlns:p14="http://schemas.microsoft.com/office/powerpoint/2010/main" val="18957171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lumns &amp; resul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45883317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5302245"/>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6433799" y="5302245"/>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6433799" y="126312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EE93A44D-E748-4D8D-A17F-5384A0EE4B00}"/>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25606432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5 regions - comment - white backgroun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80015407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43" name="Header 1">
            <a:extLst>
              <a:ext uri="{FF2B5EF4-FFF2-40B4-BE49-F238E27FC236}">
                <a16:creationId xmlns:a16="http://schemas.microsoft.com/office/drawing/2014/main" id="{A579CFF5-C5B3-474E-AF68-241D17CCE7C8}"/>
              </a:ext>
            </a:extLst>
          </p:cNvPr>
          <p:cNvSpPr>
            <a:spLocks noGrp="1"/>
          </p:cNvSpPr>
          <p:nvPr>
            <p:ph type="body" sz="quarter" idx="41" hasCustomPrompt="1"/>
          </p:nvPr>
        </p:nvSpPr>
        <p:spPr>
          <a:xfrm>
            <a:off x="377525"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46" name="Header 1">
            <a:extLst>
              <a:ext uri="{FF2B5EF4-FFF2-40B4-BE49-F238E27FC236}">
                <a16:creationId xmlns:a16="http://schemas.microsoft.com/office/drawing/2014/main" id="{15492E27-0423-4B7C-9F8A-92CAFE37CEF1}"/>
              </a:ext>
            </a:extLst>
          </p:cNvPr>
          <p:cNvSpPr>
            <a:spLocks noGrp="1"/>
          </p:cNvSpPr>
          <p:nvPr>
            <p:ph type="body" sz="quarter" idx="43" hasCustomPrompt="1"/>
          </p:nvPr>
        </p:nvSpPr>
        <p:spPr>
          <a:xfrm>
            <a:off x="4283512"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48" name="Header 1">
            <a:extLst>
              <a:ext uri="{FF2B5EF4-FFF2-40B4-BE49-F238E27FC236}">
                <a16:creationId xmlns:a16="http://schemas.microsoft.com/office/drawing/2014/main" id="{ADD9AFFE-56A6-4380-8BEF-EB516EA5EA71}"/>
              </a:ext>
            </a:extLst>
          </p:cNvPr>
          <p:cNvSpPr>
            <a:spLocks noGrp="1"/>
          </p:cNvSpPr>
          <p:nvPr>
            <p:ph type="body" sz="quarter" idx="45" hasCustomPrompt="1"/>
          </p:nvPr>
        </p:nvSpPr>
        <p:spPr>
          <a:xfrm>
            <a:off x="377525" y="3962330"/>
            <a:ext cx="3635840" cy="187200"/>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50" name="Header 1">
            <a:extLst>
              <a:ext uri="{FF2B5EF4-FFF2-40B4-BE49-F238E27FC236}">
                <a16:creationId xmlns:a16="http://schemas.microsoft.com/office/drawing/2014/main" id="{AA2F41B8-E21B-46B0-BCA2-6056C9D8C5D8}"/>
              </a:ext>
            </a:extLst>
          </p:cNvPr>
          <p:cNvSpPr>
            <a:spLocks noGrp="1"/>
          </p:cNvSpPr>
          <p:nvPr>
            <p:ph type="body" sz="quarter" idx="47" hasCustomPrompt="1"/>
          </p:nvPr>
        </p:nvSpPr>
        <p:spPr>
          <a:xfrm>
            <a:off x="4283512" y="3962330"/>
            <a:ext cx="3635840" cy="187200"/>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5</a:t>
            </a:r>
          </a:p>
        </p:txBody>
      </p:sp>
      <p:sp>
        <p:nvSpPr>
          <p:cNvPr id="37" name="Text Placeholder 5">
            <a:extLst>
              <a:ext uri="{FF2B5EF4-FFF2-40B4-BE49-F238E27FC236}">
                <a16:creationId xmlns:a16="http://schemas.microsoft.com/office/drawing/2014/main" id="{CADDEF87-26F6-4A8C-8D0F-27EC3695F06F}"/>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D5122C1-D049-4CBA-8381-0C6B2BE92B9E}"/>
              </a:ext>
            </a:extLst>
          </p:cNvPr>
          <p:cNvSpPr>
            <a:spLocks noGrp="1"/>
          </p:cNvSpPr>
          <p:nvPr>
            <p:ph type="body" sz="quarter" idx="50"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
        <p:nvSpPr>
          <p:cNvPr id="44" name="Header 1">
            <a:extLst>
              <a:ext uri="{FF2B5EF4-FFF2-40B4-BE49-F238E27FC236}">
                <a16:creationId xmlns:a16="http://schemas.microsoft.com/office/drawing/2014/main" id="{B9DFF9B2-EA65-4F16-AE77-78189FC247FD}"/>
              </a:ext>
            </a:extLst>
          </p:cNvPr>
          <p:cNvSpPr>
            <a:spLocks noGrp="1"/>
          </p:cNvSpPr>
          <p:nvPr>
            <p:ph type="body" sz="quarter" idx="52" hasCustomPrompt="1"/>
          </p:nvPr>
        </p:nvSpPr>
        <p:spPr>
          <a:xfrm>
            <a:off x="8176649"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56" name="Text 3">
            <a:extLst>
              <a:ext uri="{FF2B5EF4-FFF2-40B4-BE49-F238E27FC236}">
                <a16:creationId xmlns:a16="http://schemas.microsoft.com/office/drawing/2014/main" id="{D0B2870A-8204-4594-A776-A3DA73C035B9}"/>
              </a:ext>
            </a:extLst>
          </p:cNvPr>
          <p:cNvSpPr>
            <a:spLocks noGrp="1"/>
          </p:cNvSpPr>
          <p:nvPr>
            <p:ph type="body" sz="quarter" idx="37"/>
          </p:nvPr>
        </p:nvSpPr>
        <p:spPr>
          <a:xfrm>
            <a:off x="8234803" y="4149530"/>
            <a:ext cx="3635233"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7" name="Text Placeholder 4">
            <a:extLst>
              <a:ext uri="{FF2B5EF4-FFF2-40B4-BE49-F238E27FC236}">
                <a16:creationId xmlns:a16="http://schemas.microsoft.com/office/drawing/2014/main" id="{E106BF0B-FA51-492C-9864-4E75F8CA876E}"/>
              </a:ext>
            </a:extLst>
          </p:cNvPr>
          <p:cNvSpPr>
            <a:spLocks noGrp="1"/>
          </p:cNvSpPr>
          <p:nvPr>
            <p:ph type="body" sz="quarter" idx="31" hasCustomPrompt="1"/>
          </p:nvPr>
        </p:nvSpPr>
        <p:spPr>
          <a:xfrm>
            <a:off x="381599" y="1263129"/>
            <a:ext cx="11428800" cy="184666"/>
          </a:xfrm>
        </p:spPr>
        <p:txBody>
          <a:bodyPr vert="horz" lIns="0" tIns="0" rIns="0" bIns="0" rtlCol="0">
            <a:spAutoFit/>
          </a:bodyPr>
          <a:lstStyle>
            <a:lvl1pPr>
              <a:defRPr lang="en-GB" sz="1200" b="1"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p:txBody>
      </p:sp>
      <p:sp>
        <p:nvSpPr>
          <p:cNvPr id="58" name="Text Placeholder 4">
            <a:extLst>
              <a:ext uri="{FF2B5EF4-FFF2-40B4-BE49-F238E27FC236}">
                <a16:creationId xmlns:a16="http://schemas.microsoft.com/office/drawing/2014/main" id="{FB9C1B2F-60BB-41B1-82E1-CEC967EB46F3}"/>
              </a:ext>
            </a:extLst>
          </p:cNvPr>
          <p:cNvSpPr>
            <a:spLocks noGrp="1"/>
          </p:cNvSpPr>
          <p:nvPr>
            <p:ph type="body" sz="quarter" idx="53" hasCustomPrompt="1"/>
          </p:nvPr>
        </p:nvSpPr>
        <p:spPr>
          <a:xfrm>
            <a:off x="374054" y="1486557"/>
            <a:ext cx="11428800" cy="184666"/>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Units</a:t>
            </a:r>
          </a:p>
        </p:txBody>
      </p:sp>
    </p:spTree>
    <p:extLst>
      <p:ext uri="{BB962C8B-B14F-4D97-AF65-F5344CB8AC3E}">
        <p14:creationId xmlns:p14="http://schemas.microsoft.com/office/powerpoint/2010/main" val="373875418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 regions - comment - grey backgroun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89111528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8E3D202-E0EA-466A-8C55-E2DE7686ED4D}"/>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4" name="Confidential">
            <a:extLst>
              <a:ext uri="{FF2B5EF4-FFF2-40B4-BE49-F238E27FC236}">
                <a16:creationId xmlns:a16="http://schemas.microsoft.com/office/drawing/2014/main" id="{14C29F18-0061-4AD0-8F17-1B44E4BAED6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2" name="Text Placeholder 2">
            <a:extLst>
              <a:ext uri="{FF2B5EF4-FFF2-40B4-BE49-F238E27FC236}">
                <a16:creationId xmlns:a16="http://schemas.microsoft.com/office/drawing/2014/main" id="{D69DFB0D-DF47-4F51-8A1E-A3F04A199F5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3" name="Aurora Logo">
            <a:extLst>
              <a:ext uri="{FF2B5EF4-FFF2-40B4-BE49-F238E27FC236}">
                <a16:creationId xmlns:a16="http://schemas.microsoft.com/office/drawing/2014/main" id="{0B030AA5-8163-4F27-9057-F3025760F02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34" name="Header Comments">
            <a:extLst>
              <a:ext uri="{FF2B5EF4-FFF2-40B4-BE49-F238E27FC236}">
                <a16:creationId xmlns:a16="http://schemas.microsoft.com/office/drawing/2014/main" id="{BA58D606-2C71-4E85-8328-99C37B4B4195}"/>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35" name="Text Comments">
            <a:extLst>
              <a:ext uri="{FF2B5EF4-FFF2-40B4-BE49-F238E27FC236}">
                <a16:creationId xmlns:a16="http://schemas.microsoft.com/office/drawing/2014/main" id="{FF2AB152-2969-46CD-B5D8-B3919809B323}"/>
              </a:ext>
            </a:extLst>
          </p:cNvPr>
          <p:cNvSpPr>
            <a:spLocks noGrp="1"/>
          </p:cNvSpPr>
          <p:nvPr>
            <p:ph type="body" sz="quarter" idx="28"/>
          </p:nvPr>
        </p:nvSpPr>
        <p:spPr>
          <a:xfrm>
            <a:off x="9500714" y="1712755"/>
            <a:ext cx="2335686"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itle 3">
            <a:extLst>
              <a:ext uri="{FF2B5EF4-FFF2-40B4-BE49-F238E27FC236}">
                <a16:creationId xmlns:a16="http://schemas.microsoft.com/office/drawing/2014/main" id="{C5C9D1F5-9907-4B3A-A8FD-DB0AF4B08748}"/>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37" name="Text Placeholder 5">
            <a:extLst>
              <a:ext uri="{FF2B5EF4-FFF2-40B4-BE49-F238E27FC236}">
                <a16:creationId xmlns:a16="http://schemas.microsoft.com/office/drawing/2014/main" id="{CC0D292B-B63E-4277-A339-858F1811E07D}"/>
              </a:ext>
            </a:extLst>
          </p:cNvPr>
          <p:cNvSpPr>
            <a:spLocks noGrp="1"/>
          </p:cNvSpPr>
          <p:nvPr>
            <p:ph type="body" sz="quarter" idx="32"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39" name="Supertitle">
            <a:extLst>
              <a:ext uri="{FF2B5EF4-FFF2-40B4-BE49-F238E27FC236}">
                <a16:creationId xmlns:a16="http://schemas.microsoft.com/office/drawing/2014/main" id="{23980E38-F915-4158-AF74-34AE9E15DEA1}"/>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
        <p:nvSpPr>
          <p:cNvPr id="23" name="Header 1">
            <a:extLst>
              <a:ext uri="{FF2B5EF4-FFF2-40B4-BE49-F238E27FC236}">
                <a16:creationId xmlns:a16="http://schemas.microsoft.com/office/drawing/2014/main" id="{31D99F63-9B34-42E2-815E-E9FCF2F2AA13}"/>
              </a:ext>
            </a:extLst>
          </p:cNvPr>
          <p:cNvSpPr>
            <a:spLocks noGrp="1"/>
          </p:cNvSpPr>
          <p:nvPr>
            <p:ph type="body" sz="quarter" idx="41" hasCustomPrompt="1"/>
          </p:nvPr>
        </p:nvSpPr>
        <p:spPr>
          <a:xfrm>
            <a:off x="377525" y="1785266"/>
            <a:ext cx="38880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47" name="Text Placeholder 4">
            <a:extLst>
              <a:ext uri="{FF2B5EF4-FFF2-40B4-BE49-F238E27FC236}">
                <a16:creationId xmlns:a16="http://schemas.microsoft.com/office/drawing/2014/main" id="{3AEDFCF7-D380-4799-A922-137FF625D814}"/>
              </a:ext>
            </a:extLst>
          </p:cNvPr>
          <p:cNvSpPr>
            <a:spLocks noGrp="1"/>
          </p:cNvSpPr>
          <p:nvPr>
            <p:ph type="body" sz="quarter" idx="53" hasCustomPrompt="1"/>
          </p:nvPr>
        </p:nvSpPr>
        <p:spPr>
          <a:xfrm>
            <a:off x="374054" y="1486557"/>
            <a:ext cx="11428800" cy="184666"/>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Units</a:t>
            </a:r>
          </a:p>
        </p:txBody>
      </p:sp>
      <p:sp>
        <p:nvSpPr>
          <p:cNvPr id="56" name="Text Placeholder 4">
            <a:extLst>
              <a:ext uri="{FF2B5EF4-FFF2-40B4-BE49-F238E27FC236}">
                <a16:creationId xmlns:a16="http://schemas.microsoft.com/office/drawing/2014/main" id="{1163F6F5-9703-4889-AF90-8C43A31987DD}"/>
              </a:ext>
            </a:extLst>
          </p:cNvPr>
          <p:cNvSpPr>
            <a:spLocks noGrp="1"/>
          </p:cNvSpPr>
          <p:nvPr>
            <p:ph type="body" sz="quarter" idx="54" hasCustomPrompt="1"/>
          </p:nvPr>
        </p:nvSpPr>
        <p:spPr>
          <a:xfrm>
            <a:off x="381599" y="1263129"/>
            <a:ext cx="11428800" cy="184666"/>
          </a:xfrm>
        </p:spPr>
        <p:txBody>
          <a:bodyPr vert="horz" lIns="0" tIns="0" rIns="0" bIns="0" rtlCol="0">
            <a:spAutoFit/>
          </a:bodyPr>
          <a:lstStyle>
            <a:lvl1pPr>
              <a:defRPr lang="en-GB" sz="1200" b="1"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p:txBody>
      </p:sp>
      <p:sp>
        <p:nvSpPr>
          <p:cNvPr id="60" name="Header 1">
            <a:extLst>
              <a:ext uri="{FF2B5EF4-FFF2-40B4-BE49-F238E27FC236}">
                <a16:creationId xmlns:a16="http://schemas.microsoft.com/office/drawing/2014/main" id="{855315BF-E1B0-4A8B-93FD-5C9C28F33EEE}"/>
              </a:ext>
            </a:extLst>
          </p:cNvPr>
          <p:cNvSpPr>
            <a:spLocks noGrp="1"/>
          </p:cNvSpPr>
          <p:nvPr>
            <p:ph type="body" sz="quarter" idx="56" hasCustomPrompt="1"/>
          </p:nvPr>
        </p:nvSpPr>
        <p:spPr>
          <a:xfrm>
            <a:off x="5094070" y="1785266"/>
            <a:ext cx="38880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62" name="Header 1">
            <a:extLst>
              <a:ext uri="{FF2B5EF4-FFF2-40B4-BE49-F238E27FC236}">
                <a16:creationId xmlns:a16="http://schemas.microsoft.com/office/drawing/2014/main" id="{C9B227B5-E411-4287-9246-2E5D5ABC7373}"/>
              </a:ext>
            </a:extLst>
          </p:cNvPr>
          <p:cNvSpPr>
            <a:spLocks noGrp="1"/>
          </p:cNvSpPr>
          <p:nvPr>
            <p:ph type="body" sz="quarter" idx="57" hasCustomPrompt="1"/>
          </p:nvPr>
        </p:nvSpPr>
        <p:spPr>
          <a:xfrm>
            <a:off x="374052" y="3937670"/>
            <a:ext cx="38880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64" name="Header 1">
            <a:extLst>
              <a:ext uri="{FF2B5EF4-FFF2-40B4-BE49-F238E27FC236}">
                <a16:creationId xmlns:a16="http://schemas.microsoft.com/office/drawing/2014/main" id="{03C296AC-8AE5-4A5D-8B6D-31C3D325DB72}"/>
              </a:ext>
            </a:extLst>
          </p:cNvPr>
          <p:cNvSpPr>
            <a:spLocks noGrp="1"/>
          </p:cNvSpPr>
          <p:nvPr>
            <p:ph type="body" sz="quarter" idx="58" hasCustomPrompt="1"/>
          </p:nvPr>
        </p:nvSpPr>
        <p:spPr>
          <a:xfrm>
            <a:off x="5094070" y="3937670"/>
            <a:ext cx="38880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Tree>
    <p:extLst>
      <p:ext uri="{BB962C8B-B14F-4D97-AF65-F5344CB8AC3E}">
        <p14:creationId xmlns:p14="http://schemas.microsoft.com/office/powerpoint/2010/main" val="258401176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 regions - no commen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99489212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43" name="Header 1">
            <a:extLst>
              <a:ext uri="{FF2B5EF4-FFF2-40B4-BE49-F238E27FC236}">
                <a16:creationId xmlns:a16="http://schemas.microsoft.com/office/drawing/2014/main" id="{A579CFF5-C5B3-474E-AF68-241D17CCE7C8}"/>
              </a:ext>
            </a:extLst>
          </p:cNvPr>
          <p:cNvSpPr>
            <a:spLocks noGrp="1"/>
          </p:cNvSpPr>
          <p:nvPr>
            <p:ph type="body" sz="quarter" idx="41" hasCustomPrompt="1"/>
          </p:nvPr>
        </p:nvSpPr>
        <p:spPr>
          <a:xfrm>
            <a:off x="377525" y="1785266"/>
            <a:ext cx="54936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37" name="Text Placeholder 5">
            <a:extLst>
              <a:ext uri="{FF2B5EF4-FFF2-40B4-BE49-F238E27FC236}">
                <a16:creationId xmlns:a16="http://schemas.microsoft.com/office/drawing/2014/main" id="{CADDEF87-26F6-4A8C-8D0F-27EC3695F06F}"/>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D5122C1-D049-4CBA-8381-0C6B2BE92B9E}"/>
              </a:ext>
            </a:extLst>
          </p:cNvPr>
          <p:cNvSpPr>
            <a:spLocks noGrp="1"/>
          </p:cNvSpPr>
          <p:nvPr>
            <p:ph type="body" sz="quarter" idx="50"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
        <p:nvSpPr>
          <p:cNvPr id="57" name="Text Placeholder 4">
            <a:extLst>
              <a:ext uri="{FF2B5EF4-FFF2-40B4-BE49-F238E27FC236}">
                <a16:creationId xmlns:a16="http://schemas.microsoft.com/office/drawing/2014/main" id="{E106BF0B-FA51-492C-9864-4E75F8CA876E}"/>
              </a:ext>
            </a:extLst>
          </p:cNvPr>
          <p:cNvSpPr>
            <a:spLocks noGrp="1"/>
          </p:cNvSpPr>
          <p:nvPr>
            <p:ph type="body" sz="quarter" idx="31" hasCustomPrompt="1"/>
          </p:nvPr>
        </p:nvSpPr>
        <p:spPr>
          <a:xfrm>
            <a:off x="381599" y="1263129"/>
            <a:ext cx="11428800" cy="184666"/>
          </a:xfrm>
        </p:spPr>
        <p:txBody>
          <a:bodyPr vert="horz" lIns="0" tIns="0" rIns="0" bIns="0" rtlCol="0">
            <a:spAutoFit/>
          </a:bodyPr>
          <a:lstStyle>
            <a:lvl1pPr>
              <a:defRPr lang="en-GB" sz="1200" b="1"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p:txBody>
      </p:sp>
      <p:sp>
        <p:nvSpPr>
          <p:cNvPr id="58" name="Text Placeholder 4">
            <a:extLst>
              <a:ext uri="{FF2B5EF4-FFF2-40B4-BE49-F238E27FC236}">
                <a16:creationId xmlns:a16="http://schemas.microsoft.com/office/drawing/2014/main" id="{FB9C1B2F-60BB-41B1-82E1-CEC967EB46F3}"/>
              </a:ext>
            </a:extLst>
          </p:cNvPr>
          <p:cNvSpPr>
            <a:spLocks noGrp="1"/>
          </p:cNvSpPr>
          <p:nvPr>
            <p:ph type="body" sz="quarter" idx="53" hasCustomPrompt="1"/>
          </p:nvPr>
        </p:nvSpPr>
        <p:spPr>
          <a:xfrm>
            <a:off x="374054" y="1486557"/>
            <a:ext cx="11428800" cy="184666"/>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Units</a:t>
            </a:r>
          </a:p>
        </p:txBody>
      </p:sp>
      <p:sp>
        <p:nvSpPr>
          <p:cNvPr id="30" name="Header 1">
            <a:extLst>
              <a:ext uri="{FF2B5EF4-FFF2-40B4-BE49-F238E27FC236}">
                <a16:creationId xmlns:a16="http://schemas.microsoft.com/office/drawing/2014/main" id="{46E0C9A3-F0A4-4B11-B190-BE85518AE9EE}"/>
              </a:ext>
            </a:extLst>
          </p:cNvPr>
          <p:cNvSpPr>
            <a:spLocks noGrp="1"/>
          </p:cNvSpPr>
          <p:nvPr>
            <p:ph type="body" sz="quarter" idx="55" hasCustomPrompt="1"/>
          </p:nvPr>
        </p:nvSpPr>
        <p:spPr>
          <a:xfrm>
            <a:off x="6325325" y="1785266"/>
            <a:ext cx="54936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32" name="Header 1">
            <a:extLst>
              <a:ext uri="{FF2B5EF4-FFF2-40B4-BE49-F238E27FC236}">
                <a16:creationId xmlns:a16="http://schemas.microsoft.com/office/drawing/2014/main" id="{C4F220CD-4FA8-42B2-BC6A-7E113A1E87F4}"/>
              </a:ext>
            </a:extLst>
          </p:cNvPr>
          <p:cNvSpPr>
            <a:spLocks noGrp="1"/>
          </p:cNvSpPr>
          <p:nvPr>
            <p:ph type="body" sz="quarter" idx="56" hasCustomPrompt="1"/>
          </p:nvPr>
        </p:nvSpPr>
        <p:spPr>
          <a:xfrm>
            <a:off x="380996" y="4046879"/>
            <a:ext cx="54936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33" name="Header 1">
            <a:extLst>
              <a:ext uri="{FF2B5EF4-FFF2-40B4-BE49-F238E27FC236}">
                <a16:creationId xmlns:a16="http://schemas.microsoft.com/office/drawing/2014/main" id="{9D9FE029-2E2C-4CA8-864E-5F92CB211DAF}"/>
              </a:ext>
            </a:extLst>
          </p:cNvPr>
          <p:cNvSpPr>
            <a:spLocks noGrp="1"/>
          </p:cNvSpPr>
          <p:nvPr>
            <p:ph type="body" sz="quarter" idx="57" hasCustomPrompt="1"/>
          </p:nvPr>
        </p:nvSpPr>
        <p:spPr>
          <a:xfrm>
            <a:off x="6325325" y="4046879"/>
            <a:ext cx="54936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Tree>
    <p:extLst>
      <p:ext uri="{BB962C8B-B14F-4D97-AF65-F5344CB8AC3E}">
        <p14:creationId xmlns:p14="http://schemas.microsoft.com/office/powerpoint/2010/main" val="190341420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clusio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60967021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63d2e65d-6c78-4ff1-a99a-dd29d915a147">
            <a:extLst>
              <a:ext uri="{FF2B5EF4-FFF2-40B4-BE49-F238E27FC236}">
                <a16:creationId xmlns:a16="http://schemas.microsoft.com/office/drawing/2014/main" id="{850A5AD8-A7CC-46D7-B07D-B23066194F7A}"/>
              </a:ext>
            </a:extLst>
          </p:cNvPr>
          <p:cNvSpPr/>
          <p:nvPr/>
        </p:nvSpPr>
        <p:spPr>
          <a:xfrm flipV="1">
            <a:off x="1" y="5510470"/>
            <a:ext cx="12192000" cy="644816"/>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8" name="Freeform: Shape 17">
            <a:extLst>
              <a:ext uri="{FF2B5EF4-FFF2-40B4-BE49-F238E27FC236}">
                <a16:creationId xmlns:a16="http://schemas.microsoft.com/office/drawing/2014/main" id="{E999386E-A4BE-41B8-B323-366658A98FA7}"/>
              </a:ext>
            </a:extLst>
          </p:cNvPr>
          <p:cNvSpPr/>
          <p:nvPr/>
        </p:nvSpPr>
        <p:spPr>
          <a:xfrm>
            <a:off x="-3028" y="5509760"/>
            <a:ext cx="273478" cy="646241"/>
          </a:xfrm>
          <a:custGeom>
            <a:avLst/>
            <a:gdLst>
              <a:gd name="connsiteX0" fmla="*/ 0 w 273478"/>
              <a:gd name="connsiteY0" fmla="*/ 0 h 646241"/>
              <a:gd name="connsiteX1" fmla="*/ 11034 w 273478"/>
              <a:gd name="connsiteY1" fmla="*/ 1112 h 646241"/>
              <a:gd name="connsiteX2" fmla="*/ 273478 w 273478"/>
              <a:gd name="connsiteY2" fmla="*/ 323120 h 646241"/>
              <a:gd name="connsiteX3" fmla="*/ 11034 w 273478"/>
              <a:gd name="connsiteY3" fmla="*/ 645129 h 646241"/>
              <a:gd name="connsiteX4" fmla="*/ 0 w 273478"/>
              <a:gd name="connsiteY4" fmla="*/ 646241 h 646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478" h="646241">
                <a:moveTo>
                  <a:pt x="0" y="0"/>
                </a:moveTo>
                <a:lnTo>
                  <a:pt x="11034" y="1112"/>
                </a:lnTo>
                <a:cubicBezTo>
                  <a:pt x="160810" y="31761"/>
                  <a:pt x="273478" y="164283"/>
                  <a:pt x="273478" y="323120"/>
                </a:cubicBezTo>
                <a:cubicBezTo>
                  <a:pt x="273478" y="481957"/>
                  <a:pt x="160810" y="614480"/>
                  <a:pt x="11034" y="645129"/>
                </a:cubicBezTo>
                <a:lnTo>
                  <a:pt x="0" y="646241"/>
                </a:lnTo>
                <a:close/>
              </a:path>
            </a:pathLst>
          </a:custGeom>
          <a:solidFill>
            <a:schemeClr val="accent2"/>
          </a:solidFill>
          <a:ln>
            <a:noFill/>
          </a:ln>
        </p:spPr>
        <p:style>
          <a:lnRef idx="2">
            <a:schemeClr val="accent1"/>
          </a:lnRef>
          <a:fillRef idx="1">
            <a:schemeClr val="lt1"/>
          </a:fillRef>
          <a:effectRef idx="0">
            <a:schemeClr val="accent1"/>
          </a:effectRef>
          <a:fontRef idx="minor">
            <a:schemeClr val="dk1"/>
          </a:fontRef>
        </p:style>
        <p:txBody>
          <a:bodyPr wrap="square" tIns="90000" bIns="90000" rtlCol="0" anchor="ctr" anchorCtr="0">
            <a:noAutofit/>
          </a:bodyPr>
          <a:lstStyle/>
          <a:p>
            <a:pPr marL="285750" indent="-285750" algn="l">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5" name="Text Placeholder 4">
            <a:extLst>
              <a:ext uri="{FF2B5EF4-FFF2-40B4-BE49-F238E27FC236}">
                <a16:creationId xmlns:a16="http://schemas.microsoft.com/office/drawing/2014/main" id="{9E0CB1CA-2673-4B31-A700-221496DAC274}"/>
              </a:ext>
            </a:extLst>
          </p:cNvPr>
          <p:cNvSpPr>
            <a:spLocks noGrp="1"/>
          </p:cNvSpPr>
          <p:nvPr>
            <p:ph type="body" sz="quarter" idx="27"/>
          </p:nvPr>
        </p:nvSpPr>
        <p:spPr>
          <a:xfrm>
            <a:off x="381000" y="1710172"/>
            <a:ext cx="114288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4">
            <a:extLst>
              <a:ext uri="{FF2B5EF4-FFF2-40B4-BE49-F238E27FC236}">
                <a16:creationId xmlns:a16="http://schemas.microsoft.com/office/drawing/2014/main" id="{E6001AB0-D6CA-4DE1-B60C-B634BCB97865}"/>
              </a:ext>
            </a:extLst>
          </p:cNvPr>
          <p:cNvSpPr>
            <a:spLocks noGrp="1"/>
          </p:cNvSpPr>
          <p:nvPr>
            <p:ph type="body" sz="quarter" idx="31" hasCustomPrompt="1"/>
          </p:nvPr>
        </p:nvSpPr>
        <p:spPr>
          <a:xfrm>
            <a:off x="3809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27" name="Text Placeholder 4">
            <a:extLst>
              <a:ext uri="{FF2B5EF4-FFF2-40B4-BE49-F238E27FC236}">
                <a16:creationId xmlns:a16="http://schemas.microsoft.com/office/drawing/2014/main" id="{E4842526-521A-4171-BA27-E5BAD58192F9}"/>
              </a:ext>
            </a:extLst>
          </p:cNvPr>
          <p:cNvSpPr>
            <a:spLocks noGrp="1"/>
          </p:cNvSpPr>
          <p:nvPr>
            <p:ph type="body" sz="quarter" idx="36" hasCustomPrompt="1"/>
          </p:nvPr>
        </p:nvSpPr>
        <p:spPr>
          <a:xfrm>
            <a:off x="381000" y="5586657"/>
            <a:ext cx="11428800" cy="492443"/>
          </a:xfrm>
        </p:spPr>
        <p:txBody>
          <a:bodyPr anchor="ctr" anchorCtr="0">
            <a:spAutoFit/>
          </a:bodyPr>
          <a:lstStyle>
            <a:lvl1pPr>
              <a:defRPr sz="16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600"/>
            </a:lvl2pPr>
            <a:lvl3pPr>
              <a:defRPr sz="1600"/>
            </a:lvl3pPr>
            <a:lvl4pPr>
              <a:defRPr sz="1600"/>
            </a:lvl4pPr>
          </a:lstStyle>
          <a:p>
            <a:pPr lvl="0"/>
            <a:r>
              <a:rPr lang="en-GB"/>
              <a:t>Conclusion: Lorem ipsum dolor sit amet, consectetuer adipiscing elit. Maecenas porttitor congue massa. Fusce posuere, magna sed pulvinar ultricies, purus lectus malesuada libero, sit amet commodo magna eros quis </a:t>
            </a:r>
            <a:r>
              <a:rPr lang="en-GB" err="1"/>
              <a:t>urna</a:t>
            </a:r>
            <a:r>
              <a:rPr lang="en-GB"/>
              <a:t>.</a:t>
            </a:r>
          </a:p>
        </p:txBody>
      </p:sp>
      <p:sp>
        <p:nvSpPr>
          <p:cNvPr id="28" name="Confidential">
            <a:extLst>
              <a:ext uri="{FF2B5EF4-FFF2-40B4-BE49-F238E27FC236}">
                <a16:creationId xmlns:a16="http://schemas.microsoft.com/office/drawing/2014/main" id="{CA4BE958-1557-4F4B-AC25-7461D9D65387}"/>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2" name="Text Placeholder 2">
            <a:extLst>
              <a:ext uri="{FF2B5EF4-FFF2-40B4-BE49-F238E27FC236}">
                <a16:creationId xmlns:a16="http://schemas.microsoft.com/office/drawing/2014/main" id="{16315AB2-20C9-434E-A56D-259096E1615D}"/>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06814CC-68D5-4C9C-BF65-8A91571A06F0}"/>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cxnSp>
        <p:nvCxnSpPr>
          <p:cNvPr id="14" name="Bottom line">
            <a:extLst>
              <a:ext uri="{FF2B5EF4-FFF2-40B4-BE49-F238E27FC236}">
                <a16:creationId xmlns:a16="http://schemas.microsoft.com/office/drawing/2014/main" id="{BC64208B-5568-4DBF-ACA2-533DF10F10D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Text Placeholder 5">
            <a:extLst>
              <a:ext uri="{FF2B5EF4-FFF2-40B4-BE49-F238E27FC236}">
                <a16:creationId xmlns:a16="http://schemas.microsoft.com/office/drawing/2014/main" id="{15EAA528-DB1A-4AE8-A9F4-1CD21CED50EA}"/>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5" name="Supertitle">
            <a:extLst>
              <a:ext uri="{FF2B5EF4-FFF2-40B4-BE49-F238E27FC236}">
                <a16:creationId xmlns:a16="http://schemas.microsoft.com/office/drawing/2014/main" id="{4A325F33-0AA7-476D-BD9A-4344A6711E20}"/>
              </a:ext>
            </a:extLst>
          </p:cNvPr>
          <p:cNvSpPr>
            <a:spLocks noGrp="1"/>
          </p:cNvSpPr>
          <p:nvPr>
            <p:ph type="body" sz="quarter" idx="37"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04090497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Disclaimer &amp; Details_EN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8025985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6" name="43c3cef7-b209-4f1f-a261-318da2372fe8">
            <a:extLst>
              <a:ext uri="{FF2B5EF4-FFF2-40B4-BE49-F238E27FC236}">
                <a16:creationId xmlns:a16="http://schemas.microsoft.com/office/drawing/2014/main" id="{57400D9F-282B-4411-962D-7AD2AEEFC01C}"/>
              </a:ext>
            </a:extLst>
          </p:cNvPr>
          <p:cNvSpPr/>
          <p:nvPr/>
        </p:nvSpPr>
        <p:spPr>
          <a:xfrm>
            <a:off x="-6845" y="-3"/>
            <a:ext cx="3588245" cy="6858001"/>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201424"/>
          </a:xfrm>
          <a:prstGeom prst="rect">
            <a:avLst/>
          </a:prstGeom>
          <a:noFill/>
        </p:spPr>
        <p:txBody>
          <a:bodyPr wrap="square" lIns="0" tIns="0" rIns="0" bIns="0" rtlCol="0">
            <a:spAutoFit/>
          </a:bodyPr>
          <a:lstStyle/>
          <a:p>
            <a:pPr algn="just">
              <a:lnSpc>
                <a:spcPct val="100000"/>
              </a:lnSpc>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ral Disclaimer</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provided "as is" for your information only and no representation or warranty, express or implied, is given by Aurora Energy Research Limited and its subsidiaries Aurora Energy Research GmbH and Aurora Energy Research Pty Ltd (together,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heir directors, employees agents or affiliates (together, Aurora’s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ssociates</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s to its accuracy, reliability or completeness. Aurora and its Associates assume no responsibility, and accept no liability for, any loss arising out of your use of this document. This document is not to be relied upon for any purpose or used in substitution for your own independent investigations and sound judgment. The information contained in this document reflects our beliefs, assumptions, intentions and expectations as of the date of this document and is subject to change. Aurora assumes no obligation, and does not intend, to update this information.</a:t>
            </a:r>
          </a:p>
          <a:p>
            <a:pPr algn="just">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ward-looking statement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contains forward-looking statements and information, which reflect Aurora’s current view with respect to future events and financial performance. When used in this document, the words "believes", "expects", "plans", "may", "will", "would", "could", "should", "anticipates", "estimates", "project", "intend" or "outlook" or other variations of these words or other similar expressions are intended to identify forward-looking statements and information. Actual results may differ materially from the expectations expressed or implied in the forward-looking statements as a result of known and unknown risks and uncertainties. Known risks and uncertainties include but are not limited to: risks associated with political events in Europe and elsewhere, contractual risks, creditworthiness of customers, performance of suppliers and management of plant and personnel; risk associated with financial factors such as volatility in exchange rates, increases in interest rates, restrictions on access to capital, and swings in global financial markets; risks associated with domestic and foreign government regulation, including export controls and economic sanctions; and other risks, including litigation. The foregoing list of important factors is not exhaustive. </a:t>
            </a:r>
          </a:p>
          <a:p>
            <a:pPr algn="just">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pyrig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and its content (including, but not limited to, the text, images, graphics and illustrations) is the copyright material of Aurora, unless otherwise stated. </a:t>
            </a:r>
          </a:p>
          <a:p>
            <a:pPr algn="just">
              <a:lnSpc>
                <a:spcPct val="100000"/>
              </a:lnSpc>
            </a:pPr>
            <a:r>
              <a:rPr lang="en-GB" sz="12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confidential and it may not be copied, reproduced, distributed or in any way used for commercial purposes without the prior written consent of Aurora.</a:t>
            </a:r>
          </a:p>
        </p:txBody>
      </p:sp>
      <p:cxnSp>
        <p:nvCxnSpPr>
          <p:cNvPr id="30" name="e393ebc3-55b1-4ffd-a99f-f5012d6d099d">
            <a:extLst>
              <a:ext uri="{FF2B5EF4-FFF2-40B4-BE49-F238E27FC236}">
                <a16:creationId xmlns:a16="http://schemas.microsoft.com/office/drawing/2014/main" id="{170025E0-54A0-4A56-A1C9-1695DADA63FC}"/>
              </a:ext>
            </a:extLst>
          </p:cNvPr>
          <p:cNvCxnSpPr>
            <a:cxnSpLocks/>
          </p:cNvCxnSpPr>
          <p:nvPr/>
        </p:nvCxnSpPr>
        <p:spPr>
          <a:xfrm>
            <a:off x="381001" y="1975910"/>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a:lnSpc>
                <a:spcPct val="100000"/>
              </a:lnSpc>
            </a:pPr>
            <a: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and </a:t>
            </a:r>
            <a:b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sclaimer</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a:spcBef>
                <a:spcPts val="0"/>
              </a:spcBef>
              <a:defRPr sz="1200" b="1">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a:t>Publication</a:t>
            </a:r>
          </a:p>
          <a:p>
            <a:pPr lvl="0"/>
            <a:endParaRPr lang="en-GB"/>
          </a:p>
          <a:p>
            <a:pPr lvl="0"/>
            <a:endParaRPr lang="en-GB"/>
          </a:p>
        </p:txBody>
      </p:sp>
    </p:spTree>
    <p:extLst>
      <p:ext uri="{BB962C8B-B14F-4D97-AF65-F5344CB8AC3E}">
        <p14:creationId xmlns:p14="http://schemas.microsoft.com/office/powerpoint/2010/main" val="367771560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Disclaimer &amp; Details_GER">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22280383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6" name="43c3cef7-b209-4f1f-a261-318da2372fe8">
            <a:extLst>
              <a:ext uri="{FF2B5EF4-FFF2-40B4-BE49-F238E27FC236}">
                <a16:creationId xmlns:a16="http://schemas.microsoft.com/office/drawing/2014/main" id="{57400D9F-282B-4411-962D-7AD2AEEFC01C}"/>
              </a:ext>
            </a:extLst>
          </p:cNvPr>
          <p:cNvSpPr/>
          <p:nvPr/>
        </p:nvSpPr>
        <p:spPr>
          <a:xfrm>
            <a:off x="-6845" y="-3"/>
            <a:ext cx="3588245" cy="6858001"/>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416868"/>
          </a:xfrm>
          <a:prstGeom prst="rect">
            <a:avLst/>
          </a:prstGeom>
          <a:noFill/>
        </p:spPr>
        <p:txBody>
          <a:bodyPr wrap="square" lIns="0" tIns="0" rIns="0" bIns="0" rtlCol="0">
            <a:spAutoFit/>
          </a:bodyPr>
          <a:lstStyle/>
          <a:p>
            <a:pPr algn="just">
              <a:lnSpc>
                <a:spcPct val="100000"/>
              </a:lnSpc>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lgemeiner</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sausschlus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liegen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or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formati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reitgestel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urora Energy Research Limite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ochtergesellschaf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Energy Research GmbH und Aurora Energy Research Pty Lt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äftsführ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Mitarbeit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e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ne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achfolg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Partn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eichn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ib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insich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chtig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lässlich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lständig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o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illschweig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ich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währleis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b. Aurora und seine Partn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e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antwor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jedwe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a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tz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steh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weck</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erangezo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undlag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rsatz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such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undier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urteil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alte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piegel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e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zeug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na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ich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eitpunk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fassen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wi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nder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behal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imm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pflich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endPar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12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ä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urora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ell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ätz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insich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ünftig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eig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derspiegel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aub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la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ü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l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ausse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ätz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rognostizie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Prognos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zw</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ria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hnlich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gesetz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nnzeich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atsäch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tretend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a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lie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mulier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plizier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sen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we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u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hö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agli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onitä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un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eis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efera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al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nlagen und Personal;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ha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akto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atilitä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chselkurs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höh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inssätz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schränk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u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apitalzuga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wank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oba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märk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ländis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ländis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aatl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schrif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ließ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portkontrol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tschaftl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ank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ite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 B.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echtsstreitigk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b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ann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s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ich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chließ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p>
          <a:p>
            <a:pPr algn="just">
              <a:lnSpc>
                <a:spcPct val="100000"/>
              </a:lnSpc>
              <a:spcBef>
                <a:spcPts val="12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se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ha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Tex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bild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af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llustr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ützte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tu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a:t>
            </a:r>
          </a:p>
          <a:p>
            <a:pPr algn="just">
              <a:lnSpc>
                <a:spcPct val="100000"/>
              </a:lnSpc>
            </a:pP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 Teil dieses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hn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herig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riftlich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hmigung</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pier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vielfältig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eil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rgendeiner</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rt und Weise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mmerziell</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utz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endParaRPr lang="en-GB" sz="11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30" name="e393ebc3-55b1-4ffd-a99f-f5012d6d099d">
            <a:extLst>
              <a:ext uri="{FF2B5EF4-FFF2-40B4-BE49-F238E27FC236}">
                <a16:creationId xmlns:a16="http://schemas.microsoft.com/office/drawing/2014/main" id="{170025E0-54A0-4A56-A1C9-1695DADA63FC}"/>
              </a:ext>
            </a:extLst>
          </p:cNvPr>
          <p:cNvCxnSpPr>
            <a:cxnSpLocks/>
          </p:cNvCxnSpPr>
          <p:nvPr/>
        </p:nvCxnSpPr>
        <p:spPr>
          <a:xfrm>
            <a:off x="381001" y="1975910"/>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a:lnSpc>
                <a:spcPct val="100000"/>
              </a:lnSpc>
            </a:pPr>
            <a: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und Haftungsausschluss</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a:spcBef>
                <a:spcPts val="0"/>
              </a:spcBef>
              <a:defRPr sz="1200" b="1">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a:t>Publikation</a:t>
            </a:r>
          </a:p>
          <a:p>
            <a:pPr lvl="0"/>
            <a:endParaRPr lang="en-GB"/>
          </a:p>
          <a:p>
            <a:pPr lvl="0"/>
            <a:endParaRPr lang="en-GB"/>
          </a:p>
        </p:txBody>
      </p:sp>
    </p:spTree>
    <p:extLst>
      <p:ext uri="{BB962C8B-B14F-4D97-AF65-F5344CB8AC3E}">
        <p14:creationId xmlns:p14="http://schemas.microsoft.com/office/powerpoint/2010/main" val="38782994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Disclaimer &amp; Details_light_EN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2207322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6" name="43c3cef7-b209-4f1f-a261-318da2372fe8">
            <a:extLst>
              <a:ext uri="{FF2B5EF4-FFF2-40B4-BE49-F238E27FC236}">
                <a16:creationId xmlns:a16="http://schemas.microsoft.com/office/drawing/2014/main" id="{57400D9F-282B-4411-962D-7AD2AEEFC01C}"/>
              </a:ext>
            </a:extLst>
          </p:cNvPr>
          <p:cNvSpPr/>
          <p:nvPr/>
        </p:nvSpPr>
        <p:spPr>
          <a:xfrm>
            <a:off x="-6845" y="-3"/>
            <a:ext cx="3588245" cy="6858001"/>
          </a:xfrm>
          <a:prstGeom prst="rect">
            <a:avLst/>
          </a:prstGeom>
          <a:solidFill>
            <a:schemeClr val="bg1">
              <a:lumMod val="75000"/>
            </a:schemeClr>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201424"/>
          </a:xfrm>
          <a:prstGeom prst="rect">
            <a:avLst/>
          </a:prstGeom>
          <a:noFill/>
        </p:spPr>
        <p:txBody>
          <a:bodyPr wrap="square" lIns="0" tIns="0" rIns="0" bIns="0" rtlCol="0">
            <a:spAutoFit/>
          </a:bodyPr>
          <a:lstStyle/>
          <a:p>
            <a:pPr algn="just">
              <a:lnSpc>
                <a:spcPct val="100000"/>
              </a:lnSpc>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ral Disclaimer</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provided "as is" for your information only and no representation or warranty, express or implied, is given by Aurora Energy Research Limited and its subsidiaries Aurora Energy Research GmbH and Aurora Energy Research Pty Ltd (together,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heir directors, employees agents or affiliates (together, Aurora’s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ssociates</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s to its accuracy, reliability or completeness. Aurora and its Associates assume no responsibility, and accept no liability for, any loss arising out of your use of this document. This document is not to be relied upon for any purpose or used in substitution for your own independent investigations and sound judgment. The information contained in this document reflects our beliefs, assumptions, intentions and expectations as of the date of this document and is subject to change. Aurora assumes no obligation, and does not intend, to update this information.</a:t>
            </a:r>
          </a:p>
          <a:p>
            <a:pPr algn="just">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ward-looking statement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contains forward-looking statements and information, which reflect Aurora’s current view with respect to future events and financial performance. When used in this document, the words "believes", "expects", "plans", "may", "will", "would", "could", "should", "anticipates", "estimates", "project", "intend" or "outlook" or other variations of these words or other similar expressions are intended to identify forward-looking statements and information. Actual results may differ materially from the expectations expressed or implied in the forward-looking statements as a result of known and unknown risks and uncertainties. Known risks and uncertainties include but are not limited to: risks associated with political events in Europe and elsewhere, contractual risks, creditworthiness of customers, performance of suppliers and management of plant and personnel; risk associated with financial factors such as volatility in exchange rates, increases in interest rates, restrictions on access to capital, and swings in global financial markets; risks associated with domestic and foreign government regulation, including export controls and economic sanctions; and other risks, including litigation. The foregoing list of important factors is not exhaustive. </a:t>
            </a:r>
          </a:p>
          <a:p>
            <a:pPr algn="just">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pyrig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and its content (including, but not limited to, the text, images, graphics and illustrations) is the copyright material of Aurora, unless otherwise stated. </a:t>
            </a:r>
          </a:p>
          <a:p>
            <a:pPr algn="just">
              <a:lnSpc>
                <a:spcPct val="100000"/>
              </a:lnSpc>
            </a:pPr>
            <a:r>
              <a:rPr lang="en-GB" sz="12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confidential and it may not be copied, reproduced, distributed or in any way used for commercial purposes without the prior written consent of Aurora.</a:t>
            </a:r>
          </a:p>
        </p:txBody>
      </p:sp>
      <p:cxnSp>
        <p:nvCxnSpPr>
          <p:cNvPr id="30" name="e393ebc3-55b1-4ffd-a99f-f5012d6d099d">
            <a:extLst>
              <a:ext uri="{FF2B5EF4-FFF2-40B4-BE49-F238E27FC236}">
                <a16:creationId xmlns:a16="http://schemas.microsoft.com/office/drawing/2014/main" id="{170025E0-54A0-4A56-A1C9-1695DADA63FC}"/>
              </a:ext>
            </a:extLst>
          </p:cNvPr>
          <p:cNvCxnSpPr>
            <a:cxnSpLocks/>
          </p:cNvCxnSpPr>
          <p:nvPr/>
        </p:nvCxnSpPr>
        <p:spPr>
          <a:xfrm>
            <a:off x="381001" y="1975910"/>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a:lnSpc>
                <a:spcPct val="100000"/>
              </a:lnSpc>
            </a:pPr>
            <a: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and </a:t>
            </a:r>
            <a:b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sclaimer</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a:spcBef>
                <a:spcPts val="0"/>
              </a:spcBef>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a:t>Publication</a:t>
            </a:r>
          </a:p>
          <a:p>
            <a:pPr lvl="0"/>
            <a:endParaRPr lang="en-GB"/>
          </a:p>
        </p:txBody>
      </p:sp>
    </p:spTree>
    <p:extLst>
      <p:ext uri="{BB962C8B-B14F-4D97-AF65-F5344CB8AC3E}">
        <p14:creationId xmlns:p14="http://schemas.microsoft.com/office/powerpoint/2010/main" val="74138338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1_Disclaimer &amp; Details_GER">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64389598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1" name="43c3cef7-b209-4f1f-a261-318da2372fe8">
            <a:extLst>
              <a:ext uri="{FF2B5EF4-FFF2-40B4-BE49-F238E27FC236}">
                <a16:creationId xmlns:a16="http://schemas.microsoft.com/office/drawing/2014/main" id="{4B722E6D-9FA2-4CA8-9BB5-2AAECBD11AFF}"/>
              </a:ext>
            </a:extLst>
          </p:cNvPr>
          <p:cNvSpPr/>
          <p:nvPr/>
        </p:nvSpPr>
        <p:spPr>
          <a:xfrm>
            <a:off x="-6845" y="-3"/>
            <a:ext cx="3588245" cy="6858001"/>
          </a:xfrm>
          <a:prstGeom prst="rect">
            <a:avLst/>
          </a:prstGeom>
          <a:solidFill>
            <a:schemeClr val="bg1">
              <a:lumMod val="75000"/>
            </a:schemeClr>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416868"/>
          </a:xfrm>
          <a:prstGeom prst="rect">
            <a:avLst/>
          </a:prstGeom>
          <a:noFill/>
        </p:spPr>
        <p:txBody>
          <a:bodyPr wrap="square" lIns="0" tIns="0" rIns="0" bIns="0" rtlCol="0">
            <a:spAutoFit/>
          </a:bodyPr>
          <a:lstStyle/>
          <a:p>
            <a:pPr algn="just">
              <a:lnSpc>
                <a:spcPct val="100000"/>
              </a:lnSpc>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lgemeiner</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sausschlus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liegen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or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formati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reitgestel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urora Energy Research Limite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ochtergesellschaf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Energy Research GmbH und Aurora Energy Research Pty Lt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äftsführ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Mitarbeit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e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ne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achfolg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Partn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eichn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ib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insich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chtig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lässlich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lständigke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o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illschweig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ich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währleis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b. Aurora und seine Partn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e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antwor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jedwe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a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tz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steh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weck</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erangezo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undlag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rsatz fü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such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undier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urteil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alte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piegel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e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zeug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nahm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ich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eitpunk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fassen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wi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nder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behal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imm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pflich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endPar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12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ä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urora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ell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ätz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insich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ünftig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eig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derspiegel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aub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la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ü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l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ausse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ätz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rognostizie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Prognos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zw</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ria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hnlich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gesetz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m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nnzeich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atsäch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tretend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a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lie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mulier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plizier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sen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we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u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hö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aglich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onitä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und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eis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eferan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alt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nlagen und Personal;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ha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aktor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atilitä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chselkurs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höhu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inssätz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schränk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u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apitalzugang</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wank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oba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märk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ländis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ländis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aatl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schrif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ließ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portkontroll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tschaftlich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ank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iter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 B.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echtsstreitigkeit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b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ann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ste</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ich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chließend</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p>
          <a:p>
            <a:pPr algn="just">
              <a:lnSpc>
                <a:spcPct val="100000"/>
              </a:lnSpc>
              <a:spcBef>
                <a:spcPts val="12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sein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hal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Text, die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bildung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afik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llustrationen</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lich</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ütztes</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tum</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a:t>
            </a:r>
          </a:p>
          <a:p>
            <a:pPr algn="just">
              <a:lnSpc>
                <a:spcPct val="100000"/>
              </a:lnSpc>
            </a:pP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eil dieses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hn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herig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riftliche</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hmigung</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pier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vielfältig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eil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rgendeiner</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rt und Weise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mmerziell</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utzt</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1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endParaRPr lang="en-GB" sz="11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a:lnSpc>
                <a:spcPct val="100000"/>
              </a:lnSpc>
            </a:pPr>
            <a: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und Haftungsausschluss</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a:spcBef>
                <a:spcPts val="0"/>
              </a:spcBef>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a:t>Publikation</a:t>
            </a:r>
          </a:p>
          <a:p>
            <a:pPr lvl="0"/>
            <a:endParaRPr lang="en-GB"/>
          </a:p>
          <a:p>
            <a:pPr lvl="0"/>
            <a:endParaRPr lang="en-GB"/>
          </a:p>
        </p:txBody>
      </p:sp>
      <p:cxnSp>
        <p:nvCxnSpPr>
          <p:cNvPr id="10" name="e393ebc3-55b1-4ffd-a99f-f5012d6d099d">
            <a:extLst>
              <a:ext uri="{FF2B5EF4-FFF2-40B4-BE49-F238E27FC236}">
                <a16:creationId xmlns:a16="http://schemas.microsoft.com/office/drawing/2014/main" id="{4B7F0A9E-01B9-4FC2-9C7C-69924AD23DE6}"/>
              </a:ext>
            </a:extLst>
          </p:cNvPr>
          <p:cNvCxnSpPr>
            <a:cxnSpLocks/>
          </p:cNvCxnSpPr>
          <p:nvPr/>
        </p:nvCxnSpPr>
        <p:spPr>
          <a:xfrm>
            <a:off x="381001" y="1975910"/>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831984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Disclaimer_EN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96183198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599" y="1268413"/>
            <a:ext cx="11428800" cy="4047262"/>
          </a:xfrm>
          <a:prstGeom prst="rect">
            <a:avLst/>
          </a:prstGeom>
          <a:noFill/>
        </p:spPr>
        <p:txBody>
          <a:bodyPr wrap="square" lIns="0" tIns="0" rIns="0" bIns="0" rtlCol="0">
            <a:spAutoFit/>
          </a:bodyPr>
          <a:lstStyle/>
          <a:p>
            <a:pPr algn="just">
              <a:lnSpc>
                <a:spcPct val="100000"/>
              </a:lnSpc>
              <a:spcBef>
                <a:spcPts val="6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ral Disclaimer</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0"/>
              </a:spcBef>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provided "as is" for your information only and no representation or warranty, express or implied, is given by Aurora Energy Research Limited and its subsidiaries Aurora Energy Research GmbH and Aurora Energy Research Pty Ltd (together,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heir directors, employees agents or affiliates (together, Aurora’s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ssociates</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s to its accuracy, reliability or completeness. Aurora and its Associates assume no responsibility, and accept no liability for, any loss arising out of your use of this document. This document is not to be relied upon for any purpose or used in substitution for your own independent investigations and sound judgment. The information contained in this document reflects our beliefs, assumptions, intentions and expectations as of the date of this document and is subject to change. Aurora assumes no obligation, and does not intend, to update this information.</a:t>
            </a:r>
          </a:p>
          <a:p>
            <a:pPr algn="just">
              <a:lnSpc>
                <a:spcPct val="100000"/>
              </a:lnSpc>
              <a:spcBef>
                <a:spcPts val="18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ward-looking statement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0"/>
              </a:spcBef>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contains forward-looking statements and information, which reflect Aurora’s current view with respect to future events and financial performance. When used in this document, the words "believes", "expects", "plans", "may", "will", "would", "could", "should", "anticipates", "estimates", "project", "intend" or "outlook" or other variations of these words or other similar expressions are intended to identify forward-looking statements and information. Actual results may differ materially from the expectations expressed or implied in the forward-looking statements as a result of known and unknown risks and uncertainties. Known risks and uncertainties include but are not limited to: risks associated with political events in Europe and elsewhere, contractual risks, creditworthiness of customers, performance of suppliers and management of plant and personnel; risk associated with financial factors such as volatility in exchange rates, increases in interest rates, restrictions on access to capital, and swings in global financial markets; risks associated with domestic and foreign government regulation, including export controls and economic sanctions; and other risks, including litigation. The foregoing list of important factors is not exhaustive. </a:t>
            </a:r>
          </a:p>
          <a:p>
            <a:pPr algn="just">
              <a:lnSpc>
                <a:spcPct val="100000"/>
              </a:lnSpc>
              <a:spcBef>
                <a:spcPts val="18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pyrig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0"/>
              </a:spcBef>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and its content (including, but not limited to, the text, images, graphics and illustrations) is the copyright material of Aurora, unless otherwise stated. </a:t>
            </a:r>
          </a:p>
          <a:p>
            <a:pPr algn="just">
              <a:lnSpc>
                <a:spcPct val="100000"/>
              </a:lnSpc>
              <a:spcBef>
                <a:spcPts val="0"/>
              </a:spcBef>
            </a:pPr>
            <a:r>
              <a:rPr lang="en-GB" sz="12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confidential and it may not be copied, reproduced, distributed or in any way used for commercial purposes without the prior written consent of Aurora.</a:t>
            </a:r>
          </a:p>
        </p:txBody>
      </p:sp>
      <p:cxnSp>
        <p:nvCxnSpPr>
          <p:cNvPr id="10" name="Straight Connector 9">
            <a:extLst>
              <a:ext uri="{FF2B5EF4-FFF2-40B4-BE49-F238E27FC236}">
                <a16:creationId xmlns:a16="http://schemas.microsoft.com/office/drawing/2014/main" id="{3399C645-B355-4BF8-A0FD-AB66337228D3}"/>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3738d0d7-0a6d-4acc-b630-0f72ea09deea">
            <a:extLst>
              <a:ext uri="{FF2B5EF4-FFF2-40B4-BE49-F238E27FC236}">
                <a16:creationId xmlns:a16="http://schemas.microsoft.com/office/drawing/2014/main" id="{B10FD820-C0F0-420F-A3F7-1B0218FB2443}"/>
              </a:ext>
            </a:extLst>
          </p:cNvPr>
          <p:cNvSpPr txBox="1">
            <a:spLocks/>
          </p:cNvSpPr>
          <p:nvPr/>
        </p:nvSpPr>
        <p:spPr>
          <a:xfrm>
            <a:off x="381600" y="411856"/>
            <a:ext cx="8600471" cy="338554"/>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sclaimer and Copyright</a:t>
            </a:r>
          </a:p>
        </p:txBody>
      </p:sp>
    </p:spTree>
    <p:extLst>
      <p:ext uri="{BB962C8B-B14F-4D97-AF65-F5344CB8AC3E}">
        <p14:creationId xmlns:p14="http://schemas.microsoft.com/office/powerpoint/2010/main" val="224463656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Disclaimer_D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98070542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599" y="1268413"/>
            <a:ext cx="11428800" cy="4785926"/>
          </a:xfrm>
          <a:prstGeom prst="rect">
            <a:avLst/>
          </a:prstGeom>
          <a:noFill/>
        </p:spPr>
        <p:txBody>
          <a:bodyPr wrap="square" lIns="0" tIns="0" rIns="0" bIns="0" rtlCol="0">
            <a:spAutoFit/>
          </a:bodyPr>
          <a:lstStyle/>
          <a:p>
            <a:pPr algn="just">
              <a:lnSpc>
                <a:spcPct val="100000"/>
              </a:lnSpc>
              <a:spcBef>
                <a:spcPts val="6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lgemeiner</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sausschluss</a:t>
            </a:r>
            <a:endPar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0"/>
              </a:spcBef>
            </a:pP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d</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liegend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orm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formation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reitgestell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urora Energy Research Limite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ochtergesellschaft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Energy Research GmbH und Aurora Energy Research Pty Lt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äftsführ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Mitarbeit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et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neh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achfolgend</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Partn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eichne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ib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insichtlich</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chtigkei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lässlichkei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lständigkei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lich</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och</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illschweigend</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icher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währleist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b. Aurora und seine Partn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eh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antwort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jedwed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ad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utz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steh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fü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weck</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erangezo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undlag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Ersatz fü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hr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such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undiert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urteil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ende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m</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alte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piegel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er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zeug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nahm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icht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m</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eitpunk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fassen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ses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wider;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nderung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behalt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übernimm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pflicht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t</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noProof="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alisierung</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p>
          <a:p>
            <a:pPr algn="just">
              <a:lnSpc>
                <a:spcPct val="100000"/>
              </a:lnSpc>
              <a:spcBef>
                <a:spcPts val="18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0"/>
              </a:spcBef>
            </a:pP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thäl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uroras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ktuell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ätzu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insicht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ünftig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eigniss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derspiegel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aub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la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ürd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l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ausse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ätz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rognostizier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absichti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Prognos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zw</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ria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ört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ähnlich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drück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gesetz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m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formatio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s</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lch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nnzeich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atsäch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tretend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gebniss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ön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a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bekan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lie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de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wartun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i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sa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mulier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plizier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ind</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sent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wei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u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kan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sicherhei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hör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raglich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onitä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und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eistu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eferan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waltu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nlagen und Personal;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m</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sammenha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iell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aktor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latilitä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chselkurs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rhöhu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inssätz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schränkun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zu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apitalzugang</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w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wankun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f de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obal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zmärk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ländis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sländis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aatli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schrif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bunden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nschließ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portkontroll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rtschaftlich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anktio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iter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is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i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z. B.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echtsstreitigkeit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b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annt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ste</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ich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schließend</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p>
          <a:p>
            <a:pPr algn="just">
              <a:lnSpc>
                <a:spcPct val="100000"/>
              </a:lnSpc>
              <a:spcBef>
                <a:spcPts val="1800"/>
              </a:spcBef>
            </a:pP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0"/>
              </a:spcBef>
            </a:pP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sein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hal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ter</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erem</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der Text, die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bbildung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rafik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nd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llustrationen</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st</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lich</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schütztes</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igentum</a:t>
            </a: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 </a:t>
            </a:r>
            <a:b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eil dieses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okuments</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rf</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hn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orherig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hriftliche</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hmigung</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von Aurora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piert</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vielfältigt</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erteilt</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der</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in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rgendeiner</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rt und Weise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ommerziell</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utzt</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lang="en-GB"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rden</a:t>
            </a: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p>
        </p:txBody>
      </p:sp>
      <p:cxnSp>
        <p:nvCxnSpPr>
          <p:cNvPr id="7" name="Straight Connector 6">
            <a:extLst>
              <a:ext uri="{FF2B5EF4-FFF2-40B4-BE49-F238E27FC236}">
                <a16:creationId xmlns:a16="http://schemas.microsoft.com/office/drawing/2014/main" id="{6FBCA722-93A5-43EB-ACB0-0BA183C7B423}"/>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3738d0d7-0a6d-4acc-b630-0f72ea09deea">
            <a:extLst>
              <a:ext uri="{FF2B5EF4-FFF2-40B4-BE49-F238E27FC236}">
                <a16:creationId xmlns:a16="http://schemas.microsoft.com/office/drawing/2014/main" id="{F6026BE4-2B9D-4B6F-9DC8-C648690E0847}"/>
              </a:ext>
            </a:extLst>
          </p:cNvPr>
          <p:cNvSpPr txBox="1">
            <a:spLocks/>
          </p:cNvSpPr>
          <p:nvPr/>
        </p:nvSpPr>
        <p:spPr>
          <a:xfrm>
            <a:off x="381600" y="411856"/>
            <a:ext cx="8600471" cy="304699"/>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sausschluss und Urheberrecht</a:t>
            </a:r>
          </a:p>
        </p:txBody>
      </p:sp>
    </p:spTree>
    <p:extLst>
      <p:ext uri="{BB962C8B-B14F-4D97-AF65-F5344CB8AC3E}">
        <p14:creationId xmlns:p14="http://schemas.microsoft.com/office/powerpoint/2010/main" val="26216825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425188743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1710172"/>
            <a:ext cx="3517128"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1710172"/>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3517128" cy="369332"/>
          </a:xfrm>
        </p:spPr>
        <p:txBody>
          <a:bodyPr wrap="square">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vert="horz"/>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263129"/>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1710172"/>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263129"/>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Supertitle">
            <a:extLst>
              <a:ext uri="{FF2B5EF4-FFF2-40B4-BE49-F238E27FC236}">
                <a16:creationId xmlns:a16="http://schemas.microsoft.com/office/drawing/2014/main" id="{9EEBA4A1-1C33-45CD-8C84-6132F5FA68D9}"/>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05560982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Last Page_Log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5E57110-B039-481A-B7E2-2B76E2AB4EA2}"/>
              </a:ext>
            </a:extLst>
          </p:cNvPr>
          <p:cNvGraphicFramePr>
            <a:graphicFrameLocks noChangeAspect="1"/>
          </p:cNvGraphicFramePr>
          <p:nvPr>
            <p:custDataLst>
              <p:tags r:id="rId1"/>
            </p:custDataLst>
            <p:extLst>
              <p:ext uri="{D42A27DB-BD31-4B8C-83A1-F6EECF244321}">
                <p14:modId xmlns:p14="http://schemas.microsoft.com/office/powerpoint/2010/main" val="2443533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55E57110-B039-481A-B7E2-2B76E2AB4E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126A2FE5-B585-4EEB-B516-1A9AC455B10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494888" y="2821504"/>
            <a:ext cx="5202223" cy="1214993"/>
          </a:xfrm>
          <a:prstGeom prst="rect">
            <a:avLst/>
          </a:prstGeom>
        </p:spPr>
      </p:pic>
      <p:sp>
        <p:nvSpPr>
          <p:cNvPr id="3" name="Rectangle 2">
            <a:extLst>
              <a:ext uri="{FF2B5EF4-FFF2-40B4-BE49-F238E27FC236}">
                <a16:creationId xmlns:a16="http://schemas.microsoft.com/office/drawing/2014/main" id="{3EB4029C-17E9-4AA0-BC76-5B1904183B6C}"/>
              </a:ext>
            </a:extLst>
          </p:cNvPr>
          <p:cNvSpPr/>
          <p:nvPr/>
        </p:nvSpPr>
        <p:spPr>
          <a:xfrm>
            <a:off x="10272464" y="404664"/>
            <a:ext cx="1656184" cy="36004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 name="Rectangle 1">
            <a:extLst>
              <a:ext uri="{FF2B5EF4-FFF2-40B4-BE49-F238E27FC236}">
                <a16:creationId xmlns:a16="http://schemas.microsoft.com/office/drawing/2014/main" id="{E3A2AB1F-850B-492A-B682-98652722B1A4}"/>
              </a:ext>
            </a:extLst>
          </p:cNvPr>
          <p:cNvSpPr/>
          <p:nvPr/>
        </p:nvSpPr>
        <p:spPr>
          <a:xfrm>
            <a:off x="11544300" y="6616700"/>
            <a:ext cx="384348" cy="2413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392852200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501550E-0551-47DC-B19E-B3684AE7028B}"/>
              </a:ext>
            </a:extLst>
          </p:cNvPr>
          <p:cNvGraphicFramePr>
            <a:graphicFrameLocks noChangeAspect="1"/>
          </p:cNvGraphicFramePr>
          <p:nvPr>
            <p:custDataLst>
              <p:tags r:id="rId1"/>
            </p:custDataLst>
            <p:extLst>
              <p:ext uri="{D42A27DB-BD31-4B8C-83A1-F6EECF244321}">
                <p14:modId xmlns:p14="http://schemas.microsoft.com/office/powerpoint/2010/main" val="3806640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8501550E-0551-47DC-B19E-B3684AE702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9378DD12-45E2-4111-950A-BF131F54ABF1}"/>
              </a:ext>
            </a:extLst>
          </p:cNvPr>
          <p:cNvSpPr/>
          <p:nvPr/>
        </p:nvSpPr>
        <p:spPr>
          <a:xfrm>
            <a:off x="10272464" y="404664"/>
            <a:ext cx="1656184" cy="36004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117484437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userDrawn="1">
  <p:cSld name="Title Slide add client logo">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extLst>
              <p:ext uri="{D42A27DB-BD31-4B8C-83A1-F6EECF244321}">
                <p14:modId xmlns:p14="http://schemas.microsoft.com/office/powerpoint/2010/main" val="322620054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492" imgH="504" progId="TCLayout.ActiveDocument.1">
                  <p:embed/>
                </p:oleObj>
              </mc:Choice>
              <mc:Fallback>
                <p:oleObj name="think-cell Slide" r:id="rId5" imgW="492" imgH="504" progId="TCLayout.ActiveDocument.1">
                  <p:embed/>
                  <p:pic>
                    <p:nvPicPr>
                      <p:cNvPr id="18" name="Object 17"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41B9B2B-AD9B-4C54-9056-21A1AC246198}"/>
              </a:ext>
            </a:extLst>
          </p:cNvPr>
          <p:cNvSpPr/>
          <p:nvPr userDrawn="1">
            <p:custDataLst>
              <p:tags r:id="rId2"/>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spcBef>
                <a:spcPts val="600"/>
              </a:spcBef>
            </a:pPr>
            <a:endParaRPr lang="en-GB" sz="3400" b="1" i="0" baseline="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pic>
        <p:nvPicPr>
          <p:cNvPr id="4" name="Picture 3" descr="A large yellow structure in the water&#10;&#10;Description automatically generated">
            <a:extLst>
              <a:ext uri="{FF2B5EF4-FFF2-40B4-BE49-F238E27FC236}">
                <a16:creationId xmlns:a16="http://schemas.microsoft.com/office/drawing/2014/main" id="{9484E68D-E882-126F-07BD-CF671EE7BFD1}"/>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r="18409"/>
          <a:stretch/>
        </p:blipFill>
        <p:spPr>
          <a:xfrm>
            <a:off x="3766833" y="0"/>
            <a:ext cx="8425168" cy="6858000"/>
          </a:xfrm>
          <a:prstGeom prst="rect">
            <a:avLst/>
          </a:prstGeom>
        </p:spPr>
      </p:pic>
      <p:grpSp>
        <p:nvGrpSpPr>
          <p:cNvPr id="8" name="07c27c03-86d7-43f9-a4a8-0264cf953919">
            <a:extLst>
              <a:ext uri="{FF2B5EF4-FFF2-40B4-BE49-F238E27FC236}">
                <a16:creationId xmlns:a16="http://schemas.microsoft.com/office/drawing/2014/main" id="{1FC626AE-19AB-4933-9C18-1AA73CB968B5}"/>
              </a:ext>
            </a:extLst>
          </p:cNvPr>
          <p:cNvGrpSpPr/>
          <p:nvPr/>
        </p:nvGrpSpPr>
        <p:grpSpPr>
          <a:xfrm>
            <a:off x="0" y="0"/>
            <a:ext cx="12192000" cy="6858000"/>
            <a:chOff x="0" y="0"/>
            <a:chExt cx="12192000" cy="6858000"/>
          </a:xfrm>
        </p:grpSpPr>
        <p:sp>
          <p:nvSpPr>
            <p:cNvPr id="10" name="Freeform: Shape 9">
              <a:extLst>
                <a:ext uri="{FF2B5EF4-FFF2-40B4-BE49-F238E27FC236}">
                  <a16:creationId xmlns:a16="http://schemas.microsoft.com/office/drawing/2014/main" id="{A18F3B72-2D96-4D16-B281-7A01BFE5536D}"/>
                </a:ext>
              </a:extLst>
            </p:cNvPr>
            <p:cNvSpPr/>
            <p:nvPr/>
          </p:nvSpPr>
          <p:spPr>
            <a:xfrm>
              <a:off x="0" y="0"/>
              <a:ext cx="12192000" cy="6858000"/>
            </a:xfrm>
            <a:custGeom>
              <a:avLst/>
              <a:gdLst>
                <a:gd name="connsiteX0" fmla="*/ 12192000 w 12192000"/>
                <a:gd name="connsiteY0" fmla="*/ 5903927 h 6858000"/>
                <a:gd name="connsiteX1" fmla="*/ 12192000 w 12192000"/>
                <a:gd name="connsiteY1" fmla="*/ 6858000 h 6858000"/>
                <a:gd name="connsiteX2" fmla="*/ 10516834 w 12192000"/>
                <a:gd name="connsiteY2" fmla="*/ 6858000 h 6858000"/>
                <a:gd name="connsiteX3" fmla="*/ 10558223 w 12192000"/>
                <a:gd name="connsiteY3" fmla="*/ 6848448 h 6858000"/>
                <a:gd name="connsiteX4" fmla="*/ 12172382 w 12192000"/>
                <a:gd name="connsiteY4" fmla="*/ 5925512 h 6858000"/>
                <a:gd name="connsiteX5" fmla="*/ 10516834 w 12192000"/>
                <a:gd name="connsiteY5" fmla="*/ 0 h 6858000"/>
                <a:gd name="connsiteX6" fmla="*/ 12192000 w 12192000"/>
                <a:gd name="connsiteY6" fmla="*/ 0 h 6858000"/>
                <a:gd name="connsiteX7" fmla="*/ 12192000 w 12192000"/>
                <a:gd name="connsiteY7" fmla="*/ 954074 h 6858000"/>
                <a:gd name="connsiteX8" fmla="*/ 12172382 w 12192000"/>
                <a:gd name="connsiteY8" fmla="*/ 932489 h 6858000"/>
                <a:gd name="connsiteX9" fmla="*/ 10558223 w 12192000"/>
                <a:gd name="connsiteY9" fmla="*/ 9553 h 6858000"/>
                <a:gd name="connsiteX10" fmla="*/ 0 w 12192000"/>
                <a:gd name="connsiteY10" fmla="*/ 0 h 6858000"/>
                <a:gd name="connsiteX11" fmla="*/ 8834908 w 12192000"/>
                <a:gd name="connsiteY11" fmla="*/ 0 h 6858000"/>
                <a:gd name="connsiteX12" fmla="*/ 8793519 w 12192000"/>
                <a:gd name="connsiteY12" fmla="*/ 9553 h 6858000"/>
                <a:gd name="connsiteX13" fmla="*/ 6145271 w 12192000"/>
                <a:gd name="connsiteY13" fmla="*/ 3429000 h 6858000"/>
                <a:gd name="connsiteX14" fmla="*/ 8793519 w 12192000"/>
                <a:gd name="connsiteY14" fmla="*/ 6848448 h 6858000"/>
                <a:gd name="connsiteX15" fmla="*/ 8834908 w 12192000"/>
                <a:gd name="connsiteY15" fmla="*/ 6858000 h 6858000"/>
                <a:gd name="connsiteX16" fmla="*/ 0 w 12192000"/>
                <a:gd name="connsiteY1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192000" h="6858000">
                  <a:moveTo>
                    <a:pt x="12192000" y="5903927"/>
                  </a:moveTo>
                  <a:lnTo>
                    <a:pt x="12192000" y="6858000"/>
                  </a:lnTo>
                  <a:lnTo>
                    <a:pt x="10516834" y="6858000"/>
                  </a:lnTo>
                  <a:lnTo>
                    <a:pt x="10558223" y="6848448"/>
                  </a:lnTo>
                  <a:cubicBezTo>
                    <a:pt x="11178673" y="6688813"/>
                    <a:pt x="11733130" y="6364764"/>
                    <a:pt x="12172382" y="5925512"/>
                  </a:cubicBezTo>
                  <a:close/>
                  <a:moveTo>
                    <a:pt x="10516834" y="0"/>
                  </a:moveTo>
                  <a:lnTo>
                    <a:pt x="12192000" y="0"/>
                  </a:lnTo>
                  <a:lnTo>
                    <a:pt x="12192000" y="954074"/>
                  </a:lnTo>
                  <a:lnTo>
                    <a:pt x="12172382" y="932489"/>
                  </a:lnTo>
                  <a:cubicBezTo>
                    <a:pt x="11733130" y="493236"/>
                    <a:pt x="11178673" y="169187"/>
                    <a:pt x="10558223" y="9553"/>
                  </a:cubicBezTo>
                  <a:close/>
                  <a:moveTo>
                    <a:pt x="0" y="0"/>
                  </a:moveTo>
                  <a:lnTo>
                    <a:pt x="8834908" y="0"/>
                  </a:lnTo>
                  <a:lnTo>
                    <a:pt x="8793519" y="9553"/>
                  </a:lnTo>
                  <a:cubicBezTo>
                    <a:pt x="7270596" y="401383"/>
                    <a:pt x="6145271" y="1783775"/>
                    <a:pt x="6145271" y="3429000"/>
                  </a:cubicBezTo>
                  <a:cubicBezTo>
                    <a:pt x="6145271" y="5074226"/>
                    <a:pt x="7270596" y="6456617"/>
                    <a:pt x="8793519" y="6848448"/>
                  </a:cubicBezTo>
                  <a:lnTo>
                    <a:pt x="8834908" y="6858000"/>
                  </a:lnTo>
                  <a:lnTo>
                    <a:pt x="0" y="6858000"/>
                  </a:lnTo>
                  <a:close/>
                </a:path>
              </a:pathLst>
            </a:custGeom>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400">
                <a:solidFill>
                  <a:schemeClr val="accent6"/>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 name="Freeform: Shape 10">
              <a:extLst>
                <a:ext uri="{FF2B5EF4-FFF2-40B4-BE49-F238E27FC236}">
                  <a16:creationId xmlns:a16="http://schemas.microsoft.com/office/drawing/2014/main" id="{A4569E97-E2DB-4177-A1BA-8C69D20EF9B6}"/>
                </a:ext>
              </a:extLst>
            </p:cNvPr>
            <p:cNvSpPr>
              <a:spLocks/>
            </p:cNvSpPr>
            <p:nvPr/>
          </p:nvSpPr>
          <p:spPr>
            <a:xfrm>
              <a:off x="5877042" y="0"/>
              <a:ext cx="6314958" cy="6858000"/>
            </a:xfrm>
            <a:custGeom>
              <a:avLst/>
              <a:gdLst>
                <a:gd name="connsiteX0" fmla="*/ 6314958 w 6314958"/>
                <a:gd name="connsiteY0" fmla="*/ 5906568 h 6858000"/>
                <a:gd name="connsiteX1" fmla="*/ 6314958 w 6314958"/>
                <a:gd name="connsiteY1" fmla="*/ 6269729 h 6858000"/>
                <a:gd name="connsiteX2" fmla="*/ 6215237 w 6314958"/>
                <a:gd name="connsiteY2" fmla="*/ 6360361 h 6858000"/>
                <a:gd name="connsiteX3" fmla="*/ 5445778 w 6314958"/>
                <a:gd name="connsiteY3" fmla="*/ 6853223 h 6858000"/>
                <a:gd name="connsiteX4" fmla="*/ 5435212 w 6314958"/>
                <a:gd name="connsiteY4" fmla="*/ 6858000 h 6858000"/>
                <a:gd name="connsiteX5" fmla="*/ 4647701 w 6314958"/>
                <a:gd name="connsiteY5" fmla="*/ 6858000 h 6858000"/>
                <a:gd name="connsiteX6" fmla="*/ 4681626 w 6314958"/>
                <a:gd name="connsiteY6" fmla="*/ 6850171 h 6858000"/>
                <a:gd name="connsiteX7" fmla="*/ 5173790 w 6314958"/>
                <a:gd name="connsiteY7" fmla="*/ 6683787 h 6858000"/>
                <a:gd name="connsiteX8" fmla="*/ 5271135 w 6314958"/>
                <a:gd name="connsiteY8" fmla="*/ 6636894 h 6858000"/>
                <a:gd name="connsiteX9" fmla="*/ 5348751 w 6314958"/>
                <a:gd name="connsiteY9" fmla="*/ 6602092 h 6858000"/>
                <a:gd name="connsiteX10" fmla="*/ 5400784 w 6314958"/>
                <a:gd name="connsiteY10" fmla="*/ 6574439 h 6858000"/>
                <a:gd name="connsiteX11" fmla="*/ 5482571 w 6314958"/>
                <a:gd name="connsiteY11" fmla="*/ 6535040 h 6858000"/>
                <a:gd name="connsiteX12" fmla="*/ 5536048 w 6314958"/>
                <a:gd name="connsiteY12" fmla="*/ 6502552 h 6858000"/>
                <a:gd name="connsiteX13" fmla="*/ 5556210 w 6314958"/>
                <a:gd name="connsiteY13" fmla="*/ 6491837 h 6858000"/>
                <a:gd name="connsiteX14" fmla="*/ 5678830 w 6314958"/>
                <a:gd name="connsiteY14" fmla="*/ 6415809 h 6858000"/>
                <a:gd name="connsiteX15" fmla="*/ 5773816 w 6314958"/>
                <a:gd name="connsiteY15" fmla="*/ 6358104 h 6858000"/>
                <a:gd name="connsiteX16" fmla="*/ 5866153 w 6314958"/>
                <a:gd name="connsiteY16" fmla="*/ 6289055 h 6858000"/>
                <a:gd name="connsiteX17" fmla="*/ 5945069 w 6314958"/>
                <a:gd name="connsiteY17" fmla="*/ 6232582 h 6858000"/>
                <a:gd name="connsiteX18" fmla="*/ 5980102 w 6314958"/>
                <a:gd name="connsiteY18" fmla="*/ 6203847 h 6858000"/>
                <a:gd name="connsiteX19" fmla="*/ 6045750 w 6314958"/>
                <a:gd name="connsiteY19" fmla="*/ 6154756 h 6858000"/>
                <a:gd name="connsiteX20" fmla="*/ 6099423 w 6314958"/>
                <a:gd name="connsiteY20" fmla="*/ 6105974 h 6858000"/>
                <a:gd name="connsiteX21" fmla="*/ 6125316 w 6314958"/>
                <a:gd name="connsiteY21" fmla="*/ 6084735 h 6858000"/>
                <a:gd name="connsiteX22" fmla="*/ 6208411 w 6314958"/>
                <a:gd name="connsiteY22" fmla="*/ 6006920 h 6858000"/>
                <a:gd name="connsiteX23" fmla="*/ 6296598 w 6314958"/>
                <a:gd name="connsiteY23" fmla="*/ 5926769 h 6858000"/>
                <a:gd name="connsiteX24" fmla="*/ 4647701 w 6314958"/>
                <a:gd name="connsiteY24" fmla="*/ 0 h 6858000"/>
                <a:gd name="connsiteX25" fmla="*/ 5435212 w 6314958"/>
                <a:gd name="connsiteY25" fmla="*/ 0 h 6858000"/>
                <a:gd name="connsiteX26" fmla="*/ 5445778 w 6314958"/>
                <a:gd name="connsiteY26" fmla="*/ 4777 h 6858000"/>
                <a:gd name="connsiteX27" fmla="*/ 6215237 w 6314958"/>
                <a:gd name="connsiteY27" fmla="*/ 497639 h 6858000"/>
                <a:gd name="connsiteX28" fmla="*/ 6314958 w 6314958"/>
                <a:gd name="connsiteY28" fmla="*/ 588272 h 6858000"/>
                <a:gd name="connsiteX29" fmla="*/ 6314958 w 6314958"/>
                <a:gd name="connsiteY29" fmla="*/ 951432 h 6858000"/>
                <a:gd name="connsiteX30" fmla="*/ 6296598 w 6314958"/>
                <a:gd name="connsiteY30" fmla="*/ 931231 h 6858000"/>
                <a:gd name="connsiteX31" fmla="*/ 6208380 w 6314958"/>
                <a:gd name="connsiteY31" fmla="*/ 851053 h 6858000"/>
                <a:gd name="connsiteX32" fmla="*/ 6125316 w 6314958"/>
                <a:gd name="connsiteY32" fmla="*/ 773266 h 6858000"/>
                <a:gd name="connsiteX33" fmla="*/ 6099430 w 6314958"/>
                <a:gd name="connsiteY33" fmla="*/ 752033 h 6858000"/>
                <a:gd name="connsiteX34" fmla="*/ 6045750 w 6314958"/>
                <a:gd name="connsiteY34" fmla="*/ 703245 h 6858000"/>
                <a:gd name="connsiteX35" fmla="*/ 5980095 w 6314958"/>
                <a:gd name="connsiteY35" fmla="*/ 654149 h 6858000"/>
                <a:gd name="connsiteX36" fmla="*/ 5945069 w 6314958"/>
                <a:gd name="connsiteY36" fmla="*/ 625419 h 6858000"/>
                <a:gd name="connsiteX37" fmla="*/ 5866166 w 6314958"/>
                <a:gd name="connsiteY37" fmla="*/ 568954 h 6858000"/>
                <a:gd name="connsiteX38" fmla="*/ 5773816 w 6314958"/>
                <a:gd name="connsiteY38" fmla="*/ 499896 h 6858000"/>
                <a:gd name="connsiteX39" fmla="*/ 5678803 w 6314958"/>
                <a:gd name="connsiteY39" fmla="*/ 442174 h 6858000"/>
                <a:gd name="connsiteX40" fmla="*/ 5556210 w 6314958"/>
                <a:gd name="connsiteY40" fmla="*/ 366164 h 6858000"/>
                <a:gd name="connsiteX41" fmla="*/ 5536052 w 6314958"/>
                <a:gd name="connsiteY41" fmla="*/ 355451 h 6858000"/>
                <a:gd name="connsiteX42" fmla="*/ 5482571 w 6314958"/>
                <a:gd name="connsiteY42" fmla="*/ 322960 h 6858000"/>
                <a:gd name="connsiteX43" fmla="*/ 5400777 w 6314958"/>
                <a:gd name="connsiteY43" fmla="*/ 283558 h 6858000"/>
                <a:gd name="connsiteX44" fmla="*/ 5348751 w 6314958"/>
                <a:gd name="connsiteY44" fmla="*/ 255909 h 6858000"/>
                <a:gd name="connsiteX45" fmla="*/ 5271147 w 6314958"/>
                <a:gd name="connsiteY45" fmla="*/ 221112 h 6858000"/>
                <a:gd name="connsiteX46" fmla="*/ 5173790 w 6314958"/>
                <a:gd name="connsiteY46" fmla="*/ 174213 h 6858000"/>
                <a:gd name="connsiteX47" fmla="*/ 4681626 w 6314958"/>
                <a:gd name="connsiteY47" fmla="*/ 7830 h 6858000"/>
                <a:gd name="connsiteX48" fmla="*/ 2162446 w 6314958"/>
                <a:gd name="connsiteY48" fmla="*/ 0 h 6858000"/>
                <a:gd name="connsiteX49" fmla="*/ 2949957 w 6314958"/>
                <a:gd name="connsiteY49" fmla="*/ 0 h 6858000"/>
                <a:gd name="connsiteX50" fmla="*/ 2916032 w 6314958"/>
                <a:gd name="connsiteY50" fmla="*/ 7830 h 6858000"/>
                <a:gd name="connsiteX51" fmla="*/ 2423868 w 6314958"/>
                <a:gd name="connsiteY51" fmla="*/ 174213 h 6858000"/>
                <a:gd name="connsiteX52" fmla="*/ 2375455 w 6314958"/>
                <a:gd name="connsiteY52" fmla="*/ 197535 h 6858000"/>
                <a:gd name="connsiteX53" fmla="*/ 2365440 w 6314958"/>
                <a:gd name="connsiteY53" fmla="*/ 201501 h 6858000"/>
                <a:gd name="connsiteX54" fmla="*/ 2300569 w 6314958"/>
                <a:gd name="connsiteY54" fmla="*/ 233609 h 6858000"/>
                <a:gd name="connsiteX55" fmla="*/ 2115088 w 6314958"/>
                <a:gd name="connsiteY55" fmla="*/ 322960 h 6858000"/>
                <a:gd name="connsiteX56" fmla="*/ 1863446 w 6314958"/>
                <a:gd name="connsiteY56" fmla="*/ 475836 h 6858000"/>
                <a:gd name="connsiteX57" fmla="*/ 1860205 w 6314958"/>
                <a:gd name="connsiteY57" fmla="*/ 477785 h 6858000"/>
                <a:gd name="connsiteX58" fmla="*/ 1860025 w 6314958"/>
                <a:gd name="connsiteY58" fmla="*/ 477915 h 6858000"/>
                <a:gd name="connsiteX59" fmla="*/ 1823843 w 6314958"/>
                <a:gd name="connsiteY59" fmla="*/ 499896 h 6858000"/>
                <a:gd name="connsiteX60" fmla="*/ 1690354 w 6314958"/>
                <a:gd name="connsiteY60" fmla="*/ 599717 h 6858000"/>
                <a:gd name="connsiteX61" fmla="*/ 1627429 w 6314958"/>
                <a:gd name="connsiteY61" fmla="*/ 644889 h 6858000"/>
                <a:gd name="connsiteX62" fmla="*/ 1608663 w 6314958"/>
                <a:gd name="connsiteY62" fmla="*/ 660805 h 6858000"/>
                <a:gd name="connsiteX63" fmla="*/ 1551908 w 6314958"/>
                <a:gd name="connsiteY63" fmla="*/ 703245 h 6858000"/>
                <a:gd name="connsiteX64" fmla="*/ 1458256 w 6314958"/>
                <a:gd name="connsiteY64" fmla="*/ 788362 h 6858000"/>
                <a:gd name="connsiteX65" fmla="*/ 1409302 w 6314958"/>
                <a:gd name="connsiteY65" fmla="*/ 829879 h 6858000"/>
                <a:gd name="connsiteX66" fmla="*/ 1375552 w 6314958"/>
                <a:gd name="connsiteY66" fmla="*/ 863529 h 6858000"/>
                <a:gd name="connsiteX67" fmla="*/ 1301060 w 6314958"/>
                <a:gd name="connsiteY67" fmla="*/ 931231 h 6858000"/>
                <a:gd name="connsiteX68" fmla="*/ 1237457 w 6314958"/>
                <a:gd name="connsiteY68" fmla="*/ 1001213 h 6858000"/>
                <a:gd name="connsiteX69" fmla="*/ 1206889 w 6314958"/>
                <a:gd name="connsiteY69" fmla="*/ 1031689 h 6858000"/>
                <a:gd name="connsiteX70" fmla="*/ 1162896 w 6314958"/>
                <a:gd name="connsiteY70" fmla="*/ 1083250 h 6858000"/>
                <a:gd name="connsiteX71" fmla="*/ 1073074 w 6314958"/>
                <a:gd name="connsiteY71" fmla="*/ 1182079 h 6858000"/>
                <a:gd name="connsiteX72" fmla="*/ 1034080 w 6314958"/>
                <a:gd name="connsiteY72" fmla="*/ 1234225 h 6858000"/>
                <a:gd name="connsiteX73" fmla="*/ 1021257 w 6314958"/>
                <a:gd name="connsiteY73" fmla="*/ 1249253 h 6858000"/>
                <a:gd name="connsiteX74" fmla="*/ 976117 w 6314958"/>
                <a:gd name="connsiteY74" fmla="*/ 1311738 h 6858000"/>
                <a:gd name="connsiteX75" fmla="*/ 869725 w 6314958"/>
                <a:gd name="connsiteY75" fmla="*/ 1454013 h 6858000"/>
                <a:gd name="connsiteX76" fmla="*/ 692789 w 6314958"/>
                <a:gd name="connsiteY76" fmla="*/ 1745259 h 6858000"/>
                <a:gd name="connsiteX77" fmla="*/ 610933 w 6314958"/>
                <a:gd name="connsiteY77" fmla="*/ 1915182 h 6858000"/>
                <a:gd name="connsiteX78" fmla="*/ 575706 w 6314958"/>
                <a:gd name="connsiteY78" fmla="*/ 1985812 h 6858000"/>
                <a:gd name="connsiteX79" fmla="*/ 569857 w 6314958"/>
                <a:gd name="connsiteY79" fmla="*/ 2000450 h 6858000"/>
                <a:gd name="connsiteX80" fmla="*/ 544042 w 6314958"/>
                <a:gd name="connsiteY80" fmla="*/ 2054039 h 6858000"/>
                <a:gd name="connsiteX81" fmla="*/ 496009 w 6314958"/>
                <a:gd name="connsiteY81" fmla="*/ 2185276 h 6858000"/>
                <a:gd name="connsiteX82" fmla="*/ 467857 w 6314958"/>
                <a:gd name="connsiteY82" fmla="*/ 2255733 h 6858000"/>
                <a:gd name="connsiteX83" fmla="*/ 455842 w 6314958"/>
                <a:gd name="connsiteY83" fmla="*/ 2295020 h 6858000"/>
                <a:gd name="connsiteX84" fmla="*/ 425259 w 6314958"/>
                <a:gd name="connsiteY84" fmla="*/ 2378579 h 6858000"/>
                <a:gd name="connsiteX85" fmla="*/ 398714 w 6314958"/>
                <a:gd name="connsiteY85" fmla="*/ 2481816 h 6858000"/>
                <a:gd name="connsiteX86" fmla="*/ 382119 w 6314958"/>
                <a:gd name="connsiteY86" fmla="*/ 2536079 h 6858000"/>
                <a:gd name="connsiteX87" fmla="*/ 368259 w 6314958"/>
                <a:gd name="connsiteY87" fmla="*/ 2600260 h 6858000"/>
                <a:gd name="connsiteX88" fmla="*/ 338216 w 6314958"/>
                <a:gd name="connsiteY88" fmla="*/ 2717103 h 6858000"/>
                <a:gd name="connsiteX89" fmla="*/ 326621 w 6314958"/>
                <a:gd name="connsiteY89" fmla="*/ 2793072 h 6858000"/>
                <a:gd name="connsiteX90" fmla="*/ 319558 w 6314958"/>
                <a:gd name="connsiteY90" fmla="*/ 2825782 h 6858000"/>
                <a:gd name="connsiteX91" fmla="*/ 308473 w 6314958"/>
                <a:gd name="connsiteY91" fmla="*/ 2911989 h 6858000"/>
                <a:gd name="connsiteX92" fmla="*/ 284688 w 6314958"/>
                <a:gd name="connsiteY92" fmla="*/ 3067835 h 6858000"/>
                <a:gd name="connsiteX93" fmla="*/ 282266 w 6314958"/>
                <a:gd name="connsiteY93" fmla="*/ 3115792 h 6858000"/>
                <a:gd name="connsiteX94" fmla="*/ 281239 w 6314958"/>
                <a:gd name="connsiteY94" fmla="*/ 3123778 h 6858000"/>
                <a:gd name="connsiteX95" fmla="*/ 277862 w 6314958"/>
                <a:gd name="connsiteY95" fmla="*/ 3203005 h 6858000"/>
                <a:gd name="connsiteX96" fmla="*/ 266450 w 6314958"/>
                <a:gd name="connsiteY96" fmla="*/ 3429000 h 6858000"/>
                <a:gd name="connsiteX97" fmla="*/ 277862 w 6314958"/>
                <a:gd name="connsiteY97" fmla="*/ 3654994 h 6858000"/>
                <a:gd name="connsiteX98" fmla="*/ 281239 w 6314958"/>
                <a:gd name="connsiteY98" fmla="*/ 3734222 h 6858000"/>
                <a:gd name="connsiteX99" fmla="*/ 282266 w 6314958"/>
                <a:gd name="connsiteY99" fmla="*/ 3742209 h 6858000"/>
                <a:gd name="connsiteX100" fmla="*/ 284688 w 6314958"/>
                <a:gd name="connsiteY100" fmla="*/ 3790165 h 6858000"/>
                <a:gd name="connsiteX101" fmla="*/ 308472 w 6314958"/>
                <a:gd name="connsiteY101" fmla="*/ 3946009 h 6858000"/>
                <a:gd name="connsiteX102" fmla="*/ 319558 w 6314958"/>
                <a:gd name="connsiteY102" fmla="*/ 4032218 h 6858000"/>
                <a:gd name="connsiteX103" fmla="*/ 326622 w 6314958"/>
                <a:gd name="connsiteY103" fmla="*/ 4064929 h 6858000"/>
                <a:gd name="connsiteX104" fmla="*/ 338216 w 6314958"/>
                <a:gd name="connsiteY104" fmla="*/ 4140898 h 6858000"/>
                <a:gd name="connsiteX105" fmla="*/ 368259 w 6314958"/>
                <a:gd name="connsiteY105" fmla="*/ 4257739 h 6858000"/>
                <a:gd name="connsiteX106" fmla="*/ 382119 w 6314958"/>
                <a:gd name="connsiteY106" fmla="*/ 4321922 h 6858000"/>
                <a:gd name="connsiteX107" fmla="*/ 398715 w 6314958"/>
                <a:gd name="connsiteY107" fmla="*/ 4376187 h 6858000"/>
                <a:gd name="connsiteX108" fmla="*/ 425259 w 6314958"/>
                <a:gd name="connsiteY108" fmla="*/ 4479422 h 6858000"/>
                <a:gd name="connsiteX109" fmla="*/ 455841 w 6314958"/>
                <a:gd name="connsiteY109" fmla="*/ 4562978 h 6858000"/>
                <a:gd name="connsiteX110" fmla="*/ 467857 w 6314958"/>
                <a:gd name="connsiteY110" fmla="*/ 4602268 h 6858000"/>
                <a:gd name="connsiteX111" fmla="*/ 496011 w 6314958"/>
                <a:gd name="connsiteY111" fmla="*/ 4672730 h 6858000"/>
                <a:gd name="connsiteX112" fmla="*/ 544042 w 6314958"/>
                <a:gd name="connsiteY112" fmla="*/ 4803962 h 6858000"/>
                <a:gd name="connsiteX113" fmla="*/ 569856 w 6314958"/>
                <a:gd name="connsiteY113" fmla="*/ 4857548 h 6858000"/>
                <a:gd name="connsiteX114" fmla="*/ 575706 w 6314958"/>
                <a:gd name="connsiteY114" fmla="*/ 4872189 h 6858000"/>
                <a:gd name="connsiteX115" fmla="*/ 610939 w 6314958"/>
                <a:gd name="connsiteY115" fmla="*/ 4942832 h 6858000"/>
                <a:gd name="connsiteX116" fmla="*/ 692789 w 6314958"/>
                <a:gd name="connsiteY116" fmla="*/ 5112742 h 6858000"/>
                <a:gd name="connsiteX117" fmla="*/ 869725 w 6314958"/>
                <a:gd name="connsiteY117" fmla="*/ 5403987 h 6858000"/>
                <a:gd name="connsiteX118" fmla="*/ 976106 w 6314958"/>
                <a:gd name="connsiteY118" fmla="*/ 5546248 h 6858000"/>
                <a:gd name="connsiteX119" fmla="*/ 1021257 w 6314958"/>
                <a:gd name="connsiteY119" fmla="*/ 5608747 h 6858000"/>
                <a:gd name="connsiteX120" fmla="*/ 1034083 w 6314958"/>
                <a:gd name="connsiteY120" fmla="*/ 5623780 h 6858000"/>
                <a:gd name="connsiteX121" fmla="*/ 1073074 w 6314958"/>
                <a:gd name="connsiteY121" fmla="*/ 5675921 h 6858000"/>
                <a:gd name="connsiteX122" fmla="*/ 1162889 w 6314958"/>
                <a:gd name="connsiteY122" fmla="*/ 5774742 h 6858000"/>
                <a:gd name="connsiteX123" fmla="*/ 1206889 w 6314958"/>
                <a:gd name="connsiteY123" fmla="*/ 5826312 h 6858000"/>
                <a:gd name="connsiteX124" fmla="*/ 1237462 w 6314958"/>
                <a:gd name="connsiteY124" fmla="*/ 5856794 h 6858000"/>
                <a:gd name="connsiteX125" fmla="*/ 1301060 w 6314958"/>
                <a:gd name="connsiteY125" fmla="*/ 5926769 h 6858000"/>
                <a:gd name="connsiteX126" fmla="*/ 1375546 w 6314958"/>
                <a:gd name="connsiteY126" fmla="*/ 5994467 h 6858000"/>
                <a:gd name="connsiteX127" fmla="*/ 1409302 w 6314958"/>
                <a:gd name="connsiteY127" fmla="*/ 6028122 h 6858000"/>
                <a:gd name="connsiteX128" fmla="*/ 1458264 w 6314958"/>
                <a:gd name="connsiteY128" fmla="*/ 6069646 h 6858000"/>
                <a:gd name="connsiteX129" fmla="*/ 1551908 w 6314958"/>
                <a:gd name="connsiteY129" fmla="*/ 6154756 h 6858000"/>
                <a:gd name="connsiteX130" fmla="*/ 1608657 w 6314958"/>
                <a:gd name="connsiteY130" fmla="*/ 6197192 h 6858000"/>
                <a:gd name="connsiteX131" fmla="*/ 1627429 w 6314958"/>
                <a:gd name="connsiteY131" fmla="*/ 6213112 h 6858000"/>
                <a:gd name="connsiteX132" fmla="*/ 1690373 w 6314958"/>
                <a:gd name="connsiteY132" fmla="*/ 6258298 h 6858000"/>
                <a:gd name="connsiteX133" fmla="*/ 1823843 w 6314958"/>
                <a:gd name="connsiteY133" fmla="*/ 6358104 h 6858000"/>
                <a:gd name="connsiteX134" fmla="*/ 1860020 w 6314958"/>
                <a:gd name="connsiteY134" fmla="*/ 6380082 h 6858000"/>
                <a:gd name="connsiteX135" fmla="*/ 1860205 w 6314958"/>
                <a:gd name="connsiteY135" fmla="*/ 6380216 h 6858000"/>
                <a:gd name="connsiteX136" fmla="*/ 1863538 w 6314958"/>
                <a:gd name="connsiteY136" fmla="*/ 6382220 h 6858000"/>
                <a:gd name="connsiteX137" fmla="*/ 2115088 w 6314958"/>
                <a:gd name="connsiteY137" fmla="*/ 6535040 h 6858000"/>
                <a:gd name="connsiteX138" fmla="*/ 2300511 w 6314958"/>
                <a:gd name="connsiteY138" fmla="*/ 6624363 h 6858000"/>
                <a:gd name="connsiteX139" fmla="*/ 2365440 w 6314958"/>
                <a:gd name="connsiteY139" fmla="*/ 6656500 h 6858000"/>
                <a:gd name="connsiteX140" fmla="*/ 2375464 w 6314958"/>
                <a:gd name="connsiteY140" fmla="*/ 6660470 h 6858000"/>
                <a:gd name="connsiteX141" fmla="*/ 2423868 w 6314958"/>
                <a:gd name="connsiteY141" fmla="*/ 6683787 h 6858000"/>
                <a:gd name="connsiteX142" fmla="*/ 2916032 w 6314958"/>
                <a:gd name="connsiteY142" fmla="*/ 6850171 h 6858000"/>
                <a:gd name="connsiteX143" fmla="*/ 2949957 w 6314958"/>
                <a:gd name="connsiteY143" fmla="*/ 6858000 h 6858000"/>
                <a:gd name="connsiteX144" fmla="*/ 2162446 w 6314958"/>
                <a:gd name="connsiteY144" fmla="*/ 6858000 h 6858000"/>
                <a:gd name="connsiteX145" fmla="*/ 2151880 w 6314958"/>
                <a:gd name="connsiteY145" fmla="*/ 6853223 h 6858000"/>
                <a:gd name="connsiteX146" fmla="*/ 0 w 6314958"/>
                <a:gd name="connsiteY146" fmla="*/ 3429000 h 6858000"/>
                <a:gd name="connsiteX147" fmla="*/ 2151880 w 6314958"/>
                <a:gd name="connsiteY147" fmla="*/ 477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6314958" h="6858000">
                  <a:moveTo>
                    <a:pt x="6314958" y="5906568"/>
                  </a:moveTo>
                  <a:lnTo>
                    <a:pt x="6314958" y="6269729"/>
                  </a:lnTo>
                  <a:lnTo>
                    <a:pt x="6215237" y="6360361"/>
                  </a:lnTo>
                  <a:cubicBezTo>
                    <a:pt x="5980715" y="6553906"/>
                    <a:pt x="5722571" y="6719851"/>
                    <a:pt x="5445778" y="6853223"/>
                  </a:cubicBezTo>
                  <a:lnTo>
                    <a:pt x="5435212" y="6858000"/>
                  </a:lnTo>
                  <a:lnTo>
                    <a:pt x="4647701" y="6858000"/>
                  </a:lnTo>
                  <a:lnTo>
                    <a:pt x="4681626" y="6850171"/>
                  </a:lnTo>
                  <a:cubicBezTo>
                    <a:pt x="4850924" y="6806612"/>
                    <a:pt x="5015312" y="6750818"/>
                    <a:pt x="5173790" y="6683787"/>
                  </a:cubicBezTo>
                  <a:lnTo>
                    <a:pt x="5271135" y="6636894"/>
                  </a:lnTo>
                  <a:lnTo>
                    <a:pt x="5348751" y="6602092"/>
                  </a:lnTo>
                  <a:lnTo>
                    <a:pt x="5400784" y="6574439"/>
                  </a:lnTo>
                  <a:lnTo>
                    <a:pt x="5482571" y="6535040"/>
                  </a:lnTo>
                  <a:lnTo>
                    <a:pt x="5536048" y="6502552"/>
                  </a:lnTo>
                  <a:lnTo>
                    <a:pt x="5556210" y="6491837"/>
                  </a:lnTo>
                  <a:lnTo>
                    <a:pt x="5678830" y="6415809"/>
                  </a:lnTo>
                  <a:lnTo>
                    <a:pt x="5773816" y="6358104"/>
                  </a:lnTo>
                  <a:lnTo>
                    <a:pt x="5866153" y="6289055"/>
                  </a:lnTo>
                  <a:lnTo>
                    <a:pt x="5945069" y="6232582"/>
                  </a:lnTo>
                  <a:lnTo>
                    <a:pt x="5980102" y="6203847"/>
                  </a:lnTo>
                  <a:lnTo>
                    <a:pt x="6045750" y="6154756"/>
                  </a:lnTo>
                  <a:lnTo>
                    <a:pt x="6099423" y="6105974"/>
                  </a:lnTo>
                  <a:lnTo>
                    <a:pt x="6125316" y="6084735"/>
                  </a:lnTo>
                  <a:lnTo>
                    <a:pt x="6208411" y="6006920"/>
                  </a:lnTo>
                  <a:lnTo>
                    <a:pt x="6296598" y="5926769"/>
                  </a:lnTo>
                  <a:close/>
                  <a:moveTo>
                    <a:pt x="4647701" y="0"/>
                  </a:moveTo>
                  <a:lnTo>
                    <a:pt x="5435212" y="0"/>
                  </a:lnTo>
                  <a:lnTo>
                    <a:pt x="5445778" y="4777"/>
                  </a:lnTo>
                  <a:cubicBezTo>
                    <a:pt x="5722571" y="138149"/>
                    <a:pt x="5980715" y="304094"/>
                    <a:pt x="6215237" y="497639"/>
                  </a:cubicBezTo>
                  <a:lnTo>
                    <a:pt x="6314958" y="588272"/>
                  </a:lnTo>
                  <a:lnTo>
                    <a:pt x="6314958" y="951432"/>
                  </a:lnTo>
                  <a:lnTo>
                    <a:pt x="6296598" y="931231"/>
                  </a:lnTo>
                  <a:lnTo>
                    <a:pt x="6208380" y="851053"/>
                  </a:lnTo>
                  <a:lnTo>
                    <a:pt x="6125316" y="773266"/>
                  </a:lnTo>
                  <a:lnTo>
                    <a:pt x="6099430" y="752033"/>
                  </a:lnTo>
                  <a:lnTo>
                    <a:pt x="6045750" y="703245"/>
                  </a:lnTo>
                  <a:lnTo>
                    <a:pt x="5980095" y="654149"/>
                  </a:lnTo>
                  <a:lnTo>
                    <a:pt x="5945069" y="625419"/>
                  </a:lnTo>
                  <a:lnTo>
                    <a:pt x="5866166" y="568954"/>
                  </a:lnTo>
                  <a:lnTo>
                    <a:pt x="5773816" y="499896"/>
                  </a:lnTo>
                  <a:lnTo>
                    <a:pt x="5678803" y="442174"/>
                  </a:lnTo>
                  <a:lnTo>
                    <a:pt x="5556210" y="366164"/>
                  </a:lnTo>
                  <a:lnTo>
                    <a:pt x="5536052" y="355451"/>
                  </a:lnTo>
                  <a:lnTo>
                    <a:pt x="5482571" y="322960"/>
                  </a:lnTo>
                  <a:lnTo>
                    <a:pt x="5400777" y="283558"/>
                  </a:lnTo>
                  <a:lnTo>
                    <a:pt x="5348751" y="255909"/>
                  </a:lnTo>
                  <a:lnTo>
                    <a:pt x="5271147" y="221112"/>
                  </a:lnTo>
                  <a:lnTo>
                    <a:pt x="5173790" y="174213"/>
                  </a:lnTo>
                  <a:cubicBezTo>
                    <a:pt x="5015312" y="107182"/>
                    <a:pt x="4850924" y="51388"/>
                    <a:pt x="4681626" y="7830"/>
                  </a:cubicBezTo>
                  <a:close/>
                  <a:moveTo>
                    <a:pt x="2162446" y="0"/>
                  </a:moveTo>
                  <a:lnTo>
                    <a:pt x="2949957" y="0"/>
                  </a:lnTo>
                  <a:lnTo>
                    <a:pt x="2916032" y="7830"/>
                  </a:lnTo>
                  <a:cubicBezTo>
                    <a:pt x="2746734" y="51388"/>
                    <a:pt x="2582346" y="107182"/>
                    <a:pt x="2423868" y="174213"/>
                  </a:cubicBezTo>
                  <a:lnTo>
                    <a:pt x="2375455" y="197535"/>
                  </a:lnTo>
                  <a:lnTo>
                    <a:pt x="2365440" y="201501"/>
                  </a:lnTo>
                  <a:lnTo>
                    <a:pt x="2300569" y="233609"/>
                  </a:lnTo>
                  <a:lnTo>
                    <a:pt x="2115088" y="322960"/>
                  </a:lnTo>
                  <a:lnTo>
                    <a:pt x="1863446" y="475836"/>
                  </a:lnTo>
                  <a:lnTo>
                    <a:pt x="1860205" y="477785"/>
                  </a:lnTo>
                  <a:lnTo>
                    <a:pt x="1860025" y="477915"/>
                  </a:lnTo>
                  <a:lnTo>
                    <a:pt x="1823843" y="499896"/>
                  </a:lnTo>
                  <a:lnTo>
                    <a:pt x="1690354" y="599717"/>
                  </a:lnTo>
                  <a:lnTo>
                    <a:pt x="1627429" y="644889"/>
                  </a:lnTo>
                  <a:lnTo>
                    <a:pt x="1608663" y="660805"/>
                  </a:lnTo>
                  <a:lnTo>
                    <a:pt x="1551908" y="703245"/>
                  </a:lnTo>
                  <a:lnTo>
                    <a:pt x="1458256" y="788362"/>
                  </a:lnTo>
                  <a:lnTo>
                    <a:pt x="1409302" y="829879"/>
                  </a:lnTo>
                  <a:lnTo>
                    <a:pt x="1375552" y="863529"/>
                  </a:lnTo>
                  <a:lnTo>
                    <a:pt x="1301060" y="931231"/>
                  </a:lnTo>
                  <a:lnTo>
                    <a:pt x="1237457" y="1001213"/>
                  </a:lnTo>
                  <a:lnTo>
                    <a:pt x="1206889" y="1031689"/>
                  </a:lnTo>
                  <a:lnTo>
                    <a:pt x="1162896" y="1083250"/>
                  </a:lnTo>
                  <a:lnTo>
                    <a:pt x="1073074" y="1182079"/>
                  </a:lnTo>
                  <a:lnTo>
                    <a:pt x="1034080" y="1234225"/>
                  </a:lnTo>
                  <a:lnTo>
                    <a:pt x="1021257" y="1249253"/>
                  </a:lnTo>
                  <a:lnTo>
                    <a:pt x="976117" y="1311738"/>
                  </a:lnTo>
                  <a:lnTo>
                    <a:pt x="869725" y="1454013"/>
                  </a:lnTo>
                  <a:cubicBezTo>
                    <a:pt x="806246" y="1547975"/>
                    <a:pt x="747169" y="1645156"/>
                    <a:pt x="692789" y="1745259"/>
                  </a:cubicBezTo>
                  <a:lnTo>
                    <a:pt x="610933" y="1915182"/>
                  </a:lnTo>
                  <a:lnTo>
                    <a:pt x="575706" y="1985812"/>
                  </a:lnTo>
                  <a:lnTo>
                    <a:pt x="569857" y="2000450"/>
                  </a:lnTo>
                  <a:lnTo>
                    <a:pt x="544042" y="2054039"/>
                  </a:lnTo>
                  <a:lnTo>
                    <a:pt x="496009" y="2185276"/>
                  </a:lnTo>
                  <a:lnTo>
                    <a:pt x="467857" y="2255733"/>
                  </a:lnTo>
                  <a:lnTo>
                    <a:pt x="455842" y="2295020"/>
                  </a:lnTo>
                  <a:lnTo>
                    <a:pt x="425259" y="2378579"/>
                  </a:lnTo>
                  <a:lnTo>
                    <a:pt x="398714" y="2481816"/>
                  </a:lnTo>
                  <a:lnTo>
                    <a:pt x="382119" y="2536079"/>
                  </a:lnTo>
                  <a:lnTo>
                    <a:pt x="368259" y="2600260"/>
                  </a:lnTo>
                  <a:lnTo>
                    <a:pt x="338216" y="2717103"/>
                  </a:lnTo>
                  <a:lnTo>
                    <a:pt x="326621" y="2793072"/>
                  </a:lnTo>
                  <a:lnTo>
                    <a:pt x="319558" y="2825782"/>
                  </a:lnTo>
                  <a:lnTo>
                    <a:pt x="308473" y="2911989"/>
                  </a:lnTo>
                  <a:lnTo>
                    <a:pt x="284688" y="3067835"/>
                  </a:lnTo>
                  <a:lnTo>
                    <a:pt x="282266" y="3115792"/>
                  </a:lnTo>
                  <a:lnTo>
                    <a:pt x="281239" y="3123778"/>
                  </a:lnTo>
                  <a:lnTo>
                    <a:pt x="277862" y="3203005"/>
                  </a:lnTo>
                  <a:lnTo>
                    <a:pt x="266450" y="3429000"/>
                  </a:lnTo>
                  <a:lnTo>
                    <a:pt x="277862" y="3654994"/>
                  </a:lnTo>
                  <a:lnTo>
                    <a:pt x="281239" y="3734222"/>
                  </a:lnTo>
                  <a:lnTo>
                    <a:pt x="282266" y="3742209"/>
                  </a:lnTo>
                  <a:lnTo>
                    <a:pt x="284688" y="3790165"/>
                  </a:lnTo>
                  <a:lnTo>
                    <a:pt x="308472" y="3946009"/>
                  </a:lnTo>
                  <a:lnTo>
                    <a:pt x="319558" y="4032218"/>
                  </a:lnTo>
                  <a:lnTo>
                    <a:pt x="326622" y="4064929"/>
                  </a:lnTo>
                  <a:lnTo>
                    <a:pt x="338216" y="4140898"/>
                  </a:lnTo>
                  <a:lnTo>
                    <a:pt x="368259" y="4257739"/>
                  </a:lnTo>
                  <a:lnTo>
                    <a:pt x="382119" y="4321922"/>
                  </a:lnTo>
                  <a:lnTo>
                    <a:pt x="398715" y="4376187"/>
                  </a:lnTo>
                  <a:lnTo>
                    <a:pt x="425259" y="4479422"/>
                  </a:lnTo>
                  <a:lnTo>
                    <a:pt x="455841" y="4562978"/>
                  </a:lnTo>
                  <a:lnTo>
                    <a:pt x="467857" y="4602268"/>
                  </a:lnTo>
                  <a:lnTo>
                    <a:pt x="496011" y="4672730"/>
                  </a:lnTo>
                  <a:lnTo>
                    <a:pt x="544042" y="4803962"/>
                  </a:lnTo>
                  <a:lnTo>
                    <a:pt x="569856" y="4857548"/>
                  </a:lnTo>
                  <a:lnTo>
                    <a:pt x="575706" y="4872189"/>
                  </a:lnTo>
                  <a:lnTo>
                    <a:pt x="610939" y="4942832"/>
                  </a:lnTo>
                  <a:lnTo>
                    <a:pt x="692789" y="5112742"/>
                  </a:lnTo>
                  <a:cubicBezTo>
                    <a:pt x="747169" y="5212845"/>
                    <a:pt x="806246" y="5310025"/>
                    <a:pt x="869725" y="5403987"/>
                  </a:cubicBezTo>
                  <a:lnTo>
                    <a:pt x="976106" y="5546248"/>
                  </a:lnTo>
                  <a:lnTo>
                    <a:pt x="1021257" y="5608747"/>
                  </a:lnTo>
                  <a:lnTo>
                    <a:pt x="1034083" y="5623780"/>
                  </a:lnTo>
                  <a:lnTo>
                    <a:pt x="1073074" y="5675921"/>
                  </a:lnTo>
                  <a:lnTo>
                    <a:pt x="1162889" y="5774742"/>
                  </a:lnTo>
                  <a:lnTo>
                    <a:pt x="1206889" y="5826312"/>
                  </a:lnTo>
                  <a:lnTo>
                    <a:pt x="1237462" y="5856794"/>
                  </a:lnTo>
                  <a:lnTo>
                    <a:pt x="1301060" y="5926769"/>
                  </a:lnTo>
                  <a:lnTo>
                    <a:pt x="1375546" y="5994467"/>
                  </a:lnTo>
                  <a:lnTo>
                    <a:pt x="1409302" y="6028122"/>
                  </a:lnTo>
                  <a:lnTo>
                    <a:pt x="1458264" y="6069646"/>
                  </a:lnTo>
                  <a:lnTo>
                    <a:pt x="1551908" y="6154756"/>
                  </a:lnTo>
                  <a:lnTo>
                    <a:pt x="1608657" y="6197192"/>
                  </a:lnTo>
                  <a:lnTo>
                    <a:pt x="1627429" y="6213112"/>
                  </a:lnTo>
                  <a:lnTo>
                    <a:pt x="1690373" y="6258298"/>
                  </a:lnTo>
                  <a:lnTo>
                    <a:pt x="1823843" y="6358104"/>
                  </a:lnTo>
                  <a:lnTo>
                    <a:pt x="1860020" y="6380082"/>
                  </a:lnTo>
                  <a:lnTo>
                    <a:pt x="1860205" y="6380216"/>
                  </a:lnTo>
                  <a:lnTo>
                    <a:pt x="1863538" y="6382220"/>
                  </a:lnTo>
                  <a:lnTo>
                    <a:pt x="2115088" y="6535040"/>
                  </a:lnTo>
                  <a:lnTo>
                    <a:pt x="2300511" y="6624363"/>
                  </a:lnTo>
                  <a:lnTo>
                    <a:pt x="2365440" y="6656500"/>
                  </a:lnTo>
                  <a:lnTo>
                    <a:pt x="2375464" y="6660470"/>
                  </a:lnTo>
                  <a:lnTo>
                    <a:pt x="2423868" y="6683787"/>
                  </a:lnTo>
                  <a:cubicBezTo>
                    <a:pt x="2582346" y="6750818"/>
                    <a:pt x="2746734" y="6806612"/>
                    <a:pt x="2916032" y="6850171"/>
                  </a:cubicBezTo>
                  <a:lnTo>
                    <a:pt x="2949957" y="6858000"/>
                  </a:lnTo>
                  <a:lnTo>
                    <a:pt x="2162446" y="6858000"/>
                  </a:lnTo>
                  <a:lnTo>
                    <a:pt x="2151880" y="6853223"/>
                  </a:lnTo>
                  <a:cubicBezTo>
                    <a:pt x="878633" y="6239710"/>
                    <a:pt x="0" y="4936963"/>
                    <a:pt x="0" y="3429000"/>
                  </a:cubicBezTo>
                  <a:cubicBezTo>
                    <a:pt x="0" y="1921037"/>
                    <a:pt x="878633" y="618290"/>
                    <a:pt x="2151880" y="4777"/>
                  </a:cubicBezTo>
                  <a:close/>
                </a:path>
              </a:pathLst>
            </a:custGeom>
            <a:solidFill>
              <a:schemeClr val="accent2"/>
            </a:solidFill>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400">
                <a:solidFill>
                  <a:schemeClr val="accent6"/>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16" name="e09db3f0-6e02-44e0-9dd8-3eaaa4d6d991">
            <a:extLst>
              <a:ext uri="{FF2B5EF4-FFF2-40B4-BE49-F238E27FC236}">
                <a16:creationId xmlns:a16="http://schemas.microsoft.com/office/drawing/2014/main" id="{EC36045C-2F27-4D1F-8FC2-77CB5C497B18}"/>
              </a:ext>
            </a:extLst>
          </p:cNvPr>
          <p:cNvSpPr txBox="1"/>
          <p:nvPr/>
        </p:nvSpPr>
        <p:spPr>
          <a:xfrm>
            <a:off x="467784" y="6677739"/>
            <a:ext cx="769441" cy="123111"/>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pPr>
            <a:r>
              <a:rPr lang="en-GB" sz="800">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12" name="Title 1"/>
          <p:cNvSpPr>
            <a:spLocks noGrp="1"/>
          </p:cNvSpPr>
          <p:nvPr>
            <p:ph type="ctrTitle" hasCustomPrompt="1"/>
          </p:nvPr>
        </p:nvSpPr>
        <p:spPr>
          <a:xfrm>
            <a:off x="391584" y="3677095"/>
            <a:ext cx="5158316" cy="1046440"/>
          </a:xfrm>
          <a:prstGeom prst="rect">
            <a:avLst/>
          </a:prstGeom>
        </p:spPr>
        <p:txBody>
          <a:bodyPr vert="horz" lIns="0" rIns="0" anchor="b" anchorCtr="0">
            <a:spAutoFit/>
          </a:bodyPr>
          <a:lstStyle>
            <a:lvl1pPr>
              <a:lnSpc>
                <a:spcPct val="100000"/>
              </a:lnSpc>
              <a:defRPr sz="34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Presentation title </a:t>
            </a:r>
            <a:br>
              <a:rPr lang="en-GB"/>
            </a:br>
            <a:r>
              <a:rPr lang="en-GB" err="1"/>
              <a:t>Lato</a:t>
            </a:r>
            <a:r>
              <a:rPr lang="en-GB"/>
              <a:t> </a:t>
            </a:r>
            <a:r>
              <a:rPr lang="en-GB" err="1"/>
              <a:t>34pt</a:t>
            </a:r>
            <a:r>
              <a:rPr lang="en-GB"/>
              <a:t> (max. 2 lines)</a:t>
            </a:r>
          </a:p>
        </p:txBody>
      </p:sp>
      <p:sp>
        <p:nvSpPr>
          <p:cNvPr id="14" name="Text Placeholder 3"/>
          <p:cNvSpPr>
            <a:spLocks noGrp="1"/>
          </p:cNvSpPr>
          <p:nvPr>
            <p:ph type="body" sz="quarter" idx="11" hasCustomPrompt="1"/>
          </p:nvPr>
        </p:nvSpPr>
        <p:spPr>
          <a:xfrm>
            <a:off x="391585" y="4892984"/>
            <a:ext cx="5158316" cy="595035"/>
          </a:xfrm>
          <a:prstGeom prst="rect">
            <a:avLst/>
          </a:prstGeom>
        </p:spPr>
        <p:txBody>
          <a:bodyPr lIns="0">
            <a:spAutoFit/>
          </a:bodyPr>
          <a:lstStyle>
            <a:lvl1pPr marL="0" indent="0">
              <a:lnSpc>
                <a:spcPct val="100000"/>
              </a:lnSpc>
              <a:buNone/>
              <a:defRPr sz="16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 Author (max. 2 lines)</a:t>
            </a:r>
          </a:p>
          <a:p>
            <a:pPr lvl="0"/>
            <a:r>
              <a:rPr lang="en-GB"/>
              <a:t>Location, Date</a:t>
            </a:r>
          </a:p>
        </p:txBody>
      </p:sp>
      <p:pic>
        <p:nvPicPr>
          <p:cNvPr id="20" name="Graphic 19">
            <a:extLst>
              <a:ext uri="{FF2B5EF4-FFF2-40B4-BE49-F238E27FC236}">
                <a16:creationId xmlns:a16="http://schemas.microsoft.com/office/drawing/2014/main" id="{F7835C38-364E-4B2E-9335-5D86F8C053E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91584" y="655042"/>
            <a:ext cx="2053960" cy="479708"/>
          </a:xfrm>
          <a:prstGeom prst="rect">
            <a:avLst/>
          </a:prstGeom>
        </p:spPr>
      </p:pic>
    </p:spTree>
    <p:extLst>
      <p:ext uri="{BB962C8B-B14F-4D97-AF65-F5344CB8AC3E}">
        <p14:creationId xmlns:p14="http://schemas.microsoft.com/office/powerpoint/2010/main" val="240187959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Title Slide_Aurora only">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492" imgH="504" progId="TCLayout.ActiveDocument.1">
                  <p:embed/>
                </p:oleObj>
              </mc:Choice>
              <mc:Fallback>
                <p:oleObj name="think-cell Slide" r:id="rId5" imgW="492" imgH="504" progId="TCLayout.ActiveDocument.1">
                  <p:embed/>
                  <p:pic>
                    <p:nvPicPr>
                      <p:cNvPr id="18" name="Object 17"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D08E92-02C7-40C9-B7CC-A2066E47388E}"/>
              </a:ext>
            </a:extLst>
          </p:cNvPr>
          <p:cNvSpPr/>
          <p:nvPr userDrawn="1">
            <p:custDataLst>
              <p:tags r:id="rId2"/>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spcBef>
                <a:spcPts val="600"/>
              </a:spcBef>
            </a:pPr>
            <a:endParaRPr lang="en-GB" sz="3400" b="1" i="0" baseline="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8" name="07c27c03-86d7-43f9-a4a8-0264cf953919">
            <a:extLst>
              <a:ext uri="{FF2B5EF4-FFF2-40B4-BE49-F238E27FC236}">
                <a16:creationId xmlns:a16="http://schemas.microsoft.com/office/drawing/2014/main" id="{1FC626AE-19AB-4933-9C18-1AA73CB968B5}"/>
              </a:ext>
            </a:extLst>
          </p:cNvPr>
          <p:cNvGrpSpPr/>
          <p:nvPr/>
        </p:nvGrpSpPr>
        <p:grpSpPr>
          <a:xfrm>
            <a:off x="0" y="0"/>
            <a:ext cx="12192000" cy="6858000"/>
            <a:chOff x="0" y="0"/>
            <a:chExt cx="12192000" cy="6858000"/>
          </a:xfrm>
        </p:grpSpPr>
        <p:sp>
          <p:nvSpPr>
            <p:cNvPr id="10" name="Freeform: Shape 9">
              <a:extLst>
                <a:ext uri="{FF2B5EF4-FFF2-40B4-BE49-F238E27FC236}">
                  <a16:creationId xmlns:a16="http://schemas.microsoft.com/office/drawing/2014/main" id="{A18F3B72-2D96-4D16-B281-7A01BFE5536D}"/>
                </a:ext>
              </a:extLst>
            </p:cNvPr>
            <p:cNvSpPr/>
            <p:nvPr/>
          </p:nvSpPr>
          <p:spPr>
            <a:xfrm>
              <a:off x="0" y="0"/>
              <a:ext cx="12192000" cy="6858000"/>
            </a:xfrm>
            <a:custGeom>
              <a:avLst/>
              <a:gdLst>
                <a:gd name="connsiteX0" fmla="*/ 12192000 w 12192000"/>
                <a:gd name="connsiteY0" fmla="*/ 5903927 h 6858000"/>
                <a:gd name="connsiteX1" fmla="*/ 12192000 w 12192000"/>
                <a:gd name="connsiteY1" fmla="*/ 6858000 h 6858000"/>
                <a:gd name="connsiteX2" fmla="*/ 10516834 w 12192000"/>
                <a:gd name="connsiteY2" fmla="*/ 6858000 h 6858000"/>
                <a:gd name="connsiteX3" fmla="*/ 10558223 w 12192000"/>
                <a:gd name="connsiteY3" fmla="*/ 6848448 h 6858000"/>
                <a:gd name="connsiteX4" fmla="*/ 12172382 w 12192000"/>
                <a:gd name="connsiteY4" fmla="*/ 5925512 h 6858000"/>
                <a:gd name="connsiteX5" fmla="*/ 10516834 w 12192000"/>
                <a:gd name="connsiteY5" fmla="*/ 0 h 6858000"/>
                <a:gd name="connsiteX6" fmla="*/ 12192000 w 12192000"/>
                <a:gd name="connsiteY6" fmla="*/ 0 h 6858000"/>
                <a:gd name="connsiteX7" fmla="*/ 12192000 w 12192000"/>
                <a:gd name="connsiteY7" fmla="*/ 954074 h 6858000"/>
                <a:gd name="connsiteX8" fmla="*/ 12172382 w 12192000"/>
                <a:gd name="connsiteY8" fmla="*/ 932489 h 6858000"/>
                <a:gd name="connsiteX9" fmla="*/ 10558223 w 12192000"/>
                <a:gd name="connsiteY9" fmla="*/ 9553 h 6858000"/>
                <a:gd name="connsiteX10" fmla="*/ 0 w 12192000"/>
                <a:gd name="connsiteY10" fmla="*/ 0 h 6858000"/>
                <a:gd name="connsiteX11" fmla="*/ 8834908 w 12192000"/>
                <a:gd name="connsiteY11" fmla="*/ 0 h 6858000"/>
                <a:gd name="connsiteX12" fmla="*/ 8793519 w 12192000"/>
                <a:gd name="connsiteY12" fmla="*/ 9553 h 6858000"/>
                <a:gd name="connsiteX13" fmla="*/ 6145271 w 12192000"/>
                <a:gd name="connsiteY13" fmla="*/ 3429000 h 6858000"/>
                <a:gd name="connsiteX14" fmla="*/ 8793519 w 12192000"/>
                <a:gd name="connsiteY14" fmla="*/ 6848448 h 6858000"/>
                <a:gd name="connsiteX15" fmla="*/ 8834908 w 12192000"/>
                <a:gd name="connsiteY15" fmla="*/ 6858000 h 6858000"/>
                <a:gd name="connsiteX16" fmla="*/ 0 w 12192000"/>
                <a:gd name="connsiteY1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192000" h="6858000">
                  <a:moveTo>
                    <a:pt x="12192000" y="5903927"/>
                  </a:moveTo>
                  <a:lnTo>
                    <a:pt x="12192000" y="6858000"/>
                  </a:lnTo>
                  <a:lnTo>
                    <a:pt x="10516834" y="6858000"/>
                  </a:lnTo>
                  <a:lnTo>
                    <a:pt x="10558223" y="6848448"/>
                  </a:lnTo>
                  <a:cubicBezTo>
                    <a:pt x="11178673" y="6688813"/>
                    <a:pt x="11733130" y="6364764"/>
                    <a:pt x="12172382" y="5925512"/>
                  </a:cubicBezTo>
                  <a:close/>
                  <a:moveTo>
                    <a:pt x="10516834" y="0"/>
                  </a:moveTo>
                  <a:lnTo>
                    <a:pt x="12192000" y="0"/>
                  </a:lnTo>
                  <a:lnTo>
                    <a:pt x="12192000" y="954074"/>
                  </a:lnTo>
                  <a:lnTo>
                    <a:pt x="12172382" y="932489"/>
                  </a:lnTo>
                  <a:cubicBezTo>
                    <a:pt x="11733130" y="493236"/>
                    <a:pt x="11178673" y="169187"/>
                    <a:pt x="10558223" y="9553"/>
                  </a:cubicBezTo>
                  <a:close/>
                  <a:moveTo>
                    <a:pt x="0" y="0"/>
                  </a:moveTo>
                  <a:lnTo>
                    <a:pt x="8834908" y="0"/>
                  </a:lnTo>
                  <a:lnTo>
                    <a:pt x="8793519" y="9553"/>
                  </a:lnTo>
                  <a:cubicBezTo>
                    <a:pt x="7270596" y="401383"/>
                    <a:pt x="6145271" y="1783775"/>
                    <a:pt x="6145271" y="3429000"/>
                  </a:cubicBezTo>
                  <a:cubicBezTo>
                    <a:pt x="6145271" y="5074226"/>
                    <a:pt x="7270596" y="6456617"/>
                    <a:pt x="8793519" y="6848448"/>
                  </a:cubicBezTo>
                  <a:lnTo>
                    <a:pt x="8834908" y="6858000"/>
                  </a:lnTo>
                  <a:lnTo>
                    <a:pt x="0" y="6858000"/>
                  </a:lnTo>
                  <a:close/>
                </a:path>
              </a:pathLst>
            </a:custGeom>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400">
                <a:solidFill>
                  <a:schemeClr val="accent6"/>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 name="Freeform: Shape 10">
              <a:extLst>
                <a:ext uri="{FF2B5EF4-FFF2-40B4-BE49-F238E27FC236}">
                  <a16:creationId xmlns:a16="http://schemas.microsoft.com/office/drawing/2014/main" id="{A4569E97-E2DB-4177-A1BA-8C69D20EF9B6}"/>
                </a:ext>
              </a:extLst>
            </p:cNvPr>
            <p:cNvSpPr>
              <a:spLocks/>
            </p:cNvSpPr>
            <p:nvPr/>
          </p:nvSpPr>
          <p:spPr>
            <a:xfrm>
              <a:off x="5877042" y="0"/>
              <a:ext cx="6314958" cy="6858000"/>
            </a:xfrm>
            <a:custGeom>
              <a:avLst/>
              <a:gdLst>
                <a:gd name="connsiteX0" fmla="*/ 6314958 w 6314958"/>
                <a:gd name="connsiteY0" fmla="*/ 5906568 h 6858000"/>
                <a:gd name="connsiteX1" fmla="*/ 6314958 w 6314958"/>
                <a:gd name="connsiteY1" fmla="*/ 6269729 h 6858000"/>
                <a:gd name="connsiteX2" fmla="*/ 6215237 w 6314958"/>
                <a:gd name="connsiteY2" fmla="*/ 6360361 h 6858000"/>
                <a:gd name="connsiteX3" fmla="*/ 5445778 w 6314958"/>
                <a:gd name="connsiteY3" fmla="*/ 6853223 h 6858000"/>
                <a:gd name="connsiteX4" fmla="*/ 5435212 w 6314958"/>
                <a:gd name="connsiteY4" fmla="*/ 6858000 h 6858000"/>
                <a:gd name="connsiteX5" fmla="*/ 4647701 w 6314958"/>
                <a:gd name="connsiteY5" fmla="*/ 6858000 h 6858000"/>
                <a:gd name="connsiteX6" fmla="*/ 4681626 w 6314958"/>
                <a:gd name="connsiteY6" fmla="*/ 6850171 h 6858000"/>
                <a:gd name="connsiteX7" fmla="*/ 5173790 w 6314958"/>
                <a:gd name="connsiteY7" fmla="*/ 6683787 h 6858000"/>
                <a:gd name="connsiteX8" fmla="*/ 5271135 w 6314958"/>
                <a:gd name="connsiteY8" fmla="*/ 6636894 h 6858000"/>
                <a:gd name="connsiteX9" fmla="*/ 5348751 w 6314958"/>
                <a:gd name="connsiteY9" fmla="*/ 6602092 h 6858000"/>
                <a:gd name="connsiteX10" fmla="*/ 5400784 w 6314958"/>
                <a:gd name="connsiteY10" fmla="*/ 6574439 h 6858000"/>
                <a:gd name="connsiteX11" fmla="*/ 5482571 w 6314958"/>
                <a:gd name="connsiteY11" fmla="*/ 6535040 h 6858000"/>
                <a:gd name="connsiteX12" fmla="*/ 5536048 w 6314958"/>
                <a:gd name="connsiteY12" fmla="*/ 6502552 h 6858000"/>
                <a:gd name="connsiteX13" fmla="*/ 5556210 w 6314958"/>
                <a:gd name="connsiteY13" fmla="*/ 6491837 h 6858000"/>
                <a:gd name="connsiteX14" fmla="*/ 5678830 w 6314958"/>
                <a:gd name="connsiteY14" fmla="*/ 6415809 h 6858000"/>
                <a:gd name="connsiteX15" fmla="*/ 5773816 w 6314958"/>
                <a:gd name="connsiteY15" fmla="*/ 6358104 h 6858000"/>
                <a:gd name="connsiteX16" fmla="*/ 5866153 w 6314958"/>
                <a:gd name="connsiteY16" fmla="*/ 6289055 h 6858000"/>
                <a:gd name="connsiteX17" fmla="*/ 5945069 w 6314958"/>
                <a:gd name="connsiteY17" fmla="*/ 6232582 h 6858000"/>
                <a:gd name="connsiteX18" fmla="*/ 5980102 w 6314958"/>
                <a:gd name="connsiteY18" fmla="*/ 6203847 h 6858000"/>
                <a:gd name="connsiteX19" fmla="*/ 6045750 w 6314958"/>
                <a:gd name="connsiteY19" fmla="*/ 6154756 h 6858000"/>
                <a:gd name="connsiteX20" fmla="*/ 6099423 w 6314958"/>
                <a:gd name="connsiteY20" fmla="*/ 6105974 h 6858000"/>
                <a:gd name="connsiteX21" fmla="*/ 6125316 w 6314958"/>
                <a:gd name="connsiteY21" fmla="*/ 6084735 h 6858000"/>
                <a:gd name="connsiteX22" fmla="*/ 6208411 w 6314958"/>
                <a:gd name="connsiteY22" fmla="*/ 6006920 h 6858000"/>
                <a:gd name="connsiteX23" fmla="*/ 6296598 w 6314958"/>
                <a:gd name="connsiteY23" fmla="*/ 5926769 h 6858000"/>
                <a:gd name="connsiteX24" fmla="*/ 4647701 w 6314958"/>
                <a:gd name="connsiteY24" fmla="*/ 0 h 6858000"/>
                <a:gd name="connsiteX25" fmla="*/ 5435212 w 6314958"/>
                <a:gd name="connsiteY25" fmla="*/ 0 h 6858000"/>
                <a:gd name="connsiteX26" fmla="*/ 5445778 w 6314958"/>
                <a:gd name="connsiteY26" fmla="*/ 4777 h 6858000"/>
                <a:gd name="connsiteX27" fmla="*/ 6215237 w 6314958"/>
                <a:gd name="connsiteY27" fmla="*/ 497639 h 6858000"/>
                <a:gd name="connsiteX28" fmla="*/ 6314958 w 6314958"/>
                <a:gd name="connsiteY28" fmla="*/ 588272 h 6858000"/>
                <a:gd name="connsiteX29" fmla="*/ 6314958 w 6314958"/>
                <a:gd name="connsiteY29" fmla="*/ 951432 h 6858000"/>
                <a:gd name="connsiteX30" fmla="*/ 6296598 w 6314958"/>
                <a:gd name="connsiteY30" fmla="*/ 931231 h 6858000"/>
                <a:gd name="connsiteX31" fmla="*/ 6208380 w 6314958"/>
                <a:gd name="connsiteY31" fmla="*/ 851053 h 6858000"/>
                <a:gd name="connsiteX32" fmla="*/ 6125316 w 6314958"/>
                <a:gd name="connsiteY32" fmla="*/ 773266 h 6858000"/>
                <a:gd name="connsiteX33" fmla="*/ 6099430 w 6314958"/>
                <a:gd name="connsiteY33" fmla="*/ 752033 h 6858000"/>
                <a:gd name="connsiteX34" fmla="*/ 6045750 w 6314958"/>
                <a:gd name="connsiteY34" fmla="*/ 703245 h 6858000"/>
                <a:gd name="connsiteX35" fmla="*/ 5980095 w 6314958"/>
                <a:gd name="connsiteY35" fmla="*/ 654149 h 6858000"/>
                <a:gd name="connsiteX36" fmla="*/ 5945069 w 6314958"/>
                <a:gd name="connsiteY36" fmla="*/ 625419 h 6858000"/>
                <a:gd name="connsiteX37" fmla="*/ 5866166 w 6314958"/>
                <a:gd name="connsiteY37" fmla="*/ 568954 h 6858000"/>
                <a:gd name="connsiteX38" fmla="*/ 5773816 w 6314958"/>
                <a:gd name="connsiteY38" fmla="*/ 499896 h 6858000"/>
                <a:gd name="connsiteX39" fmla="*/ 5678803 w 6314958"/>
                <a:gd name="connsiteY39" fmla="*/ 442174 h 6858000"/>
                <a:gd name="connsiteX40" fmla="*/ 5556210 w 6314958"/>
                <a:gd name="connsiteY40" fmla="*/ 366164 h 6858000"/>
                <a:gd name="connsiteX41" fmla="*/ 5536052 w 6314958"/>
                <a:gd name="connsiteY41" fmla="*/ 355451 h 6858000"/>
                <a:gd name="connsiteX42" fmla="*/ 5482571 w 6314958"/>
                <a:gd name="connsiteY42" fmla="*/ 322960 h 6858000"/>
                <a:gd name="connsiteX43" fmla="*/ 5400777 w 6314958"/>
                <a:gd name="connsiteY43" fmla="*/ 283558 h 6858000"/>
                <a:gd name="connsiteX44" fmla="*/ 5348751 w 6314958"/>
                <a:gd name="connsiteY44" fmla="*/ 255909 h 6858000"/>
                <a:gd name="connsiteX45" fmla="*/ 5271147 w 6314958"/>
                <a:gd name="connsiteY45" fmla="*/ 221112 h 6858000"/>
                <a:gd name="connsiteX46" fmla="*/ 5173790 w 6314958"/>
                <a:gd name="connsiteY46" fmla="*/ 174213 h 6858000"/>
                <a:gd name="connsiteX47" fmla="*/ 4681626 w 6314958"/>
                <a:gd name="connsiteY47" fmla="*/ 7830 h 6858000"/>
                <a:gd name="connsiteX48" fmla="*/ 2162446 w 6314958"/>
                <a:gd name="connsiteY48" fmla="*/ 0 h 6858000"/>
                <a:gd name="connsiteX49" fmla="*/ 2949957 w 6314958"/>
                <a:gd name="connsiteY49" fmla="*/ 0 h 6858000"/>
                <a:gd name="connsiteX50" fmla="*/ 2916032 w 6314958"/>
                <a:gd name="connsiteY50" fmla="*/ 7830 h 6858000"/>
                <a:gd name="connsiteX51" fmla="*/ 2423868 w 6314958"/>
                <a:gd name="connsiteY51" fmla="*/ 174213 h 6858000"/>
                <a:gd name="connsiteX52" fmla="*/ 2375455 w 6314958"/>
                <a:gd name="connsiteY52" fmla="*/ 197535 h 6858000"/>
                <a:gd name="connsiteX53" fmla="*/ 2365440 w 6314958"/>
                <a:gd name="connsiteY53" fmla="*/ 201501 h 6858000"/>
                <a:gd name="connsiteX54" fmla="*/ 2300569 w 6314958"/>
                <a:gd name="connsiteY54" fmla="*/ 233609 h 6858000"/>
                <a:gd name="connsiteX55" fmla="*/ 2115088 w 6314958"/>
                <a:gd name="connsiteY55" fmla="*/ 322960 h 6858000"/>
                <a:gd name="connsiteX56" fmla="*/ 1863446 w 6314958"/>
                <a:gd name="connsiteY56" fmla="*/ 475836 h 6858000"/>
                <a:gd name="connsiteX57" fmla="*/ 1860205 w 6314958"/>
                <a:gd name="connsiteY57" fmla="*/ 477785 h 6858000"/>
                <a:gd name="connsiteX58" fmla="*/ 1860025 w 6314958"/>
                <a:gd name="connsiteY58" fmla="*/ 477915 h 6858000"/>
                <a:gd name="connsiteX59" fmla="*/ 1823843 w 6314958"/>
                <a:gd name="connsiteY59" fmla="*/ 499896 h 6858000"/>
                <a:gd name="connsiteX60" fmla="*/ 1690354 w 6314958"/>
                <a:gd name="connsiteY60" fmla="*/ 599717 h 6858000"/>
                <a:gd name="connsiteX61" fmla="*/ 1627429 w 6314958"/>
                <a:gd name="connsiteY61" fmla="*/ 644889 h 6858000"/>
                <a:gd name="connsiteX62" fmla="*/ 1608663 w 6314958"/>
                <a:gd name="connsiteY62" fmla="*/ 660805 h 6858000"/>
                <a:gd name="connsiteX63" fmla="*/ 1551908 w 6314958"/>
                <a:gd name="connsiteY63" fmla="*/ 703245 h 6858000"/>
                <a:gd name="connsiteX64" fmla="*/ 1458256 w 6314958"/>
                <a:gd name="connsiteY64" fmla="*/ 788362 h 6858000"/>
                <a:gd name="connsiteX65" fmla="*/ 1409302 w 6314958"/>
                <a:gd name="connsiteY65" fmla="*/ 829879 h 6858000"/>
                <a:gd name="connsiteX66" fmla="*/ 1375552 w 6314958"/>
                <a:gd name="connsiteY66" fmla="*/ 863529 h 6858000"/>
                <a:gd name="connsiteX67" fmla="*/ 1301060 w 6314958"/>
                <a:gd name="connsiteY67" fmla="*/ 931231 h 6858000"/>
                <a:gd name="connsiteX68" fmla="*/ 1237457 w 6314958"/>
                <a:gd name="connsiteY68" fmla="*/ 1001213 h 6858000"/>
                <a:gd name="connsiteX69" fmla="*/ 1206889 w 6314958"/>
                <a:gd name="connsiteY69" fmla="*/ 1031689 h 6858000"/>
                <a:gd name="connsiteX70" fmla="*/ 1162896 w 6314958"/>
                <a:gd name="connsiteY70" fmla="*/ 1083250 h 6858000"/>
                <a:gd name="connsiteX71" fmla="*/ 1073074 w 6314958"/>
                <a:gd name="connsiteY71" fmla="*/ 1182079 h 6858000"/>
                <a:gd name="connsiteX72" fmla="*/ 1034080 w 6314958"/>
                <a:gd name="connsiteY72" fmla="*/ 1234225 h 6858000"/>
                <a:gd name="connsiteX73" fmla="*/ 1021257 w 6314958"/>
                <a:gd name="connsiteY73" fmla="*/ 1249253 h 6858000"/>
                <a:gd name="connsiteX74" fmla="*/ 976117 w 6314958"/>
                <a:gd name="connsiteY74" fmla="*/ 1311738 h 6858000"/>
                <a:gd name="connsiteX75" fmla="*/ 869725 w 6314958"/>
                <a:gd name="connsiteY75" fmla="*/ 1454013 h 6858000"/>
                <a:gd name="connsiteX76" fmla="*/ 692789 w 6314958"/>
                <a:gd name="connsiteY76" fmla="*/ 1745259 h 6858000"/>
                <a:gd name="connsiteX77" fmla="*/ 610933 w 6314958"/>
                <a:gd name="connsiteY77" fmla="*/ 1915182 h 6858000"/>
                <a:gd name="connsiteX78" fmla="*/ 575706 w 6314958"/>
                <a:gd name="connsiteY78" fmla="*/ 1985812 h 6858000"/>
                <a:gd name="connsiteX79" fmla="*/ 569857 w 6314958"/>
                <a:gd name="connsiteY79" fmla="*/ 2000450 h 6858000"/>
                <a:gd name="connsiteX80" fmla="*/ 544042 w 6314958"/>
                <a:gd name="connsiteY80" fmla="*/ 2054039 h 6858000"/>
                <a:gd name="connsiteX81" fmla="*/ 496009 w 6314958"/>
                <a:gd name="connsiteY81" fmla="*/ 2185276 h 6858000"/>
                <a:gd name="connsiteX82" fmla="*/ 467857 w 6314958"/>
                <a:gd name="connsiteY82" fmla="*/ 2255733 h 6858000"/>
                <a:gd name="connsiteX83" fmla="*/ 455842 w 6314958"/>
                <a:gd name="connsiteY83" fmla="*/ 2295020 h 6858000"/>
                <a:gd name="connsiteX84" fmla="*/ 425259 w 6314958"/>
                <a:gd name="connsiteY84" fmla="*/ 2378579 h 6858000"/>
                <a:gd name="connsiteX85" fmla="*/ 398714 w 6314958"/>
                <a:gd name="connsiteY85" fmla="*/ 2481816 h 6858000"/>
                <a:gd name="connsiteX86" fmla="*/ 382119 w 6314958"/>
                <a:gd name="connsiteY86" fmla="*/ 2536079 h 6858000"/>
                <a:gd name="connsiteX87" fmla="*/ 368259 w 6314958"/>
                <a:gd name="connsiteY87" fmla="*/ 2600260 h 6858000"/>
                <a:gd name="connsiteX88" fmla="*/ 338216 w 6314958"/>
                <a:gd name="connsiteY88" fmla="*/ 2717103 h 6858000"/>
                <a:gd name="connsiteX89" fmla="*/ 326621 w 6314958"/>
                <a:gd name="connsiteY89" fmla="*/ 2793072 h 6858000"/>
                <a:gd name="connsiteX90" fmla="*/ 319558 w 6314958"/>
                <a:gd name="connsiteY90" fmla="*/ 2825782 h 6858000"/>
                <a:gd name="connsiteX91" fmla="*/ 308473 w 6314958"/>
                <a:gd name="connsiteY91" fmla="*/ 2911989 h 6858000"/>
                <a:gd name="connsiteX92" fmla="*/ 284688 w 6314958"/>
                <a:gd name="connsiteY92" fmla="*/ 3067835 h 6858000"/>
                <a:gd name="connsiteX93" fmla="*/ 282266 w 6314958"/>
                <a:gd name="connsiteY93" fmla="*/ 3115792 h 6858000"/>
                <a:gd name="connsiteX94" fmla="*/ 281239 w 6314958"/>
                <a:gd name="connsiteY94" fmla="*/ 3123778 h 6858000"/>
                <a:gd name="connsiteX95" fmla="*/ 277862 w 6314958"/>
                <a:gd name="connsiteY95" fmla="*/ 3203005 h 6858000"/>
                <a:gd name="connsiteX96" fmla="*/ 266450 w 6314958"/>
                <a:gd name="connsiteY96" fmla="*/ 3429000 h 6858000"/>
                <a:gd name="connsiteX97" fmla="*/ 277862 w 6314958"/>
                <a:gd name="connsiteY97" fmla="*/ 3654994 h 6858000"/>
                <a:gd name="connsiteX98" fmla="*/ 281239 w 6314958"/>
                <a:gd name="connsiteY98" fmla="*/ 3734222 h 6858000"/>
                <a:gd name="connsiteX99" fmla="*/ 282266 w 6314958"/>
                <a:gd name="connsiteY99" fmla="*/ 3742209 h 6858000"/>
                <a:gd name="connsiteX100" fmla="*/ 284688 w 6314958"/>
                <a:gd name="connsiteY100" fmla="*/ 3790165 h 6858000"/>
                <a:gd name="connsiteX101" fmla="*/ 308472 w 6314958"/>
                <a:gd name="connsiteY101" fmla="*/ 3946009 h 6858000"/>
                <a:gd name="connsiteX102" fmla="*/ 319558 w 6314958"/>
                <a:gd name="connsiteY102" fmla="*/ 4032218 h 6858000"/>
                <a:gd name="connsiteX103" fmla="*/ 326622 w 6314958"/>
                <a:gd name="connsiteY103" fmla="*/ 4064929 h 6858000"/>
                <a:gd name="connsiteX104" fmla="*/ 338216 w 6314958"/>
                <a:gd name="connsiteY104" fmla="*/ 4140898 h 6858000"/>
                <a:gd name="connsiteX105" fmla="*/ 368259 w 6314958"/>
                <a:gd name="connsiteY105" fmla="*/ 4257739 h 6858000"/>
                <a:gd name="connsiteX106" fmla="*/ 382119 w 6314958"/>
                <a:gd name="connsiteY106" fmla="*/ 4321922 h 6858000"/>
                <a:gd name="connsiteX107" fmla="*/ 398715 w 6314958"/>
                <a:gd name="connsiteY107" fmla="*/ 4376187 h 6858000"/>
                <a:gd name="connsiteX108" fmla="*/ 425259 w 6314958"/>
                <a:gd name="connsiteY108" fmla="*/ 4479422 h 6858000"/>
                <a:gd name="connsiteX109" fmla="*/ 455841 w 6314958"/>
                <a:gd name="connsiteY109" fmla="*/ 4562978 h 6858000"/>
                <a:gd name="connsiteX110" fmla="*/ 467857 w 6314958"/>
                <a:gd name="connsiteY110" fmla="*/ 4602268 h 6858000"/>
                <a:gd name="connsiteX111" fmla="*/ 496011 w 6314958"/>
                <a:gd name="connsiteY111" fmla="*/ 4672730 h 6858000"/>
                <a:gd name="connsiteX112" fmla="*/ 544042 w 6314958"/>
                <a:gd name="connsiteY112" fmla="*/ 4803962 h 6858000"/>
                <a:gd name="connsiteX113" fmla="*/ 569856 w 6314958"/>
                <a:gd name="connsiteY113" fmla="*/ 4857548 h 6858000"/>
                <a:gd name="connsiteX114" fmla="*/ 575706 w 6314958"/>
                <a:gd name="connsiteY114" fmla="*/ 4872189 h 6858000"/>
                <a:gd name="connsiteX115" fmla="*/ 610939 w 6314958"/>
                <a:gd name="connsiteY115" fmla="*/ 4942832 h 6858000"/>
                <a:gd name="connsiteX116" fmla="*/ 692789 w 6314958"/>
                <a:gd name="connsiteY116" fmla="*/ 5112742 h 6858000"/>
                <a:gd name="connsiteX117" fmla="*/ 869725 w 6314958"/>
                <a:gd name="connsiteY117" fmla="*/ 5403987 h 6858000"/>
                <a:gd name="connsiteX118" fmla="*/ 976106 w 6314958"/>
                <a:gd name="connsiteY118" fmla="*/ 5546248 h 6858000"/>
                <a:gd name="connsiteX119" fmla="*/ 1021257 w 6314958"/>
                <a:gd name="connsiteY119" fmla="*/ 5608747 h 6858000"/>
                <a:gd name="connsiteX120" fmla="*/ 1034083 w 6314958"/>
                <a:gd name="connsiteY120" fmla="*/ 5623780 h 6858000"/>
                <a:gd name="connsiteX121" fmla="*/ 1073074 w 6314958"/>
                <a:gd name="connsiteY121" fmla="*/ 5675921 h 6858000"/>
                <a:gd name="connsiteX122" fmla="*/ 1162889 w 6314958"/>
                <a:gd name="connsiteY122" fmla="*/ 5774742 h 6858000"/>
                <a:gd name="connsiteX123" fmla="*/ 1206889 w 6314958"/>
                <a:gd name="connsiteY123" fmla="*/ 5826312 h 6858000"/>
                <a:gd name="connsiteX124" fmla="*/ 1237462 w 6314958"/>
                <a:gd name="connsiteY124" fmla="*/ 5856794 h 6858000"/>
                <a:gd name="connsiteX125" fmla="*/ 1301060 w 6314958"/>
                <a:gd name="connsiteY125" fmla="*/ 5926769 h 6858000"/>
                <a:gd name="connsiteX126" fmla="*/ 1375546 w 6314958"/>
                <a:gd name="connsiteY126" fmla="*/ 5994467 h 6858000"/>
                <a:gd name="connsiteX127" fmla="*/ 1409302 w 6314958"/>
                <a:gd name="connsiteY127" fmla="*/ 6028122 h 6858000"/>
                <a:gd name="connsiteX128" fmla="*/ 1458264 w 6314958"/>
                <a:gd name="connsiteY128" fmla="*/ 6069646 h 6858000"/>
                <a:gd name="connsiteX129" fmla="*/ 1551908 w 6314958"/>
                <a:gd name="connsiteY129" fmla="*/ 6154756 h 6858000"/>
                <a:gd name="connsiteX130" fmla="*/ 1608657 w 6314958"/>
                <a:gd name="connsiteY130" fmla="*/ 6197192 h 6858000"/>
                <a:gd name="connsiteX131" fmla="*/ 1627429 w 6314958"/>
                <a:gd name="connsiteY131" fmla="*/ 6213112 h 6858000"/>
                <a:gd name="connsiteX132" fmla="*/ 1690373 w 6314958"/>
                <a:gd name="connsiteY132" fmla="*/ 6258298 h 6858000"/>
                <a:gd name="connsiteX133" fmla="*/ 1823843 w 6314958"/>
                <a:gd name="connsiteY133" fmla="*/ 6358104 h 6858000"/>
                <a:gd name="connsiteX134" fmla="*/ 1860020 w 6314958"/>
                <a:gd name="connsiteY134" fmla="*/ 6380082 h 6858000"/>
                <a:gd name="connsiteX135" fmla="*/ 1860205 w 6314958"/>
                <a:gd name="connsiteY135" fmla="*/ 6380216 h 6858000"/>
                <a:gd name="connsiteX136" fmla="*/ 1863538 w 6314958"/>
                <a:gd name="connsiteY136" fmla="*/ 6382220 h 6858000"/>
                <a:gd name="connsiteX137" fmla="*/ 2115088 w 6314958"/>
                <a:gd name="connsiteY137" fmla="*/ 6535040 h 6858000"/>
                <a:gd name="connsiteX138" fmla="*/ 2300511 w 6314958"/>
                <a:gd name="connsiteY138" fmla="*/ 6624363 h 6858000"/>
                <a:gd name="connsiteX139" fmla="*/ 2365440 w 6314958"/>
                <a:gd name="connsiteY139" fmla="*/ 6656500 h 6858000"/>
                <a:gd name="connsiteX140" fmla="*/ 2375464 w 6314958"/>
                <a:gd name="connsiteY140" fmla="*/ 6660470 h 6858000"/>
                <a:gd name="connsiteX141" fmla="*/ 2423868 w 6314958"/>
                <a:gd name="connsiteY141" fmla="*/ 6683787 h 6858000"/>
                <a:gd name="connsiteX142" fmla="*/ 2916032 w 6314958"/>
                <a:gd name="connsiteY142" fmla="*/ 6850171 h 6858000"/>
                <a:gd name="connsiteX143" fmla="*/ 2949957 w 6314958"/>
                <a:gd name="connsiteY143" fmla="*/ 6858000 h 6858000"/>
                <a:gd name="connsiteX144" fmla="*/ 2162446 w 6314958"/>
                <a:gd name="connsiteY144" fmla="*/ 6858000 h 6858000"/>
                <a:gd name="connsiteX145" fmla="*/ 2151880 w 6314958"/>
                <a:gd name="connsiteY145" fmla="*/ 6853223 h 6858000"/>
                <a:gd name="connsiteX146" fmla="*/ 0 w 6314958"/>
                <a:gd name="connsiteY146" fmla="*/ 3429000 h 6858000"/>
                <a:gd name="connsiteX147" fmla="*/ 2151880 w 6314958"/>
                <a:gd name="connsiteY147" fmla="*/ 477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6314958" h="6858000">
                  <a:moveTo>
                    <a:pt x="6314958" y="5906568"/>
                  </a:moveTo>
                  <a:lnTo>
                    <a:pt x="6314958" y="6269729"/>
                  </a:lnTo>
                  <a:lnTo>
                    <a:pt x="6215237" y="6360361"/>
                  </a:lnTo>
                  <a:cubicBezTo>
                    <a:pt x="5980715" y="6553906"/>
                    <a:pt x="5722571" y="6719851"/>
                    <a:pt x="5445778" y="6853223"/>
                  </a:cubicBezTo>
                  <a:lnTo>
                    <a:pt x="5435212" y="6858000"/>
                  </a:lnTo>
                  <a:lnTo>
                    <a:pt x="4647701" y="6858000"/>
                  </a:lnTo>
                  <a:lnTo>
                    <a:pt x="4681626" y="6850171"/>
                  </a:lnTo>
                  <a:cubicBezTo>
                    <a:pt x="4850924" y="6806612"/>
                    <a:pt x="5015312" y="6750818"/>
                    <a:pt x="5173790" y="6683787"/>
                  </a:cubicBezTo>
                  <a:lnTo>
                    <a:pt x="5271135" y="6636894"/>
                  </a:lnTo>
                  <a:lnTo>
                    <a:pt x="5348751" y="6602092"/>
                  </a:lnTo>
                  <a:lnTo>
                    <a:pt x="5400784" y="6574439"/>
                  </a:lnTo>
                  <a:lnTo>
                    <a:pt x="5482571" y="6535040"/>
                  </a:lnTo>
                  <a:lnTo>
                    <a:pt x="5536048" y="6502552"/>
                  </a:lnTo>
                  <a:lnTo>
                    <a:pt x="5556210" y="6491837"/>
                  </a:lnTo>
                  <a:lnTo>
                    <a:pt x="5678830" y="6415809"/>
                  </a:lnTo>
                  <a:lnTo>
                    <a:pt x="5773816" y="6358104"/>
                  </a:lnTo>
                  <a:lnTo>
                    <a:pt x="5866153" y="6289055"/>
                  </a:lnTo>
                  <a:lnTo>
                    <a:pt x="5945069" y="6232582"/>
                  </a:lnTo>
                  <a:lnTo>
                    <a:pt x="5980102" y="6203847"/>
                  </a:lnTo>
                  <a:lnTo>
                    <a:pt x="6045750" y="6154756"/>
                  </a:lnTo>
                  <a:lnTo>
                    <a:pt x="6099423" y="6105974"/>
                  </a:lnTo>
                  <a:lnTo>
                    <a:pt x="6125316" y="6084735"/>
                  </a:lnTo>
                  <a:lnTo>
                    <a:pt x="6208411" y="6006920"/>
                  </a:lnTo>
                  <a:lnTo>
                    <a:pt x="6296598" y="5926769"/>
                  </a:lnTo>
                  <a:close/>
                  <a:moveTo>
                    <a:pt x="4647701" y="0"/>
                  </a:moveTo>
                  <a:lnTo>
                    <a:pt x="5435212" y="0"/>
                  </a:lnTo>
                  <a:lnTo>
                    <a:pt x="5445778" y="4777"/>
                  </a:lnTo>
                  <a:cubicBezTo>
                    <a:pt x="5722571" y="138149"/>
                    <a:pt x="5980715" y="304094"/>
                    <a:pt x="6215237" y="497639"/>
                  </a:cubicBezTo>
                  <a:lnTo>
                    <a:pt x="6314958" y="588272"/>
                  </a:lnTo>
                  <a:lnTo>
                    <a:pt x="6314958" y="951432"/>
                  </a:lnTo>
                  <a:lnTo>
                    <a:pt x="6296598" y="931231"/>
                  </a:lnTo>
                  <a:lnTo>
                    <a:pt x="6208380" y="851053"/>
                  </a:lnTo>
                  <a:lnTo>
                    <a:pt x="6125316" y="773266"/>
                  </a:lnTo>
                  <a:lnTo>
                    <a:pt x="6099430" y="752033"/>
                  </a:lnTo>
                  <a:lnTo>
                    <a:pt x="6045750" y="703245"/>
                  </a:lnTo>
                  <a:lnTo>
                    <a:pt x="5980095" y="654149"/>
                  </a:lnTo>
                  <a:lnTo>
                    <a:pt x="5945069" y="625419"/>
                  </a:lnTo>
                  <a:lnTo>
                    <a:pt x="5866166" y="568954"/>
                  </a:lnTo>
                  <a:lnTo>
                    <a:pt x="5773816" y="499896"/>
                  </a:lnTo>
                  <a:lnTo>
                    <a:pt x="5678803" y="442174"/>
                  </a:lnTo>
                  <a:lnTo>
                    <a:pt x="5556210" y="366164"/>
                  </a:lnTo>
                  <a:lnTo>
                    <a:pt x="5536052" y="355451"/>
                  </a:lnTo>
                  <a:lnTo>
                    <a:pt x="5482571" y="322960"/>
                  </a:lnTo>
                  <a:lnTo>
                    <a:pt x="5400777" y="283558"/>
                  </a:lnTo>
                  <a:lnTo>
                    <a:pt x="5348751" y="255909"/>
                  </a:lnTo>
                  <a:lnTo>
                    <a:pt x="5271147" y="221112"/>
                  </a:lnTo>
                  <a:lnTo>
                    <a:pt x="5173790" y="174213"/>
                  </a:lnTo>
                  <a:cubicBezTo>
                    <a:pt x="5015312" y="107182"/>
                    <a:pt x="4850924" y="51388"/>
                    <a:pt x="4681626" y="7830"/>
                  </a:cubicBezTo>
                  <a:close/>
                  <a:moveTo>
                    <a:pt x="2162446" y="0"/>
                  </a:moveTo>
                  <a:lnTo>
                    <a:pt x="2949957" y="0"/>
                  </a:lnTo>
                  <a:lnTo>
                    <a:pt x="2916032" y="7830"/>
                  </a:lnTo>
                  <a:cubicBezTo>
                    <a:pt x="2746734" y="51388"/>
                    <a:pt x="2582346" y="107182"/>
                    <a:pt x="2423868" y="174213"/>
                  </a:cubicBezTo>
                  <a:lnTo>
                    <a:pt x="2375455" y="197535"/>
                  </a:lnTo>
                  <a:lnTo>
                    <a:pt x="2365440" y="201501"/>
                  </a:lnTo>
                  <a:lnTo>
                    <a:pt x="2300569" y="233609"/>
                  </a:lnTo>
                  <a:lnTo>
                    <a:pt x="2115088" y="322960"/>
                  </a:lnTo>
                  <a:lnTo>
                    <a:pt x="1863446" y="475836"/>
                  </a:lnTo>
                  <a:lnTo>
                    <a:pt x="1860205" y="477785"/>
                  </a:lnTo>
                  <a:lnTo>
                    <a:pt x="1860025" y="477915"/>
                  </a:lnTo>
                  <a:lnTo>
                    <a:pt x="1823843" y="499896"/>
                  </a:lnTo>
                  <a:lnTo>
                    <a:pt x="1690354" y="599717"/>
                  </a:lnTo>
                  <a:lnTo>
                    <a:pt x="1627429" y="644889"/>
                  </a:lnTo>
                  <a:lnTo>
                    <a:pt x="1608663" y="660805"/>
                  </a:lnTo>
                  <a:lnTo>
                    <a:pt x="1551908" y="703245"/>
                  </a:lnTo>
                  <a:lnTo>
                    <a:pt x="1458256" y="788362"/>
                  </a:lnTo>
                  <a:lnTo>
                    <a:pt x="1409302" y="829879"/>
                  </a:lnTo>
                  <a:lnTo>
                    <a:pt x="1375552" y="863529"/>
                  </a:lnTo>
                  <a:lnTo>
                    <a:pt x="1301060" y="931231"/>
                  </a:lnTo>
                  <a:lnTo>
                    <a:pt x="1237457" y="1001213"/>
                  </a:lnTo>
                  <a:lnTo>
                    <a:pt x="1206889" y="1031689"/>
                  </a:lnTo>
                  <a:lnTo>
                    <a:pt x="1162896" y="1083250"/>
                  </a:lnTo>
                  <a:lnTo>
                    <a:pt x="1073074" y="1182079"/>
                  </a:lnTo>
                  <a:lnTo>
                    <a:pt x="1034080" y="1234225"/>
                  </a:lnTo>
                  <a:lnTo>
                    <a:pt x="1021257" y="1249253"/>
                  </a:lnTo>
                  <a:lnTo>
                    <a:pt x="976117" y="1311738"/>
                  </a:lnTo>
                  <a:lnTo>
                    <a:pt x="869725" y="1454013"/>
                  </a:lnTo>
                  <a:cubicBezTo>
                    <a:pt x="806246" y="1547975"/>
                    <a:pt x="747169" y="1645156"/>
                    <a:pt x="692789" y="1745259"/>
                  </a:cubicBezTo>
                  <a:lnTo>
                    <a:pt x="610933" y="1915182"/>
                  </a:lnTo>
                  <a:lnTo>
                    <a:pt x="575706" y="1985812"/>
                  </a:lnTo>
                  <a:lnTo>
                    <a:pt x="569857" y="2000450"/>
                  </a:lnTo>
                  <a:lnTo>
                    <a:pt x="544042" y="2054039"/>
                  </a:lnTo>
                  <a:lnTo>
                    <a:pt x="496009" y="2185276"/>
                  </a:lnTo>
                  <a:lnTo>
                    <a:pt x="467857" y="2255733"/>
                  </a:lnTo>
                  <a:lnTo>
                    <a:pt x="455842" y="2295020"/>
                  </a:lnTo>
                  <a:lnTo>
                    <a:pt x="425259" y="2378579"/>
                  </a:lnTo>
                  <a:lnTo>
                    <a:pt x="398714" y="2481816"/>
                  </a:lnTo>
                  <a:lnTo>
                    <a:pt x="382119" y="2536079"/>
                  </a:lnTo>
                  <a:lnTo>
                    <a:pt x="368259" y="2600260"/>
                  </a:lnTo>
                  <a:lnTo>
                    <a:pt x="338216" y="2717103"/>
                  </a:lnTo>
                  <a:lnTo>
                    <a:pt x="326621" y="2793072"/>
                  </a:lnTo>
                  <a:lnTo>
                    <a:pt x="319558" y="2825782"/>
                  </a:lnTo>
                  <a:lnTo>
                    <a:pt x="308473" y="2911989"/>
                  </a:lnTo>
                  <a:lnTo>
                    <a:pt x="284688" y="3067835"/>
                  </a:lnTo>
                  <a:lnTo>
                    <a:pt x="282266" y="3115792"/>
                  </a:lnTo>
                  <a:lnTo>
                    <a:pt x="281239" y="3123778"/>
                  </a:lnTo>
                  <a:lnTo>
                    <a:pt x="277862" y="3203005"/>
                  </a:lnTo>
                  <a:lnTo>
                    <a:pt x="266450" y="3429000"/>
                  </a:lnTo>
                  <a:lnTo>
                    <a:pt x="277862" y="3654994"/>
                  </a:lnTo>
                  <a:lnTo>
                    <a:pt x="281239" y="3734222"/>
                  </a:lnTo>
                  <a:lnTo>
                    <a:pt x="282266" y="3742209"/>
                  </a:lnTo>
                  <a:lnTo>
                    <a:pt x="284688" y="3790165"/>
                  </a:lnTo>
                  <a:lnTo>
                    <a:pt x="308472" y="3946009"/>
                  </a:lnTo>
                  <a:lnTo>
                    <a:pt x="319558" y="4032218"/>
                  </a:lnTo>
                  <a:lnTo>
                    <a:pt x="326622" y="4064929"/>
                  </a:lnTo>
                  <a:lnTo>
                    <a:pt x="338216" y="4140898"/>
                  </a:lnTo>
                  <a:lnTo>
                    <a:pt x="368259" y="4257739"/>
                  </a:lnTo>
                  <a:lnTo>
                    <a:pt x="382119" y="4321922"/>
                  </a:lnTo>
                  <a:lnTo>
                    <a:pt x="398715" y="4376187"/>
                  </a:lnTo>
                  <a:lnTo>
                    <a:pt x="425259" y="4479422"/>
                  </a:lnTo>
                  <a:lnTo>
                    <a:pt x="455841" y="4562978"/>
                  </a:lnTo>
                  <a:lnTo>
                    <a:pt x="467857" y="4602268"/>
                  </a:lnTo>
                  <a:lnTo>
                    <a:pt x="496011" y="4672730"/>
                  </a:lnTo>
                  <a:lnTo>
                    <a:pt x="544042" y="4803962"/>
                  </a:lnTo>
                  <a:lnTo>
                    <a:pt x="569856" y="4857548"/>
                  </a:lnTo>
                  <a:lnTo>
                    <a:pt x="575706" y="4872189"/>
                  </a:lnTo>
                  <a:lnTo>
                    <a:pt x="610939" y="4942832"/>
                  </a:lnTo>
                  <a:lnTo>
                    <a:pt x="692789" y="5112742"/>
                  </a:lnTo>
                  <a:cubicBezTo>
                    <a:pt x="747169" y="5212845"/>
                    <a:pt x="806246" y="5310025"/>
                    <a:pt x="869725" y="5403987"/>
                  </a:cubicBezTo>
                  <a:lnTo>
                    <a:pt x="976106" y="5546248"/>
                  </a:lnTo>
                  <a:lnTo>
                    <a:pt x="1021257" y="5608747"/>
                  </a:lnTo>
                  <a:lnTo>
                    <a:pt x="1034083" y="5623780"/>
                  </a:lnTo>
                  <a:lnTo>
                    <a:pt x="1073074" y="5675921"/>
                  </a:lnTo>
                  <a:lnTo>
                    <a:pt x="1162889" y="5774742"/>
                  </a:lnTo>
                  <a:lnTo>
                    <a:pt x="1206889" y="5826312"/>
                  </a:lnTo>
                  <a:lnTo>
                    <a:pt x="1237462" y="5856794"/>
                  </a:lnTo>
                  <a:lnTo>
                    <a:pt x="1301060" y="5926769"/>
                  </a:lnTo>
                  <a:lnTo>
                    <a:pt x="1375546" y="5994467"/>
                  </a:lnTo>
                  <a:lnTo>
                    <a:pt x="1409302" y="6028122"/>
                  </a:lnTo>
                  <a:lnTo>
                    <a:pt x="1458264" y="6069646"/>
                  </a:lnTo>
                  <a:lnTo>
                    <a:pt x="1551908" y="6154756"/>
                  </a:lnTo>
                  <a:lnTo>
                    <a:pt x="1608657" y="6197192"/>
                  </a:lnTo>
                  <a:lnTo>
                    <a:pt x="1627429" y="6213112"/>
                  </a:lnTo>
                  <a:lnTo>
                    <a:pt x="1690373" y="6258298"/>
                  </a:lnTo>
                  <a:lnTo>
                    <a:pt x="1823843" y="6358104"/>
                  </a:lnTo>
                  <a:lnTo>
                    <a:pt x="1860020" y="6380082"/>
                  </a:lnTo>
                  <a:lnTo>
                    <a:pt x="1860205" y="6380216"/>
                  </a:lnTo>
                  <a:lnTo>
                    <a:pt x="1863538" y="6382220"/>
                  </a:lnTo>
                  <a:lnTo>
                    <a:pt x="2115088" y="6535040"/>
                  </a:lnTo>
                  <a:lnTo>
                    <a:pt x="2300511" y="6624363"/>
                  </a:lnTo>
                  <a:lnTo>
                    <a:pt x="2365440" y="6656500"/>
                  </a:lnTo>
                  <a:lnTo>
                    <a:pt x="2375464" y="6660470"/>
                  </a:lnTo>
                  <a:lnTo>
                    <a:pt x="2423868" y="6683787"/>
                  </a:lnTo>
                  <a:cubicBezTo>
                    <a:pt x="2582346" y="6750818"/>
                    <a:pt x="2746734" y="6806612"/>
                    <a:pt x="2916032" y="6850171"/>
                  </a:cubicBezTo>
                  <a:lnTo>
                    <a:pt x="2949957" y="6858000"/>
                  </a:lnTo>
                  <a:lnTo>
                    <a:pt x="2162446" y="6858000"/>
                  </a:lnTo>
                  <a:lnTo>
                    <a:pt x="2151880" y="6853223"/>
                  </a:lnTo>
                  <a:cubicBezTo>
                    <a:pt x="878633" y="6239710"/>
                    <a:pt x="0" y="4936963"/>
                    <a:pt x="0" y="3429000"/>
                  </a:cubicBezTo>
                  <a:cubicBezTo>
                    <a:pt x="0" y="1921037"/>
                    <a:pt x="878633" y="618290"/>
                    <a:pt x="2151880" y="4777"/>
                  </a:cubicBezTo>
                  <a:close/>
                </a:path>
              </a:pathLst>
            </a:custGeom>
            <a:solidFill>
              <a:schemeClr val="accent2"/>
            </a:solidFill>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400">
                <a:solidFill>
                  <a:schemeClr val="accent6"/>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16" name="e09db3f0-6e02-44e0-9dd8-3eaaa4d6d991">
            <a:extLst>
              <a:ext uri="{FF2B5EF4-FFF2-40B4-BE49-F238E27FC236}">
                <a16:creationId xmlns:a16="http://schemas.microsoft.com/office/drawing/2014/main" id="{EC36045C-2F27-4D1F-8FC2-77CB5C497B18}"/>
              </a:ext>
            </a:extLst>
          </p:cNvPr>
          <p:cNvSpPr txBox="1"/>
          <p:nvPr/>
        </p:nvSpPr>
        <p:spPr>
          <a:xfrm>
            <a:off x="391584" y="6677739"/>
            <a:ext cx="1474763" cy="123111"/>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pPr>
            <a:r>
              <a:rPr lang="en-US" sz="800">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Energy Research Ltd. </a:t>
            </a:r>
          </a:p>
        </p:txBody>
      </p:sp>
      <p:sp>
        <p:nvSpPr>
          <p:cNvPr id="12" name="Title 1"/>
          <p:cNvSpPr>
            <a:spLocks noGrp="1"/>
          </p:cNvSpPr>
          <p:nvPr>
            <p:ph type="ctrTitle" hasCustomPrompt="1"/>
          </p:nvPr>
        </p:nvSpPr>
        <p:spPr>
          <a:xfrm>
            <a:off x="391584" y="3677095"/>
            <a:ext cx="5158316" cy="1046440"/>
          </a:xfrm>
          <a:prstGeom prst="rect">
            <a:avLst/>
          </a:prstGeom>
        </p:spPr>
        <p:txBody>
          <a:bodyPr lIns="0" rIns="0" anchor="b" anchorCtr="0">
            <a:spAutoFit/>
          </a:bodyPr>
          <a:lstStyle>
            <a:lvl1pPr>
              <a:lnSpc>
                <a:spcPct val="100000"/>
              </a:lnSpc>
              <a:defRPr sz="34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Presentation title </a:t>
            </a:r>
            <a:br>
              <a:rPr lang="en-GB"/>
            </a:br>
            <a:r>
              <a:rPr lang="en-GB" err="1"/>
              <a:t>Lato</a:t>
            </a:r>
            <a:r>
              <a:rPr lang="en-GB"/>
              <a:t> </a:t>
            </a:r>
            <a:r>
              <a:rPr lang="en-GB" err="1"/>
              <a:t>34pt</a:t>
            </a:r>
            <a:r>
              <a:rPr lang="en-GB"/>
              <a:t> (max. 2 lines)</a:t>
            </a:r>
          </a:p>
        </p:txBody>
      </p:sp>
      <p:sp>
        <p:nvSpPr>
          <p:cNvPr id="14" name="Text Placeholder 3"/>
          <p:cNvSpPr>
            <a:spLocks noGrp="1"/>
          </p:cNvSpPr>
          <p:nvPr>
            <p:ph type="body" sz="quarter" idx="11" hasCustomPrompt="1"/>
          </p:nvPr>
        </p:nvSpPr>
        <p:spPr>
          <a:xfrm>
            <a:off x="391585" y="4892984"/>
            <a:ext cx="5158316" cy="595035"/>
          </a:xfrm>
          <a:prstGeom prst="rect">
            <a:avLst/>
          </a:prstGeom>
        </p:spPr>
        <p:txBody>
          <a:bodyPr lIns="0">
            <a:spAutoFit/>
          </a:bodyPr>
          <a:lstStyle>
            <a:lvl1pPr marL="0" indent="0">
              <a:lnSpc>
                <a:spcPct val="100000"/>
              </a:lnSpc>
              <a:buNone/>
              <a:defRPr sz="16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 Author (max. 2 lines)</a:t>
            </a:r>
          </a:p>
          <a:p>
            <a:pPr lvl="0"/>
            <a:r>
              <a:rPr lang="en-GB"/>
              <a:t>Location, Date</a:t>
            </a:r>
          </a:p>
        </p:txBody>
      </p:sp>
      <p:pic>
        <p:nvPicPr>
          <p:cNvPr id="17" name="76b2c494-e833-47c5-ac9f-1f63996dd2f9">
            <a:extLst>
              <a:ext uri="{FF2B5EF4-FFF2-40B4-BE49-F238E27FC236}">
                <a16:creationId xmlns:a16="http://schemas.microsoft.com/office/drawing/2014/main" id="{042F3FEA-3A90-4E71-A2A9-E49B6FE2258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91584" y="655041"/>
            <a:ext cx="2389716" cy="558125"/>
          </a:xfrm>
          <a:prstGeom prst="rect">
            <a:avLst/>
          </a:prstGeom>
        </p:spPr>
      </p:pic>
      <p:sp>
        <p:nvSpPr>
          <p:cNvPr id="13" name="TextBox 12">
            <a:extLst>
              <a:ext uri="{FF2B5EF4-FFF2-40B4-BE49-F238E27FC236}">
                <a16:creationId xmlns:a16="http://schemas.microsoft.com/office/drawing/2014/main" id="{44C76D6D-924F-4D48-833D-CE17BC3A2461}"/>
              </a:ext>
            </a:extLst>
          </p:cNvPr>
          <p:cNvSpPr txBox="1"/>
          <p:nvPr userDrawn="1"/>
        </p:nvSpPr>
        <p:spPr>
          <a:xfrm>
            <a:off x="0" y="-172292"/>
            <a:ext cx="676467" cy="123111"/>
          </a:xfrm>
          <a:prstGeom prst="rect">
            <a:avLst/>
          </a:prstGeom>
          <a:noFill/>
        </p:spPr>
        <p:txBody>
          <a:bodyPr wrap="none" lIns="0" tIns="0" rIns="0" bIns="0" rtlCol="0">
            <a:spAutoFit/>
          </a:bodyPr>
          <a:lstStyle/>
          <a:p>
            <a:pPr marL="0" indent="0" algn="l">
              <a:spcBef>
                <a:spcPts val="600"/>
              </a:spcBef>
              <a:buFont typeface="Wingdings" panose="05000000000000000000" pitchFamily="2" charset="2"/>
              <a:buNone/>
            </a:pPr>
            <a:r>
              <a:rPr lang="en-GB" sz="800" noProof="1"/>
              <a:t>Aurora_2021.1</a:t>
            </a:r>
          </a:p>
        </p:txBody>
      </p:sp>
      <p:sp>
        <p:nvSpPr>
          <p:cNvPr id="15" name="e09db3f0-6e02-44e0-9dd8-3eaaa4d6d991">
            <a:extLst>
              <a:ext uri="{FF2B5EF4-FFF2-40B4-BE49-F238E27FC236}">
                <a16:creationId xmlns:a16="http://schemas.microsoft.com/office/drawing/2014/main" id="{2B5F160E-09DB-4ED2-87DF-422631F922D1}"/>
              </a:ext>
            </a:extLst>
          </p:cNvPr>
          <p:cNvSpPr txBox="1"/>
          <p:nvPr userDrawn="1"/>
        </p:nvSpPr>
        <p:spPr>
          <a:xfrm>
            <a:off x="391584" y="5537200"/>
            <a:ext cx="2383481" cy="215444"/>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pPr>
            <a:r>
              <a:rPr lang="en-GB" sz="1400">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 </a:t>
            </a:r>
          </a:p>
        </p:txBody>
      </p:sp>
    </p:spTree>
    <p:extLst>
      <p:ext uri="{BB962C8B-B14F-4D97-AF65-F5344CB8AC3E}">
        <p14:creationId xmlns:p14="http://schemas.microsoft.com/office/powerpoint/2010/main" val="275665830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Agenda_Presentatio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E482D81-5A53-4272-99E2-F748697E0896}"/>
              </a:ext>
            </a:extLst>
          </p:cNvPr>
          <p:cNvSpPr>
            <a:spLocks noGrp="1"/>
          </p:cNvSpPr>
          <p:nvPr>
            <p:ph type="body" sz="quarter" idx="28"/>
          </p:nvPr>
        </p:nvSpPr>
        <p:spPr>
          <a:xfrm>
            <a:off x="0" y="1273038"/>
            <a:ext cx="12192000" cy="355799"/>
          </a:xfrm>
          <a:solidFill>
            <a:schemeClr val="accent2"/>
          </a:solidFill>
        </p:spPr>
        <p:txBody>
          <a:bodyPr anchor="ctr" anchorCtr="0">
            <a:noAutofit/>
          </a:bodyPr>
          <a:lstStyle>
            <a:lvl1pPr>
              <a:defRPr>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US"/>
              <a:t>Click to edit Master text styles</a:t>
            </a:r>
          </a:p>
        </p:txBody>
      </p:sp>
      <p:sp>
        <p:nvSpPr>
          <p:cNvPr id="23" name="Confidential">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4A973469-D94E-4DFF-BEA2-7F02DADA0F87}"/>
              </a:ext>
            </a:extLst>
          </p:cNvPr>
          <p:cNvSpPr>
            <a:spLocks noGrp="1"/>
          </p:cNvSpPr>
          <p:nvPr>
            <p:ph type="body" sz="quarter" idx="27" hasCustomPrompt="1"/>
          </p:nvPr>
        </p:nvSpPr>
        <p:spPr>
          <a:xfrm>
            <a:off x="381000" y="1348181"/>
            <a:ext cx="11428411" cy="4878259"/>
          </a:xfrm>
          <a:prstGeom prst="rect">
            <a:avLst/>
          </a:prstGeom>
        </p:spPr>
        <p:txBody>
          <a:bodyPr/>
          <a:lstStyle>
            <a:lvl1pPr marL="447675" indent="-447675" fontAlgn="base">
              <a:lnSpc>
                <a:spcPct val="100000"/>
              </a:lnSpc>
              <a:spcBef>
                <a:spcPts val="1800"/>
              </a:spcBef>
              <a:spcAft>
                <a:spcPct val="0"/>
              </a:spcAft>
              <a:buClr>
                <a:schemeClr val="tx1"/>
              </a:buClr>
              <a:buSzPct val="100000"/>
              <a:buFont typeface="+mj-lt"/>
              <a:buAutoNum type="romanUcPeriod"/>
              <a:tabLst>
                <a:tab pos="11412538" algn="r"/>
              </a:tabLst>
              <a:defRPr sz="16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800100" indent="-342900" fontAlgn="base">
              <a:lnSpc>
                <a:spcPct val="100000"/>
              </a:lnSpc>
              <a:spcBef>
                <a:spcPts val="1200"/>
              </a:spcBef>
              <a:spcAft>
                <a:spcPct val="0"/>
              </a:spcAft>
              <a:buClr>
                <a:schemeClr val="tx1"/>
              </a:buClr>
              <a:buSzPct val="100000"/>
              <a:buFont typeface="+mj-lt"/>
              <a:buAutoNum type="arabicPeriod"/>
              <a:tabLst>
                <a:tab pos="11412538" algn="r"/>
              </a:tabLst>
              <a:defRPr sz="1600" b="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1073150" indent="-271463">
              <a:buFont typeface="+mj-lt"/>
              <a:buAutoNum type="romanLcPeriod"/>
              <a:tabLst>
                <a:tab pos="11412000" algn="r"/>
              </a:tabLst>
              <a:defRPr sz="1600" b="0"/>
            </a:lvl3pPr>
            <a:lvl4pPr marL="758825" indent="-400050">
              <a:buFont typeface="+mj-lt"/>
              <a:buAutoNum type="romanUcPeriod"/>
              <a:defRPr sz="1600" b="1"/>
            </a:lvl4pPr>
            <a:lvl5pPr marL="1771616" indent="-400050">
              <a:buFont typeface="+mj-lt"/>
              <a:buAutoNum type="romanUcPeriod"/>
              <a:defRPr sz="1600" b="1"/>
            </a:lvl5pPr>
          </a:lstStyle>
          <a:p>
            <a:pPr lvl="0"/>
            <a:r>
              <a:rPr lang="en-GB"/>
              <a:t>Section I	xx</a:t>
            </a:r>
          </a:p>
          <a:p>
            <a:pPr lvl="1"/>
            <a:r>
              <a:rPr lang="en-GB"/>
              <a:t>Sub-section 1	xx</a:t>
            </a:r>
          </a:p>
          <a:p>
            <a:pPr lvl="1"/>
            <a:r>
              <a:rPr lang="en-GB"/>
              <a:t>Sub-section 2	xx</a:t>
            </a:r>
          </a:p>
          <a:p>
            <a:pPr lvl="0"/>
            <a:r>
              <a:rPr lang="en-GB"/>
              <a:t>Sub-section 2	xx</a:t>
            </a:r>
          </a:p>
          <a:p>
            <a:pPr lvl="1"/>
            <a:r>
              <a:rPr lang="en-GB"/>
              <a:t>Sub-section 1	xx</a:t>
            </a:r>
          </a:p>
          <a:p>
            <a:pPr lvl="1"/>
            <a:r>
              <a:rPr lang="en-GB"/>
              <a:t>Sub-section 2	xx</a:t>
            </a:r>
          </a:p>
          <a:p>
            <a:pPr lvl="0"/>
            <a:r>
              <a:rPr lang="en-GB"/>
              <a:t>Sub-section 2	xx</a:t>
            </a:r>
          </a:p>
          <a:p>
            <a:pPr lvl="1"/>
            <a:r>
              <a:rPr lang="en-GB"/>
              <a:t>Sub-section 1	xx</a:t>
            </a:r>
          </a:p>
          <a:p>
            <a:pPr lvl="1"/>
            <a:r>
              <a:rPr lang="en-GB"/>
              <a:t>Sub-section 2	xx</a:t>
            </a:r>
          </a:p>
          <a:p>
            <a:pPr lvl="0"/>
            <a:r>
              <a:rPr lang="en-GB"/>
              <a:t>Sub-section 2	xx</a:t>
            </a:r>
          </a:p>
          <a:p>
            <a:pPr lvl="1"/>
            <a:r>
              <a:rPr lang="en-GB"/>
              <a:t>Sub-section 1	xx</a:t>
            </a:r>
          </a:p>
          <a:p>
            <a:pPr lvl="1"/>
            <a:r>
              <a:rPr lang="en-GB"/>
              <a:t>Sub-section 2	xx</a:t>
            </a:r>
          </a:p>
        </p:txBody>
      </p:sp>
      <p:sp>
        <p:nvSpPr>
          <p:cNvPr id="8" name="38f1b144-a7dc-4fbe-8223-e0ddcb76a106">
            <a:extLst>
              <a:ext uri="{FF2B5EF4-FFF2-40B4-BE49-F238E27FC236}">
                <a16:creationId xmlns:a16="http://schemas.microsoft.com/office/drawing/2014/main" id="{CECB2688-9A12-4EEC-A783-25B02F3230D6}"/>
              </a:ext>
            </a:extLst>
          </p:cNvPr>
          <p:cNvSpPr txBox="1">
            <a:spLocks/>
          </p:cNvSpPr>
          <p:nvPr/>
        </p:nvSpPr>
        <p:spPr>
          <a:xfrm>
            <a:off x="381000" y="411856"/>
            <a:ext cx="8600471" cy="304699"/>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genda</a:t>
            </a:r>
          </a:p>
        </p:txBody>
      </p:sp>
    </p:spTree>
    <p:extLst>
      <p:ext uri="{BB962C8B-B14F-4D97-AF65-F5344CB8AC3E}">
        <p14:creationId xmlns:p14="http://schemas.microsoft.com/office/powerpoint/2010/main" val="425594232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Agenda_Repor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1" name="Text Placeholder 3">
            <a:extLst>
              <a:ext uri="{FF2B5EF4-FFF2-40B4-BE49-F238E27FC236}">
                <a16:creationId xmlns:a16="http://schemas.microsoft.com/office/drawing/2014/main" id="{91C5274C-F47E-4592-A554-EF60A986DFB9}"/>
              </a:ext>
            </a:extLst>
          </p:cNvPr>
          <p:cNvSpPr>
            <a:spLocks noGrp="1"/>
          </p:cNvSpPr>
          <p:nvPr>
            <p:ph type="body" sz="quarter" idx="29"/>
          </p:nvPr>
        </p:nvSpPr>
        <p:spPr>
          <a:xfrm>
            <a:off x="0" y="1272245"/>
            <a:ext cx="6095996" cy="252000"/>
          </a:xfrm>
          <a:solidFill>
            <a:schemeClr val="accent2"/>
          </a:solidFill>
        </p:spPr>
        <p:txBody>
          <a:bodyPr anchor="ctr" anchorCtr="0">
            <a:noAutofit/>
          </a:bodyPr>
          <a:lstStyle>
            <a:lvl1pPr>
              <a:defRPr>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US"/>
              <a:t>Click to edit Master text styles</a:t>
            </a:r>
          </a:p>
        </p:txBody>
      </p:sp>
      <p:sp>
        <p:nvSpPr>
          <p:cNvPr id="23" name="Confidential">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62c64e16-bc6f-401c-8aa6-7389769131f3">
            <a:extLst>
              <a:ext uri="{FF2B5EF4-FFF2-40B4-BE49-F238E27FC236}">
                <a16:creationId xmlns:a16="http://schemas.microsoft.com/office/drawing/2014/main" id="{24CDEDBE-51B8-4919-89D3-38AB9D7D93CE}"/>
              </a:ext>
            </a:extLst>
          </p:cNvPr>
          <p:cNvCxnSpPr>
            <a:cxnSpLocks/>
          </p:cNvCxnSpPr>
          <p:nvPr/>
        </p:nvCxnSpPr>
        <p:spPr>
          <a:xfrm>
            <a:off x="6096000" y="1281770"/>
            <a:ext cx="0" cy="489305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9F1D0497-9D43-47C1-B0A9-27757300FDD8}"/>
              </a:ext>
            </a:extLst>
          </p:cNvPr>
          <p:cNvSpPr>
            <a:spLocks noGrp="1"/>
          </p:cNvSpPr>
          <p:nvPr>
            <p:ph type="body" sz="quarter" idx="28" hasCustomPrompt="1"/>
          </p:nvPr>
        </p:nvSpPr>
        <p:spPr>
          <a:xfrm>
            <a:off x="381000" y="1306835"/>
            <a:ext cx="11428413" cy="3813596"/>
          </a:xfrm>
          <a:prstGeom prst="rect">
            <a:avLst/>
          </a:prstGeom>
        </p:spPr>
        <p:txBody>
          <a:bodyPr numCol="2" spcCol="216000">
            <a:noAutofit/>
          </a:bodyPr>
          <a:lstStyle>
            <a:lvl1pPr marL="361950" indent="-361950">
              <a:spcBef>
                <a:spcPts val="1800"/>
              </a:spcBef>
              <a:buClr>
                <a:schemeClr val="tx1"/>
              </a:buClr>
              <a:buFont typeface="+mj-lt"/>
              <a:buAutoNum type="romanUcPeriod"/>
              <a:tabLst>
                <a:tab pos="5599113" algn="r"/>
              </a:tabLst>
              <a:defRPr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628650" indent="-266700">
              <a:buFont typeface="+mj-lt"/>
              <a:buAutoNum type="arabicPeriod"/>
              <a:tabLst>
                <a:tab pos="5599113" algn="r"/>
              </a:tabLst>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896938" indent="-266700">
              <a:buFont typeface="+mj-lt"/>
              <a:buAutoNum type="romanLcPeriod"/>
              <a:tabLst>
                <a:tab pos="5598000" algn="r"/>
              </a:tabLst>
              <a:defRPr/>
            </a:lvl3pPr>
          </a:lstStyle>
          <a:p>
            <a:r>
              <a:rPr lang="en-GB"/>
              <a:t>Section I	xx</a:t>
            </a:r>
          </a:p>
          <a:p>
            <a:pPr lvl="1"/>
            <a:r>
              <a:rPr lang="en-GB"/>
              <a:t>Sub-section 1	xx</a:t>
            </a:r>
          </a:p>
          <a:p>
            <a:pPr lvl="1"/>
            <a:r>
              <a:rPr lang="en-GB"/>
              <a:t>Sub-section 2	xx</a:t>
            </a:r>
          </a:p>
          <a:p>
            <a:pPr lvl="1"/>
            <a:r>
              <a:rPr lang="en-GB"/>
              <a:t>Sub-section 3	xx</a:t>
            </a:r>
          </a:p>
          <a:p>
            <a:r>
              <a:rPr lang="en-GB"/>
              <a:t>Section II	xx</a:t>
            </a:r>
          </a:p>
          <a:p>
            <a:pPr lvl="1"/>
            <a:r>
              <a:rPr lang="en-GB"/>
              <a:t>Sub-section 1	xx</a:t>
            </a:r>
          </a:p>
          <a:p>
            <a:pPr lvl="1"/>
            <a:r>
              <a:rPr lang="en-GB"/>
              <a:t>Sub-section 2	xx</a:t>
            </a:r>
          </a:p>
          <a:p>
            <a:pPr lvl="1"/>
            <a:r>
              <a:rPr lang="en-GB"/>
              <a:t>Sub-section 3	xx</a:t>
            </a:r>
          </a:p>
          <a:p>
            <a:r>
              <a:rPr lang="en-GB"/>
              <a:t>Section II	xx</a:t>
            </a:r>
          </a:p>
          <a:p>
            <a:pPr lvl="1"/>
            <a:r>
              <a:rPr lang="en-GB"/>
              <a:t>Sub-section 1	xx</a:t>
            </a:r>
          </a:p>
          <a:p>
            <a:pPr lvl="1"/>
            <a:r>
              <a:rPr lang="en-GB"/>
              <a:t>Sub-section 2	xx</a:t>
            </a:r>
          </a:p>
          <a:p>
            <a:pPr lvl="1"/>
            <a:r>
              <a:rPr lang="en-GB"/>
              <a:t>Sub-section 3	xx</a:t>
            </a:r>
          </a:p>
          <a:p>
            <a:endParaRPr lang="en-GB"/>
          </a:p>
          <a:p>
            <a:r>
              <a:rPr lang="en-GB"/>
              <a:t>Section III	xx</a:t>
            </a:r>
          </a:p>
          <a:p>
            <a:pPr lvl="1"/>
            <a:r>
              <a:rPr lang="en-GB"/>
              <a:t>Sub-section 1	xx</a:t>
            </a:r>
          </a:p>
          <a:p>
            <a:pPr lvl="1"/>
            <a:r>
              <a:rPr lang="en-GB"/>
              <a:t>Sub-section 2	xx</a:t>
            </a:r>
          </a:p>
          <a:p>
            <a:pPr lvl="1"/>
            <a:r>
              <a:rPr lang="en-GB"/>
              <a:t>Sub-section 3	xx</a:t>
            </a:r>
          </a:p>
          <a:p>
            <a:r>
              <a:rPr lang="en-GB"/>
              <a:t>Section IV	xx</a:t>
            </a:r>
          </a:p>
          <a:p>
            <a:pPr lvl="1"/>
            <a:r>
              <a:rPr lang="en-GB"/>
              <a:t>Sub-section 1	xx</a:t>
            </a:r>
          </a:p>
          <a:p>
            <a:pPr lvl="1"/>
            <a:r>
              <a:rPr lang="en-GB"/>
              <a:t>Sub-section 2	xx</a:t>
            </a:r>
          </a:p>
          <a:p>
            <a:pPr lvl="1"/>
            <a:r>
              <a:rPr lang="en-GB"/>
              <a:t>Sub-section 3	xx</a:t>
            </a:r>
          </a:p>
          <a:p>
            <a:r>
              <a:rPr lang="en-GB"/>
              <a:t>Section V	xx</a:t>
            </a:r>
          </a:p>
          <a:p>
            <a:pPr lvl="1"/>
            <a:r>
              <a:rPr lang="en-GB"/>
              <a:t>Sub-section 1	xx</a:t>
            </a:r>
          </a:p>
          <a:p>
            <a:pPr lvl="1"/>
            <a:r>
              <a:rPr lang="en-GB"/>
              <a:t>Sub-section 2	xx</a:t>
            </a:r>
          </a:p>
          <a:p>
            <a:pPr lvl="1"/>
            <a:r>
              <a:rPr lang="en-GB"/>
              <a:t>Sub-section 3	xx</a:t>
            </a:r>
          </a:p>
        </p:txBody>
      </p:sp>
      <p:sp>
        <p:nvSpPr>
          <p:cNvPr id="9" name="38f1b144-a7dc-4fbe-8223-e0ddcb76a106">
            <a:extLst>
              <a:ext uri="{FF2B5EF4-FFF2-40B4-BE49-F238E27FC236}">
                <a16:creationId xmlns:a16="http://schemas.microsoft.com/office/drawing/2014/main" id="{2019F545-B144-4AAC-AF7F-6469E7AAFFCD}"/>
              </a:ext>
            </a:extLst>
          </p:cNvPr>
          <p:cNvSpPr txBox="1">
            <a:spLocks/>
          </p:cNvSpPr>
          <p:nvPr/>
        </p:nvSpPr>
        <p:spPr>
          <a:xfrm>
            <a:off x="381000" y="411856"/>
            <a:ext cx="8600471" cy="304699"/>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genda</a:t>
            </a:r>
          </a:p>
        </p:txBody>
      </p:sp>
    </p:spTree>
    <p:extLst>
      <p:ext uri="{BB962C8B-B14F-4D97-AF65-F5344CB8AC3E}">
        <p14:creationId xmlns:p14="http://schemas.microsoft.com/office/powerpoint/2010/main" val="49518350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18" name="Bottom line">
            <a:extLst>
              <a:ext uri="{FF2B5EF4-FFF2-40B4-BE49-F238E27FC236}">
                <a16:creationId xmlns:a16="http://schemas.microsoft.com/office/drawing/2014/main" id="{91E13582-C984-4CD2-8775-E415FC532B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4EADFF66-BEC8-40DA-BA4E-95EB941E1C2C}"/>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966C5BD2-F0DE-4102-97E0-F3335128DCAD}"/>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ED31669E-9C1D-46E1-8605-888D1A1D383E}"/>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0" name="Supertitle">
            <a:extLst>
              <a:ext uri="{FF2B5EF4-FFF2-40B4-BE49-F238E27FC236}">
                <a16:creationId xmlns:a16="http://schemas.microsoft.com/office/drawing/2014/main" id="{5C0A816F-1947-4BDC-A02C-3BD69CF16153}"/>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47113294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 Column_Text onl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1270033"/>
            <a:ext cx="114288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551AAFC0-23D8-44F1-A784-6888E5BC8BBF}"/>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609753E2-8329-46F7-804D-D1DD09BED2F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8" name="Text Placeholder 2">
            <a:extLst>
              <a:ext uri="{FF2B5EF4-FFF2-40B4-BE49-F238E27FC236}">
                <a16:creationId xmlns:a16="http://schemas.microsoft.com/office/drawing/2014/main" id="{B6BEC55A-E3A2-4B0E-8692-C3CB67F7154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A1B13C52-4931-4546-AD7E-D99897E43A53}"/>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3" name="Text Placeholder 5">
            <a:extLst>
              <a:ext uri="{FF2B5EF4-FFF2-40B4-BE49-F238E27FC236}">
                <a16:creationId xmlns:a16="http://schemas.microsoft.com/office/drawing/2014/main" id="{8249FAAD-0B39-45B2-A52D-09E60D0FB5AF}"/>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2" name="Supertitle">
            <a:extLst>
              <a:ext uri="{FF2B5EF4-FFF2-40B4-BE49-F238E27FC236}">
                <a16:creationId xmlns:a16="http://schemas.microsoft.com/office/drawing/2014/main" id="{11E3AFDC-8A2A-4B3C-BA3F-6981C6D23632}"/>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77215908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1710172"/>
            <a:ext cx="114288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599" y="1263129"/>
            <a:ext cx="114288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551AAFC0-23D8-44F1-A784-6888E5BC8BBF}"/>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609753E2-8329-46F7-804D-D1DD09BED2F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8" name="Text Placeholder 2">
            <a:extLst>
              <a:ext uri="{FF2B5EF4-FFF2-40B4-BE49-F238E27FC236}">
                <a16:creationId xmlns:a16="http://schemas.microsoft.com/office/drawing/2014/main" id="{B6BEC55A-E3A2-4B0E-8692-C3CB67F7154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A1B13C52-4931-4546-AD7E-D99897E43A53}"/>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Text Placeholder 5">
            <a:extLst>
              <a:ext uri="{FF2B5EF4-FFF2-40B4-BE49-F238E27FC236}">
                <a16:creationId xmlns:a16="http://schemas.microsoft.com/office/drawing/2014/main" id="{866FB387-E820-4B00-9284-503FDF8E7CB6}"/>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3" name="Supertitle">
            <a:extLst>
              <a:ext uri="{FF2B5EF4-FFF2-40B4-BE49-F238E27FC236}">
                <a16:creationId xmlns:a16="http://schemas.microsoft.com/office/drawing/2014/main" id="{6E091A24-038E-467B-9EA3-036FD3A20C08}"/>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94603546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1710172"/>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6433799" y="1710172"/>
            <a:ext cx="5376000" cy="854080"/>
          </a:xfrm>
        </p:spPr>
        <p:txBody>
          <a:bodyPr>
            <a:spAutoFit/>
          </a:bodyPr>
          <a:lstStyle>
            <a:lvl1pPr>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88303"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 </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6433799" y="126312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A3879DDF-1FC7-44C7-A138-E840EF13C695}"/>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5058485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50"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image" Target="../media/image3.svg"/><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1.xml"/><Relationship Id="rId8" Type="http://schemas.openxmlformats.org/officeDocument/2006/relationships/slideLayout" Target="../slideLayouts/slideLayout8.xml"/><Relationship Id="rId51"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9" Type="http://schemas.openxmlformats.org/officeDocument/2006/relationships/slideLayout" Target="../slideLayouts/slideLayout85.xml"/><Relationship Id="rId21" Type="http://schemas.openxmlformats.org/officeDocument/2006/relationships/slideLayout" Target="../slideLayouts/slideLayout67.xml"/><Relationship Id="rId34" Type="http://schemas.openxmlformats.org/officeDocument/2006/relationships/slideLayout" Target="../slideLayouts/slideLayout80.xml"/><Relationship Id="rId42" Type="http://schemas.openxmlformats.org/officeDocument/2006/relationships/slideLayout" Target="../slideLayouts/slideLayout88.xml"/><Relationship Id="rId47" Type="http://schemas.openxmlformats.org/officeDocument/2006/relationships/theme" Target="../theme/theme2.xml"/><Relationship Id="rId50" Type="http://schemas.openxmlformats.org/officeDocument/2006/relationships/oleObject" Target="../embeddings/oleObject48.bin"/><Relationship Id="rId7" Type="http://schemas.openxmlformats.org/officeDocument/2006/relationships/slideLayout" Target="../slideLayouts/slideLayout5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9" Type="http://schemas.openxmlformats.org/officeDocument/2006/relationships/slideLayout" Target="../slideLayouts/slideLayout75.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slideLayout" Target="../slideLayouts/slideLayout78.xml"/><Relationship Id="rId37" Type="http://schemas.openxmlformats.org/officeDocument/2006/relationships/slideLayout" Target="../slideLayouts/slideLayout83.xml"/><Relationship Id="rId40" Type="http://schemas.openxmlformats.org/officeDocument/2006/relationships/slideLayout" Target="../slideLayouts/slideLayout86.xml"/><Relationship Id="rId45" Type="http://schemas.openxmlformats.org/officeDocument/2006/relationships/slideLayout" Target="../slideLayouts/slideLayout91.xml"/><Relationship Id="rId53" Type="http://schemas.openxmlformats.org/officeDocument/2006/relationships/image" Target="../media/image3.svg"/><Relationship Id="rId5" Type="http://schemas.openxmlformats.org/officeDocument/2006/relationships/slideLayout" Target="../slideLayouts/slideLayout51.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slideLayout" Target="../slideLayouts/slideLayout77.xml"/><Relationship Id="rId44" Type="http://schemas.openxmlformats.org/officeDocument/2006/relationships/slideLayout" Target="../slideLayouts/slideLayout90.xml"/><Relationship Id="rId52" Type="http://schemas.openxmlformats.org/officeDocument/2006/relationships/image" Target="../media/image2.png"/><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 Id="rId35" Type="http://schemas.openxmlformats.org/officeDocument/2006/relationships/slideLayout" Target="../slideLayouts/slideLayout81.xml"/><Relationship Id="rId43" Type="http://schemas.openxmlformats.org/officeDocument/2006/relationships/slideLayout" Target="../slideLayouts/slideLayout89.xml"/><Relationship Id="rId48" Type="http://schemas.openxmlformats.org/officeDocument/2006/relationships/tags" Target="../tags/tag51.xml"/><Relationship Id="rId8" Type="http://schemas.openxmlformats.org/officeDocument/2006/relationships/slideLayout" Target="../slideLayouts/slideLayout54.xml"/><Relationship Id="rId51" Type="http://schemas.openxmlformats.org/officeDocument/2006/relationships/image" Target="../media/image1.emf"/><Relationship Id="rId3" Type="http://schemas.openxmlformats.org/officeDocument/2006/relationships/slideLayout" Target="../slideLayouts/slideLayout49.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slideLayout" Target="../slideLayouts/slideLayout79.xml"/><Relationship Id="rId38" Type="http://schemas.openxmlformats.org/officeDocument/2006/relationships/slideLayout" Target="../slideLayouts/slideLayout84.xml"/><Relationship Id="rId46" Type="http://schemas.openxmlformats.org/officeDocument/2006/relationships/slideLayout" Target="../slideLayouts/slideLayout92.xml"/><Relationship Id="rId20" Type="http://schemas.openxmlformats.org/officeDocument/2006/relationships/slideLayout" Target="../slideLayouts/slideLayout66.xml"/><Relationship Id="rId41" Type="http://schemas.openxmlformats.org/officeDocument/2006/relationships/slideLayout" Target="../slideLayouts/slideLayout87.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36" Type="http://schemas.openxmlformats.org/officeDocument/2006/relationships/slideLayout" Target="../slideLayouts/slideLayout82.xml"/><Relationship Id="rId49" Type="http://schemas.openxmlformats.org/officeDocument/2006/relationships/tags" Target="../tags/tag5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slideLayout" Target="../slideLayouts/slideLayout118.xml"/><Relationship Id="rId39" Type="http://schemas.openxmlformats.org/officeDocument/2006/relationships/slideLayout" Target="../slideLayouts/slideLayout131.xml"/><Relationship Id="rId21" Type="http://schemas.openxmlformats.org/officeDocument/2006/relationships/slideLayout" Target="../slideLayouts/slideLayout113.xml"/><Relationship Id="rId34" Type="http://schemas.openxmlformats.org/officeDocument/2006/relationships/slideLayout" Target="../slideLayouts/slideLayout126.xml"/><Relationship Id="rId42" Type="http://schemas.openxmlformats.org/officeDocument/2006/relationships/slideLayout" Target="../slideLayouts/slideLayout134.xml"/><Relationship Id="rId47" Type="http://schemas.openxmlformats.org/officeDocument/2006/relationships/slideLayout" Target="../slideLayouts/slideLayout139.xml"/><Relationship Id="rId50" Type="http://schemas.openxmlformats.org/officeDocument/2006/relationships/slideLayout" Target="../slideLayouts/slideLayout142.xml"/><Relationship Id="rId55" Type="http://schemas.openxmlformats.org/officeDocument/2006/relationships/tags" Target="../tags/tag101.xml"/><Relationship Id="rId7" Type="http://schemas.openxmlformats.org/officeDocument/2006/relationships/slideLayout" Target="../slideLayouts/slideLayout99.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9" Type="http://schemas.openxmlformats.org/officeDocument/2006/relationships/slideLayout" Target="../slideLayouts/slideLayout121.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32" Type="http://schemas.openxmlformats.org/officeDocument/2006/relationships/slideLayout" Target="../slideLayouts/slideLayout124.xml"/><Relationship Id="rId37" Type="http://schemas.openxmlformats.org/officeDocument/2006/relationships/slideLayout" Target="../slideLayouts/slideLayout129.xml"/><Relationship Id="rId40" Type="http://schemas.openxmlformats.org/officeDocument/2006/relationships/slideLayout" Target="../slideLayouts/slideLayout132.xml"/><Relationship Id="rId45" Type="http://schemas.openxmlformats.org/officeDocument/2006/relationships/slideLayout" Target="../slideLayouts/slideLayout137.xml"/><Relationship Id="rId53" Type="http://schemas.openxmlformats.org/officeDocument/2006/relationships/slideLayout" Target="../slideLayouts/slideLayout145.xml"/><Relationship Id="rId58" Type="http://schemas.openxmlformats.org/officeDocument/2006/relationships/image" Target="../media/image1.emf"/><Relationship Id="rId5" Type="http://schemas.openxmlformats.org/officeDocument/2006/relationships/slideLayout" Target="../slideLayouts/slideLayout97.xml"/><Relationship Id="rId19" Type="http://schemas.openxmlformats.org/officeDocument/2006/relationships/slideLayout" Target="../slideLayouts/slideLayout111.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 Id="rId27" Type="http://schemas.openxmlformats.org/officeDocument/2006/relationships/slideLayout" Target="../slideLayouts/slideLayout119.xml"/><Relationship Id="rId30" Type="http://schemas.openxmlformats.org/officeDocument/2006/relationships/slideLayout" Target="../slideLayouts/slideLayout122.xml"/><Relationship Id="rId35" Type="http://schemas.openxmlformats.org/officeDocument/2006/relationships/slideLayout" Target="../slideLayouts/slideLayout127.xml"/><Relationship Id="rId43" Type="http://schemas.openxmlformats.org/officeDocument/2006/relationships/slideLayout" Target="../slideLayouts/slideLayout135.xml"/><Relationship Id="rId48" Type="http://schemas.openxmlformats.org/officeDocument/2006/relationships/slideLayout" Target="../slideLayouts/slideLayout140.xml"/><Relationship Id="rId56" Type="http://schemas.openxmlformats.org/officeDocument/2006/relationships/tags" Target="../tags/tag102.xml"/><Relationship Id="rId8" Type="http://schemas.openxmlformats.org/officeDocument/2006/relationships/slideLayout" Target="../slideLayouts/slideLayout100.xml"/><Relationship Id="rId51" Type="http://schemas.openxmlformats.org/officeDocument/2006/relationships/slideLayout" Target="../slideLayouts/slideLayout143.xml"/><Relationship Id="rId3" Type="http://schemas.openxmlformats.org/officeDocument/2006/relationships/slideLayout" Target="../slideLayouts/slideLayout95.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slideLayout" Target="../slideLayouts/slideLayout117.xml"/><Relationship Id="rId33" Type="http://schemas.openxmlformats.org/officeDocument/2006/relationships/slideLayout" Target="../slideLayouts/slideLayout125.xml"/><Relationship Id="rId38" Type="http://schemas.openxmlformats.org/officeDocument/2006/relationships/slideLayout" Target="../slideLayouts/slideLayout130.xml"/><Relationship Id="rId46" Type="http://schemas.openxmlformats.org/officeDocument/2006/relationships/slideLayout" Target="../slideLayouts/slideLayout138.xml"/><Relationship Id="rId59" Type="http://schemas.openxmlformats.org/officeDocument/2006/relationships/image" Target="../media/image2.png"/><Relationship Id="rId20" Type="http://schemas.openxmlformats.org/officeDocument/2006/relationships/slideLayout" Target="../slideLayouts/slideLayout112.xml"/><Relationship Id="rId41" Type="http://schemas.openxmlformats.org/officeDocument/2006/relationships/slideLayout" Target="../slideLayouts/slideLayout133.xml"/><Relationship Id="rId54" Type="http://schemas.openxmlformats.org/officeDocument/2006/relationships/theme" Target="../theme/theme3.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28" Type="http://schemas.openxmlformats.org/officeDocument/2006/relationships/slideLayout" Target="../slideLayouts/slideLayout120.xml"/><Relationship Id="rId36" Type="http://schemas.openxmlformats.org/officeDocument/2006/relationships/slideLayout" Target="../slideLayouts/slideLayout128.xml"/><Relationship Id="rId49" Type="http://schemas.openxmlformats.org/officeDocument/2006/relationships/slideLayout" Target="../slideLayouts/slideLayout141.xml"/><Relationship Id="rId57" Type="http://schemas.openxmlformats.org/officeDocument/2006/relationships/oleObject" Target="../embeddings/oleObject95.bin"/><Relationship Id="rId10" Type="http://schemas.openxmlformats.org/officeDocument/2006/relationships/slideLayout" Target="../slideLayouts/slideLayout102.xml"/><Relationship Id="rId31" Type="http://schemas.openxmlformats.org/officeDocument/2006/relationships/slideLayout" Target="../slideLayouts/slideLayout123.xml"/><Relationship Id="rId44" Type="http://schemas.openxmlformats.org/officeDocument/2006/relationships/slideLayout" Target="../slideLayouts/slideLayout136.xml"/><Relationship Id="rId52" Type="http://schemas.openxmlformats.org/officeDocument/2006/relationships/slideLayout" Target="../slideLayouts/slideLayout144.xml"/><Relationship Id="rId60" Type="http://schemas.openxmlformats.org/officeDocument/2006/relationships/image" Target="../media/image3.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48"/>
            </p:custDataLst>
            <p:extLst>
              <p:ext uri="{D42A27DB-BD31-4B8C-83A1-F6EECF244321}">
                <p14:modId xmlns:p14="http://schemas.microsoft.com/office/powerpoint/2010/main" val="212971181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0" imgW="492" imgH="504" progId="TCLayout.ActiveDocument.1">
                  <p:embed/>
                </p:oleObj>
              </mc:Choice>
              <mc:Fallback>
                <p:oleObj name="think-cell Slide" r:id="rId50" imgW="492" imgH="504" progId="TCLayout.ActiveDocument.1">
                  <p:embed/>
                  <p:pic>
                    <p:nvPicPr>
                      <p:cNvPr id="16" name="Object 15" hidden="1"/>
                      <p:cNvPicPr/>
                      <p:nvPr/>
                    </p:nvPicPr>
                    <p:blipFill>
                      <a:blip r:embed="rId51"/>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3680F9F-402E-4754-877B-923F01DAFB87}"/>
              </a:ext>
            </a:extLst>
          </p:cNvPr>
          <p:cNvSpPr/>
          <p:nvPr userDrawn="1">
            <p:custDataLst>
              <p:tags r:id="rId49"/>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spcBef>
                <a:spcPts val="600"/>
              </a:spcBef>
            </a:pPr>
            <a:endParaRPr lang="en-US" sz="2200" b="1" i="0" baseline="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 name="TextBox 10"/>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 name="Title Placeholder 2"/>
          <p:cNvSpPr>
            <a:spLocks noGrp="1"/>
          </p:cNvSpPr>
          <p:nvPr>
            <p:ph type="title"/>
          </p:nvPr>
        </p:nvSpPr>
        <p:spPr>
          <a:xfrm>
            <a:off x="381599" y="411856"/>
            <a:ext cx="8600471" cy="609398"/>
          </a:xfrm>
          <a:prstGeom prst="rect">
            <a:avLst/>
          </a:prstGeom>
        </p:spPr>
        <p:txBody>
          <a:bodyPr vert="horz" lIns="0" tIns="0" rIns="0" bIns="0" rtlCol="0" anchor="t" anchorCtr="0">
            <a:noAutofit/>
          </a:bodyPr>
          <a:lstStyle/>
          <a:p>
            <a:pPr marL="0" lvl="0"/>
            <a:r>
              <a:rPr lang="en-US"/>
              <a:t>Click to edit Master title style</a:t>
            </a:r>
            <a:endParaRPr lang="en-GB"/>
          </a:p>
        </p:txBody>
      </p:sp>
      <p:grpSp>
        <p:nvGrpSpPr>
          <p:cNvPr id="7" name="Drawing grid" hidden="1">
            <a:extLst>
              <a:ext uri="{FF2B5EF4-FFF2-40B4-BE49-F238E27FC236}">
                <a16:creationId xmlns:a16="http://schemas.microsoft.com/office/drawing/2014/main" id="{F689DF73-B24C-4DB8-A6FB-DC49F5393599}"/>
              </a:ext>
            </a:extLst>
          </p:cNvPr>
          <p:cNvGrpSpPr/>
          <p:nvPr/>
        </p:nvGrpSpPr>
        <p:grpSpPr>
          <a:xfrm>
            <a:off x="0" y="0"/>
            <a:ext cx="12192000" cy="6858000"/>
            <a:chOff x="0" y="0"/>
            <a:chExt cx="12192000" cy="6858000"/>
          </a:xfrm>
        </p:grpSpPr>
        <p:cxnSp>
          <p:nvCxnSpPr>
            <p:cNvPr id="8" name="Straight Connector 7" hidden="1">
              <a:extLst>
                <a:ext uri="{FF2B5EF4-FFF2-40B4-BE49-F238E27FC236}">
                  <a16:creationId xmlns:a16="http://schemas.microsoft.com/office/drawing/2014/main" id="{D1EDC188-BC1F-4384-B58C-411668F46D61}"/>
                </a:ext>
              </a:extLst>
            </p:cNvPr>
            <p:cNvCxnSpPr>
              <a:cxnSpLocks/>
            </p:cNvCxnSpPr>
            <p:nvPr/>
          </p:nvCxnSpPr>
          <p:spPr>
            <a:xfrm>
              <a:off x="381000" y="0"/>
              <a:ext cx="0" cy="6858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8" hidden="1">
              <a:extLst>
                <a:ext uri="{FF2B5EF4-FFF2-40B4-BE49-F238E27FC236}">
                  <a16:creationId xmlns:a16="http://schemas.microsoft.com/office/drawing/2014/main" id="{31CDBB1C-4855-42CA-9C7F-04D0D986F764}"/>
                </a:ext>
              </a:extLst>
            </p:cNvPr>
            <p:cNvCxnSpPr>
              <a:cxnSpLocks/>
            </p:cNvCxnSpPr>
            <p:nvPr/>
          </p:nvCxnSpPr>
          <p:spPr>
            <a:xfrm>
              <a:off x="0" y="6441056"/>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hidden="1">
              <a:extLst>
                <a:ext uri="{FF2B5EF4-FFF2-40B4-BE49-F238E27FC236}">
                  <a16:creationId xmlns:a16="http://schemas.microsoft.com/office/drawing/2014/main" id="{2FD40C04-DD75-44F8-8981-25A134EB63D9}"/>
                </a:ext>
              </a:extLst>
            </p:cNvPr>
            <p:cNvCxnSpPr>
              <a:cxnSpLocks/>
            </p:cNvCxnSpPr>
            <p:nvPr/>
          </p:nvCxnSpPr>
          <p:spPr>
            <a:xfrm>
              <a:off x="0" y="6713903"/>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hidden="1">
              <a:extLst>
                <a:ext uri="{FF2B5EF4-FFF2-40B4-BE49-F238E27FC236}">
                  <a16:creationId xmlns:a16="http://schemas.microsoft.com/office/drawing/2014/main" id="{BE79AA27-C96A-4C22-968A-FA8F6B242865}"/>
                </a:ext>
              </a:extLst>
            </p:cNvPr>
            <p:cNvCxnSpPr>
              <a:cxnSpLocks/>
            </p:cNvCxnSpPr>
            <p:nvPr/>
          </p:nvCxnSpPr>
          <p:spPr>
            <a:xfrm>
              <a:off x="0" y="6256663"/>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Straight Connector 24" hidden="1">
              <a:extLst>
                <a:ext uri="{FF2B5EF4-FFF2-40B4-BE49-F238E27FC236}">
                  <a16:creationId xmlns:a16="http://schemas.microsoft.com/office/drawing/2014/main" id="{6205F8F2-BB15-4AF3-ACE1-7296CF26345D}"/>
                </a:ext>
              </a:extLst>
            </p:cNvPr>
            <p:cNvCxnSpPr>
              <a:cxnSpLocks/>
            </p:cNvCxnSpPr>
            <p:nvPr/>
          </p:nvCxnSpPr>
          <p:spPr>
            <a:xfrm>
              <a:off x="0" y="365481"/>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hidden="1">
              <a:extLst>
                <a:ext uri="{FF2B5EF4-FFF2-40B4-BE49-F238E27FC236}">
                  <a16:creationId xmlns:a16="http://schemas.microsoft.com/office/drawing/2014/main" id="{BDFED021-4E76-49A4-B6B9-DB3F67C3F267}"/>
                </a:ext>
              </a:extLst>
            </p:cNvPr>
            <p:cNvCxnSpPr>
              <a:cxnSpLocks/>
            </p:cNvCxnSpPr>
            <p:nvPr/>
          </p:nvCxnSpPr>
          <p:spPr>
            <a:xfrm>
              <a:off x="11810400" y="0"/>
              <a:ext cx="0" cy="6858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Straight Connector 24" hidden="1">
              <a:extLst>
                <a:ext uri="{FF2B5EF4-FFF2-40B4-BE49-F238E27FC236}">
                  <a16:creationId xmlns:a16="http://schemas.microsoft.com/office/drawing/2014/main" id="{2C3AA70A-D64C-4A62-BD60-33A72E348F86}"/>
                </a:ext>
              </a:extLst>
            </p:cNvPr>
            <p:cNvCxnSpPr>
              <a:cxnSpLocks/>
            </p:cNvCxnSpPr>
            <p:nvPr/>
          </p:nvCxnSpPr>
          <p:spPr>
            <a:xfrm>
              <a:off x="0" y="262505"/>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33" hidden="1">
              <a:extLst>
                <a:ext uri="{FF2B5EF4-FFF2-40B4-BE49-F238E27FC236}">
                  <a16:creationId xmlns:a16="http://schemas.microsoft.com/office/drawing/2014/main" id="{EC713A24-F136-485A-957C-9A9B40817822}"/>
                </a:ext>
              </a:extLst>
            </p:cNvPr>
            <p:cNvCxnSpPr>
              <a:cxnSpLocks/>
            </p:cNvCxnSpPr>
            <p:nvPr/>
          </p:nvCxnSpPr>
          <p:spPr>
            <a:xfrm>
              <a:off x="0" y="1761928"/>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24" hidden="1">
              <a:extLst>
                <a:ext uri="{FF2B5EF4-FFF2-40B4-BE49-F238E27FC236}">
                  <a16:creationId xmlns:a16="http://schemas.microsoft.com/office/drawing/2014/main" id="{ED16691E-ED6C-444D-9F8D-9EA93C9D47C2}"/>
                </a:ext>
              </a:extLst>
            </p:cNvPr>
            <p:cNvCxnSpPr>
              <a:cxnSpLocks/>
            </p:cNvCxnSpPr>
            <p:nvPr/>
          </p:nvCxnSpPr>
          <p:spPr>
            <a:xfrm>
              <a:off x="0" y="1269238"/>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20" name="Text Placeholder 19">
            <a:extLst>
              <a:ext uri="{FF2B5EF4-FFF2-40B4-BE49-F238E27FC236}">
                <a16:creationId xmlns:a16="http://schemas.microsoft.com/office/drawing/2014/main" id="{9F9869AF-B0F6-4E89-B216-4EC18C7334C2}"/>
              </a:ext>
            </a:extLst>
          </p:cNvPr>
          <p:cNvSpPr>
            <a:spLocks noGrp="1"/>
          </p:cNvSpPr>
          <p:nvPr>
            <p:ph type="body" idx="1"/>
          </p:nvPr>
        </p:nvSpPr>
        <p:spPr>
          <a:xfrm>
            <a:off x="381600" y="1270033"/>
            <a:ext cx="11428800" cy="854080"/>
          </a:xfrm>
          <a:prstGeom prst="rect">
            <a:avLst/>
          </a:prstGeom>
        </p:spPr>
        <p:txBody>
          <a:bodyPr vert="horz"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p:txBody>
      </p:sp>
      <p:pic>
        <p:nvPicPr>
          <p:cNvPr id="90" name="5d8d361f-22c4-4b42-8dc9-17fbf8f083ac">
            <a:extLst>
              <a:ext uri="{FF2B5EF4-FFF2-40B4-BE49-F238E27FC236}">
                <a16:creationId xmlns:a16="http://schemas.microsoft.com/office/drawing/2014/main" id="{E9D29B1E-5FF4-47E0-A51F-BE599AEC8ABE}"/>
              </a:ext>
            </a:extLst>
          </p:cNvPr>
          <p:cNvPicPr>
            <a:picLocks noChangeAspect="1"/>
          </p:cNvPicPr>
          <p:nvPr/>
        </p:nvPicPr>
        <p:blipFill>
          <a:blip r:embed="rId52">
            <a:extLst>
              <a:ext uri="{28A0092B-C50C-407E-A947-70E740481C1C}">
                <a14:useLocalDpi xmlns:a14="http://schemas.microsoft.com/office/drawing/2010/main" val="0"/>
              </a:ext>
              <a:ext uri="{96DAC541-7B7A-43D3-8B79-37D633B846F1}">
                <asvg:svgBlip xmlns:asvg="http://schemas.microsoft.com/office/drawing/2016/SVG/main" r:embed="rId53"/>
              </a:ext>
            </a:extLst>
          </a:blip>
          <a:stretch>
            <a:fillRect/>
          </a:stretch>
        </p:blipFill>
        <p:spPr>
          <a:xfrm>
            <a:off x="10303669" y="463173"/>
            <a:ext cx="1520032" cy="205004"/>
          </a:xfrm>
          <a:prstGeom prst="rect">
            <a:avLst/>
          </a:prstGeom>
        </p:spPr>
      </p:pic>
      <p:sp>
        <p:nvSpPr>
          <p:cNvPr id="4" name="TextBox 3">
            <a:extLst>
              <a:ext uri="{FF2B5EF4-FFF2-40B4-BE49-F238E27FC236}">
                <a16:creationId xmlns:a16="http://schemas.microsoft.com/office/drawing/2014/main" id="{CCBFCC18-C20E-4DA9-AA12-37C7045ECA95}"/>
              </a:ext>
            </a:extLst>
          </p:cNvPr>
          <p:cNvSpPr txBox="1"/>
          <p:nvPr userDrawn="1"/>
        </p:nvSpPr>
        <p:spPr>
          <a:xfrm>
            <a:off x="0" y="-172292"/>
            <a:ext cx="676467" cy="123111"/>
          </a:xfrm>
          <a:prstGeom prst="rect">
            <a:avLst/>
          </a:prstGeom>
          <a:noFill/>
        </p:spPr>
        <p:txBody>
          <a:bodyPr wrap="none" lIns="0" tIns="0" rIns="0" bIns="0" rtlCol="0">
            <a:spAutoFit/>
          </a:bodyPr>
          <a:lstStyle/>
          <a:p>
            <a:pPr marL="0" indent="0" algn="l">
              <a:spcBef>
                <a:spcPts val="600"/>
              </a:spcBef>
              <a:buFont typeface="Wingdings" panose="05000000000000000000" pitchFamily="2" charset="2"/>
              <a:buNone/>
            </a:pPr>
            <a:r>
              <a:rPr lang="en-GB" sz="800" noProof="1"/>
              <a:t>Aurora_2021.1</a:t>
            </a:r>
          </a:p>
        </p:txBody>
      </p:sp>
    </p:spTree>
    <p:extLst>
      <p:ext uri="{BB962C8B-B14F-4D97-AF65-F5344CB8AC3E}">
        <p14:creationId xmlns:p14="http://schemas.microsoft.com/office/powerpoint/2010/main" val="69171301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Lst>
  <p:hf sldNum="0" hdr="0" ftr="0" dt="0"/>
  <p:txStyles>
    <p:titleStyle>
      <a:lvl1pPr algn="l" defTabSz="685783" rtl="0" eaLnBrk="1" latinLnBrk="0" hangingPunct="1">
        <a:lnSpc>
          <a:spcPct val="90000"/>
        </a:lnSpc>
        <a:spcBef>
          <a:spcPct val="0"/>
        </a:spcBef>
        <a:buNone/>
        <a:defRPr lang="en-GB" sz="2200" b="1" kern="1200" dirty="0">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p:titleStyle>
    <p:body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16">
          <p15:clr>
            <a:srgbClr val="F26B43"/>
          </p15:clr>
        </p15:guide>
        <p15:guide id="2" pos="240">
          <p15:clr>
            <a:srgbClr val="F26B43"/>
          </p15:clr>
        </p15:guide>
        <p15:guide id="3" orient="horz" pos="799">
          <p15:clr>
            <a:srgbClr val="F26B43"/>
          </p15:clr>
        </p15:guide>
        <p15:guide id="4" pos="7448">
          <p15:clr>
            <a:srgbClr val="F26B43"/>
          </p15:clr>
        </p15:guide>
        <p15:guide id="5" orient="horz" pos="1071">
          <p15:clr>
            <a:srgbClr val="F26B43"/>
          </p15:clr>
        </p15:guide>
        <p15:guide id="6" pos="3624">
          <p15:clr>
            <a:srgbClr val="F26B43"/>
          </p15:clr>
        </p15:guide>
        <p15:guide id="7" pos="4056">
          <p15:clr>
            <a:srgbClr val="F26B43"/>
          </p15:clr>
        </p15:guide>
        <p15:guide id="8" orient="horz" pos="2500">
          <p15:clr>
            <a:srgbClr val="F26B43"/>
          </p15:clr>
        </p15:guide>
        <p15:guide id="9" orient="horz" pos="2115">
          <p15:clr>
            <a:srgbClr val="F26B43"/>
          </p15:clr>
        </p15:guide>
        <p15:guide id="10" orient="horz" pos="406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48"/>
            </p:custDataLst>
            <p:extLst>
              <p:ext uri="{D42A27DB-BD31-4B8C-83A1-F6EECF244321}">
                <p14:modId xmlns:p14="http://schemas.microsoft.com/office/powerpoint/2010/main" val="212971181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0" imgW="492" imgH="504" progId="TCLayout.ActiveDocument.1">
                  <p:embed/>
                </p:oleObj>
              </mc:Choice>
              <mc:Fallback>
                <p:oleObj name="think-cell Slide" r:id="rId50" imgW="492" imgH="504" progId="TCLayout.ActiveDocument.1">
                  <p:embed/>
                  <p:pic>
                    <p:nvPicPr>
                      <p:cNvPr id="16" name="Object 15" hidden="1"/>
                      <p:cNvPicPr/>
                      <p:nvPr/>
                    </p:nvPicPr>
                    <p:blipFill>
                      <a:blip r:embed="rId51"/>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3680F9F-402E-4754-877B-923F01DAFB87}"/>
              </a:ext>
            </a:extLst>
          </p:cNvPr>
          <p:cNvSpPr/>
          <p:nvPr userDrawn="1">
            <p:custDataLst>
              <p:tags r:id="rId49"/>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spcBef>
                <a:spcPts val="600"/>
              </a:spcBef>
            </a:pPr>
            <a:endParaRPr lang="en-US" sz="2200" b="1" i="0" baseline="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 name="TextBox 10"/>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 name="Title Placeholder 2"/>
          <p:cNvSpPr>
            <a:spLocks noGrp="1"/>
          </p:cNvSpPr>
          <p:nvPr>
            <p:ph type="title"/>
          </p:nvPr>
        </p:nvSpPr>
        <p:spPr>
          <a:xfrm>
            <a:off x="381599" y="411856"/>
            <a:ext cx="8600471" cy="609398"/>
          </a:xfrm>
          <a:prstGeom prst="rect">
            <a:avLst/>
          </a:prstGeom>
        </p:spPr>
        <p:txBody>
          <a:bodyPr vert="horz" lIns="0" tIns="0" rIns="0" bIns="0" rtlCol="0" anchor="t" anchorCtr="0">
            <a:noAutofit/>
          </a:bodyPr>
          <a:lstStyle/>
          <a:p>
            <a:pPr marL="0" lvl="0"/>
            <a:r>
              <a:rPr lang="en-US"/>
              <a:t>Click to edit Master title style</a:t>
            </a:r>
            <a:endParaRPr lang="en-GB"/>
          </a:p>
        </p:txBody>
      </p:sp>
      <p:grpSp>
        <p:nvGrpSpPr>
          <p:cNvPr id="7" name="Drawing grid" hidden="1">
            <a:extLst>
              <a:ext uri="{FF2B5EF4-FFF2-40B4-BE49-F238E27FC236}">
                <a16:creationId xmlns:a16="http://schemas.microsoft.com/office/drawing/2014/main" id="{F689DF73-B24C-4DB8-A6FB-DC49F5393599}"/>
              </a:ext>
            </a:extLst>
          </p:cNvPr>
          <p:cNvGrpSpPr/>
          <p:nvPr/>
        </p:nvGrpSpPr>
        <p:grpSpPr>
          <a:xfrm>
            <a:off x="0" y="0"/>
            <a:ext cx="12192000" cy="6858000"/>
            <a:chOff x="0" y="0"/>
            <a:chExt cx="12192000" cy="6858000"/>
          </a:xfrm>
        </p:grpSpPr>
        <p:cxnSp>
          <p:nvCxnSpPr>
            <p:cNvPr id="8" name="Straight Connector 7" hidden="1">
              <a:extLst>
                <a:ext uri="{FF2B5EF4-FFF2-40B4-BE49-F238E27FC236}">
                  <a16:creationId xmlns:a16="http://schemas.microsoft.com/office/drawing/2014/main" id="{D1EDC188-BC1F-4384-B58C-411668F46D61}"/>
                </a:ext>
              </a:extLst>
            </p:cNvPr>
            <p:cNvCxnSpPr>
              <a:cxnSpLocks/>
            </p:cNvCxnSpPr>
            <p:nvPr/>
          </p:nvCxnSpPr>
          <p:spPr>
            <a:xfrm>
              <a:off x="381000" y="0"/>
              <a:ext cx="0" cy="6858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8" hidden="1">
              <a:extLst>
                <a:ext uri="{FF2B5EF4-FFF2-40B4-BE49-F238E27FC236}">
                  <a16:creationId xmlns:a16="http://schemas.microsoft.com/office/drawing/2014/main" id="{31CDBB1C-4855-42CA-9C7F-04D0D986F764}"/>
                </a:ext>
              </a:extLst>
            </p:cNvPr>
            <p:cNvCxnSpPr>
              <a:cxnSpLocks/>
            </p:cNvCxnSpPr>
            <p:nvPr/>
          </p:nvCxnSpPr>
          <p:spPr>
            <a:xfrm>
              <a:off x="0" y="6441056"/>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hidden="1">
              <a:extLst>
                <a:ext uri="{FF2B5EF4-FFF2-40B4-BE49-F238E27FC236}">
                  <a16:creationId xmlns:a16="http://schemas.microsoft.com/office/drawing/2014/main" id="{2FD40C04-DD75-44F8-8981-25A134EB63D9}"/>
                </a:ext>
              </a:extLst>
            </p:cNvPr>
            <p:cNvCxnSpPr>
              <a:cxnSpLocks/>
            </p:cNvCxnSpPr>
            <p:nvPr/>
          </p:nvCxnSpPr>
          <p:spPr>
            <a:xfrm>
              <a:off x="0" y="6713903"/>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hidden="1">
              <a:extLst>
                <a:ext uri="{FF2B5EF4-FFF2-40B4-BE49-F238E27FC236}">
                  <a16:creationId xmlns:a16="http://schemas.microsoft.com/office/drawing/2014/main" id="{BE79AA27-C96A-4C22-968A-FA8F6B242865}"/>
                </a:ext>
              </a:extLst>
            </p:cNvPr>
            <p:cNvCxnSpPr>
              <a:cxnSpLocks/>
            </p:cNvCxnSpPr>
            <p:nvPr/>
          </p:nvCxnSpPr>
          <p:spPr>
            <a:xfrm>
              <a:off x="0" y="6256663"/>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Straight Connector 24" hidden="1">
              <a:extLst>
                <a:ext uri="{FF2B5EF4-FFF2-40B4-BE49-F238E27FC236}">
                  <a16:creationId xmlns:a16="http://schemas.microsoft.com/office/drawing/2014/main" id="{6205F8F2-BB15-4AF3-ACE1-7296CF26345D}"/>
                </a:ext>
              </a:extLst>
            </p:cNvPr>
            <p:cNvCxnSpPr>
              <a:cxnSpLocks/>
            </p:cNvCxnSpPr>
            <p:nvPr/>
          </p:nvCxnSpPr>
          <p:spPr>
            <a:xfrm>
              <a:off x="0" y="365481"/>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hidden="1">
              <a:extLst>
                <a:ext uri="{FF2B5EF4-FFF2-40B4-BE49-F238E27FC236}">
                  <a16:creationId xmlns:a16="http://schemas.microsoft.com/office/drawing/2014/main" id="{BDFED021-4E76-49A4-B6B9-DB3F67C3F267}"/>
                </a:ext>
              </a:extLst>
            </p:cNvPr>
            <p:cNvCxnSpPr>
              <a:cxnSpLocks/>
            </p:cNvCxnSpPr>
            <p:nvPr/>
          </p:nvCxnSpPr>
          <p:spPr>
            <a:xfrm>
              <a:off x="11810400" y="0"/>
              <a:ext cx="0" cy="6858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Straight Connector 24" hidden="1">
              <a:extLst>
                <a:ext uri="{FF2B5EF4-FFF2-40B4-BE49-F238E27FC236}">
                  <a16:creationId xmlns:a16="http://schemas.microsoft.com/office/drawing/2014/main" id="{2C3AA70A-D64C-4A62-BD60-33A72E348F86}"/>
                </a:ext>
              </a:extLst>
            </p:cNvPr>
            <p:cNvCxnSpPr>
              <a:cxnSpLocks/>
            </p:cNvCxnSpPr>
            <p:nvPr/>
          </p:nvCxnSpPr>
          <p:spPr>
            <a:xfrm>
              <a:off x="0" y="262505"/>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33" hidden="1">
              <a:extLst>
                <a:ext uri="{FF2B5EF4-FFF2-40B4-BE49-F238E27FC236}">
                  <a16:creationId xmlns:a16="http://schemas.microsoft.com/office/drawing/2014/main" id="{EC713A24-F136-485A-957C-9A9B40817822}"/>
                </a:ext>
              </a:extLst>
            </p:cNvPr>
            <p:cNvCxnSpPr>
              <a:cxnSpLocks/>
            </p:cNvCxnSpPr>
            <p:nvPr/>
          </p:nvCxnSpPr>
          <p:spPr>
            <a:xfrm>
              <a:off x="0" y="1761928"/>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24" hidden="1">
              <a:extLst>
                <a:ext uri="{FF2B5EF4-FFF2-40B4-BE49-F238E27FC236}">
                  <a16:creationId xmlns:a16="http://schemas.microsoft.com/office/drawing/2014/main" id="{ED16691E-ED6C-444D-9F8D-9EA93C9D47C2}"/>
                </a:ext>
              </a:extLst>
            </p:cNvPr>
            <p:cNvCxnSpPr>
              <a:cxnSpLocks/>
            </p:cNvCxnSpPr>
            <p:nvPr/>
          </p:nvCxnSpPr>
          <p:spPr>
            <a:xfrm>
              <a:off x="0" y="1269238"/>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20" name="Text Placeholder 19">
            <a:extLst>
              <a:ext uri="{FF2B5EF4-FFF2-40B4-BE49-F238E27FC236}">
                <a16:creationId xmlns:a16="http://schemas.microsoft.com/office/drawing/2014/main" id="{9F9869AF-B0F6-4E89-B216-4EC18C7334C2}"/>
              </a:ext>
            </a:extLst>
          </p:cNvPr>
          <p:cNvSpPr>
            <a:spLocks noGrp="1"/>
          </p:cNvSpPr>
          <p:nvPr>
            <p:ph type="body" idx="1"/>
          </p:nvPr>
        </p:nvSpPr>
        <p:spPr>
          <a:xfrm>
            <a:off x="381600" y="1270033"/>
            <a:ext cx="11428800" cy="854080"/>
          </a:xfrm>
          <a:prstGeom prst="rect">
            <a:avLst/>
          </a:prstGeom>
        </p:spPr>
        <p:txBody>
          <a:bodyPr vert="horz"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p:txBody>
      </p:sp>
      <p:pic>
        <p:nvPicPr>
          <p:cNvPr id="90" name="5d8d361f-22c4-4b42-8dc9-17fbf8f083ac">
            <a:extLst>
              <a:ext uri="{FF2B5EF4-FFF2-40B4-BE49-F238E27FC236}">
                <a16:creationId xmlns:a16="http://schemas.microsoft.com/office/drawing/2014/main" id="{E9D29B1E-5FF4-47E0-A51F-BE599AEC8ABE}"/>
              </a:ext>
            </a:extLst>
          </p:cNvPr>
          <p:cNvPicPr>
            <a:picLocks noChangeAspect="1"/>
          </p:cNvPicPr>
          <p:nvPr/>
        </p:nvPicPr>
        <p:blipFill>
          <a:blip r:embed="rId52">
            <a:extLst>
              <a:ext uri="{28A0092B-C50C-407E-A947-70E740481C1C}">
                <a14:useLocalDpi xmlns:a14="http://schemas.microsoft.com/office/drawing/2010/main" val="0"/>
              </a:ext>
              <a:ext uri="{96DAC541-7B7A-43D3-8B79-37D633B846F1}">
                <asvg:svgBlip xmlns:asvg="http://schemas.microsoft.com/office/drawing/2016/SVG/main" r:embed="rId53"/>
              </a:ext>
            </a:extLst>
          </a:blip>
          <a:stretch>
            <a:fillRect/>
          </a:stretch>
        </p:blipFill>
        <p:spPr>
          <a:xfrm>
            <a:off x="10303669" y="463173"/>
            <a:ext cx="1520032" cy="205004"/>
          </a:xfrm>
          <a:prstGeom prst="rect">
            <a:avLst/>
          </a:prstGeom>
        </p:spPr>
      </p:pic>
      <p:sp>
        <p:nvSpPr>
          <p:cNvPr id="4" name="TextBox 3">
            <a:extLst>
              <a:ext uri="{FF2B5EF4-FFF2-40B4-BE49-F238E27FC236}">
                <a16:creationId xmlns:a16="http://schemas.microsoft.com/office/drawing/2014/main" id="{CCBFCC18-C20E-4DA9-AA12-37C7045ECA95}"/>
              </a:ext>
            </a:extLst>
          </p:cNvPr>
          <p:cNvSpPr txBox="1"/>
          <p:nvPr userDrawn="1"/>
        </p:nvSpPr>
        <p:spPr>
          <a:xfrm>
            <a:off x="0" y="-172292"/>
            <a:ext cx="676467" cy="123111"/>
          </a:xfrm>
          <a:prstGeom prst="rect">
            <a:avLst/>
          </a:prstGeom>
          <a:noFill/>
        </p:spPr>
        <p:txBody>
          <a:bodyPr wrap="none" lIns="0" tIns="0" rIns="0" bIns="0" rtlCol="0">
            <a:spAutoFit/>
          </a:bodyPr>
          <a:lstStyle/>
          <a:p>
            <a:pPr marL="0" indent="0" algn="l">
              <a:spcBef>
                <a:spcPts val="600"/>
              </a:spcBef>
              <a:buFont typeface="Wingdings" panose="05000000000000000000" pitchFamily="2" charset="2"/>
              <a:buNone/>
            </a:pPr>
            <a:r>
              <a:rPr lang="en-GB" sz="800" noProof="1"/>
              <a:t>Aurora_2021.1</a:t>
            </a:r>
          </a:p>
        </p:txBody>
      </p:sp>
    </p:spTree>
    <p:extLst>
      <p:ext uri="{BB962C8B-B14F-4D97-AF65-F5344CB8AC3E}">
        <p14:creationId xmlns:p14="http://schemas.microsoft.com/office/powerpoint/2010/main" val="3226746640"/>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 id="2147483725" r:id="rId18"/>
    <p:sldLayoutId id="2147483726" r:id="rId19"/>
    <p:sldLayoutId id="2147483727" r:id="rId20"/>
    <p:sldLayoutId id="2147483728" r:id="rId21"/>
    <p:sldLayoutId id="2147483729" r:id="rId22"/>
    <p:sldLayoutId id="2147483730" r:id="rId23"/>
    <p:sldLayoutId id="2147483731" r:id="rId24"/>
    <p:sldLayoutId id="2147483732" r:id="rId25"/>
    <p:sldLayoutId id="2147483733" r:id="rId26"/>
    <p:sldLayoutId id="2147483734" r:id="rId27"/>
    <p:sldLayoutId id="2147483735" r:id="rId28"/>
    <p:sldLayoutId id="2147483736" r:id="rId29"/>
    <p:sldLayoutId id="2147483737" r:id="rId30"/>
    <p:sldLayoutId id="2147483738" r:id="rId31"/>
    <p:sldLayoutId id="2147483739" r:id="rId32"/>
    <p:sldLayoutId id="2147483740" r:id="rId33"/>
    <p:sldLayoutId id="2147483741" r:id="rId34"/>
    <p:sldLayoutId id="2147483742" r:id="rId35"/>
    <p:sldLayoutId id="2147483743" r:id="rId36"/>
    <p:sldLayoutId id="2147483744" r:id="rId37"/>
    <p:sldLayoutId id="2147483745" r:id="rId38"/>
    <p:sldLayoutId id="2147483746" r:id="rId39"/>
    <p:sldLayoutId id="2147483747" r:id="rId40"/>
    <p:sldLayoutId id="2147483748" r:id="rId41"/>
    <p:sldLayoutId id="2147483749" r:id="rId42"/>
    <p:sldLayoutId id="2147483750" r:id="rId43"/>
    <p:sldLayoutId id="2147483751" r:id="rId44"/>
    <p:sldLayoutId id="2147483752" r:id="rId45"/>
    <p:sldLayoutId id="2147483753" r:id="rId46"/>
  </p:sldLayoutIdLst>
  <p:hf sldNum="0" hdr="0" ftr="0" dt="0"/>
  <p:txStyles>
    <p:titleStyle>
      <a:lvl1pPr algn="l" defTabSz="685783" rtl="0" eaLnBrk="1" latinLnBrk="0" hangingPunct="1">
        <a:lnSpc>
          <a:spcPct val="90000"/>
        </a:lnSpc>
        <a:spcBef>
          <a:spcPct val="0"/>
        </a:spcBef>
        <a:buNone/>
        <a:defRPr lang="en-GB" sz="2200" b="1" kern="1200" dirty="0">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p:titleStyle>
    <p:body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16">
          <p15:clr>
            <a:srgbClr val="F26B43"/>
          </p15:clr>
        </p15:guide>
        <p15:guide id="2" pos="240">
          <p15:clr>
            <a:srgbClr val="F26B43"/>
          </p15:clr>
        </p15:guide>
        <p15:guide id="3" orient="horz" pos="799">
          <p15:clr>
            <a:srgbClr val="F26B43"/>
          </p15:clr>
        </p15:guide>
        <p15:guide id="4" pos="7448">
          <p15:clr>
            <a:srgbClr val="F26B43"/>
          </p15:clr>
        </p15:guide>
        <p15:guide id="5" orient="horz" pos="1071">
          <p15:clr>
            <a:srgbClr val="F26B43"/>
          </p15:clr>
        </p15:guide>
        <p15:guide id="6" pos="3624">
          <p15:clr>
            <a:srgbClr val="F26B43"/>
          </p15:clr>
        </p15:guide>
        <p15:guide id="7" pos="4056">
          <p15:clr>
            <a:srgbClr val="F26B43"/>
          </p15:clr>
        </p15:guide>
        <p15:guide id="8" orient="horz" pos="2500">
          <p15:clr>
            <a:srgbClr val="F26B43"/>
          </p15:clr>
        </p15:guide>
        <p15:guide id="9" orient="horz" pos="2115">
          <p15:clr>
            <a:srgbClr val="F26B43"/>
          </p15:clr>
        </p15:guide>
        <p15:guide id="10" orient="horz" pos="4065">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55"/>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7" imgW="492" imgH="504" progId="TCLayout.ActiveDocument.1">
                  <p:embed/>
                </p:oleObj>
              </mc:Choice>
              <mc:Fallback>
                <p:oleObj name="think-cell Slide" r:id="rId57" imgW="492" imgH="504" progId="TCLayout.ActiveDocument.1">
                  <p:embed/>
                  <p:pic>
                    <p:nvPicPr>
                      <p:cNvPr id="16" name="Object 15" hidden="1"/>
                      <p:cNvPicPr/>
                      <p:nvPr/>
                    </p:nvPicPr>
                    <p:blipFill>
                      <a:blip r:embed="rId58"/>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3680F9F-402E-4754-877B-923F01DAFB87}"/>
              </a:ext>
            </a:extLst>
          </p:cNvPr>
          <p:cNvSpPr/>
          <p:nvPr userDrawn="1">
            <p:custDataLst>
              <p:tags r:id="rId56"/>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spcBef>
                <a:spcPts val="600"/>
              </a:spcBef>
            </a:pPr>
            <a:endParaRPr lang="en-US" sz="2200" b="1" i="0" baseline="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 name="TextBox 10"/>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 name="Title Placeholder 2"/>
          <p:cNvSpPr>
            <a:spLocks noGrp="1"/>
          </p:cNvSpPr>
          <p:nvPr>
            <p:ph type="title"/>
          </p:nvPr>
        </p:nvSpPr>
        <p:spPr>
          <a:xfrm>
            <a:off x="381599" y="411856"/>
            <a:ext cx="8600471" cy="609398"/>
          </a:xfrm>
          <a:prstGeom prst="rect">
            <a:avLst/>
          </a:prstGeom>
        </p:spPr>
        <p:txBody>
          <a:bodyPr vert="horz" lIns="0" tIns="0" rIns="0" bIns="0" rtlCol="0" anchor="t" anchorCtr="0">
            <a:noAutofit/>
          </a:bodyPr>
          <a:lstStyle/>
          <a:p>
            <a:pPr marL="0" lvl="0"/>
            <a:r>
              <a:rPr lang="en-US"/>
              <a:t>Click to edit Master title style</a:t>
            </a:r>
            <a:endParaRPr lang="en-GB"/>
          </a:p>
        </p:txBody>
      </p:sp>
      <p:grpSp>
        <p:nvGrpSpPr>
          <p:cNvPr id="7" name="Drawing grid" hidden="1">
            <a:extLst>
              <a:ext uri="{FF2B5EF4-FFF2-40B4-BE49-F238E27FC236}">
                <a16:creationId xmlns:a16="http://schemas.microsoft.com/office/drawing/2014/main" id="{F689DF73-B24C-4DB8-A6FB-DC49F5393599}"/>
              </a:ext>
            </a:extLst>
          </p:cNvPr>
          <p:cNvGrpSpPr/>
          <p:nvPr/>
        </p:nvGrpSpPr>
        <p:grpSpPr>
          <a:xfrm>
            <a:off x="0" y="0"/>
            <a:ext cx="12192000" cy="6858000"/>
            <a:chOff x="0" y="0"/>
            <a:chExt cx="12192000" cy="6858000"/>
          </a:xfrm>
        </p:grpSpPr>
        <p:cxnSp>
          <p:nvCxnSpPr>
            <p:cNvPr id="8" name="Straight Connector 7" hidden="1">
              <a:extLst>
                <a:ext uri="{FF2B5EF4-FFF2-40B4-BE49-F238E27FC236}">
                  <a16:creationId xmlns:a16="http://schemas.microsoft.com/office/drawing/2014/main" id="{D1EDC188-BC1F-4384-B58C-411668F46D61}"/>
                </a:ext>
              </a:extLst>
            </p:cNvPr>
            <p:cNvCxnSpPr>
              <a:cxnSpLocks/>
            </p:cNvCxnSpPr>
            <p:nvPr/>
          </p:nvCxnSpPr>
          <p:spPr>
            <a:xfrm>
              <a:off x="381000" y="0"/>
              <a:ext cx="0" cy="6858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8" hidden="1">
              <a:extLst>
                <a:ext uri="{FF2B5EF4-FFF2-40B4-BE49-F238E27FC236}">
                  <a16:creationId xmlns:a16="http://schemas.microsoft.com/office/drawing/2014/main" id="{31CDBB1C-4855-42CA-9C7F-04D0D986F764}"/>
                </a:ext>
              </a:extLst>
            </p:cNvPr>
            <p:cNvCxnSpPr>
              <a:cxnSpLocks/>
            </p:cNvCxnSpPr>
            <p:nvPr/>
          </p:nvCxnSpPr>
          <p:spPr>
            <a:xfrm>
              <a:off x="0" y="6441056"/>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hidden="1">
              <a:extLst>
                <a:ext uri="{FF2B5EF4-FFF2-40B4-BE49-F238E27FC236}">
                  <a16:creationId xmlns:a16="http://schemas.microsoft.com/office/drawing/2014/main" id="{2FD40C04-DD75-44F8-8981-25A134EB63D9}"/>
                </a:ext>
              </a:extLst>
            </p:cNvPr>
            <p:cNvCxnSpPr>
              <a:cxnSpLocks/>
            </p:cNvCxnSpPr>
            <p:nvPr/>
          </p:nvCxnSpPr>
          <p:spPr>
            <a:xfrm>
              <a:off x="0" y="6713903"/>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hidden="1">
              <a:extLst>
                <a:ext uri="{FF2B5EF4-FFF2-40B4-BE49-F238E27FC236}">
                  <a16:creationId xmlns:a16="http://schemas.microsoft.com/office/drawing/2014/main" id="{BE79AA27-C96A-4C22-968A-FA8F6B242865}"/>
                </a:ext>
              </a:extLst>
            </p:cNvPr>
            <p:cNvCxnSpPr>
              <a:cxnSpLocks/>
            </p:cNvCxnSpPr>
            <p:nvPr/>
          </p:nvCxnSpPr>
          <p:spPr>
            <a:xfrm>
              <a:off x="0" y="6256663"/>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Straight Connector 24" hidden="1">
              <a:extLst>
                <a:ext uri="{FF2B5EF4-FFF2-40B4-BE49-F238E27FC236}">
                  <a16:creationId xmlns:a16="http://schemas.microsoft.com/office/drawing/2014/main" id="{6205F8F2-BB15-4AF3-ACE1-7296CF26345D}"/>
                </a:ext>
              </a:extLst>
            </p:cNvPr>
            <p:cNvCxnSpPr>
              <a:cxnSpLocks/>
            </p:cNvCxnSpPr>
            <p:nvPr/>
          </p:nvCxnSpPr>
          <p:spPr>
            <a:xfrm>
              <a:off x="0" y="365481"/>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hidden="1">
              <a:extLst>
                <a:ext uri="{FF2B5EF4-FFF2-40B4-BE49-F238E27FC236}">
                  <a16:creationId xmlns:a16="http://schemas.microsoft.com/office/drawing/2014/main" id="{BDFED021-4E76-49A4-B6B9-DB3F67C3F267}"/>
                </a:ext>
              </a:extLst>
            </p:cNvPr>
            <p:cNvCxnSpPr>
              <a:cxnSpLocks/>
            </p:cNvCxnSpPr>
            <p:nvPr/>
          </p:nvCxnSpPr>
          <p:spPr>
            <a:xfrm>
              <a:off x="11810400" y="0"/>
              <a:ext cx="0" cy="6858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Straight Connector 24" hidden="1">
              <a:extLst>
                <a:ext uri="{FF2B5EF4-FFF2-40B4-BE49-F238E27FC236}">
                  <a16:creationId xmlns:a16="http://schemas.microsoft.com/office/drawing/2014/main" id="{2C3AA70A-D64C-4A62-BD60-33A72E348F86}"/>
                </a:ext>
              </a:extLst>
            </p:cNvPr>
            <p:cNvCxnSpPr>
              <a:cxnSpLocks/>
            </p:cNvCxnSpPr>
            <p:nvPr/>
          </p:nvCxnSpPr>
          <p:spPr>
            <a:xfrm>
              <a:off x="0" y="262505"/>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33" hidden="1">
              <a:extLst>
                <a:ext uri="{FF2B5EF4-FFF2-40B4-BE49-F238E27FC236}">
                  <a16:creationId xmlns:a16="http://schemas.microsoft.com/office/drawing/2014/main" id="{EC713A24-F136-485A-957C-9A9B40817822}"/>
                </a:ext>
              </a:extLst>
            </p:cNvPr>
            <p:cNvCxnSpPr>
              <a:cxnSpLocks/>
            </p:cNvCxnSpPr>
            <p:nvPr/>
          </p:nvCxnSpPr>
          <p:spPr>
            <a:xfrm>
              <a:off x="0" y="1761928"/>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24" hidden="1">
              <a:extLst>
                <a:ext uri="{FF2B5EF4-FFF2-40B4-BE49-F238E27FC236}">
                  <a16:creationId xmlns:a16="http://schemas.microsoft.com/office/drawing/2014/main" id="{ED16691E-ED6C-444D-9F8D-9EA93C9D47C2}"/>
                </a:ext>
              </a:extLst>
            </p:cNvPr>
            <p:cNvCxnSpPr>
              <a:cxnSpLocks/>
            </p:cNvCxnSpPr>
            <p:nvPr/>
          </p:nvCxnSpPr>
          <p:spPr>
            <a:xfrm>
              <a:off x="0" y="1269238"/>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20" name="Text Placeholder 19">
            <a:extLst>
              <a:ext uri="{FF2B5EF4-FFF2-40B4-BE49-F238E27FC236}">
                <a16:creationId xmlns:a16="http://schemas.microsoft.com/office/drawing/2014/main" id="{9F9869AF-B0F6-4E89-B216-4EC18C7334C2}"/>
              </a:ext>
            </a:extLst>
          </p:cNvPr>
          <p:cNvSpPr>
            <a:spLocks noGrp="1"/>
          </p:cNvSpPr>
          <p:nvPr>
            <p:ph type="body" idx="1"/>
          </p:nvPr>
        </p:nvSpPr>
        <p:spPr>
          <a:xfrm>
            <a:off x="381600" y="1270033"/>
            <a:ext cx="11428800" cy="854080"/>
          </a:xfrm>
          <a:prstGeom prst="rect">
            <a:avLst/>
          </a:prstGeom>
        </p:spPr>
        <p:txBody>
          <a:bodyPr vert="horz"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p:txBody>
      </p:sp>
      <p:pic>
        <p:nvPicPr>
          <p:cNvPr id="90" name="5d8d361f-22c4-4b42-8dc9-17fbf8f083ac">
            <a:extLst>
              <a:ext uri="{FF2B5EF4-FFF2-40B4-BE49-F238E27FC236}">
                <a16:creationId xmlns:a16="http://schemas.microsoft.com/office/drawing/2014/main" id="{E9D29B1E-5FF4-47E0-A51F-BE599AEC8ABE}"/>
              </a:ext>
            </a:extLst>
          </p:cNvPr>
          <p:cNvPicPr>
            <a:picLocks noChangeAspect="1"/>
          </p:cNvPicPr>
          <p:nvPr/>
        </p:nvPicPr>
        <p:blipFill>
          <a:blip r:embed="rId59">
            <a:extLst>
              <a:ext uri="{28A0092B-C50C-407E-A947-70E740481C1C}">
                <a14:useLocalDpi xmlns:a14="http://schemas.microsoft.com/office/drawing/2010/main" val="0"/>
              </a:ext>
              <a:ext uri="{96DAC541-7B7A-43D3-8B79-37D633B846F1}">
                <asvg:svgBlip xmlns:asvg="http://schemas.microsoft.com/office/drawing/2016/SVG/main" r:embed="rId60"/>
              </a:ext>
            </a:extLst>
          </a:blip>
          <a:stretch>
            <a:fillRect/>
          </a:stretch>
        </p:blipFill>
        <p:spPr>
          <a:xfrm>
            <a:off x="10303669" y="463173"/>
            <a:ext cx="1520032" cy="205004"/>
          </a:xfrm>
          <a:prstGeom prst="rect">
            <a:avLst/>
          </a:prstGeom>
        </p:spPr>
      </p:pic>
      <p:sp>
        <p:nvSpPr>
          <p:cNvPr id="4" name="TextBox 3">
            <a:extLst>
              <a:ext uri="{FF2B5EF4-FFF2-40B4-BE49-F238E27FC236}">
                <a16:creationId xmlns:a16="http://schemas.microsoft.com/office/drawing/2014/main" id="{CCBFCC18-C20E-4DA9-AA12-37C7045ECA95}"/>
              </a:ext>
            </a:extLst>
          </p:cNvPr>
          <p:cNvSpPr txBox="1"/>
          <p:nvPr userDrawn="1"/>
        </p:nvSpPr>
        <p:spPr>
          <a:xfrm>
            <a:off x="0" y="-172292"/>
            <a:ext cx="676467" cy="123111"/>
          </a:xfrm>
          <a:prstGeom prst="rect">
            <a:avLst/>
          </a:prstGeom>
          <a:noFill/>
        </p:spPr>
        <p:txBody>
          <a:bodyPr wrap="none" lIns="0" tIns="0" rIns="0" bIns="0" rtlCol="0">
            <a:spAutoFit/>
          </a:bodyPr>
          <a:lstStyle/>
          <a:p>
            <a:pPr marL="0" indent="0" algn="l">
              <a:spcBef>
                <a:spcPts val="600"/>
              </a:spcBef>
              <a:buFont typeface="Wingdings" panose="05000000000000000000" pitchFamily="2" charset="2"/>
              <a:buNone/>
            </a:pPr>
            <a:r>
              <a:rPr lang="en-GB" sz="800" noProof="1"/>
              <a:t>Aurora_2021.1</a:t>
            </a:r>
          </a:p>
        </p:txBody>
      </p:sp>
    </p:spTree>
    <p:extLst>
      <p:ext uri="{BB962C8B-B14F-4D97-AF65-F5344CB8AC3E}">
        <p14:creationId xmlns:p14="http://schemas.microsoft.com/office/powerpoint/2010/main" val="2344575734"/>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 id="2147483771" r:id="rId17"/>
    <p:sldLayoutId id="2147483772" r:id="rId18"/>
    <p:sldLayoutId id="2147483773" r:id="rId19"/>
    <p:sldLayoutId id="2147483774" r:id="rId20"/>
    <p:sldLayoutId id="2147483775" r:id="rId21"/>
    <p:sldLayoutId id="2147483776" r:id="rId22"/>
    <p:sldLayoutId id="2147483777" r:id="rId23"/>
    <p:sldLayoutId id="2147483778" r:id="rId24"/>
    <p:sldLayoutId id="2147483779" r:id="rId25"/>
    <p:sldLayoutId id="2147483780" r:id="rId26"/>
    <p:sldLayoutId id="2147483781" r:id="rId27"/>
    <p:sldLayoutId id="2147483782" r:id="rId28"/>
    <p:sldLayoutId id="2147483783" r:id="rId29"/>
    <p:sldLayoutId id="2147483784" r:id="rId30"/>
    <p:sldLayoutId id="2147483785" r:id="rId31"/>
    <p:sldLayoutId id="2147483786" r:id="rId32"/>
    <p:sldLayoutId id="2147483787" r:id="rId33"/>
    <p:sldLayoutId id="2147483788" r:id="rId34"/>
    <p:sldLayoutId id="2147483789" r:id="rId35"/>
    <p:sldLayoutId id="2147483790" r:id="rId36"/>
    <p:sldLayoutId id="2147483791" r:id="rId37"/>
    <p:sldLayoutId id="2147483792" r:id="rId38"/>
    <p:sldLayoutId id="2147483793" r:id="rId39"/>
    <p:sldLayoutId id="2147483794" r:id="rId40"/>
    <p:sldLayoutId id="2147483795" r:id="rId41"/>
    <p:sldLayoutId id="2147483796" r:id="rId42"/>
    <p:sldLayoutId id="2147483797" r:id="rId43"/>
    <p:sldLayoutId id="2147483798" r:id="rId44"/>
    <p:sldLayoutId id="2147483799" r:id="rId45"/>
    <p:sldLayoutId id="2147483800" r:id="rId46"/>
    <p:sldLayoutId id="2147483801" r:id="rId47"/>
    <p:sldLayoutId id="2147483802" r:id="rId48"/>
    <p:sldLayoutId id="2147483803" r:id="rId49"/>
    <p:sldLayoutId id="2147483804" r:id="rId50"/>
    <p:sldLayoutId id="2147483805" r:id="rId51"/>
    <p:sldLayoutId id="2147483806" r:id="rId52"/>
    <p:sldLayoutId id="2147483807" r:id="rId53"/>
  </p:sldLayoutIdLst>
  <p:hf sldNum="0" hdr="0" ftr="0" dt="0"/>
  <p:txStyles>
    <p:titleStyle>
      <a:lvl1pPr algn="l" defTabSz="685783" rtl="0" eaLnBrk="1" latinLnBrk="0" hangingPunct="1">
        <a:lnSpc>
          <a:spcPct val="90000"/>
        </a:lnSpc>
        <a:spcBef>
          <a:spcPct val="0"/>
        </a:spcBef>
        <a:buNone/>
        <a:defRPr lang="en-GB" sz="2200" b="1" kern="1200" dirty="0">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p:titleStyle>
    <p:body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16">
          <p15:clr>
            <a:srgbClr val="F26B43"/>
          </p15:clr>
        </p15:guide>
        <p15:guide id="2" pos="240">
          <p15:clr>
            <a:srgbClr val="F26B43"/>
          </p15:clr>
        </p15:guide>
        <p15:guide id="3" orient="horz" pos="799">
          <p15:clr>
            <a:srgbClr val="F26B43"/>
          </p15:clr>
        </p15:guide>
        <p15:guide id="4" pos="7448">
          <p15:clr>
            <a:srgbClr val="F26B43"/>
          </p15:clr>
        </p15:guide>
        <p15:guide id="5" orient="horz" pos="1071">
          <p15:clr>
            <a:srgbClr val="F26B43"/>
          </p15:clr>
        </p15:guide>
        <p15:guide id="6" pos="3624">
          <p15:clr>
            <a:srgbClr val="F26B43"/>
          </p15:clr>
        </p15:guide>
        <p15:guide id="7" pos="4056">
          <p15:clr>
            <a:srgbClr val="F26B43"/>
          </p15:clr>
        </p15:guide>
        <p15:guide id="8" orient="horz" pos="2500">
          <p15:clr>
            <a:srgbClr val="F26B43"/>
          </p15:clr>
        </p15:guide>
        <p15:guide id="9" orient="horz" pos="2115">
          <p15:clr>
            <a:srgbClr val="F26B43"/>
          </p15:clr>
        </p15:guide>
        <p15:guide id="10" orient="horz" pos="406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6.xml"/><Relationship Id="rId1" Type="http://schemas.openxmlformats.org/officeDocument/2006/relationships/tags" Target="../tags/tag157.xml"/><Relationship Id="rId6" Type="http://schemas.openxmlformats.org/officeDocument/2006/relationships/image" Target="../media/image12.emf"/><Relationship Id="rId5" Type="http://schemas.openxmlformats.org/officeDocument/2006/relationships/oleObject" Target="../embeddings/oleObject147.bin"/><Relationship Id="rId4" Type="http://schemas.openxmlformats.org/officeDocument/2006/relationships/image" Target="../media/image11.jpeg"/></Relationships>
</file>

<file path=ppt/slides/_rels/slide10.xml.rels><?xml version="1.0" encoding="UTF-8" standalone="yes"?>
<Relationships xmlns="http://schemas.openxmlformats.org/package/2006/relationships"><Relationship Id="rId13" Type="http://schemas.openxmlformats.org/officeDocument/2006/relationships/tags" Target="../tags/tag341.xml"/><Relationship Id="rId18" Type="http://schemas.openxmlformats.org/officeDocument/2006/relationships/tags" Target="../tags/tag346.xml"/><Relationship Id="rId26" Type="http://schemas.openxmlformats.org/officeDocument/2006/relationships/tags" Target="../tags/tag354.xml"/><Relationship Id="rId39" Type="http://schemas.openxmlformats.org/officeDocument/2006/relationships/tags" Target="../tags/tag367.xml"/><Relationship Id="rId21" Type="http://schemas.openxmlformats.org/officeDocument/2006/relationships/tags" Target="../tags/tag349.xml"/><Relationship Id="rId34" Type="http://schemas.openxmlformats.org/officeDocument/2006/relationships/tags" Target="../tags/tag362.xml"/><Relationship Id="rId42" Type="http://schemas.openxmlformats.org/officeDocument/2006/relationships/notesSlide" Target="../notesSlides/notesSlide9.xml"/><Relationship Id="rId47" Type="http://schemas.openxmlformats.org/officeDocument/2006/relationships/image" Target="../media/image42.png"/><Relationship Id="rId7" Type="http://schemas.openxmlformats.org/officeDocument/2006/relationships/tags" Target="../tags/tag335.xml"/><Relationship Id="rId2" Type="http://schemas.openxmlformats.org/officeDocument/2006/relationships/tags" Target="../tags/tag330.xml"/><Relationship Id="rId16" Type="http://schemas.openxmlformats.org/officeDocument/2006/relationships/tags" Target="../tags/tag344.xml"/><Relationship Id="rId29" Type="http://schemas.openxmlformats.org/officeDocument/2006/relationships/tags" Target="../tags/tag357.xml"/><Relationship Id="rId1" Type="http://schemas.openxmlformats.org/officeDocument/2006/relationships/tags" Target="../tags/tag329.xml"/><Relationship Id="rId6" Type="http://schemas.openxmlformats.org/officeDocument/2006/relationships/tags" Target="../tags/tag334.xml"/><Relationship Id="rId11" Type="http://schemas.openxmlformats.org/officeDocument/2006/relationships/tags" Target="../tags/tag339.xml"/><Relationship Id="rId24" Type="http://schemas.openxmlformats.org/officeDocument/2006/relationships/tags" Target="../tags/tag352.xml"/><Relationship Id="rId32" Type="http://schemas.openxmlformats.org/officeDocument/2006/relationships/tags" Target="../tags/tag360.xml"/><Relationship Id="rId37" Type="http://schemas.openxmlformats.org/officeDocument/2006/relationships/tags" Target="../tags/tag365.xml"/><Relationship Id="rId40" Type="http://schemas.openxmlformats.org/officeDocument/2006/relationships/tags" Target="../tags/tag368.xml"/><Relationship Id="rId45" Type="http://schemas.openxmlformats.org/officeDocument/2006/relationships/image" Target="../media/image40.png"/><Relationship Id="rId5" Type="http://schemas.openxmlformats.org/officeDocument/2006/relationships/tags" Target="../tags/tag333.xml"/><Relationship Id="rId15" Type="http://schemas.openxmlformats.org/officeDocument/2006/relationships/tags" Target="../tags/tag343.xml"/><Relationship Id="rId23" Type="http://schemas.openxmlformats.org/officeDocument/2006/relationships/tags" Target="../tags/tag351.xml"/><Relationship Id="rId28" Type="http://schemas.openxmlformats.org/officeDocument/2006/relationships/tags" Target="../tags/tag356.xml"/><Relationship Id="rId36" Type="http://schemas.openxmlformats.org/officeDocument/2006/relationships/tags" Target="../tags/tag364.xml"/><Relationship Id="rId10" Type="http://schemas.openxmlformats.org/officeDocument/2006/relationships/tags" Target="../tags/tag338.xml"/><Relationship Id="rId19" Type="http://schemas.openxmlformats.org/officeDocument/2006/relationships/tags" Target="../tags/tag347.xml"/><Relationship Id="rId31" Type="http://schemas.openxmlformats.org/officeDocument/2006/relationships/tags" Target="../tags/tag359.xml"/><Relationship Id="rId44" Type="http://schemas.openxmlformats.org/officeDocument/2006/relationships/image" Target="../media/image7.emf"/><Relationship Id="rId4" Type="http://schemas.openxmlformats.org/officeDocument/2006/relationships/tags" Target="../tags/tag332.xml"/><Relationship Id="rId9" Type="http://schemas.openxmlformats.org/officeDocument/2006/relationships/tags" Target="../tags/tag337.xml"/><Relationship Id="rId14" Type="http://schemas.openxmlformats.org/officeDocument/2006/relationships/tags" Target="../tags/tag342.xml"/><Relationship Id="rId22" Type="http://schemas.openxmlformats.org/officeDocument/2006/relationships/tags" Target="../tags/tag350.xml"/><Relationship Id="rId27" Type="http://schemas.openxmlformats.org/officeDocument/2006/relationships/tags" Target="../tags/tag355.xml"/><Relationship Id="rId30" Type="http://schemas.openxmlformats.org/officeDocument/2006/relationships/tags" Target="../tags/tag358.xml"/><Relationship Id="rId35" Type="http://schemas.openxmlformats.org/officeDocument/2006/relationships/tags" Target="../tags/tag363.xml"/><Relationship Id="rId43" Type="http://schemas.openxmlformats.org/officeDocument/2006/relationships/oleObject" Target="../embeddings/oleObject153.bin"/><Relationship Id="rId48" Type="http://schemas.openxmlformats.org/officeDocument/2006/relationships/image" Target="../media/image43.png"/><Relationship Id="rId8" Type="http://schemas.openxmlformats.org/officeDocument/2006/relationships/tags" Target="../tags/tag336.xml"/><Relationship Id="rId3" Type="http://schemas.openxmlformats.org/officeDocument/2006/relationships/tags" Target="../tags/tag331.xml"/><Relationship Id="rId12" Type="http://schemas.openxmlformats.org/officeDocument/2006/relationships/tags" Target="../tags/tag340.xml"/><Relationship Id="rId17" Type="http://schemas.openxmlformats.org/officeDocument/2006/relationships/tags" Target="../tags/tag345.xml"/><Relationship Id="rId25" Type="http://schemas.openxmlformats.org/officeDocument/2006/relationships/tags" Target="../tags/tag353.xml"/><Relationship Id="rId33" Type="http://schemas.openxmlformats.org/officeDocument/2006/relationships/tags" Target="../tags/tag361.xml"/><Relationship Id="rId38" Type="http://schemas.openxmlformats.org/officeDocument/2006/relationships/tags" Target="../tags/tag366.xml"/><Relationship Id="rId46" Type="http://schemas.openxmlformats.org/officeDocument/2006/relationships/image" Target="../media/image41.png"/><Relationship Id="rId20" Type="http://schemas.openxmlformats.org/officeDocument/2006/relationships/tags" Target="../tags/tag348.xml"/><Relationship Id="rId41" Type="http://schemas.openxmlformats.org/officeDocument/2006/relationships/slideLayout" Target="../slideLayouts/slideLayout96.xml"/></Relationships>
</file>

<file path=ppt/slides/_rels/slide11.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notesSlide" Target="../notesSlides/notesSlide10.xml"/><Relationship Id="rId7" Type="http://schemas.openxmlformats.org/officeDocument/2006/relationships/image" Target="../media/image46.svg"/><Relationship Id="rId2" Type="http://schemas.openxmlformats.org/officeDocument/2006/relationships/slideLayout" Target="../slideLayouts/slideLayout96.xml"/><Relationship Id="rId1" Type="http://schemas.openxmlformats.org/officeDocument/2006/relationships/tags" Target="../tags/tag369.xml"/><Relationship Id="rId6" Type="http://schemas.openxmlformats.org/officeDocument/2006/relationships/image" Target="../media/image45.png"/><Relationship Id="rId11" Type="http://schemas.openxmlformats.org/officeDocument/2006/relationships/image" Target="../media/image50.svg"/><Relationship Id="rId5" Type="http://schemas.openxmlformats.org/officeDocument/2006/relationships/image" Target="../media/image44.emf"/><Relationship Id="rId10" Type="http://schemas.openxmlformats.org/officeDocument/2006/relationships/image" Target="../media/image49.png"/><Relationship Id="rId4" Type="http://schemas.openxmlformats.org/officeDocument/2006/relationships/oleObject" Target="../embeddings/oleObject154.bin"/><Relationship Id="rId9" Type="http://schemas.openxmlformats.org/officeDocument/2006/relationships/image" Target="../media/image48.svg"/></Relationships>
</file>

<file path=ppt/slides/_rels/slide12.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slideLayout" Target="../slideLayouts/slideLayout96.xml"/><Relationship Id="rId7" Type="http://schemas.openxmlformats.org/officeDocument/2006/relationships/image" Target="../media/image51.png"/><Relationship Id="rId2" Type="http://schemas.openxmlformats.org/officeDocument/2006/relationships/tags" Target="../tags/tag371.xml"/><Relationship Id="rId1" Type="http://schemas.openxmlformats.org/officeDocument/2006/relationships/tags" Target="../tags/tag370.xml"/><Relationship Id="rId6" Type="http://schemas.openxmlformats.org/officeDocument/2006/relationships/image" Target="../media/image7.emf"/><Relationship Id="rId5" Type="http://schemas.openxmlformats.org/officeDocument/2006/relationships/oleObject" Target="../embeddings/oleObject155.bin"/><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13" Type="http://schemas.openxmlformats.org/officeDocument/2006/relationships/tags" Target="../tags/tag384.xml"/><Relationship Id="rId18" Type="http://schemas.openxmlformats.org/officeDocument/2006/relationships/tags" Target="../tags/tag389.xml"/><Relationship Id="rId26" Type="http://schemas.openxmlformats.org/officeDocument/2006/relationships/tags" Target="../tags/tag397.xml"/><Relationship Id="rId39" Type="http://schemas.openxmlformats.org/officeDocument/2006/relationships/tags" Target="../tags/tag410.xml"/><Relationship Id="rId21" Type="http://schemas.openxmlformats.org/officeDocument/2006/relationships/tags" Target="../tags/tag392.xml"/><Relationship Id="rId34" Type="http://schemas.openxmlformats.org/officeDocument/2006/relationships/tags" Target="../tags/tag405.xml"/><Relationship Id="rId42" Type="http://schemas.openxmlformats.org/officeDocument/2006/relationships/tags" Target="../tags/tag413.xml"/><Relationship Id="rId47" Type="http://schemas.openxmlformats.org/officeDocument/2006/relationships/tags" Target="../tags/tag418.xml"/><Relationship Id="rId50" Type="http://schemas.openxmlformats.org/officeDocument/2006/relationships/tags" Target="../tags/tag421.xml"/><Relationship Id="rId55" Type="http://schemas.openxmlformats.org/officeDocument/2006/relationships/image" Target="../media/image54.png"/><Relationship Id="rId7" Type="http://schemas.openxmlformats.org/officeDocument/2006/relationships/tags" Target="../tags/tag378.xml"/><Relationship Id="rId2" Type="http://schemas.openxmlformats.org/officeDocument/2006/relationships/tags" Target="../tags/tag373.xml"/><Relationship Id="rId16" Type="http://schemas.openxmlformats.org/officeDocument/2006/relationships/tags" Target="../tags/tag387.xml"/><Relationship Id="rId29" Type="http://schemas.openxmlformats.org/officeDocument/2006/relationships/tags" Target="../tags/tag400.xml"/><Relationship Id="rId11" Type="http://schemas.openxmlformats.org/officeDocument/2006/relationships/tags" Target="../tags/tag382.xml"/><Relationship Id="rId24" Type="http://schemas.openxmlformats.org/officeDocument/2006/relationships/tags" Target="../tags/tag395.xml"/><Relationship Id="rId32" Type="http://schemas.openxmlformats.org/officeDocument/2006/relationships/tags" Target="../tags/tag403.xml"/><Relationship Id="rId37" Type="http://schemas.openxmlformats.org/officeDocument/2006/relationships/tags" Target="../tags/tag408.xml"/><Relationship Id="rId40" Type="http://schemas.openxmlformats.org/officeDocument/2006/relationships/tags" Target="../tags/tag411.xml"/><Relationship Id="rId45" Type="http://schemas.openxmlformats.org/officeDocument/2006/relationships/tags" Target="../tags/tag416.xml"/><Relationship Id="rId53" Type="http://schemas.openxmlformats.org/officeDocument/2006/relationships/oleObject" Target="../embeddings/oleObject156.bin"/><Relationship Id="rId58" Type="http://schemas.openxmlformats.org/officeDocument/2006/relationships/chart" Target="../charts/chart8.xml"/><Relationship Id="rId5" Type="http://schemas.openxmlformats.org/officeDocument/2006/relationships/tags" Target="../tags/tag376.xml"/><Relationship Id="rId19" Type="http://schemas.openxmlformats.org/officeDocument/2006/relationships/tags" Target="../tags/tag390.xml"/><Relationship Id="rId4" Type="http://schemas.openxmlformats.org/officeDocument/2006/relationships/tags" Target="../tags/tag375.xml"/><Relationship Id="rId9" Type="http://schemas.openxmlformats.org/officeDocument/2006/relationships/tags" Target="../tags/tag380.xml"/><Relationship Id="rId14" Type="http://schemas.openxmlformats.org/officeDocument/2006/relationships/tags" Target="../tags/tag385.xml"/><Relationship Id="rId22" Type="http://schemas.openxmlformats.org/officeDocument/2006/relationships/tags" Target="../tags/tag393.xml"/><Relationship Id="rId27" Type="http://schemas.openxmlformats.org/officeDocument/2006/relationships/tags" Target="../tags/tag398.xml"/><Relationship Id="rId30" Type="http://schemas.openxmlformats.org/officeDocument/2006/relationships/tags" Target="../tags/tag401.xml"/><Relationship Id="rId35" Type="http://schemas.openxmlformats.org/officeDocument/2006/relationships/tags" Target="../tags/tag406.xml"/><Relationship Id="rId43" Type="http://schemas.openxmlformats.org/officeDocument/2006/relationships/tags" Target="../tags/tag414.xml"/><Relationship Id="rId48" Type="http://schemas.openxmlformats.org/officeDocument/2006/relationships/tags" Target="../tags/tag419.xml"/><Relationship Id="rId56" Type="http://schemas.openxmlformats.org/officeDocument/2006/relationships/image" Target="../media/image55.png"/><Relationship Id="rId8" Type="http://schemas.openxmlformats.org/officeDocument/2006/relationships/tags" Target="../tags/tag379.xml"/><Relationship Id="rId51" Type="http://schemas.openxmlformats.org/officeDocument/2006/relationships/slideLayout" Target="../slideLayouts/slideLayout51.xml"/><Relationship Id="rId3" Type="http://schemas.openxmlformats.org/officeDocument/2006/relationships/tags" Target="../tags/tag374.xml"/><Relationship Id="rId12" Type="http://schemas.openxmlformats.org/officeDocument/2006/relationships/tags" Target="../tags/tag383.xml"/><Relationship Id="rId17" Type="http://schemas.openxmlformats.org/officeDocument/2006/relationships/tags" Target="../tags/tag388.xml"/><Relationship Id="rId25" Type="http://schemas.openxmlformats.org/officeDocument/2006/relationships/tags" Target="../tags/tag396.xml"/><Relationship Id="rId33" Type="http://schemas.openxmlformats.org/officeDocument/2006/relationships/tags" Target="../tags/tag404.xml"/><Relationship Id="rId38" Type="http://schemas.openxmlformats.org/officeDocument/2006/relationships/tags" Target="../tags/tag409.xml"/><Relationship Id="rId46" Type="http://schemas.openxmlformats.org/officeDocument/2006/relationships/tags" Target="../tags/tag417.xml"/><Relationship Id="rId20" Type="http://schemas.openxmlformats.org/officeDocument/2006/relationships/tags" Target="../tags/tag391.xml"/><Relationship Id="rId41" Type="http://schemas.openxmlformats.org/officeDocument/2006/relationships/tags" Target="../tags/tag412.xml"/><Relationship Id="rId54" Type="http://schemas.openxmlformats.org/officeDocument/2006/relationships/image" Target="../media/image53.emf"/><Relationship Id="rId1" Type="http://schemas.openxmlformats.org/officeDocument/2006/relationships/tags" Target="../tags/tag372.xml"/><Relationship Id="rId6" Type="http://schemas.openxmlformats.org/officeDocument/2006/relationships/tags" Target="../tags/tag377.xml"/><Relationship Id="rId15" Type="http://schemas.openxmlformats.org/officeDocument/2006/relationships/tags" Target="../tags/tag386.xml"/><Relationship Id="rId23" Type="http://schemas.openxmlformats.org/officeDocument/2006/relationships/tags" Target="../tags/tag394.xml"/><Relationship Id="rId28" Type="http://schemas.openxmlformats.org/officeDocument/2006/relationships/tags" Target="../tags/tag399.xml"/><Relationship Id="rId36" Type="http://schemas.openxmlformats.org/officeDocument/2006/relationships/tags" Target="../tags/tag407.xml"/><Relationship Id="rId49" Type="http://schemas.openxmlformats.org/officeDocument/2006/relationships/tags" Target="../tags/tag420.xml"/><Relationship Id="rId57" Type="http://schemas.openxmlformats.org/officeDocument/2006/relationships/image" Target="../media/image56.png"/><Relationship Id="rId10" Type="http://schemas.openxmlformats.org/officeDocument/2006/relationships/tags" Target="../tags/tag381.xml"/><Relationship Id="rId31" Type="http://schemas.openxmlformats.org/officeDocument/2006/relationships/tags" Target="../tags/tag402.xml"/><Relationship Id="rId44" Type="http://schemas.openxmlformats.org/officeDocument/2006/relationships/tags" Target="../tags/tag415.xml"/><Relationship Id="rId52"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8" Type="http://schemas.openxmlformats.org/officeDocument/2006/relationships/tags" Target="../tags/tag429.xml"/><Relationship Id="rId13" Type="http://schemas.openxmlformats.org/officeDocument/2006/relationships/image" Target="../media/image12.emf"/><Relationship Id="rId3" Type="http://schemas.openxmlformats.org/officeDocument/2006/relationships/tags" Target="../tags/tag424.xml"/><Relationship Id="rId7" Type="http://schemas.openxmlformats.org/officeDocument/2006/relationships/tags" Target="../tags/tag428.xml"/><Relationship Id="rId12" Type="http://schemas.openxmlformats.org/officeDocument/2006/relationships/oleObject" Target="../embeddings/oleObject157.bin"/><Relationship Id="rId2" Type="http://schemas.openxmlformats.org/officeDocument/2006/relationships/tags" Target="../tags/tag423.xml"/><Relationship Id="rId1" Type="http://schemas.openxmlformats.org/officeDocument/2006/relationships/tags" Target="../tags/tag422.xml"/><Relationship Id="rId6" Type="http://schemas.openxmlformats.org/officeDocument/2006/relationships/tags" Target="../tags/tag427.xml"/><Relationship Id="rId11" Type="http://schemas.openxmlformats.org/officeDocument/2006/relationships/notesSlide" Target="../notesSlides/notesSlide13.xml"/><Relationship Id="rId5" Type="http://schemas.openxmlformats.org/officeDocument/2006/relationships/tags" Target="../tags/tag426.xml"/><Relationship Id="rId10" Type="http://schemas.openxmlformats.org/officeDocument/2006/relationships/slideLayout" Target="../slideLayouts/slideLayout54.xml"/><Relationship Id="rId4" Type="http://schemas.openxmlformats.org/officeDocument/2006/relationships/tags" Target="../tags/tag425.xml"/><Relationship Id="rId9" Type="http://schemas.openxmlformats.org/officeDocument/2006/relationships/tags" Target="../tags/tag430.xml"/><Relationship Id="rId14" Type="http://schemas.openxmlformats.org/officeDocument/2006/relationships/chart" Target="../charts/chart9.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84.xml"/><Relationship Id="rId1" Type="http://schemas.openxmlformats.org/officeDocument/2006/relationships/tags" Target="../tags/tag431.xml"/><Relationship Id="rId5" Type="http://schemas.openxmlformats.org/officeDocument/2006/relationships/image" Target="../media/image57.emf"/><Relationship Id="rId4" Type="http://schemas.openxmlformats.org/officeDocument/2006/relationships/oleObject" Target="../embeddings/oleObject158.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90.xml"/><Relationship Id="rId1" Type="http://schemas.openxmlformats.org/officeDocument/2006/relationships/tags" Target="../tags/tag432.xml"/><Relationship Id="rId5" Type="http://schemas.openxmlformats.org/officeDocument/2006/relationships/image" Target="../media/image12.emf"/><Relationship Id="rId4" Type="http://schemas.openxmlformats.org/officeDocument/2006/relationships/oleObject" Target="../embeddings/oleObject159.bin"/></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3" Type="http://schemas.openxmlformats.org/officeDocument/2006/relationships/notesSlide" Target="../notesSlides/notesSlide4.xml"/><Relationship Id="rId7" Type="http://schemas.openxmlformats.org/officeDocument/2006/relationships/image" Target="../media/image17.svg"/><Relationship Id="rId12" Type="http://schemas.openxmlformats.org/officeDocument/2006/relationships/image" Target="../media/image22.png"/><Relationship Id="rId2" Type="http://schemas.openxmlformats.org/officeDocument/2006/relationships/slideLayout" Target="../slideLayouts/slideLayout5.xml"/><Relationship Id="rId1" Type="http://schemas.openxmlformats.org/officeDocument/2006/relationships/tags" Target="../tags/tag158.xml"/><Relationship Id="rId6" Type="http://schemas.openxmlformats.org/officeDocument/2006/relationships/image" Target="../media/image16.png"/><Relationship Id="rId11" Type="http://schemas.openxmlformats.org/officeDocument/2006/relationships/image" Target="../media/image21.svg"/><Relationship Id="rId5" Type="http://schemas.openxmlformats.org/officeDocument/2006/relationships/image" Target="../media/image15.emf"/><Relationship Id="rId10" Type="http://schemas.openxmlformats.org/officeDocument/2006/relationships/image" Target="../media/image20.png"/><Relationship Id="rId4" Type="http://schemas.openxmlformats.org/officeDocument/2006/relationships/oleObject" Target="../embeddings/oleObject148.bin"/><Relationship Id="rId9" Type="http://schemas.openxmlformats.org/officeDocument/2006/relationships/image" Target="../media/image19.svg"/></Relationships>
</file>

<file path=ppt/slides/_rels/slide5.xml.rels><?xml version="1.0" encoding="UTF-8" standalone="yes"?>
<Relationships xmlns="http://schemas.openxmlformats.org/package/2006/relationships"><Relationship Id="rId13" Type="http://schemas.openxmlformats.org/officeDocument/2006/relationships/tags" Target="../tags/tag171.xml"/><Relationship Id="rId18" Type="http://schemas.openxmlformats.org/officeDocument/2006/relationships/tags" Target="../tags/tag176.xml"/><Relationship Id="rId26" Type="http://schemas.openxmlformats.org/officeDocument/2006/relationships/image" Target="../media/image27.png"/><Relationship Id="rId21" Type="http://schemas.openxmlformats.org/officeDocument/2006/relationships/oleObject" Target="../embeddings/oleObject149.bin"/><Relationship Id="rId34" Type="http://schemas.openxmlformats.org/officeDocument/2006/relationships/image" Target="../media/image35.svg"/><Relationship Id="rId7" Type="http://schemas.openxmlformats.org/officeDocument/2006/relationships/tags" Target="../tags/tag165.xml"/><Relationship Id="rId12" Type="http://schemas.openxmlformats.org/officeDocument/2006/relationships/tags" Target="../tags/tag170.xml"/><Relationship Id="rId17" Type="http://schemas.openxmlformats.org/officeDocument/2006/relationships/tags" Target="../tags/tag175.xml"/><Relationship Id="rId25" Type="http://schemas.openxmlformats.org/officeDocument/2006/relationships/image" Target="../media/image26.png"/><Relationship Id="rId33" Type="http://schemas.openxmlformats.org/officeDocument/2006/relationships/image" Target="../media/image34.png"/><Relationship Id="rId2" Type="http://schemas.openxmlformats.org/officeDocument/2006/relationships/tags" Target="../tags/tag160.xml"/><Relationship Id="rId16" Type="http://schemas.openxmlformats.org/officeDocument/2006/relationships/tags" Target="../tags/tag174.xml"/><Relationship Id="rId20" Type="http://schemas.openxmlformats.org/officeDocument/2006/relationships/notesSlide" Target="../notesSlides/notesSlide5.xml"/><Relationship Id="rId29" Type="http://schemas.openxmlformats.org/officeDocument/2006/relationships/image" Target="../media/image30.png"/><Relationship Id="rId1" Type="http://schemas.openxmlformats.org/officeDocument/2006/relationships/tags" Target="../tags/tag159.xml"/><Relationship Id="rId6" Type="http://schemas.openxmlformats.org/officeDocument/2006/relationships/tags" Target="../tags/tag164.xml"/><Relationship Id="rId11" Type="http://schemas.openxmlformats.org/officeDocument/2006/relationships/tags" Target="../tags/tag169.xml"/><Relationship Id="rId24" Type="http://schemas.openxmlformats.org/officeDocument/2006/relationships/image" Target="../media/image25.png"/><Relationship Id="rId32" Type="http://schemas.openxmlformats.org/officeDocument/2006/relationships/image" Target="../media/image33.svg"/><Relationship Id="rId37" Type="http://schemas.openxmlformats.org/officeDocument/2006/relationships/image" Target="../media/image38.png"/><Relationship Id="rId5" Type="http://schemas.openxmlformats.org/officeDocument/2006/relationships/tags" Target="../tags/tag163.xml"/><Relationship Id="rId15" Type="http://schemas.openxmlformats.org/officeDocument/2006/relationships/tags" Target="../tags/tag173.xml"/><Relationship Id="rId23" Type="http://schemas.openxmlformats.org/officeDocument/2006/relationships/chart" Target="../charts/chart1.xml"/><Relationship Id="rId28" Type="http://schemas.openxmlformats.org/officeDocument/2006/relationships/image" Target="../media/image29.png"/><Relationship Id="rId36" Type="http://schemas.openxmlformats.org/officeDocument/2006/relationships/image" Target="../media/image37.png"/><Relationship Id="rId10" Type="http://schemas.openxmlformats.org/officeDocument/2006/relationships/tags" Target="../tags/tag168.xml"/><Relationship Id="rId19" Type="http://schemas.openxmlformats.org/officeDocument/2006/relationships/slideLayout" Target="../slideLayouts/slideLayout4.xml"/><Relationship Id="rId31" Type="http://schemas.openxmlformats.org/officeDocument/2006/relationships/image" Target="../media/image32.png"/><Relationship Id="rId4" Type="http://schemas.openxmlformats.org/officeDocument/2006/relationships/tags" Target="../tags/tag162.xml"/><Relationship Id="rId9" Type="http://schemas.openxmlformats.org/officeDocument/2006/relationships/tags" Target="../tags/tag167.xml"/><Relationship Id="rId14" Type="http://schemas.openxmlformats.org/officeDocument/2006/relationships/tags" Target="../tags/tag172.xml"/><Relationship Id="rId22" Type="http://schemas.openxmlformats.org/officeDocument/2006/relationships/image" Target="../media/image24.emf"/><Relationship Id="rId27" Type="http://schemas.openxmlformats.org/officeDocument/2006/relationships/image" Target="../media/image28.png"/><Relationship Id="rId30" Type="http://schemas.openxmlformats.org/officeDocument/2006/relationships/image" Target="../media/image31.svg"/><Relationship Id="rId35" Type="http://schemas.openxmlformats.org/officeDocument/2006/relationships/image" Target="../media/image36.png"/><Relationship Id="rId8" Type="http://schemas.openxmlformats.org/officeDocument/2006/relationships/tags" Target="../tags/tag166.xml"/><Relationship Id="rId3" Type="http://schemas.openxmlformats.org/officeDocument/2006/relationships/tags" Target="../tags/tag161.xml"/></Relationships>
</file>

<file path=ppt/slides/_rels/slide6.xml.rels><?xml version="1.0" encoding="UTF-8" standalone="yes"?>
<Relationships xmlns="http://schemas.openxmlformats.org/package/2006/relationships"><Relationship Id="rId13" Type="http://schemas.openxmlformats.org/officeDocument/2006/relationships/tags" Target="../tags/tag189.xml"/><Relationship Id="rId18" Type="http://schemas.openxmlformats.org/officeDocument/2006/relationships/slideLayout" Target="../slideLayouts/slideLayout4.xml"/><Relationship Id="rId26" Type="http://schemas.openxmlformats.org/officeDocument/2006/relationships/image" Target="../media/image28.png"/><Relationship Id="rId3" Type="http://schemas.openxmlformats.org/officeDocument/2006/relationships/tags" Target="../tags/tag179.xml"/><Relationship Id="rId21" Type="http://schemas.openxmlformats.org/officeDocument/2006/relationships/image" Target="../media/image24.emf"/><Relationship Id="rId34" Type="http://schemas.openxmlformats.org/officeDocument/2006/relationships/image" Target="../media/image34.png"/><Relationship Id="rId7" Type="http://schemas.openxmlformats.org/officeDocument/2006/relationships/tags" Target="../tags/tag183.xml"/><Relationship Id="rId12" Type="http://schemas.openxmlformats.org/officeDocument/2006/relationships/tags" Target="../tags/tag188.xml"/><Relationship Id="rId17" Type="http://schemas.openxmlformats.org/officeDocument/2006/relationships/tags" Target="../tags/tag193.xml"/><Relationship Id="rId25" Type="http://schemas.openxmlformats.org/officeDocument/2006/relationships/image" Target="../media/image27.png"/><Relationship Id="rId33" Type="http://schemas.openxmlformats.org/officeDocument/2006/relationships/image" Target="../media/image31.svg"/><Relationship Id="rId2" Type="http://schemas.openxmlformats.org/officeDocument/2006/relationships/tags" Target="../tags/tag178.xml"/><Relationship Id="rId16" Type="http://schemas.openxmlformats.org/officeDocument/2006/relationships/tags" Target="../tags/tag192.xml"/><Relationship Id="rId20" Type="http://schemas.openxmlformats.org/officeDocument/2006/relationships/oleObject" Target="../embeddings/oleObject150.bin"/><Relationship Id="rId29" Type="http://schemas.openxmlformats.org/officeDocument/2006/relationships/image" Target="../media/image33.svg"/><Relationship Id="rId1" Type="http://schemas.openxmlformats.org/officeDocument/2006/relationships/tags" Target="../tags/tag177.xml"/><Relationship Id="rId6" Type="http://schemas.openxmlformats.org/officeDocument/2006/relationships/tags" Target="../tags/tag182.xml"/><Relationship Id="rId11" Type="http://schemas.openxmlformats.org/officeDocument/2006/relationships/tags" Target="../tags/tag187.xml"/><Relationship Id="rId24" Type="http://schemas.openxmlformats.org/officeDocument/2006/relationships/image" Target="../media/image26.png"/><Relationship Id="rId32" Type="http://schemas.openxmlformats.org/officeDocument/2006/relationships/image" Target="../media/image30.png"/><Relationship Id="rId5" Type="http://schemas.openxmlformats.org/officeDocument/2006/relationships/tags" Target="../tags/tag181.xml"/><Relationship Id="rId15" Type="http://schemas.openxmlformats.org/officeDocument/2006/relationships/tags" Target="../tags/tag191.xml"/><Relationship Id="rId23" Type="http://schemas.openxmlformats.org/officeDocument/2006/relationships/image" Target="../media/image25.png"/><Relationship Id="rId28" Type="http://schemas.openxmlformats.org/officeDocument/2006/relationships/image" Target="../media/image32.png"/><Relationship Id="rId36" Type="http://schemas.openxmlformats.org/officeDocument/2006/relationships/image" Target="../media/image38.png"/><Relationship Id="rId10" Type="http://schemas.openxmlformats.org/officeDocument/2006/relationships/tags" Target="../tags/tag186.xml"/><Relationship Id="rId19" Type="http://schemas.openxmlformats.org/officeDocument/2006/relationships/notesSlide" Target="../notesSlides/notesSlide6.xml"/><Relationship Id="rId31" Type="http://schemas.openxmlformats.org/officeDocument/2006/relationships/image" Target="../media/image37.png"/><Relationship Id="rId4" Type="http://schemas.openxmlformats.org/officeDocument/2006/relationships/tags" Target="../tags/tag180.xml"/><Relationship Id="rId9" Type="http://schemas.openxmlformats.org/officeDocument/2006/relationships/tags" Target="../tags/tag185.xml"/><Relationship Id="rId14" Type="http://schemas.openxmlformats.org/officeDocument/2006/relationships/tags" Target="../tags/tag190.xml"/><Relationship Id="rId22" Type="http://schemas.openxmlformats.org/officeDocument/2006/relationships/chart" Target="../charts/chart2.xml"/><Relationship Id="rId27" Type="http://schemas.openxmlformats.org/officeDocument/2006/relationships/image" Target="../media/image29.png"/><Relationship Id="rId30" Type="http://schemas.openxmlformats.org/officeDocument/2006/relationships/image" Target="../media/image36.png"/><Relationship Id="rId35" Type="http://schemas.openxmlformats.org/officeDocument/2006/relationships/image" Target="../media/image35.svg"/><Relationship Id="rId8" Type="http://schemas.openxmlformats.org/officeDocument/2006/relationships/tags" Target="../tags/tag184.xml"/></Relationships>
</file>

<file path=ppt/slides/_rels/slide7.xml.rels><?xml version="1.0" encoding="UTF-8" standalone="yes"?>
<Relationships xmlns="http://schemas.openxmlformats.org/package/2006/relationships"><Relationship Id="rId13" Type="http://schemas.openxmlformats.org/officeDocument/2006/relationships/tags" Target="../tags/tag206.xml"/><Relationship Id="rId18" Type="http://schemas.openxmlformats.org/officeDocument/2006/relationships/tags" Target="../tags/tag211.xml"/><Relationship Id="rId26" Type="http://schemas.openxmlformats.org/officeDocument/2006/relationships/tags" Target="../tags/tag219.xml"/><Relationship Id="rId39" Type="http://schemas.openxmlformats.org/officeDocument/2006/relationships/image" Target="../media/image39.emf"/><Relationship Id="rId21" Type="http://schemas.openxmlformats.org/officeDocument/2006/relationships/tags" Target="../tags/tag214.xml"/><Relationship Id="rId34" Type="http://schemas.openxmlformats.org/officeDocument/2006/relationships/tags" Target="../tags/tag227.xml"/><Relationship Id="rId7" Type="http://schemas.openxmlformats.org/officeDocument/2006/relationships/tags" Target="../tags/tag200.xml"/><Relationship Id="rId2" Type="http://schemas.openxmlformats.org/officeDocument/2006/relationships/tags" Target="../tags/tag195.xml"/><Relationship Id="rId16" Type="http://schemas.openxmlformats.org/officeDocument/2006/relationships/tags" Target="../tags/tag209.xml"/><Relationship Id="rId20" Type="http://schemas.openxmlformats.org/officeDocument/2006/relationships/tags" Target="../tags/tag213.xml"/><Relationship Id="rId29" Type="http://schemas.openxmlformats.org/officeDocument/2006/relationships/tags" Target="../tags/tag222.xml"/><Relationship Id="rId41" Type="http://schemas.openxmlformats.org/officeDocument/2006/relationships/chart" Target="../charts/chart4.xml"/><Relationship Id="rId1" Type="http://schemas.openxmlformats.org/officeDocument/2006/relationships/tags" Target="../tags/tag194.xml"/><Relationship Id="rId6" Type="http://schemas.openxmlformats.org/officeDocument/2006/relationships/tags" Target="../tags/tag199.xml"/><Relationship Id="rId11" Type="http://schemas.openxmlformats.org/officeDocument/2006/relationships/tags" Target="../tags/tag204.xml"/><Relationship Id="rId24" Type="http://schemas.openxmlformats.org/officeDocument/2006/relationships/tags" Target="../tags/tag217.xml"/><Relationship Id="rId32" Type="http://schemas.openxmlformats.org/officeDocument/2006/relationships/tags" Target="../tags/tag225.xml"/><Relationship Id="rId37" Type="http://schemas.openxmlformats.org/officeDocument/2006/relationships/notesSlide" Target="../notesSlides/notesSlide7.xml"/><Relationship Id="rId40" Type="http://schemas.openxmlformats.org/officeDocument/2006/relationships/chart" Target="../charts/chart3.xml"/><Relationship Id="rId5" Type="http://schemas.openxmlformats.org/officeDocument/2006/relationships/tags" Target="../tags/tag198.xml"/><Relationship Id="rId15" Type="http://schemas.openxmlformats.org/officeDocument/2006/relationships/tags" Target="../tags/tag208.xml"/><Relationship Id="rId23" Type="http://schemas.openxmlformats.org/officeDocument/2006/relationships/tags" Target="../tags/tag216.xml"/><Relationship Id="rId28" Type="http://schemas.openxmlformats.org/officeDocument/2006/relationships/tags" Target="../tags/tag221.xml"/><Relationship Id="rId36" Type="http://schemas.openxmlformats.org/officeDocument/2006/relationships/slideLayout" Target="../slideLayouts/slideLayout22.xml"/><Relationship Id="rId10" Type="http://schemas.openxmlformats.org/officeDocument/2006/relationships/tags" Target="../tags/tag203.xml"/><Relationship Id="rId19" Type="http://schemas.openxmlformats.org/officeDocument/2006/relationships/tags" Target="../tags/tag212.xml"/><Relationship Id="rId31" Type="http://schemas.openxmlformats.org/officeDocument/2006/relationships/tags" Target="../tags/tag224.xml"/><Relationship Id="rId4" Type="http://schemas.openxmlformats.org/officeDocument/2006/relationships/tags" Target="../tags/tag197.xml"/><Relationship Id="rId9" Type="http://schemas.openxmlformats.org/officeDocument/2006/relationships/tags" Target="../tags/tag202.xml"/><Relationship Id="rId14" Type="http://schemas.openxmlformats.org/officeDocument/2006/relationships/tags" Target="../tags/tag207.xml"/><Relationship Id="rId22" Type="http://schemas.openxmlformats.org/officeDocument/2006/relationships/tags" Target="../tags/tag215.xml"/><Relationship Id="rId27" Type="http://schemas.openxmlformats.org/officeDocument/2006/relationships/tags" Target="../tags/tag220.xml"/><Relationship Id="rId30" Type="http://schemas.openxmlformats.org/officeDocument/2006/relationships/tags" Target="../tags/tag223.xml"/><Relationship Id="rId35" Type="http://schemas.openxmlformats.org/officeDocument/2006/relationships/tags" Target="../tags/tag228.xml"/><Relationship Id="rId8" Type="http://schemas.openxmlformats.org/officeDocument/2006/relationships/tags" Target="../tags/tag201.xml"/><Relationship Id="rId3" Type="http://schemas.openxmlformats.org/officeDocument/2006/relationships/tags" Target="../tags/tag196.xml"/><Relationship Id="rId12" Type="http://schemas.openxmlformats.org/officeDocument/2006/relationships/tags" Target="../tags/tag205.xml"/><Relationship Id="rId17" Type="http://schemas.openxmlformats.org/officeDocument/2006/relationships/tags" Target="../tags/tag210.xml"/><Relationship Id="rId25" Type="http://schemas.openxmlformats.org/officeDocument/2006/relationships/tags" Target="../tags/tag218.xml"/><Relationship Id="rId33" Type="http://schemas.openxmlformats.org/officeDocument/2006/relationships/tags" Target="../tags/tag226.xml"/><Relationship Id="rId38" Type="http://schemas.openxmlformats.org/officeDocument/2006/relationships/oleObject" Target="../embeddings/oleObject151.bin"/></Relationships>
</file>

<file path=ppt/slides/_rels/slide8.xml.rels><?xml version="1.0" encoding="UTF-8" standalone="yes"?>
<Relationships xmlns="http://schemas.openxmlformats.org/package/2006/relationships"><Relationship Id="rId26" Type="http://schemas.openxmlformats.org/officeDocument/2006/relationships/tags" Target="../tags/tag254.xml"/><Relationship Id="rId21" Type="http://schemas.openxmlformats.org/officeDocument/2006/relationships/tags" Target="../tags/tag249.xml"/><Relationship Id="rId42" Type="http://schemas.openxmlformats.org/officeDocument/2006/relationships/tags" Target="../tags/tag270.xml"/><Relationship Id="rId47" Type="http://schemas.openxmlformats.org/officeDocument/2006/relationships/tags" Target="../tags/tag275.xml"/><Relationship Id="rId63" Type="http://schemas.openxmlformats.org/officeDocument/2006/relationships/tags" Target="../tags/tag291.xml"/><Relationship Id="rId68" Type="http://schemas.openxmlformats.org/officeDocument/2006/relationships/tags" Target="../tags/tag296.xml"/><Relationship Id="rId84" Type="http://schemas.openxmlformats.org/officeDocument/2006/relationships/tags" Target="../tags/tag312.xml"/><Relationship Id="rId89" Type="http://schemas.openxmlformats.org/officeDocument/2006/relationships/tags" Target="../tags/tag317.xml"/><Relationship Id="rId16" Type="http://schemas.openxmlformats.org/officeDocument/2006/relationships/tags" Target="../tags/tag244.xml"/><Relationship Id="rId107" Type="http://schemas.openxmlformats.org/officeDocument/2006/relationships/chart" Target="../charts/chart7.xml"/><Relationship Id="rId11" Type="http://schemas.openxmlformats.org/officeDocument/2006/relationships/tags" Target="../tags/tag239.xml"/><Relationship Id="rId32" Type="http://schemas.openxmlformats.org/officeDocument/2006/relationships/tags" Target="../tags/tag260.xml"/><Relationship Id="rId37" Type="http://schemas.openxmlformats.org/officeDocument/2006/relationships/tags" Target="../tags/tag265.xml"/><Relationship Id="rId53" Type="http://schemas.openxmlformats.org/officeDocument/2006/relationships/tags" Target="../tags/tag281.xml"/><Relationship Id="rId58" Type="http://schemas.openxmlformats.org/officeDocument/2006/relationships/tags" Target="../tags/tag286.xml"/><Relationship Id="rId74" Type="http://schemas.openxmlformats.org/officeDocument/2006/relationships/tags" Target="../tags/tag302.xml"/><Relationship Id="rId79" Type="http://schemas.openxmlformats.org/officeDocument/2006/relationships/tags" Target="../tags/tag307.xml"/><Relationship Id="rId102" Type="http://schemas.openxmlformats.org/officeDocument/2006/relationships/notesSlide" Target="../notesSlides/notesSlide8.xml"/><Relationship Id="rId5" Type="http://schemas.openxmlformats.org/officeDocument/2006/relationships/tags" Target="../tags/tag233.xml"/><Relationship Id="rId90" Type="http://schemas.openxmlformats.org/officeDocument/2006/relationships/tags" Target="../tags/tag318.xml"/><Relationship Id="rId95" Type="http://schemas.openxmlformats.org/officeDocument/2006/relationships/tags" Target="../tags/tag323.xml"/><Relationship Id="rId22" Type="http://schemas.openxmlformats.org/officeDocument/2006/relationships/tags" Target="../tags/tag250.xml"/><Relationship Id="rId27" Type="http://schemas.openxmlformats.org/officeDocument/2006/relationships/tags" Target="../tags/tag255.xml"/><Relationship Id="rId43" Type="http://schemas.openxmlformats.org/officeDocument/2006/relationships/tags" Target="../tags/tag271.xml"/><Relationship Id="rId48" Type="http://schemas.openxmlformats.org/officeDocument/2006/relationships/tags" Target="../tags/tag276.xml"/><Relationship Id="rId64" Type="http://schemas.openxmlformats.org/officeDocument/2006/relationships/tags" Target="../tags/tag292.xml"/><Relationship Id="rId69" Type="http://schemas.openxmlformats.org/officeDocument/2006/relationships/tags" Target="../tags/tag297.xml"/><Relationship Id="rId80" Type="http://schemas.openxmlformats.org/officeDocument/2006/relationships/tags" Target="../tags/tag308.xml"/><Relationship Id="rId85" Type="http://schemas.openxmlformats.org/officeDocument/2006/relationships/tags" Target="../tags/tag313.xml"/><Relationship Id="rId12" Type="http://schemas.openxmlformats.org/officeDocument/2006/relationships/tags" Target="../tags/tag240.xml"/><Relationship Id="rId17" Type="http://schemas.openxmlformats.org/officeDocument/2006/relationships/tags" Target="../tags/tag245.xml"/><Relationship Id="rId33" Type="http://schemas.openxmlformats.org/officeDocument/2006/relationships/tags" Target="../tags/tag261.xml"/><Relationship Id="rId38" Type="http://schemas.openxmlformats.org/officeDocument/2006/relationships/tags" Target="../tags/tag266.xml"/><Relationship Id="rId59" Type="http://schemas.openxmlformats.org/officeDocument/2006/relationships/tags" Target="../tags/tag287.xml"/><Relationship Id="rId103" Type="http://schemas.openxmlformats.org/officeDocument/2006/relationships/oleObject" Target="../embeddings/oleObject152.bin"/><Relationship Id="rId20" Type="http://schemas.openxmlformats.org/officeDocument/2006/relationships/tags" Target="../tags/tag248.xml"/><Relationship Id="rId41" Type="http://schemas.openxmlformats.org/officeDocument/2006/relationships/tags" Target="../tags/tag269.xml"/><Relationship Id="rId54" Type="http://schemas.openxmlformats.org/officeDocument/2006/relationships/tags" Target="../tags/tag282.xml"/><Relationship Id="rId62" Type="http://schemas.openxmlformats.org/officeDocument/2006/relationships/tags" Target="../tags/tag290.xml"/><Relationship Id="rId70" Type="http://schemas.openxmlformats.org/officeDocument/2006/relationships/tags" Target="../tags/tag298.xml"/><Relationship Id="rId75" Type="http://schemas.openxmlformats.org/officeDocument/2006/relationships/tags" Target="../tags/tag303.xml"/><Relationship Id="rId83" Type="http://schemas.openxmlformats.org/officeDocument/2006/relationships/tags" Target="../tags/tag311.xml"/><Relationship Id="rId88" Type="http://schemas.openxmlformats.org/officeDocument/2006/relationships/tags" Target="../tags/tag316.xml"/><Relationship Id="rId91" Type="http://schemas.openxmlformats.org/officeDocument/2006/relationships/tags" Target="../tags/tag319.xml"/><Relationship Id="rId96" Type="http://schemas.openxmlformats.org/officeDocument/2006/relationships/tags" Target="../tags/tag324.xml"/><Relationship Id="rId1" Type="http://schemas.openxmlformats.org/officeDocument/2006/relationships/tags" Target="../tags/tag229.xml"/><Relationship Id="rId6" Type="http://schemas.openxmlformats.org/officeDocument/2006/relationships/tags" Target="../tags/tag234.xml"/><Relationship Id="rId15" Type="http://schemas.openxmlformats.org/officeDocument/2006/relationships/tags" Target="../tags/tag243.xml"/><Relationship Id="rId23" Type="http://schemas.openxmlformats.org/officeDocument/2006/relationships/tags" Target="../tags/tag251.xml"/><Relationship Id="rId28" Type="http://schemas.openxmlformats.org/officeDocument/2006/relationships/tags" Target="../tags/tag256.xml"/><Relationship Id="rId36" Type="http://schemas.openxmlformats.org/officeDocument/2006/relationships/tags" Target="../tags/tag264.xml"/><Relationship Id="rId49" Type="http://schemas.openxmlformats.org/officeDocument/2006/relationships/tags" Target="../tags/tag277.xml"/><Relationship Id="rId57" Type="http://schemas.openxmlformats.org/officeDocument/2006/relationships/tags" Target="../tags/tag285.xml"/><Relationship Id="rId106" Type="http://schemas.openxmlformats.org/officeDocument/2006/relationships/chart" Target="../charts/chart6.xml"/><Relationship Id="rId10" Type="http://schemas.openxmlformats.org/officeDocument/2006/relationships/tags" Target="../tags/tag238.xml"/><Relationship Id="rId31" Type="http://schemas.openxmlformats.org/officeDocument/2006/relationships/tags" Target="../tags/tag259.xml"/><Relationship Id="rId44" Type="http://schemas.openxmlformats.org/officeDocument/2006/relationships/tags" Target="../tags/tag272.xml"/><Relationship Id="rId52" Type="http://schemas.openxmlformats.org/officeDocument/2006/relationships/tags" Target="../tags/tag280.xml"/><Relationship Id="rId60" Type="http://schemas.openxmlformats.org/officeDocument/2006/relationships/tags" Target="../tags/tag288.xml"/><Relationship Id="rId65" Type="http://schemas.openxmlformats.org/officeDocument/2006/relationships/tags" Target="../tags/tag293.xml"/><Relationship Id="rId73" Type="http://schemas.openxmlformats.org/officeDocument/2006/relationships/tags" Target="../tags/tag301.xml"/><Relationship Id="rId78" Type="http://schemas.openxmlformats.org/officeDocument/2006/relationships/tags" Target="../tags/tag306.xml"/><Relationship Id="rId81" Type="http://schemas.openxmlformats.org/officeDocument/2006/relationships/tags" Target="../tags/tag309.xml"/><Relationship Id="rId86" Type="http://schemas.openxmlformats.org/officeDocument/2006/relationships/tags" Target="../tags/tag314.xml"/><Relationship Id="rId94" Type="http://schemas.openxmlformats.org/officeDocument/2006/relationships/tags" Target="../tags/tag322.xml"/><Relationship Id="rId99" Type="http://schemas.openxmlformats.org/officeDocument/2006/relationships/tags" Target="../tags/tag327.xml"/><Relationship Id="rId101" Type="http://schemas.openxmlformats.org/officeDocument/2006/relationships/slideLayout" Target="../slideLayouts/slideLayout19.xml"/><Relationship Id="rId4" Type="http://schemas.openxmlformats.org/officeDocument/2006/relationships/tags" Target="../tags/tag232.xml"/><Relationship Id="rId9" Type="http://schemas.openxmlformats.org/officeDocument/2006/relationships/tags" Target="../tags/tag237.xml"/><Relationship Id="rId13" Type="http://schemas.openxmlformats.org/officeDocument/2006/relationships/tags" Target="../tags/tag241.xml"/><Relationship Id="rId18" Type="http://schemas.openxmlformats.org/officeDocument/2006/relationships/tags" Target="../tags/tag246.xml"/><Relationship Id="rId39" Type="http://schemas.openxmlformats.org/officeDocument/2006/relationships/tags" Target="../tags/tag267.xml"/><Relationship Id="rId34" Type="http://schemas.openxmlformats.org/officeDocument/2006/relationships/tags" Target="../tags/tag262.xml"/><Relationship Id="rId50" Type="http://schemas.openxmlformats.org/officeDocument/2006/relationships/tags" Target="../tags/tag278.xml"/><Relationship Id="rId55" Type="http://schemas.openxmlformats.org/officeDocument/2006/relationships/tags" Target="../tags/tag283.xml"/><Relationship Id="rId76" Type="http://schemas.openxmlformats.org/officeDocument/2006/relationships/tags" Target="../tags/tag304.xml"/><Relationship Id="rId97" Type="http://schemas.openxmlformats.org/officeDocument/2006/relationships/tags" Target="../tags/tag325.xml"/><Relationship Id="rId104" Type="http://schemas.openxmlformats.org/officeDocument/2006/relationships/image" Target="../media/image39.emf"/><Relationship Id="rId7" Type="http://schemas.openxmlformats.org/officeDocument/2006/relationships/tags" Target="../tags/tag235.xml"/><Relationship Id="rId71" Type="http://schemas.openxmlformats.org/officeDocument/2006/relationships/tags" Target="../tags/tag299.xml"/><Relationship Id="rId92" Type="http://schemas.openxmlformats.org/officeDocument/2006/relationships/tags" Target="../tags/tag320.xml"/><Relationship Id="rId2" Type="http://schemas.openxmlformats.org/officeDocument/2006/relationships/tags" Target="../tags/tag230.xml"/><Relationship Id="rId29" Type="http://schemas.openxmlformats.org/officeDocument/2006/relationships/tags" Target="../tags/tag257.xml"/><Relationship Id="rId24" Type="http://schemas.openxmlformats.org/officeDocument/2006/relationships/tags" Target="../tags/tag252.xml"/><Relationship Id="rId40" Type="http://schemas.openxmlformats.org/officeDocument/2006/relationships/tags" Target="../tags/tag268.xml"/><Relationship Id="rId45" Type="http://schemas.openxmlformats.org/officeDocument/2006/relationships/tags" Target="../tags/tag273.xml"/><Relationship Id="rId66" Type="http://schemas.openxmlformats.org/officeDocument/2006/relationships/tags" Target="../tags/tag294.xml"/><Relationship Id="rId87" Type="http://schemas.openxmlformats.org/officeDocument/2006/relationships/tags" Target="../tags/tag315.xml"/><Relationship Id="rId61" Type="http://schemas.openxmlformats.org/officeDocument/2006/relationships/tags" Target="../tags/tag289.xml"/><Relationship Id="rId82" Type="http://schemas.openxmlformats.org/officeDocument/2006/relationships/tags" Target="../tags/tag310.xml"/><Relationship Id="rId19" Type="http://schemas.openxmlformats.org/officeDocument/2006/relationships/tags" Target="../tags/tag247.xml"/><Relationship Id="rId14" Type="http://schemas.openxmlformats.org/officeDocument/2006/relationships/tags" Target="../tags/tag242.xml"/><Relationship Id="rId30" Type="http://schemas.openxmlformats.org/officeDocument/2006/relationships/tags" Target="../tags/tag258.xml"/><Relationship Id="rId35" Type="http://schemas.openxmlformats.org/officeDocument/2006/relationships/tags" Target="../tags/tag263.xml"/><Relationship Id="rId56" Type="http://schemas.openxmlformats.org/officeDocument/2006/relationships/tags" Target="../tags/tag284.xml"/><Relationship Id="rId77" Type="http://schemas.openxmlformats.org/officeDocument/2006/relationships/tags" Target="../tags/tag305.xml"/><Relationship Id="rId100" Type="http://schemas.openxmlformats.org/officeDocument/2006/relationships/tags" Target="../tags/tag328.xml"/><Relationship Id="rId105" Type="http://schemas.openxmlformats.org/officeDocument/2006/relationships/chart" Target="../charts/chart5.xml"/><Relationship Id="rId8" Type="http://schemas.openxmlformats.org/officeDocument/2006/relationships/tags" Target="../tags/tag236.xml"/><Relationship Id="rId51" Type="http://schemas.openxmlformats.org/officeDocument/2006/relationships/tags" Target="../tags/tag279.xml"/><Relationship Id="rId72" Type="http://schemas.openxmlformats.org/officeDocument/2006/relationships/tags" Target="../tags/tag300.xml"/><Relationship Id="rId93" Type="http://schemas.openxmlformats.org/officeDocument/2006/relationships/tags" Target="../tags/tag321.xml"/><Relationship Id="rId98" Type="http://schemas.openxmlformats.org/officeDocument/2006/relationships/tags" Target="../tags/tag326.xml"/><Relationship Id="rId3" Type="http://schemas.openxmlformats.org/officeDocument/2006/relationships/tags" Target="../tags/tag231.xml"/><Relationship Id="rId25" Type="http://schemas.openxmlformats.org/officeDocument/2006/relationships/tags" Target="../tags/tag253.xml"/><Relationship Id="rId46" Type="http://schemas.openxmlformats.org/officeDocument/2006/relationships/tags" Target="../tags/tag274.xml"/><Relationship Id="rId67" Type="http://schemas.openxmlformats.org/officeDocument/2006/relationships/tags" Target="../tags/tag29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9000" b="-9000"/>
          </a:stretch>
        </a:blip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55FD62DF-FA9A-19EF-1EA0-816CC81F1776}"/>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graphicFrame>
        <p:nvGraphicFramePr>
          <p:cNvPr id="5" name="Object 4" hidden="1">
            <a:extLst>
              <a:ext uri="{FF2B5EF4-FFF2-40B4-BE49-F238E27FC236}">
                <a16:creationId xmlns:a16="http://schemas.microsoft.com/office/drawing/2014/main" id="{25C3352C-1A82-4687-9543-1990053CCF2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5" name="Object 4" hidden="1">
                        <a:extLst>
                          <a:ext uri="{FF2B5EF4-FFF2-40B4-BE49-F238E27FC236}">
                            <a16:creationId xmlns:a16="http://schemas.microsoft.com/office/drawing/2014/main" id="{25C3352C-1A82-4687-9543-1990053CCF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793C764-BCAA-4529-B724-51733117A735}"/>
              </a:ext>
            </a:extLst>
          </p:cNvPr>
          <p:cNvSpPr>
            <a:spLocks noGrp="1"/>
          </p:cNvSpPr>
          <p:nvPr>
            <p:ph type="ctrTitle"/>
          </p:nvPr>
        </p:nvSpPr>
        <p:spPr>
          <a:xfrm>
            <a:off x="391584" y="3677095"/>
            <a:ext cx="5158316" cy="1046440"/>
          </a:xfrm>
        </p:spPr>
        <p:txBody>
          <a:bodyPr vert="horz"/>
          <a:lstStyle/>
          <a:p>
            <a:r>
              <a:rPr lang="en-GB">
                <a:latin typeface="Lato"/>
                <a:ea typeface="Lato"/>
                <a:cs typeface="Lato"/>
              </a:rPr>
              <a:t>US election: implications for gas and power markets</a:t>
            </a:r>
            <a:endParaRPr lang="en-GB"/>
          </a:p>
        </p:txBody>
      </p:sp>
      <p:sp>
        <p:nvSpPr>
          <p:cNvPr id="3" name="Text Placeholder 2">
            <a:extLst>
              <a:ext uri="{FF2B5EF4-FFF2-40B4-BE49-F238E27FC236}">
                <a16:creationId xmlns:a16="http://schemas.microsoft.com/office/drawing/2014/main" id="{0704027F-60F5-46B4-93A0-26C5F68FB211}"/>
              </a:ext>
            </a:extLst>
          </p:cNvPr>
          <p:cNvSpPr>
            <a:spLocks noGrp="1"/>
          </p:cNvSpPr>
          <p:nvPr>
            <p:ph type="body" sz="quarter" idx="11"/>
          </p:nvPr>
        </p:nvSpPr>
        <p:spPr>
          <a:xfrm>
            <a:off x="391585" y="4892984"/>
            <a:ext cx="5158316" cy="246221"/>
          </a:xfrm>
        </p:spPr>
        <p:txBody>
          <a:bodyPr vert="horz" lIns="0" tIns="0" rIns="0" bIns="0" rtlCol="0" anchor="t">
            <a:spAutoFit/>
          </a:bodyPr>
          <a:lstStyle/>
          <a:p>
            <a:r>
              <a:rPr lang="en-GB">
                <a:latin typeface="Lato"/>
                <a:ea typeface="Lato"/>
                <a:cs typeface="Lato"/>
              </a:rPr>
              <a:t>September 26, 2024</a:t>
            </a:r>
          </a:p>
        </p:txBody>
      </p:sp>
      <p:sp>
        <p:nvSpPr>
          <p:cNvPr id="7" name="TextBox 6">
            <a:extLst>
              <a:ext uri="{FF2B5EF4-FFF2-40B4-BE49-F238E27FC236}">
                <a16:creationId xmlns:a16="http://schemas.microsoft.com/office/drawing/2014/main" id="{FF098A40-EF39-C539-D3F8-7A91D4F6D319}"/>
              </a:ext>
            </a:extLst>
          </p:cNvPr>
          <p:cNvSpPr txBox="1"/>
          <p:nvPr/>
        </p:nvSpPr>
        <p:spPr>
          <a:xfrm>
            <a:off x="391584" y="5555441"/>
            <a:ext cx="5158316"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sng" strike="noStrike" kern="1200" cap="none" spc="0" normalizeH="0" baseline="0" noProof="0">
                <a:ln>
                  <a:noFill/>
                </a:ln>
                <a:solidFill>
                  <a:srgbClr val="3C3C3B"/>
                </a:solidFill>
                <a:effectLst/>
                <a:uLnTx/>
                <a:uFillTx/>
                <a:latin typeface="Lato"/>
                <a:ea typeface="+mn-ea"/>
                <a:cs typeface="+mn-cs"/>
              </a:rPr>
              <a:t>Notice of Disclaim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3C3C3B"/>
                </a:solidFill>
                <a:effectLst/>
                <a:uLnTx/>
                <a:uFillTx/>
                <a:latin typeface="Lato"/>
                <a:ea typeface="+mn-ea"/>
                <a:cs typeface="+mn-cs"/>
              </a:rPr>
              <a:t>Aurora makes no representations or warranties as to the content, completeness or accuracy of this Report and disclaims its liability in relation thereto. Your use of this Report is at your own risk and subject to the Notice and Disclaimer located at the back of this Report.</a:t>
            </a:r>
          </a:p>
        </p:txBody>
      </p:sp>
      <p:sp>
        <p:nvSpPr>
          <p:cNvPr id="6" name="TextBox 5">
            <a:extLst>
              <a:ext uri="{FF2B5EF4-FFF2-40B4-BE49-F238E27FC236}">
                <a16:creationId xmlns:a16="http://schemas.microsoft.com/office/drawing/2014/main" id="{7A697FEA-9DF9-7DF8-6057-8BF6A124317B}"/>
              </a:ext>
            </a:extLst>
          </p:cNvPr>
          <p:cNvSpPr txBox="1"/>
          <p:nvPr/>
        </p:nvSpPr>
        <p:spPr>
          <a:xfrm>
            <a:off x="391584" y="5248275"/>
            <a:ext cx="5158316" cy="184666"/>
          </a:xfrm>
          <a:prstGeom prst="rect">
            <a:avLst/>
          </a:prstGeom>
          <a:noFill/>
        </p:spPr>
        <p:txBody>
          <a:bodyPr wrap="square" lIns="0" tIns="0" rIns="0" bIns="0" rtlCol="0">
            <a:spAutoFit/>
          </a:bodyPr>
          <a:lstStyle/>
          <a:p>
            <a:pPr marL="0" indent="0" algn="l">
              <a:spcBef>
                <a:spcPts val="600"/>
              </a:spcBef>
              <a:buFont typeface="Wingdings" panose="05000000000000000000" pitchFamily="2" charset="2"/>
              <a:buNone/>
            </a:pPr>
            <a:r>
              <a:rPr lang="en-GB" sz="1200" b="1">
                <a:solidFill>
                  <a:srgbClr val="C00000"/>
                </a:solidFill>
              </a:rPr>
              <a:t>REDACTED VERSION – Full report available for US subscribers on EOS</a:t>
            </a:r>
          </a:p>
        </p:txBody>
      </p:sp>
    </p:spTree>
    <p:extLst>
      <p:ext uri="{BB962C8B-B14F-4D97-AF65-F5344CB8AC3E}">
        <p14:creationId xmlns:p14="http://schemas.microsoft.com/office/powerpoint/2010/main" val="36325483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28163B-BF86-E3A4-5E96-031E483F3C1A}"/>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1F3FBA7-A6B7-BB8E-650D-08B8295F64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347" imgH="348" progId="TCLayout.ActiveDocument.1">
                  <p:embed/>
                </p:oleObj>
              </mc:Choice>
              <mc:Fallback>
                <p:oleObj name="think-cell Slide" r:id="rId43" imgW="347" imgH="348" progId="TCLayout.ActiveDocument.1">
                  <p:embed/>
                  <p:pic>
                    <p:nvPicPr>
                      <p:cNvPr id="8" name="Object 7" hidden="1">
                        <a:extLst>
                          <a:ext uri="{FF2B5EF4-FFF2-40B4-BE49-F238E27FC236}">
                            <a16:creationId xmlns:a16="http://schemas.microsoft.com/office/drawing/2014/main" id="{01F3FBA7-A6B7-BB8E-650D-08B8295F6478}"/>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494" name="Mexico" descr="© INSCALE GmbH, 05.05.2010&#10;http://www.presentationload.com/">
            <a:extLst>
              <a:ext uri="{FF2B5EF4-FFF2-40B4-BE49-F238E27FC236}">
                <a16:creationId xmlns:a16="http://schemas.microsoft.com/office/drawing/2014/main" id="{B47BDDF5-37AC-0817-33CF-501F282B47FF}"/>
              </a:ext>
            </a:extLst>
          </p:cNvPr>
          <p:cNvSpPr>
            <a:spLocks/>
          </p:cNvSpPr>
          <p:nvPr/>
        </p:nvSpPr>
        <p:spPr bwMode="gray">
          <a:xfrm>
            <a:off x="3169874" y="2844946"/>
            <a:ext cx="1162865" cy="911237"/>
          </a:xfrm>
          <a:custGeom>
            <a:avLst/>
            <a:gdLst>
              <a:gd name="T0" fmla="*/ 2147483647 w 1860"/>
              <a:gd name="T1" fmla="*/ 2147483647 h 1458"/>
              <a:gd name="T2" fmla="*/ 2147483647 w 1860"/>
              <a:gd name="T3" fmla="*/ 2147483647 h 1458"/>
              <a:gd name="T4" fmla="*/ 2147483647 w 1860"/>
              <a:gd name="T5" fmla="*/ 2147483647 h 1458"/>
              <a:gd name="T6" fmla="*/ 2147483647 w 1860"/>
              <a:gd name="T7" fmla="*/ 2147483647 h 1458"/>
              <a:gd name="T8" fmla="*/ 2147483647 w 1860"/>
              <a:gd name="T9" fmla="*/ 2147483647 h 1458"/>
              <a:gd name="T10" fmla="*/ 2147483647 w 1860"/>
              <a:gd name="T11" fmla="*/ 2147483647 h 1458"/>
              <a:gd name="T12" fmla="*/ 2147483647 w 1860"/>
              <a:gd name="T13" fmla="*/ 2147483647 h 1458"/>
              <a:gd name="T14" fmla="*/ 2147483647 w 1860"/>
              <a:gd name="T15" fmla="*/ 2147483647 h 1458"/>
              <a:gd name="T16" fmla="*/ 2147483647 w 1860"/>
              <a:gd name="T17" fmla="*/ 2147483647 h 1458"/>
              <a:gd name="T18" fmla="*/ 2147483647 w 1860"/>
              <a:gd name="T19" fmla="*/ 2147483647 h 1458"/>
              <a:gd name="T20" fmla="*/ 2147483647 w 1860"/>
              <a:gd name="T21" fmla="*/ 2147483647 h 1458"/>
              <a:gd name="T22" fmla="*/ 2147483647 w 1860"/>
              <a:gd name="T23" fmla="*/ 2147483647 h 1458"/>
              <a:gd name="T24" fmla="*/ 2147483647 w 1860"/>
              <a:gd name="T25" fmla="*/ 2147483647 h 1458"/>
              <a:gd name="T26" fmla="*/ 2147483647 w 1860"/>
              <a:gd name="T27" fmla="*/ 2147483647 h 1458"/>
              <a:gd name="T28" fmla="*/ 2147483647 w 1860"/>
              <a:gd name="T29" fmla="*/ 2147483647 h 1458"/>
              <a:gd name="T30" fmla="*/ 2147483647 w 1860"/>
              <a:gd name="T31" fmla="*/ 2147483647 h 1458"/>
              <a:gd name="T32" fmla="*/ 2147483647 w 1860"/>
              <a:gd name="T33" fmla="*/ 2147483647 h 1458"/>
              <a:gd name="T34" fmla="*/ 2147483647 w 1860"/>
              <a:gd name="T35" fmla="*/ 2147483647 h 1458"/>
              <a:gd name="T36" fmla="*/ 2147483647 w 1860"/>
              <a:gd name="T37" fmla="*/ 2147483647 h 1458"/>
              <a:gd name="T38" fmla="*/ 2147483647 w 1860"/>
              <a:gd name="T39" fmla="*/ 2147483647 h 1458"/>
              <a:gd name="T40" fmla="*/ 2147483647 w 1860"/>
              <a:gd name="T41" fmla="*/ 2147483647 h 1458"/>
              <a:gd name="T42" fmla="*/ 2147483647 w 1860"/>
              <a:gd name="T43" fmla="*/ 2147483647 h 1458"/>
              <a:gd name="T44" fmla="*/ 2147483647 w 1860"/>
              <a:gd name="T45" fmla="*/ 2147483647 h 1458"/>
              <a:gd name="T46" fmla="*/ 2147483647 w 1860"/>
              <a:gd name="T47" fmla="*/ 2147483647 h 1458"/>
              <a:gd name="T48" fmla="*/ 2147483647 w 1860"/>
              <a:gd name="T49" fmla="*/ 2147483647 h 1458"/>
              <a:gd name="T50" fmla="*/ 2147483647 w 1860"/>
              <a:gd name="T51" fmla="*/ 2147483647 h 1458"/>
              <a:gd name="T52" fmla="*/ 2147483647 w 1860"/>
              <a:gd name="T53" fmla="*/ 2147483647 h 1458"/>
              <a:gd name="T54" fmla="*/ 2147483647 w 1860"/>
              <a:gd name="T55" fmla="*/ 2147483647 h 1458"/>
              <a:gd name="T56" fmla="*/ 0 w 1860"/>
              <a:gd name="T57" fmla="*/ 2147483647 h 1458"/>
              <a:gd name="T58" fmla="*/ 2147483647 w 1860"/>
              <a:gd name="T59" fmla="*/ 2147483647 h 1458"/>
              <a:gd name="T60" fmla="*/ 2147483647 w 1860"/>
              <a:gd name="T61" fmla="*/ 2147483647 h 1458"/>
              <a:gd name="T62" fmla="*/ 2147483647 w 1860"/>
              <a:gd name="T63" fmla="*/ 2147483647 h 1458"/>
              <a:gd name="T64" fmla="*/ 2147483647 w 1860"/>
              <a:gd name="T65" fmla="*/ 2147483647 h 1458"/>
              <a:gd name="T66" fmla="*/ 2147483647 w 1860"/>
              <a:gd name="T67" fmla="*/ 2147483647 h 1458"/>
              <a:gd name="T68" fmla="*/ 2147483647 w 1860"/>
              <a:gd name="T69" fmla="*/ 2147483647 h 1458"/>
              <a:gd name="T70" fmla="*/ 2147483647 w 1860"/>
              <a:gd name="T71" fmla="*/ 2147483647 h 1458"/>
              <a:gd name="T72" fmla="*/ 2147483647 w 1860"/>
              <a:gd name="T73" fmla="*/ 2147483647 h 1458"/>
              <a:gd name="T74" fmla="*/ 2147483647 w 1860"/>
              <a:gd name="T75" fmla="*/ 2147483647 h 1458"/>
              <a:gd name="T76" fmla="*/ 2147483647 w 1860"/>
              <a:gd name="T77" fmla="*/ 2147483647 h 1458"/>
              <a:gd name="T78" fmla="*/ 2147483647 w 1860"/>
              <a:gd name="T79" fmla="*/ 2147483647 h 1458"/>
              <a:gd name="T80" fmla="*/ 2147483647 w 1860"/>
              <a:gd name="T81" fmla="*/ 2147483647 h 1458"/>
              <a:gd name="T82" fmla="*/ 2147483647 w 1860"/>
              <a:gd name="T83" fmla="*/ 2147483647 h 1458"/>
              <a:gd name="T84" fmla="*/ 2147483647 w 1860"/>
              <a:gd name="T85" fmla="*/ 2147483647 h 1458"/>
              <a:gd name="T86" fmla="*/ 2147483647 w 1860"/>
              <a:gd name="T87" fmla="*/ 2147483647 h 1458"/>
              <a:gd name="T88" fmla="*/ 2147483647 w 1860"/>
              <a:gd name="T89" fmla="*/ 2147483647 h 1458"/>
              <a:gd name="T90" fmla="*/ 2147483647 w 1860"/>
              <a:gd name="T91" fmla="*/ 2147483647 h 1458"/>
              <a:gd name="T92" fmla="*/ 2147483647 w 1860"/>
              <a:gd name="T93" fmla="*/ 2147483647 h 1458"/>
              <a:gd name="T94" fmla="*/ 2147483647 w 1860"/>
              <a:gd name="T95" fmla="*/ 2147483647 h 1458"/>
              <a:gd name="T96" fmla="*/ 2147483647 w 1860"/>
              <a:gd name="T97" fmla="*/ 2147483647 h 1458"/>
              <a:gd name="T98" fmla="*/ 2147483647 w 1860"/>
              <a:gd name="T99" fmla="*/ 2147483647 h 1458"/>
              <a:gd name="T100" fmla="*/ 2147483647 w 1860"/>
              <a:gd name="T101" fmla="*/ 2147483647 h 1458"/>
              <a:gd name="T102" fmla="*/ 2147483647 w 1860"/>
              <a:gd name="T103" fmla="*/ 2147483647 h 1458"/>
              <a:gd name="T104" fmla="*/ 2147483647 w 1860"/>
              <a:gd name="T105" fmla="*/ 2147483647 h 1458"/>
              <a:gd name="T106" fmla="*/ 2147483647 w 1860"/>
              <a:gd name="T107" fmla="*/ 2147483647 h 1458"/>
              <a:gd name="T108" fmla="*/ 2147483647 w 1860"/>
              <a:gd name="T109" fmla="*/ 2147483647 h 1458"/>
              <a:gd name="T110" fmla="*/ 2147483647 w 1860"/>
              <a:gd name="T111" fmla="*/ 2147483647 h 1458"/>
              <a:gd name="T112" fmla="*/ 2147483647 w 1860"/>
              <a:gd name="T113" fmla="*/ 2147483647 h 1458"/>
              <a:gd name="T114" fmla="*/ 2147483647 w 1860"/>
              <a:gd name="T115" fmla="*/ 2147483647 h 1458"/>
              <a:gd name="T116" fmla="*/ 2147483647 w 1860"/>
              <a:gd name="T117" fmla="*/ 2147483647 h 1458"/>
              <a:gd name="T118" fmla="*/ 2147483647 w 1860"/>
              <a:gd name="T119" fmla="*/ 2147483647 h 1458"/>
              <a:gd name="T120" fmla="*/ 2147483647 w 1860"/>
              <a:gd name="T121" fmla="*/ 2147483647 h 145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0"/>
              <a:gd name="T184" fmla="*/ 0 h 1458"/>
              <a:gd name="T185" fmla="*/ 1860 w 1860"/>
              <a:gd name="T186" fmla="*/ 1458 h 145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0" h="1458">
                <a:moveTo>
                  <a:pt x="1422" y="1440"/>
                </a:moveTo>
                <a:lnTo>
                  <a:pt x="1422" y="1380"/>
                </a:lnTo>
                <a:lnTo>
                  <a:pt x="1452" y="1332"/>
                </a:lnTo>
                <a:lnTo>
                  <a:pt x="1542" y="1338"/>
                </a:lnTo>
                <a:lnTo>
                  <a:pt x="1542" y="1320"/>
                </a:lnTo>
                <a:lnTo>
                  <a:pt x="1548" y="1320"/>
                </a:lnTo>
                <a:lnTo>
                  <a:pt x="1554" y="1314"/>
                </a:lnTo>
                <a:lnTo>
                  <a:pt x="1554" y="1302"/>
                </a:lnTo>
                <a:lnTo>
                  <a:pt x="1536" y="1302"/>
                </a:lnTo>
                <a:lnTo>
                  <a:pt x="1530" y="1278"/>
                </a:lnTo>
                <a:lnTo>
                  <a:pt x="1524" y="1278"/>
                </a:lnTo>
                <a:lnTo>
                  <a:pt x="1512" y="1272"/>
                </a:lnTo>
                <a:lnTo>
                  <a:pt x="1506" y="1272"/>
                </a:lnTo>
                <a:lnTo>
                  <a:pt x="1500" y="1266"/>
                </a:lnTo>
                <a:lnTo>
                  <a:pt x="1494" y="1254"/>
                </a:lnTo>
                <a:lnTo>
                  <a:pt x="1494" y="1248"/>
                </a:lnTo>
                <a:lnTo>
                  <a:pt x="1482" y="1242"/>
                </a:lnTo>
                <a:lnTo>
                  <a:pt x="1506" y="1242"/>
                </a:lnTo>
                <a:lnTo>
                  <a:pt x="1518" y="1236"/>
                </a:lnTo>
                <a:lnTo>
                  <a:pt x="1524" y="1236"/>
                </a:lnTo>
                <a:lnTo>
                  <a:pt x="1524" y="1212"/>
                </a:lnTo>
                <a:lnTo>
                  <a:pt x="1518" y="1200"/>
                </a:lnTo>
                <a:lnTo>
                  <a:pt x="1518" y="1188"/>
                </a:lnTo>
                <a:lnTo>
                  <a:pt x="1650" y="1194"/>
                </a:lnTo>
                <a:lnTo>
                  <a:pt x="1656" y="1182"/>
                </a:lnTo>
                <a:lnTo>
                  <a:pt x="1656" y="1176"/>
                </a:lnTo>
                <a:lnTo>
                  <a:pt x="1662" y="1176"/>
                </a:lnTo>
                <a:lnTo>
                  <a:pt x="1668" y="1182"/>
                </a:lnTo>
                <a:lnTo>
                  <a:pt x="1668" y="1188"/>
                </a:lnTo>
                <a:lnTo>
                  <a:pt x="1674" y="1188"/>
                </a:lnTo>
                <a:lnTo>
                  <a:pt x="1680" y="1182"/>
                </a:lnTo>
                <a:lnTo>
                  <a:pt x="1692" y="1176"/>
                </a:lnTo>
                <a:lnTo>
                  <a:pt x="1698" y="1164"/>
                </a:lnTo>
                <a:lnTo>
                  <a:pt x="1698" y="1152"/>
                </a:lnTo>
                <a:lnTo>
                  <a:pt x="1704" y="1146"/>
                </a:lnTo>
                <a:lnTo>
                  <a:pt x="1704" y="1140"/>
                </a:lnTo>
                <a:lnTo>
                  <a:pt x="1710" y="1152"/>
                </a:lnTo>
                <a:lnTo>
                  <a:pt x="1746" y="1116"/>
                </a:lnTo>
                <a:lnTo>
                  <a:pt x="1746" y="1122"/>
                </a:lnTo>
                <a:lnTo>
                  <a:pt x="1740" y="1128"/>
                </a:lnTo>
                <a:lnTo>
                  <a:pt x="1740" y="1146"/>
                </a:lnTo>
                <a:lnTo>
                  <a:pt x="1746" y="1152"/>
                </a:lnTo>
                <a:lnTo>
                  <a:pt x="1758" y="1152"/>
                </a:lnTo>
                <a:lnTo>
                  <a:pt x="1782" y="1086"/>
                </a:lnTo>
                <a:lnTo>
                  <a:pt x="1770" y="1074"/>
                </a:lnTo>
                <a:lnTo>
                  <a:pt x="1794" y="1068"/>
                </a:lnTo>
                <a:lnTo>
                  <a:pt x="1794" y="1056"/>
                </a:lnTo>
                <a:lnTo>
                  <a:pt x="1776" y="1050"/>
                </a:lnTo>
                <a:lnTo>
                  <a:pt x="1794" y="1032"/>
                </a:lnTo>
                <a:lnTo>
                  <a:pt x="1800" y="1008"/>
                </a:lnTo>
                <a:lnTo>
                  <a:pt x="1806" y="996"/>
                </a:lnTo>
                <a:lnTo>
                  <a:pt x="1818" y="990"/>
                </a:lnTo>
                <a:lnTo>
                  <a:pt x="1824" y="978"/>
                </a:lnTo>
                <a:lnTo>
                  <a:pt x="1836" y="966"/>
                </a:lnTo>
                <a:lnTo>
                  <a:pt x="1842" y="954"/>
                </a:lnTo>
                <a:lnTo>
                  <a:pt x="1848" y="948"/>
                </a:lnTo>
                <a:lnTo>
                  <a:pt x="1854" y="936"/>
                </a:lnTo>
                <a:lnTo>
                  <a:pt x="1854" y="930"/>
                </a:lnTo>
                <a:lnTo>
                  <a:pt x="1860" y="918"/>
                </a:lnTo>
                <a:lnTo>
                  <a:pt x="1860" y="900"/>
                </a:lnTo>
                <a:lnTo>
                  <a:pt x="1854" y="894"/>
                </a:lnTo>
                <a:lnTo>
                  <a:pt x="1818" y="894"/>
                </a:lnTo>
                <a:lnTo>
                  <a:pt x="1812" y="900"/>
                </a:lnTo>
                <a:lnTo>
                  <a:pt x="1800" y="900"/>
                </a:lnTo>
                <a:lnTo>
                  <a:pt x="1794" y="894"/>
                </a:lnTo>
                <a:lnTo>
                  <a:pt x="1782" y="894"/>
                </a:lnTo>
                <a:lnTo>
                  <a:pt x="1770" y="888"/>
                </a:lnTo>
                <a:lnTo>
                  <a:pt x="1746" y="888"/>
                </a:lnTo>
                <a:lnTo>
                  <a:pt x="1734" y="894"/>
                </a:lnTo>
                <a:lnTo>
                  <a:pt x="1716" y="900"/>
                </a:lnTo>
                <a:lnTo>
                  <a:pt x="1698" y="900"/>
                </a:lnTo>
                <a:lnTo>
                  <a:pt x="1686" y="906"/>
                </a:lnTo>
                <a:lnTo>
                  <a:pt x="1668" y="906"/>
                </a:lnTo>
                <a:lnTo>
                  <a:pt x="1656" y="912"/>
                </a:lnTo>
                <a:lnTo>
                  <a:pt x="1626" y="912"/>
                </a:lnTo>
                <a:lnTo>
                  <a:pt x="1614" y="918"/>
                </a:lnTo>
                <a:lnTo>
                  <a:pt x="1608" y="924"/>
                </a:lnTo>
                <a:lnTo>
                  <a:pt x="1596" y="948"/>
                </a:lnTo>
                <a:lnTo>
                  <a:pt x="1590" y="966"/>
                </a:lnTo>
                <a:lnTo>
                  <a:pt x="1590" y="1026"/>
                </a:lnTo>
                <a:lnTo>
                  <a:pt x="1572" y="1032"/>
                </a:lnTo>
                <a:lnTo>
                  <a:pt x="1572" y="1062"/>
                </a:lnTo>
                <a:lnTo>
                  <a:pt x="1566" y="1074"/>
                </a:lnTo>
                <a:lnTo>
                  <a:pt x="1542" y="1086"/>
                </a:lnTo>
                <a:lnTo>
                  <a:pt x="1524" y="1098"/>
                </a:lnTo>
                <a:lnTo>
                  <a:pt x="1512" y="1110"/>
                </a:lnTo>
                <a:lnTo>
                  <a:pt x="1512" y="1122"/>
                </a:lnTo>
                <a:lnTo>
                  <a:pt x="1506" y="1128"/>
                </a:lnTo>
                <a:lnTo>
                  <a:pt x="1506" y="1140"/>
                </a:lnTo>
                <a:lnTo>
                  <a:pt x="1500" y="1146"/>
                </a:lnTo>
                <a:lnTo>
                  <a:pt x="1488" y="1146"/>
                </a:lnTo>
                <a:lnTo>
                  <a:pt x="1476" y="1134"/>
                </a:lnTo>
                <a:lnTo>
                  <a:pt x="1476" y="1128"/>
                </a:lnTo>
                <a:lnTo>
                  <a:pt x="1470" y="1122"/>
                </a:lnTo>
                <a:lnTo>
                  <a:pt x="1440" y="1122"/>
                </a:lnTo>
                <a:lnTo>
                  <a:pt x="1416" y="1128"/>
                </a:lnTo>
                <a:lnTo>
                  <a:pt x="1392" y="1140"/>
                </a:lnTo>
                <a:lnTo>
                  <a:pt x="1356" y="1140"/>
                </a:lnTo>
                <a:lnTo>
                  <a:pt x="1338" y="1146"/>
                </a:lnTo>
                <a:lnTo>
                  <a:pt x="1290" y="1170"/>
                </a:lnTo>
                <a:lnTo>
                  <a:pt x="1284" y="1170"/>
                </a:lnTo>
                <a:lnTo>
                  <a:pt x="1272" y="1158"/>
                </a:lnTo>
                <a:lnTo>
                  <a:pt x="1266" y="1146"/>
                </a:lnTo>
                <a:lnTo>
                  <a:pt x="1266" y="1140"/>
                </a:lnTo>
                <a:lnTo>
                  <a:pt x="1260" y="1128"/>
                </a:lnTo>
                <a:lnTo>
                  <a:pt x="1242" y="1128"/>
                </a:lnTo>
                <a:lnTo>
                  <a:pt x="1224" y="1122"/>
                </a:lnTo>
                <a:lnTo>
                  <a:pt x="1194" y="1122"/>
                </a:lnTo>
                <a:lnTo>
                  <a:pt x="1194" y="1104"/>
                </a:lnTo>
                <a:lnTo>
                  <a:pt x="1188" y="1092"/>
                </a:lnTo>
                <a:lnTo>
                  <a:pt x="1176" y="1080"/>
                </a:lnTo>
                <a:lnTo>
                  <a:pt x="1170" y="1068"/>
                </a:lnTo>
                <a:lnTo>
                  <a:pt x="1164" y="1062"/>
                </a:lnTo>
                <a:lnTo>
                  <a:pt x="1164" y="1026"/>
                </a:lnTo>
                <a:lnTo>
                  <a:pt x="1128" y="966"/>
                </a:lnTo>
                <a:lnTo>
                  <a:pt x="1122" y="924"/>
                </a:lnTo>
                <a:lnTo>
                  <a:pt x="1110" y="894"/>
                </a:lnTo>
                <a:lnTo>
                  <a:pt x="1104" y="804"/>
                </a:lnTo>
                <a:lnTo>
                  <a:pt x="1110" y="798"/>
                </a:lnTo>
                <a:lnTo>
                  <a:pt x="1122" y="774"/>
                </a:lnTo>
                <a:lnTo>
                  <a:pt x="1128" y="768"/>
                </a:lnTo>
                <a:lnTo>
                  <a:pt x="1128" y="654"/>
                </a:lnTo>
                <a:lnTo>
                  <a:pt x="1152" y="648"/>
                </a:lnTo>
                <a:lnTo>
                  <a:pt x="1152" y="612"/>
                </a:lnTo>
                <a:lnTo>
                  <a:pt x="1158" y="600"/>
                </a:lnTo>
                <a:lnTo>
                  <a:pt x="1158" y="594"/>
                </a:lnTo>
                <a:lnTo>
                  <a:pt x="1164" y="588"/>
                </a:lnTo>
                <a:lnTo>
                  <a:pt x="1176" y="588"/>
                </a:lnTo>
                <a:lnTo>
                  <a:pt x="1182" y="594"/>
                </a:lnTo>
                <a:lnTo>
                  <a:pt x="1188" y="594"/>
                </a:lnTo>
                <a:lnTo>
                  <a:pt x="1188" y="588"/>
                </a:lnTo>
                <a:lnTo>
                  <a:pt x="1194" y="576"/>
                </a:lnTo>
                <a:lnTo>
                  <a:pt x="1194" y="564"/>
                </a:lnTo>
                <a:lnTo>
                  <a:pt x="1200" y="558"/>
                </a:lnTo>
                <a:lnTo>
                  <a:pt x="1206" y="546"/>
                </a:lnTo>
                <a:lnTo>
                  <a:pt x="1206" y="540"/>
                </a:lnTo>
                <a:lnTo>
                  <a:pt x="1206" y="546"/>
                </a:lnTo>
                <a:lnTo>
                  <a:pt x="1182" y="546"/>
                </a:lnTo>
                <a:lnTo>
                  <a:pt x="1176" y="534"/>
                </a:lnTo>
                <a:lnTo>
                  <a:pt x="1176" y="528"/>
                </a:lnTo>
                <a:lnTo>
                  <a:pt x="1134" y="528"/>
                </a:lnTo>
                <a:lnTo>
                  <a:pt x="1122" y="516"/>
                </a:lnTo>
                <a:lnTo>
                  <a:pt x="1110" y="516"/>
                </a:lnTo>
                <a:lnTo>
                  <a:pt x="1092" y="510"/>
                </a:lnTo>
                <a:lnTo>
                  <a:pt x="1080" y="498"/>
                </a:lnTo>
                <a:lnTo>
                  <a:pt x="1080" y="468"/>
                </a:lnTo>
                <a:lnTo>
                  <a:pt x="1068" y="456"/>
                </a:lnTo>
                <a:lnTo>
                  <a:pt x="1068" y="420"/>
                </a:lnTo>
                <a:lnTo>
                  <a:pt x="1074" y="420"/>
                </a:lnTo>
                <a:lnTo>
                  <a:pt x="1080" y="414"/>
                </a:lnTo>
                <a:lnTo>
                  <a:pt x="1080" y="408"/>
                </a:lnTo>
                <a:lnTo>
                  <a:pt x="1068" y="396"/>
                </a:lnTo>
                <a:lnTo>
                  <a:pt x="1056" y="390"/>
                </a:lnTo>
                <a:lnTo>
                  <a:pt x="1050" y="384"/>
                </a:lnTo>
                <a:lnTo>
                  <a:pt x="1050" y="360"/>
                </a:lnTo>
                <a:lnTo>
                  <a:pt x="1038" y="354"/>
                </a:lnTo>
                <a:lnTo>
                  <a:pt x="1032" y="342"/>
                </a:lnTo>
                <a:lnTo>
                  <a:pt x="1032" y="330"/>
                </a:lnTo>
                <a:lnTo>
                  <a:pt x="1038" y="318"/>
                </a:lnTo>
                <a:lnTo>
                  <a:pt x="1038" y="294"/>
                </a:lnTo>
                <a:lnTo>
                  <a:pt x="1026" y="282"/>
                </a:lnTo>
                <a:lnTo>
                  <a:pt x="1020" y="270"/>
                </a:lnTo>
                <a:lnTo>
                  <a:pt x="1008" y="258"/>
                </a:lnTo>
                <a:lnTo>
                  <a:pt x="1002" y="246"/>
                </a:lnTo>
                <a:lnTo>
                  <a:pt x="996" y="240"/>
                </a:lnTo>
                <a:lnTo>
                  <a:pt x="990" y="228"/>
                </a:lnTo>
                <a:lnTo>
                  <a:pt x="948" y="228"/>
                </a:lnTo>
                <a:lnTo>
                  <a:pt x="930" y="222"/>
                </a:lnTo>
                <a:lnTo>
                  <a:pt x="930" y="228"/>
                </a:lnTo>
                <a:lnTo>
                  <a:pt x="912" y="228"/>
                </a:lnTo>
                <a:lnTo>
                  <a:pt x="900" y="240"/>
                </a:lnTo>
                <a:lnTo>
                  <a:pt x="888" y="264"/>
                </a:lnTo>
                <a:lnTo>
                  <a:pt x="876" y="276"/>
                </a:lnTo>
                <a:lnTo>
                  <a:pt x="852" y="288"/>
                </a:lnTo>
                <a:lnTo>
                  <a:pt x="840" y="288"/>
                </a:lnTo>
                <a:lnTo>
                  <a:pt x="822" y="276"/>
                </a:lnTo>
                <a:lnTo>
                  <a:pt x="810" y="270"/>
                </a:lnTo>
                <a:lnTo>
                  <a:pt x="780" y="240"/>
                </a:lnTo>
                <a:lnTo>
                  <a:pt x="780" y="228"/>
                </a:lnTo>
                <a:lnTo>
                  <a:pt x="786" y="216"/>
                </a:lnTo>
                <a:lnTo>
                  <a:pt x="786" y="174"/>
                </a:lnTo>
                <a:lnTo>
                  <a:pt x="780" y="162"/>
                </a:lnTo>
                <a:lnTo>
                  <a:pt x="768" y="150"/>
                </a:lnTo>
                <a:lnTo>
                  <a:pt x="756" y="144"/>
                </a:lnTo>
                <a:lnTo>
                  <a:pt x="744" y="144"/>
                </a:lnTo>
                <a:lnTo>
                  <a:pt x="738" y="114"/>
                </a:lnTo>
                <a:lnTo>
                  <a:pt x="708" y="102"/>
                </a:lnTo>
                <a:lnTo>
                  <a:pt x="708" y="78"/>
                </a:lnTo>
                <a:lnTo>
                  <a:pt x="696" y="66"/>
                </a:lnTo>
                <a:lnTo>
                  <a:pt x="582" y="66"/>
                </a:lnTo>
                <a:lnTo>
                  <a:pt x="576" y="72"/>
                </a:lnTo>
                <a:lnTo>
                  <a:pt x="576" y="90"/>
                </a:lnTo>
                <a:lnTo>
                  <a:pt x="570" y="102"/>
                </a:lnTo>
                <a:lnTo>
                  <a:pt x="570" y="108"/>
                </a:lnTo>
                <a:lnTo>
                  <a:pt x="366" y="108"/>
                </a:lnTo>
                <a:lnTo>
                  <a:pt x="156" y="12"/>
                </a:lnTo>
                <a:lnTo>
                  <a:pt x="150" y="12"/>
                </a:lnTo>
                <a:lnTo>
                  <a:pt x="150" y="6"/>
                </a:lnTo>
                <a:lnTo>
                  <a:pt x="156" y="0"/>
                </a:lnTo>
                <a:lnTo>
                  <a:pt x="12" y="6"/>
                </a:lnTo>
                <a:lnTo>
                  <a:pt x="6" y="0"/>
                </a:lnTo>
                <a:lnTo>
                  <a:pt x="0" y="18"/>
                </a:lnTo>
                <a:lnTo>
                  <a:pt x="0" y="48"/>
                </a:lnTo>
                <a:lnTo>
                  <a:pt x="6" y="60"/>
                </a:lnTo>
                <a:lnTo>
                  <a:pt x="12" y="66"/>
                </a:lnTo>
                <a:lnTo>
                  <a:pt x="18" y="78"/>
                </a:lnTo>
                <a:lnTo>
                  <a:pt x="0" y="90"/>
                </a:lnTo>
                <a:lnTo>
                  <a:pt x="12" y="114"/>
                </a:lnTo>
                <a:lnTo>
                  <a:pt x="6" y="126"/>
                </a:lnTo>
                <a:lnTo>
                  <a:pt x="24" y="144"/>
                </a:lnTo>
                <a:lnTo>
                  <a:pt x="6" y="174"/>
                </a:lnTo>
                <a:lnTo>
                  <a:pt x="18" y="180"/>
                </a:lnTo>
                <a:lnTo>
                  <a:pt x="18" y="210"/>
                </a:lnTo>
                <a:lnTo>
                  <a:pt x="24" y="228"/>
                </a:lnTo>
                <a:lnTo>
                  <a:pt x="24" y="240"/>
                </a:lnTo>
                <a:lnTo>
                  <a:pt x="30" y="252"/>
                </a:lnTo>
                <a:lnTo>
                  <a:pt x="42" y="264"/>
                </a:lnTo>
                <a:lnTo>
                  <a:pt x="60" y="264"/>
                </a:lnTo>
                <a:lnTo>
                  <a:pt x="60" y="270"/>
                </a:lnTo>
                <a:lnTo>
                  <a:pt x="66" y="276"/>
                </a:lnTo>
                <a:lnTo>
                  <a:pt x="72" y="288"/>
                </a:lnTo>
                <a:lnTo>
                  <a:pt x="84" y="300"/>
                </a:lnTo>
                <a:lnTo>
                  <a:pt x="90" y="318"/>
                </a:lnTo>
                <a:lnTo>
                  <a:pt x="96" y="330"/>
                </a:lnTo>
                <a:lnTo>
                  <a:pt x="96" y="342"/>
                </a:lnTo>
                <a:lnTo>
                  <a:pt x="78" y="378"/>
                </a:lnTo>
                <a:lnTo>
                  <a:pt x="72" y="384"/>
                </a:lnTo>
                <a:lnTo>
                  <a:pt x="72" y="390"/>
                </a:lnTo>
                <a:lnTo>
                  <a:pt x="84" y="396"/>
                </a:lnTo>
                <a:lnTo>
                  <a:pt x="72" y="414"/>
                </a:lnTo>
                <a:lnTo>
                  <a:pt x="60" y="396"/>
                </a:lnTo>
                <a:lnTo>
                  <a:pt x="12" y="390"/>
                </a:lnTo>
                <a:lnTo>
                  <a:pt x="36" y="414"/>
                </a:lnTo>
                <a:lnTo>
                  <a:pt x="42" y="438"/>
                </a:lnTo>
                <a:lnTo>
                  <a:pt x="66" y="444"/>
                </a:lnTo>
                <a:lnTo>
                  <a:pt x="78" y="456"/>
                </a:lnTo>
                <a:lnTo>
                  <a:pt x="84" y="468"/>
                </a:lnTo>
                <a:lnTo>
                  <a:pt x="90" y="474"/>
                </a:lnTo>
                <a:lnTo>
                  <a:pt x="96" y="474"/>
                </a:lnTo>
                <a:lnTo>
                  <a:pt x="102" y="468"/>
                </a:lnTo>
                <a:lnTo>
                  <a:pt x="108" y="468"/>
                </a:lnTo>
                <a:lnTo>
                  <a:pt x="120" y="462"/>
                </a:lnTo>
                <a:lnTo>
                  <a:pt x="126" y="456"/>
                </a:lnTo>
                <a:lnTo>
                  <a:pt x="126" y="480"/>
                </a:lnTo>
                <a:lnTo>
                  <a:pt x="144" y="516"/>
                </a:lnTo>
                <a:lnTo>
                  <a:pt x="156" y="528"/>
                </a:lnTo>
                <a:lnTo>
                  <a:pt x="168" y="552"/>
                </a:lnTo>
                <a:lnTo>
                  <a:pt x="168" y="564"/>
                </a:lnTo>
                <a:lnTo>
                  <a:pt x="156" y="588"/>
                </a:lnTo>
                <a:lnTo>
                  <a:pt x="150" y="606"/>
                </a:lnTo>
                <a:lnTo>
                  <a:pt x="150" y="618"/>
                </a:lnTo>
                <a:lnTo>
                  <a:pt x="180" y="648"/>
                </a:lnTo>
                <a:lnTo>
                  <a:pt x="192" y="666"/>
                </a:lnTo>
                <a:lnTo>
                  <a:pt x="222" y="696"/>
                </a:lnTo>
                <a:lnTo>
                  <a:pt x="234" y="714"/>
                </a:lnTo>
                <a:lnTo>
                  <a:pt x="264" y="744"/>
                </a:lnTo>
                <a:lnTo>
                  <a:pt x="258" y="750"/>
                </a:lnTo>
                <a:lnTo>
                  <a:pt x="258" y="762"/>
                </a:lnTo>
                <a:lnTo>
                  <a:pt x="252" y="768"/>
                </a:lnTo>
                <a:lnTo>
                  <a:pt x="252" y="780"/>
                </a:lnTo>
                <a:lnTo>
                  <a:pt x="258" y="786"/>
                </a:lnTo>
                <a:lnTo>
                  <a:pt x="276" y="786"/>
                </a:lnTo>
                <a:lnTo>
                  <a:pt x="288" y="780"/>
                </a:lnTo>
                <a:lnTo>
                  <a:pt x="294" y="768"/>
                </a:lnTo>
                <a:lnTo>
                  <a:pt x="306" y="762"/>
                </a:lnTo>
                <a:lnTo>
                  <a:pt x="312" y="756"/>
                </a:lnTo>
                <a:lnTo>
                  <a:pt x="306" y="738"/>
                </a:lnTo>
                <a:lnTo>
                  <a:pt x="306" y="732"/>
                </a:lnTo>
                <a:lnTo>
                  <a:pt x="300" y="726"/>
                </a:lnTo>
                <a:lnTo>
                  <a:pt x="300" y="708"/>
                </a:lnTo>
                <a:lnTo>
                  <a:pt x="288" y="684"/>
                </a:lnTo>
                <a:lnTo>
                  <a:pt x="282" y="678"/>
                </a:lnTo>
                <a:lnTo>
                  <a:pt x="258" y="678"/>
                </a:lnTo>
                <a:lnTo>
                  <a:pt x="240" y="648"/>
                </a:lnTo>
                <a:lnTo>
                  <a:pt x="240" y="576"/>
                </a:lnTo>
                <a:lnTo>
                  <a:pt x="222" y="546"/>
                </a:lnTo>
                <a:lnTo>
                  <a:pt x="228" y="534"/>
                </a:lnTo>
                <a:lnTo>
                  <a:pt x="228" y="528"/>
                </a:lnTo>
                <a:lnTo>
                  <a:pt x="234" y="516"/>
                </a:lnTo>
                <a:lnTo>
                  <a:pt x="234" y="492"/>
                </a:lnTo>
                <a:lnTo>
                  <a:pt x="228" y="486"/>
                </a:lnTo>
                <a:lnTo>
                  <a:pt x="216" y="480"/>
                </a:lnTo>
                <a:lnTo>
                  <a:pt x="210" y="474"/>
                </a:lnTo>
                <a:lnTo>
                  <a:pt x="198" y="474"/>
                </a:lnTo>
                <a:lnTo>
                  <a:pt x="198" y="432"/>
                </a:lnTo>
                <a:lnTo>
                  <a:pt x="168" y="396"/>
                </a:lnTo>
                <a:lnTo>
                  <a:pt x="174" y="336"/>
                </a:lnTo>
                <a:lnTo>
                  <a:pt x="168" y="330"/>
                </a:lnTo>
                <a:lnTo>
                  <a:pt x="162" y="318"/>
                </a:lnTo>
                <a:lnTo>
                  <a:pt x="144" y="300"/>
                </a:lnTo>
                <a:lnTo>
                  <a:pt x="138" y="288"/>
                </a:lnTo>
                <a:lnTo>
                  <a:pt x="138" y="276"/>
                </a:lnTo>
                <a:lnTo>
                  <a:pt x="132" y="264"/>
                </a:lnTo>
                <a:lnTo>
                  <a:pt x="132" y="246"/>
                </a:lnTo>
                <a:lnTo>
                  <a:pt x="126" y="240"/>
                </a:lnTo>
                <a:lnTo>
                  <a:pt x="120" y="228"/>
                </a:lnTo>
                <a:lnTo>
                  <a:pt x="108" y="216"/>
                </a:lnTo>
                <a:lnTo>
                  <a:pt x="102" y="204"/>
                </a:lnTo>
                <a:lnTo>
                  <a:pt x="96" y="198"/>
                </a:lnTo>
                <a:lnTo>
                  <a:pt x="96" y="192"/>
                </a:lnTo>
                <a:lnTo>
                  <a:pt x="102" y="186"/>
                </a:lnTo>
                <a:lnTo>
                  <a:pt x="114" y="162"/>
                </a:lnTo>
                <a:lnTo>
                  <a:pt x="114" y="114"/>
                </a:lnTo>
                <a:lnTo>
                  <a:pt x="120" y="108"/>
                </a:lnTo>
                <a:lnTo>
                  <a:pt x="126" y="96"/>
                </a:lnTo>
                <a:lnTo>
                  <a:pt x="126" y="60"/>
                </a:lnTo>
                <a:lnTo>
                  <a:pt x="132" y="66"/>
                </a:lnTo>
                <a:lnTo>
                  <a:pt x="144" y="72"/>
                </a:lnTo>
                <a:lnTo>
                  <a:pt x="150" y="84"/>
                </a:lnTo>
                <a:lnTo>
                  <a:pt x="162" y="90"/>
                </a:lnTo>
                <a:lnTo>
                  <a:pt x="180" y="90"/>
                </a:lnTo>
                <a:lnTo>
                  <a:pt x="186" y="84"/>
                </a:lnTo>
                <a:lnTo>
                  <a:pt x="198" y="84"/>
                </a:lnTo>
                <a:lnTo>
                  <a:pt x="198" y="102"/>
                </a:lnTo>
                <a:lnTo>
                  <a:pt x="204" y="108"/>
                </a:lnTo>
                <a:lnTo>
                  <a:pt x="216" y="114"/>
                </a:lnTo>
                <a:lnTo>
                  <a:pt x="234" y="114"/>
                </a:lnTo>
                <a:lnTo>
                  <a:pt x="234" y="120"/>
                </a:lnTo>
                <a:lnTo>
                  <a:pt x="228" y="126"/>
                </a:lnTo>
                <a:lnTo>
                  <a:pt x="228" y="186"/>
                </a:lnTo>
                <a:lnTo>
                  <a:pt x="240" y="258"/>
                </a:lnTo>
                <a:lnTo>
                  <a:pt x="240" y="270"/>
                </a:lnTo>
                <a:lnTo>
                  <a:pt x="246" y="282"/>
                </a:lnTo>
                <a:lnTo>
                  <a:pt x="252" y="306"/>
                </a:lnTo>
                <a:lnTo>
                  <a:pt x="264" y="342"/>
                </a:lnTo>
                <a:lnTo>
                  <a:pt x="276" y="372"/>
                </a:lnTo>
                <a:lnTo>
                  <a:pt x="282" y="384"/>
                </a:lnTo>
                <a:lnTo>
                  <a:pt x="324" y="384"/>
                </a:lnTo>
                <a:lnTo>
                  <a:pt x="318" y="390"/>
                </a:lnTo>
                <a:lnTo>
                  <a:pt x="306" y="414"/>
                </a:lnTo>
                <a:lnTo>
                  <a:pt x="318" y="438"/>
                </a:lnTo>
                <a:lnTo>
                  <a:pt x="330" y="444"/>
                </a:lnTo>
                <a:lnTo>
                  <a:pt x="336" y="450"/>
                </a:lnTo>
                <a:lnTo>
                  <a:pt x="348" y="450"/>
                </a:lnTo>
                <a:lnTo>
                  <a:pt x="354" y="474"/>
                </a:lnTo>
                <a:lnTo>
                  <a:pt x="384" y="474"/>
                </a:lnTo>
                <a:lnTo>
                  <a:pt x="390" y="516"/>
                </a:lnTo>
                <a:lnTo>
                  <a:pt x="384" y="516"/>
                </a:lnTo>
                <a:lnTo>
                  <a:pt x="378" y="522"/>
                </a:lnTo>
                <a:lnTo>
                  <a:pt x="366" y="528"/>
                </a:lnTo>
                <a:lnTo>
                  <a:pt x="360" y="534"/>
                </a:lnTo>
                <a:lnTo>
                  <a:pt x="354" y="546"/>
                </a:lnTo>
                <a:lnTo>
                  <a:pt x="354" y="558"/>
                </a:lnTo>
                <a:lnTo>
                  <a:pt x="360" y="564"/>
                </a:lnTo>
                <a:lnTo>
                  <a:pt x="372" y="570"/>
                </a:lnTo>
                <a:lnTo>
                  <a:pt x="384" y="558"/>
                </a:lnTo>
                <a:lnTo>
                  <a:pt x="384" y="564"/>
                </a:lnTo>
                <a:lnTo>
                  <a:pt x="396" y="576"/>
                </a:lnTo>
                <a:lnTo>
                  <a:pt x="396" y="588"/>
                </a:lnTo>
                <a:lnTo>
                  <a:pt x="402" y="594"/>
                </a:lnTo>
                <a:lnTo>
                  <a:pt x="414" y="594"/>
                </a:lnTo>
                <a:lnTo>
                  <a:pt x="426" y="600"/>
                </a:lnTo>
                <a:lnTo>
                  <a:pt x="432" y="600"/>
                </a:lnTo>
                <a:lnTo>
                  <a:pt x="438" y="606"/>
                </a:lnTo>
                <a:lnTo>
                  <a:pt x="438" y="624"/>
                </a:lnTo>
                <a:lnTo>
                  <a:pt x="432" y="630"/>
                </a:lnTo>
                <a:lnTo>
                  <a:pt x="432" y="636"/>
                </a:lnTo>
                <a:lnTo>
                  <a:pt x="426" y="648"/>
                </a:lnTo>
                <a:lnTo>
                  <a:pt x="426" y="654"/>
                </a:lnTo>
                <a:lnTo>
                  <a:pt x="468" y="654"/>
                </a:lnTo>
                <a:lnTo>
                  <a:pt x="468" y="684"/>
                </a:lnTo>
                <a:lnTo>
                  <a:pt x="504" y="720"/>
                </a:lnTo>
                <a:lnTo>
                  <a:pt x="510" y="732"/>
                </a:lnTo>
                <a:lnTo>
                  <a:pt x="528" y="750"/>
                </a:lnTo>
                <a:lnTo>
                  <a:pt x="534" y="768"/>
                </a:lnTo>
                <a:lnTo>
                  <a:pt x="546" y="780"/>
                </a:lnTo>
                <a:lnTo>
                  <a:pt x="552" y="798"/>
                </a:lnTo>
                <a:lnTo>
                  <a:pt x="558" y="810"/>
                </a:lnTo>
                <a:lnTo>
                  <a:pt x="558" y="870"/>
                </a:lnTo>
                <a:lnTo>
                  <a:pt x="564" y="882"/>
                </a:lnTo>
                <a:lnTo>
                  <a:pt x="576" y="894"/>
                </a:lnTo>
                <a:lnTo>
                  <a:pt x="576" y="906"/>
                </a:lnTo>
                <a:lnTo>
                  <a:pt x="570" y="918"/>
                </a:lnTo>
                <a:lnTo>
                  <a:pt x="552" y="936"/>
                </a:lnTo>
                <a:lnTo>
                  <a:pt x="546" y="948"/>
                </a:lnTo>
                <a:lnTo>
                  <a:pt x="546" y="954"/>
                </a:lnTo>
                <a:lnTo>
                  <a:pt x="552" y="960"/>
                </a:lnTo>
                <a:lnTo>
                  <a:pt x="564" y="966"/>
                </a:lnTo>
                <a:lnTo>
                  <a:pt x="540" y="966"/>
                </a:lnTo>
                <a:lnTo>
                  <a:pt x="528" y="972"/>
                </a:lnTo>
                <a:lnTo>
                  <a:pt x="528" y="1038"/>
                </a:lnTo>
                <a:lnTo>
                  <a:pt x="534" y="1056"/>
                </a:lnTo>
                <a:lnTo>
                  <a:pt x="540" y="1062"/>
                </a:lnTo>
                <a:lnTo>
                  <a:pt x="546" y="1074"/>
                </a:lnTo>
                <a:lnTo>
                  <a:pt x="558" y="1074"/>
                </a:lnTo>
                <a:lnTo>
                  <a:pt x="576" y="1080"/>
                </a:lnTo>
                <a:lnTo>
                  <a:pt x="600" y="1080"/>
                </a:lnTo>
                <a:lnTo>
                  <a:pt x="612" y="1086"/>
                </a:lnTo>
                <a:lnTo>
                  <a:pt x="636" y="1110"/>
                </a:lnTo>
                <a:lnTo>
                  <a:pt x="642" y="1122"/>
                </a:lnTo>
                <a:lnTo>
                  <a:pt x="648" y="1140"/>
                </a:lnTo>
                <a:lnTo>
                  <a:pt x="654" y="1152"/>
                </a:lnTo>
                <a:lnTo>
                  <a:pt x="666" y="1164"/>
                </a:lnTo>
                <a:lnTo>
                  <a:pt x="678" y="1170"/>
                </a:lnTo>
                <a:lnTo>
                  <a:pt x="732" y="1170"/>
                </a:lnTo>
                <a:lnTo>
                  <a:pt x="750" y="1176"/>
                </a:lnTo>
                <a:lnTo>
                  <a:pt x="762" y="1182"/>
                </a:lnTo>
                <a:lnTo>
                  <a:pt x="768" y="1188"/>
                </a:lnTo>
                <a:lnTo>
                  <a:pt x="774" y="1200"/>
                </a:lnTo>
                <a:lnTo>
                  <a:pt x="786" y="1218"/>
                </a:lnTo>
                <a:lnTo>
                  <a:pt x="810" y="1242"/>
                </a:lnTo>
                <a:lnTo>
                  <a:pt x="834" y="1254"/>
                </a:lnTo>
                <a:lnTo>
                  <a:pt x="870" y="1266"/>
                </a:lnTo>
                <a:lnTo>
                  <a:pt x="912" y="1272"/>
                </a:lnTo>
                <a:lnTo>
                  <a:pt x="942" y="1278"/>
                </a:lnTo>
                <a:lnTo>
                  <a:pt x="960" y="1290"/>
                </a:lnTo>
                <a:lnTo>
                  <a:pt x="966" y="1302"/>
                </a:lnTo>
                <a:lnTo>
                  <a:pt x="978" y="1314"/>
                </a:lnTo>
                <a:lnTo>
                  <a:pt x="990" y="1320"/>
                </a:lnTo>
                <a:lnTo>
                  <a:pt x="996" y="1320"/>
                </a:lnTo>
                <a:lnTo>
                  <a:pt x="1002" y="1326"/>
                </a:lnTo>
                <a:lnTo>
                  <a:pt x="1008" y="1338"/>
                </a:lnTo>
                <a:lnTo>
                  <a:pt x="1014" y="1344"/>
                </a:lnTo>
                <a:lnTo>
                  <a:pt x="1080" y="1344"/>
                </a:lnTo>
                <a:lnTo>
                  <a:pt x="1092" y="1356"/>
                </a:lnTo>
                <a:lnTo>
                  <a:pt x="1098" y="1368"/>
                </a:lnTo>
                <a:lnTo>
                  <a:pt x="1104" y="1374"/>
                </a:lnTo>
                <a:lnTo>
                  <a:pt x="1116" y="1374"/>
                </a:lnTo>
                <a:lnTo>
                  <a:pt x="1140" y="1362"/>
                </a:lnTo>
                <a:lnTo>
                  <a:pt x="1170" y="1350"/>
                </a:lnTo>
                <a:lnTo>
                  <a:pt x="1206" y="1332"/>
                </a:lnTo>
                <a:lnTo>
                  <a:pt x="1260" y="1314"/>
                </a:lnTo>
                <a:lnTo>
                  <a:pt x="1278" y="1326"/>
                </a:lnTo>
                <a:lnTo>
                  <a:pt x="1308" y="1350"/>
                </a:lnTo>
                <a:lnTo>
                  <a:pt x="1344" y="1374"/>
                </a:lnTo>
                <a:lnTo>
                  <a:pt x="1386" y="1416"/>
                </a:lnTo>
                <a:lnTo>
                  <a:pt x="1386" y="1428"/>
                </a:lnTo>
                <a:lnTo>
                  <a:pt x="1392" y="1446"/>
                </a:lnTo>
                <a:lnTo>
                  <a:pt x="1398" y="1458"/>
                </a:lnTo>
                <a:lnTo>
                  <a:pt x="1416" y="1458"/>
                </a:lnTo>
                <a:lnTo>
                  <a:pt x="1422" y="1452"/>
                </a:lnTo>
                <a:lnTo>
                  <a:pt x="1422" y="1440"/>
                </a:lnTo>
                <a:close/>
              </a:path>
            </a:pathLst>
          </a:custGeom>
          <a:solidFill>
            <a:srgbClr val="B1B1B0"/>
          </a:solidFill>
          <a:ln w="6350">
            <a:solidFill>
              <a:srgbClr val="B1B1B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Lato"/>
              <a:ea typeface="+mn-ea"/>
              <a:cs typeface="+mn-cs"/>
            </a:endParaRPr>
          </a:p>
        </p:txBody>
      </p:sp>
      <p:grpSp>
        <p:nvGrpSpPr>
          <p:cNvPr id="62" name="Group 61">
            <a:extLst>
              <a:ext uri="{FF2B5EF4-FFF2-40B4-BE49-F238E27FC236}">
                <a16:creationId xmlns:a16="http://schemas.microsoft.com/office/drawing/2014/main" id="{9F24E440-4C43-2304-78D2-5FACEA85F88A}"/>
              </a:ext>
            </a:extLst>
          </p:cNvPr>
          <p:cNvGrpSpPr/>
          <p:nvPr/>
        </p:nvGrpSpPr>
        <p:grpSpPr>
          <a:xfrm>
            <a:off x="5370543" y="1014659"/>
            <a:ext cx="5180447" cy="3818186"/>
            <a:chOff x="6008654" y="1014659"/>
            <a:chExt cx="5180447" cy="3818186"/>
          </a:xfrm>
        </p:grpSpPr>
        <p:sp>
          <p:nvSpPr>
            <p:cNvPr id="63" name="Vietnam" descr="© INSCALE GmbH, 05.05.2010&#10;http://www.presentationload.com/">
              <a:extLst>
                <a:ext uri="{FF2B5EF4-FFF2-40B4-BE49-F238E27FC236}">
                  <a16:creationId xmlns:a16="http://schemas.microsoft.com/office/drawing/2014/main" id="{7126F86A-0B30-6384-3D12-0391B3968128}"/>
                </a:ext>
              </a:extLst>
            </p:cNvPr>
            <p:cNvSpPr>
              <a:spLocks/>
            </p:cNvSpPr>
            <p:nvPr/>
          </p:nvSpPr>
          <p:spPr bwMode="gray">
            <a:xfrm>
              <a:off x="9024039" y="3456138"/>
              <a:ext cx="300971" cy="592238"/>
            </a:xfrm>
            <a:custGeom>
              <a:avLst/>
              <a:gdLst>
                <a:gd name="T0" fmla="*/ 2147483647 w 606"/>
                <a:gd name="T1" fmla="*/ 2147483647 h 1194"/>
                <a:gd name="T2" fmla="*/ 2147483647 w 606"/>
                <a:gd name="T3" fmla="*/ 2147483647 h 1194"/>
                <a:gd name="T4" fmla="*/ 2147483647 w 606"/>
                <a:gd name="T5" fmla="*/ 2147483647 h 1194"/>
                <a:gd name="T6" fmla="*/ 2147483647 w 606"/>
                <a:gd name="T7" fmla="*/ 2147483647 h 1194"/>
                <a:gd name="T8" fmla="*/ 2147483647 w 606"/>
                <a:gd name="T9" fmla="*/ 2147483647 h 1194"/>
                <a:gd name="T10" fmla="*/ 2147483647 w 606"/>
                <a:gd name="T11" fmla="*/ 2147483647 h 1194"/>
                <a:gd name="T12" fmla="*/ 2147483647 w 606"/>
                <a:gd name="T13" fmla="*/ 2147483647 h 1194"/>
                <a:gd name="T14" fmla="*/ 2147483647 w 606"/>
                <a:gd name="T15" fmla="*/ 2147483647 h 1194"/>
                <a:gd name="T16" fmla="*/ 2147483647 w 606"/>
                <a:gd name="T17" fmla="*/ 2147483647 h 1194"/>
                <a:gd name="T18" fmla="*/ 2147483647 w 606"/>
                <a:gd name="T19" fmla="*/ 2147483647 h 1194"/>
                <a:gd name="T20" fmla="*/ 2147483647 w 606"/>
                <a:gd name="T21" fmla="*/ 2147483647 h 1194"/>
                <a:gd name="T22" fmla="*/ 2147483647 w 606"/>
                <a:gd name="T23" fmla="*/ 2147483647 h 1194"/>
                <a:gd name="T24" fmla="*/ 2147483647 w 606"/>
                <a:gd name="T25" fmla="*/ 2147483647 h 1194"/>
                <a:gd name="T26" fmla="*/ 2147483647 w 606"/>
                <a:gd name="T27" fmla="*/ 2147483647 h 1194"/>
                <a:gd name="T28" fmla="*/ 2147483647 w 606"/>
                <a:gd name="T29" fmla="*/ 2147483647 h 1194"/>
                <a:gd name="T30" fmla="*/ 2147483647 w 606"/>
                <a:gd name="T31" fmla="*/ 2147483647 h 1194"/>
                <a:gd name="T32" fmla="*/ 2147483647 w 606"/>
                <a:gd name="T33" fmla="*/ 2147483647 h 1194"/>
                <a:gd name="T34" fmla="*/ 2147483647 w 606"/>
                <a:gd name="T35" fmla="*/ 2147483647 h 1194"/>
                <a:gd name="T36" fmla="*/ 2147483647 w 606"/>
                <a:gd name="T37" fmla="*/ 2147483647 h 1194"/>
                <a:gd name="T38" fmla="*/ 2147483647 w 606"/>
                <a:gd name="T39" fmla="*/ 2147483647 h 1194"/>
                <a:gd name="T40" fmla="*/ 2147483647 w 606"/>
                <a:gd name="T41" fmla="*/ 2147483647 h 1194"/>
                <a:gd name="T42" fmla="*/ 2147483647 w 606"/>
                <a:gd name="T43" fmla="*/ 2147483647 h 1194"/>
                <a:gd name="T44" fmla="*/ 2147483647 w 606"/>
                <a:gd name="T45" fmla="*/ 2147483647 h 1194"/>
                <a:gd name="T46" fmla="*/ 2147483647 w 606"/>
                <a:gd name="T47" fmla="*/ 2147483647 h 1194"/>
                <a:gd name="T48" fmla="*/ 2147483647 w 606"/>
                <a:gd name="T49" fmla="*/ 2147483647 h 1194"/>
                <a:gd name="T50" fmla="*/ 2147483647 w 606"/>
                <a:gd name="T51" fmla="*/ 2147483647 h 1194"/>
                <a:gd name="T52" fmla="*/ 2147483647 w 606"/>
                <a:gd name="T53" fmla="*/ 2147483647 h 1194"/>
                <a:gd name="T54" fmla="*/ 2147483647 w 606"/>
                <a:gd name="T55" fmla="*/ 2147483647 h 1194"/>
                <a:gd name="T56" fmla="*/ 2147483647 w 606"/>
                <a:gd name="T57" fmla="*/ 2147483647 h 1194"/>
                <a:gd name="T58" fmla="*/ 2147483647 w 606"/>
                <a:gd name="T59" fmla="*/ 2147483647 h 1194"/>
                <a:gd name="T60" fmla="*/ 2147483647 w 606"/>
                <a:gd name="T61" fmla="*/ 2147483647 h 1194"/>
                <a:gd name="T62" fmla="*/ 2147483647 w 606"/>
                <a:gd name="T63" fmla="*/ 2147483647 h 1194"/>
                <a:gd name="T64" fmla="*/ 2147483647 w 606"/>
                <a:gd name="T65" fmla="*/ 2147483647 h 1194"/>
                <a:gd name="T66" fmla="*/ 2147483647 w 606"/>
                <a:gd name="T67" fmla="*/ 2147483647 h 1194"/>
                <a:gd name="T68" fmla="*/ 2147483647 w 606"/>
                <a:gd name="T69" fmla="*/ 2147483647 h 1194"/>
                <a:gd name="T70" fmla="*/ 2147483647 w 606"/>
                <a:gd name="T71" fmla="*/ 2147483647 h 1194"/>
                <a:gd name="T72" fmla="*/ 2147483647 w 606"/>
                <a:gd name="T73" fmla="*/ 2147483647 h 1194"/>
                <a:gd name="T74" fmla="*/ 2147483647 w 606"/>
                <a:gd name="T75" fmla="*/ 2147483647 h 1194"/>
                <a:gd name="T76" fmla="*/ 2147483647 w 606"/>
                <a:gd name="T77" fmla="*/ 2147483647 h 1194"/>
                <a:gd name="T78" fmla="*/ 2147483647 w 606"/>
                <a:gd name="T79" fmla="*/ 2147483647 h 1194"/>
                <a:gd name="T80" fmla="*/ 2147483647 w 606"/>
                <a:gd name="T81" fmla="*/ 2147483647 h 1194"/>
                <a:gd name="T82" fmla="*/ 2147483647 w 606"/>
                <a:gd name="T83" fmla="*/ 2147483647 h 1194"/>
                <a:gd name="T84" fmla="*/ 2147483647 w 606"/>
                <a:gd name="T85" fmla="*/ 2147483647 h 1194"/>
                <a:gd name="T86" fmla="*/ 2147483647 w 606"/>
                <a:gd name="T87" fmla="*/ 2147483647 h 1194"/>
                <a:gd name="T88" fmla="*/ 2147483647 w 606"/>
                <a:gd name="T89" fmla="*/ 2147483647 h 1194"/>
                <a:gd name="T90" fmla="*/ 2147483647 w 606"/>
                <a:gd name="T91" fmla="*/ 2147483647 h 1194"/>
                <a:gd name="T92" fmla="*/ 2147483647 w 606"/>
                <a:gd name="T93" fmla="*/ 2147483647 h 1194"/>
                <a:gd name="T94" fmla="*/ 2147483647 w 606"/>
                <a:gd name="T95" fmla="*/ 2147483647 h 1194"/>
                <a:gd name="T96" fmla="*/ 2147483647 w 606"/>
                <a:gd name="T97" fmla="*/ 2147483647 h 1194"/>
                <a:gd name="T98" fmla="*/ 2147483647 w 606"/>
                <a:gd name="T99" fmla="*/ 2147483647 h 1194"/>
                <a:gd name="T100" fmla="*/ 2147483647 w 606"/>
                <a:gd name="T101" fmla="*/ 2147483647 h 1194"/>
                <a:gd name="T102" fmla="*/ 2147483647 w 606"/>
                <a:gd name="T103" fmla="*/ 2147483647 h 1194"/>
                <a:gd name="T104" fmla="*/ 2147483647 w 606"/>
                <a:gd name="T105" fmla="*/ 2147483647 h 1194"/>
                <a:gd name="T106" fmla="*/ 2147483647 w 606"/>
                <a:gd name="T107" fmla="*/ 2147483647 h 1194"/>
                <a:gd name="T108" fmla="*/ 2147483647 w 606"/>
                <a:gd name="T109" fmla="*/ 2147483647 h 1194"/>
                <a:gd name="T110" fmla="*/ 2147483647 w 606"/>
                <a:gd name="T111" fmla="*/ 2147483647 h 1194"/>
                <a:gd name="T112" fmla="*/ 2147483647 w 606"/>
                <a:gd name="T113" fmla="*/ 2147483647 h 1194"/>
                <a:gd name="T114" fmla="*/ 2147483647 w 606"/>
                <a:gd name="T115" fmla="*/ 2147483647 h 1194"/>
                <a:gd name="T116" fmla="*/ 2147483647 w 606"/>
                <a:gd name="T117" fmla="*/ 2147483647 h 1194"/>
                <a:gd name="T118" fmla="*/ 2147483647 w 606"/>
                <a:gd name="T119" fmla="*/ 2147483647 h 1194"/>
                <a:gd name="T120" fmla="*/ 2147483647 w 606"/>
                <a:gd name="T121" fmla="*/ 2147483647 h 1194"/>
                <a:gd name="T122" fmla="*/ 2147483647 w 606"/>
                <a:gd name="T123" fmla="*/ 2147483647 h 11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06"/>
                <a:gd name="T187" fmla="*/ 0 h 1194"/>
                <a:gd name="T188" fmla="*/ 606 w 606"/>
                <a:gd name="T189" fmla="*/ 1194 h 11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06" h="1194">
                  <a:moveTo>
                    <a:pt x="6" y="48"/>
                  </a:moveTo>
                  <a:lnTo>
                    <a:pt x="0" y="60"/>
                  </a:lnTo>
                  <a:lnTo>
                    <a:pt x="0" y="72"/>
                  </a:lnTo>
                  <a:lnTo>
                    <a:pt x="12" y="96"/>
                  </a:lnTo>
                  <a:lnTo>
                    <a:pt x="18" y="102"/>
                  </a:lnTo>
                  <a:lnTo>
                    <a:pt x="24" y="114"/>
                  </a:lnTo>
                  <a:lnTo>
                    <a:pt x="36" y="120"/>
                  </a:lnTo>
                  <a:lnTo>
                    <a:pt x="42" y="132"/>
                  </a:lnTo>
                  <a:lnTo>
                    <a:pt x="48" y="126"/>
                  </a:lnTo>
                  <a:lnTo>
                    <a:pt x="54" y="126"/>
                  </a:lnTo>
                  <a:lnTo>
                    <a:pt x="54" y="156"/>
                  </a:lnTo>
                  <a:lnTo>
                    <a:pt x="66" y="180"/>
                  </a:lnTo>
                  <a:lnTo>
                    <a:pt x="84" y="198"/>
                  </a:lnTo>
                  <a:lnTo>
                    <a:pt x="90" y="210"/>
                  </a:lnTo>
                  <a:lnTo>
                    <a:pt x="108" y="210"/>
                  </a:lnTo>
                  <a:lnTo>
                    <a:pt x="108" y="216"/>
                  </a:lnTo>
                  <a:lnTo>
                    <a:pt x="120" y="228"/>
                  </a:lnTo>
                  <a:lnTo>
                    <a:pt x="126" y="222"/>
                  </a:lnTo>
                  <a:lnTo>
                    <a:pt x="132" y="210"/>
                  </a:lnTo>
                  <a:lnTo>
                    <a:pt x="132" y="204"/>
                  </a:lnTo>
                  <a:lnTo>
                    <a:pt x="138" y="192"/>
                  </a:lnTo>
                  <a:lnTo>
                    <a:pt x="150" y="192"/>
                  </a:lnTo>
                  <a:lnTo>
                    <a:pt x="162" y="198"/>
                  </a:lnTo>
                  <a:lnTo>
                    <a:pt x="186" y="222"/>
                  </a:lnTo>
                  <a:lnTo>
                    <a:pt x="180" y="222"/>
                  </a:lnTo>
                  <a:lnTo>
                    <a:pt x="174" y="228"/>
                  </a:lnTo>
                  <a:lnTo>
                    <a:pt x="174" y="234"/>
                  </a:lnTo>
                  <a:lnTo>
                    <a:pt x="198" y="246"/>
                  </a:lnTo>
                  <a:lnTo>
                    <a:pt x="216" y="252"/>
                  </a:lnTo>
                  <a:lnTo>
                    <a:pt x="228" y="258"/>
                  </a:lnTo>
                  <a:lnTo>
                    <a:pt x="228" y="270"/>
                  </a:lnTo>
                  <a:lnTo>
                    <a:pt x="222" y="282"/>
                  </a:lnTo>
                  <a:lnTo>
                    <a:pt x="210" y="288"/>
                  </a:lnTo>
                  <a:lnTo>
                    <a:pt x="204" y="300"/>
                  </a:lnTo>
                  <a:lnTo>
                    <a:pt x="198" y="306"/>
                  </a:lnTo>
                  <a:lnTo>
                    <a:pt x="180" y="306"/>
                  </a:lnTo>
                  <a:lnTo>
                    <a:pt x="174" y="300"/>
                  </a:lnTo>
                  <a:lnTo>
                    <a:pt x="150" y="300"/>
                  </a:lnTo>
                  <a:lnTo>
                    <a:pt x="156" y="306"/>
                  </a:lnTo>
                  <a:lnTo>
                    <a:pt x="156" y="324"/>
                  </a:lnTo>
                  <a:lnTo>
                    <a:pt x="168" y="330"/>
                  </a:lnTo>
                  <a:lnTo>
                    <a:pt x="174" y="336"/>
                  </a:lnTo>
                  <a:lnTo>
                    <a:pt x="210" y="354"/>
                  </a:lnTo>
                  <a:lnTo>
                    <a:pt x="222" y="366"/>
                  </a:lnTo>
                  <a:lnTo>
                    <a:pt x="234" y="372"/>
                  </a:lnTo>
                  <a:lnTo>
                    <a:pt x="240" y="378"/>
                  </a:lnTo>
                  <a:lnTo>
                    <a:pt x="252" y="378"/>
                  </a:lnTo>
                  <a:lnTo>
                    <a:pt x="252" y="408"/>
                  </a:lnTo>
                  <a:lnTo>
                    <a:pt x="258" y="414"/>
                  </a:lnTo>
                  <a:lnTo>
                    <a:pt x="270" y="414"/>
                  </a:lnTo>
                  <a:lnTo>
                    <a:pt x="282" y="420"/>
                  </a:lnTo>
                  <a:lnTo>
                    <a:pt x="288" y="426"/>
                  </a:lnTo>
                  <a:lnTo>
                    <a:pt x="294" y="426"/>
                  </a:lnTo>
                  <a:lnTo>
                    <a:pt x="294" y="450"/>
                  </a:lnTo>
                  <a:lnTo>
                    <a:pt x="306" y="474"/>
                  </a:lnTo>
                  <a:lnTo>
                    <a:pt x="324" y="486"/>
                  </a:lnTo>
                  <a:lnTo>
                    <a:pt x="342" y="504"/>
                  </a:lnTo>
                  <a:lnTo>
                    <a:pt x="348" y="522"/>
                  </a:lnTo>
                  <a:lnTo>
                    <a:pt x="366" y="522"/>
                  </a:lnTo>
                  <a:lnTo>
                    <a:pt x="366" y="528"/>
                  </a:lnTo>
                  <a:lnTo>
                    <a:pt x="372" y="534"/>
                  </a:lnTo>
                  <a:lnTo>
                    <a:pt x="384" y="558"/>
                  </a:lnTo>
                  <a:lnTo>
                    <a:pt x="396" y="570"/>
                  </a:lnTo>
                  <a:lnTo>
                    <a:pt x="408" y="570"/>
                  </a:lnTo>
                  <a:lnTo>
                    <a:pt x="414" y="576"/>
                  </a:lnTo>
                  <a:lnTo>
                    <a:pt x="426" y="582"/>
                  </a:lnTo>
                  <a:lnTo>
                    <a:pt x="432" y="588"/>
                  </a:lnTo>
                  <a:lnTo>
                    <a:pt x="432" y="600"/>
                  </a:lnTo>
                  <a:lnTo>
                    <a:pt x="426" y="606"/>
                  </a:lnTo>
                  <a:lnTo>
                    <a:pt x="420" y="606"/>
                  </a:lnTo>
                  <a:lnTo>
                    <a:pt x="414" y="612"/>
                  </a:lnTo>
                  <a:lnTo>
                    <a:pt x="408" y="612"/>
                  </a:lnTo>
                  <a:lnTo>
                    <a:pt x="432" y="636"/>
                  </a:lnTo>
                  <a:lnTo>
                    <a:pt x="456" y="648"/>
                  </a:lnTo>
                  <a:lnTo>
                    <a:pt x="462" y="654"/>
                  </a:lnTo>
                  <a:lnTo>
                    <a:pt x="468" y="654"/>
                  </a:lnTo>
                  <a:lnTo>
                    <a:pt x="450" y="690"/>
                  </a:lnTo>
                  <a:lnTo>
                    <a:pt x="456" y="690"/>
                  </a:lnTo>
                  <a:lnTo>
                    <a:pt x="468" y="702"/>
                  </a:lnTo>
                  <a:lnTo>
                    <a:pt x="468" y="708"/>
                  </a:lnTo>
                  <a:lnTo>
                    <a:pt x="456" y="720"/>
                  </a:lnTo>
                  <a:lnTo>
                    <a:pt x="450" y="720"/>
                  </a:lnTo>
                  <a:lnTo>
                    <a:pt x="450" y="762"/>
                  </a:lnTo>
                  <a:lnTo>
                    <a:pt x="456" y="762"/>
                  </a:lnTo>
                  <a:lnTo>
                    <a:pt x="468" y="774"/>
                  </a:lnTo>
                  <a:lnTo>
                    <a:pt x="480" y="798"/>
                  </a:lnTo>
                  <a:lnTo>
                    <a:pt x="480" y="804"/>
                  </a:lnTo>
                  <a:lnTo>
                    <a:pt x="468" y="816"/>
                  </a:lnTo>
                  <a:lnTo>
                    <a:pt x="462" y="816"/>
                  </a:lnTo>
                  <a:lnTo>
                    <a:pt x="462" y="828"/>
                  </a:lnTo>
                  <a:lnTo>
                    <a:pt x="468" y="834"/>
                  </a:lnTo>
                  <a:lnTo>
                    <a:pt x="468" y="864"/>
                  </a:lnTo>
                  <a:lnTo>
                    <a:pt x="474" y="870"/>
                  </a:lnTo>
                  <a:lnTo>
                    <a:pt x="474" y="900"/>
                  </a:lnTo>
                  <a:lnTo>
                    <a:pt x="462" y="894"/>
                  </a:lnTo>
                  <a:lnTo>
                    <a:pt x="444" y="894"/>
                  </a:lnTo>
                  <a:lnTo>
                    <a:pt x="438" y="900"/>
                  </a:lnTo>
                  <a:lnTo>
                    <a:pt x="438" y="918"/>
                  </a:lnTo>
                  <a:lnTo>
                    <a:pt x="408" y="918"/>
                  </a:lnTo>
                  <a:lnTo>
                    <a:pt x="408" y="942"/>
                  </a:lnTo>
                  <a:lnTo>
                    <a:pt x="366" y="942"/>
                  </a:lnTo>
                  <a:lnTo>
                    <a:pt x="366" y="966"/>
                  </a:lnTo>
                  <a:lnTo>
                    <a:pt x="378" y="990"/>
                  </a:lnTo>
                  <a:lnTo>
                    <a:pt x="396" y="1008"/>
                  </a:lnTo>
                  <a:lnTo>
                    <a:pt x="396" y="1020"/>
                  </a:lnTo>
                  <a:lnTo>
                    <a:pt x="390" y="1014"/>
                  </a:lnTo>
                  <a:lnTo>
                    <a:pt x="378" y="1008"/>
                  </a:lnTo>
                  <a:lnTo>
                    <a:pt x="372" y="1002"/>
                  </a:lnTo>
                  <a:lnTo>
                    <a:pt x="360" y="996"/>
                  </a:lnTo>
                  <a:lnTo>
                    <a:pt x="348" y="996"/>
                  </a:lnTo>
                  <a:lnTo>
                    <a:pt x="342" y="1002"/>
                  </a:lnTo>
                  <a:lnTo>
                    <a:pt x="342" y="1008"/>
                  </a:lnTo>
                  <a:lnTo>
                    <a:pt x="306" y="1008"/>
                  </a:lnTo>
                  <a:lnTo>
                    <a:pt x="312" y="1014"/>
                  </a:lnTo>
                  <a:lnTo>
                    <a:pt x="318" y="1014"/>
                  </a:lnTo>
                  <a:lnTo>
                    <a:pt x="324" y="1020"/>
                  </a:lnTo>
                  <a:lnTo>
                    <a:pt x="324" y="1026"/>
                  </a:lnTo>
                  <a:lnTo>
                    <a:pt x="312" y="1032"/>
                  </a:lnTo>
                  <a:lnTo>
                    <a:pt x="294" y="1032"/>
                  </a:lnTo>
                  <a:lnTo>
                    <a:pt x="276" y="1038"/>
                  </a:lnTo>
                  <a:lnTo>
                    <a:pt x="270" y="1050"/>
                  </a:lnTo>
                  <a:lnTo>
                    <a:pt x="270" y="1056"/>
                  </a:lnTo>
                  <a:lnTo>
                    <a:pt x="288" y="1074"/>
                  </a:lnTo>
                  <a:lnTo>
                    <a:pt x="300" y="1080"/>
                  </a:lnTo>
                  <a:lnTo>
                    <a:pt x="306" y="1086"/>
                  </a:lnTo>
                  <a:lnTo>
                    <a:pt x="312" y="1086"/>
                  </a:lnTo>
                  <a:lnTo>
                    <a:pt x="294" y="1104"/>
                  </a:lnTo>
                  <a:lnTo>
                    <a:pt x="294" y="1110"/>
                  </a:lnTo>
                  <a:lnTo>
                    <a:pt x="300" y="1116"/>
                  </a:lnTo>
                  <a:lnTo>
                    <a:pt x="300" y="1128"/>
                  </a:lnTo>
                  <a:lnTo>
                    <a:pt x="306" y="1140"/>
                  </a:lnTo>
                  <a:lnTo>
                    <a:pt x="306" y="1152"/>
                  </a:lnTo>
                  <a:lnTo>
                    <a:pt x="312" y="1158"/>
                  </a:lnTo>
                  <a:lnTo>
                    <a:pt x="294" y="1176"/>
                  </a:lnTo>
                  <a:lnTo>
                    <a:pt x="294" y="1188"/>
                  </a:lnTo>
                  <a:lnTo>
                    <a:pt x="306" y="1194"/>
                  </a:lnTo>
                  <a:lnTo>
                    <a:pt x="318" y="1194"/>
                  </a:lnTo>
                  <a:lnTo>
                    <a:pt x="330" y="1188"/>
                  </a:lnTo>
                  <a:lnTo>
                    <a:pt x="354" y="1164"/>
                  </a:lnTo>
                  <a:lnTo>
                    <a:pt x="366" y="1158"/>
                  </a:lnTo>
                  <a:lnTo>
                    <a:pt x="378" y="1158"/>
                  </a:lnTo>
                  <a:lnTo>
                    <a:pt x="384" y="1134"/>
                  </a:lnTo>
                  <a:lnTo>
                    <a:pt x="384" y="1110"/>
                  </a:lnTo>
                  <a:lnTo>
                    <a:pt x="396" y="1110"/>
                  </a:lnTo>
                  <a:lnTo>
                    <a:pt x="402" y="1116"/>
                  </a:lnTo>
                  <a:lnTo>
                    <a:pt x="414" y="1116"/>
                  </a:lnTo>
                  <a:lnTo>
                    <a:pt x="426" y="1104"/>
                  </a:lnTo>
                  <a:lnTo>
                    <a:pt x="426" y="1092"/>
                  </a:lnTo>
                  <a:lnTo>
                    <a:pt x="420" y="1086"/>
                  </a:lnTo>
                  <a:lnTo>
                    <a:pt x="414" y="1074"/>
                  </a:lnTo>
                  <a:lnTo>
                    <a:pt x="408" y="1068"/>
                  </a:lnTo>
                  <a:lnTo>
                    <a:pt x="408" y="1062"/>
                  </a:lnTo>
                  <a:lnTo>
                    <a:pt x="414" y="1056"/>
                  </a:lnTo>
                  <a:lnTo>
                    <a:pt x="426" y="1056"/>
                  </a:lnTo>
                  <a:lnTo>
                    <a:pt x="438" y="1050"/>
                  </a:lnTo>
                  <a:lnTo>
                    <a:pt x="444" y="1044"/>
                  </a:lnTo>
                  <a:lnTo>
                    <a:pt x="450" y="1044"/>
                  </a:lnTo>
                  <a:lnTo>
                    <a:pt x="456" y="1050"/>
                  </a:lnTo>
                  <a:lnTo>
                    <a:pt x="468" y="1050"/>
                  </a:lnTo>
                  <a:lnTo>
                    <a:pt x="480" y="1044"/>
                  </a:lnTo>
                  <a:lnTo>
                    <a:pt x="498" y="1038"/>
                  </a:lnTo>
                  <a:lnTo>
                    <a:pt x="546" y="1014"/>
                  </a:lnTo>
                  <a:lnTo>
                    <a:pt x="582" y="978"/>
                  </a:lnTo>
                  <a:lnTo>
                    <a:pt x="588" y="960"/>
                  </a:lnTo>
                  <a:lnTo>
                    <a:pt x="594" y="936"/>
                  </a:lnTo>
                  <a:lnTo>
                    <a:pt x="606" y="876"/>
                  </a:lnTo>
                  <a:lnTo>
                    <a:pt x="606" y="846"/>
                  </a:lnTo>
                  <a:lnTo>
                    <a:pt x="600" y="834"/>
                  </a:lnTo>
                  <a:lnTo>
                    <a:pt x="576" y="810"/>
                  </a:lnTo>
                  <a:lnTo>
                    <a:pt x="594" y="804"/>
                  </a:lnTo>
                  <a:lnTo>
                    <a:pt x="594" y="774"/>
                  </a:lnTo>
                  <a:lnTo>
                    <a:pt x="588" y="756"/>
                  </a:lnTo>
                  <a:lnTo>
                    <a:pt x="588" y="744"/>
                  </a:lnTo>
                  <a:lnTo>
                    <a:pt x="570" y="708"/>
                  </a:lnTo>
                  <a:lnTo>
                    <a:pt x="564" y="690"/>
                  </a:lnTo>
                  <a:lnTo>
                    <a:pt x="558" y="684"/>
                  </a:lnTo>
                  <a:lnTo>
                    <a:pt x="552" y="672"/>
                  </a:lnTo>
                  <a:lnTo>
                    <a:pt x="558" y="666"/>
                  </a:lnTo>
                  <a:lnTo>
                    <a:pt x="558" y="642"/>
                  </a:lnTo>
                  <a:lnTo>
                    <a:pt x="522" y="606"/>
                  </a:lnTo>
                  <a:lnTo>
                    <a:pt x="486" y="576"/>
                  </a:lnTo>
                  <a:lnTo>
                    <a:pt x="456" y="552"/>
                  </a:lnTo>
                  <a:lnTo>
                    <a:pt x="432" y="534"/>
                  </a:lnTo>
                  <a:lnTo>
                    <a:pt x="420" y="528"/>
                  </a:lnTo>
                  <a:lnTo>
                    <a:pt x="402" y="516"/>
                  </a:lnTo>
                  <a:lnTo>
                    <a:pt x="390" y="510"/>
                  </a:lnTo>
                  <a:lnTo>
                    <a:pt x="384" y="504"/>
                  </a:lnTo>
                  <a:lnTo>
                    <a:pt x="384" y="468"/>
                  </a:lnTo>
                  <a:lnTo>
                    <a:pt x="336" y="420"/>
                  </a:lnTo>
                  <a:lnTo>
                    <a:pt x="306" y="384"/>
                  </a:lnTo>
                  <a:lnTo>
                    <a:pt x="288" y="354"/>
                  </a:lnTo>
                  <a:lnTo>
                    <a:pt x="282" y="336"/>
                  </a:lnTo>
                  <a:lnTo>
                    <a:pt x="282" y="318"/>
                  </a:lnTo>
                  <a:lnTo>
                    <a:pt x="276" y="306"/>
                  </a:lnTo>
                  <a:lnTo>
                    <a:pt x="276" y="282"/>
                  </a:lnTo>
                  <a:lnTo>
                    <a:pt x="282" y="276"/>
                  </a:lnTo>
                  <a:lnTo>
                    <a:pt x="294" y="252"/>
                  </a:lnTo>
                  <a:lnTo>
                    <a:pt x="294" y="240"/>
                  </a:lnTo>
                  <a:lnTo>
                    <a:pt x="300" y="240"/>
                  </a:lnTo>
                  <a:lnTo>
                    <a:pt x="312" y="228"/>
                  </a:lnTo>
                  <a:lnTo>
                    <a:pt x="324" y="222"/>
                  </a:lnTo>
                  <a:lnTo>
                    <a:pt x="336" y="210"/>
                  </a:lnTo>
                  <a:lnTo>
                    <a:pt x="336" y="204"/>
                  </a:lnTo>
                  <a:lnTo>
                    <a:pt x="342" y="198"/>
                  </a:lnTo>
                  <a:lnTo>
                    <a:pt x="372" y="198"/>
                  </a:lnTo>
                  <a:lnTo>
                    <a:pt x="384" y="186"/>
                  </a:lnTo>
                  <a:lnTo>
                    <a:pt x="390" y="174"/>
                  </a:lnTo>
                  <a:lnTo>
                    <a:pt x="390" y="156"/>
                  </a:lnTo>
                  <a:lnTo>
                    <a:pt x="396" y="144"/>
                  </a:lnTo>
                  <a:lnTo>
                    <a:pt x="390" y="144"/>
                  </a:lnTo>
                  <a:lnTo>
                    <a:pt x="384" y="138"/>
                  </a:lnTo>
                  <a:lnTo>
                    <a:pt x="354" y="138"/>
                  </a:lnTo>
                  <a:lnTo>
                    <a:pt x="342" y="132"/>
                  </a:lnTo>
                  <a:lnTo>
                    <a:pt x="336" y="120"/>
                  </a:lnTo>
                  <a:lnTo>
                    <a:pt x="330" y="114"/>
                  </a:lnTo>
                  <a:lnTo>
                    <a:pt x="312" y="114"/>
                  </a:lnTo>
                  <a:lnTo>
                    <a:pt x="312" y="96"/>
                  </a:lnTo>
                  <a:lnTo>
                    <a:pt x="300" y="90"/>
                  </a:lnTo>
                  <a:lnTo>
                    <a:pt x="294" y="72"/>
                  </a:lnTo>
                  <a:lnTo>
                    <a:pt x="312" y="54"/>
                  </a:lnTo>
                  <a:lnTo>
                    <a:pt x="312" y="48"/>
                  </a:lnTo>
                  <a:lnTo>
                    <a:pt x="306" y="42"/>
                  </a:lnTo>
                  <a:lnTo>
                    <a:pt x="276" y="42"/>
                  </a:lnTo>
                  <a:lnTo>
                    <a:pt x="264" y="30"/>
                  </a:lnTo>
                  <a:lnTo>
                    <a:pt x="234" y="36"/>
                  </a:lnTo>
                  <a:lnTo>
                    <a:pt x="204" y="0"/>
                  </a:lnTo>
                  <a:lnTo>
                    <a:pt x="198" y="0"/>
                  </a:lnTo>
                  <a:lnTo>
                    <a:pt x="192" y="6"/>
                  </a:lnTo>
                  <a:lnTo>
                    <a:pt x="180" y="12"/>
                  </a:lnTo>
                  <a:lnTo>
                    <a:pt x="174" y="18"/>
                  </a:lnTo>
                  <a:lnTo>
                    <a:pt x="174" y="30"/>
                  </a:lnTo>
                  <a:lnTo>
                    <a:pt x="168" y="42"/>
                  </a:lnTo>
                  <a:lnTo>
                    <a:pt x="168" y="48"/>
                  </a:lnTo>
                  <a:lnTo>
                    <a:pt x="150" y="48"/>
                  </a:lnTo>
                  <a:lnTo>
                    <a:pt x="144" y="54"/>
                  </a:lnTo>
                  <a:lnTo>
                    <a:pt x="138" y="48"/>
                  </a:lnTo>
                  <a:lnTo>
                    <a:pt x="120" y="48"/>
                  </a:lnTo>
                  <a:lnTo>
                    <a:pt x="132" y="60"/>
                  </a:lnTo>
                  <a:lnTo>
                    <a:pt x="132" y="72"/>
                  </a:lnTo>
                  <a:lnTo>
                    <a:pt x="114" y="72"/>
                  </a:lnTo>
                  <a:lnTo>
                    <a:pt x="108" y="66"/>
                  </a:lnTo>
                  <a:lnTo>
                    <a:pt x="96" y="48"/>
                  </a:lnTo>
                  <a:lnTo>
                    <a:pt x="90" y="48"/>
                  </a:lnTo>
                  <a:lnTo>
                    <a:pt x="90" y="66"/>
                  </a:lnTo>
                  <a:lnTo>
                    <a:pt x="72" y="48"/>
                  </a:lnTo>
                  <a:lnTo>
                    <a:pt x="66" y="54"/>
                  </a:lnTo>
                  <a:lnTo>
                    <a:pt x="60" y="66"/>
                  </a:lnTo>
                  <a:lnTo>
                    <a:pt x="54" y="72"/>
                  </a:lnTo>
                  <a:lnTo>
                    <a:pt x="42" y="72"/>
                  </a:lnTo>
                  <a:lnTo>
                    <a:pt x="18" y="48"/>
                  </a:lnTo>
                  <a:lnTo>
                    <a:pt x="6" y="48"/>
                  </a:lnTo>
                  <a:close/>
                </a:path>
              </a:pathLst>
            </a:cu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Lato"/>
                <a:ea typeface="+mn-ea"/>
                <a:cs typeface="+mn-cs"/>
              </a:endParaRPr>
            </a:p>
          </p:txBody>
        </p:sp>
        <p:sp>
          <p:nvSpPr>
            <p:cNvPr id="448" name="Thailand" descr="© INSCALE GmbH, 05.05.2010&#10;http://www.presentationload.com/">
              <a:extLst>
                <a:ext uri="{FF2B5EF4-FFF2-40B4-BE49-F238E27FC236}">
                  <a16:creationId xmlns:a16="http://schemas.microsoft.com/office/drawing/2014/main" id="{BE1DF03D-46C3-C038-E151-DA0DFBDAB349}"/>
                </a:ext>
              </a:extLst>
            </p:cNvPr>
            <p:cNvSpPr>
              <a:spLocks/>
            </p:cNvSpPr>
            <p:nvPr/>
          </p:nvSpPr>
          <p:spPr bwMode="gray">
            <a:xfrm>
              <a:off x="8878404" y="3574585"/>
              <a:ext cx="306799" cy="590295"/>
            </a:xfrm>
            <a:custGeom>
              <a:avLst/>
              <a:gdLst>
                <a:gd name="T0" fmla="*/ 2147483647 w 618"/>
                <a:gd name="T1" fmla="*/ 2147483647 h 1188"/>
                <a:gd name="T2" fmla="*/ 2147483647 w 618"/>
                <a:gd name="T3" fmla="*/ 2147483647 h 1188"/>
                <a:gd name="T4" fmla="*/ 2147483647 w 618"/>
                <a:gd name="T5" fmla="*/ 2147483647 h 1188"/>
                <a:gd name="T6" fmla="*/ 2147483647 w 618"/>
                <a:gd name="T7" fmla="*/ 2147483647 h 1188"/>
                <a:gd name="T8" fmla="*/ 2147483647 w 618"/>
                <a:gd name="T9" fmla="*/ 2147483647 h 1188"/>
                <a:gd name="T10" fmla="*/ 2147483647 w 618"/>
                <a:gd name="T11" fmla="*/ 2147483647 h 1188"/>
                <a:gd name="T12" fmla="*/ 2147483647 w 618"/>
                <a:gd name="T13" fmla="*/ 2147483647 h 1188"/>
                <a:gd name="T14" fmla="*/ 2147483647 w 618"/>
                <a:gd name="T15" fmla="*/ 2147483647 h 1188"/>
                <a:gd name="T16" fmla="*/ 2147483647 w 618"/>
                <a:gd name="T17" fmla="*/ 2147483647 h 1188"/>
                <a:gd name="T18" fmla="*/ 2147483647 w 618"/>
                <a:gd name="T19" fmla="*/ 2147483647 h 1188"/>
                <a:gd name="T20" fmla="*/ 2147483647 w 618"/>
                <a:gd name="T21" fmla="*/ 2147483647 h 1188"/>
                <a:gd name="T22" fmla="*/ 2147483647 w 618"/>
                <a:gd name="T23" fmla="*/ 2147483647 h 1188"/>
                <a:gd name="T24" fmla="*/ 2147483647 w 618"/>
                <a:gd name="T25" fmla="*/ 0 h 1188"/>
                <a:gd name="T26" fmla="*/ 2147483647 w 618"/>
                <a:gd name="T27" fmla="*/ 2147483647 h 1188"/>
                <a:gd name="T28" fmla="*/ 2147483647 w 618"/>
                <a:gd name="T29" fmla="*/ 2147483647 h 1188"/>
                <a:gd name="T30" fmla="*/ 2147483647 w 618"/>
                <a:gd name="T31" fmla="*/ 2147483647 h 1188"/>
                <a:gd name="T32" fmla="*/ 0 w 618"/>
                <a:gd name="T33" fmla="*/ 2147483647 h 1188"/>
                <a:gd name="T34" fmla="*/ 2147483647 w 618"/>
                <a:gd name="T35" fmla="*/ 2147483647 h 1188"/>
                <a:gd name="T36" fmla="*/ 2147483647 w 618"/>
                <a:gd name="T37" fmla="*/ 2147483647 h 1188"/>
                <a:gd name="T38" fmla="*/ 2147483647 w 618"/>
                <a:gd name="T39" fmla="*/ 2147483647 h 1188"/>
                <a:gd name="T40" fmla="*/ 2147483647 w 618"/>
                <a:gd name="T41" fmla="*/ 2147483647 h 1188"/>
                <a:gd name="T42" fmla="*/ 2147483647 w 618"/>
                <a:gd name="T43" fmla="*/ 2147483647 h 1188"/>
                <a:gd name="T44" fmla="*/ 2147483647 w 618"/>
                <a:gd name="T45" fmla="*/ 2147483647 h 1188"/>
                <a:gd name="T46" fmla="*/ 2147483647 w 618"/>
                <a:gd name="T47" fmla="*/ 2147483647 h 1188"/>
                <a:gd name="T48" fmla="*/ 2147483647 w 618"/>
                <a:gd name="T49" fmla="*/ 2147483647 h 1188"/>
                <a:gd name="T50" fmla="*/ 2147483647 w 618"/>
                <a:gd name="T51" fmla="*/ 2147483647 h 1188"/>
                <a:gd name="T52" fmla="*/ 2147483647 w 618"/>
                <a:gd name="T53" fmla="*/ 2147483647 h 1188"/>
                <a:gd name="T54" fmla="*/ 2147483647 w 618"/>
                <a:gd name="T55" fmla="*/ 2147483647 h 1188"/>
                <a:gd name="T56" fmla="*/ 2147483647 w 618"/>
                <a:gd name="T57" fmla="*/ 2147483647 h 1188"/>
                <a:gd name="T58" fmla="*/ 2147483647 w 618"/>
                <a:gd name="T59" fmla="*/ 2147483647 h 1188"/>
                <a:gd name="T60" fmla="*/ 2147483647 w 618"/>
                <a:gd name="T61" fmla="*/ 2147483647 h 1188"/>
                <a:gd name="T62" fmla="*/ 2147483647 w 618"/>
                <a:gd name="T63" fmla="*/ 2147483647 h 1188"/>
                <a:gd name="T64" fmla="*/ 2147483647 w 618"/>
                <a:gd name="T65" fmla="*/ 2147483647 h 1188"/>
                <a:gd name="T66" fmla="*/ 2147483647 w 618"/>
                <a:gd name="T67" fmla="*/ 2147483647 h 1188"/>
                <a:gd name="T68" fmla="*/ 2147483647 w 618"/>
                <a:gd name="T69" fmla="*/ 2147483647 h 1188"/>
                <a:gd name="T70" fmla="*/ 2147483647 w 618"/>
                <a:gd name="T71" fmla="*/ 2147483647 h 1188"/>
                <a:gd name="T72" fmla="*/ 2147483647 w 618"/>
                <a:gd name="T73" fmla="*/ 2147483647 h 1188"/>
                <a:gd name="T74" fmla="*/ 2147483647 w 618"/>
                <a:gd name="T75" fmla="*/ 2147483647 h 1188"/>
                <a:gd name="T76" fmla="*/ 2147483647 w 618"/>
                <a:gd name="T77" fmla="*/ 2147483647 h 1188"/>
                <a:gd name="T78" fmla="*/ 2147483647 w 618"/>
                <a:gd name="T79" fmla="*/ 2147483647 h 1188"/>
                <a:gd name="T80" fmla="*/ 2147483647 w 618"/>
                <a:gd name="T81" fmla="*/ 2147483647 h 1188"/>
                <a:gd name="T82" fmla="*/ 2147483647 w 618"/>
                <a:gd name="T83" fmla="*/ 2147483647 h 1188"/>
                <a:gd name="T84" fmla="*/ 2147483647 w 618"/>
                <a:gd name="T85" fmla="*/ 2147483647 h 1188"/>
                <a:gd name="T86" fmla="*/ 2147483647 w 618"/>
                <a:gd name="T87" fmla="*/ 2147483647 h 1188"/>
                <a:gd name="T88" fmla="*/ 2147483647 w 618"/>
                <a:gd name="T89" fmla="*/ 2147483647 h 1188"/>
                <a:gd name="T90" fmla="*/ 2147483647 w 618"/>
                <a:gd name="T91" fmla="*/ 2147483647 h 1188"/>
                <a:gd name="T92" fmla="*/ 2147483647 w 618"/>
                <a:gd name="T93" fmla="*/ 2147483647 h 1188"/>
                <a:gd name="T94" fmla="*/ 2147483647 w 618"/>
                <a:gd name="T95" fmla="*/ 2147483647 h 1188"/>
                <a:gd name="T96" fmla="*/ 2147483647 w 618"/>
                <a:gd name="T97" fmla="*/ 2147483647 h 1188"/>
                <a:gd name="T98" fmla="*/ 2147483647 w 618"/>
                <a:gd name="T99" fmla="*/ 2147483647 h 1188"/>
                <a:gd name="T100" fmla="*/ 2147483647 w 618"/>
                <a:gd name="T101" fmla="*/ 2147483647 h 1188"/>
                <a:gd name="T102" fmla="*/ 2147483647 w 618"/>
                <a:gd name="T103" fmla="*/ 2147483647 h 1188"/>
                <a:gd name="T104" fmla="*/ 2147483647 w 618"/>
                <a:gd name="T105" fmla="*/ 2147483647 h 1188"/>
                <a:gd name="T106" fmla="*/ 2147483647 w 618"/>
                <a:gd name="T107" fmla="*/ 2147483647 h 1188"/>
                <a:gd name="T108" fmla="*/ 2147483647 w 618"/>
                <a:gd name="T109" fmla="*/ 2147483647 h 1188"/>
                <a:gd name="T110" fmla="*/ 2147483647 w 618"/>
                <a:gd name="T111" fmla="*/ 2147483647 h 1188"/>
                <a:gd name="T112" fmla="*/ 2147483647 w 618"/>
                <a:gd name="T113" fmla="*/ 2147483647 h 1188"/>
                <a:gd name="T114" fmla="*/ 2147483647 w 618"/>
                <a:gd name="T115" fmla="*/ 2147483647 h 1188"/>
                <a:gd name="T116" fmla="*/ 2147483647 w 618"/>
                <a:gd name="T117" fmla="*/ 2147483647 h 11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18"/>
                <a:gd name="T178" fmla="*/ 0 h 1188"/>
                <a:gd name="T179" fmla="*/ 618 w 618"/>
                <a:gd name="T180" fmla="*/ 1188 h 11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18" h="1188">
                  <a:moveTo>
                    <a:pt x="588" y="426"/>
                  </a:moveTo>
                  <a:lnTo>
                    <a:pt x="588" y="420"/>
                  </a:lnTo>
                  <a:lnTo>
                    <a:pt x="594" y="414"/>
                  </a:lnTo>
                  <a:lnTo>
                    <a:pt x="606" y="390"/>
                  </a:lnTo>
                  <a:lnTo>
                    <a:pt x="594" y="378"/>
                  </a:lnTo>
                  <a:lnTo>
                    <a:pt x="594" y="372"/>
                  </a:lnTo>
                  <a:lnTo>
                    <a:pt x="588" y="378"/>
                  </a:lnTo>
                  <a:lnTo>
                    <a:pt x="588" y="366"/>
                  </a:lnTo>
                  <a:lnTo>
                    <a:pt x="582" y="360"/>
                  </a:lnTo>
                  <a:lnTo>
                    <a:pt x="582" y="354"/>
                  </a:lnTo>
                  <a:lnTo>
                    <a:pt x="546" y="318"/>
                  </a:lnTo>
                  <a:lnTo>
                    <a:pt x="534" y="294"/>
                  </a:lnTo>
                  <a:lnTo>
                    <a:pt x="534" y="282"/>
                  </a:lnTo>
                  <a:lnTo>
                    <a:pt x="528" y="240"/>
                  </a:lnTo>
                  <a:lnTo>
                    <a:pt x="510" y="222"/>
                  </a:lnTo>
                  <a:lnTo>
                    <a:pt x="498" y="216"/>
                  </a:lnTo>
                  <a:lnTo>
                    <a:pt x="480" y="204"/>
                  </a:lnTo>
                  <a:lnTo>
                    <a:pt x="468" y="192"/>
                  </a:lnTo>
                  <a:lnTo>
                    <a:pt x="468" y="180"/>
                  </a:lnTo>
                  <a:lnTo>
                    <a:pt x="462" y="174"/>
                  </a:lnTo>
                  <a:lnTo>
                    <a:pt x="438" y="174"/>
                  </a:lnTo>
                  <a:lnTo>
                    <a:pt x="426" y="168"/>
                  </a:lnTo>
                  <a:lnTo>
                    <a:pt x="420" y="162"/>
                  </a:lnTo>
                  <a:lnTo>
                    <a:pt x="402" y="162"/>
                  </a:lnTo>
                  <a:lnTo>
                    <a:pt x="396" y="168"/>
                  </a:lnTo>
                  <a:lnTo>
                    <a:pt x="396" y="180"/>
                  </a:lnTo>
                  <a:lnTo>
                    <a:pt x="378" y="198"/>
                  </a:lnTo>
                  <a:lnTo>
                    <a:pt x="360" y="198"/>
                  </a:lnTo>
                  <a:lnTo>
                    <a:pt x="336" y="186"/>
                  </a:lnTo>
                  <a:lnTo>
                    <a:pt x="330" y="180"/>
                  </a:lnTo>
                  <a:lnTo>
                    <a:pt x="318" y="180"/>
                  </a:lnTo>
                  <a:lnTo>
                    <a:pt x="312" y="186"/>
                  </a:lnTo>
                  <a:lnTo>
                    <a:pt x="306" y="198"/>
                  </a:lnTo>
                  <a:lnTo>
                    <a:pt x="294" y="210"/>
                  </a:lnTo>
                  <a:lnTo>
                    <a:pt x="294" y="216"/>
                  </a:lnTo>
                  <a:lnTo>
                    <a:pt x="288" y="222"/>
                  </a:lnTo>
                  <a:lnTo>
                    <a:pt x="264" y="234"/>
                  </a:lnTo>
                  <a:lnTo>
                    <a:pt x="246" y="234"/>
                  </a:lnTo>
                  <a:lnTo>
                    <a:pt x="246" y="222"/>
                  </a:lnTo>
                  <a:lnTo>
                    <a:pt x="270" y="174"/>
                  </a:lnTo>
                  <a:lnTo>
                    <a:pt x="270" y="162"/>
                  </a:lnTo>
                  <a:lnTo>
                    <a:pt x="264" y="156"/>
                  </a:lnTo>
                  <a:lnTo>
                    <a:pt x="252" y="156"/>
                  </a:lnTo>
                  <a:lnTo>
                    <a:pt x="264" y="144"/>
                  </a:lnTo>
                  <a:lnTo>
                    <a:pt x="270" y="132"/>
                  </a:lnTo>
                  <a:lnTo>
                    <a:pt x="270" y="120"/>
                  </a:lnTo>
                  <a:lnTo>
                    <a:pt x="264" y="108"/>
                  </a:lnTo>
                  <a:lnTo>
                    <a:pt x="258" y="102"/>
                  </a:lnTo>
                  <a:lnTo>
                    <a:pt x="264" y="96"/>
                  </a:lnTo>
                  <a:lnTo>
                    <a:pt x="264" y="66"/>
                  </a:lnTo>
                  <a:lnTo>
                    <a:pt x="252" y="60"/>
                  </a:lnTo>
                  <a:lnTo>
                    <a:pt x="246" y="60"/>
                  </a:lnTo>
                  <a:lnTo>
                    <a:pt x="240" y="66"/>
                  </a:lnTo>
                  <a:lnTo>
                    <a:pt x="228" y="66"/>
                  </a:lnTo>
                  <a:lnTo>
                    <a:pt x="228" y="78"/>
                  </a:lnTo>
                  <a:lnTo>
                    <a:pt x="210" y="78"/>
                  </a:lnTo>
                  <a:lnTo>
                    <a:pt x="204" y="72"/>
                  </a:lnTo>
                  <a:lnTo>
                    <a:pt x="198" y="60"/>
                  </a:lnTo>
                  <a:lnTo>
                    <a:pt x="198" y="36"/>
                  </a:lnTo>
                  <a:lnTo>
                    <a:pt x="204" y="30"/>
                  </a:lnTo>
                  <a:lnTo>
                    <a:pt x="204" y="18"/>
                  </a:lnTo>
                  <a:lnTo>
                    <a:pt x="198" y="12"/>
                  </a:lnTo>
                  <a:lnTo>
                    <a:pt x="186" y="12"/>
                  </a:lnTo>
                  <a:lnTo>
                    <a:pt x="174" y="6"/>
                  </a:lnTo>
                  <a:lnTo>
                    <a:pt x="168" y="0"/>
                  </a:lnTo>
                  <a:lnTo>
                    <a:pt x="138" y="0"/>
                  </a:lnTo>
                  <a:lnTo>
                    <a:pt x="132" y="6"/>
                  </a:lnTo>
                  <a:lnTo>
                    <a:pt x="126" y="6"/>
                  </a:lnTo>
                  <a:lnTo>
                    <a:pt x="120" y="30"/>
                  </a:lnTo>
                  <a:lnTo>
                    <a:pt x="96" y="30"/>
                  </a:lnTo>
                  <a:lnTo>
                    <a:pt x="96" y="36"/>
                  </a:lnTo>
                  <a:lnTo>
                    <a:pt x="90" y="42"/>
                  </a:lnTo>
                  <a:lnTo>
                    <a:pt x="84" y="54"/>
                  </a:lnTo>
                  <a:lnTo>
                    <a:pt x="78" y="60"/>
                  </a:lnTo>
                  <a:lnTo>
                    <a:pt x="66" y="60"/>
                  </a:lnTo>
                  <a:lnTo>
                    <a:pt x="54" y="54"/>
                  </a:lnTo>
                  <a:lnTo>
                    <a:pt x="24" y="54"/>
                  </a:lnTo>
                  <a:lnTo>
                    <a:pt x="24" y="102"/>
                  </a:lnTo>
                  <a:lnTo>
                    <a:pt x="18" y="108"/>
                  </a:lnTo>
                  <a:lnTo>
                    <a:pt x="12" y="108"/>
                  </a:lnTo>
                  <a:lnTo>
                    <a:pt x="6" y="114"/>
                  </a:lnTo>
                  <a:lnTo>
                    <a:pt x="6" y="120"/>
                  </a:lnTo>
                  <a:lnTo>
                    <a:pt x="24" y="138"/>
                  </a:lnTo>
                  <a:lnTo>
                    <a:pt x="24" y="156"/>
                  </a:lnTo>
                  <a:lnTo>
                    <a:pt x="0" y="156"/>
                  </a:lnTo>
                  <a:lnTo>
                    <a:pt x="0" y="162"/>
                  </a:lnTo>
                  <a:lnTo>
                    <a:pt x="24" y="186"/>
                  </a:lnTo>
                  <a:lnTo>
                    <a:pt x="36" y="192"/>
                  </a:lnTo>
                  <a:lnTo>
                    <a:pt x="30" y="216"/>
                  </a:lnTo>
                  <a:lnTo>
                    <a:pt x="36" y="216"/>
                  </a:lnTo>
                  <a:lnTo>
                    <a:pt x="36" y="222"/>
                  </a:lnTo>
                  <a:lnTo>
                    <a:pt x="42" y="234"/>
                  </a:lnTo>
                  <a:lnTo>
                    <a:pt x="60" y="252"/>
                  </a:lnTo>
                  <a:lnTo>
                    <a:pt x="72" y="258"/>
                  </a:lnTo>
                  <a:lnTo>
                    <a:pt x="84" y="270"/>
                  </a:lnTo>
                  <a:lnTo>
                    <a:pt x="96" y="276"/>
                  </a:lnTo>
                  <a:lnTo>
                    <a:pt x="102" y="282"/>
                  </a:lnTo>
                  <a:lnTo>
                    <a:pt x="102" y="288"/>
                  </a:lnTo>
                  <a:lnTo>
                    <a:pt x="96" y="288"/>
                  </a:lnTo>
                  <a:lnTo>
                    <a:pt x="96" y="306"/>
                  </a:lnTo>
                  <a:lnTo>
                    <a:pt x="102" y="318"/>
                  </a:lnTo>
                  <a:lnTo>
                    <a:pt x="108" y="324"/>
                  </a:lnTo>
                  <a:lnTo>
                    <a:pt x="114" y="324"/>
                  </a:lnTo>
                  <a:lnTo>
                    <a:pt x="120" y="318"/>
                  </a:lnTo>
                  <a:lnTo>
                    <a:pt x="126" y="324"/>
                  </a:lnTo>
                  <a:lnTo>
                    <a:pt x="126" y="342"/>
                  </a:lnTo>
                  <a:lnTo>
                    <a:pt x="120" y="348"/>
                  </a:lnTo>
                  <a:lnTo>
                    <a:pt x="108" y="348"/>
                  </a:lnTo>
                  <a:lnTo>
                    <a:pt x="114" y="360"/>
                  </a:lnTo>
                  <a:lnTo>
                    <a:pt x="114" y="384"/>
                  </a:lnTo>
                  <a:lnTo>
                    <a:pt x="108" y="396"/>
                  </a:lnTo>
                  <a:lnTo>
                    <a:pt x="102" y="402"/>
                  </a:lnTo>
                  <a:lnTo>
                    <a:pt x="84" y="438"/>
                  </a:lnTo>
                  <a:lnTo>
                    <a:pt x="90" y="444"/>
                  </a:lnTo>
                  <a:lnTo>
                    <a:pt x="90" y="450"/>
                  </a:lnTo>
                  <a:lnTo>
                    <a:pt x="96" y="456"/>
                  </a:lnTo>
                  <a:lnTo>
                    <a:pt x="102" y="468"/>
                  </a:lnTo>
                  <a:lnTo>
                    <a:pt x="108" y="474"/>
                  </a:lnTo>
                  <a:lnTo>
                    <a:pt x="114" y="486"/>
                  </a:lnTo>
                  <a:lnTo>
                    <a:pt x="156" y="528"/>
                  </a:lnTo>
                  <a:lnTo>
                    <a:pt x="162" y="540"/>
                  </a:lnTo>
                  <a:lnTo>
                    <a:pt x="162" y="570"/>
                  </a:lnTo>
                  <a:lnTo>
                    <a:pt x="168" y="588"/>
                  </a:lnTo>
                  <a:lnTo>
                    <a:pt x="168" y="612"/>
                  </a:lnTo>
                  <a:lnTo>
                    <a:pt x="192" y="636"/>
                  </a:lnTo>
                  <a:lnTo>
                    <a:pt x="192" y="660"/>
                  </a:lnTo>
                  <a:lnTo>
                    <a:pt x="198" y="672"/>
                  </a:lnTo>
                  <a:lnTo>
                    <a:pt x="198" y="702"/>
                  </a:lnTo>
                  <a:lnTo>
                    <a:pt x="192" y="714"/>
                  </a:lnTo>
                  <a:lnTo>
                    <a:pt x="192" y="732"/>
                  </a:lnTo>
                  <a:lnTo>
                    <a:pt x="174" y="768"/>
                  </a:lnTo>
                  <a:lnTo>
                    <a:pt x="156" y="786"/>
                  </a:lnTo>
                  <a:lnTo>
                    <a:pt x="156" y="798"/>
                  </a:lnTo>
                  <a:lnTo>
                    <a:pt x="162" y="804"/>
                  </a:lnTo>
                  <a:lnTo>
                    <a:pt x="162" y="816"/>
                  </a:lnTo>
                  <a:lnTo>
                    <a:pt x="156" y="828"/>
                  </a:lnTo>
                  <a:lnTo>
                    <a:pt x="150" y="834"/>
                  </a:lnTo>
                  <a:lnTo>
                    <a:pt x="144" y="846"/>
                  </a:lnTo>
                  <a:lnTo>
                    <a:pt x="144" y="852"/>
                  </a:lnTo>
                  <a:lnTo>
                    <a:pt x="138" y="858"/>
                  </a:lnTo>
                  <a:lnTo>
                    <a:pt x="132" y="876"/>
                  </a:lnTo>
                  <a:lnTo>
                    <a:pt x="126" y="888"/>
                  </a:lnTo>
                  <a:lnTo>
                    <a:pt x="126" y="906"/>
                  </a:lnTo>
                  <a:lnTo>
                    <a:pt x="120" y="918"/>
                  </a:lnTo>
                  <a:lnTo>
                    <a:pt x="120" y="966"/>
                  </a:lnTo>
                  <a:lnTo>
                    <a:pt x="126" y="978"/>
                  </a:lnTo>
                  <a:lnTo>
                    <a:pt x="126" y="1008"/>
                  </a:lnTo>
                  <a:lnTo>
                    <a:pt x="132" y="1014"/>
                  </a:lnTo>
                  <a:lnTo>
                    <a:pt x="132" y="1020"/>
                  </a:lnTo>
                  <a:lnTo>
                    <a:pt x="138" y="1020"/>
                  </a:lnTo>
                  <a:lnTo>
                    <a:pt x="138" y="1002"/>
                  </a:lnTo>
                  <a:lnTo>
                    <a:pt x="144" y="990"/>
                  </a:lnTo>
                  <a:lnTo>
                    <a:pt x="144" y="978"/>
                  </a:lnTo>
                  <a:lnTo>
                    <a:pt x="150" y="972"/>
                  </a:lnTo>
                  <a:lnTo>
                    <a:pt x="150" y="996"/>
                  </a:lnTo>
                  <a:lnTo>
                    <a:pt x="162" y="996"/>
                  </a:lnTo>
                  <a:lnTo>
                    <a:pt x="186" y="1020"/>
                  </a:lnTo>
                  <a:lnTo>
                    <a:pt x="192" y="1032"/>
                  </a:lnTo>
                  <a:lnTo>
                    <a:pt x="198" y="1038"/>
                  </a:lnTo>
                  <a:lnTo>
                    <a:pt x="198" y="1044"/>
                  </a:lnTo>
                  <a:lnTo>
                    <a:pt x="228" y="1074"/>
                  </a:lnTo>
                  <a:lnTo>
                    <a:pt x="228" y="1098"/>
                  </a:lnTo>
                  <a:lnTo>
                    <a:pt x="234" y="1110"/>
                  </a:lnTo>
                  <a:lnTo>
                    <a:pt x="246" y="1128"/>
                  </a:lnTo>
                  <a:lnTo>
                    <a:pt x="264" y="1146"/>
                  </a:lnTo>
                  <a:lnTo>
                    <a:pt x="270" y="1140"/>
                  </a:lnTo>
                  <a:lnTo>
                    <a:pt x="276" y="1128"/>
                  </a:lnTo>
                  <a:lnTo>
                    <a:pt x="270" y="1122"/>
                  </a:lnTo>
                  <a:lnTo>
                    <a:pt x="270" y="1110"/>
                  </a:lnTo>
                  <a:lnTo>
                    <a:pt x="276" y="1104"/>
                  </a:lnTo>
                  <a:lnTo>
                    <a:pt x="288" y="1104"/>
                  </a:lnTo>
                  <a:lnTo>
                    <a:pt x="294" y="1116"/>
                  </a:lnTo>
                  <a:lnTo>
                    <a:pt x="294" y="1122"/>
                  </a:lnTo>
                  <a:lnTo>
                    <a:pt x="312" y="1122"/>
                  </a:lnTo>
                  <a:lnTo>
                    <a:pt x="324" y="1128"/>
                  </a:lnTo>
                  <a:lnTo>
                    <a:pt x="330" y="1134"/>
                  </a:lnTo>
                  <a:lnTo>
                    <a:pt x="330" y="1146"/>
                  </a:lnTo>
                  <a:lnTo>
                    <a:pt x="342" y="1146"/>
                  </a:lnTo>
                  <a:lnTo>
                    <a:pt x="342" y="1158"/>
                  </a:lnTo>
                  <a:lnTo>
                    <a:pt x="330" y="1170"/>
                  </a:lnTo>
                  <a:lnTo>
                    <a:pt x="330" y="1176"/>
                  </a:lnTo>
                  <a:lnTo>
                    <a:pt x="336" y="1182"/>
                  </a:lnTo>
                  <a:lnTo>
                    <a:pt x="354" y="1182"/>
                  </a:lnTo>
                  <a:lnTo>
                    <a:pt x="354" y="1176"/>
                  </a:lnTo>
                  <a:lnTo>
                    <a:pt x="366" y="1176"/>
                  </a:lnTo>
                  <a:lnTo>
                    <a:pt x="372" y="1170"/>
                  </a:lnTo>
                  <a:lnTo>
                    <a:pt x="378" y="1170"/>
                  </a:lnTo>
                  <a:lnTo>
                    <a:pt x="396" y="1188"/>
                  </a:lnTo>
                  <a:lnTo>
                    <a:pt x="402" y="1182"/>
                  </a:lnTo>
                  <a:lnTo>
                    <a:pt x="402" y="1176"/>
                  </a:lnTo>
                  <a:lnTo>
                    <a:pt x="408" y="1164"/>
                  </a:lnTo>
                  <a:lnTo>
                    <a:pt x="414" y="1158"/>
                  </a:lnTo>
                  <a:lnTo>
                    <a:pt x="420" y="1146"/>
                  </a:lnTo>
                  <a:lnTo>
                    <a:pt x="396" y="1134"/>
                  </a:lnTo>
                  <a:lnTo>
                    <a:pt x="390" y="1128"/>
                  </a:lnTo>
                  <a:lnTo>
                    <a:pt x="390" y="1116"/>
                  </a:lnTo>
                  <a:lnTo>
                    <a:pt x="384" y="1104"/>
                  </a:lnTo>
                  <a:lnTo>
                    <a:pt x="384" y="1092"/>
                  </a:lnTo>
                  <a:lnTo>
                    <a:pt x="378" y="1080"/>
                  </a:lnTo>
                  <a:lnTo>
                    <a:pt x="372" y="1074"/>
                  </a:lnTo>
                  <a:lnTo>
                    <a:pt x="354" y="1074"/>
                  </a:lnTo>
                  <a:lnTo>
                    <a:pt x="342" y="1080"/>
                  </a:lnTo>
                  <a:lnTo>
                    <a:pt x="336" y="1086"/>
                  </a:lnTo>
                  <a:lnTo>
                    <a:pt x="318" y="1086"/>
                  </a:lnTo>
                  <a:lnTo>
                    <a:pt x="312" y="1080"/>
                  </a:lnTo>
                  <a:lnTo>
                    <a:pt x="306" y="1068"/>
                  </a:lnTo>
                  <a:lnTo>
                    <a:pt x="306" y="1056"/>
                  </a:lnTo>
                  <a:lnTo>
                    <a:pt x="294" y="1032"/>
                  </a:lnTo>
                  <a:lnTo>
                    <a:pt x="288" y="1032"/>
                  </a:lnTo>
                  <a:lnTo>
                    <a:pt x="288" y="1050"/>
                  </a:lnTo>
                  <a:lnTo>
                    <a:pt x="282" y="1056"/>
                  </a:lnTo>
                  <a:lnTo>
                    <a:pt x="276" y="1056"/>
                  </a:lnTo>
                  <a:lnTo>
                    <a:pt x="270" y="1044"/>
                  </a:lnTo>
                  <a:lnTo>
                    <a:pt x="264" y="1038"/>
                  </a:lnTo>
                  <a:lnTo>
                    <a:pt x="258" y="1026"/>
                  </a:lnTo>
                  <a:lnTo>
                    <a:pt x="258" y="1014"/>
                  </a:lnTo>
                  <a:lnTo>
                    <a:pt x="270" y="1002"/>
                  </a:lnTo>
                  <a:lnTo>
                    <a:pt x="270" y="1008"/>
                  </a:lnTo>
                  <a:lnTo>
                    <a:pt x="276" y="1008"/>
                  </a:lnTo>
                  <a:lnTo>
                    <a:pt x="276" y="1014"/>
                  </a:lnTo>
                  <a:lnTo>
                    <a:pt x="282" y="1014"/>
                  </a:lnTo>
                  <a:lnTo>
                    <a:pt x="288" y="1008"/>
                  </a:lnTo>
                  <a:lnTo>
                    <a:pt x="282" y="1002"/>
                  </a:lnTo>
                  <a:lnTo>
                    <a:pt x="282" y="990"/>
                  </a:lnTo>
                  <a:lnTo>
                    <a:pt x="276" y="978"/>
                  </a:lnTo>
                  <a:lnTo>
                    <a:pt x="270" y="972"/>
                  </a:lnTo>
                  <a:lnTo>
                    <a:pt x="270" y="960"/>
                  </a:lnTo>
                  <a:lnTo>
                    <a:pt x="258" y="948"/>
                  </a:lnTo>
                  <a:lnTo>
                    <a:pt x="246" y="948"/>
                  </a:lnTo>
                  <a:lnTo>
                    <a:pt x="246" y="894"/>
                  </a:lnTo>
                  <a:lnTo>
                    <a:pt x="192" y="906"/>
                  </a:lnTo>
                  <a:lnTo>
                    <a:pt x="192" y="864"/>
                  </a:lnTo>
                  <a:lnTo>
                    <a:pt x="186" y="828"/>
                  </a:lnTo>
                  <a:lnTo>
                    <a:pt x="186" y="804"/>
                  </a:lnTo>
                  <a:lnTo>
                    <a:pt x="180" y="792"/>
                  </a:lnTo>
                  <a:lnTo>
                    <a:pt x="174" y="786"/>
                  </a:lnTo>
                  <a:lnTo>
                    <a:pt x="180" y="786"/>
                  </a:lnTo>
                  <a:lnTo>
                    <a:pt x="192" y="774"/>
                  </a:lnTo>
                  <a:lnTo>
                    <a:pt x="198" y="762"/>
                  </a:lnTo>
                  <a:lnTo>
                    <a:pt x="204" y="744"/>
                  </a:lnTo>
                  <a:lnTo>
                    <a:pt x="204" y="678"/>
                  </a:lnTo>
                  <a:lnTo>
                    <a:pt x="210" y="678"/>
                  </a:lnTo>
                  <a:lnTo>
                    <a:pt x="216" y="672"/>
                  </a:lnTo>
                  <a:lnTo>
                    <a:pt x="222" y="660"/>
                  </a:lnTo>
                  <a:lnTo>
                    <a:pt x="228" y="654"/>
                  </a:lnTo>
                  <a:lnTo>
                    <a:pt x="228" y="612"/>
                  </a:lnTo>
                  <a:lnTo>
                    <a:pt x="222" y="600"/>
                  </a:lnTo>
                  <a:lnTo>
                    <a:pt x="222" y="594"/>
                  </a:lnTo>
                  <a:lnTo>
                    <a:pt x="216" y="588"/>
                  </a:lnTo>
                  <a:lnTo>
                    <a:pt x="222" y="558"/>
                  </a:lnTo>
                  <a:lnTo>
                    <a:pt x="234" y="558"/>
                  </a:lnTo>
                  <a:lnTo>
                    <a:pt x="234" y="552"/>
                  </a:lnTo>
                  <a:lnTo>
                    <a:pt x="240" y="546"/>
                  </a:lnTo>
                  <a:lnTo>
                    <a:pt x="264" y="546"/>
                  </a:lnTo>
                  <a:lnTo>
                    <a:pt x="270" y="552"/>
                  </a:lnTo>
                  <a:lnTo>
                    <a:pt x="294" y="564"/>
                  </a:lnTo>
                  <a:lnTo>
                    <a:pt x="300" y="570"/>
                  </a:lnTo>
                  <a:lnTo>
                    <a:pt x="288" y="576"/>
                  </a:lnTo>
                  <a:lnTo>
                    <a:pt x="288" y="588"/>
                  </a:lnTo>
                  <a:lnTo>
                    <a:pt x="282" y="594"/>
                  </a:lnTo>
                  <a:lnTo>
                    <a:pt x="282" y="612"/>
                  </a:lnTo>
                  <a:lnTo>
                    <a:pt x="288" y="624"/>
                  </a:lnTo>
                  <a:lnTo>
                    <a:pt x="306" y="624"/>
                  </a:lnTo>
                  <a:lnTo>
                    <a:pt x="330" y="612"/>
                  </a:lnTo>
                  <a:lnTo>
                    <a:pt x="342" y="612"/>
                  </a:lnTo>
                  <a:lnTo>
                    <a:pt x="354" y="606"/>
                  </a:lnTo>
                  <a:lnTo>
                    <a:pt x="360" y="600"/>
                  </a:lnTo>
                  <a:lnTo>
                    <a:pt x="366" y="600"/>
                  </a:lnTo>
                  <a:lnTo>
                    <a:pt x="396" y="684"/>
                  </a:lnTo>
                  <a:lnTo>
                    <a:pt x="402" y="678"/>
                  </a:lnTo>
                  <a:lnTo>
                    <a:pt x="414" y="672"/>
                  </a:lnTo>
                  <a:lnTo>
                    <a:pt x="426" y="672"/>
                  </a:lnTo>
                  <a:lnTo>
                    <a:pt x="426" y="642"/>
                  </a:lnTo>
                  <a:lnTo>
                    <a:pt x="414" y="630"/>
                  </a:lnTo>
                  <a:lnTo>
                    <a:pt x="414" y="600"/>
                  </a:lnTo>
                  <a:lnTo>
                    <a:pt x="402" y="588"/>
                  </a:lnTo>
                  <a:lnTo>
                    <a:pt x="396" y="552"/>
                  </a:lnTo>
                  <a:lnTo>
                    <a:pt x="426" y="522"/>
                  </a:lnTo>
                  <a:lnTo>
                    <a:pt x="426" y="516"/>
                  </a:lnTo>
                  <a:lnTo>
                    <a:pt x="432" y="504"/>
                  </a:lnTo>
                  <a:lnTo>
                    <a:pt x="438" y="498"/>
                  </a:lnTo>
                  <a:lnTo>
                    <a:pt x="450" y="492"/>
                  </a:lnTo>
                  <a:lnTo>
                    <a:pt x="468" y="486"/>
                  </a:lnTo>
                  <a:lnTo>
                    <a:pt x="504" y="486"/>
                  </a:lnTo>
                  <a:lnTo>
                    <a:pt x="510" y="492"/>
                  </a:lnTo>
                  <a:lnTo>
                    <a:pt x="522" y="492"/>
                  </a:lnTo>
                  <a:lnTo>
                    <a:pt x="534" y="486"/>
                  </a:lnTo>
                  <a:lnTo>
                    <a:pt x="564" y="486"/>
                  </a:lnTo>
                  <a:lnTo>
                    <a:pt x="576" y="492"/>
                  </a:lnTo>
                  <a:lnTo>
                    <a:pt x="582" y="498"/>
                  </a:lnTo>
                  <a:lnTo>
                    <a:pt x="588" y="498"/>
                  </a:lnTo>
                  <a:lnTo>
                    <a:pt x="594" y="492"/>
                  </a:lnTo>
                  <a:lnTo>
                    <a:pt x="600" y="480"/>
                  </a:lnTo>
                  <a:lnTo>
                    <a:pt x="618" y="462"/>
                  </a:lnTo>
                  <a:lnTo>
                    <a:pt x="618" y="450"/>
                  </a:lnTo>
                  <a:lnTo>
                    <a:pt x="612" y="444"/>
                  </a:lnTo>
                  <a:lnTo>
                    <a:pt x="600" y="438"/>
                  </a:lnTo>
                  <a:lnTo>
                    <a:pt x="588" y="426"/>
                  </a:lnTo>
                  <a:close/>
                </a:path>
              </a:pathLst>
            </a:custGeom>
            <a:solidFill>
              <a:srgbClr val="B1B1B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Lato"/>
                <a:ea typeface="+mn-ea"/>
                <a:cs typeface="+mn-cs"/>
              </a:endParaRPr>
            </a:p>
          </p:txBody>
        </p:sp>
        <p:sp>
          <p:nvSpPr>
            <p:cNvPr id="450" name="Taiwan" descr="© INSCALE GmbH, 05.05.2010&#10;http://www.presentationload.com/">
              <a:extLst>
                <a:ext uri="{FF2B5EF4-FFF2-40B4-BE49-F238E27FC236}">
                  <a16:creationId xmlns:a16="http://schemas.microsoft.com/office/drawing/2014/main" id="{3C9B6460-F0AA-BABF-CA20-7028EFFBF84A}"/>
                </a:ext>
              </a:extLst>
            </p:cNvPr>
            <p:cNvSpPr>
              <a:spLocks/>
            </p:cNvSpPr>
            <p:nvPr/>
          </p:nvSpPr>
          <p:spPr bwMode="gray">
            <a:xfrm>
              <a:off x="9627923" y="3378467"/>
              <a:ext cx="60195" cy="133981"/>
            </a:xfrm>
            <a:custGeom>
              <a:avLst/>
              <a:gdLst>
                <a:gd name="T0" fmla="*/ 2147483647 w 120"/>
                <a:gd name="T1" fmla="*/ 2147483647 h 270"/>
                <a:gd name="T2" fmla="*/ 2147483647 w 120"/>
                <a:gd name="T3" fmla="*/ 2147483647 h 270"/>
                <a:gd name="T4" fmla="*/ 2147483647 w 120"/>
                <a:gd name="T5" fmla="*/ 2147483647 h 270"/>
                <a:gd name="T6" fmla="*/ 2147483647 w 120"/>
                <a:gd name="T7" fmla="*/ 2147483647 h 270"/>
                <a:gd name="T8" fmla="*/ 2147483647 w 120"/>
                <a:gd name="T9" fmla="*/ 2147483647 h 270"/>
                <a:gd name="T10" fmla="*/ 2147483647 w 120"/>
                <a:gd name="T11" fmla="*/ 2147483647 h 270"/>
                <a:gd name="T12" fmla="*/ 2147483647 w 120"/>
                <a:gd name="T13" fmla="*/ 2147483647 h 270"/>
                <a:gd name="T14" fmla="*/ 2147483647 w 120"/>
                <a:gd name="T15" fmla="*/ 2147483647 h 270"/>
                <a:gd name="T16" fmla="*/ 2147483647 w 120"/>
                <a:gd name="T17" fmla="*/ 2147483647 h 270"/>
                <a:gd name="T18" fmla="*/ 2147483647 w 120"/>
                <a:gd name="T19" fmla="*/ 2147483647 h 270"/>
                <a:gd name="T20" fmla="*/ 2147483647 w 120"/>
                <a:gd name="T21" fmla="*/ 0 h 270"/>
                <a:gd name="T22" fmla="*/ 2147483647 w 120"/>
                <a:gd name="T23" fmla="*/ 2147483647 h 270"/>
                <a:gd name="T24" fmla="*/ 2147483647 w 120"/>
                <a:gd name="T25" fmla="*/ 2147483647 h 270"/>
                <a:gd name="T26" fmla="*/ 2147483647 w 120"/>
                <a:gd name="T27" fmla="*/ 2147483647 h 270"/>
                <a:gd name="T28" fmla="*/ 2147483647 w 120"/>
                <a:gd name="T29" fmla="*/ 2147483647 h 270"/>
                <a:gd name="T30" fmla="*/ 0 w 120"/>
                <a:gd name="T31" fmla="*/ 2147483647 h 270"/>
                <a:gd name="T32" fmla="*/ 0 w 120"/>
                <a:gd name="T33" fmla="*/ 2147483647 h 270"/>
                <a:gd name="T34" fmla="*/ 2147483647 w 120"/>
                <a:gd name="T35" fmla="*/ 2147483647 h 270"/>
                <a:gd name="T36" fmla="*/ 2147483647 w 120"/>
                <a:gd name="T37" fmla="*/ 2147483647 h 270"/>
                <a:gd name="T38" fmla="*/ 2147483647 w 120"/>
                <a:gd name="T39" fmla="*/ 2147483647 h 270"/>
                <a:gd name="T40" fmla="*/ 2147483647 w 120"/>
                <a:gd name="T41" fmla="*/ 2147483647 h 270"/>
                <a:gd name="T42" fmla="*/ 2147483647 w 120"/>
                <a:gd name="T43" fmla="*/ 2147483647 h 270"/>
                <a:gd name="T44" fmla="*/ 2147483647 w 120"/>
                <a:gd name="T45" fmla="*/ 2147483647 h 270"/>
                <a:gd name="T46" fmla="*/ 2147483647 w 120"/>
                <a:gd name="T47" fmla="*/ 2147483647 h 270"/>
                <a:gd name="T48" fmla="*/ 2147483647 w 120"/>
                <a:gd name="T49" fmla="*/ 2147483647 h 270"/>
                <a:gd name="T50" fmla="*/ 2147483647 w 120"/>
                <a:gd name="T51" fmla="*/ 2147483647 h 27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0"/>
                <a:gd name="T79" fmla="*/ 0 h 270"/>
                <a:gd name="T80" fmla="*/ 120 w 120"/>
                <a:gd name="T81" fmla="*/ 270 h 27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0" h="270">
                  <a:moveTo>
                    <a:pt x="84" y="270"/>
                  </a:moveTo>
                  <a:lnTo>
                    <a:pt x="84" y="222"/>
                  </a:lnTo>
                  <a:lnTo>
                    <a:pt x="90" y="216"/>
                  </a:lnTo>
                  <a:lnTo>
                    <a:pt x="102" y="192"/>
                  </a:lnTo>
                  <a:lnTo>
                    <a:pt x="102" y="102"/>
                  </a:lnTo>
                  <a:lnTo>
                    <a:pt x="108" y="96"/>
                  </a:lnTo>
                  <a:lnTo>
                    <a:pt x="114" y="84"/>
                  </a:lnTo>
                  <a:lnTo>
                    <a:pt x="114" y="54"/>
                  </a:lnTo>
                  <a:lnTo>
                    <a:pt x="120" y="36"/>
                  </a:lnTo>
                  <a:lnTo>
                    <a:pt x="120" y="24"/>
                  </a:lnTo>
                  <a:lnTo>
                    <a:pt x="72" y="0"/>
                  </a:lnTo>
                  <a:lnTo>
                    <a:pt x="48" y="30"/>
                  </a:lnTo>
                  <a:lnTo>
                    <a:pt x="42" y="42"/>
                  </a:lnTo>
                  <a:lnTo>
                    <a:pt x="30" y="78"/>
                  </a:lnTo>
                  <a:lnTo>
                    <a:pt x="12" y="114"/>
                  </a:lnTo>
                  <a:lnTo>
                    <a:pt x="0" y="150"/>
                  </a:lnTo>
                  <a:lnTo>
                    <a:pt x="0" y="168"/>
                  </a:lnTo>
                  <a:lnTo>
                    <a:pt x="6" y="180"/>
                  </a:lnTo>
                  <a:lnTo>
                    <a:pt x="18" y="192"/>
                  </a:lnTo>
                  <a:lnTo>
                    <a:pt x="24" y="204"/>
                  </a:lnTo>
                  <a:lnTo>
                    <a:pt x="36" y="210"/>
                  </a:lnTo>
                  <a:lnTo>
                    <a:pt x="42" y="222"/>
                  </a:lnTo>
                  <a:lnTo>
                    <a:pt x="42" y="228"/>
                  </a:lnTo>
                  <a:lnTo>
                    <a:pt x="48" y="234"/>
                  </a:lnTo>
                  <a:lnTo>
                    <a:pt x="60" y="258"/>
                  </a:lnTo>
                  <a:lnTo>
                    <a:pt x="84" y="270"/>
                  </a:lnTo>
                  <a:close/>
                </a:path>
              </a:pathLst>
            </a:cu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Lato"/>
                <a:ea typeface="+mn-ea"/>
                <a:cs typeface="+mn-cs"/>
              </a:endParaRPr>
            </a:p>
          </p:txBody>
        </p:sp>
        <p:sp>
          <p:nvSpPr>
            <p:cNvPr id="452" name="Sri Lanka" descr="© INSCALE GmbH, 05.05.2010&#10;http://www.presentationload.com/">
              <a:extLst>
                <a:ext uri="{FF2B5EF4-FFF2-40B4-BE49-F238E27FC236}">
                  <a16:creationId xmlns:a16="http://schemas.microsoft.com/office/drawing/2014/main" id="{A2BDA1DD-4F22-70F5-BA59-E658D856AAA0}"/>
                </a:ext>
              </a:extLst>
            </p:cNvPr>
            <p:cNvSpPr>
              <a:spLocks/>
            </p:cNvSpPr>
            <p:nvPr/>
          </p:nvSpPr>
          <p:spPr bwMode="gray">
            <a:xfrm>
              <a:off x="8288111" y="4007597"/>
              <a:ext cx="85437" cy="151456"/>
            </a:xfrm>
            <a:custGeom>
              <a:avLst/>
              <a:gdLst>
                <a:gd name="T0" fmla="*/ 2147483647 w 174"/>
                <a:gd name="T1" fmla="*/ 2147483647 h 306"/>
                <a:gd name="T2" fmla="*/ 2147483647 w 174"/>
                <a:gd name="T3" fmla="*/ 0 h 306"/>
                <a:gd name="T4" fmla="*/ 2147483647 w 174"/>
                <a:gd name="T5" fmla="*/ 0 h 306"/>
                <a:gd name="T6" fmla="*/ 2147483647 w 174"/>
                <a:gd name="T7" fmla="*/ 2147483647 h 306"/>
                <a:gd name="T8" fmla="*/ 2147483647 w 174"/>
                <a:gd name="T9" fmla="*/ 2147483647 h 306"/>
                <a:gd name="T10" fmla="*/ 2147483647 w 174"/>
                <a:gd name="T11" fmla="*/ 2147483647 h 306"/>
                <a:gd name="T12" fmla="*/ 2147483647 w 174"/>
                <a:gd name="T13" fmla="*/ 2147483647 h 306"/>
                <a:gd name="T14" fmla="*/ 2147483647 w 174"/>
                <a:gd name="T15" fmla="*/ 2147483647 h 306"/>
                <a:gd name="T16" fmla="*/ 2147483647 w 174"/>
                <a:gd name="T17" fmla="*/ 2147483647 h 306"/>
                <a:gd name="T18" fmla="*/ 2147483647 w 174"/>
                <a:gd name="T19" fmla="*/ 2147483647 h 306"/>
                <a:gd name="T20" fmla="*/ 2147483647 w 174"/>
                <a:gd name="T21" fmla="*/ 2147483647 h 306"/>
                <a:gd name="T22" fmla="*/ 2147483647 w 174"/>
                <a:gd name="T23" fmla="*/ 2147483647 h 306"/>
                <a:gd name="T24" fmla="*/ 2147483647 w 174"/>
                <a:gd name="T25" fmla="*/ 2147483647 h 306"/>
                <a:gd name="T26" fmla="*/ 2147483647 w 174"/>
                <a:gd name="T27" fmla="*/ 2147483647 h 306"/>
                <a:gd name="T28" fmla="*/ 2147483647 w 174"/>
                <a:gd name="T29" fmla="*/ 2147483647 h 306"/>
                <a:gd name="T30" fmla="*/ 2147483647 w 174"/>
                <a:gd name="T31" fmla="*/ 2147483647 h 306"/>
                <a:gd name="T32" fmla="*/ 2147483647 w 174"/>
                <a:gd name="T33" fmla="*/ 2147483647 h 306"/>
                <a:gd name="T34" fmla="*/ 2147483647 w 174"/>
                <a:gd name="T35" fmla="*/ 2147483647 h 306"/>
                <a:gd name="T36" fmla="*/ 2147483647 w 174"/>
                <a:gd name="T37" fmla="*/ 2147483647 h 306"/>
                <a:gd name="T38" fmla="*/ 2147483647 w 174"/>
                <a:gd name="T39" fmla="*/ 2147483647 h 306"/>
                <a:gd name="T40" fmla="*/ 0 w 174"/>
                <a:gd name="T41" fmla="*/ 2147483647 h 306"/>
                <a:gd name="T42" fmla="*/ 0 w 174"/>
                <a:gd name="T43" fmla="*/ 2147483647 h 306"/>
                <a:gd name="T44" fmla="*/ 2147483647 w 174"/>
                <a:gd name="T45" fmla="*/ 2147483647 h 306"/>
                <a:gd name="T46" fmla="*/ 2147483647 w 174"/>
                <a:gd name="T47" fmla="*/ 2147483647 h 306"/>
                <a:gd name="T48" fmla="*/ 2147483647 w 174"/>
                <a:gd name="T49" fmla="*/ 2147483647 h 306"/>
                <a:gd name="T50" fmla="*/ 2147483647 w 174"/>
                <a:gd name="T51" fmla="*/ 2147483647 h 306"/>
                <a:gd name="T52" fmla="*/ 2147483647 w 174"/>
                <a:gd name="T53" fmla="*/ 2147483647 h 306"/>
                <a:gd name="T54" fmla="*/ 0 w 174"/>
                <a:gd name="T55" fmla="*/ 2147483647 h 306"/>
                <a:gd name="T56" fmla="*/ 2147483647 w 174"/>
                <a:gd name="T57" fmla="*/ 2147483647 h 306"/>
                <a:gd name="T58" fmla="*/ 2147483647 w 174"/>
                <a:gd name="T59" fmla="*/ 2147483647 h 30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4"/>
                <a:gd name="T91" fmla="*/ 0 h 306"/>
                <a:gd name="T92" fmla="*/ 174 w 174"/>
                <a:gd name="T93" fmla="*/ 306 h 30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4" h="306">
                  <a:moveTo>
                    <a:pt x="24" y="6"/>
                  </a:moveTo>
                  <a:lnTo>
                    <a:pt x="36" y="0"/>
                  </a:lnTo>
                  <a:lnTo>
                    <a:pt x="48" y="0"/>
                  </a:lnTo>
                  <a:lnTo>
                    <a:pt x="66" y="6"/>
                  </a:lnTo>
                  <a:lnTo>
                    <a:pt x="78" y="12"/>
                  </a:lnTo>
                  <a:lnTo>
                    <a:pt x="114" y="66"/>
                  </a:lnTo>
                  <a:lnTo>
                    <a:pt x="132" y="84"/>
                  </a:lnTo>
                  <a:lnTo>
                    <a:pt x="126" y="120"/>
                  </a:lnTo>
                  <a:lnTo>
                    <a:pt x="150" y="114"/>
                  </a:lnTo>
                  <a:lnTo>
                    <a:pt x="156" y="168"/>
                  </a:lnTo>
                  <a:lnTo>
                    <a:pt x="162" y="174"/>
                  </a:lnTo>
                  <a:lnTo>
                    <a:pt x="168" y="198"/>
                  </a:lnTo>
                  <a:lnTo>
                    <a:pt x="174" y="228"/>
                  </a:lnTo>
                  <a:lnTo>
                    <a:pt x="174" y="258"/>
                  </a:lnTo>
                  <a:lnTo>
                    <a:pt x="156" y="276"/>
                  </a:lnTo>
                  <a:lnTo>
                    <a:pt x="120" y="294"/>
                  </a:lnTo>
                  <a:lnTo>
                    <a:pt x="84" y="306"/>
                  </a:lnTo>
                  <a:lnTo>
                    <a:pt x="48" y="306"/>
                  </a:lnTo>
                  <a:lnTo>
                    <a:pt x="24" y="282"/>
                  </a:lnTo>
                  <a:lnTo>
                    <a:pt x="12" y="240"/>
                  </a:lnTo>
                  <a:lnTo>
                    <a:pt x="0" y="192"/>
                  </a:lnTo>
                  <a:lnTo>
                    <a:pt x="0" y="156"/>
                  </a:lnTo>
                  <a:lnTo>
                    <a:pt x="12" y="138"/>
                  </a:lnTo>
                  <a:lnTo>
                    <a:pt x="18" y="132"/>
                  </a:lnTo>
                  <a:lnTo>
                    <a:pt x="24" y="120"/>
                  </a:lnTo>
                  <a:lnTo>
                    <a:pt x="30" y="102"/>
                  </a:lnTo>
                  <a:lnTo>
                    <a:pt x="30" y="78"/>
                  </a:lnTo>
                  <a:lnTo>
                    <a:pt x="0" y="36"/>
                  </a:lnTo>
                  <a:lnTo>
                    <a:pt x="24" y="36"/>
                  </a:lnTo>
                  <a:lnTo>
                    <a:pt x="24" y="6"/>
                  </a:lnTo>
                  <a:close/>
                </a:path>
              </a:pathLst>
            </a:custGeom>
            <a:solidFill>
              <a:srgbClr val="B1B1B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Lato"/>
                <a:ea typeface="+mn-ea"/>
                <a:cs typeface="+mn-cs"/>
              </a:endParaRPr>
            </a:p>
          </p:txBody>
        </p:sp>
        <p:sp>
          <p:nvSpPr>
            <p:cNvPr id="453" name="Solomon Islands" descr="© INSCALE GmbH, 05.05.2010&#10;http://www.presentationload.com/">
              <a:extLst>
                <a:ext uri="{FF2B5EF4-FFF2-40B4-BE49-F238E27FC236}">
                  <a16:creationId xmlns:a16="http://schemas.microsoft.com/office/drawing/2014/main" id="{6F77DBAD-FE67-7AE1-49D2-5569E7EACB97}"/>
                </a:ext>
              </a:extLst>
            </p:cNvPr>
            <p:cNvSpPr>
              <a:spLocks noEditPoints="1"/>
            </p:cNvSpPr>
            <p:nvPr/>
          </p:nvSpPr>
          <p:spPr bwMode="gray">
            <a:xfrm>
              <a:off x="11004633" y="4660028"/>
              <a:ext cx="184468" cy="172817"/>
            </a:xfrm>
            <a:custGeom>
              <a:avLst/>
              <a:gdLst>
                <a:gd name="T0" fmla="*/ 2147483647 w 372"/>
                <a:gd name="T1" fmla="*/ 0 h 348"/>
                <a:gd name="T2" fmla="*/ 2147483647 w 372"/>
                <a:gd name="T3" fmla="*/ 2147483647 h 348"/>
                <a:gd name="T4" fmla="*/ 0 w 372"/>
                <a:gd name="T5" fmla="*/ 2147483647 h 348"/>
                <a:gd name="T6" fmla="*/ 2147483647 w 372"/>
                <a:gd name="T7" fmla="*/ 2147483647 h 348"/>
                <a:gd name="T8" fmla="*/ 0 w 372"/>
                <a:gd name="T9" fmla="*/ 2147483647 h 348"/>
                <a:gd name="T10" fmla="*/ 2147483647 w 372"/>
                <a:gd name="T11" fmla="*/ 2147483647 h 348"/>
                <a:gd name="T12" fmla="*/ 2147483647 w 372"/>
                <a:gd name="T13" fmla="*/ 2147483647 h 348"/>
                <a:gd name="T14" fmla="*/ 2147483647 w 372"/>
                <a:gd name="T15" fmla="*/ 2147483647 h 348"/>
                <a:gd name="T16" fmla="*/ 2147483647 w 372"/>
                <a:gd name="T17" fmla="*/ 2147483647 h 348"/>
                <a:gd name="T18" fmla="*/ 2147483647 w 372"/>
                <a:gd name="T19" fmla="*/ 2147483647 h 348"/>
                <a:gd name="T20" fmla="*/ 2147483647 w 372"/>
                <a:gd name="T21" fmla="*/ 2147483647 h 348"/>
                <a:gd name="T22" fmla="*/ 2147483647 w 372"/>
                <a:gd name="T23" fmla="*/ 2147483647 h 348"/>
                <a:gd name="T24" fmla="*/ 2147483647 w 372"/>
                <a:gd name="T25" fmla="*/ 2147483647 h 348"/>
                <a:gd name="T26" fmla="*/ 2147483647 w 372"/>
                <a:gd name="T27" fmla="*/ 2147483647 h 348"/>
                <a:gd name="T28" fmla="*/ 2147483647 w 372"/>
                <a:gd name="T29" fmla="*/ 2147483647 h 348"/>
                <a:gd name="T30" fmla="*/ 2147483647 w 372"/>
                <a:gd name="T31" fmla="*/ 2147483647 h 348"/>
                <a:gd name="T32" fmla="*/ 2147483647 w 372"/>
                <a:gd name="T33" fmla="*/ 2147483647 h 348"/>
                <a:gd name="T34" fmla="*/ 2147483647 w 372"/>
                <a:gd name="T35" fmla="*/ 2147483647 h 348"/>
                <a:gd name="T36" fmla="*/ 2147483647 w 372"/>
                <a:gd name="T37" fmla="*/ 2147483647 h 348"/>
                <a:gd name="T38" fmla="*/ 2147483647 w 372"/>
                <a:gd name="T39" fmla="*/ 2147483647 h 348"/>
                <a:gd name="T40" fmla="*/ 2147483647 w 372"/>
                <a:gd name="T41" fmla="*/ 2147483647 h 348"/>
                <a:gd name="T42" fmla="*/ 2147483647 w 372"/>
                <a:gd name="T43" fmla="*/ 2147483647 h 348"/>
                <a:gd name="T44" fmla="*/ 2147483647 w 372"/>
                <a:gd name="T45" fmla="*/ 2147483647 h 348"/>
                <a:gd name="T46" fmla="*/ 2147483647 w 372"/>
                <a:gd name="T47" fmla="*/ 2147483647 h 348"/>
                <a:gd name="T48" fmla="*/ 2147483647 w 372"/>
                <a:gd name="T49" fmla="*/ 2147483647 h 348"/>
                <a:gd name="T50" fmla="*/ 2147483647 w 372"/>
                <a:gd name="T51" fmla="*/ 2147483647 h 348"/>
                <a:gd name="T52" fmla="*/ 2147483647 w 372"/>
                <a:gd name="T53" fmla="*/ 2147483647 h 348"/>
                <a:gd name="T54" fmla="*/ 2147483647 w 372"/>
                <a:gd name="T55" fmla="*/ 2147483647 h 348"/>
                <a:gd name="T56" fmla="*/ 2147483647 w 372"/>
                <a:gd name="T57" fmla="*/ 2147483647 h 348"/>
                <a:gd name="T58" fmla="*/ 2147483647 w 372"/>
                <a:gd name="T59" fmla="*/ 2147483647 h 348"/>
                <a:gd name="T60" fmla="*/ 2147483647 w 372"/>
                <a:gd name="T61" fmla="*/ 2147483647 h 348"/>
                <a:gd name="T62" fmla="*/ 2147483647 w 372"/>
                <a:gd name="T63" fmla="*/ 2147483647 h 34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2"/>
                <a:gd name="T97" fmla="*/ 0 h 348"/>
                <a:gd name="T98" fmla="*/ 372 w 372"/>
                <a:gd name="T99" fmla="*/ 348 h 34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2" h="348">
                  <a:moveTo>
                    <a:pt x="30" y="18"/>
                  </a:moveTo>
                  <a:lnTo>
                    <a:pt x="12" y="0"/>
                  </a:lnTo>
                  <a:lnTo>
                    <a:pt x="6" y="24"/>
                  </a:lnTo>
                  <a:lnTo>
                    <a:pt x="24" y="48"/>
                  </a:lnTo>
                  <a:lnTo>
                    <a:pt x="30" y="18"/>
                  </a:lnTo>
                  <a:close/>
                  <a:moveTo>
                    <a:pt x="0" y="126"/>
                  </a:moveTo>
                  <a:lnTo>
                    <a:pt x="18" y="132"/>
                  </a:lnTo>
                  <a:lnTo>
                    <a:pt x="36" y="102"/>
                  </a:lnTo>
                  <a:lnTo>
                    <a:pt x="0" y="102"/>
                  </a:lnTo>
                  <a:lnTo>
                    <a:pt x="0" y="126"/>
                  </a:lnTo>
                  <a:close/>
                  <a:moveTo>
                    <a:pt x="78" y="120"/>
                  </a:moveTo>
                  <a:lnTo>
                    <a:pt x="36" y="120"/>
                  </a:lnTo>
                  <a:lnTo>
                    <a:pt x="42" y="144"/>
                  </a:lnTo>
                  <a:lnTo>
                    <a:pt x="78" y="132"/>
                  </a:lnTo>
                  <a:lnTo>
                    <a:pt x="78" y="120"/>
                  </a:lnTo>
                  <a:close/>
                  <a:moveTo>
                    <a:pt x="60" y="186"/>
                  </a:moveTo>
                  <a:lnTo>
                    <a:pt x="96" y="186"/>
                  </a:lnTo>
                  <a:lnTo>
                    <a:pt x="48" y="150"/>
                  </a:lnTo>
                  <a:lnTo>
                    <a:pt x="60" y="186"/>
                  </a:lnTo>
                  <a:close/>
                  <a:moveTo>
                    <a:pt x="246" y="222"/>
                  </a:moveTo>
                  <a:lnTo>
                    <a:pt x="222" y="210"/>
                  </a:lnTo>
                  <a:lnTo>
                    <a:pt x="192" y="210"/>
                  </a:lnTo>
                  <a:lnTo>
                    <a:pt x="192" y="228"/>
                  </a:lnTo>
                  <a:lnTo>
                    <a:pt x="198" y="234"/>
                  </a:lnTo>
                  <a:lnTo>
                    <a:pt x="204" y="246"/>
                  </a:lnTo>
                  <a:lnTo>
                    <a:pt x="216" y="252"/>
                  </a:lnTo>
                  <a:lnTo>
                    <a:pt x="252" y="264"/>
                  </a:lnTo>
                  <a:lnTo>
                    <a:pt x="264" y="264"/>
                  </a:lnTo>
                  <a:lnTo>
                    <a:pt x="276" y="258"/>
                  </a:lnTo>
                  <a:lnTo>
                    <a:pt x="276" y="252"/>
                  </a:lnTo>
                  <a:lnTo>
                    <a:pt x="270" y="246"/>
                  </a:lnTo>
                  <a:lnTo>
                    <a:pt x="264" y="234"/>
                  </a:lnTo>
                  <a:lnTo>
                    <a:pt x="246" y="222"/>
                  </a:lnTo>
                  <a:close/>
                  <a:moveTo>
                    <a:pt x="312" y="288"/>
                  </a:moveTo>
                  <a:lnTo>
                    <a:pt x="360" y="348"/>
                  </a:lnTo>
                  <a:lnTo>
                    <a:pt x="372" y="318"/>
                  </a:lnTo>
                  <a:lnTo>
                    <a:pt x="312" y="288"/>
                  </a:lnTo>
                  <a:close/>
                  <a:moveTo>
                    <a:pt x="288" y="126"/>
                  </a:moveTo>
                  <a:lnTo>
                    <a:pt x="288" y="132"/>
                  </a:lnTo>
                  <a:lnTo>
                    <a:pt x="282" y="138"/>
                  </a:lnTo>
                  <a:lnTo>
                    <a:pt x="282" y="150"/>
                  </a:lnTo>
                  <a:lnTo>
                    <a:pt x="276" y="162"/>
                  </a:lnTo>
                  <a:lnTo>
                    <a:pt x="276" y="192"/>
                  </a:lnTo>
                  <a:lnTo>
                    <a:pt x="312" y="228"/>
                  </a:lnTo>
                  <a:lnTo>
                    <a:pt x="324" y="234"/>
                  </a:lnTo>
                  <a:lnTo>
                    <a:pt x="330" y="240"/>
                  </a:lnTo>
                  <a:lnTo>
                    <a:pt x="288" y="126"/>
                  </a:lnTo>
                  <a:close/>
                  <a:moveTo>
                    <a:pt x="120" y="60"/>
                  </a:moveTo>
                  <a:lnTo>
                    <a:pt x="120" y="66"/>
                  </a:lnTo>
                  <a:lnTo>
                    <a:pt x="126" y="78"/>
                  </a:lnTo>
                  <a:lnTo>
                    <a:pt x="138" y="90"/>
                  </a:lnTo>
                  <a:lnTo>
                    <a:pt x="150" y="108"/>
                  </a:lnTo>
                  <a:lnTo>
                    <a:pt x="168" y="120"/>
                  </a:lnTo>
                  <a:lnTo>
                    <a:pt x="192" y="144"/>
                  </a:lnTo>
                  <a:lnTo>
                    <a:pt x="204" y="150"/>
                  </a:lnTo>
                  <a:lnTo>
                    <a:pt x="216" y="150"/>
                  </a:lnTo>
                  <a:lnTo>
                    <a:pt x="210" y="138"/>
                  </a:lnTo>
                  <a:lnTo>
                    <a:pt x="204" y="132"/>
                  </a:lnTo>
                  <a:lnTo>
                    <a:pt x="198" y="120"/>
                  </a:lnTo>
                  <a:lnTo>
                    <a:pt x="186" y="108"/>
                  </a:lnTo>
                  <a:lnTo>
                    <a:pt x="174" y="90"/>
                  </a:lnTo>
                  <a:lnTo>
                    <a:pt x="156" y="78"/>
                  </a:lnTo>
                  <a:lnTo>
                    <a:pt x="144" y="66"/>
                  </a:lnTo>
                  <a:lnTo>
                    <a:pt x="132" y="60"/>
                  </a:lnTo>
                  <a:lnTo>
                    <a:pt x="120" y="60"/>
                  </a:lnTo>
                  <a:close/>
                </a:path>
              </a:pathLst>
            </a:custGeom>
            <a:solidFill>
              <a:srgbClr val="B1B1B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Lato"/>
                <a:ea typeface="+mn-ea"/>
                <a:cs typeface="+mn-cs"/>
              </a:endParaRPr>
            </a:p>
          </p:txBody>
        </p:sp>
        <p:sp>
          <p:nvSpPr>
            <p:cNvPr id="454" name="Russia (Urup,Simushir)" descr="© INSCALE GmbH, 05.05.2010&#10;http://www.presentationload.com/">
              <a:extLst>
                <a:ext uri="{FF2B5EF4-FFF2-40B4-BE49-F238E27FC236}">
                  <a16:creationId xmlns:a16="http://schemas.microsoft.com/office/drawing/2014/main" id="{ACBDF698-280D-9D80-7CAA-627D6DC51838}"/>
                </a:ext>
              </a:extLst>
            </p:cNvPr>
            <p:cNvSpPr>
              <a:spLocks noEditPoints="1"/>
            </p:cNvSpPr>
            <p:nvPr/>
          </p:nvSpPr>
          <p:spPr bwMode="gray">
            <a:xfrm>
              <a:off x="10156081" y="2048363"/>
              <a:ext cx="149516" cy="594178"/>
            </a:xfrm>
            <a:custGeom>
              <a:avLst/>
              <a:gdLst>
                <a:gd name="T0" fmla="*/ 0 w 300"/>
                <a:gd name="T1" fmla="*/ 2147483647 h 1194"/>
                <a:gd name="T2" fmla="*/ 2147483647 w 300"/>
                <a:gd name="T3" fmla="*/ 2147483647 h 1194"/>
                <a:gd name="T4" fmla="*/ 2147483647 w 300"/>
                <a:gd name="T5" fmla="*/ 2147483647 h 1194"/>
                <a:gd name="T6" fmla="*/ 2147483647 w 300"/>
                <a:gd name="T7" fmla="*/ 2147483647 h 1194"/>
                <a:gd name="T8" fmla="*/ 0 w 300"/>
                <a:gd name="T9" fmla="*/ 2147483647 h 1194"/>
                <a:gd name="T10" fmla="*/ 2147483647 w 300"/>
                <a:gd name="T11" fmla="*/ 2147483647 h 1194"/>
                <a:gd name="T12" fmla="*/ 2147483647 w 300"/>
                <a:gd name="T13" fmla="*/ 2147483647 h 1194"/>
                <a:gd name="T14" fmla="*/ 2147483647 w 300"/>
                <a:gd name="T15" fmla="*/ 2147483647 h 1194"/>
                <a:gd name="T16" fmla="*/ 2147483647 w 300"/>
                <a:gd name="T17" fmla="*/ 2147483647 h 1194"/>
                <a:gd name="T18" fmla="*/ 2147483647 w 300"/>
                <a:gd name="T19" fmla="*/ 2147483647 h 1194"/>
                <a:gd name="T20" fmla="*/ 2147483647 w 300"/>
                <a:gd name="T21" fmla="*/ 2147483647 h 1194"/>
                <a:gd name="T22" fmla="*/ 2147483647 w 300"/>
                <a:gd name="T23" fmla="*/ 2147483647 h 1194"/>
                <a:gd name="T24" fmla="*/ 2147483647 w 300"/>
                <a:gd name="T25" fmla="*/ 2147483647 h 1194"/>
                <a:gd name="T26" fmla="*/ 2147483647 w 300"/>
                <a:gd name="T27" fmla="*/ 2147483647 h 1194"/>
                <a:gd name="T28" fmla="*/ 2147483647 w 300"/>
                <a:gd name="T29" fmla="*/ 2147483647 h 1194"/>
                <a:gd name="T30" fmla="*/ 2147483647 w 300"/>
                <a:gd name="T31" fmla="*/ 2147483647 h 1194"/>
                <a:gd name="T32" fmla="*/ 2147483647 w 300"/>
                <a:gd name="T33" fmla="*/ 2147483647 h 1194"/>
                <a:gd name="T34" fmla="*/ 2147483647 w 300"/>
                <a:gd name="T35" fmla="*/ 2147483647 h 1194"/>
                <a:gd name="T36" fmla="*/ 2147483647 w 300"/>
                <a:gd name="T37" fmla="*/ 2147483647 h 1194"/>
                <a:gd name="T38" fmla="*/ 2147483647 w 300"/>
                <a:gd name="T39" fmla="*/ 2147483647 h 1194"/>
                <a:gd name="T40" fmla="*/ 2147483647 w 300"/>
                <a:gd name="T41" fmla="*/ 2147483647 h 1194"/>
                <a:gd name="T42" fmla="*/ 2147483647 w 300"/>
                <a:gd name="T43" fmla="*/ 2147483647 h 1194"/>
                <a:gd name="T44" fmla="*/ 2147483647 w 300"/>
                <a:gd name="T45" fmla="*/ 2147483647 h 1194"/>
                <a:gd name="T46" fmla="*/ 2147483647 w 300"/>
                <a:gd name="T47" fmla="*/ 2147483647 h 1194"/>
                <a:gd name="T48" fmla="*/ 2147483647 w 300"/>
                <a:gd name="T49" fmla="*/ 2147483647 h 1194"/>
                <a:gd name="T50" fmla="*/ 2147483647 w 300"/>
                <a:gd name="T51" fmla="*/ 2147483647 h 1194"/>
                <a:gd name="T52" fmla="*/ 2147483647 w 300"/>
                <a:gd name="T53" fmla="*/ 2147483647 h 1194"/>
                <a:gd name="T54" fmla="*/ 2147483647 w 300"/>
                <a:gd name="T55" fmla="*/ 2147483647 h 1194"/>
                <a:gd name="T56" fmla="*/ 2147483647 w 300"/>
                <a:gd name="T57" fmla="*/ 2147483647 h 1194"/>
                <a:gd name="T58" fmla="*/ 2147483647 w 300"/>
                <a:gd name="T59" fmla="*/ 2147483647 h 1194"/>
                <a:gd name="T60" fmla="*/ 2147483647 w 300"/>
                <a:gd name="T61" fmla="*/ 2147483647 h 1194"/>
                <a:gd name="T62" fmla="*/ 2147483647 w 300"/>
                <a:gd name="T63" fmla="*/ 2147483647 h 1194"/>
                <a:gd name="T64" fmla="*/ 2147483647 w 300"/>
                <a:gd name="T65" fmla="*/ 2147483647 h 1194"/>
                <a:gd name="T66" fmla="*/ 2147483647 w 300"/>
                <a:gd name="T67" fmla="*/ 2147483647 h 1194"/>
                <a:gd name="T68" fmla="*/ 2147483647 w 300"/>
                <a:gd name="T69" fmla="*/ 2147483647 h 1194"/>
                <a:gd name="T70" fmla="*/ 2147483647 w 300"/>
                <a:gd name="T71" fmla="*/ 2147483647 h 1194"/>
                <a:gd name="T72" fmla="*/ 2147483647 w 300"/>
                <a:gd name="T73" fmla="*/ 2147483647 h 1194"/>
                <a:gd name="T74" fmla="*/ 2147483647 w 300"/>
                <a:gd name="T75" fmla="*/ 2147483647 h 1194"/>
                <a:gd name="T76" fmla="*/ 2147483647 w 300"/>
                <a:gd name="T77" fmla="*/ 2147483647 h 1194"/>
                <a:gd name="T78" fmla="*/ 2147483647 w 300"/>
                <a:gd name="T79" fmla="*/ 2147483647 h 1194"/>
                <a:gd name="T80" fmla="*/ 2147483647 w 300"/>
                <a:gd name="T81" fmla="*/ 2147483647 h 1194"/>
                <a:gd name="T82" fmla="*/ 2147483647 w 300"/>
                <a:gd name="T83" fmla="*/ 2147483647 h 1194"/>
                <a:gd name="T84" fmla="*/ 2147483647 w 300"/>
                <a:gd name="T85" fmla="*/ 2147483647 h 1194"/>
                <a:gd name="T86" fmla="*/ 2147483647 w 300"/>
                <a:gd name="T87" fmla="*/ 2147483647 h 1194"/>
                <a:gd name="T88" fmla="*/ 2147483647 w 300"/>
                <a:gd name="T89" fmla="*/ 2147483647 h 1194"/>
                <a:gd name="T90" fmla="*/ 2147483647 w 300"/>
                <a:gd name="T91" fmla="*/ 2147483647 h 1194"/>
                <a:gd name="T92" fmla="*/ 2147483647 w 300"/>
                <a:gd name="T93" fmla="*/ 2147483647 h 1194"/>
                <a:gd name="T94" fmla="*/ 2147483647 w 300"/>
                <a:gd name="T95" fmla="*/ 2147483647 h 1194"/>
                <a:gd name="T96" fmla="*/ 2147483647 w 300"/>
                <a:gd name="T97" fmla="*/ 2147483647 h 1194"/>
                <a:gd name="T98" fmla="*/ 2147483647 w 300"/>
                <a:gd name="T99" fmla="*/ 0 h 1194"/>
                <a:gd name="T100" fmla="*/ 2147483647 w 300"/>
                <a:gd name="T101" fmla="*/ 2147483647 h 11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00"/>
                <a:gd name="T154" fmla="*/ 0 h 1194"/>
                <a:gd name="T155" fmla="*/ 300 w 300"/>
                <a:gd name="T156" fmla="*/ 1194 h 11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00" h="1194">
                  <a:moveTo>
                    <a:pt x="0" y="1194"/>
                  </a:moveTo>
                  <a:lnTo>
                    <a:pt x="12" y="1188"/>
                  </a:lnTo>
                  <a:lnTo>
                    <a:pt x="36" y="1146"/>
                  </a:lnTo>
                  <a:lnTo>
                    <a:pt x="18" y="1134"/>
                  </a:lnTo>
                  <a:lnTo>
                    <a:pt x="0" y="1194"/>
                  </a:lnTo>
                  <a:close/>
                  <a:moveTo>
                    <a:pt x="114" y="1068"/>
                  </a:moveTo>
                  <a:lnTo>
                    <a:pt x="72" y="1062"/>
                  </a:lnTo>
                  <a:lnTo>
                    <a:pt x="54" y="1134"/>
                  </a:lnTo>
                  <a:lnTo>
                    <a:pt x="66" y="1134"/>
                  </a:lnTo>
                  <a:lnTo>
                    <a:pt x="84" y="1104"/>
                  </a:lnTo>
                  <a:lnTo>
                    <a:pt x="132" y="1074"/>
                  </a:lnTo>
                  <a:lnTo>
                    <a:pt x="120" y="1050"/>
                  </a:lnTo>
                  <a:lnTo>
                    <a:pt x="114" y="1068"/>
                  </a:lnTo>
                  <a:close/>
                  <a:moveTo>
                    <a:pt x="192" y="1008"/>
                  </a:moveTo>
                  <a:lnTo>
                    <a:pt x="186" y="1008"/>
                  </a:lnTo>
                  <a:lnTo>
                    <a:pt x="180" y="1020"/>
                  </a:lnTo>
                  <a:lnTo>
                    <a:pt x="174" y="1026"/>
                  </a:lnTo>
                  <a:lnTo>
                    <a:pt x="168" y="1038"/>
                  </a:lnTo>
                  <a:lnTo>
                    <a:pt x="168" y="1044"/>
                  </a:lnTo>
                  <a:lnTo>
                    <a:pt x="174" y="1050"/>
                  </a:lnTo>
                  <a:lnTo>
                    <a:pt x="180" y="1050"/>
                  </a:lnTo>
                  <a:lnTo>
                    <a:pt x="198" y="1032"/>
                  </a:lnTo>
                  <a:lnTo>
                    <a:pt x="198" y="1014"/>
                  </a:lnTo>
                  <a:lnTo>
                    <a:pt x="192" y="1008"/>
                  </a:lnTo>
                  <a:close/>
                  <a:moveTo>
                    <a:pt x="282" y="636"/>
                  </a:moveTo>
                  <a:lnTo>
                    <a:pt x="264" y="654"/>
                  </a:lnTo>
                  <a:lnTo>
                    <a:pt x="276" y="678"/>
                  </a:lnTo>
                  <a:lnTo>
                    <a:pt x="258" y="678"/>
                  </a:lnTo>
                  <a:lnTo>
                    <a:pt x="258" y="702"/>
                  </a:lnTo>
                  <a:lnTo>
                    <a:pt x="282" y="702"/>
                  </a:lnTo>
                  <a:lnTo>
                    <a:pt x="294" y="684"/>
                  </a:lnTo>
                  <a:lnTo>
                    <a:pt x="282" y="654"/>
                  </a:lnTo>
                  <a:lnTo>
                    <a:pt x="300" y="654"/>
                  </a:lnTo>
                  <a:lnTo>
                    <a:pt x="282" y="636"/>
                  </a:lnTo>
                  <a:close/>
                  <a:moveTo>
                    <a:pt x="276" y="768"/>
                  </a:moveTo>
                  <a:lnTo>
                    <a:pt x="294" y="750"/>
                  </a:lnTo>
                  <a:lnTo>
                    <a:pt x="270" y="732"/>
                  </a:lnTo>
                  <a:lnTo>
                    <a:pt x="276" y="768"/>
                  </a:lnTo>
                  <a:close/>
                  <a:moveTo>
                    <a:pt x="258" y="954"/>
                  </a:moveTo>
                  <a:lnTo>
                    <a:pt x="258" y="924"/>
                  </a:lnTo>
                  <a:lnTo>
                    <a:pt x="240" y="948"/>
                  </a:lnTo>
                  <a:lnTo>
                    <a:pt x="258" y="954"/>
                  </a:lnTo>
                  <a:close/>
                  <a:moveTo>
                    <a:pt x="252" y="858"/>
                  </a:moveTo>
                  <a:lnTo>
                    <a:pt x="270" y="858"/>
                  </a:lnTo>
                  <a:lnTo>
                    <a:pt x="252" y="840"/>
                  </a:lnTo>
                  <a:lnTo>
                    <a:pt x="252" y="858"/>
                  </a:lnTo>
                  <a:close/>
                  <a:moveTo>
                    <a:pt x="126" y="24"/>
                  </a:moveTo>
                  <a:lnTo>
                    <a:pt x="144" y="60"/>
                  </a:lnTo>
                  <a:lnTo>
                    <a:pt x="174" y="24"/>
                  </a:lnTo>
                  <a:lnTo>
                    <a:pt x="162" y="0"/>
                  </a:lnTo>
                  <a:lnTo>
                    <a:pt x="126" y="24"/>
                  </a:lnTo>
                  <a:close/>
                </a:path>
              </a:pathLst>
            </a:custGeom>
            <a:solidFill>
              <a:srgbClr val="B1B1B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Lato"/>
                <a:ea typeface="+mn-ea"/>
                <a:cs typeface="+mn-cs"/>
              </a:endParaRPr>
            </a:p>
          </p:txBody>
        </p:sp>
        <p:sp>
          <p:nvSpPr>
            <p:cNvPr id="455" name="Russia" descr="© INSCALE GmbH, 05.05.2010&#10;http://www.presentationload.com/">
              <a:extLst>
                <a:ext uri="{FF2B5EF4-FFF2-40B4-BE49-F238E27FC236}">
                  <a16:creationId xmlns:a16="http://schemas.microsoft.com/office/drawing/2014/main" id="{41FC5C6B-A9A7-0736-7071-15BFF023AB04}"/>
                </a:ext>
              </a:extLst>
            </p:cNvPr>
            <p:cNvSpPr>
              <a:spLocks noEditPoints="1"/>
            </p:cNvSpPr>
            <p:nvPr/>
          </p:nvSpPr>
          <p:spPr bwMode="gray">
            <a:xfrm>
              <a:off x="6124992" y="1312435"/>
              <a:ext cx="4493231" cy="1431076"/>
            </a:xfrm>
            <a:custGeom>
              <a:avLst/>
              <a:gdLst>
                <a:gd name="T0" fmla="*/ 2147483647 w 9048"/>
                <a:gd name="T1" fmla="*/ 2147483647 h 2880"/>
                <a:gd name="T2" fmla="*/ 2147483647 w 9048"/>
                <a:gd name="T3" fmla="*/ 2147483647 h 2880"/>
                <a:gd name="T4" fmla="*/ 2147483647 w 9048"/>
                <a:gd name="T5" fmla="*/ 2147483647 h 2880"/>
                <a:gd name="T6" fmla="*/ 2147483647 w 9048"/>
                <a:gd name="T7" fmla="*/ 2147483647 h 2880"/>
                <a:gd name="T8" fmla="*/ 2147483647 w 9048"/>
                <a:gd name="T9" fmla="*/ 2147483647 h 2880"/>
                <a:gd name="T10" fmla="*/ 2147483647 w 9048"/>
                <a:gd name="T11" fmla="*/ 2147483647 h 2880"/>
                <a:gd name="T12" fmla="*/ 2147483647 w 9048"/>
                <a:gd name="T13" fmla="*/ 2147483647 h 2880"/>
                <a:gd name="T14" fmla="*/ 2147483647 w 9048"/>
                <a:gd name="T15" fmla="*/ 2147483647 h 2880"/>
                <a:gd name="T16" fmla="*/ 2147483647 w 9048"/>
                <a:gd name="T17" fmla="*/ 2147483647 h 2880"/>
                <a:gd name="T18" fmla="*/ 2147483647 w 9048"/>
                <a:gd name="T19" fmla="*/ 2147483647 h 2880"/>
                <a:gd name="T20" fmla="*/ 2147483647 w 9048"/>
                <a:gd name="T21" fmla="*/ 2147483647 h 2880"/>
                <a:gd name="T22" fmla="*/ 2147483647 w 9048"/>
                <a:gd name="T23" fmla="*/ 2147483647 h 2880"/>
                <a:gd name="T24" fmla="*/ 2147483647 w 9048"/>
                <a:gd name="T25" fmla="*/ 2147483647 h 2880"/>
                <a:gd name="T26" fmla="*/ 2147483647 w 9048"/>
                <a:gd name="T27" fmla="*/ 2147483647 h 2880"/>
                <a:gd name="T28" fmla="*/ 2147483647 w 9048"/>
                <a:gd name="T29" fmla="*/ 2147483647 h 2880"/>
                <a:gd name="T30" fmla="*/ 2147483647 w 9048"/>
                <a:gd name="T31" fmla="*/ 2147483647 h 2880"/>
                <a:gd name="T32" fmla="*/ 2147483647 w 9048"/>
                <a:gd name="T33" fmla="*/ 2147483647 h 2880"/>
                <a:gd name="T34" fmla="*/ 2147483647 w 9048"/>
                <a:gd name="T35" fmla="*/ 2147483647 h 2880"/>
                <a:gd name="T36" fmla="*/ 2147483647 w 9048"/>
                <a:gd name="T37" fmla="*/ 2147483647 h 2880"/>
                <a:gd name="T38" fmla="*/ 2147483647 w 9048"/>
                <a:gd name="T39" fmla="*/ 2147483647 h 2880"/>
                <a:gd name="T40" fmla="*/ 2147483647 w 9048"/>
                <a:gd name="T41" fmla="*/ 2147483647 h 2880"/>
                <a:gd name="T42" fmla="*/ 2147483647 w 9048"/>
                <a:gd name="T43" fmla="*/ 2147483647 h 2880"/>
                <a:gd name="T44" fmla="*/ 2147483647 w 9048"/>
                <a:gd name="T45" fmla="*/ 2147483647 h 2880"/>
                <a:gd name="T46" fmla="*/ 2147483647 w 9048"/>
                <a:gd name="T47" fmla="*/ 2147483647 h 2880"/>
                <a:gd name="T48" fmla="*/ 2147483647 w 9048"/>
                <a:gd name="T49" fmla="*/ 2147483647 h 2880"/>
                <a:gd name="T50" fmla="*/ 2147483647 w 9048"/>
                <a:gd name="T51" fmla="*/ 2147483647 h 2880"/>
                <a:gd name="T52" fmla="*/ 2147483647 w 9048"/>
                <a:gd name="T53" fmla="*/ 2147483647 h 2880"/>
                <a:gd name="T54" fmla="*/ 2147483647 w 9048"/>
                <a:gd name="T55" fmla="*/ 2147483647 h 2880"/>
                <a:gd name="T56" fmla="*/ 2147483647 w 9048"/>
                <a:gd name="T57" fmla="*/ 2147483647 h 2880"/>
                <a:gd name="T58" fmla="*/ 2147483647 w 9048"/>
                <a:gd name="T59" fmla="*/ 2147483647 h 2880"/>
                <a:gd name="T60" fmla="*/ 2147483647 w 9048"/>
                <a:gd name="T61" fmla="*/ 2147483647 h 2880"/>
                <a:gd name="T62" fmla="*/ 2147483647 w 9048"/>
                <a:gd name="T63" fmla="*/ 2147483647 h 2880"/>
                <a:gd name="T64" fmla="*/ 2147483647 w 9048"/>
                <a:gd name="T65" fmla="*/ 2147483647 h 2880"/>
                <a:gd name="T66" fmla="*/ 2147483647 w 9048"/>
                <a:gd name="T67" fmla="*/ 2147483647 h 2880"/>
                <a:gd name="T68" fmla="*/ 2147483647 w 9048"/>
                <a:gd name="T69" fmla="*/ 2147483647 h 2880"/>
                <a:gd name="T70" fmla="*/ 2147483647 w 9048"/>
                <a:gd name="T71" fmla="*/ 2147483647 h 2880"/>
                <a:gd name="T72" fmla="*/ 2147483647 w 9048"/>
                <a:gd name="T73" fmla="*/ 2147483647 h 2880"/>
                <a:gd name="T74" fmla="*/ 2147483647 w 9048"/>
                <a:gd name="T75" fmla="*/ 2147483647 h 2880"/>
                <a:gd name="T76" fmla="*/ 2147483647 w 9048"/>
                <a:gd name="T77" fmla="*/ 2147483647 h 2880"/>
                <a:gd name="T78" fmla="*/ 2147483647 w 9048"/>
                <a:gd name="T79" fmla="*/ 2147483647 h 2880"/>
                <a:gd name="T80" fmla="*/ 2147483647 w 9048"/>
                <a:gd name="T81" fmla="*/ 2147483647 h 2880"/>
                <a:gd name="T82" fmla="*/ 2147483647 w 9048"/>
                <a:gd name="T83" fmla="*/ 2147483647 h 2880"/>
                <a:gd name="T84" fmla="*/ 2147483647 w 9048"/>
                <a:gd name="T85" fmla="*/ 2147483647 h 2880"/>
                <a:gd name="T86" fmla="*/ 2147483647 w 9048"/>
                <a:gd name="T87" fmla="*/ 2147483647 h 2880"/>
                <a:gd name="T88" fmla="*/ 2147483647 w 9048"/>
                <a:gd name="T89" fmla="*/ 2147483647 h 2880"/>
                <a:gd name="T90" fmla="*/ 2147483647 w 9048"/>
                <a:gd name="T91" fmla="*/ 2147483647 h 2880"/>
                <a:gd name="T92" fmla="*/ 2147483647 w 9048"/>
                <a:gd name="T93" fmla="*/ 2147483647 h 2880"/>
                <a:gd name="T94" fmla="*/ 2147483647 w 9048"/>
                <a:gd name="T95" fmla="*/ 2147483647 h 2880"/>
                <a:gd name="T96" fmla="*/ 2147483647 w 9048"/>
                <a:gd name="T97" fmla="*/ 2147483647 h 2880"/>
                <a:gd name="T98" fmla="*/ 2147483647 w 9048"/>
                <a:gd name="T99" fmla="*/ 2147483647 h 2880"/>
                <a:gd name="T100" fmla="*/ 2147483647 w 9048"/>
                <a:gd name="T101" fmla="*/ 2147483647 h 2880"/>
                <a:gd name="T102" fmla="*/ 2147483647 w 9048"/>
                <a:gd name="T103" fmla="*/ 2147483647 h 2880"/>
                <a:gd name="T104" fmla="*/ 2147483647 w 9048"/>
                <a:gd name="T105" fmla="*/ 2147483647 h 2880"/>
                <a:gd name="T106" fmla="*/ 2147483647 w 9048"/>
                <a:gd name="T107" fmla="*/ 2147483647 h 2880"/>
                <a:gd name="T108" fmla="*/ 2147483647 w 9048"/>
                <a:gd name="T109" fmla="*/ 2147483647 h 2880"/>
                <a:gd name="T110" fmla="*/ 2147483647 w 9048"/>
                <a:gd name="T111" fmla="*/ 2147483647 h 2880"/>
                <a:gd name="T112" fmla="*/ 2147483647 w 9048"/>
                <a:gd name="T113" fmla="*/ 2147483647 h 2880"/>
                <a:gd name="T114" fmla="*/ 2147483647 w 9048"/>
                <a:gd name="T115" fmla="*/ 2147483647 h 2880"/>
                <a:gd name="T116" fmla="*/ 2147483647 w 9048"/>
                <a:gd name="T117" fmla="*/ 2147483647 h 2880"/>
                <a:gd name="T118" fmla="*/ 2147483647 w 9048"/>
                <a:gd name="T119" fmla="*/ 2147483647 h 2880"/>
                <a:gd name="T120" fmla="*/ 2147483647 w 9048"/>
                <a:gd name="T121" fmla="*/ 2147483647 h 2880"/>
                <a:gd name="T122" fmla="*/ 2147483647 w 9048"/>
                <a:gd name="T123" fmla="*/ 2147483647 h 2880"/>
                <a:gd name="T124" fmla="*/ 2147483647 w 9048"/>
                <a:gd name="T125" fmla="*/ 2147483647 h 288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48"/>
                <a:gd name="T190" fmla="*/ 0 h 2880"/>
                <a:gd name="T191" fmla="*/ 9048 w 9048"/>
                <a:gd name="T192" fmla="*/ 2880 h 288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48" h="2880">
                  <a:moveTo>
                    <a:pt x="2790" y="546"/>
                  </a:moveTo>
                  <a:lnTo>
                    <a:pt x="2760" y="540"/>
                  </a:lnTo>
                  <a:lnTo>
                    <a:pt x="2736" y="558"/>
                  </a:lnTo>
                  <a:lnTo>
                    <a:pt x="2778" y="570"/>
                  </a:lnTo>
                  <a:lnTo>
                    <a:pt x="2790" y="546"/>
                  </a:lnTo>
                  <a:close/>
                  <a:moveTo>
                    <a:pt x="2832" y="522"/>
                  </a:moveTo>
                  <a:lnTo>
                    <a:pt x="2820" y="516"/>
                  </a:lnTo>
                  <a:lnTo>
                    <a:pt x="2814" y="510"/>
                  </a:lnTo>
                  <a:lnTo>
                    <a:pt x="2808" y="510"/>
                  </a:lnTo>
                  <a:lnTo>
                    <a:pt x="2808" y="528"/>
                  </a:lnTo>
                  <a:lnTo>
                    <a:pt x="2820" y="534"/>
                  </a:lnTo>
                  <a:lnTo>
                    <a:pt x="2832" y="534"/>
                  </a:lnTo>
                  <a:lnTo>
                    <a:pt x="2844" y="540"/>
                  </a:lnTo>
                  <a:lnTo>
                    <a:pt x="2850" y="540"/>
                  </a:lnTo>
                  <a:lnTo>
                    <a:pt x="2850" y="534"/>
                  </a:lnTo>
                  <a:lnTo>
                    <a:pt x="2844" y="528"/>
                  </a:lnTo>
                  <a:lnTo>
                    <a:pt x="2832" y="522"/>
                  </a:lnTo>
                  <a:close/>
                  <a:moveTo>
                    <a:pt x="1704" y="18"/>
                  </a:moveTo>
                  <a:lnTo>
                    <a:pt x="1710" y="18"/>
                  </a:lnTo>
                  <a:lnTo>
                    <a:pt x="1716" y="12"/>
                  </a:lnTo>
                  <a:lnTo>
                    <a:pt x="1728" y="6"/>
                  </a:lnTo>
                  <a:lnTo>
                    <a:pt x="1734" y="0"/>
                  </a:lnTo>
                  <a:lnTo>
                    <a:pt x="1644" y="0"/>
                  </a:lnTo>
                  <a:lnTo>
                    <a:pt x="1638" y="12"/>
                  </a:lnTo>
                  <a:lnTo>
                    <a:pt x="1680" y="12"/>
                  </a:lnTo>
                  <a:lnTo>
                    <a:pt x="1686" y="18"/>
                  </a:lnTo>
                  <a:lnTo>
                    <a:pt x="1704" y="18"/>
                  </a:lnTo>
                  <a:close/>
                  <a:moveTo>
                    <a:pt x="1740" y="60"/>
                  </a:moveTo>
                  <a:lnTo>
                    <a:pt x="1746" y="60"/>
                  </a:lnTo>
                  <a:lnTo>
                    <a:pt x="1758" y="48"/>
                  </a:lnTo>
                  <a:lnTo>
                    <a:pt x="1764" y="48"/>
                  </a:lnTo>
                  <a:lnTo>
                    <a:pt x="1770" y="54"/>
                  </a:lnTo>
                  <a:lnTo>
                    <a:pt x="1782" y="54"/>
                  </a:lnTo>
                  <a:lnTo>
                    <a:pt x="1788" y="60"/>
                  </a:lnTo>
                  <a:lnTo>
                    <a:pt x="1800" y="60"/>
                  </a:lnTo>
                  <a:lnTo>
                    <a:pt x="1812" y="48"/>
                  </a:lnTo>
                  <a:lnTo>
                    <a:pt x="1812" y="36"/>
                  </a:lnTo>
                  <a:lnTo>
                    <a:pt x="1806" y="30"/>
                  </a:lnTo>
                  <a:lnTo>
                    <a:pt x="1794" y="24"/>
                  </a:lnTo>
                  <a:lnTo>
                    <a:pt x="1758" y="24"/>
                  </a:lnTo>
                  <a:lnTo>
                    <a:pt x="1710" y="48"/>
                  </a:lnTo>
                  <a:lnTo>
                    <a:pt x="1716" y="54"/>
                  </a:lnTo>
                  <a:lnTo>
                    <a:pt x="1728" y="60"/>
                  </a:lnTo>
                  <a:lnTo>
                    <a:pt x="1740" y="60"/>
                  </a:lnTo>
                  <a:close/>
                  <a:moveTo>
                    <a:pt x="2382" y="510"/>
                  </a:moveTo>
                  <a:lnTo>
                    <a:pt x="2400" y="504"/>
                  </a:lnTo>
                  <a:lnTo>
                    <a:pt x="2412" y="498"/>
                  </a:lnTo>
                  <a:lnTo>
                    <a:pt x="2412" y="486"/>
                  </a:lnTo>
                  <a:lnTo>
                    <a:pt x="2406" y="486"/>
                  </a:lnTo>
                  <a:lnTo>
                    <a:pt x="2400" y="480"/>
                  </a:lnTo>
                  <a:lnTo>
                    <a:pt x="2346" y="480"/>
                  </a:lnTo>
                  <a:lnTo>
                    <a:pt x="2346" y="492"/>
                  </a:lnTo>
                  <a:lnTo>
                    <a:pt x="2358" y="504"/>
                  </a:lnTo>
                  <a:lnTo>
                    <a:pt x="2370" y="510"/>
                  </a:lnTo>
                  <a:lnTo>
                    <a:pt x="2382" y="510"/>
                  </a:lnTo>
                  <a:close/>
                  <a:moveTo>
                    <a:pt x="1590" y="30"/>
                  </a:moveTo>
                  <a:lnTo>
                    <a:pt x="1548" y="24"/>
                  </a:lnTo>
                  <a:lnTo>
                    <a:pt x="1554" y="36"/>
                  </a:lnTo>
                  <a:lnTo>
                    <a:pt x="1590" y="30"/>
                  </a:lnTo>
                  <a:close/>
                  <a:moveTo>
                    <a:pt x="1890" y="696"/>
                  </a:moveTo>
                  <a:lnTo>
                    <a:pt x="1896" y="708"/>
                  </a:lnTo>
                  <a:lnTo>
                    <a:pt x="1920" y="720"/>
                  </a:lnTo>
                  <a:lnTo>
                    <a:pt x="1950" y="738"/>
                  </a:lnTo>
                  <a:lnTo>
                    <a:pt x="1974" y="744"/>
                  </a:lnTo>
                  <a:lnTo>
                    <a:pt x="1992" y="738"/>
                  </a:lnTo>
                  <a:lnTo>
                    <a:pt x="1980" y="720"/>
                  </a:lnTo>
                  <a:lnTo>
                    <a:pt x="1950" y="702"/>
                  </a:lnTo>
                  <a:lnTo>
                    <a:pt x="1914" y="696"/>
                  </a:lnTo>
                  <a:lnTo>
                    <a:pt x="1890" y="696"/>
                  </a:lnTo>
                  <a:close/>
                  <a:moveTo>
                    <a:pt x="3108" y="126"/>
                  </a:moveTo>
                  <a:lnTo>
                    <a:pt x="3120" y="108"/>
                  </a:lnTo>
                  <a:lnTo>
                    <a:pt x="3030" y="108"/>
                  </a:lnTo>
                  <a:lnTo>
                    <a:pt x="3108" y="126"/>
                  </a:lnTo>
                  <a:close/>
                  <a:moveTo>
                    <a:pt x="1560" y="102"/>
                  </a:moveTo>
                  <a:lnTo>
                    <a:pt x="1632" y="102"/>
                  </a:lnTo>
                  <a:lnTo>
                    <a:pt x="1608" y="84"/>
                  </a:lnTo>
                  <a:lnTo>
                    <a:pt x="1560" y="102"/>
                  </a:lnTo>
                  <a:close/>
                  <a:moveTo>
                    <a:pt x="1572" y="60"/>
                  </a:moveTo>
                  <a:lnTo>
                    <a:pt x="1584" y="66"/>
                  </a:lnTo>
                  <a:lnTo>
                    <a:pt x="1596" y="78"/>
                  </a:lnTo>
                  <a:lnTo>
                    <a:pt x="1620" y="66"/>
                  </a:lnTo>
                  <a:lnTo>
                    <a:pt x="1620" y="72"/>
                  </a:lnTo>
                  <a:lnTo>
                    <a:pt x="1644" y="72"/>
                  </a:lnTo>
                  <a:lnTo>
                    <a:pt x="1668" y="60"/>
                  </a:lnTo>
                  <a:lnTo>
                    <a:pt x="1674" y="54"/>
                  </a:lnTo>
                  <a:lnTo>
                    <a:pt x="1680" y="54"/>
                  </a:lnTo>
                  <a:lnTo>
                    <a:pt x="1626" y="48"/>
                  </a:lnTo>
                  <a:lnTo>
                    <a:pt x="1614" y="54"/>
                  </a:lnTo>
                  <a:lnTo>
                    <a:pt x="1608" y="54"/>
                  </a:lnTo>
                  <a:lnTo>
                    <a:pt x="1602" y="48"/>
                  </a:lnTo>
                  <a:lnTo>
                    <a:pt x="1584" y="48"/>
                  </a:lnTo>
                  <a:lnTo>
                    <a:pt x="1572" y="60"/>
                  </a:lnTo>
                  <a:close/>
                  <a:moveTo>
                    <a:pt x="1662" y="36"/>
                  </a:moveTo>
                  <a:lnTo>
                    <a:pt x="1602" y="36"/>
                  </a:lnTo>
                  <a:lnTo>
                    <a:pt x="1650" y="48"/>
                  </a:lnTo>
                  <a:lnTo>
                    <a:pt x="1662" y="36"/>
                  </a:lnTo>
                  <a:close/>
                  <a:moveTo>
                    <a:pt x="1542" y="522"/>
                  </a:moveTo>
                  <a:lnTo>
                    <a:pt x="1500" y="528"/>
                  </a:lnTo>
                  <a:lnTo>
                    <a:pt x="1512" y="552"/>
                  </a:lnTo>
                  <a:lnTo>
                    <a:pt x="1542" y="534"/>
                  </a:lnTo>
                  <a:lnTo>
                    <a:pt x="1524" y="558"/>
                  </a:lnTo>
                  <a:lnTo>
                    <a:pt x="1518" y="558"/>
                  </a:lnTo>
                  <a:lnTo>
                    <a:pt x="1512" y="564"/>
                  </a:lnTo>
                  <a:lnTo>
                    <a:pt x="1506" y="564"/>
                  </a:lnTo>
                  <a:lnTo>
                    <a:pt x="1494" y="570"/>
                  </a:lnTo>
                  <a:lnTo>
                    <a:pt x="1488" y="576"/>
                  </a:lnTo>
                  <a:lnTo>
                    <a:pt x="1488" y="582"/>
                  </a:lnTo>
                  <a:lnTo>
                    <a:pt x="1500" y="594"/>
                  </a:lnTo>
                  <a:lnTo>
                    <a:pt x="1524" y="606"/>
                  </a:lnTo>
                  <a:lnTo>
                    <a:pt x="1566" y="606"/>
                  </a:lnTo>
                  <a:lnTo>
                    <a:pt x="1590" y="612"/>
                  </a:lnTo>
                  <a:lnTo>
                    <a:pt x="1608" y="618"/>
                  </a:lnTo>
                  <a:lnTo>
                    <a:pt x="1614" y="624"/>
                  </a:lnTo>
                  <a:lnTo>
                    <a:pt x="1620" y="636"/>
                  </a:lnTo>
                  <a:lnTo>
                    <a:pt x="1620" y="648"/>
                  </a:lnTo>
                  <a:lnTo>
                    <a:pt x="1626" y="654"/>
                  </a:lnTo>
                  <a:lnTo>
                    <a:pt x="1626" y="660"/>
                  </a:lnTo>
                  <a:lnTo>
                    <a:pt x="1644" y="660"/>
                  </a:lnTo>
                  <a:lnTo>
                    <a:pt x="1662" y="666"/>
                  </a:lnTo>
                  <a:lnTo>
                    <a:pt x="1674" y="666"/>
                  </a:lnTo>
                  <a:lnTo>
                    <a:pt x="1692" y="672"/>
                  </a:lnTo>
                  <a:lnTo>
                    <a:pt x="1704" y="672"/>
                  </a:lnTo>
                  <a:lnTo>
                    <a:pt x="1818" y="666"/>
                  </a:lnTo>
                  <a:lnTo>
                    <a:pt x="1806" y="666"/>
                  </a:lnTo>
                  <a:lnTo>
                    <a:pt x="1734" y="642"/>
                  </a:lnTo>
                  <a:lnTo>
                    <a:pt x="1704" y="618"/>
                  </a:lnTo>
                  <a:lnTo>
                    <a:pt x="1692" y="600"/>
                  </a:lnTo>
                  <a:lnTo>
                    <a:pt x="1686" y="588"/>
                  </a:lnTo>
                  <a:lnTo>
                    <a:pt x="1674" y="582"/>
                  </a:lnTo>
                  <a:lnTo>
                    <a:pt x="1674" y="570"/>
                  </a:lnTo>
                  <a:lnTo>
                    <a:pt x="1668" y="564"/>
                  </a:lnTo>
                  <a:lnTo>
                    <a:pt x="1692" y="516"/>
                  </a:lnTo>
                  <a:lnTo>
                    <a:pt x="1686" y="510"/>
                  </a:lnTo>
                  <a:lnTo>
                    <a:pt x="1686" y="504"/>
                  </a:lnTo>
                  <a:lnTo>
                    <a:pt x="1674" y="504"/>
                  </a:lnTo>
                  <a:lnTo>
                    <a:pt x="1710" y="498"/>
                  </a:lnTo>
                  <a:lnTo>
                    <a:pt x="1698" y="480"/>
                  </a:lnTo>
                  <a:lnTo>
                    <a:pt x="1734" y="480"/>
                  </a:lnTo>
                  <a:lnTo>
                    <a:pt x="1710" y="468"/>
                  </a:lnTo>
                  <a:lnTo>
                    <a:pt x="1734" y="474"/>
                  </a:lnTo>
                  <a:lnTo>
                    <a:pt x="1740" y="462"/>
                  </a:lnTo>
                  <a:lnTo>
                    <a:pt x="1722" y="450"/>
                  </a:lnTo>
                  <a:lnTo>
                    <a:pt x="1764" y="450"/>
                  </a:lnTo>
                  <a:lnTo>
                    <a:pt x="1770" y="444"/>
                  </a:lnTo>
                  <a:lnTo>
                    <a:pt x="1752" y="426"/>
                  </a:lnTo>
                  <a:lnTo>
                    <a:pt x="1782" y="432"/>
                  </a:lnTo>
                  <a:lnTo>
                    <a:pt x="1782" y="402"/>
                  </a:lnTo>
                  <a:lnTo>
                    <a:pt x="1788" y="408"/>
                  </a:lnTo>
                  <a:lnTo>
                    <a:pt x="1800" y="414"/>
                  </a:lnTo>
                  <a:lnTo>
                    <a:pt x="1812" y="414"/>
                  </a:lnTo>
                  <a:lnTo>
                    <a:pt x="1830" y="408"/>
                  </a:lnTo>
                  <a:lnTo>
                    <a:pt x="1842" y="402"/>
                  </a:lnTo>
                  <a:lnTo>
                    <a:pt x="1860" y="390"/>
                  </a:lnTo>
                  <a:lnTo>
                    <a:pt x="1878" y="372"/>
                  </a:lnTo>
                  <a:lnTo>
                    <a:pt x="1896" y="372"/>
                  </a:lnTo>
                  <a:lnTo>
                    <a:pt x="1938" y="366"/>
                  </a:lnTo>
                  <a:lnTo>
                    <a:pt x="1992" y="354"/>
                  </a:lnTo>
                  <a:lnTo>
                    <a:pt x="2046" y="348"/>
                  </a:lnTo>
                  <a:lnTo>
                    <a:pt x="2094" y="336"/>
                  </a:lnTo>
                  <a:lnTo>
                    <a:pt x="2124" y="330"/>
                  </a:lnTo>
                  <a:lnTo>
                    <a:pt x="2136" y="324"/>
                  </a:lnTo>
                  <a:lnTo>
                    <a:pt x="2154" y="318"/>
                  </a:lnTo>
                  <a:lnTo>
                    <a:pt x="2160" y="312"/>
                  </a:lnTo>
                  <a:lnTo>
                    <a:pt x="2166" y="300"/>
                  </a:lnTo>
                  <a:lnTo>
                    <a:pt x="2166" y="294"/>
                  </a:lnTo>
                  <a:lnTo>
                    <a:pt x="2154" y="282"/>
                  </a:lnTo>
                  <a:lnTo>
                    <a:pt x="2136" y="276"/>
                  </a:lnTo>
                  <a:lnTo>
                    <a:pt x="2088" y="270"/>
                  </a:lnTo>
                  <a:lnTo>
                    <a:pt x="2046" y="276"/>
                  </a:lnTo>
                  <a:lnTo>
                    <a:pt x="2016" y="288"/>
                  </a:lnTo>
                  <a:lnTo>
                    <a:pt x="1980" y="300"/>
                  </a:lnTo>
                  <a:lnTo>
                    <a:pt x="1938" y="318"/>
                  </a:lnTo>
                  <a:lnTo>
                    <a:pt x="1860" y="318"/>
                  </a:lnTo>
                  <a:lnTo>
                    <a:pt x="1842" y="312"/>
                  </a:lnTo>
                  <a:lnTo>
                    <a:pt x="1824" y="312"/>
                  </a:lnTo>
                  <a:lnTo>
                    <a:pt x="1806" y="336"/>
                  </a:lnTo>
                  <a:lnTo>
                    <a:pt x="1782" y="318"/>
                  </a:lnTo>
                  <a:lnTo>
                    <a:pt x="1728" y="342"/>
                  </a:lnTo>
                  <a:lnTo>
                    <a:pt x="1698" y="342"/>
                  </a:lnTo>
                  <a:lnTo>
                    <a:pt x="1668" y="366"/>
                  </a:lnTo>
                  <a:lnTo>
                    <a:pt x="1692" y="372"/>
                  </a:lnTo>
                  <a:lnTo>
                    <a:pt x="1644" y="372"/>
                  </a:lnTo>
                  <a:lnTo>
                    <a:pt x="1614" y="378"/>
                  </a:lnTo>
                  <a:lnTo>
                    <a:pt x="1614" y="396"/>
                  </a:lnTo>
                  <a:lnTo>
                    <a:pt x="1638" y="378"/>
                  </a:lnTo>
                  <a:lnTo>
                    <a:pt x="1644" y="396"/>
                  </a:lnTo>
                  <a:lnTo>
                    <a:pt x="1668" y="396"/>
                  </a:lnTo>
                  <a:lnTo>
                    <a:pt x="1662" y="408"/>
                  </a:lnTo>
                  <a:lnTo>
                    <a:pt x="1620" y="408"/>
                  </a:lnTo>
                  <a:lnTo>
                    <a:pt x="1614" y="420"/>
                  </a:lnTo>
                  <a:lnTo>
                    <a:pt x="1644" y="426"/>
                  </a:lnTo>
                  <a:lnTo>
                    <a:pt x="1596" y="432"/>
                  </a:lnTo>
                  <a:lnTo>
                    <a:pt x="1632" y="438"/>
                  </a:lnTo>
                  <a:lnTo>
                    <a:pt x="1584" y="444"/>
                  </a:lnTo>
                  <a:lnTo>
                    <a:pt x="1584" y="462"/>
                  </a:lnTo>
                  <a:lnTo>
                    <a:pt x="1554" y="474"/>
                  </a:lnTo>
                  <a:lnTo>
                    <a:pt x="1560" y="486"/>
                  </a:lnTo>
                  <a:lnTo>
                    <a:pt x="1602" y="468"/>
                  </a:lnTo>
                  <a:lnTo>
                    <a:pt x="1590" y="498"/>
                  </a:lnTo>
                  <a:lnTo>
                    <a:pt x="1554" y="498"/>
                  </a:lnTo>
                  <a:lnTo>
                    <a:pt x="1542" y="504"/>
                  </a:lnTo>
                  <a:lnTo>
                    <a:pt x="1542" y="522"/>
                  </a:lnTo>
                  <a:close/>
                  <a:moveTo>
                    <a:pt x="5778" y="498"/>
                  </a:moveTo>
                  <a:lnTo>
                    <a:pt x="5850" y="486"/>
                  </a:lnTo>
                  <a:lnTo>
                    <a:pt x="5958" y="504"/>
                  </a:lnTo>
                  <a:lnTo>
                    <a:pt x="5952" y="492"/>
                  </a:lnTo>
                  <a:lnTo>
                    <a:pt x="5940" y="486"/>
                  </a:lnTo>
                  <a:lnTo>
                    <a:pt x="5928" y="474"/>
                  </a:lnTo>
                  <a:lnTo>
                    <a:pt x="5904" y="462"/>
                  </a:lnTo>
                  <a:lnTo>
                    <a:pt x="5844" y="462"/>
                  </a:lnTo>
                  <a:lnTo>
                    <a:pt x="5808" y="468"/>
                  </a:lnTo>
                  <a:lnTo>
                    <a:pt x="5796" y="468"/>
                  </a:lnTo>
                  <a:lnTo>
                    <a:pt x="5778" y="498"/>
                  </a:lnTo>
                  <a:close/>
                  <a:moveTo>
                    <a:pt x="5784" y="378"/>
                  </a:moveTo>
                  <a:lnTo>
                    <a:pt x="5838" y="384"/>
                  </a:lnTo>
                  <a:lnTo>
                    <a:pt x="5844" y="378"/>
                  </a:lnTo>
                  <a:lnTo>
                    <a:pt x="5850" y="366"/>
                  </a:lnTo>
                  <a:lnTo>
                    <a:pt x="5838" y="354"/>
                  </a:lnTo>
                  <a:lnTo>
                    <a:pt x="5802" y="354"/>
                  </a:lnTo>
                  <a:lnTo>
                    <a:pt x="5742" y="342"/>
                  </a:lnTo>
                  <a:lnTo>
                    <a:pt x="5724" y="342"/>
                  </a:lnTo>
                  <a:lnTo>
                    <a:pt x="5718" y="348"/>
                  </a:lnTo>
                  <a:lnTo>
                    <a:pt x="5730" y="354"/>
                  </a:lnTo>
                  <a:lnTo>
                    <a:pt x="5742" y="366"/>
                  </a:lnTo>
                  <a:lnTo>
                    <a:pt x="5754" y="372"/>
                  </a:lnTo>
                  <a:lnTo>
                    <a:pt x="5772" y="372"/>
                  </a:lnTo>
                  <a:lnTo>
                    <a:pt x="5778" y="378"/>
                  </a:lnTo>
                  <a:lnTo>
                    <a:pt x="5784" y="378"/>
                  </a:lnTo>
                  <a:close/>
                  <a:moveTo>
                    <a:pt x="5724" y="432"/>
                  </a:moveTo>
                  <a:lnTo>
                    <a:pt x="5712" y="444"/>
                  </a:lnTo>
                  <a:lnTo>
                    <a:pt x="5712" y="456"/>
                  </a:lnTo>
                  <a:lnTo>
                    <a:pt x="5724" y="462"/>
                  </a:lnTo>
                  <a:lnTo>
                    <a:pt x="5772" y="462"/>
                  </a:lnTo>
                  <a:lnTo>
                    <a:pt x="5778" y="456"/>
                  </a:lnTo>
                  <a:lnTo>
                    <a:pt x="5778" y="450"/>
                  </a:lnTo>
                  <a:lnTo>
                    <a:pt x="5766" y="438"/>
                  </a:lnTo>
                  <a:lnTo>
                    <a:pt x="5742" y="426"/>
                  </a:lnTo>
                  <a:lnTo>
                    <a:pt x="5730" y="426"/>
                  </a:lnTo>
                  <a:lnTo>
                    <a:pt x="5724" y="432"/>
                  </a:lnTo>
                  <a:close/>
                  <a:moveTo>
                    <a:pt x="3072" y="96"/>
                  </a:moveTo>
                  <a:lnTo>
                    <a:pt x="3192" y="96"/>
                  </a:lnTo>
                  <a:lnTo>
                    <a:pt x="3204" y="90"/>
                  </a:lnTo>
                  <a:lnTo>
                    <a:pt x="3228" y="90"/>
                  </a:lnTo>
                  <a:lnTo>
                    <a:pt x="3240" y="84"/>
                  </a:lnTo>
                  <a:lnTo>
                    <a:pt x="3240" y="72"/>
                  </a:lnTo>
                  <a:lnTo>
                    <a:pt x="3222" y="60"/>
                  </a:lnTo>
                  <a:lnTo>
                    <a:pt x="3192" y="42"/>
                  </a:lnTo>
                  <a:lnTo>
                    <a:pt x="3156" y="30"/>
                  </a:lnTo>
                  <a:lnTo>
                    <a:pt x="3132" y="24"/>
                  </a:lnTo>
                  <a:lnTo>
                    <a:pt x="3120" y="18"/>
                  </a:lnTo>
                  <a:lnTo>
                    <a:pt x="3108" y="18"/>
                  </a:lnTo>
                  <a:lnTo>
                    <a:pt x="3096" y="12"/>
                  </a:lnTo>
                  <a:lnTo>
                    <a:pt x="3060" y="12"/>
                  </a:lnTo>
                  <a:lnTo>
                    <a:pt x="3048" y="18"/>
                  </a:lnTo>
                  <a:lnTo>
                    <a:pt x="3036" y="18"/>
                  </a:lnTo>
                  <a:lnTo>
                    <a:pt x="3030" y="30"/>
                  </a:lnTo>
                  <a:lnTo>
                    <a:pt x="3030" y="42"/>
                  </a:lnTo>
                  <a:lnTo>
                    <a:pt x="3036" y="54"/>
                  </a:lnTo>
                  <a:lnTo>
                    <a:pt x="3048" y="66"/>
                  </a:lnTo>
                  <a:lnTo>
                    <a:pt x="3054" y="78"/>
                  </a:lnTo>
                  <a:lnTo>
                    <a:pt x="3072" y="96"/>
                  </a:lnTo>
                  <a:close/>
                  <a:moveTo>
                    <a:pt x="6138" y="408"/>
                  </a:moveTo>
                  <a:lnTo>
                    <a:pt x="6144" y="402"/>
                  </a:lnTo>
                  <a:lnTo>
                    <a:pt x="6132" y="396"/>
                  </a:lnTo>
                  <a:lnTo>
                    <a:pt x="6102" y="390"/>
                  </a:lnTo>
                  <a:lnTo>
                    <a:pt x="6036" y="390"/>
                  </a:lnTo>
                  <a:lnTo>
                    <a:pt x="6012" y="366"/>
                  </a:lnTo>
                  <a:lnTo>
                    <a:pt x="6000" y="360"/>
                  </a:lnTo>
                  <a:lnTo>
                    <a:pt x="5970" y="360"/>
                  </a:lnTo>
                  <a:lnTo>
                    <a:pt x="5958" y="366"/>
                  </a:lnTo>
                  <a:lnTo>
                    <a:pt x="5910" y="366"/>
                  </a:lnTo>
                  <a:lnTo>
                    <a:pt x="5946" y="390"/>
                  </a:lnTo>
                  <a:lnTo>
                    <a:pt x="5964" y="396"/>
                  </a:lnTo>
                  <a:lnTo>
                    <a:pt x="6000" y="402"/>
                  </a:lnTo>
                  <a:lnTo>
                    <a:pt x="6054" y="414"/>
                  </a:lnTo>
                  <a:lnTo>
                    <a:pt x="6102" y="414"/>
                  </a:lnTo>
                  <a:lnTo>
                    <a:pt x="6138" y="408"/>
                  </a:lnTo>
                  <a:close/>
                  <a:moveTo>
                    <a:pt x="7602" y="744"/>
                  </a:moveTo>
                  <a:lnTo>
                    <a:pt x="7596" y="732"/>
                  </a:lnTo>
                  <a:lnTo>
                    <a:pt x="7572" y="726"/>
                  </a:lnTo>
                  <a:lnTo>
                    <a:pt x="7512" y="714"/>
                  </a:lnTo>
                  <a:lnTo>
                    <a:pt x="7500" y="714"/>
                  </a:lnTo>
                  <a:lnTo>
                    <a:pt x="7512" y="726"/>
                  </a:lnTo>
                  <a:lnTo>
                    <a:pt x="7548" y="738"/>
                  </a:lnTo>
                  <a:lnTo>
                    <a:pt x="7584" y="744"/>
                  </a:lnTo>
                  <a:lnTo>
                    <a:pt x="7602" y="744"/>
                  </a:lnTo>
                  <a:close/>
                  <a:moveTo>
                    <a:pt x="3162" y="120"/>
                  </a:moveTo>
                  <a:lnTo>
                    <a:pt x="3216" y="138"/>
                  </a:lnTo>
                  <a:lnTo>
                    <a:pt x="3246" y="144"/>
                  </a:lnTo>
                  <a:lnTo>
                    <a:pt x="3264" y="144"/>
                  </a:lnTo>
                  <a:lnTo>
                    <a:pt x="3312" y="138"/>
                  </a:lnTo>
                  <a:lnTo>
                    <a:pt x="3372" y="156"/>
                  </a:lnTo>
                  <a:lnTo>
                    <a:pt x="3432" y="156"/>
                  </a:lnTo>
                  <a:lnTo>
                    <a:pt x="3426" y="138"/>
                  </a:lnTo>
                  <a:lnTo>
                    <a:pt x="3402" y="102"/>
                  </a:lnTo>
                  <a:lnTo>
                    <a:pt x="3384" y="96"/>
                  </a:lnTo>
                  <a:lnTo>
                    <a:pt x="3372" y="90"/>
                  </a:lnTo>
                  <a:lnTo>
                    <a:pt x="3354" y="96"/>
                  </a:lnTo>
                  <a:lnTo>
                    <a:pt x="3318" y="114"/>
                  </a:lnTo>
                  <a:lnTo>
                    <a:pt x="3294" y="90"/>
                  </a:lnTo>
                  <a:lnTo>
                    <a:pt x="3282" y="90"/>
                  </a:lnTo>
                  <a:lnTo>
                    <a:pt x="3210" y="102"/>
                  </a:lnTo>
                  <a:lnTo>
                    <a:pt x="3174" y="114"/>
                  </a:lnTo>
                  <a:lnTo>
                    <a:pt x="3162" y="120"/>
                  </a:lnTo>
                  <a:close/>
                  <a:moveTo>
                    <a:pt x="3582" y="198"/>
                  </a:moveTo>
                  <a:lnTo>
                    <a:pt x="3744" y="192"/>
                  </a:lnTo>
                  <a:lnTo>
                    <a:pt x="3702" y="168"/>
                  </a:lnTo>
                  <a:lnTo>
                    <a:pt x="3696" y="168"/>
                  </a:lnTo>
                  <a:lnTo>
                    <a:pt x="3690" y="162"/>
                  </a:lnTo>
                  <a:lnTo>
                    <a:pt x="3666" y="150"/>
                  </a:lnTo>
                  <a:lnTo>
                    <a:pt x="3648" y="144"/>
                  </a:lnTo>
                  <a:lnTo>
                    <a:pt x="3636" y="138"/>
                  </a:lnTo>
                  <a:lnTo>
                    <a:pt x="3618" y="138"/>
                  </a:lnTo>
                  <a:lnTo>
                    <a:pt x="3606" y="144"/>
                  </a:lnTo>
                  <a:lnTo>
                    <a:pt x="3600" y="150"/>
                  </a:lnTo>
                  <a:lnTo>
                    <a:pt x="3588" y="156"/>
                  </a:lnTo>
                  <a:lnTo>
                    <a:pt x="3588" y="150"/>
                  </a:lnTo>
                  <a:lnTo>
                    <a:pt x="3582" y="144"/>
                  </a:lnTo>
                  <a:lnTo>
                    <a:pt x="3576" y="132"/>
                  </a:lnTo>
                  <a:lnTo>
                    <a:pt x="3570" y="126"/>
                  </a:lnTo>
                  <a:lnTo>
                    <a:pt x="3546" y="114"/>
                  </a:lnTo>
                  <a:lnTo>
                    <a:pt x="3522" y="126"/>
                  </a:lnTo>
                  <a:lnTo>
                    <a:pt x="3504" y="162"/>
                  </a:lnTo>
                  <a:lnTo>
                    <a:pt x="3498" y="192"/>
                  </a:lnTo>
                  <a:lnTo>
                    <a:pt x="3492" y="210"/>
                  </a:lnTo>
                  <a:lnTo>
                    <a:pt x="3516" y="222"/>
                  </a:lnTo>
                  <a:lnTo>
                    <a:pt x="3534" y="216"/>
                  </a:lnTo>
                  <a:lnTo>
                    <a:pt x="3546" y="216"/>
                  </a:lnTo>
                  <a:lnTo>
                    <a:pt x="3582" y="198"/>
                  </a:lnTo>
                  <a:close/>
                  <a:moveTo>
                    <a:pt x="5622" y="420"/>
                  </a:moveTo>
                  <a:lnTo>
                    <a:pt x="5640" y="390"/>
                  </a:lnTo>
                  <a:lnTo>
                    <a:pt x="5754" y="390"/>
                  </a:lnTo>
                  <a:lnTo>
                    <a:pt x="5688" y="360"/>
                  </a:lnTo>
                  <a:lnTo>
                    <a:pt x="5700" y="336"/>
                  </a:lnTo>
                  <a:lnTo>
                    <a:pt x="5610" y="318"/>
                  </a:lnTo>
                  <a:lnTo>
                    <a:pt x="5628" y="348"/>
                  </a:lnTo>
                  <a:lnTo>
                    <a:pt x="5616" y="342"/>
                  </a:lnTo>
                  <a:lnTo>
                    <a:pt x="5592" y="336"/>
                  </a:lnTo>
                  <a:lnTo>
                    <a:pt x="5556" y="330"/>
                  </a:lnTo>
                  <a:lnTo>
                    <a:pt x="5514" y="318"/>
                  </a:lnTo>
                  <a:lnTo>
                    <a:pt x="5454" y="318"/>
                  </a:lnTo>
                  <a:lnTo>
                    <a:pt x="5448" y="330"/>
                  </a:lnTo>
                  <a:lnTo>
                    <a:pt x="5460" y="354"/>
                  </a:lnTo>
                  <a:lnTo>
                    <a:pt x="5496" y="372"/>
                  </a:lnTo>
                  <a:lnTo>
                    <a:pt x="5538" y="390"/>
                  </a:lnTo>
                  <a:lnTo>
                    <a:pt x="5574" y="408"/>
                  </a:lnTo>
                  <a:lnTo>
                    <a:pt x="5610" y="414"/>
                  </a:lnTo>
                  <a:lnTo>
                    <a:pt x="5622" y="420"/>
                  </a:lnTo>
                  <a:close/>
                  <a:moveTo>
                    <a:pt x="4320" y="432"/>
                  </a:moveTo>
                  <a:lnTo>
                    <a:pt x="4368" y="444"/>
                  </a:lnTo>
                  <a:lnTo>
                    <a:pt x="4380" y="444"/>
                  </a:lnTo>
                  <a:lnTo>
                    <a:pt x="4392" y="438"/>
                  </a:lnTo>
                  <a:lnTo>
                    <a:pt x="4398" y="438"/>
                  </a:lnTo>
                  <a:lnTo>
                    <a:pt x="4404" y="432"/>
                  </a:lnTo>
                  <a:lnTo>
                    <a:pt x="4404" y="426"/>
                  </a:lnTo>
                  <a:lnTo>
                    <a:pt x="4398" y="426"/>
                  </a:lnTo>
                  <a:lnTo>
                    <a:pt x="4362" y="414"/>
                  </a:lnTo>
                  <a:lnTo>
                    <a:pt x="4344" y="420"/>
                  </a:lnTo>
                  <a:lnTo>
                    <a:pt x="4332" y="420"/>
                  </a:lnTo>
                  <a:lnTo>
                    <a:pt x="4320" y="432"/>
                  </a:lnTo>
                  <a:close/>
                  <a:moveTo>
                    <a:pt x="5424" y="354"/>
                  </a:moveTo>
                  <a:lnTo>
                    <a:pt x="5370" y="336"/>
                  </a:lnTo>
                  <a:lnTo>
                    <a:pt x="5394" y="366"/>
                  </a:lnTo>
                  <a:lnTo>
                    <a:pt x="5424" y="354"/>
                  </a:lnTo>
                  <a:close/>
                  <a:moveTo>
                    <a:pt x="7986" y="666"/>
                  </a:moveTo>
                  <a:lnTo>
                    <a:pt x="8034" y="654"/>
                  </a:lnTo>
                  <a:lnTo>
                    <a:pt x="8088" y="654"/>
                  </a:lnTo>
                  <a:lnTo>
                    <a:pt x="8100" y="648"/>
                  </a:lnTo>
                  <a:lnTo>
                    <a:pt x="8106" y="642"/>
                  </a:lnTo>
                  <a:lnTo>
                    <a:pt x="8106" y="636"/>
                  </a:lnTo>
                  <a:lnTo>
                    <a:pt x="8100" y="630"/>
                  </a:lnTo>
                  <a:lnTo>
                    <a:pt x="8088" y="630"/>
                  </a:lnTo>
                  <a:lnTo>
                    <a:pt x="8052" y="618"/>
                  </a:lnTo>
                  <a:lnTo>
                    <a:pt x="8028" y="612"/>
                  </a:lnTo>
                  <a:lnTo>
                    <a:pt x="8010" y="606"/>
                  </a:lnTo>
                  <a:lnTo>
                    <a:pt x="7968" y="606"/>
                  </a:lnTo>
                  <a:lnTo>
                    <a:pt x="7944" y="618"/>
                  </a:lnTo>
                  <a:lnTo>
                    <a:pt x="7938" y="630"/>
                  </a:lnTo>
                  <a:lnTo>
                    <a:pt x="7938" y="654"/>
                  </a:lnTo>
                  <a:lnTo>
                    <a:pt x="7944" y="666"/>
                  </a:lnTo>
                  <a:lnTo>
                    <a:pt x="7950" y="666"/>
                  </a:lnTo>
                  <a:lnTo>
                    <a:pt x="7962" y="672"/>
                  </a:lnTo>
                  <a:lnTo>
                    <a:pt x="7968" y="672"/>
                  </a:lnTo>
                  <a:lnTo>
                    <a:pt x="7980" y="666"/>
                  </a:lnTo>
                  <a:lnTo>
                    <a:pt x="7986" y="666"/>
                  </a:lnTo>
                  <a:close/>
                  <a:moveTo>
                    <a:pt x="162" y="1788"/>
                  </a:moveTo>
                  <a:lnTo>
                    <a:pt x="150" y="1788"/>
                  </a:lnTo>
                  <a:lnTo>
                    <a:pt x="138" y="1794"/>
                  </a:lnTo>
                  <a:lnTo>
                    <a:pt x="114" y="1794"/>
                  </a:lnTo>
                  <a:lnTo>
                    <a:pt x="108" y="1788"/>
                  </a:lnTo>
                  <a:lnTo>
                    <a:pt x="96" y="1788"/>
                  </a:lnTo>
                  <a:lnTo>
                    <a:pt x="96" y="1782"/>
                  </a:lnTo>
                  <a:lnTo>
                    <a:pt x="84" y="1782"/>
                  </a:lnTo>
                  <a:lnTo>
                    <a:pt x="84" y="1788"/>
                  </a:lnTo>
                  <a:lnTo>
                    <a:pt x="72" y="1800"/>
                  </a:lnTo>
                  <a:lnTo>
                    <a:pt x="12" y="1800"/>
                  </a:lnTo>
                  <a:lnTo>
                    <a:pt x="0" y="1812"/>
                  </a:lnTo>
                  <a:lnTo>
                    <a:pt x="0" y="1818"/>
                  </a:lnTo>
                  <a:lnTo>
                    <a:pt x="12" y="1830"/>
                  </a:lnTo>
                  <a:lnTo>
                    <a:pt x="6" y="1842"/>
                  </a:lnTo>
                  <a:lnTo>
                    <a:pt x="12" y="1848"/>
                  </a:lnTo>
                  <a:lnTo>
                    <a:pt x="18" y="1848"/>
                  </a:lnTo>
                  <a:lnTo>
                    <a:pt x="24" y="1842"/>
                  </a:lnTo>
                  <a:lnTo>
                    <a:pt x="48" y="1842"/>
                  </a:lnTo>
                  <a:lnTo>
                    <a:pt x="54" y="1848"/>
                  </a:lnTo>
                  <a:lnTo>
                    <a:pt x="66" y="1848"/>
                  </a:lnTo>
                  <a:lnTo>
                    <a:pt x="72" y="1854"/>
                  </a:lnTo>
                  <a:lnTo>
                    <a:pt x="162" y="1854"/>
                  </a:lnTo>
                  <a:lnTo>
                    <a:pt x="162" y="1848"/>
                  </a:lnTo>
                  <a:lnTo>
                    <a:pt x="168" y="1848"/>
                  </a:lnTo>
                  <a:lnTo>
                    <a:pt x="162" y="1830"/>
                  </a:lnTo>
                  <a:lnTo>
                    <a:pt x="174" y="1818"/>
                  </a:lnTo>
                  <a:lnTo>
                    <a:pt x="174" y="1800"/>
                  </a:lnTo>
                  <a:lnTo>
                    <a:pt x="168" y="1788"/>
                  </a:lnTo>
                  <a:lnTo>
                    <a:pt x="162" y="1788"/>
                  </a:lnTo>
                  <a:close/>
                  <a:moveTo>
                    <a:pt x="1038" y="90"/>
                  </a:moveTo>
                  <a:lnTo>
                    <a:pt x="1062" y="72"/>
                  </a:lnTo>
                  <a:lnTo>
                    <a:pt x="1032" y="72"/>
                  </a:lnTo>
                  <a:lnTo>
                    <a:pt x="1032" y="84"/>
                  </a:lnTo>
                  <a:lnTo>
                    <a:pt x="1038" y="90"/>
                  </a:lnTo>
                  <a:close/>
                  <a:moveTo>
                    <a:pt x="990" y="72"/>
                  </a:moveTo>
                  <a:lnTo>
                    <a:pt x="1074" y="54"/>
                  </a:lnTo>
                  <a:lnTo>
                    <a:pt x="1044" y="42"/>
                  </a:lnTo>
                  <a:lnTo>
                    <a:pt x="996" y="54"/>
                  </a:lnTo>
                  <a:lnTo>
                    <a:pt x="948" y="54"/>
                  </a:lnTo>
                  <a:lnTo>
                    <a:pt x="966" y="66"/>
                  </a:lnTo>
                  <a:lnTo>
                    <a:pt x="990" y="72"/>
                  </a:lnTo>
                  <a:close/>
                  <a:moveTo>
                    <a:pt x="1122" y="90"/>
                  </a:moveTo>
                  <a:lnTo>
                    <a:pt x="1128" y="78"/>
                  </a:lnTo>
                  <a:lnTo>
                    <a:pt x="1152" y="78"/>
                  </a:lnTo>
                  <a:lnTo>
                    <a:pt x="1164" y="66"/>
                  </a:lnTo>
                  <a:lnTo>
                    <a:pt x="1218" y="66"/>
                  </a:lnTo>
                  <a:lnTo>
                    <a:pt x="1218" y="60"/>
                  </a:lnTo>
                  <a:lnTo>
                    <a:pt x="1206" y="54"/>
                  </a:lnTo>
                  <a:lnTo>
                    <a:pt x="1182" y="54"/>
                  </a:lnTo>
                  <a:lnTo>
                    <a:pt x="1182" y="48"/>
                  </a:lnTo>
                  <a:lnTo>
                    <a:pt x="1176" y="48"/>
                  </a:lnTo>
                  <a:lnTo>
                    <a:pt x="1164" y="42"/>
                  </a:lnTo>
                  <a:lnTo>
                    <a:pt x="1140" y="42"/>
                  </a:lnTo>
                  <a:lnTo>
                    <a:pt x="1134" y="48"/>
                  </a:lnTo>
                  <a:lnTo>
                    <a:pt x="1128" y="60"/>
                  </a:lnTo>
                  <a:lnTo>
                    <a:pt x="1128" y="66"/>
                  </a:lnTo>
                  <a:lnTo>
                    <a:pt x="1122" y="66"/>
                  </a:lnTo>
                  <a:lnTo>
                    <a:pt x="1116" y="72"/>
                  </a:lnTo>
                  <a:lnTo>
                    <a:pt x="1104" y="72"/>
                  </a:lnTo>
                  <a:lnTo>
                    <a:pt x="1086" y="78"/>
                  </a:lnTo>
                  <a:lnTo>
                    <a:pt x="1080" y="78"/>
                  </a:lnTo>
                  <a:lnTo>
                    <a:pt x="1074" y="84"/>
                  </a:lnTo>
                  <a:lnTo>
                    <a:pt x="1080" y="84"/>
                  </a:lnTo>
                  <a:lnTo>
                    <a:pt x="1092" y="90"/>
                  </a:lnTo>
                  <a:lnTo>
                    <a:pt x="1122" y="90"/>
                  </a:lnTo>
                  <a:close/>
                  <a:moveTo>
                    <a:pt x="1176" y="78"/>
                  </a:moveTo>
                  <a:lnTo>
                    <a:pt x="1158" y="90"/>
                  </a:lnTo>
                  <a:lnTo>
                    <a:pt x="1176" y="102"/>
                  </a:lnTo>
                  <a:lnTo>
                    <a:pt x="1194" y="108"/>
                  </a:lnTo>
                  <a:lnTo>
                    <a:pt x="1248" y="102"/>
                  </a:lnTo>
                  <a:lnTo>
                    <a:pt x="1242" y="90"/>
                  </a:lnTo>
                  <a:lnTo>
                    <a:pt x="1212" y="90"/>
                  </a:lnTo>
                  <a:lnTo>
                    <a:pt x="1176" y="78"/>
                  </a:lnTo>
                  <a:close/>
                  <a:moveTo>
                    <a:pt x="7812" y="2436"/>
                  </a:moveTo>
                  <a:lnTo>
                    <a:pt x="7782" y="2400"/>
                  </a:lnTo>
                  <a:lnTo>
                    <a:pt x="7776" y="2400"/>
                  </a:lnTo>
                  <a:lnTo>
                    <a:pt x="7770" y="2394"/>
                  </a:lnTo>
                  <a:lnTo>
                    <a:pt x="7752" y="2388"/>
                  </a:lnTo>
                  <a:lnTo>
                    <a:pt x="7728" y="2364"/>
                  </a:lnTo>
                  <a:lnTo>
                    <a:pt x="7722" y="2352"/>
                  </a:lnTo>
                  <a:lnTo>
                    <a:pt x="7704" y="2298"/>
                  </a:lnTo>
                  <a:lnTo>
                    <a:pt x="7698" y="2286"/>
                  </a:lnTo>
                  <a:lnTo>
                    <a:pt x="7698" y="2274"/>
                  </a:lnTo>
                  <a:lnTo>
                    <a:pt x="7674" y="2250"/>
                  </a:lnTo>
                  <a:lnTo>
                    <a:pt x="7680" y="2244"/>
                  </a:lnTo>
                  <a:lnTo>
                    <a:pt x="7698" y="2244"/>
                  </a:lnTo>
                  <a:lnTo>
                    <a:pt x="7770" y="2268"/>
                  </a:lnTo>
                  <a:lnTo>
                    <a:pt x="7800" y="2280"/>
                  </a:lnTo>
                  <a:lnTo>
                    <a:pt x="7812" y="2286"/>
                  </a:lnTo>
                  <a:lnTo>
                    <a:pt x="7740" y="2232"/>
                  </a:lnTo>
                  <a:lnTo>
                    <a:pt x="7734" y="2226"/>
                  </a:lnTo>
                  <a:lnTo>
                    <a:pt x="7722" y="2202"/>
                  </a:lnTo>
                  <a:lnTo>
                    <a:pt x="7710" y="2196"/>
                  </a:lnTo>
                  <a:lnTo>
                    <a:pt x="7704" y="2184"/>
                  </a:lnTo>
                  <a:lnTo>
                    <a:pt x="7698" y="2178"/>
                  </a:lnTo>
                  <a:lnTo>
                    <a:pt x="7674" y="2166"/>
                  </a:lnTo>
                  <a:lnTo>
                    <a:pt x="7668" y="2160"/>
                  </a:lnTo>
                  <a:lnTo>
                    <a:pt x="7656" y="2154"/>
                  </a:lnTo>
                  <a:lnTo>
                    <a:pt x="7578" y="2070"/>
                  </a:lnTo>
                  <a:lnTo>
                    <a:pt x="7554" y="2070"/>
                  </a:lnTo>
                  <a:lnTo>
                    <a:pt x="7542" y="2040"/>
                  </a:lnTo>
                  <a:lnTo>
                    <a:pt x="7524" y="2040"/>
                  </a:lnTo>
                  <a:lnTo>
                    <a:pt x="7512" y="2028"/>
                  </a:lnTo>
                  <a:lnTo>
                    <a:pt x="7500" y="2004"/>
                  </a:lnTo>
                  <a:lnTo>
                    <a:pt x="7500" y="1980"/>
                  </a:lnTo>
                  <a:lnTo>
                    <a:pt x="7470" y="1944"/>
                  </a:lnTo>
                  <a:lnTo>
                    <a:pt x="7446" y="1950"/>
                  </a:lnTo>
                  <a:lnTo>
                    <a:pt x="7434" y="1920"/>
                  </a:lnTo>
                  <a:lnTo>
                    <a:pt x="7392" y="1890"/>
                  </a:lnTo>
                  <a:lnTo>
                    <a:pt x="7380" y="1866"/>
                  </a:lnTo>
                  <a:lnTo>
                    <a:pt x="7368" y="1860"/>
                  </a:lnTo>
                  <a:lnTo>
                    <a:pt x="7362" y="1854"/>
                  </a:lnTo>
                  <a:lnTo>
                    <a:pt x="7344" y="1854"/>
                  </a:lnTo>
                  <a:lnTo>
                    <a:pt x="7344" y="1860"/>
                  </a:lnTo>
                  <a:lnTo>
                    <a:pt x="7392" y="1908"/>
                  </a:lnTo>
                  <a:lnTo>
                    <a:pt x="7392" y="1914"/>
                  </a:lnTo>
                  <a:lnTo>
                    <a:pt x="7386" y="1914"/>
                  </a:lnTo>
                  <a:lnTo>
                    <a:pt x="7380" y="1908"/>
                  </a:lnTo>
                  <a:lnTo>
                    <a:pt x="7368" y="1908"/>
                  </a:lnTo>
                  <a:lnTo>
                    <a:pt x="7362" y="1914"/>
                  </a:lnTo>
                  <a:lnTo>
                    <a:pt x="7362" y="1926"/>
                  </a:lnTo>
                  <a:lnTo>
                    <a:pt x="7374" y="1950"/>
                  </a:lnTo>
                  <a:lnTo>
                    <a:pt x="7386" y="1962"/>
                  </a:lnTo>
                  <a:lnTo>
                    <a:pt x="7392" y="1974"/>
                  </a:lnTo>
                  <a:lnTo>
                    <a:pt x="7404" y="1980"/>
                  </a:lnTo>
                  <a:lnTo>
                    <a:pt x="7404" y="1992"/>
                  </a:lnTo>
                  <a:lnTo>
                    <a:pt x="7416" y="2016"/>
                  </a:lnTo>
                  <a:lnTo>
                    <a:pt x="7422" y="2022"/>
                  </a:lnTo>
                  <a:lnTo>
                    <a:pt x="7440" y="2034"/>
                  </a:lnTo>
                  <a:lnTo>
                    <a:pt x="7470" y="2052"/>
                  </a:lnTo>
                  <a:lnTo>
                    <a:pt x="7500" y="2076"/>
                  </a:lnTo>
                  <a:lnTo>
                    <a:pt x="7518" y="2100"/>
                  </a:lnTo>
                  <a:lnTo>
                    <a:pt x="7524" y="2112"/>
                  </a:lnTo>
                  <a:lnTo>
                    <a:pt x="7536" y="2130"/>
                  </a:lnTo>
                  <a:lnTo>
                    <a:pt x="7536" y="2142"/>
                  </a:lnTo>
                  <a:lnTo>
                    <a:pt x="7548" y="2154"/>
                  </a:lnTo>
                  <a:lnTo>
                    <a:pt x="7554" y="2166"/>
                  </a:lnTo>
                  <a:lnTo>
                    <a:pt x="7572" y="2184"/>
                  </a:lnTo>
                  <a:lnTo>
                    <a:pt x="7590" y="2208"/>
                  </a:lnTo>
                  <a:lnTo>
                    <a:pt x="7608" y="2238"/>
                  </a:lnTo>
                  <a:lnTo>
                    <a:pt x="7620" y="2262"/>
                  </a:lnTo>
                  <a:lnTo>
                    <a:pt x="7626" y="2268"/>
                  </a:lnTo>
                  <a:lnTo>
                    <a:pt x="7626" y="2280"/>
                  </a:lnTo>
                  <a:lnTo>
                    <a:pt x="7632" y="2292"/>
                  </a:lnTo>
                  <a:lnTo>
                    <a:pt x="7644" y="2304"/>
                  </a:lnTo>
                  <a:lnTo>
                    <a:pt x="7656" y="2304"/>
                  </a:lnTo>
                  <a:lnTo>
                    <a:pt x="7668" y="2310"/>
                  </a:lnTo>
                  <a:lnTo>
                    <a:pt x="7674" y="2322"/>
                  </a:lnTo>
                  <a:lnTo>
                    <a:pt x="7686" y="2334"/>
                  </a:lnTo>
                  <a:lnTo>
                    <a:pt x="7698" y="2358"/>
                  </a:lnTo>
                  <a:lnTo>
                    <a:pt x="7698" y="2376"/>
                  </a:lnTo>
                  <a:lnTo>
                    <a:pt x="7740" y="2412"/>
                  </a:lnTo>
                  <a:lnTo>
                    <a:pt x="7752" y="2466"/>
                  </a:lnTo>
                  <a:lnTo>
                    <a:pt x="7794" y="2508"/>
                  </a:lnTo>
                  <a:lnTo>
                    <a:pt x="7794" y="2502"/>
                  </a:lnTo>
                  <a:lnTo>
                    <a:pt x="7788" y="2496"/>
                  </a:lnTo>
                  <a:lnTo>
                    <a:pt x="7788" y="2484"/>
                  </a:lnTo>
                  <a:lnTo>
                    <a:pt x="7782" y="2472"/>
                  </a:lnTo>
                  <a:lnTo>
                    <a:pt x="7782" y="2460"/>
                  </a:lnTo>
                  <a:lnTo>
                    <a:pt x="7776" y="2448"/>
                  </a:lnTo>
                  <a:lnTo>
                    <a:pt x="7782" y="2442"/>
                  </a:lnTo>
                  <a:lnTo>
                    <a:pt x="7788" y="2442"/>
                  </a:lnTo>
                  <a:lnTo>
                    <a:pt x="7800" y="2454"/>
                  </a:lnTo>
                  <a:lnTo>
                    <a:pt x="7830" y="2454"/>
                  </a:lnTo>
                  <a:lnTo>
                    <a:pt x="7866" y="2496"/>
                  </a:lnTo>
                  <a:lnTo>
                    <a:pt x="7866" y="2472"/>
                  </a:lnTo>
                  <a:lnTo>
                    <a:pt x="7836" y="2430"/>
                  </a:lnTo>
                  <a:lnTo>
                    <a:pt x="7812" y="2436"/>
                  </a:lnTo>
                  <a:close/>
                  <a:moveTo>
                    <a:pt x="1344" y="84"/>
                  </a:moveTo>
                  <a:lnTo>
                    <a:pt x="1350" y="72"/>
                  </a:lnTo>
                  <a:lnTo>
                    <a:pt x="1308" y="66"/>
                  </a:lnTo>
                  <a:lnTo>
                    <a:pt x="1284" y="78"/>
                  </a:lnTo>
                  <a:lnTo>
                    <a:pt x="1290" y="90"/>
                  </a:lnTo>
                  <a:lnTo>
                    <a:pt x="1344" y="84"/>
                  </a:lnTo>
                  <a:close/>
                  <a:moveTo>
                    <a:pt x="9048" y="996"/>
                  </a:moveTo>
                  <a:lnTo>
                    <a:pt x="9036" y="984"/>
                  </a:lnTo>
                  <a:lnTo>
                    <a:pt x="9024" y="978"/>
                  </a:lnTo>
                  <a:lnTo>
                    <a:pt x="9006" y="972"/>
                  </a:lnTo>
                  <a:lnTo>
                    <a:pt x="8994" y="966"/>
                  </a:lnTo>
                  <a:lnTo>
                    <a:pt x="8982" y="966"/>
                  </a:lnTo>
                  <a:lnTo>
                    <a:pt x="8940" y="948"/>
                  </a:lnTo>
                  <a:lnTo>
                    <a:pt x="8898" y="948"/>
                  </a:lnTo>
                  <a:lnTo>
                    <a:pt x="8868" y="930"/>
                  </a:lnTo>
                  <a:lnTo>
                    <a:pt x="8778" y="924"/>
                  </a:lnTo>
                  <a:lnTo>
                    <a:pt x="8736" y="906"/>
                  </a:lnTo>
                  <a:lnTo>
                    <a:pt x="8700" y="906"/>
                  </a:lnTo>
                  <a:lnTo>
                    <a:pt x="8754" y="942"/>
                  </a:lnTo>
                  <a:lnTo>
                    <a:pt x="8808" y="966"/>
                  </a:lnTo>
                  <a:lnTo>
                    <a:pt x="8796" y="966"/>
                  </a:lnTo>
                  <a:lnTo>
                    <a:pt x="8784" y="972"/>
                  </a:lnTo>
                  <a:lnTo>
                    <a:pt x="8754" y="972"/>
                  </a:lnTo>
                  <a:lnTo>
                    <a:pt x="8730" y="960"/>
                  </a:lnTo>
                  <a:lnTo>
                    <a:pt x="8676" y="906"/>
                  </a:lnTo>
                  <a:lnTo>
                    <a:pt x="8580" y="870"/>
                  </a:lnTo>
                  <a:lnTo>
                    <a:pt x="8496" y="846"/>
                  </a:lnTo>
                  <a:lnTo>
                    <a:pt x="8442" y="834"/>
                  </a:lnTo>
                  <a:lnTo>
                    <a:pt x="8370" y="822"/>
                  </a:lnTo>
                  <a:lnTo>
                    <a:pt x="8280" y="804"/>
                  </a:lnTo>
                  <a:lnTo>
                    <a:pt x="8190" y="780"/>
                  </a:lnTo>
                  <a:lnTo>
                    <a:pt x="8112" y="762"/>
                  </a:lnTo>
                  <a:lnTo>
                    <a:pt x="8052" y="750"/>
                  </a:lnTo>
                  <a:lnTo>
                    <a:pt x="7998" y="738"/>
                  </a:lnTo>
                  <a:lnTo>
                    <a:pt x="7956" y="732"/>
                  </a:lnTo>
                  <a:lnTo>
                    <a:pt x="7758" y="732"/>
                  </a:lnTo>
                  <a:lnTo>
                    <a:pt x="7746" y="714"/>
                  </a:lnTo>
                  <a:lnTo>
                    <a:pt x="7698" y="720"/>
                  </a:lnTo>
                  <a:lnTo>
                    <a:pt x="7680" y="708"/>
                  </a:lnTo>
                  <a:lnTo>
                    <a:pt x="7626" y="708"/>
                  </a:lnTo>
                  <a:lnTo>
                    <a:pt x="7650" y="726"/>
                  </a:lnTo>
                  <a:lnTo>
                    <a:pt x="7644" y="744"/>
                  </a:lnTo>
                  <a:lnTo>
                    <a:pt x="7656" y="744"/>
                  </a:lnTo>
                  <a:lnTo>
                    <a:pt x="7680" y="756"/>
                  </a:lnTo>
                  <a:lnTo>
                    <a:pt x="7716" y="762"/>
                  </a:lnTo>
                  <a:lnTo>
                    <a:pt x="7740" y="774"/>
                  </a:lnTo>
                  <a:lnTo>
                    <a:pt x="7758" y="786"/>
                  </a:lnTo>
                  <a:lnTo>
                    <a:pt x="7752" y="798"/>
                  </a:lnTo>
                  <a:lnTo>
                    <a:pt x="7728" y="804"/>
                  </a:lnTo>
                  <a:lnTo>
                    <a:pt x="7698" y="804"/>
                  </a:lnTo>
                  <a:lnTo>
                    <a:pt x="7686" y="798"/>
                  </a:lnTo>
                  <a:lnTo>
                    <a:pt x="7680" y="792"/>
                  </a:lnTo>
                  <a:lnTo>
                    <a:pt x="7656" y="774"/>
                  </a:lnTo>
                  <a:lnTo>
                    <a:pt x="7584" y="774"/>
                  </a:lnTo>
                  <a:lnTo>
                    <a:pt x="7530" y="738"/>
                  </a:lnTo>
                  <a:lnTo>
                    <a:pt x="7524" y="738"/>
                  </a:lnTo>
                  <a:lnTo>
                    <a:pt x="7518" y="744"/>
                  </a:lnTo>
                  <a:lnTo>
                    <a:pt x="7506" y="744"/>
                  </a:lnTo>
                  <a:lnTo>
                    <a:pt x="7500" y="750"/>
                  </a:lnTo>
                  <a:lnTo>
                    <a:pt x="7446" y="750"/>
                  </a:lnTo>
                  <a:lnTo>
                    <a:pt x="7440" y="738"/>
                  </a:lnTo>
                  <a:lnTo>
                    <a:pt x="7344" y="744"/>
                  </a:lnTo>
                  <a:lnTo>
                    <a:pt x="7320" y="726"/>
                  </a:lnTo>
                  <a:lnTo>
                    <a:pt x="7314" y="732"/>
                  </a:lnTo>
                  <a:lnTo>
                    <a:pt x="7212" y="732"/>
                  </a:lnTo>
                  <a:lnTo>
                    <a:pt x="7206" y="738"/>
                  </a:lnTo>
                  <a:lnTo>
                    <a:pt x="7212" y="744"/>
                  </a:lnTo>
                  <a:lnTo>
                    <a:pt x="7218" y="756"/>
                  </a:lnTo>
                  <a:lnTo>
                    <a:pt x="7254" y="792"/>
                  </a:lnTo>
                  <a:lnTo>
                    <a:pt x="7248" y="792"/>
                  </a:lnTo>
                  <a:lnTo>
                    <a:pt x="7242" y="786"/>
                  </a:lnTo>
                  <a:lnTo>
                    <a:pt x="7230" y="780"/>
                  </a:lnTo>
                  <a:lnTo>
                    <a:pt x="7218" y="768"/>
                  </a:lnTo>
                  <a:lnTo>
                    <a:pt x="7206" y="762"/>
                  </a:lnTo>
                  <a:lnTo>
                    <a:pt x="7194" y="750"/>
                  </a:lnTo>
                  <a:lnTo>
                    <a:pt x="7176" y="744"/>
                  </a:lnTo>
                  <a:lnTo>
                    <a:pt x="7104" y="732"/>
                  </a:lnTo>
                  <a:lnTo>
                    <a:pt x="7086" y="732"/>
                  </a:lnTo>
                  <a:lnTo>
                    <a:pt x="7086" y="726"/>
                  </a:lnTo>
                  <a:lnTo>
                    <a:pt x="7056" y="696"/>
                  </a:lnTo>
                  <a:lnTo>
                    <a:pt x="7032" y="684"/>
                  </a:lnTo>
                  <a:lnTo>
                    <a:pt x="6990" y="666"/>
                  </a:lnTo>
                  <a:lnTo>
                    <a:pt x="6948" y="660"/>
                  </a:lnTo>
                  <a:lnTo>
                    <a:pt x="6912" y="654"/>
                  </a:lnTo>
                  <a:lnTo>
                    <a:pt x="6882" y="654"/>
                  </a:lnTo>
                  <a:lnTo>
                    <a:pt x="6864" y="648"/>
                  </a:lnTo>
                  <a:lnTo>
                    <a:pt x="6834" y="648"/>
                  </a:lnTo>
                  <a:lnTo>
                    <a:pt x="6786" y="636"/>
                  </a:lnTo>
                  <a:lnTo>
                    <a:pt x="6774" y="642"/>
                  </a:lnTo>
                  <a:lnTo>
                    <a:pt x="6714" y="642"/>
                  </a:lnTo>
                  <a:lnTo>
                    <a:pt x="6696" y="660"/>
                  </a:lnTo>
                  <a:lnTo>
                    <a:pt x="6684" y="666"/>
                  </a:lnTo>
                  <a:lnTo>
                    <a:pt x="6648" y="666"/>
                  </a:lnTo>
                  <a:lnTo>
                    <a:pt x="6630" y="660"/>
                  </a:lnTo>
                  <a:lnTo>
                    <a:pt x="6594" y="660"/>
                  </a:lnTo>
                  <a:lnTo>
                    <a:pt x="6582" y="654"/>
                  </a:lnTo>
                  <a:lnTo>
                    <a:pt x="6576" y="648"/>
                  </a:lnTo>
                  <a:lnTo>
                    <a:pt x="6552" y="636"/>
                  </a:lnTo>
                  <a:lnTo>
                    <a:pt x="6534" y="630"/>
                  </a:lnTo>
                  <a:lnTo>
                    <a:pt x="6522" y="624"/>
                  </a:lnTo>
                  <a:lnTo>
                    <a:pt x="6498" y="624"/>
                  </a:lnTo>
                  <a:lnTo>
                    <a:pt x="6486" y="630"/>
                  </a:lnTo>
                  <a:lnTo>
                    <a:pt x="6474" y="612"/>
                  </a:lnTo>
                  <a:lnTo>
                    <a:pt x="6438" y="612"/>
                  </a:lnTo>
                  <a:lnTo>
                    <a:pt x="6372" y="606"/>
                  </a:lnTo>
                  <a:lnTo>
                    <a:pt x="6408" y="594"/>
                  </a:lnTo>
                  <a:lnTo>
                    <a:pt x="6372" y="570"/>
                  </a:lnTo>
                  <a:lnTo>
                    <a:pt x="6360" y="570"/>
                  </a:lnTo>
                  <a:lnTo>
                    <a:pt x="6324" y="564"/>
                  </a:lnTo>
                  <a:lnTo>
                    <a:pt x="6282" y="558"/>
                  </a:lnTo>
                  <a:lnTo>
                    <a:pt x="6246" y="558"/>
                  </a:lnTo>
                  <a:lnTo>
                    <a:pt x="6228" y="564"/>
                  </a:lnTo>
                  <a:lnTo>
                    <a:pt x="6228" y="594"/>
                  </a:lnTo>
                  <a:lnTo>
                    <a:pt x="6222" y="600"/>
                  </a:lnTo>
                  <a:lnTo>
                    <a:pt x="6192" y="600"/>
                  </a:lnTo>
                  <a:lnTo>
                    <a:pt x="6180" y="594"/>
                  </a:lnTo>
                  <a:lnTo>
                    <a:pt x="6168" y="594"/>
                  </a:lnTo>
                  <a:lnTo>
                    <a:pt x="6186" y="582"/>
                  </a:lnTo>
                  <a:lnTo>
                    <a:pt x="6168" y="570"/>
                  </a:lnTo>
                  <a:lnTo>
                    <a:pt x="6096" y="570"/>
                  </a:lnTo>
                  <a:lnTo>
                    <a:pt x="6114" y="558"/>
                  </a:lnTo>
                  <a:lnTo>
                    <a:pt x="6156" y="558"/>
                  </a:lnTo>
                  <a:lnTo>
                    <a:pt x="6216" y="588"/>
                  </a:lnTo>
                  <a:lnTo>
                    <a:pt x="6216" y="564"/>
                  </a:lnTo>
                  <a:lnTo>
                    <a:pt x="6162" y="540"/>
                  </a:lnTo>
                  <a:lnTo>
                    <a:pt x="6048" y="546"/>
                  </a:lnTo>
                  <a:lnTo>
                    <a:pt x="6048" y="534"/>
                  </a:lnTo>
                  <a:lnTo>
                    <a:pt x="5928" y="540"/>
                  </a:lnTo>
                  <a:lnTo>
                    <a:pt x="5880" y="522"/>
                  </a:lnTo>
                  <a:lnTo>
                    <a:pt x="5862" y="522"/>
                  </a:lnTo>
                  <a:lnTo>
                    <a:pt x="5898" y="546"/>
                  </a:lnTo>
                  <a:lnTo>
                    <a:pt x="5850" y="546"/>
                  </a:lnTo>
                  <a:lnTo>
                    <a:pt x="5838" y="552"/>
                  </a:lnTo>
                  <a:lnTo>
                    <a:pt x="5832" y="552"/>
                  </a:lnTo>
                  <a:lnTo>
                    <a:pt x="5832" y="558"/>
                  </a:lnTo>
                  <a:lnTo>
                    <a:pt x="5844" y="564"/>
                  </a:lnTo>
                  <a:lnTo>
                    <a:pt x="5850" y="570"/>
                  </a:lnTo>
                  <a:lnTo>
                    <a:pt x="5862" y="576"/>
                  </a:lnTo>
                  <a:lnTo>
                    <a:pt x="5892" y="576"/>
                  </a:lnTo>
                  <a:lnTo>
                    <a:pt x="5892" y="582"/>
                  </a:lnTo>
                  <a:lnTo>
                    <a:pt x="5952" y="618"/>
                  </a:lnTo>
                  <a:lnTo>
                    <a:pt x="5904" y="618"/>
                  </a:lnTo>
                  <a:lnTo>
                    <a:pt x="5898" y="612"/>
                  </a:lnTo>
                  <a:lnTo>
                    <a:pt x="5886" y="606"/>
                  </a:lnTo>
                  <a:lnTo>
                    <a:pt x="5874" y="606"/>
                  </a:lnTo>
                  <a:lnTo>
                    <a:pt x="5862" y="600"/>
                  </a:lnTo>
                  <a:lnTo>
                    <a:pt x="5844" y="618"/>
                  </a:lnTo>
                  <a:lnTo>
                    <a:pt x="5868" y="636"/>
                  </a:lnTo>
                  <a:lnTo>
                    <a:pt x="5814" y="630"/>
                  </a:lnTo>
                  <a:lnTo>
                    <a:pt x="5808" y="630"/>
                  </a:lnTo>
                  <a:lnTo>
                    <a:pt x="5802" y="624"/>
                  </a:lnTo>
                  <a:lnTo>
                    <a:pt x="5784" y="618"/>
                  </a:lnTo>
                  <a:lnTo>
                    <a:pt x="5766" y="618"/>
                  </a:lnTo>
                  <a:lnTo>
                    <a:pt x="5754" y="612"/>
                  </a:lnTo>
                  <a:lnTo>
                    <a:pt x="5736" y="606"/>
                  </a:lnTo>
                  <a:lnTo>
                    <a:pt x="5724" y="606"/>
                  </a:lnTo>
                  <a:lnTo>
                    <a:pt x="5712" y="612"/>
                  </a:lnTo>
                  <a:lnTo>
                    <a:pt x="5700" y="612"/>
                  </a:lnTo>
                  <a:lnTo>
                    <a:pt x="5688" y="618"/>
                  </a:lnTo>
                  <a:lnTo>
                    <a:pt x="5682" y="624"/>
                  </a:lnTo>
                  <a:lnTo>
                    <a:pt x="5676" y="624"/>
                  </a:lnTo>
                  <a:lnTo>
                    <a:pt x="5610" y="618"/>
                  </a:lnTo>
                  <a:lnTo>
                    <a:pt x="5604" y="618"/>
                  </a:lnTo>
                  <a:lnTo>
                    <a:pt x="5598" y="612"/>
                  </a:lnTo>
                  <a:lnTo>
                    <a:pt x="5562" y="594"/>
                  </a:lnTo>
                  <a:lnTo>
                    <a:pt x="5556" y="594"/>
                  </a:lnTo>
                  <a:lnTo>
                    <a:pt x="5550" y="588"/>
                  </a:lnTo>
                  <a:lnTo>
                    <a:pt x="5538" y="588"/>
                  </a:lnTo>
                  <a:lnTo>
                    <a:pt x="5538" y="606"/>
                  </a:lnTo>
                  <a:lnTo>
                    <a:pt x="5544" y="612"/>
                  </a:lnTo>
                  <a:lnTo>
                    <a:pt x="5550" y="624"/>
                  </a:lnTo>
                  <a:lnTo>
                    <a:pt x="5556" y="630"/>
                  </a:lnTo>
                  <a:lnTo>
                    <a:pt x="5562" y="642"/>
                  </a:lnTo>
                  <a:lnTo>
                    <a:pt x="5562" y="660"/>
                  </a:lnTo>
                  <a:lnTo>
                    <a:pt x="5556" y="666"/>
                  </a:lnTo>
                  <a:lnTo>
                    <a:pt x="5532" y="660"/>
                  </a:lnTo>
                  <a:lnTo>
                    <a:pt x="5424" y="624"/>
                  </a:lnTo>
                  <a:lnTo>
                    <a:pt x="5412" y="618"/>
                  </a:lnTo>
                  <a:lnTo>
                    <a:pt x="5406" y="618"/>
                  </a:lnTo>
                  <a:lnTo>
                    <a:pt x="5400" y="612"/>
                  </a:lnTo>
                  <a:lnTo>
                    <a:pt x="5394" y="600"/>
                  </a:lnTo>
                  <a:lnTo>
                    <a:pt x="5382" y="594"/>
                  </a:lnTo>
                  <a:lnTo>
                    <a:pt x="5376" y="588"/>
                  </a:lnTo>
                  <a:lnTo>
                    <a:pt x="5376" y="606"/>
                  </a:lnTo>
                  <a:lnTo>
                    <a:pt x="5322" y="588"/>
                  </a:lnTo>
                  <a:lnTo>
                    <a:pt x="5292" y="570"/>
                  </a:lnTo>
                  <a:lnTo>
                    <a:pt x="5298" y="570"/>
                  </a:lnTo>
                  <a:lnTo>
                    <a:pt x="5304" y="576"/>
                  </a:lnTo>
                  <a:lnTo>
                    <a:pt x="5328" y="576"/>
                  </a:lnTo>
                  <a:lnTo>
                    <a:pt x="5340" y="582"/>
                  </a:lnTo>
                  <a:lnTo>
                    <a:pt x="5352" y="582"/>
                  </a:lnTo>
                  <a:lnTo>
                    <a:pt x="5358" y="576"/>
                  </a:lnTo>
                  <a:lnTo>
                    <a:pt x="5358" y="570"/>
                  </a:lnTo>
                  <a:lnTo>
                    <a:pt x="5346" y="564"/>
                  </a:lnTo>
                  <a:lnTo>
                    <a:pt x="5334" y="552"/>
                  </a:lnTo>
                  <a:lnTo>
                    <a:pt x="5292" y="552"/>
                  </a:lnTo>
                  <a:lnTo>
                    <a:pt x="5304" y="540"/>
                  </a:lnTo>
                  <a:lnTo>
                    <a:pt x="5298" y="534"/>
                  </a:lnTo>
                  <a:lnTo>
                    <a:pt x="5286" y="528"/>
                  </a:lnTo>
                  <a:lnTo>
                    <a:pt x="5256" y="528"/>
                  </a:lnTo>
                  <a:lnTo>
                    <a:pt x="5268" y="510"/>
                  </a:lnTo>
                  <a:lnTo>
                    <a:pt x="5262" y="510"/>
                  </a:lnTo>
                  <a:lnTo>
                    <a:pt x="5256" y="504"/>
                  </a:lnTo>
                  <a:lnTo>
                    <a:pt x="5232" y="504"/>
                  </a:lnTo>
                  <a:lnTo>
                    <a:pt x="5220" y="498"/>
                  </a:lnTo>
                  <a:lnTo>
                    <a:pt x="5208" y="498"/>
                  </a:lnTo>
                  <a:lnTo>
                    <a:pt x="5202" y="492"/>
                  </a:lnTo>
                  <a:lnTo>
                    <a:pt x="5190" y="492"/>
                  </a:lnTo>
                  <a:lnTo>
                    <a:pt x="5184" y="486"/>
                  </a:lnTo>
                  <a:lnTo>
                    <a:pt x="5142" y="486"/>
                  </a:lnTo>
                  <a:lnTo>
                    <a:pt x="5130" y="492"/>
                  </a:lnTo>
                  <a:lnTo>
                    <a:pt x="5094" y="492"/>
                  </a:lnTo>
                  <a:lnTo>
                    <a:pt x="5076" y="486"/>
                  </a:lnTo>
                  <a:lnTo>
                    <a:pt x="5070" y="480"/>
                  </a:lnTo>
                  <a:lnTo>
                    <a:pt x="5064" y="480"/>
                  </a:lnTo>
                  <a:lnTo>
                    <a:pt x="5040" y="486"/>
                  </a:lnTo>
                  <a:lnTo>
                    <a:pt x="5040" y="474"/>
                  </a:lnTo>
                  <a:lnTo>
                    <a:pt x="4992" y="468"/>
                  </a:lnTo>
                  <a:lnTo>
                    <a:pt x="4980" y="456"/>
                  </a:lnTo>
                  <a:lnTo>
                    <a:pt x="4974" y="474"/>
                  </a:lnTo>
                  <a:lnTo>
                    <a:pt x="4956" y="480"/>
                  </a:lnTo>
                  <a:lnTo>
                    <a:pt x="4986" y="498"/>
                  </a:lnTo>
                  <a:lnTo>
                    <a:pt x="5010" y="528"/>
                  </a:lnTo>
                  <a:lnTo>
                    <a:pt x="4962" y="522"/>
                  </a:lnTo>
                  <a:lnTo>
                    <a:pt x="4956" y="516"/>
                  </a:lnTo>
                  <a:lnTo>
                    <a:pt x="4890" y="522"/>
                  </a:lnTo>
                  <a:lnTo>
                    <a:pt x="4872" y="528"/>
                  </a:lnTo>
                  <a:lnTo>
                    <a:pt x="4872" y="516"/>
                  </a:lnTo>
                  <a:lnTo>
                    <a:pt x="4824" y="522"/>
                  </a:lnTo>
                  <a:lnTo>
                    <a:pt x="4818" y="510"/>
                  </a:lnTo>
                  <a:lnTo>
                    <a:pt x="4764" y="510"/>
                  </a:lnTo>
                  <a:lnTo>
                    <a:pt x="4728" y="504"/>
                  </a:lnTo>
                  <a:lnTo>
                    <a:pt x="4746" y="480"/>
                  </a:lnTo>
                  <a:lnTo>
                    <a:pt x="4620" y="480"/>
                  </a:lnTo>
                  <a:lnTo>
                    <a:pt x="4608" y="468"/>
                  </a:lnTo>
                  <a:lnTo>
                    <a:pt x="4602" y="474"/>
                  </a:lnTo>
                  <a:lnTo>
                    <a:pt x="4590" y="468"/>
                  </a:lnTo>
                  <a:lnTo>
                    <a:pt x="4542" y="474"/>
                  </a:lnTo>
                  <a:lnTo>
                    <a:pt x="4548" y="486"/>
                  </a:lnTo>
                  <a:lnTo>
                    <a:pt x="4488" y="480"/>
                  </a:lnTo>
                  <a:lnTo>
                    <a:pt x="4476" y="486"/>
                  </a:lnTo>
                  <a:lnTo>
                    <a:pt x="4506" y="498"/>
                  </a:lnTo>
                  <a:lnTo>
                    <a:pt x="4464" y="492"/>
                  </a:lnTo>
                  <a:lnTo>
                    <a:pt x="4464" y="474"/>
                  </a:lnTo>
                  <a:lnTo>
                    <a:pt x="4434" y="456"/>
                  </a:lnTo>
                  <a:lnTo>
                    <a:pt x="4416" y="456"/>
                  </a:lnTo>
                  <a:lnTo>
                    <a:pt x="4428" y="474"/>
                  </a:lnTo>
                  <a:lnTo>
                    <a:pt x="4374" y="474"/>
                  </a:lnTo>
                  <a:lnTo>
                    <a:pt x="4368" y="468"/>
                  </a:lnTo>
                  <a:lnTo>
                    <a:pt x="4356" y="468"/>
                  </a:lnTo>
                  <a:lnTo>
                    <a:pt x="4350" y="456"/>
                  </a:lnTo>
                  <a:lnTo>
                    <a:pt x="4320" y="456"/>
                  </a:lnTo>
                  <a:lnTo>
                    <a:pt x="4296" y="444"/>
                  </a:lnTo>
                  <a:lnTo>
                    <a:pt x="4266" y="468"/>
                  </a:lnTo>
                  <a:lnTo>
                    <a:pt x="4320" y="474"/>
                  </a:lnTo>
                  <a:lnTo>
                    <a:pt x="4332" y="474"/>
                  </a:lnTo>
                  <a:lnTo>
                    <a:pt x="4326" y="480"/>
                  </a:lnTo>
                  <a:lnTo>
                    <a:pt x="4314" y="486"/>
                  </a:lnTo>
                  <a:lnTo>
                    <a:pt x="4308" y="492"/>
                  </a:lnTo>
                  <a:lnTo>
                    <a:pt x="4272" y="492"/>
                  </a:lnTo>
                  <a:lnTo>
                    <a:pt x="4266" y="498"/>
                  </a:lnTo>
                  <a:lnTo>
                    <a:pt x="4254" y="504"/>
                  </a:lnTo>
                  <a:lnTo>
                    <a:pt x="4182" y="504"/>
                  </a:lnTo>
                  <a:lnTo>
                    <a:pt x="4146" y="510"/>
                  </a:lnTo>
                  <a:lnTo>
                    <a:pt x="4134" y="534"/>
                  </a:lnTo>
                  <a:lnTo>
                    <a:pt x="4110" y="528"/>
                  </a:lnTo>
                  <a:lnTo>
                    <a:pt x="4110" y="516"/>
                  </a:lnTo>
                  <a:lnTo>
                    <a:pt x="4116" y="504"/>
                  </a:lnTo>
                  <a:lnTo>
                    <a:pt x="4122" y="498"/>
                  </a:lnTo>
                  <a:lnTo>
                    <a:pt x="4134" y="492"/>
                  </a:lnTo>
                  <a:lnTo>
                    <a:pt x="4152" y="492"/>
                  </a:lnTo>
                  <a:lnTo>
                    <a:pt x="4164" y="480"/>
                  </a:lnTo>
                  <a:lnTo>
                    <a:pt x="4206" y="474"/>
                  </a:lnTo>
                  <a:lnTo>
                    <a:pt x="4248" y="438"/>
                  </a:lnTo>
                  <a:lnTo>
                    <a:pt x="4248" y="426"/>
                  </a:lnTo>
                  <a:lnTo>
                    <a:pt x="4254" y="420"/>
                  </a:lnTo>
                  <a:lnTo>
                    <a:pt x="4266" y="414"/>
                  </a:lnTo>
                  <a:lnTo>
                    <a:pt x="4278" y="414"/>
                  </a:lnTo>
                  <a:lnTo>
                    <a:pt x="4290" y="408"/>
                  </a:lnTo>
                  <a:lnTo>
                    <a:pt x="4302" y="408"/>
                  </a:lnTo>
                  <a:lnTo>
                    <a:pt x="4320" y="402"/>
                  </a:lnTo>
                  <a:lnTo>
                    <a:pt x="4332" y="402"/>
                  </a:lnTo>
                  <a:lnTo>
                    <a:pt x="4344" y="396"/>
                  </a:lnTo>
                  <a:lnTo>
                    <a:pt x="4350" y="390"/>
                  </a:lnTo>
                  <a:lnTo>
                    <a:pt x="4356" y="378"/>
                  </a:lnTo>
                  <a:lnTo>
                    <a:pt x="4350" y="366"/>
                  </a:lnTo>
                  <a:lnTo>
                    <a:pt x="4344" y="360"/>
                  </a:lnTo>
                  <a:lnTo>
                    <a:pt x="4332" y="354"/>
                  </a:lnTo>
                  <a:lnTo>
                    <a:pt x="4326" y="348"/>
                  </a:lnTo>
                  <a:lnTo>
                    <a:pt x="4290" y="348"/>
                  </a:lnTo>
                  <a:lnTo>
                    <a:pt x="4320" y="336"/>
                  </a:lnTo>
                  <a:lnTo>
                    <a:pt x="4314" y="330"/>
                  </a:lnTo>
                  <a:lnTo>
                    <a:pt x="4302" y="324"/>
                  </a:lnTo>
                  <a:lnTo>
                    <a:pt x="4290" y="312"/>
                  </a:lnTo>
                  <a:lnTo>
                    <a:pt x="4284" y="312"/>
                  </a:lnTo>
                  <a:lnTo>
                    <a:pt x="4278" y="318"/>
                  </a:lnTo>
                  <a:lnTo>
                    <a:pt x="4254" y="318"/>
                  </a:lnTo>
                  <a:lnTo>
                    <a:pt x="4248" y="312"/>
                  </a:lnTo>
                  <a:lnTo>
                    <a:pt x="4242" y="300"/>
                  </a:lnTo>
                  <a:lnTo>
                    <a:pt x="4236" y="294"/>
                  </a:lnTo>
                  <a:lnTo>
                    <a:pt x="4194" y="294"/>
                  </a:lnTo>
                  <a:lnTo>
                    <a:pt x="4188" y="300"/>
                  </a:lnTo>
                  <a:lnTo>
                    <a:pt x="4182" y="300"/>
                  </a:lnTo>
                  <a:lnTo>
                    <a:pt x="4128" y="288"/>
                  </a:lnTo>
                  <a:lnTo>
                    <a:pt x="3990" y="282"/>
                  </a:lnTo>
                  <a:lnTo>
                    <a:pt x="3990" y="300"/>
                  </a:lnTo>
                  <a:lnTo>
                    <a:pt x="3924" y="300"/>
                  </a:lnTo>
                  <a:lnTo>
                    <a:pt x="3942" y="282"/>
                  </a:lnTo>
                  <a:lnTo>
                    <a:pt x="3942" y="276"/>
                  </a:lnTo>
                  <a:lnTo>
                    <a:pt x="3936" y="270"/>
                  </a:lnTo>
                  <a:lnTo>
                    <a:pt x="3912" y="264"/>
                  </a:lnTo>
                  <a:lnTo>
                    <a:pt x="3882" y="264"/>
                  </a:lnTo>
                  <a:lnTo>
                    <a:pt x="3852" y="270"/>
                  </a:lnTo>
                  <a:lnTo>
                    <a:pt x="3840" y="270"/>
                  </a:lnTo>
                  <a:lnTo>
                    <a:pt x="3780" y="264"/>
                  </a:lnTo>
                  <a:lnTo>
                    <a:pt x="3792" y="264"/>
                  </a:lnTo>
                  <a:lnTo>
                    <a:pt x="3810" y="258"/>
                  </a:lnTo>
                  <a:lnTo>
                    <a:pt x="3822" y="258"/>
                  </a:lnTo>
                  <a:lnTo>
                    <a:pt x="3834" y="252"/>
                  </a:lnTo>
                  <a:lnTo>
                    <a:pt x="3840" y="252"/>
                  </a:lnTo>
                  <a:lnTo>
                    <a:pt x="3840" y="246"/>
                  </a:lnTo>
                  <a:lnTo>
                    <a:pt x="3834" y="240"/>
                  </a:lnTo>
                  <a:lnTo>
                    <a:pt x="3822" y="240"/>
                  </a:lnTo>
                  <a:lnTo>
                    <a:pt x="3804" y="234"/>
                  </a:lnTo>
                  <a:lnTo>
                    <a:pt x="3762" y="234"/>
                  </a:lnTo>
                  <a:lnTo>
                    <a:pt x="3720" y="228"/>
                  </a:lnTo>
                  <a:lnTo>
                    <a:pt x="3714" y="240"/>
                  </a:lnTo>
                  <a:lnTo>
                    <a:pt x="3684" y="240"/>
                  </a:lnTo>
                  <a:lnTo>
                    <a:pt x="3672" y="246"/>
                  </a:lnTo>
                  <a:lnTo>
                    <a:pt x="3660" y="246"/>
                  </a:lnTo>
                  <a:lnTo>
                    <a:pt x="3648" y="252"/>
                  </a:lnTo>
                  <a:lnTo>
                    <a:pt x="3648" y="258"/>
                  </a:lnTo>
                  <a:lnTo>
                    <a:pt x="3654" y="270"/>
                  </a:lnTo>
                  <a:lnTo>
                    <a:pt x="3678" y="282"/>
                  </a:lnTo>
                  <a:lnTo>
                    <a:pt x="3696" y="294"/>
                  </a:lnTo>
                  <a:lnTo>
                    <a:pt x="3708" y="294"/>
                  </a:lnTo>
                  <a:lnTo>
                    <a:pt x="3714" y="300"/>
                  </a:lnTo>
                  <a:lnTo>
                    <a:pt x="3720" y="300"/>
                  </a:lnTo>
                  <a:lnTo>
                    <a:pt x="3576" y="294"/>
                  </a:lnTo>
                  <a:lnTo>
                    <a:pt x="3630" y="312"/>
                  </a:lnTo>
                  <a:lnTo>
                    <a:pt x="3576" y="324"/>
                  </a:lnTo>
                  <a:lnTo>
                    <a:pt x="3564" y="330"/>
                  </a:lnTo>
                  <a:lnTo>
                    <a:pt x="3534" y="336"/>
                  </a:lnTo>
                  <a:lnTo>
                    <a:pt x="3498" y="342"/>
                  </a:lnTo>
                  <a:lnTo>
                    <a:pt x="3474" y="342"/>
                  </a:lnTo>
                  <a:lnTo>
                    <a:pt x="3468" y="336"/>
                  </a:lnTo>
                  <a:lnTo>
                    <a:pt x="3474" y="324"/>
                  </a:lnTo>
                  <a:lnTo>
                    <a:pt x="3486" y="312"/>
                  </a:lnTo>
                  <a:lnTo>
                    <a:pt x="3420" y="312"/>
                  </a:lnTo>
                  <a:lnTo>
                    <a:pt x="3408" y="318"/>
                  </a:lnTo>
                  <a:lnTo>
                    <a:pt x="3390" y="318"/>
                  </a:lnTo>
                  <a:lnTo>
                    <a:pt x="3378" y="324"/>
                  </a:lnTo>
                  <a:lnTo>
                    <a:pt x="3366" y="336"/>
                  </a:lnTo>
                  <a:lnTo>
                    <a:pt x="3348" y="336"/>
                  </a:lnTo>
                  <a:lnTo>
                    <a:pt x="3318" y="342"/>
                  </a:lnTo>
                  <a:lnTo>
                    <a:pt x="3276" y="342"/>
                  </a:lnTo>
                  <a:lnTo>
                    <a:pt x="3246" y="348"/>
                  </a:lnTo>
                  <a:lnTo>
                    <a:pt x="3234" y="354"/>
                  </a:lnTo>
                  <a:lnTo>
                    <a:pt x="3216" y="354"/>
                  </a:lnTo>
                  <a:lnTo>
                    <a:pt x="3204" y="360"/>
                  </a:lnTo>
                  <a:lnTo>
                    <a:pt x="3186" y="360"/>
                  </a:lnTo>
                  <a:lnTo>
                    <a:pt x="3180" y="366"/>
                  </a:lnTo>
                  <a:lnTo>
                    <a:pt x="3174" y="366"/>
                  </a:lnTo>
                  <a:lnTo>
                    <a:pt x="3132" y="396"/>
                  </a:lnTo>
                  <a:lnTo>
                    <a:pt x="3114" y="396"/>
                  </a:lnTo>
                  <a:lnTo>
                    <a:pt x="3108" y="402"/>
                  </a:lnTo>
                  <a:lnTo>
                    <a:pt x="3102" y="402"/>
                  </a:lnTo>
                  <a:lnTo>
                    <a:pt x="3096" y="408"/>
                  </a:lnTo>
                  <a:lnTo>
                    <a:pt x="3102" y="414"/>
                  </a:lnTo>
                  <a:lnTo>
                    <a:pt x="3120" y="426"/>
                  </a:lnTo>
                  <a:lnTo>
                    <a:pt x="3132" y="438"/>
                  </a:lnTo>
                  <a:lnTo>
                    <a:pt x="3150" y="444"/>
                  </a:lnTo>
                  <a:lnTo>
                    <a:pt x="3156" y="450"/>
                  </a:lnTo>
                  <a:lnTo>
                    <a:pt x="3162" y="450"/>
                  </a:lnTo>
                  <a:lnTo>
                    <a:pt x="3120" y="462"/>
                  </a:lnTo>
                  <a:lnTo>
                    <a:pt x="3096" y="474"/>
                  </a:lnTo>
                  <a:lnTo>
                    <a:pt x="2994" y="474"/>
                  </a:lnTo>
                  <a:lnTo>
                    <a:pt x="2988" y="480"/>
                  </a:lnTo>
                  <a:lnTo>
                    <a:pt x="2952" y="468"/>
                  </a:lnTo>
                  <a:lnTo>
                    <a:pt x="2934" y="474"/>
                  </a:lnTo>
                  <a:lnTo>
                    <a:pt x="2880" y="474"/>
                  </a:lnTo>
                  <a:lnTo>
                    <a:pt x="2874" y="480"/>
                  </a:lnTo>
                  <a:lnTo>
                    <a:pt x="2874" y="498"/>
                  </a:lnTo>
                  <a:lnTo>
                    <a:pt x="2880" y="510"/>
                  </a:lnTo>
                  <a:lnTo>
                    <a:pt x="2892" y="522"/>
                  </a:lnTo>
                  <a:lnTo>
                    <a:pt x="2898" y="522"/>
                  </a:lnTo>
                  <a:lnTo>
                    <a:pt x="2904" y="528"/>
                  </a:lnTo>
                  <a:lnTo>
                    <a:pt x="2910" y="540"/>
                  </a:lnTo>
                  <a:lnTo>
                    <a:pt x="2916" y="546"/>
                  </a:lnTo>
                  <a:lnTo>
                    <a:pt x="2922" y="546"/>
                  </a:lnTo>
                  <a:lnTo>
                    <a:pt x="2928" y="552"/>
                  </a:lnTo>
                  <a:lnTo>
                    <a:pt x="2940" y="552"/>
                  </a:lnTo>
                  <a:lnTo>
                    <a:pt x="2952" y="558"/>
                  </a:lnTo>
                  <a:lnTo>
                    <a:pt x="2964" y="558"/>
                  </a:lnTo>
                  <a:lnTo>
                    <a:pt x="2976" y="564"/>
                  </a:lnTo>
                  <a:lnTo>
                    <a:pt x="2994" y="564"/>
                  </a:lnTo>
                  <a:lnTo>
                    <a:pt x="3012" y="570"/>
                  </a:lnTo>
                  <a:lnTo>
                    <a:pt x="3024" y="570"/>
                  </a:lnTo>
                  <a:lnTo>
                    <a:pt x="3036" y="576"/>
                  </a:lnTo>
                  <a:lnTo>
                    <a:pt x="3042" y="576"/>
                  </a:lnTo>
                  <a:lnTo>
                    <a:pt x="3054" y="588"/>
                  </a:lnTo>
                  <a:lnTo>
                    <a:pt x="3054" y="594"/>
                  </a:lnTo>
                  <a:lnTo>
                    <a:pt x="3060" y="600"/>
                  </a:lnTo>
                  <a:lnTo>
                    <a:pt x="3030" y="600"/>
                  </a:lnTo>
                  <a:lnTo>
                    <a:pt x="3012" y="606"/>
                  </a:lnTo>
                  <a:lnTo>
                    <a:pt x="3000" y="606"/>
                  </a:lnTo>
                  <a:lnTo>
                    <a:pt x="2964" y="588"/>
                  </a:lnTo>
                  <a:lnTo>
                    <a:pt x="2928" y="576"/>
                  </a:lnTo>
                  <a:lnTo>
                    <a:pt x="2904" y="570"/>
                  </a:lnTo>
                  <a:lnTo>
                    <a:pt x="2886" y="564"/>
                  </a:lnTo>
                  <a:lnTo>
                    <a:pt x="2862" y="564"/>
                  </a:lnTo>
                  <a:lnTo>
                    <a:pt x="2844" y="558"/>
                  </a:lnTo>
                  <a:lnTo>
                    <a:pt x="2802" y="558"/>
                  </a:lnTo>
                  <a:lnTo>
                    <a:pt x="2796" y="564"/>
                  </a:lnTo>
                  <a:lnTo>
                    <a:pt x="2796" y="576"/>
                  </a:lnTo>
                  <a:lnTo>
                    <a:pt x="2802" y="582"/>
                  </a:lnTo>
                  <a:lnTo>
                    <a:pt x="2808" y="582"/>
                  </a:lnTo>
                  <a:lnTo>
                    <a:pt x="2820" y="594"/>
                  </a:lnTo>
                  <a:lnTo>
                    <a:pt x="2784" y="594"/>
                  </a:lnTo>
                  <a:lnTo>
                    <a:pt x="2772" y="582"/>
                  </a:lnTo>
                  <a:lnTo>
                    <a:pt x="2754" y="582"/>
                  </a:lnTo>
                  <a:lnTo>
                    <a:pt x="2748" y="576"/>
                  </a:lnTo>
                  <a:lnTo>
                    <a:pt x="2724" y="576"/>
                  </a:lnTo>
                  <a:lnTo>
                    <a:pt x="2724" y="582"/>
                  </a:lnTo>
                  <a:lnTo>
                    <a:pt x="2730" y="600"/>
                  </a:lnTo>
                  <a:lnTo>
                    <a:pt x="2736" y="612"/>
                  </a:lnTo>
                  <a:lnTo>
                    <a:pt x="2748" y="618"/>
                  </a:lnTo>
                  <a:lnTo>
                    <a:pt x="2766" y="624"/>
                  </a:lnTo>
                  <a:lnTo>
                    <a:pt x="2802" y="624"/>
                  </a:lnTo>
                  <a:lnTo>
                    <a:pt x="2820" y="630"/>
                  </a:lnTo>
                  <a:lnTo>
                    <a:pt x="2844" y="630"/>
                  </a:lnTo>
                  <a:lnTo>
                    <a:pt x="2856" y="636"/>
                  </a:lnTo>
                  <a:lnTo>
                    <a:pt x="2862" y="648"/>
                  </a:lnTo>
                  <a:lnTo>
                    <a:pt x="2874" y="654"/>
                  </a:lnTo>
                  <a:lnTo>
                    <a:pt x="2844" y="654"/>
                  </a:lnTo>
                  <a:lnTo>
                    <a:pt x="2838" y="648"/>
                  </a:lnTo>
                  <a:lnTo>
                    <a:pt x="2826" y="642"/>
                  </a:lnTo>
                  <a:lnTo>
                    <a:pt x="2772" y="642"/>
                  </a:lnTo>
                  <a:lnTo>
                    <a:pt x="2760" y="636"/>
                  </a:lnTo>
                  <a:lnTo>
                    <a:pt x="2730" y="636"/>
                  </a:lnTo>
                  <a:lnTo>
                    <a:pt x="2724" y="624"/>
                  </a:lnTo>
                  <a:lnTo>
                    <a:pt x="2700" y="624"/>
                  </a:lnTo>
                  <a:lnTo>
                    <a:pt x="2694" y="606"/>
                  </a:lnTo>
                  <a:lnTo>
                    <a:pt x="2664" y="594"/>
                  </a:lnTo>
                  <a:lnTo>
                    <a:pt x="2670" y="588"/>
                  </a:lnTo>
                  <a:lnTo>
                    <a:pt x="2682" y="582"/>
                  </a:lnTo>
                  <a:lnTo>
                    <a:pt x="2688" y="576"/>
                  </a:lnTo>
                  <a:lnTo>
                    <a:pt x="2688" y="564"/>
                  </a:lnTo>
                  <a:lnTo>
                    <a:pt x="2658" y="534"/>
                  </a:lnTo>
                  <a:lnTo>
                    <a:pt x="2646" y="528"/>
                  </a:lnTo>
                  <a:lnTo>
                    <a:pt x="2616" y="528"/>
                  </a:lnTo>
                  <a:lnTo>
                    <a:pt x="2628" y="534"/>
                  </a:lnTo>
                  <a:lnTo>
                    <a:pt x="2652" y="558"/>
                  </a:lnTo>
                  <a:lnTo>
                    <a:pt x="2640" y="570"/>
                  </a:lnTo>
                  <a:lnTo>
                    <a:pt x="2616" y="582"/>
                  </a:lnTo>
                  <a:lnTo>
                    <a:pt x="2604" y="582"/>
                  </a:lnTo>
                  <a:lnTo>
                    <a:pt x="2586" y="624"/>
                  </a:lnTo>
                  <a:lnTo>
                    <a:pt x="2658" y="660"/>
                  </a:lnTo>
                  <a:lnTo>
                    <a:pt x="2676" y="660"/>
                  </a:lnTo>
                  <a:lnTo>
                    <a:pt x="2676" y="696"/>
                  </a:lnTo>
                  <a:lnTo>
                    <a:pt x="2670" y="708"/>
                  </a:lnTo>
                  <a:lnTo>
                    <a:pt x="2670" y="720"/>
                  </a:lnTo>
                  <a:lnTo>
                    <a:pt x="2676" y="738"/>
                  </a:lnTo>
                  <a:lnTo>
                    <a:pt x="2712" y="744"/>
                  </a:lnTo>
                  <a:lnTo>
                    <a:pt x="2712" y="768"/>
                  </a:lnTo>
                  <a:lnTo>
                    <a:pt x="2772" y="780"/>
                  </a:lnTo>
                  <a:lnTo>
                    <a:pt x="2778" y="780"/>
                  </a:lnTo>
                  <a:lnTo>
                    <a:pt x="2784" y="774"/>
                  </a:lnTo>
                  <a:lnTo>
                    <a:pt x="2796" y="774"/>
                  </a:lnTo>
                  <a:lnTo>
                    <a:pt x="2814" y="768"/>
                  </a:lnTo>
                  <a:lnTo>
                    <a:pt x="2850" y="768"/>
                  </a:lnTo>
                  <a:lnTo>
                    <a:pt x="2868" y="774"/>
                  </a:lnTo>
                  <a:lnTo>
                    <a:pt x="2874" y="780"/>
                  </a:lnTo>
                  <a:lnTo>
                    <a:pt x="2886" y="786"/>
                  </a:lnTo>
                  <a:lnTo>
                    <a:pt x="2904" y="786"/>
                  </a:lnTo>
                  <a:lnTo>
                    <a:pt x="2916" y="792"/>
                  </a:lnTo>
                  <a:lnTo>
                    <a:pt x="2952" y="804"/>
                  </a:lnTo>
                  <a:lnTo>
                    <a:pt x="2976" y="828"/>
                  </a:lnTo>
                  <a:lnTo>
                    <a:pt x="2976" y="834"/>
                  </a:lnTo>
                  <a:lnTo>
                    <a:pt x="2964" y="834"/>
                  </a:lnTo>
                  <a:lnTo>
                    <a:pt x="2958" y="840"/>
                  </a:lnTo>
                  <a:lnTo>
                    <a:pt x="2946" y="840"/>
                  </a:lnTo>
                  <a:lnTo>
                    <a:pt x="2940" y="846"/>
                  </a:lnTo>
                  <a:lnTo>
                    <a:pt x="2946" y="852"/>
                  </a:lnTo>
                  <a:lnTo>
                    <a:pt x="2958" y="858"/>
                  </a:lnTo>
                  <a:lnTo>
                    <a:pt x="2976" y="876"/>
                  </a:lnTo>
                  <a:lnTo>
                    <a:pt x="3024" y="876"/>
                  </a:lnTo>
                  <a:lnTo>
                    <a:pt x="3012" y="882"/>
                  </a:lnTo>
                  <a:lnTo>
                    <a:pt x="3006" y="882"/>
                  </a:lnTo>
                  <a:lnTo>
                    <a:pt x="2994" y="888"/>
                  </a:lnTo>
                  <a:lnTo>
                    <a:pt x="2970" y="888"/>
                  </a:lnTo>
                  <a:lnTo>
                    <a:pt x="2958" y="882"/>
                  </a:lnTo>
                  <a:lnTo>
                    <a:pt x="2952" y="876"/>
                  </a:lnTo>
                  <a:lnTo>
                    <a:pt x="2940" y="870"/>
                  </a:lnTo>
                  <a:lnTo>
                    <a:pt x="2940" y="858"/>
                  </a:lnTo>
                  <a:lnTo>
                    <a:pt x="2928" y="834"/>
                  </a:lnTo>
                  <a:lnTo>
                    <a:pt x="2916" y="822"/>
                  </a:lnTo>
                  <a:lnTo>
                    <a:pt x="2892" y="810"/>
                  </a:lnTo>
                  <a:lnTo>
                    <a:pt x="2886" y="804"/>
                  </a:lnTo>
                  <a:lnTo>
                    <a:pt x="2880" y="804"/>
                  </a:lnTo>
                  <a:lnTo>
                    <a:pt x="2874" y="798"/>
                  </a:lnTo>
                  <a:lnTo>
                    <a:pt x="2874" y="786"/>
                  </a:lnTo>
                  <a:lnTo>
                    <a:pt x="2868" y="780"/>
                  </a:lnTo>
                  <a:lnTo>
                    <a:pt x="2844" y="780"/>
                  </a:lnTo>
                  <a:lnTo>
                    <a:pt x="2832" y="786"/>
                  </a:lnTo>
                  <a:lnTo>
                    <a:pt x="2814" y="786"/>
                  </a:lnTo>
                  <a:lnTo>
                    <a:pt x="2802" y="792"/>
                  </a:lnTo>
                  <a:lnTo>
                    <a:pt x="2778" y="792"/>
                  </a:lnTo>
                  <a:lnTo>
                    <a:pt x="2760" y="810"/>
                  </a:lnTo>
                  <a:lnTo>
                    <a:pt x="2766" y="816"/>
                  </a:lnTo>
                  <a:lnTo>
                    <a:pt x="2772" y="828"/>
                  </a:lnTo>
                  <a:lnTo>
                    <a:pt x="2784" y="834"/>
                  </a:lnTo>
                  <a:lnTo>
                    <a:pt x="2802" y="852"/>
                  </a:lnTo>
                  <a:lnTo>
                    <a:pt x="2814" y="858"/>
                  </a:lnTo>
                  <a:lnTo>
                    <a:pt x="2814" y="864"/>
                  </a:lnTo>
                  <a:lnTo>
                    <a:pt x="2790" y="888"/>
                  </a:lnTo>
                  <a:lnTo>
                    <a:pt x="2784" y="888"/>
                  </a:lnTo>
                  <a:lnTo>
                    <a:pt x="2778" y="930"/>
                  </a:lnTo>
                  <a:lnTo>
                    <a:pt x="2736" y="948"/>
                  </a:lnTo>
                  <a:lnTo>
                    <a:pt x="2736" y="954"/>
                  </a:lnTo>
                  <a:lnTo>
                    <a:pt x="2730" y="966"/>
                  </a:lnTo>
                  <a:lnTo>
                    <a:pt x="2724" y="972"/>
                  </a:lnTo>
                  <a:lnTo>
                    <a:pt x="2694" y="972"/>
                  </a:lnTo>
                  <a:lnTo>
                    <a:pt x="2682" y="966"/>
                  </a:lnTo>
                  <a:lnTo>
                    <a:pt x="2652" y="966"/>
                  </a:lnTo>
                  <a:lnTo>
                    <a:pt x="2592" y="960"/>
                  </a:lnTo>
                  <a:lnTo>
                    <a:pt x="2586" y="960"/>
                  </a:lnTo>
                  <a:lnTo>
                    <a:pt x="2580" y="954"/>
                  </a:lnTo>
                  <a:lnTo>
                    <a:pt x="2568" y="948"/>
                  </a:lnTo>
                  <a:lnTo>
                    <a:pt x="2556" y="948"/>
                  </a:lnTo>
                  <a:lnTo>
                    <a:pt x="2544" y="936"/>
                  </a:lnTo>
                  <a:lnTo>
                    <a:pt x="2598" y="936"/>
                  </a:lnTo>
                  <a:lnTo>
                    <a:pt x="2616" y="942"/>
                  </a:lnTo>
                  <a:lnTo>
                    <a:pt x="2640" y="924"/>
                  </a:lnTo>
                  <a:lnTo>
                    <a:pt x="2652" y="924"/>
                  </a:lnTo>
                  <a:lnTo>
                    <a:pt x="2664" y="930"/>
                  </a:lnTo>
                  <a:lnTo>
                    <a:pt x="2682" y="930"/>
                  </a:lnTo>
                  <a:lnTo>
                    <a:pt x="2694" y="924"/>
                  </a:lnTo>
                  <a:lnTo>
                    <a:pt x="2694" y="906"/>
                  </a:lnTo>
                  <a:lnTo>
                    <a:pt x="2700" y="894"/>
                  </a:lnTo>
                  <a:lnTo>
                    <a:pt x="2700" y="882"/>
                  </a:lnTo>
                  <a:lnTo>
                    <a:pt x="2724" y="876"/>
                  </a:lnTo>
                  <a:lnTo>
                    <a:pt x="2724" y="852"/>
                  </a:lnTo>
                  <a:lnTo>
                    <a:pt x="2712" y="852"/>
                  </a:lnTo>
                  <a:lnTo>
                    <a:pt x="2718" y="846"/>
                  </a:lnTo>
                  <a:lnTo>
                    <a:pt x="2724" y="834"/>
                  </a:lnTo>
                  <a:lnTo>
                    <a:pt x="2724" y="822"/>
                  </a:lnTo>
                  <a:lnTo>
                    <a:pt x="2718" y="816"/>
                  </a:lnTo>
                  <a:lnTo>
                    <a:pt x="2712" y="816"/>
                  </a:lnTo>
                  <a:lnTo>
                    <a:pt x="2700" y="810"/>
                  </a:lnTo>
                  <a:lnTo>
                    <a:pt x="2682" y="810"/>
                  </a:lnTo>
                  <a:lnTo>
                    <a:pt x="2664" y="804"/>
                  </a:lnTo>
                  <a:lnTo>
                    <a:pt x="2652" y="804"/>
                  </a:lnTo>
                  <a:lnTo>
                    <a:pt x="2634" y="786"/>
                  </a:lnTo>
                  <a:lnTo>
                    <a:pt x="2634" y="744"/>
                  </a:lnTo>
                  <a:lnTo>
                    <a:pt x="2628" y="732"/>
                  </a:lnTo>
                  <a:lnTo>
                    <a:pt x="2616" y="720"/>
                  </a:lnTo>
                  <a:lnTo>
                    <a:pt x="2604" y="714"/>
                  </a:lnTo>
                  <a:lnTo>
                    <a:pt x="2598" y="702"/>
                  </a:lnTo>
                  <a:lnTo>
                    <a:pt x="2592" y="696"/>
                  </a:lnTo>
                  <a:lnTo>
                    <a:pt x="2586" y="660"/>
                  </a:lnTo>
                  <a:lnTo>
                    <a:pt x="2520" y="624"/>
                  </a:lnTo>
                  <a:lnTo>
                    <a:pt x="2532" y="612"/>
                  </a:lnTo>
                  <a:lnTo>
                    <a:pt x="2544" y="588"/>
                  </a:lnTo>
                  <a:lnTo>
                    <a:pt x="2544" y="576"/>
                  </a:lnTo>
                  <a:lnTo>
                    <a:pt x="2538" y="564"/>
                  </a:lnTo>
                  <a:lnTo>
                    <a:pt x="2514" y="540"/>
                  </a:lnTo>
                  <a:lnTo>
                    <a:pt x="2496" y="540"/>
                  </a:lnTo>
                  <a:lnTo>
                    <a:pt x="2484" y="534"/>
                  </a:lnTo>
                  <a:lnTo>
                    <a:pt x="2472" y="534"/>
                  </a:lnTo>
                  <a:lnTo>
                    <a:pt x="2340" y="522"/>
                  </a:lnTo>
                  <a:lnTo>
                    <a:pt x="2328" y="552"/>
                  </a:lnTo>
                  <a:lnTo>
                    <a:pt x="2346" y="570"/>
                  </a:lnTo>
                  <a:lnTo>
                    <a:pt x="2334" y="600"/>
                  </a:lnTo>
                  <a:lnTo>
                    <a:pt x="2280" y="624"/>
                  </a:lnTo>
                  <a:lnTo>
                    <a:pt x="2268" y="654"/>
                  </a:lnTo>
                  <a:lnTo>
                    <a:pt x="2304" y="660"/>
                  </a:lnTo>
                  <a:lnTo>
                    <a:pt x="2334" y="708"/>
                  </a:lnTo>
                  <a:lnTo>
                    <a:pt x="2322" y="726"/>
                  </a:lnTo>
                  <a:lnTo>
                    <a:pt x="2352" y="750"/>
                  </a:lnTo>
                  <a:lnTo>
                    <a:pt x="2388" y="744"/>
                  </a:lnTo>
                  <a:lnTo>
                    <a:pt x="2394" y="750"/>
                  </a:lnTo>
                  <a:lnTo>
                    <a:pt x="2400" y="762"/>
                  </a:lnTo>
                  <a:lnTo>
                    <a:pt x="2412" y="768"/>
                  </a:lnTo>
                  <a:lnTo>
                    <a:pt x="2418" y="774"/>
                  </a:lnTo>
                  <a:lnTo>
                    <a:pt x="2430" y="780"/>
                  </a:lnTo>
                  <a:lnTo>
                    <a:pt x="2472" y="780"/>
                  </a:lnTo>
                  <a:lnTo>
                    <a:pt x="2466" y="840"/>
                  </a:lnTo>
                  <a:lnTo>
                    <a:pt x="2448" y="816"/>
                  </a:lnTo>
                  <a:lnTo>
                    <a:pt x="2430" y="828"/>
                  </a:lnTo>
                  <a:lnTo>
                    <a:pt x="2418" y="822"/>
                  </a:lnTo>
                  <a:lnTo>
                    <a:pt x="2388" y="804"/>
                  </a:lnTo>
                  <a:lnTo>
                    <a:pt x="2352" y="792"/>
                  </a:lnTo>
                  <a:lnTo>
                    <a:pt x="2328" y="780"/>
                  </a:lnTo>
                  <a:lnTo>
                    <a:pt x="2268" y="780"/>
                  </a:lnTo>
                  <a:lnTo>
                    <a:pt x="2250" y="762"/>
                  </a:lnTo>
                  <a:lnTo>
                    <a:pt x="2244" y="780"/>
                  </a:lnTo>
                  <a:lnTo>
                    <a:pt x="2220" y="756"/>
                  </a:lnTo>
                  <a:lnTo>
                    <a:pt x="2214" y="756"/>
                  </a:lnTo>
                  <a:lnTo>
                    <a:pt x="2208" y="750"/>
                  </a:lnTo>
                  <a:lnTo>
                    <a:pt x="2196" y="744"/>
                  </a:lnTo>
                  <a:lnTo>
                    <a:pt x="2178" y="744"/>
                  </a:lnTo>
                  <a:lnTo>
                    <a:pt x="2154" y="732"/>
                  </a:lnTo>
                  <a:lnTo>
                    <a:pt x="2130" y="732"/>
                  </a:lnTo>
                  <a:lnTo>
                    <a:pt x="2118" y="738"/>
                  </a:lnTo>
                  <a:lnTo>
                    <a:pt x="2088" y="738"/>
                  </a:lnTo>
                  <a:lnTo>
                    <a:pt x="2076" y="732"/>
                  </a:lnTo>
                  <a:lnTo>
                    <a:pt x="2022" y="732"/>
                  </a:lnTo>
                  <a:lnTo>
                    <a:pt x="2016" y="738"/>
                  </a:lnTo>
                  <a:lnTo>
                    <a:pt x="2010" y="738"/>
                  </a:lnTo>
                  <a:lnTo>
                    <a:pt x="2004" y="744"/>
                  </a:lnTo>
                  <a:lnTo>
                    <a:pt x="2004" y="750"/>
                  </a:lnTo>
                  <a:lnTo>
                    <a:pt x="2016" y="762"/>
                  </a:lnTo>
                  <a:lnTo>
                    <a:pt x="2028" y="768"/>
                  </a:lnTo>
                  <a:lnTo>
                    <a:pt x="2040" y="780"/>
                  </a:lnTo>
                  <a:lnTo>
                    <a:pt x="2046" y="780"/>
                  </a:lnTo>
                  <a:lnTo>
                    <a:pt x="2022" y="810"/>
                  </a:lnTo>
                  <a:lnTo>
                    <a:pt x="2010" y="798"/>
                  </a:lnTo>
                  <a:lnTo>
                    <a:pt x="2010" y="828"/>
                  </a:lnTo>
                  <a:lnTo>
                    <a:pt x="1998" y="828"/>
                  </a:lnTo>
                  <a:lnTo>
                    <a:pt x="1986" y="822"/>
                  </a:lnTo>
                  <a:lnTo>
                    <a:pt x="1980" y="822"/>
                  </a:lnTo>
                  <a:lnTo>
                    <a:pt x="1974" y="816"/>
                  </a:lnTo>
                  <a:lnTo>
                    <a:pt x="1974" y="786"/>
                  </a:lnTo>
                  <a:lnTo>
                    <a:pt x="1968" y="780"/>
                  </a:lnTo>
                  <a:lnTo>
                    <a:pt x="1950" y="780"/>
                  </a:lnTo>
                  <a:lnTo>
                    <a:pt x="1938" y="786"/>
                  </a:lnTo>
                  <a:lnTo>
                    <a:pt x="1920" y="792"/>
                  </a:lnTo>
                  <a:lnTo>
                    <a:pt x="1908" y="804"/>
                  </a:lnTo>
                  <a:lnTo>
                    <a:pt x="1884" y="816"/>
                  </a:lnTo>
                  <a:lnTo>
                    <a:pt x="1866" y="816"/>
                  </a:lnTo>
                  <a:lnTo>
                    <a:pt x="1842" y="804"/>
                  </a:lnTo>
                  <a:lnTo>
                    <a:pt x="1824" y="804"/>
                  </a:lnTo>
                  <a:lnTo>
                    <a:pt x="1800" y="810"/>
                  </a:lnTo>
                  <a:lnTo>
                    <a:pt x="1782" y="816"/>
                  </a:lnTo>
                  <a:lnTo>
                    <a:pt x="1764" y="828"/>
                  </a:lnTo>
                  <a:lnTo>
                    <a:pt x="1752" y="834"/>
                  </a:lnTo>
                  <a:lnTo>
                    <a:pt x="1746" y="840"/>
                  </a:lnTo>
                  <a:lnTo>
                    <a:pt x="1680" y="840"/>
                  </a:lnTo>
                  <a:lnTo>
                    <a:pt x="1692" y="816"/>
                  </a:lnTo>
                  <a:lnTo>
                    <a:pt x="1692" y="780"/>
                  </a:lnTo>
                  <a:lnTo>
                    <a:pt x="1680" y="780"/>
                  </a:lnTo>
                  <a:lnTo>
                    <a:pt x="1668" y="786"/>
                  </a:lnTo>
                  <a:lnTo>
                    <a:pt x="1650" y="792"/>
                  </a:lnTo>
                  <a:lnTo>
                    <a:pt x="1638" y="792"/>
                  </a:lnTo>
                  <a:lnTo>
                    <a:pt x="1626" y="804"/>
                  </a:lnTo>
                  <a:lnTo>
                    <a:pt x="1626" y="816"/>
                  </a:lnTo>
                  <a:lnTo>
                    <a:pt x="1632" y="822"/>
                  </a:lnTo>
                  <a:lnTo>
                    <a:pt x="1632" y="828"/>
                  </a:lnTo>
                  <a:lnTo>
                    <a:pt x="1608" y="834"/>
                  </a:lnTo>
                  <a:lnTo>
                    <a:pt x="1608" y="810"/>
                  </a:lnTo>
                  <a:lnTo>
                    <a:pt x="1584" y="816"/>
                  </a:lnTo>
                  <a:lnTo>
                    <a:pt x="1530" y="822"/>
                  </a:lnTo>
                  <a:lnTo>
                    <a:pt x="1488" y="852"/>
                  </a:lnTo>
                  <a:lnTo>
                    <a:pt x="1440" y="858"/>
                  </a:lnTo>
                  <a:lnTo>
                    <a:pt x="1452" y="876"/>
                  </a:lnTo>
                  <a:lnTo>
                    <a:pt x="1440" y="876"/>
                  </a:lnTo>
                  <a:lnTo>
                    <a:pt x="1428" y="870"/>
                  </a:lnTo>
                  <a:lnTo>
                    <a:pt x="1422" y="870"/>
                  </a:lnTo>
                  <a:lnTo>
                    <a:pt x="1410" y="876"/>
                  </a:lnTo>
                  <a:lnTo>
                    <a:pt x="1404" y="882"/>
                  </a:lnTo>
                  <a:lnTo>
                    <a:pt x="1404" y="924"/>
                  </a:lnTo>
                  <a:lnTo>
                    <a:pt x="1332" y="930"/>
                  </a:lnTo>
                  <a:lnTo>
                    <a:pt x="1326" y="924"/>
                  </a:lnTo>
                  <a:lnTo>
                    <a:pt x="1314" y="918"/>
                  </a:lnTo>
                  <a:lnTo>
                    <a:pt x="1308" y="912"/>
                  </a:lnTo>
                  <a:lnTo>
                    <a:pt x="1266" y="912"/>
                  </a:lnTo>
                  <a:lnTo>
                    <a:pt x="1260" y="906"/>
                  </a:lnTo>
                  <a:lnTo>
                    <a:pt x="1260" y="876"/>
                  </a:lnTo>
                  <a:lnTo>
                    <a:pt x="1266" y="870"/>
                  </a:lnTo>
                  <a:lnTo>
                    <a:pt x="1266" y="864"/>
                  </a:lnTo>
                  <a:lnTo>
                    <a:pt x="1272" y="858"/>
                  </a:lnTo>
                  <a:lnTo>
                    <a:pt x="1284" y="864"/>
                  </a:lnTo>
                  <a:lnTo>
                    <a:pt x="1344" y="864"/>
                  </a:lnTo>
                  <a:lnTo>
                    <a:pt x="1332" y="858"/>
                  </a:lnTo>
                  <a:lnTo>
                    <a:pt x="1326" y="846"/>
                  </a:lnTo>
                  <a:lnTo>
                    <a:pt x="1314" y="840"/>
                  </a:lnTo>
                  <a:lnTo>
                    <a:pt x="1302" y="828"/>
                  </a:lnTo>
                  <a:lnTo>
                    <a:pt x="1290" y="822"/>
                  </a:lnTo>
                  <a:lnTo>
                    <a:pt x="1278" y="810"/>
                  </a:lnTo>
                  <a:lnTo>
                    <a:pt x="1152" y="810"/>
                  </a:lnTo>
                  <a:lnTo>
                    <a:pt x="1164" y="822"/>
                  </a:lnTo>
                  <a:lnTo>
                    <a:pt x="1188" y="822"/>
                  </a:lnTo>
                  <a:lnTo>
                    <a:pt x="1200" y="828"/>
                  </a:lnTo>
                  <a:lnTo>
                    <a:pt x="1200" y="846"/>
                  </a:lnTo>
                  <a:lnTo>
                    <a:pt x="1194" y="864"/>
                  </a:lnTo>
                  <a:lnTo>
                    <a:pt x="1194" y="876"/>
                  </a:lnTo>
                  <a:lnTo>
                    <a:pt x="1188" y="894"/>
                  </a:lnTo>
                  <a:lnTo>
                    <a:pt x="1188" y="918"/>
                  </a:lnTo>
                  <a:lnTo>
                    <a:pt x="1194" y="918"/>
                  </a:lnTo>
                  <a:lnTo>
                    <a:pt x="1206" y="924"/>
                  </a:lnTo>
                  <a:lnTo>
                    <a:pt x="1230" y="924"/>
                  </a:lnTo>
                  <a:lnTo>
                    <a:pt x="1236" y="930"/>
                  </a:lnTo>
                  <a:lnTo>
                    <a:pt x="1242" y="930"/>
                  </a:lnTo>
                  <a:lnTo>
                    <a:pt x="1236" y="966"/>
                  </a:lnTo>
                  <a:lnTo>
                    <a:pt x="1248" y="996"/>
                  </a:lnTo>
                  <a:lnTo>
                    <a:pt x="1212" y="972"/>
                  </a:lnTo>
                  <a:lnTo>
                    <a:pt x="1194" y="996"/>
                  </a:lnTo>
                  <a:lnTo>
                    <a:pt x="1188" y="966"/>
                  </a:lnTo>
                  <a:lnTo>
                    <a:pt x="1116" y="948"/>
                  </a:lnTo>
                  <a:lnTo>
                    <a:pt x="1086" y="984"/>
                  </a:lnTo>
                  <a:lnTo>
                    <a:pt x="1062" y="984"/>
                  </a:lnTo>
                  <a:lnTo>
                    <a:pt x="1056" y="996"/>
                  </a:lnTo>
                  <a:lnTo>
                    <a:pt x="1044" y="1002"/>
                  </a:lnTo>
                  <a:lnTo>
                    <a:pt x="1038" y="1008"/>
                  </a:lnTo>
                  <a:lnTo>
                    <a:pt x="1026" y="1014"/>
                  </a:lnTo>
                  <a:lnTo>
                    <a:pt x="1014" y="1014"/>
                  </a:lnTo>
                  <a:lnTo>
                    <a:pt x="1002" y="1020"/>
                  </a:lnTo>
                  <a:lnTo>
                    <a:pt x="1002" y="1032"/>
                  </a:lnTo>
                  <a:lnTo>
                    <a:pt x="1008" y="1038"/>
                  </a:lnTo>
                  <a:lnTo>
                    <a:pt x="1020" y="1044"/>
                  </a:lnTo>
                  <a:lnTo>
                    <a:pt x="1032" y="1056"/>
                  </a:lnTo>
                  <a:lnTo>
                    <a:pt x="1044" y="1062"/>
                  </a:lnTo>
                  <a:lnTo>
                    <a:pt x="1050" y="1068"/>
                  </a:lnTo>
                  <a:lnTo>
                    <a:pt x="1062" y="1074"/>
                  </a:lnTo>
                  <a:lnTo>
                    <a:pt x="1080" y="1104"/>
                  </a:lnTo>
                  <a:lnTo>
                    <a:pt x="1050" y="1086"/>
                  </a:lnTo>
                  <a:lnTo>
                    <a:pt x="1038" y="1092"/>
                  </a:lnTo>
                  <a:lnTo>
                    <a:pt x="1032" y="1098"/>
                  </a:lnTo>
                  <a:lnTo>
                    <a:pt x="1020" y="1098"/>
                  </a:lnTo>
                  <a:lnTo>
                    <a:pt x="1008" y="1092"/>
                  </a:lnTo>
                  <a:lnTo>
                    <a:pt x="996" y="1092"/>
                  </a:lnTo>
                  <a:lnTo>
                    <a:pt x="978" y="1086"/>
                  </a:lnTo>
                  <a:lnTo>
                    <a:pt x="966" y="1080"/>
                  </a:lnTo>
                  <a:lnTo>
                    <a:pt x="948" y="1080"/>
                  </a:lnTo>
                  <a:lnTo>
                    <a:pt x="936" y="1074"/>
                  </a:lnTo>
                  <a:lnTo>
                    <a:pt x="924" y="1074"/>
                  </a:lnTo>
                  <a:lnTo>
                    <a:pt x="918" y="1068"/>
                  </a:lnTo>
                  <a:lnTo>
                    <a:pt x="918" y="1056"/>
                  </a:lnTo>
                  <a:lnTo>
                    <a:pt x="906" y="1050"/>
                  </a:lnTo>
                  <a:lnTo>
                    <a:pt x="888" y="1050"/>
                  </a:lnTo>
                  <a:lnTo>
                    <a:pt x="864" y="1062"/>
                  </a:lnTo>
                  <a:lnTo>
                    <a:pt x="858" y="1068"/>
                  </a:lnTo>
                  <a:lnTo>
                    <a:pt x="840" y="1068"/>
                  </a:lnTo>
                  <a:lnTo>
                    <a:pt x="882" y="1104"/>
                  </a:lnTo>
                  <a:lnTo>
                    <a:pt x="900" y="1104"/>
                  </a:lnTo>
                  <a:lnTo>
                    <a:pt x="912" y="1110"/>
                  </a:lnTo>
                  <a:lnTo>
                    <a:pt x="924" y="1110"/>
                  </a:lnTo>
                  <a:lnTo>
                    <a:pt x="936" y="1116"/>
                  </a:lnTo>
                  <a:lnTo>
                    <a:pt x="942" y="1116"/>
                  </a:lnTo>
                  <a:lnTo>
                    <a:pt x="942" y="1122"/>
                  </a:lnTo>
                  <a:lnTo>
                    <a:pt x="936" y="1134"/>
                  </a:lnTo>
                  <a:lnTo>
                    <a:pt x="924" y="1140"/>
                  </a:lnTo>
                  <a:lnTo>
                    <a:pt x="918" y="1146"/>
                  </a:lnTo>
                  <a:lnTo>
                    <a:pt x="852" y="1128"/>
                  </a:lnTo>
                  <a:lnTo>
                    <a:pt x="840" y="1122"/>
                  </a:lnTo>
                  <a:lnTo>
                    <a:pt x="834" y="1116"/>
                  </a:lnTo>
                  <a:lnTo>
                    <a:pt x="822" y="1110"/>
                  </a:lnTo>
                  <a:lnTo>
                    <a:pt x="762" y="1110"/>
                  </a:lnTo>
                  <a:lnTo>
                    <a:pt x="756" y="1104"/>
                  </a:lnTo>
                  <a:lnTo>
                    <a:pt x="756" y="1056"/>
                  </a:lnTo>
                  <a:lnTo>
                    <a:pt x="738" y="1044"/>
                  </a:lnTo>
                  <a:lnTo>
                    <a:pt x="750" y="1032"/>
                  </a:lnTo>
                  <a:lnTo>
                    <a:pt x="756" y="1020"/>
                  </a:lnTo>
                  <a:lnTo>
                    <a:pt x="756" y="1002"/>
                  </a:lnTo>
                  <a:lnTo>
                    <a:pt x="738" y="990"/>
                  </a:lnTo>
                  <a:lnTo>
                    <a:pt x="702" y="978"/>
                  </a:lnTo>
                  <a:lnTo>
                    <a:pt x="672" y="972"/>
                  </a:lnTo>
                  <a:lnTo>
                    <a:pt x="660" y="966"/>
                  </a:lnTo>
                  <a:lnTo>
                    <a:pt x="630" y="948"/>
                  </a:lnTo>
                  <a:lnTo>
                    <a:pt x="606" y="930"/>
                  </a:lnTo>
                  <a:lnTo>
                    <a:pt x="594" y="912"/>
                  </a:lnTo>
                  <a:lnTo>
                    <a:pt x="630" y="912"/>
                  </a:lnTo>
                  <a:lnTo>
                    <a:pt x="630" y="924"/>
                  </a:lnTo>
                  <a:lnTo>
                    <a:pt x="642" y="924"/>
                  </a:lnTo>
                  <a:lnTo>
                    <a:pt x="654" y="930"/>
                  </a:lnTo>
                  <a:lnTo>
                    <a:pt x="672" y="930"/>
                  </a:lnTo>
                  <a:lnTo>
                    <a:pt x="690" y="936"/>
                  </a:lnTo>
                  <a:lnTo>
                    <a:pt x="720" y="936"/>
                  </a:lnTo>
                  <a:lnTo>
                    <a:pt x="732" y="942"/>
                  </a:lnTo>
                  <a:lnTo>
                    <a:pt x="738" y="954"/>
                  </a:lnTo>
                  <a:lnTo>
                    <a:pt x="762" y="966"/>
                  </a:lnTo>
                  <a:lnTo>
                    <a:pt x="816" y="966"/>
                  </a:lnTo>
                  <a:lnTo>
                    <a:pt x="846" y="972"/>
                  </a:lnTo>
                  <a:lnTo>
                    <a:pt x="858" y="972"/>
                  </a:lnTo>
                  <a:lnTo>
                    <a:pt x="870" y="978"/>
                  </a:lnTo>
                  <a:lnTo>
                    <a:pt x="894" y="984"/>
                  </a:lnTo>
                  <a:lnTo>
                    <a:pt x="930" y="990"/>
                  </a:lnTo>
                  <a:lnTo>
                    <a:pt x="978" y="984"/>
                  </a:lnTo>
                  <a:lnTo>
                    <a:pt x="1026" y="972"/>
                  </a:lnTo>
                  <a:lnTo>
                    <a:pt x="1062" y="954"/>
                  </a:lnTo>
                  <a:lnTo>
                    <a:pt x="1080" y="936"/>
                  </a:lnTo>
                  <a:lnTo>
                    <a:pt x="1074" y="912"/>
                  </a:lnTo>
                  <a:lnTo>
                    <a:pt x="1032" y="870"/>
                  </a:lnTo>
                  <a:lnTo>
                    <a:pt x="1014" y="858"/>
                  </a:lnTo>
                  <a:lnTo>
                    <a:pt x="996" y="852"/>
                  </a:lnTo>
                  <a:lnTo>
                    <a:pt x="948" y="840"/>
                  </a:lnTo>
                  <a:lnTo>
                    <a:pt x="900" y="822"/>
                  </a:lnTo>
                  <a:lnTo>
                    <a:pt x="828" y="798"/>
                  </a:lnTo>
                  <a:lnTo>
                    <a:pt x="792" y="780"/>
                  </a:lnTo>
                  <a:lnTo>
                    <a:pt x="756" y="774"/>
                  </a:lnTo>
                  <a:lnTo>
                    <a:pt x="624" y="774"/>
                  </a:lnTo>
                  <a:lnTo>
                    <a:pt x="612" y="756"/>
                  </a:lnTo>
                  <a:lnTo>
                    <a:pt x="588" y="762"/>
                  </a:lnTo>
                  <a:lnTo>
                    <a:pt x="552" y="744"/>
                  </a:lnTo>
                  <a:lnTo>
                    <a:pt x="588" y="738"/>
                  </a:lnTo>
                  <a:lnTo>
                    <a:pt x="606" y="726"/>
                  </a:lnTo>
                  <a:lnTo>
                    <a:pt x="600" y="726"/>
                  </a:lnTo>
                  <a:lnTo>
                    <a:pt x="594" y="720"/>
                  </a:lnTo>
                  <a:lnTo>
                    <a:pt x="582" y="720"/>
                  </a:lnTo>
                  <a:lnTo>
                    <a:pt x="564" y="714"/>
                  </a:lnTo>
                  <a:lnTo>
                    <a:pt x="546" y="714"/>
                  </a:lnTo>
                  <a:lnTo>
                    <a:pt x="534" y="708"/>
                  </a:lnTo>
                  <a:lnTo>
                    <a:pt x="522" y="720"/>
                  </a:lnTo>
                  <a:lnTo>
                    <a:pt x="522" y="726"/>
                  </a:lnTo>
                  <a:lnTo>
                    <a:pt x="516" y="732"/>
                  </a:lnTo>
                  <a:lnTo>
                    <a:pt x="498" y="732"/>
                  </a:lnTo>
                  <a:lnTo>
                    <a:pt x="486" y="744"/>
                  </a:lnTo>
                  <a:lnTo>
                    <a:pt x="450" y="744"/>
                  </a:lnTo>
                  <a:lnTo>
                    <a:pt x="444" y="756"/>
                  </a:lnTo>
                  <a:lnTo>
                    <a:pt x="420" y="762"/>
                  </a:lnTo>
                  <a:lnTo>
                    <a:pt x="420" y="768"/>
                  </a:lnTo>
                  <a:lnTo>
                    <a:pt x="414" y="780"/>
                  </a:lnTo>
                  <a:lnTo>
                    <a:pt x="390" y="780"/>
                  </a:lnTo>
                  <a:lnTo>
                    <a:pt x="384" y="792"/>
                  </a:lnTo>
                  <a:lnTo>
                    <a:pt x="396" y="804"/>
                  </a:lnTo>
                  <a:lnTo>
                    <a:pt x="396" y="810"/>
                  </a:lnTo>
                  <a:lnTo>
                    <a:pt x="378" y="810"/>
                  </a:lnTo>
                  <a:lnTo>
                    <a:pt x="378" y="822"/>
                  </a:lnTo>
                  <a:lnTo>
                    <a:pt x="384" y="834"/>
                  </a:lnTo>
                  <a:lnTo>
                    <a:pt x="384" y="840"/>
                  </a:lnTo>
                  <a:lnTo>
                    <a:pt x="390" y="846"/>
                  </a:lnTo>
                  <a:lnTo>
                    <a:pt x="396" y="846"/>
                  </a:lnTo>
                  <a:lnTo>
                    <a:pt x="402" y="840"/>
                  </a:lnTo>
                  <a:lnTo>
                    <a:pt x="420" y="840"/>
                  </a:lnTo>
                  <a:lnTo>
                    <a:pt x="468" y="888"/>
                  </a:lnTo>
                  <a:lnTo>
                    <a:pt x="468" y="900"/>
                  </a:lnTo>
                  <a:lnTo>
                    <a:pt x="462" y="900"/>
                  </a:lnTo>
                  <a:lnTo>
                    <a:pt x="450" y="906"/>
                  </a:lnTo>
                  <a:lnTo>
                    <a:pt x="444" y="906"/>
                  </a:lnTo>
                  <a:lnTo>
                    <a:pt x="444" y="918"/>
                  </a:lnTo>
                  <a:lnTo>
                    <a:pt x="438" y="918"/>
                  </a:lnTo>
                  <a:lnTo>
                    <a:pt x="426" y="924"/>
                  </a:lnTo>
                  <a:lnTo>
                    <a:pt x="420" y="930"/>
                  </a:lnTo>
                  <a:lnTo>
                    <a:pt x="438" y="948"/>
                  </a:lnTo>
                  <a:lnTo>
                    <a:pt x="450" y="954"/>
                  </a:lnTo>
                  <a:lnTo>
                    <a:pt x="456" y="966"/>
                  </a:lnTo>
                  <a:lnTo>
                    <a:pt x="468" y="972"/>
                  </a:lnTo>
                  <a:lnTo>
                    <a:pt x="492" y="996"/>
                  </a:lnTo>
                  <a:lnTo>
                    <a:pt x="504" y="1002"/>
                  </a:lnTo>
                  <a:lnTo>
                    <a:pt x="510" y="1008"/>
                  </a:lnTo>
                  <a:lnTo>
                    <a:pt x="510" y="1014"/>
                  </a:lnTo>
                  <a:lnTo>
                    <a:pt x="504" y="1020"/>
                  </a:lnTo>
                  <a:lnTo>
                    <a:pt x="492" y="1020"/>
                  </a:lnTo>
                  <a:lnTo>
                    <a:pt x="480" y="1014"/>
                  </a:lnTo>
                  <a:lnTo>
                    <a:pt x="474" y="1014"/>
                  </a:lnTo>
                  <a:lnTo>
                    <a:pt x="468" y="1044"/>
                  </a:lnTo>
                  <a:lnTo>
                    <a:pt x="480" y="1056"/>
                  </a:lnTo>
                  <a:lnTo>
                    <a:pt x="480" y="1068"/>
                  </a:lnTo>
                  <a:lnTo>
                    <a:pt x="492" y="1068"/>
                  </a:lnTo>
                  <a:lnTo>
                    <a:pt x="498" y="1074"/>
                  </a:lnTo>
                  <a:lnTo>
                    <a:pt x="504" y="1074"/>
                  </a:lnTo>
                  <a:lnTo>
                    <a:pt x="510" y="1080"/>
                  </a:lnTo>
                  <a:lnTo>
                    <a:pt x="510" y="1086"/>
                  </a:lnTo>
                  <a:lnTo>
                    <a:pt x="504" y="1092"/>
                  </a:lnTo>
                  <a:lnTo>
                    <a:pt x="498" y="1104"/>
                  </a:lnTo>
                  <a:lnTo>
                    <a:pt x="522" y="1110"/>
                  </a:lnTo>
                  <a:lnTo>
                    <a:pt x="534" y="1116"/>
                  </a:lnTo>
                  <a:lnTo>
                    <a:pt x="540" y="1122"/>
                  </a:lnTo>
                  <a:lnTo>
                    <a:pt x="540" y="1128"/>
                  </a:lnTo>
                  <a:lnTo>
                    <a:pt x="516" y="1152"/>
                  </a:lnTo>
                  <a:lnTo>
                    <a:pt x="510" y="1152"/>
                  </a:lnTo>
                  <a:lnTo>
                    <a:pt x="582" y="1188"/>
                  </a:lnTo>
                  <a:lnTo>
                    <a:pt x="588" y="1200"/>
                  </a:lnTo>
                  <a:lnTo>
                    <a:pt x="594" y="1206"/>
                  </a:lnTo>
                  <a:lnTo>
                    <a:pt x="600" y="1218"/>
                  </a:lnTo>
                  <a:lnTo>
                    <a:pt x="600" y="1230"/>
                  </a:lnTo>
                  <a:lnTo>
                    <a:pt x="594" y="1236"/>
                  </a:lnTo>
                  <a:lnTo>
                    <a:pt x="588" y="1248"/>
                  </a:lnTo>
                  <a:lnTo>
                    <a:pt x="552" y="1284"/>
                  </a:lnTo>
                  <a:lnTo>
                    <a:pt x="546" y="1284"/>
                  </a:lnTo>
                  <a:lnTo>
                    <a:pt x="486" y="1344"/>
                  </a:lnTo>
                  <a:lnTo>
                    <a:pt x="426" y="1374"/>
                  </a:lnTo>
                  <a:lnTo>
                    <a:pt x="432" y="1386"/>
                  </a:lnTo>
                  <a:lnTo>
                    <a:pt x="462" y="1368"/>
                  </a:lnTo>
                  <a:lnTo>
                    <a:pt x="468" y="1386"/>
                  </a:lnTo>
                  <a:lnTo>
                    <a:pt x="480" y="1398"/>
                  </a:lnTo>
                  <a:lnTo>
                    <a:pt x="492" y="1404"/>
                  </a:lnTo>
                  <a:lnTo>
                    <a:pt x="498" y="1410"/>
                  </a:lnTo>
                  <a:lnTo>
                    <a:pt x="546" y="1410"/>
                  </a:lnTo>
                  <a:lnTo>
                    <a:pt x="558" y="1428"/>
                  </a:lnTo>
                  <a:lnTo>
                    <a:pt x="546" y="1428"/>
                  </a:lnTo>
                  <a:lnTo>
                    <a:pt x="534" y="1422"/>
                  </a:lnTo>
                  <a:lnTo>
                    <a:pt x="504" y="1422"/>
                  </a:lnTo>
                  <a:lnTo>
                    <a:pt x="492" y="1434"/>
                  </a:lnTo>
                  <a:lnTo>
                    <a:pt x="492" y="1440"/>
                  </a:lnTo>
                  <a:lnTo>
                    <a:pt x="456" y="1440"/>
                  </a:lnTo>
                  <a:lnTo>
                    <a:pt x="450" y="1470"/>
                  </a:lnTo>
                  <a:lnTo>
                    <a:pt x="438" y="1470"/>
                  </a:lnTo>
                  <a:lnTo>
                    <a:pt x="432" y="1482"/>
                  </a:lnTo>
                  <a:lnTo>
                    <a:pt x="438" y="1494"/>
                  </a:lnTo>
                  <a:lnTo>
                    <a:pt x="432" y="1500"/>
                  </a:lnTo>
                  <a:lnTo>
                    <a:pt x="426" y="1500"/>
                  </a:lnTo>
                  <a:lnTo>
                    <a:pt x="414" y="1512"/>
                  </a:lnTo>
                  <a:lnTo>
                    <a:pt x="414" y="1530"/>
                  </a:lnTo>
                  <a:lnTo>
                    <a:pt x="432" y="1536"/>
                  </a:lnTo>
                  <a:lnTo>
                    <a:pt x="420" y="1560"/>
                  </a:lnTo>
                  <a:lnTo>
                    <a:pt x="432" y="1566"/>
                  </a:lnTo>
                  <a:lnTo>
                    <a:pt x="444" y="1584"/>
                  </a:lnTo>
                  <a:lnTo>
                    <a:pt x="426" y="1596"/>
                  </a:lnTo>
                  <a:lnTo>
                    <a:pt x="426" y="1608"/>
                  </a:lnTo>
                  <a:lnTo>
                    <a:pt x="432" y="1608"/>
                  </a:lnTo>
                  <a:lnTo>
                    <a:pt x="444" y="1620"/>
                  </a:lnTo>
                  <a:lnTo>
                    <a:pt x="456" y="1626"/>
                  </a:lnTo>
                  <a:lnTo>
                    <a:pt x="462" y="1632"/>
                  </a:lnTo>
                  <a:lnTo>
                    <a:pt x="462" y="1638"/>
                  </a:lnTo>
                  <a:lnTo>
                    <a:pt x="444" y="1638"/>
                  </a:lnTo>
                  <a:lnTo>
                    <a:pt x="438" y="1656"/>
                  </a:lnTo>
                  <a:lnTo>
                    <a:pt x="462" y="1662"/>
                  </a:lnTo>
                  <a:lnTo>
                    <a:pt x="468" y="1668"/>
                  </a:lnTo>
                  <a:lnTo>
                    <a:pt x="474" y="1680"/>
                  </a:lnTo>
                  <a:lnTo>
                    <a:pt x="486" y="1692"/>
                  </a:lnTo>
                  <a:lnTo>
                    <a:pt x="486" y="1716"/>
                  </a:lnTo>
                  <a:lnTo>
                    <a:pt x="510" y="1716"/>
                  </a:lnTo>
                  <a:lnTo>
                    <a:pt x="516" y="1722"/>
                  </a:lnTo>
                  <a:lnTo>
                    <a:pt x="516" y="1728"/>
                  </a:lnTo>
                  <a:lnTo>
                    <a:pt x="528" y="1722"/>
                  </a:lnTo>
                  <a:lnTo>
                    <a:pt x="564" y="1728"/>
                  </a:lnTo>
                  <a:lnTo>
                    <a:pt x="570" y="1746"/>
                  </a:lnTo>
                  <a:lnTo>
                    <a:pt x="600" y="1728"/>
                  </a:lnTo>
                  <a:lnTo>
                    <a:pt x="606" y="1728"/>
                  </a:lnTo>
                  <a:lnTo>
                    <a:pt x="612" y="1734"/>
                  </a:lnTo>
                  <a:lnTo>
                    <a:pt x="648" y="1752"/>
                  </a:lnTo>
                  <a:lnTo>
                    <a:pt x="654" y="1758"/>
                  </a:lnTo>
                  <a:lnTo>
                    <a:pt x="654" y="1770"/>
                  </a:lnTo>
                  <a:lnTo>
                    <a:pt x="648" y="1776"/>
                  </a:lnTo>
                  <a:lnTo>
                    <a:pt x="660" y="1794"/>
                  </a:lnTo>
                  <a:lnTo>
                    <a:pt x="654" y="1812"/>
                  </a:lnTo>
                  <a:lnTo>
                    <a:pt x="660" y="1818"/>
                  </a:lnTo>
                  <a:lnTo>
                    <a:pt x="672" y="1824"/>
                  </a:lnTo>
                  <a:lnTo>
                    <a:pt x="690" y="1842"/>
                  </a:lnTo>
                  <a:lnTo>
                    <a:pt x="690" y="1854"/>
                  </a:lnTo>
                  <a:lnTo>
                    <a:pt x="720" y="1866"/>
                  </a:lnTo>
                  <a:lnTo>
                    <a:pt x="720" y="1890"/>
                  </a:lnTo>
                  <a:lnTo>
                    <a:pt x="756" y="1890"/>
                  </a:lnTo>
                  <a:lnTo>
                    <a:pt x="762" y="1896"/>
                  </a:lnTo>
                  <a:lnTo>
                    <a:pt x="768" y="1896"/>
                  </a:lnTo>
                  <a:lnTo>
                    <a:pt x="768" y="1902"/>
                  </a:lnTo>
                  <a:lnTo>
                    <a:pt x="762" y="1908"/>
                  </a:lnTo>
                  <a:lnTo>
                    <a:pt x="786" y="1920"/>
                  </a:lnTo>
                  <a:lnTo>
                    <a:pt x="774" y="1926"/>
                  </a:lnTo>
                  <a:lnTo>
                    <a:pt x="768" y="1938"/>
                  </a:lnTo>
                  <a:lnTo>
                    <a:pt x="744" y="1950"/>
                  </a:lnTo>
                  <a:lnTo>
                    <a:pt x="738" y="1950"/>
                  </a:lnTo>
                  <a:lnTo>
                    <a:pt x="732" y="1944"/>
                  </a:lnTo>
                  <a:lnTo>
                    <a:pt x="726" y="1944"/>
                  </a:lnTo>
                  <a:lnTo>
                    <a:pt x="726" y="1938"/>
                  </a:lnTo>
                  <a:lnTo>
                    <a:pt x="702" y="1938"/>
                  </a:lnTo>
                  <a:lnTo>
                    <a:pt x="696" y="1944"/>
                  </a:lnTo>
                  <a:lnTo>
                    <a:pt x="696" y="1950"/>
                  </a:lnTo>
                  <a:lnTo>
                    <a:pt x="720" y="1974"/>
                  </a:lnTo>
                  <a:lnTo>
                    <a:pt x="720" y="1992"/>
                  </a:lnTo>
                  <a:lnTo>
                    <a:pt x="726" y="1998"/>
                  </a:lnTo>
                  <a:lnTo>
                    <a:pt x="732" y="2010"/>
                  </a:lnTo>
                  <a:lnTo>
                    <a:pt x="732" y="2028"/>
                  </a:lnTo>
                  <a:lnTo>
                    <a:pt x="720" y="2028"/>
                  </a:lnTo>
                  <a:lnTo>
                    <a:pt x="714" y="2022"/>
                  </a:lnTo>
                  <a:lnTo>
                    <a:pt x="708" y="2022"/>
                  </a:lnTo>
                  <a:lnTo>
                    <a:pt x="720" y="2028"/>
                  </a:lnTo>
                  <a:lnTo>
                    <a:pt x="768" y="2028"/>
                  </a:lnTo>
                  <a:lnTo>
                    <a:pt x="774" y="2022"/>
                  </a:lnTo>
                  <a:lnTo>
                    <a:pt x="774" y="2010"/>
                  </a:lnTo>
                  <a:lnTo>
                    <a:pt x="804" y="2010"/>
                  </a:lnTo>
                  <a:lnTo>
                    <a:pt x="816" y="2004"/>
                  </a:lnTo>
                  <a:lnTo>
                    <a:pt x="864" y="2004"/>
                  </a:lnTo>
                  <a:lnTo>
                    <a:pt x="870" y="2022"/>
                  </a:lnTo>
                  <a:lnTo>
                    <a:pt x="876" y="2022"/>
                  </a:lnTo>
                  <a:lnTo>
                    <a:pt x="882" y="2028"/>
                  </a:lnTo>
                  <a:lnTo>
                    <a:pt x="894" y="2034"/>
                  </a:lnTo>
                  <a:lnTo>
                    <a:pt x="900" y="2034"/>
                  </a:lnTo>
                  <a:lnTo>
                    <a:pt x="900" y="2046"/>
                  </a:lnTo>
                  <a:lnTo>
                    <a:pt x="894" y="2052"/>
                  </a:lnTo>
                  <a:lnTo>
                    <a:pt x="888" y="2052"/>
                  </a:lnTo>
                  <a:lnTo>
                    <a:pt x="894" y="2070"/>
                  </a:lnTo>
                  <a:lnTo>
                    <a:pt x="894" y="2088"/>
                  </a:lnTo>
                  <a:lnTo>
                    <a:pt x="930" y="2088"/>
                  </a:lnTo>
                  <a:lnTo>
                    <a:pt x="972" y="2106"/>
                  </a:lnTo>
                  <a:lnTo>
                    <a:pt x="984" y="2154"/>
                  </a:lnTo>
                  <a:lnTo>
                    <a:pt x="990" y="2154"/>
                  </a:lnTo>
                  <a:lnTo>
                    <a:pt x="1014" y="2148"/>
                  </a:lnTo>
                  <a:lnTo>
                    <a:pt x="1020" y="2154"/>
                  </a:lnTo>
                  <a:lnTo>
                    <a:pt x="1032" y="2154"/>
                  </a:lnTo>
                  <a:lnTo>
                    <a:pt x="1038" y="2160"/>
                  </a:lnTo>
                  <a:lnTo>
                    <a:pt x="1086" y="2160"/>
                  </a:lnTo>
                  <a:lnTo>
                    <a:pt x="1092" y="2166"/>
                  </a:lnTo>
                  <a:lnTo>
                    <a:pt x="1092" y="2160"/>
                  </a:lnTo>
                  <a:lnTo>
                    <a:pt x="1098" y="2154"/>
                  </a:lnTo>
                  <a:lnTo>
                    <a:pt x="1110" y="2154"/>
                  </a:lnTo>
                  <a:lnTo>
                    <a:pt x="1116" y="2166"/>
                  </a:lnTo>
                  <a:lnTo>
                    <a:pt x="1140" y="2190"/>
                  </a:lnTo>
                  <a:lnTo>
                    <a:pt x="1152" y="2184"/>
                  </a:lnTo>
                  <a:lnTo>
                    <a:pt x="1170" y="2184"/>
                  </a:lnTo>
                  <a:lnTo>
                    <a:pt x="1176" y="2190"/>
                  </a:lnTo>
                  <a:lnTo>
                    <a:pt x="1188" y="2196"/>
                  </a:lnTo>
                  <a:lnTo>
                    <a:pt x="1230" y="2196"/>
                  </a:lnTo>
                  <a:lnTo>
                    <a:pt x="1230" y="2202"/>
                  </a:lnTo>
                  <a:lnTo>
                    <a:pt x="1236" y="2208"/>
                  </a:lnTo>
                  <a:lnTo>
                    <a:pt x="1254" y="2220"/>
                  </a:lnTo>
                  <a:lnTo>
                    <a:pt x="1278" y="2220"/>
                  </a:lnTo>
                  <a:lnTo>
                    <a:pt x="1284" y="2226"/>
                  </a:lnTo>
                  <a:lnTo>
                    <a:pt x="1284" y="2250"/>
                  </a:lnTo>
                  <a:lnTo>
                    <a:pt x="1266" y="2262"/>
                  </a:lnTo>
                  <a:lnTo>
                    <a:pt x="1272" y="2262"/>
                  </a:lnTo>
                  <a:lnTo>
                    <a:pt x="1278" y="2268"/>
                  </a:lnTo>
                  <a:lnTo>
                    <a:pt x="1284" y="2268"/>
                  </a:lnTo>
                  <a:lnTo>
                    <a:pt x="1290" y="2274"/>
                  </a:lnTo>
                  <a:lnTo>
                    <a:pt x="1284" y="2280"/>
                  </a:lnTo>
                  <a:lnTo>
                    <a:pt x="1266" y="2280"/>
                  </a:lnTo>
                  <a:lnTo>
                    <a:pt x="1260" y="2286"/>
                  </a:lnTo>
                  <a:lnTo>
                    <a:pt x="1272" y="2298"/>
                  </a:lnTo>
                  <a:lnTo>
                    <a:pt x="1284" y="2304"/>
                  </a:lnTo>
                  <a:lnTo>
                    <a:pt x="1284" y="2316"/>
                  </a:lnTo>
                  <a:lnTo>
                    <a:pt x="1290" y="2328"/>
                  </a:lnTo>
                  <a:lnTo>
                    <a:pt x="1290" y="2334"/>
                  </a:lnTo>
                  <a:lnTo>
                    <a:pt x="1278" y="2346"/>
                  </a:lnTo>
                  <a:lnTo>
                    <a:pt x="1266" y="2346"/>
                  </a:lnTo>
                  <a:lnTo>
                    <a:pt x="1254" y="2352"/>
                  </a:lnTo>
                  <a:lnTo>
                    <a:pt x="1224" y="2352"/>
                  </a:lnTo>
                  <a:lnTo>
                    <a:pt x="1212" y="2364"/>
                  </a:lnTo>
                  <a:lnTo>
                    <a:pt x="1212" y="2370"/>
                  </a:lnTo>
                  <a:lnTo>
                    <a:pt x="1206" y="2376"/>
                  </a:lnTo>
                  <a:lnTo>
                    <a:pt x="1188" y="2376"/>
                  </a:lnTo>
                  <a:lnTo>
                    <a:pt x="1188" y="2412"/>
                  </a:lnTo>
                  <a:lnTo>
                    <a:pt x="1194" y="2412"/>
                  </a:lnTo>
                  <a:lnTo>
                    <a:pt x="1200" y="2406"/>
                  </a:lnTo>
                  <a:lnTo>
                    <a:pt x="1212" y="2406"/>
                  </a:lnTo>
                  <a:lnTo>
                    <a:pt x="1224" y="2400"/>
                  </a:lnTo>
                  <a:lnTo>
                    <a:pt x="1254" y="2400"/>
                  </a:lnTo>
                  <a:lnTo>
                    <a:pt x="1254" y="2412"/>
                  </a:lnTo>
                  <a:lnTo>
                    <a:pt x="1248" y="2418"/>
                  </a:lnTo>
                  <a:lnTo>
                    <a:pt x="1242" y="2430"/>
                  </a:lnTo>
                  <a:lnTo>
                    <a:pt x="1230" y="2436"/>
                  </a:lnTo>
                  <a:lnTo>
                    <a:pt x="1224" y="2442"/>
                  </a:lnTo>
                  <a:lnTo>
                    <a:pt x="1170" y="2454"/>
                  </a:lnTo>
                  <a:lnTo>
                    <a:pt x="1218" y="2490"/>
                  </a:lnTo>
                  <a:lnTo>
                    <a:pt x="1212" y="2490"/>
                  </a:lnTo>
                  <a:lnTo>
                    <a:pt x="1206" y="2496"/>
                  </a:lnTo>
                  <a:lnTo>
                    <a:pt x="1194" y="2496"/>
                  </a:lnTo>
                  <a:lnTo>
                    <a:pt x="1188" y="2502"/>
                  </a:lnTo>
                  <a:lnTo>
                    <a:pt x="1176" y="2526"/>
                  </a:lnTo>
                  <a:lnTo>
                    <a:pt x="1176" y="2544"/>
                  </a:lnTo>
                  <a:lnTo>
                    <a:pt x="1164" y="2550"/>
                  </a:lnTo>
                  <a:lnTo>
                    <a:pt x="1158" y="2556"/>
                  </a:lnTo>
                  <a:lnTo>
                    <a:pt x="1146" y="2556"/>
                  </a:lnTo>
                  <a:lnTo>
                    <a:pt x="1140" y="2550"/>
                  </a:lnTo>
                  <a:lnTo>
                    <a:pt x="1128" y="2544"/>
                  </a:lnTo>
                  <a:lnTo>
                    <a:pt x="1122" y="2538"/>
                  </a:lnTo>
                  <a:lnTo>
                    <a:pt x="1116" y="2556"/>
                  </a:lnTo>
                  <a:lnTo>
                    <a:pt x="1122" y="2562"/>
                  </a:lnTo>
                  <a:lnTo>
                    <a:pt x="1128" y="2574"/>
                  </a:lnTo>
                  <a:lnTo>
                    <a:pt x="1134" y="2580"/>
                  </a:lnTo>
                  <a:lnTo>
                    <a:pt x="1146" y="2580"/>
                  </a:lnTo>
                  <a:lnTo>
                    <a:pt x="1146" y="2586"/>
                  </a:lnTo>
                  <a:lnTo>
                    <a:pt x="1152" y="2598"/>
                  </a:lnTo>
                  <a:lnTo>
                    <a:pt x="1158" y="2604"/>
                  </a:lnTo>
                  <a:lnTo>
                    <a:pt x="1194" y="2604"/>
                  </a:lnTo>
                  <a:lnTo>
                    <a:pt x="1200" y="2610"/>
                  </a:lnTo>
                  <a:lnTo>
                    <a:pt x="1212" y="2616"/>
                  </a:lnTo>
                  <a:lnTo>
                    <a:pt x="1218" y="2628"/>
                  </a:lnTo>
                  <a:lnTo>
                    <a:pt x="1224" y="2634"/>
                  </a:lnTo>
                  <a:lnTo>
                    <a:pt x="1254" y="2634"/>
                  </a:lnTo>
                  <a:lnTo>
                    <a:pt x="1272" y="2652"/>
                  </a:lnTo>
                  <a:lnTo>
                    <a:pt x="1278" y="2664"/>
                  </a:lnTo>
                  <a:lnTo>
                    <a:pt x="1290" y="2670"/>
                  </a:lnTo>
                  <a:lnTo>
                    <a:pt x="1314" y="2694"/>
                  </a:lnTo>
                  <a:lnTo>
                    <a:pt x="1320" y="2694"/>
                  </a:lnTo>
                  <a:lnTo>
                    <a:pt x="1332" y="2700"/>
                  </a:lnTo>
                  <a:lnTo>
                    <a:pt x="1338" y="2700"/>
                  </a:lnTo>
                  <a:lnTo>
                    <a:pt x="1350" y="2706"/>
                  </a:lnTo>
                  <a:lnTo>
                    <a:pt x="1344" y="2706"/>
                  </a:lnTo>
                  <a:lnTo>
                    <a:pt x="1368" y="2688"/>
                  </a:lnTo>
                  <a:lnTo>
                    <a:pt x="1380" y="2688"/>
                  </a:lnTo>
                  <a:lnTo>
                    <a:pt x="1398" y="2694"/>
                  </a:lnTo>
                  <a:lnTo>
                    <a:pt x="1410" y="2700"/>
                  </a:lnTo>
                  <a:lnTo>
                    <a:pt x="1428" y="2706"/>
                  </a:lnTo>
                  <a:lnTo>
                    <a:pt x="1488" y="2718"/>
                  </a:lnTo>
                  <a:lnTo>
                    <a:pt x="1524" y="2718"/>
                  </a:lnTo>
                  <a:lnTo>
                    <a:pt x="1530" y="2724"/>
                  </a:lnTo>
                  <a:lnTo>
                    <a:pt x="1536" y="2724"/>
                  </a:lnTo>
                  <a:lnTo>
                    <a:pt x="1584" y="2754"/>
                  </a:lnTo>
                  <a:lnTo>
                    <a:pt x="1584" y="2760"/>
                  </a:lnTo>
                  <a:lnTo>
                    <a:pt x="1590" y="2760"/>
                  </a:lnTo>
                  <a:lnTo>
                    <a:pt x="1602" y="2766"/>
                  </a:lnTo>
                  <a:lnTo>
                    <a:pt x="1626" y="2766"/>
                  </a:lnTo>
                  <a:lnTo>
                    <a:pt x="1632" y="2760"/>
                  </a:lnTo>
                  <a:lnTo>
                    <a:pt x="1644" y="2760"/>
                  </a:lnTo>
                  <a:lnTo>
                    <a:pt x="1644" y="2754"/>
                  </a:lnTo>
                  <a:lnTo>
                    <a:pt x="1674" y="2754"/>
                  </a:lnTo>
                  <a:lnTo>
                    <a:pt x="1686" y="2760"/>
                  </a:lnTo>
                  <a:lnTo>
                    <a:pt x="1698" y="2772"/>
                  </a:lnTo>
                  <a:lnTo>
                    <a:pt x="1728" y="2778"/>
                  </a:lnTo>
                  <a:lnTo>
                    <a:pt x="1728" y="2790"/>
                  </a:lnTo>
                  <a:lnTo>
                    <a:pt x="1722" y="2796"/>
                  </a:lnTo>
                  <a:lnTo>
                    <a:pt x="1722" y="2802"/>
                  </a:lnTo>
                  <a:lnTo>
                    <a:pt x="1740" y="2802"/>
                  </a:lnTo>
                  <a:lnTo>
                    <a:pt x="1752" y="2814"/>
                  </a:lnTo>
                  <a:lnTo>
                    <a:pt x="1764" y="2820"/>
                  </a:lnTo>
                  <a:lnTo>
                    <a:pt x="1776" y="2832"/>
                  </a:lnTo>
                  <a:lnTo>
                    <a:pt x="1788" y="2826"/>
                  </a:lnTo>
                  <a:lnTo>
                    <a:pt x="1794" y="2826"/>
                  </a:lnTo>
                  <a:lnTo>
                    <a:pt x="1818" y="2838"/>
                  </a:lnTo>
                  <a:lnTo>
                    <a:pt x="1836" y="2856"/>
                  </a:lnTo>
                  <a:lnTo>
                    <a:pt x="1842" y="2868"/>
                  </a:lnTo>
                  <a:lnTo>
                    <a:pt x="1854" y="2874"/>
                  </a:lnTo>
                  <a:lnTo>
                    <a:pt x="1860" y="2880"/>
                  </a:lnTo>
                  <a:lnTo>
                    <a:pt x="1884" y="2880"/>
                  </a:lnTo>
                  <a:lnTo>
                    <a:pt x="1890" y="2874"/>
                  </a:lnTo>
                  <a:lnTo>
                    <a:pt x="1890" y="2862"/>
                  </a:lnTo>
                  <a:lnTo>
                    <a:pt x="1908" y="2862"/>
                  </a:lnTo>
                  <a:lnTo>
                    <a:pt x="1914" y="2856"/>
                  </a:lnTo>
                  <a:lnTo>
                    <a:pt x="1914" y="2826"/>
                  </a:lnTo>
                  <a:lnTo>
                    <a:pt x="1908" y="2820"/>
                  </a:lnTo>
                  <a:lnTo>
                    <a:pt x="1908" y="2814"/>
                  </a:lnTo>
                  <a:lnTo>
                    <a:pt x="1896" y="2802"/>
                  </a:lnTo>
                  <a:lnTo>
                    <a:pt x="1890" y="2790"/>
                  </a:lnTo>
                  <a:lnTo>
                    <a:pt x="1884" y="2784"/>
                  </a:lnTo>
                  <a:lnTo>
                    <a:pt x="1872" y="2778"/>
                  </a:lnTo>
                  <a:lnTo>
                    <a:pt x="1866" y="2772"/>
                  </a:lnTo>
                  <a:lnTo>
                    <a:pt x="1854" y="2772"/>
                  </a:lnTo>
                  <a:lnTo>
                    <a:pt x="1854" y="2748"/>
                  </a:lnTo>
                  <a:lnTo>
                    <a:pt x="1848" y="2742"/>
                  </a:lnTo>
                  <a:lnTo>
                    <a:pt x="1836" y="2736"/>
                  </a:lnTo>
                  <a:lnTo>
                    <a:pt x="1830" y="2724"/>
                  </a:lnTo>
                  <a:lnTo>
                    <a:pt x="1824" y="2718"/>
                  </a:lnTo>
                  <a:lnTo>
                    <a:pt x="1824" y="2706"/>
                  </a:lnTo>
                  <a:lnTo>
                    <a:pt x="1830" y="2694"/>
                  </a:lnTo>
                  <a:lnTo>
                    <a:pt x="1830" y="2682"/>
                  </a:lnTo>
                  <a:lnTo>
                    <a:pt x="1818" y="2658"/>
                  </a:lnTo>
                  <a:lnTo>
                    <a:pt x="1812" y="2652"/>
                  </a:lnTo>
                  <a:lnTo>
                    <a:pt x="1806" y="2640"/>
                  </a:lnTo>
                  <a:lnTo>
                    <a:pt x="1794" y="2634"/>
                  </a:lnTo>
                  <a:lnTo>
                    <a:pt x="1788" y="2628"/>
                  </a:lnTo>
                  <a:lnTo>
                    <a:pt x="1776" y="2628"/>
                  </a:lnTo>
                  <a:lnTo>
                    <a:pt x="1758" y="2622"/>
                  </a:lnTo>
                  <a:lnTo>
                    <a:pt x="1758" y="2604"/>
                  </a:lnTo>
                  <a:lnTo>
                    <a:pt x="1794" y="2568"/>
                  </a:lnTo>
                  <a:lnTo>
                    <a:pt x="1800" y="2556"/>
                  </a:lnTo>
                  <a:lnTo>
                    <a:pt x="1806" y="2550"/>
                  </a:lnTo>
                  <a:lnTo>
                    <a:pt x="1806" y="2544"/>
                  </a:lnTo>
                  <a:lnTo>
                    <a:pt x="1800" y="2532"/>
                  </a:lnTo>
                  <a:lnTo>
                    <a:pt x="1788" y="2520"/>
                  </a:lnTo>
                  <a:lnTo>
                    <a:pt x="1800" y="2520"/>
                  </a:lnTo>
                  <a:lnTo>
                    <a:pt x="1812" y="2526"/>
                  </a:lnTo>
                  <a:lnTo>
                    <a:pt x="1830" y="2526"/>
                  </a:lnTo>
                  <a:lnTo>
                    <a:pt x="1842" y="2514"/>
                  </a:lnTo>
                  <a:lnTo>
                    <a:pt x="1872" y="2514"/>
                  </a:lnTo>
                  <a:lnTo>
                    <a:pt x="1878" y="2508"/>
                  </a:lnTo>
                  <a:lnTo>
                    <a:pt x="1860" y="2490"/>
                  </a:lnTo>
                  <a:lnTo>
                    <a:pt x="1890" y="2490"/>
                  </a:lnTo>
                  <a:lnTo>
                    <a:pt x="1890" y="2472"/>
                  </a:lnTo>
                  <a:lnTo>
                    <a:pt x="1878" y="2472"/>
                  </a:lnTo>
                  <a:lnTo>
                    <a:pt x="1854" y="2460"/>
                  </a:lnTo>
                  <a:lnTo>
                    <a:pt x="1842" y="2448"/>
                  </a:lnTo>
                  <a:lnTo>
                    <a:pt x="1842" y="2442"/>
                  </a:lnTo>
                  <a:lnTo>
                    <a:pt x="1878" y="2442"/>
                  </a:lnTo>
                  <a:lnTo>
                    <a:pt x="1878" y="2430"/>
                  </a:lnTo>
                  <a:lnTo>
                    <a:pt x="1866" y="2418"/>
                  </a:lnTo>
                  <a:lnTo>
                    <a:pt x="1860" y="2406"/>
                  </a:lnTo>
                  <a:lnTo>
                    <a:pt x="1812" y="2358"/>
                  </a:lnTo>
                  <a:lnTo>
                    <a:pt x="1800" y="2358"/>
                  </a:lnTo>
                  <a:lnTo>
                    <a:pt x="1788" y="2364"/>
                  </a:lnTo>
                  <a:lnTo>
                    <a:pt x="1746" y="2364"/>
                  </a:lnTo>
                  <a:lnTo>
                    <a:pt x="1740" y="2358"/>
                  </a:lnTo>
                  <a:lnTo>
                    <a:pt x="1740" y="2328"/>
                  </a:lnTo>
                  <a:lnTo>
                    <a:pt x="1734" y="2322"/>
                  </a:lnTo>
                  <a:lnTo>
                    <a:pt x="1710" y="2322"/>
                  </a:lnTo>
                  <a:lnTo>
                    <a:pt x="1704" y="2316"/>
                  </a:lnTo>
                  <a:lnTo>
                    <a:pt x="1698" y="2316"/>
                  </a:lnTo>
                  <a:lnTo>
                    <a:pt x="1698" y="2286"/>
                  </a:lnTo>
                  <a:lnTo>
                    <a:pt x="1710" y="2262"/>
                  </a:lnTo>
                  <a:lnTo>
                    <a:pt x="1710" y="2238"/>
                  </a:lnTo>
                  <a:lnTo>
                    <a:pt x="1704" y="2232"/>
                  </a:lnTo>
                  <a:lnTo>
                    <a:pt x="1698" y="2196"/>
                  </a:lnTo>
                  <a:lnTo>
                    <a:pt x="1722" y="2196"/>
                  </a:lnTo>
                  <a:lnTo>
                    <a:pt x="1722" y="2172"/>
                  </a:lnTo>
                  <a:lnTo>
                    <a:pt x="1716" y="2166"/>
                  </a:lnTo>
                  <a:lnTo>
                    <a:pt x="1716" y="2154"/>
                  </a:lnTo>
                  <a:lnTo>
                    <a:pt x="1722" y="2148"/>
                  </a:lnTo>
                  <a:lnTo>
                    <a:pt x="1734" y="2148"/>
                  </a:lnTo>
                  <a:lnTo>
                    <a:pt x="1746" y="2154"/>
                  </a:lnTo>
                  <a:lnTo>
                    <a:pt x="1758" y="2166"/>
                  </a:lnTo>
                  <a:lnTo>
                    <a:pt x="1770" y="2172"/>
                  </a:lnTo>
                  <a:lnTo>
                    <a:pt x="1776" y="2184"/>
                  </a:lnTo>
                  <a:lnTo>
                    <a:pt x="1788" y="2190"/>
                  </a:lnTo>
                  <a:lnTo>
                    <a:pt x="1800" y="2190"/>
                  </a:lnTo>
                  <a:lnTo>
                    <a:pt x="1806" y="2184"/>
                  </a:lnTo>
                  <a:lnTo>
                    <a:pt x="1812" y="2172"/>
                  </a:lnTo>
                  <a:lnTo>
                    <a:pt x="1818" y="2166"/>
                  </a:lnTo>
                  <a:lnTo>
                    <a:pt x="1812" y="2154"/>
                  </a:lnTo>
                  <a:lnTo>
                    <a:pt x="1800" y="2142"/>
                  </a:lnTo>
                  <a:lnTo>
                    <a:pt x="1830" y="2130"/>
                  </a:lnTo>
                  <a:lnTo>
                    <a:pt x="1830" y="2106"/>
                  </a:lnTo>
                  <a:lnTo>
                    <a:pt x="1836" y="2106"/>
                  </a:lnTo>
                  <a:lnTo>
                    <a:pt x="1848" y="2100"/>
                  </a:lnTo>
                  <a:lnTo>
                    <a:pt x="1860" y="2100"/>
                  </a:lnTo>
                  <a:lnTo>
                    <a:pt x="1872" y="2094"/>
                  </a:lnTo>
                  <a:lnTo>
                    <a:pt x="1884" y="2082"/>
                  </a:lnTo>
                  <a:lnTo>
                    <a:pt x="1884" y="2064"/>
                  </a:lnTo>
                  <a:lnTo>
                    <a:pt x="1878" y="2058"/>
                  </a:lnTo>
                  <a:lnTo>
                    <a:pt x="1878" y="2052"/>
                  </a:lnTo>
                  <a:lnTo>
                    <a:pt x="1908" y="2052"/>
                  </a:lnTo>
                  <a:lnTo>
                    <a:pt x="1920" y="2058"/>
                  </a:lnTo>
                  <a:lnTo>
                    <a:pt x="1926" y="2058"/>
                  </a:lnTo>
                  <a:lnTo>
                    <a:pt x="1926" y="2064"/>
                  </a:lnTo>
                  <a:lnTo>
                    <a:pt x="1932" y="2070"/>
                  </a:lnTo>
                  <a:lnTo>
                    <a:pt x="1962" y="2070"/>
                  </a:lnTo>
                  <a:lnTo>
                    <a:pt x="1974" y="2058"/>
                  </a:lnTo>
                  <a:lnTo>
                    <a:pt x="1986" y="2052"/>
                  </a:lnTo>
                  <a:lnTo>
                    <a:pt x="2004" y="2052"/>
                  </a:lnTo>
                  <a:lnTo>
                    <a:pt x="2010" y="2058"/>
                  </a:lnTo>
                  <a:lnTo>
                    <a:pt x="2016" y="2070"/>
                  </a:lnTo>
                  <a:lnTo>
                    <a:pt x="2076" y="2070"/>
                  </a:lnTo>
                  <a:lnTo>
                    <a:pt x="2082" y="2076"/>
                  </a:lnTo>
                  <a:lnTo>
                    <a:pt x="2082" y="2082"/>
                  </a:lnTo>
                  <a:lnTo>
                    <a:pt x="2088" y="2094"/>
                  </a:lnTo>
                  <a:lnTo>
                    <a:pt x="2124" y="2094"/>
                  </a:lnTo>
                  <a:lnTo>
                    <a:pt x="2136" y="2124"/>
                  </a:lnTo>
                  <a:lnTo>
                    <a:pt x="2136" y="2130"/>
                  </a:lnTo>
                  <a:lnTo>
                    <a:pt x="2148" y="2142"/>
                  </a:lnTo>
                  <a:lnTo>
                    <a:pt x="2160" y="2142"/>
                  </a:lnTo>
                  <a:lnTo>
                    <a:pt x="2160" y="2124"/>
                  </a:lnTo>
                  <a:lnTo>
                    <a:pt x="2148" y="2112"/>
                  </a:lnTo>
                  <a:lnTo>
                    <a:pt x="2148" y="2106"/>
                  </a:lnTo>
                  <a:lnTo>
                    <a:pt x="2160" y="2106"/>
                  </a:lnTo>
                  <a:lnTo>
                    <a:pt x="2232" y="2142"/>
                  </a:lnTo>
                  <a:lnTo>
                    <a:pt x="2238" y="2136"/>
                  </a:lnTo>
                  <a:lnTo>
                    <a:pt x="2244" y="2124"/>
                  </a:lnTo>
                  <a:lnTo>
                    <a:pt x="2256" y="2118"/>
                  </a:lnTo>
                  <a:lnTo>
                    <a:pt x="2268" y="2106"/>
                  </a:lnTo>
                  <a:lnTo>
                    <a:pt x="2280" y="2100"/>
                  </a:lnTo>
                  <a:lnTo>
                    <a:pt x="2286" y="2100"/>
                  </a:lnTo>
                  <a:lnTo>
                    <a:pt x="2322" y="2118"/>
                  </a:lnTo>
                  <a:lnTo>
                    <a:pt x="2334" y="2118"/>
                  </a:lnTo>
                  <a:lnTo>
                    <a:pt x="2352" y="2112"/>
                  </a:lnTo>
                  <a:lnTo>
                    <a:pt x="2364" y="2106"/>
                  </a:lnTo>
                  <a:lnTo>
                    <a:pt x="2370" y="2100"/>
                  </a:lnTo>
                  <a:lnTo>
                    <a:pt x="2382" y="2100"/>
                  </a:lnTo>
                  <a:lnTo>
                    <a:pt x="2388" y="2106"/>
                  </a:lnTo>
                  <a:lnTo>
                    <a:pt x="2400" y="2112"/>
                  </a:lnTo>
                  <a:lnTo>
                    <a:pt x="2406" y="2124"/>
                  </a:lnTo>
                  <a:lnTo>
                    <a:pt x="2430" y="2136"/>
                  </a:lnTo>
                  <a:lnTo>
                    <a:pt x="2454" y="2136"/>
                  </a:lnTo>
                  <a:lnTo>
                    <a:pt x="2466" y="2142"/>
                  </a:lnTo>
                  <a:lnTo>
                    <a:pt x="2478" y="2142"/>
                  </a:lnTo>
                  <a:lnTo>
                    <a:pt x="2490" y="2118"/>
                  </a:lnTo>
                  <a:lnTo>
                    <a:pt x="2496" y="2124"/>
                  </a:lnTo>
                  <a:lnTo>
                    <a:pt x="2508" y="2124"/>
                  </a:lnTo>
                  <a:lnTo>
                    <a:pt x="2514" y="2130"/>
                  </a:lnTo>
                  <a:lnTo>
                    <a:pt x="2526" y="2136"/>
                  </a:lnTo>
                  <a:lnTo>
                    <a:pt x="2562" y="2136"/>
                  </a:lnTo>
                  <a:lnTo>
                    <a:pt x="2568" y="2130"/>
                  </a:lnTo>
                  <a:lnTo>
                    <a:pt x="2574" y="2118"/>
                  </a:lnTo>
                  <a:lnTo>
                    <a:pt x="2574" y="2106"/>
                  </a:lnTo>
                  <a:lnTo>
                    <a:pt x="2568" y="2088"/>
                  </a:lnTo>
                  <a:lnTo>
                    <a:pt x="2544" y="2064"/>
                  </a:lnTo>
                  <a:lnTo>
                    <a:pt x="2532" y="2058"/>
                  </a:lnTo>
                  <a:lnTo>
                    <a:pt x="2514" y="2052"/>
                  </a:lnTo>
                  <a:lnTo>
                    <a:pt x="2490" y="2052"/>
                  </a:lnTo>
                  <a:lnTo>
                    <a:pt x="2460" y="2022"/>
                  </a:lnTo>
                  <a:lnTo>
                    <a:pt x="2472" y="2022"/>
                  </a:lnTo>
                  <a:lnTo>
                    <a:pt x="2484" y="2016"/>
                  </a:lnTo>
                  <a:lnTo>
                    <a:pt x="2496" y="2016"/>
                  </a:lnTo>
                  <a:lnTo>
                    <a:pt x="2508" y="2004"/>
                  </a:lnTo>
                  <a:lnTo>
                    <a:pt x="2508" y="1992"/>
                  </a:lnTo>
                  <a:lnTo>
                    <a:pt x="2502" y="1986"/>
                  </a:lnTo>
                  <a:lnTo>
                    <a:pt x="2496" y="1974"/>
                  </a:lnTo>
                  <a:lnTo>
                    <a:pt x="2490" y="1968"/>
                  </a:lnTo>
                  <a:lnTo>
                    <a:pt x="2502" y="1956"/>
                  </a:lnTo>
                  <a:lnTo>
                    <a:pt x="2556" y="1956"/>
                  </a:lnTo>
                  <a:lnTo>
                    <a:pt x="2544" y="1944"/>
                  </a:lnTo>
                  <a:lnTo>
                    <a:pt x="2532" y="1944"/>
                  </a:lnTo>
                  <a:lnTo>
                    <a:pt x="2508" y="1932"/>
                  </a:lnTo>
                  <a:lnTo>
                    <a:pt x="2496" y="1932"/>
                  </a:lnTo>
                  <a:lnTo>
                    <a:pt x="2508" y="1914"/>
                  </a:lnTo>
                  <a:lnTo>
                    <a:pt x="2484" y="1914"/>
                  </a:lnTo>
                  <a:lnTo>
                    <a:pt x="2484" y="1908"/>
                  </a:lnTo>
                  <a:lnTo>
                    <a:pt x="2478" y="1902"/>
                  </a:lnTo>
                  <a:lnTo>
                    <a:pt x="2478" y="1896"/>
                  </a:lnTo>
                  <a:lnTo>
                    <a:pt x="2490" y="1884"/>
                  </a:lnTo>
                  <a:lnTo>
                    <a:pt x="2526" y="1872"/>
                  </a:lnTo>
                  <a:lnTo>
                    <a:pt x="2586" y="1866"/>
                  </a:lnTo>
                  <a:lnTo>
                    <a:pt x="2640" y="1866"/>
                  </a:lnTo>
                  <a:lnTo>
                    <a:pt x="2646" y="1848"/>
                  </a:lnTo>
                  <a:lnTo>
                    <a:pt x="2712" y="1848"/>
                  </a:lnTo>
                  <a:lnTo>
                    <a:pt x="2712" y="1830"/>
                  </a:lnTo>
                  <a:lnTo>
                    <a:pt x="2718" y="1824"/>
                  </a:lnTo>
                  <a:lnTo>
                    <a:pt x="2808" y="1824"/>
                  </a:lnTo>
                  <a:lnTo>
                    <a:pt x="2862" y="1806"/>
                  </a:lnTo>
                  <a:lnTo>
                    <a:pt x="2874" y="1806"/>
                  </a:lnTo>
                  <a:lnTo>
                    <a:pt x="2874" y="1794"/>
                  </a:lnTo>
                  <a:lnTo>
                    <a:pt x="2886" y="1782"/>
                  </a:lnTo>
                  <a:lnTo>
                    <a:pt x="2898" y="1776"/>
                  </a:lnTo>
                  <a:lnTo>
                    <a:pt x="2916" y="1770"/>
                  </a:lnTo>
                  <a:lnTo>
                    <a:pt x="2940" y="1770"/>
                  </a:lnTo>
                  <a:lnTo>
                    <a:pt x="2958" y="1776"/>
                  </a:lnTo>
                  <a:lnTo>
                    <a:pt x="2976" y="1776"/>
                  </a:lnTo>
                  <a:lnTo>
                    <a:pt x="2988" y="1788"/>
                  </a:lnTo>
                  <a:lnTo>
                    <a:pt x="3000" y="1788"/>
                  </a:lnTo>
                  <a:lnTo>
                    <a:pt x="3012" y="1776"/>
                  </a:lnTo>
                  <a:lnTo>
                    <a:pt x="3018" y="1776"/>
                  </a:lnTo>
                  <a:lnTo>
                    <a:pt x="3036" y="1794"/>
                  </a:lnTo>
                  <a:lnTo>
                    <a:pt x="3042" y="1806"/>
                  </a:lnTo>
                  <a:lnTo>
                    <a:pt x="3048" y="1812"/>
                  </a:lnTo>
                  <a:lnTo>
                    <a:pt x="3060" y="1812"/>
                  </a:lnTo>
                  <a:lnTo>
                    <a:pt x="3066" y="1818"/>
                  </a:lnTo>
                  <a:lnTo>
                    <a:pt x="3066" y="1860"/>
                  </a:lnTo>
                  <a:lnTo>
                    <a:pt x="3072" y="1866"/>
                  </a:lnTo>
                  <a:lnTo>
                    <a:pt x="3090" y="1866"/>
                  </a:lnTo>
                  <a:lnTo>
                    <a:pt x="3102" y="1860"/>
                  </a:lnTo>
                  <a:lnTo>
                    <a:pt x="3120" y="1860"/>
                  </a:lnTo>
                  <a:lnTo>
                    <a:pt x="3132" y="1842"/>
                  </a:lnTo>
                  <a:lnTo>
                    <a:pt x="3156" y="1878"/>
                  </a:lnTo>
                  <a:lnTo>
                    <a:pt x="3180" y="1866"/>
                  </a:lnTo>
                  <a:lnTo>
                    <a:pt x="3204" y="1878"/>
                  </a:lnTo>
                  <a:lnTo>
                    <a:pt x="3210" y="1872"/>
                  </a:lnTo>
                  <a:lnTo>
                    <a:pt x="3216" y="1872"/>
                  </a:lnTo>
                  <a:lnTo>
                    <a:pt x="3228" y="1878"/>
                  </a:lnTo>
                  <a:lnTo>
                    <a:pt x="3228" y="1902"/>
                  </a:lnTo>
                  <a:lnTo>
                    <a:pt x="3222" y="1908"/>
                  </a:lnTo>
                  <a:lnTo>
                    <a:pt x="3222" y="1914"/>
                  </a:lnTo>
                  <a:lnTo>
                    <a:pt x="3228" y="1914"/>
                  </a:lnTo>
                  <a:lnTo>
                    <a:pt x="3234" y="1908"/>
                  </a:lnTo>
                  <a:lnTo>
                    <a:pt x="3240" y="1908"/>
                  </a:lnTo>
                  <a:lnTo>
                    <a:pt x="3246" y="1902"/>
                  </a:lnTo>
                  <a:lnTo>
                    <a:pt x="3252" y="1902"/>
                  </a:lnTo>
                  <a:lnTo>
                    <a:pt x="3258" y="1908"/>
                  </a:lnTo>
                  <a:lnTo>
                    <a:pt x="3270" y="1914"/>
                  </a:lnTo>
                  <a:lnTo>
                    <a:pt x="3276" y="1920"/>
                  </a:lnTo>
                  <a:lnTo>
                    <a:pt x="3288" y="1926"/>
                  </a:lnTo>
                  <a:lnTo>
                    <a:pt x="3300" y="1914"/>
                  </a:lnTo>
                  <a:lnTo>
                    <a:pt x="3300" y="1896"/>
                  </a:lnTo>
                  <a:lnTo>
                    <a:pt x="3306" y="1890"/>
                  </a:lnTo>
                  <a:lnTo>
                    <a:pt x="3318" y="1884"/>
                  </a:lnTo>
                  <a:lnTo>
                    <a:pt x="3330" y="1884"/>
                  </a:lnTo>
                  <a:lnTo>
                    <a:pt x="3342" y="1866"/>
                  </a:lnTo>
                  <a:lnTo>
                    <a:pt x="3378" y="1854"/>
                  </a:lnTo>
                  <a:lnTo>
                    <a:pt x="3396" y="1836"/>
                  </a:lnTo>
                  <a:lnTo>
                    <a:pt x="3402" y="1836"/>
                  </a:lnTo>
                  <a:lnTo>
                    <a:pt x="3408" y="1842"/>
                  </a:lnTo>
                  <a:lnTo>
                    <a:pt x="3408" y="1860"/>
                  </a:lnTo>
                  <a:lnTo>
                    <a:pt x="3396" y="1872"/>
                  </a:lnTo>
                  <a:lnTo>
                    <a:pt x="3390" y="1872"/>
                  </a:lnTo>
                  <a:lnTo>
                    <a:pt x="3426" y="1890"/>
                  </a:lnTo>
                  <a:lnTo>
                    <a:pt x="3456" y="1902"/>
                  </a:lnTo>
                  <a:lnTo>
                    <a:pt x="3486" y="1920"/>
                  </a:lnTo>
                  <a:lnTo>
                    <a:pt x="3498" y="1926"/>
                  </a:lnTo>
                  <a:lnTo>
                    <a:pt x="3516" y="1938"/>
                  </a:lnTo>
                  <a:lnTo>
                    <a:pt x="3546" y="1968"/>
                  </a:lnTo>
                  <a:lnTo>
                    <a:pt x="3618" y="2028"/>
                  </a:lnTo>
                  <a:lnTo>
                    <a:pt x="3636" y="2052"/>
                  </a:lnTo>
                  <a:lnTo>
                    <a:pt x="3672" y="2088"/>
                  </a:lnTo>
                  <a:lnTo>
                    <a:pt x="3684" y="2106"/>
                  </a:lnTo>
                  <a:lnTo>
                    <a:pt x="3696" y="2118"/>
                  </a:lnTo>
                  <a:lnTo>
                    <a:pt x="3708" y="2124"/>
                  </a:lnTo>
                  <a:lnTo>
                    <a:pt x="3720" y="2124"/>
                  </a:lnTo>
                  <a:lnTo>
                    <a:pt x="3732" y="2118"/>
                  </a:lnTo>
                  <a:lnTo>
                    <a:pt x="3744" y="2106"/>
                  </a:lnTo>
                  <a:lnTo>
                    <a:pt x="3744" y="2094"/>
                  </a:lnTo>
                  <a:lnTo>
                    <a:pt x="3750" y="2088"/>
                  </a:lnTo>
                  <a:lnTo>
                    <a:pt x="3750" y="2082"/>
                  </a:lnTo>
                  <a:lnTo>
                    <a:pt x="3762" y="2082"/>
                  </a:lnTo>
                  <a:lnTo>
                    <a:pt x="3768" y="2088"/>
                  </a:lnTo>
                  <a:lnTo>
                    <a:pt x="3768" y="2100"/>
                  </a:lnTo>
                  <a:lnTo>
                    <a:pt x="3774" y="2106"/>
                  </a:lnTo>
                  <a:lnTo>
                    <a:pt x="3774" y="2112"/>
                  </a:lnTo>
                  <a:lnTo>
                    <a:pt x="3804" y="2112"/>
                  </a:lnTo>
                  <a:lnTo>
                    <a:pt x="3816" y="2118"/>
                  </a:lnTo>
                  <a:lnTo>
                    <a:pt x="3822" y="2130"/>
                  </a:lnTo>
                  <a:lnTo>
                    <a:pt x="3834" y="2136"/>
                  </a:lnTo>
                  <a:lnTo>
                    <a:pt x="3858" y="2136"/>
                  </a:lnTo>
                  <a:lnTo>
                    <a:pt x="3864" y="2124"/>
                  </a:lnTo>
                  <a:lnTo>
                    <a:pt x="3876" y="2118"/>
                  </a:lnTo>
                  <a:lnTo>
                    <a:pt x="3894" y="2112"/>
                  </a:lnTo>
                  <a:lnTo>
                    <a:pt x="3906" y="2106"/>
                  </a:lnTo>
                  <a:lnTo>
                    <a:pt x="3924" y="2106"/>
                  </a:lnTo>
                  <a:lnTo>
                    <a:pt x="3948" y="2118"/>
                  </a:lnTo>
                  <a:lnTo>
                    <a:pt x="3972" y="2142"/>
                  </a:lnTo>
                  <a:lnTo>
                    <a:pt x="3984" y="2148"/>
                  </a:lnTo>
                  <a:lnTo>
                    <a:pt x="3990" y="2160"/>
                  </a:lnTo>
                  <a:lnTo>
                    <a:pt x="4002" y="2160"/>
                  </a:lnTo>
                  <a:lnTo>
                    <a:pt x="4014" y="2166"/>
                  </a:lnTo>
                  <a:lnTo>
                    <a:pt x="4026" y="2166"/>
                  </a:lnTo>
                  <a:lnTo>
                    <a:pt x="4038" y="2172"/>
                  </a:lnTo>
                  <a:lnTo>
                    <a:pt x="4044" y="2172"/>
                  </a:lnTo>
                  <a:lnTo>
                    <a:pt x="4044" y="2178"/>
                  </a:lnTo>
                  <a:lnTo>
                    <a:pt x="4050" y="2190"/>
                  </a:lnTo>
                  <a:lnTo>
                    <a:pt x="4056" y="2196"/>
                  </a:lnTo>
                  <a:lnTo>
                    <a:pt x="4062" y="2208"/>
                  </a:lnTo>
                  <a:lnTo>
                    <a:pt x="4068" y="2214"/>
                  </a:lnTo>
                  <a:lnTo>
                    <a:pt x="4068" y="2220"/>
                  </a:lnTo>
                  <a:lnTo>
                    <a:pt x="4140" y="2226"/>
                  </a:lnTo>
                  <a:lnTo>
                    <a:pt x="4152" y="2190"/>
                  </a:lnTo>
                  <a:lnTo>
                    <a:pt x="4176" y="2214"/>
                  </a:lnTo>
                  <a:lnTo>
                    <a:pt x="4212" y="2256"/>
                  </a:lnTo>
                  <a:lnTo>
                    <a:pt x="4254" y="2256"/>
                  </a:lnTo>
                  <a:lnTo>
                    <a:pt x="4266" y="2244"/>
                  </a:lnTo>
                  <a:lnTo>
                    <a:pt x="4266" y="2226"/>
                  </a:lnTo>
                  <a:lnTo>
                    <a:pt x="4326" y="2226"/>
                  </a:lnTo>
                  <a:lnTo>
                    <a:pt x="4320" y="2214"/>
                  </a:lnTo>
                  <a:lnTo>
                    <a:pt x="4344" y="2214"/>
                  </a:lnTo>
                  <a:lnTo>
                    <a:pt x="4338" y="2208"/>
                  </a:lnTo>
                  <a:lnTo>
                    <a:pt x="4338" y="2202"/>
                  </a:lnTo>
                  <a:lnTo>
                    <a:pt x="4374" y="2166"/>
                  </a:lnTo>
                  <a:lnTo>
                    <a:pt x="4392" y="2166"/>
                  </a:lnTo>
                  <a:lnTo>
                    <a:pt x="4404" y="2148"/>
                  </a:lnTo>
                  <a:lnTo>
                    <a:pt x="4428" y="2148"/>
                  </a:lnTo>
                  <a:lnTo>
                    <a:pt x="4428" y="2142"/>
                  </a:lnTo>
                  <a:lnTo>
                    <a:pt x="4434" y="2136"/>
                  </a:lnTo>
                  <a:lnTo>
                    <a:pt x="4434" y="2130"/>
                  </a:lnTo>
                  <a:lnTo>
                    <a:pt x="4440" y="2124"/>
                  </a:lnTo>
                  <a:lnTo>
                    <a:pt x="4458" y="2124"/>
                  </a:lnTo>
                  <a:lnTo>
                    <a:pt x="4464" y="2130"/>
                  </a:lnTo>
                  <a:lnTo>
                    <a:pt x="4482" y="2124"/>
                  </a:lnTo>
                  <a:lnTo>
                    <a:pt x="4482" y="2130"/>
                  </a:lnTo>
                  <a:lnTo>
                    <a:pt x="4518" y="2130"/>
                  </a:lnTo>
                  <a:lnTo>
                    <a:pt x="4524" y="2148"/>
                  </a:lnTo>
                  <a:lnTo>
                    <a:pt x="4548" y="2148"/>
                  </a:lnTo>
                  <a:lnTo>
                    <a:pt x="4566" y="2142"/>
                  </a:lnTo>
                  <a:lnTo>
                    <a:pt x="4608" y="2142"/>
                  </a:lnTo>
                  <a:lnTo>
                    <a:pt x="4608" y="2148"/>
                  </a:lnTo>
                  <a:lnTo>
                    <a:pt x="4614" y="2154"/>
                  </a:lnTo>
                  <a:lnTo>
                    <a:pt x="4614" y="2166"/>
                  </a:lnTo>
                  <a:lnTo>
                    <a:pt x="4620" y="2172"/>
                  </a:lnTo>
                  <a:lnTo>
                    <a:pt x="4638" y="2178"/>
                  </a:lnTo>
                  <a:lnTo>
                    <a:pt x="4668" y="2178"/>
                  </a:lnTo>
                  <a:lnTo>
                    <a:pt x="4674" y="2190"/>
                  </a:lnTo>
                  <a:lnTo>
                    <a:pt x="4698" y="2184"/>
                  </a:lnTo>
                  <a:lnTo>
                    <a:pt x="4704" y="2196"/>
                  </a:lnTo>
                  <a:lnTo>
                    <a:pt x="4704" y="2190"/>
                  </a:lnTo>
                  <a:lnTo>
                    <a:pt x="4710" y="2184"/>
                  </a:lnTo>
                  <a:lnTo>
                    <a:pt x="4752" y="2184"/>
                  </a:lnTo>
                  <a:lnTo>
                    <a:pt x="4752" y="2196"/>
                  </a:lnTo>
                  <a:lnTo>
                    <a:pt x="4800" y="2190"/>
                  </a:lnTo>
                  <a:lnTo>
                    <a:pt x="4800" y="2202"/>
                  </a:lnTo>
                  <a:lnTo>
                    <a:pt x="4806" y="2208"/>
                  </a:lnTo>
                  <a:lnTo>
                    <a:pt x="4830" y="2196"/>
                  </a:lnTo>
                  <a:lnTo>
                    <a:pt x="4836" y="2190"/>
                  </a:lnTo>
                  <a:lnTo>
                    <a:pt x="4836" y="2184"/>
                  </a:lnTo>
                  <a:lnTo>
                    <a:pt x="4854" y="2184"/>
                  </a:lnTo>
                  <a:lnTo>
                    <a:pt x="4854" y="2160"/>
                  </a:lnTo>
                  <a:lnTo>
                    <a:pt x="4848" y="2148"/>
                  </a:lnTo>
                  <a:lnTo>
                    <a:pt x="4842" y="2142"/>
                  </a:lnTo>
                  <a:lnTo>
                    <a:pt x="4836" y="2142"/>
                  </a:lnTo>
                  <a:lnTo>
                    <a:pt x="4812" y="2106"/>
                  </a:lnTo>
                  <a:lnTo>
                    <a:pt x="4806" y="2088"/>
                  </a:lnTo>
                  <a:lnTo>
                    <a:pt x="4794" y="2076"/>
                  </a:lnTo>
                  <a:lnTo>
                    <a:pt x="4794" y="2064"/>
                  </a:lnTo>
                  <a:lnTo>
                    <a:pt x="4812" y="2064"/>
                  </a:lnTo>
                  <a:lnTo>
                    <a:pt x="4806" y="2052"/>
                  </a:lnTo>
                  <a:lnTo>
                    <a:pt x="4812" y="2052"/>
                  </a:lnTo>
                  <a:lnTo>
                    <a:pt x="4824" y="2046"/>
                  </a:lnTo>
                  <a:lnTo>
                    <a:pt x="4830" y="2034"/>
                  </a:lnTo>
                  <a:lnTo>
                    <a:pt x="4830" y="2016"/>
                  </a:lnTo>
                  <a:lnTo>
                    <a:pt x="4890" y="2046"/>
                  </a:lnTo>
                  <a:lnTo>
                    <a:pt x="4902" y="2046"/>
                  </a:lnTo>
                  <a:lnTo>
                    <a:pt x="4926" y="2052"/>
                  </a:lnTo>
                  <a:lnTo>
                    <a:pt x="4962" y="2052"/>
                  </a:lnTo>
                  <a:lnTo>
                    <a:pt x="4974" y="2058"/>
                  </a:lnTo>
                  <a:lnTo>
                    <a:pt x="4980" y="2064"/>
                  </a:lnTo>
                  <a:lnTo>
                    <a:pt x="5004" y="2076"/>
                  </a:lnTo>
                  <a:lnTo>
                    <a:pt x="5010" y="2076"/>
                  </a:lnTo>
                  <a:lnTo>
                    <a:pt x="5022" y="2070"/>
                  </a:lnTo>
                  <a:lnTo>
                    <a:pt x="5040" y="2070"/>
                  </a:lnTo>
                  <a:lnTo>
                    <a:pt x="5052" y="2076"/>
                  </a:lnTo>
                  <a:lnTo>
                    <a:pt x="5058" y="2082"/>
                  </a:lnTo>
                  <a:lnTo>
                    <a:pt x="5064" y="2094"/>
                  </a:lnTo>
                  <a:lnTo>
                    <a:pt x="5076" y="2106"/>
                  </a:lnTo>
                  <a:lnTo>
                    <a:pt x="5088" y="2130"/>
                  </a:lnTo>
                  <a:lnTo>
                    <a:pt x="5094" y="2136"/>
                  </a:lnTo>
                  <a:lnTo>
                    <a:pt x="5094" y="2142"/>
                  </a:lnTo>
                  <a:lnTo>
                    <a:pt x="5118" y="2136"/>
                  </a:lnTo>
                  <a:lnTo>
                    <a:pt x="5118" y="2142"/>
                  </a:lnTo>
                  <a:lnTo>
                    <a:pt x="5136" y="2160"/>
                  </a:lnTo>
                  <a:lnTo>
                    <a:pt x="5166" y="2160"/>
                  </a:lnTo>
                  <a:lnTo>
                    <a:pt x="5172" y="2166"/>
                  </a:lnTo>
                  <a:lnTo>
                    <a:pt x="5184" y="2166"/>
                  </a:lnTo>
                  <a:lnTo>
                    <a:pt x="5196" y="2172"/>
                  </a:lnTo>
                  <a:lnTo>
                    <a:pt x="5208" y="2172"/>
                  </a:lnTo>
                  <a:lnTo>
                    <a:pt x="5220" y="2166"/>
                  </a:lnTo>
                  <a:lnTo>
                    <a:pt x="5274" y="2148"/>
                  </a:lnTo>
                  <a:lnTo>
                    <a:pt x="5322" y="2148"/>
                  </a:lnTo>
                  <a:lnTo>
                    <a:pt x="5334" y="2154"/>
                  </a:lnTo>
                  <a:lnTo>
                    <a:pt x="5340" y="2154"/>
                  </a:lnTo>
                  <a:lnTo>
                    <a:pt x="5346" y="2160"/>
                  </a:lnTo>
                  <a:lnTo>
                    <a:pt x="5382" y="2160"/>
                  </a:lnTo>
                  <a:lnTo>
                    <a:pt x="5406" y="2184"/>
                  </a:lnTo>
                  <a:lnTo>
                    <a:pt x="5466" y="2184"/>
                  </a:lnTo>
                  <a:lnTo>
                    <a:pt x="5472" y="2190"/>
                  </a:lnTo>
                  <a:lnTo>
                    <a:pt x="5472" y="2196"/>
                  </a:lnTo>
                  <a:lnTo>
                    <a:pt x="5484" y="2208"/>
                  </a:lnTo>
                  <a:lnTo>
                    <a:pt x="5484" y="2214"/>
                  </a:lnTo>
                  <a:lnTo>
                    <a:pt x="5502" y="2214"/>
                  </a:lnTo>
                  <a:lnTo>
                    <a:pt x="5514" y="2220"/>
                  </a:lnTo>
                  <a:lnTo>
                    <a:pt x="5514" y="2232"/>
                  </a:lnTo>
                  <a:lnTo>
                    <a:pt x="5520" y="2238"/>
                  </a:lnTo>
                  <a:lnTo>
                    <a:pt x="5586" y="2238"/>
                  </a:lnTo>
                  <a:lnTo>
                    <a:pt x="5592" y="2244"/>
                  </a:lnTo>
                  <a:lnTo>
                    <a:pt x="5598" y="2244"/>
                  </a:lnTo>
                  <a:lnTo>
                    <a:pt x="5610" y="2250"/>
                  </a:lnTo>
                  <a:lnTo>
                    <a:pt x="5634" y="2250"/>
                  </a:lnTo>
                  <a:lnTo>
                    <a:pt x="5646" y="2244"/>
                  </a:lnTo>
                  <a:lnTo>
                    <a:pt x="5664" y="2244"/>
                  </a:lnTo>
                  <a:lnTo>
                    <a:pt x="5670" y="2250"/>
                  </a:lnTo>
                  <a:lnTo>
                    <a:pt x="5670" y="2256"/>
                  </a:lnTo>
                  <a:lnTo>
                    <a:pt x="5676" y="2256"/>
                  </a:lnTo>
                  <a:lnTo>
                    <a:pt x="5694" y="2238"/>
                  </a:lnTo>
                  <a:lnTo>
                    <a:pt x="5694" y="2232"/>
                  </a:lnTo>
                  <a:lnTo>
                    <a:pt x="5742" y="2232"/>
                  </a:lnTo>
                  <a:lnTo>
                    <a:pt x="5754" y="2220"/>
                  </a:lnTo>
                  <a:lnTo>
                    <a:pt x="5790" y="2220"/>
                  </a:lnTo>
                  <a:lnTo>
                    <a:pt x="5802" y="2208"/>
                  </a:lnTo>
                  <a:lnTo>
                    <a:pt x="5802" y="2196"/>
                  </a:lnTo>
                  <a:lnTo>
                    <a:pt x="5832" y="2166"/>
                  </a:lnTo>
                  <a:lnTo>
                    <a:pt x="5850" y="2166"/>
                  </a:lnTo>
                  <a:lnTo>
                    <a:pt x="5862" y="2172"/>
                  </a:lnTo>
                  <a:lnTo>
                    <a:pt x="5898" y="2172"/>
                  </a:lnTo>
                  <a:lnTo>
                    <a:pt x="5916" y="2190"/>
                  </a:lnTo>
                  <a:lnTo>
                    <a:pt x="5928" y="2196"/>
                  </a:lnTo>
                  <a:lnTo>
                    <a:pt x="5952" y="2196"/>
                  </a:lnTo>
                  <a:lnTo>
                    <a:pt x="5964" y="2190"/>
                  </a:lnTo>
                  <a:lnTo>
                    <a:pt x="5970" y="2184"/>
                  </a:lnTo>
                  <a:lnTo>
                    <a:pt x="5994" y="2190"/>
                  </a:lnTo>
                  <a:lnTo>
                    <a:pt x="6012" y="2190"/>
                  </a:lnTo>
                  <a:lnTo>
                    <a:pt x="6048" y="2214"/>
                  </a:lnTo>
                  <a:lnTo>
                    <a:pt x="6084" y="2214"/>
                  </a:lnTo>
                  <a:lnTo>
                    <a:pt x="6090" y="2220"/>
                  </a:lnTo>
                  <a:lnTo>
                    <a:pt x="6102" y="2220"/>
                  </a:lnTo>
                  <a:lnTo>
                    <a:pt x="6120" y="2202"/>
                  </a:lnTo>
                  <a:lnTo>
                    <a:pt x="6120" y="2190"/>
                  </a:lnTo>
                  <a:lnTo>
                    <a:pt x="6144" y="2190"/>
                  </a:lnTo>
                  <a:lnTo>
                    <a:pt x="6156" y="2184"/>
                  </a:lnTo>
                  <a:lnTo>
                    <a:pt x="6162" y="2178"/>
                  </a:lnTo>
                  <a:lnTo>
                    <a:pt x="6162" y="2166"/>
                  </a:lnTo>
                  <a:lnTo>
                    <a:pt x="6150" y="2166"/>
                  </a:lnTo>
                  <a:lnTo>
                    <a:pt x="6144" y="2160"/>
                  </a:lnTo>
                  <a:lnTo>
                    <a:pt x="6138" y="2118"/>
                  </a:lnTo>
                  <a:lnTo>
                    <a:pt x="6138" y="2046"/>
                  </a:lnTo>
                  <a:lnTo>
                    <a:pt x="6156" y="2028"/>
                  </a:lnTo>
                  <a:lnTo>
                    <a:pt x="6156" y="2016"/>
                  </a:lnTo>
                  <a:lnTo>
                    <a:pt x="6150" y="2010"/>
                  </a:lnTo>
                  <a:lnTo>
                    <a:pt x="6138" y="2004"/>
                  </a:lnTo>
                  <a:lnTo>
                    <a:pt x="6126" y="1992"/>
                  </a:lnTo>
                  <a:lnTo>
                    <a:pt x="6114" y="1992"/>
                  </a:lnTo>
                  <a:lnTo>
                    <a:pt x="6108" y="1986"/>
                  </a:lnTo>
                  <a:lnTo>
                    <a:pt x="6096" y="1986"/>
                  </a:lnTo>
                  <a:lnTo>
                    <a:pt x="6078" y="1980"/>
                  </a:lnTo>
                  <a:lnTo>
                    <a:pt x="6072" y="1980"/>
                  </a:lnTo>
                  <a:lnTo>
                    <a:pt x="6072" y="1968"/>
                  </a:lnTo>
                  <a:lnTo>
                    <a:pt x="6078" y="1968"/>
                  </a:lnTo>
                  <a:lnTo>
                    <a:pt x="6120" y="1926"/>
                  </a:lnTo>
                  <a:lnTo>
                    <a:pt x="6156" y="1920"/>
                  </a:lnTo>
                  <a:lnTo>
                    <a:pt x="6162" y="1908"/>
                  </a:lnTo>
                  <a:lnTo>
                    <a:pt x="6204" y="1914"/>
                  </a:lnTo>
                  <a:lnTo>
                    <a:pt x="6258" y="1902"/>
                  </a:lnTo>
                  <a:lnTo>
                    <a:pt x="6294" y="1920"/>
                  </a:lnTo>
                  <a:lnTo>
                    <a:pt x="6330" y="1944"/>
                  </a:lnTo>
                  <a:lnTo>
                    <a:pt x="6402" y="1944"/>
                  </a:lnTo>
                  <a:lnTo>
                    <a:pt x="6408" y="1950"/>
                  </a:lnTo>
                  <a:lnTo>
                    <a:pt x="6420" y="1956"/>
                  </a:lnTo>
                  <a:lnTo>
                    <a:pt x="6426" y="1962"/>
                  </a:lnTo>
                  <a:lnTo>
                    <a:pt x="6438" y="1968"/>
                  </a:lnTo>
                  <a:lnTo>
                    <a:pt x="6438" y="1980"/>
                  </a:lnTo>
                  <a:lnTo>
                    <a:pt x="6444" y="1980"/>
                  </a:lnTo>
                  <a:lnTo>
                    <a:pt x="6456" y="1992"/>
                  </a:lnTo>
                  <a:lnTo>
                    <a:pt x="6468" y="1998"/>
                  </a:lnTo>
                  <a:lnTo>
                    <a:pt x="6480" y="2010"/>
                  </a:lnTo>
                  <a:lnTo>
                    <a:pt x="6492" y="2010"/>
                  </a:lnTo>
                  <a:lnTo>
                    <a:pt x="6498" y="2016"/>
                  </a:lnTo>
                  <a:lnTo>
                    <a:pt x="6504" y="2016"/>
                  </a:lnTo>
                  <a:lnTo>
                    <a:pt x="6510" y="2046"/>
                  </a:lnTo>
                  <a:lnTo>
                    <a:pt x="6558" y="2070"/>
                  </a:lnTo>
                  <a:lnTo>
                    <a:pt x="6570" y="2100"/>
                  </a:lnTo>
                  <a:lnTo>
                    <a:pt x="6582" y="2100"/>
                  </a:lnTo>
                  <a:lnTo>
                    <a:pt x="6630" y="2124"/>
                  </a:lnTo>
                  <a:lnTo>
                    <a:pt x="6636" y="2136"/>
                  </a:lnTo>
                  <a:lnTo>
                    <a:pt x="6654" y="2154"/>
                  </a:lnTo>
                  <a:lnTo>
                    <a:pt x="6660" y="2166"/>
                  </a:lnTo>
                  <a:lnTo>
                    <a:pt x="6672" y="2166"/>
                  </a:lnTo>
                  <a:lnTo>
                    <a:pt x="6678" y="2190"/>
                  </a:lnTo>
                  <a:lnTo>
                    <a:pt x="6684" y="2190"/>
                  </a:lnTo>
                  <a:lnTo>
                    <a:pt x="6690" y="2196"/>
                  </a:lnTo>
                  <a:lnTo>
                    <a:pt x="6714" y="2208"/>
                  </a:lnTo>
                  <a:lnTo>
                    <a:pt x="6720" y="2214"/>
                  </a:lnTo>
                  <a:lnTo>
                    <a:pt x="6732" y="2220"/>
                  </a:lnTo>
                  <a:lnTo>
                    <a:pt x="6780" y="2220"/>
                  </a:lnTo>
                  <a:lnTo>
                    <a:pt x="6792" y="2226"/>
                  </a:lnTo>
                  <a:lnTo>
                    <a:pt x="6798" y="2232"/>
                  </a:lnTo>
                  <a:lnTo>
                    <a:pt x="6810" y="2238"/>
                  </a:lnTo>
                  <a:lnTo>
                    <a:pt x="6822" y="2226"/>
                  </a:lnTo>
                  <a:lnTo>
                    <a:pt x="6834" y="2226"/>
                  </a:lnTo>
                  <a:lnTo>
                    <a:pt x="6852" y="2244"/>
                  </a:lnTo>
                  <a:lnTo>
                    <a:pt x="6864" y="2250"/>
                  </a:lnTo>
                  <a:lnTo>
                    <a:pt x="6882" y="2268"/>
                  </a:lnTo>
                  <a:lnTo>
                    <a:pt x="6924" y="2268"/>
                  </a:lnTo>
                  <a:lnTo>
                    <a:pt x="6942" y="2298"/>
                  </a:lnTo>
                  <a:lnTo>
                    <a:pt x="6960" y="2298"/>
                  </a:lnTo>
                  <a:lnTo>
                    <a:pt x="6966" y="2304"/>
                  </a:lnTo>
                  <a:lnTo>
                    <a:pt x="6966" y="2310"/>
                  </a:lnTo>
                  <a:lnTo>
                    <a:pt x="6972" y="2322"/>
                  </a:lnTo>
                  <a:lnTo>
                    <a:pt x="6972" y="2334"/>
                  </a:lnTo>
                  <a:lnTo>
                    <a:pt x="7014" y="2364"/>
                  </a:lnTo>
                  <a:lnTo>
                    <a:pt x="7038" y="2358"/>
                  </a:lnTo>
                  <a:lnTo>
                    <a:pt x="7050" y="2370"/>
                  </a:lnTo>
                  <a:lnTo>
                    <a:pt x="7068" y="2370"/>
                  </a:lnTo>
                  <a:lnTo>
                    <a:pt x="7068" y="2358"/>
                  </a:lnTo>
                  <a:lnTo>
                    <a:pt x="7098" y="2364"/>
                  </a:lnTo>
                  <a:lnTo>
                    <a:pt x="7098" y="2346"/>
                  </a:lnTo>
                  <a:lnTo>
                    <a:pt x="7104" y="2340"/>
                  </a:lnTo>
                  <a:lnTo>
                    <a:pt x="7110" y="2340"/>
                  </a:lnTo>
                  <a:lnTo>
                    <a:pt x="7122" y="2334"/>
                  </a:lnTo>
                  <a:lnTo>
                    <a:pt x="7152" y="2334"/>
                  </a:lnTo>
                  <a:lnTo>
                    <a:pt x="7158" y="2310"/>
                  </a:lnTo>
                  <a:lnTo>
                    <a:pt x="7200" y="2310"/>
                  </a:lnTo>
                  <a:lnTo>
                    <a:pt x="7212" y="2316"/>
                  </a:lnTo>
                  <a:lnTo>
                    <a:pt x="7218" y="2328"/>
                  </a:lnTo>
                  <a:lnTo>
                    <a:pt x="7218" y="2346"/>
                  </a:lnTo>
                  <a:lnTo>
                    <a:pt x="7242" y="2358"/>
                  </a:lnTo>
                  <a:lnTo>
                    <a:pt x="7242" y="2388"/>
                  </a:lnTo>
                  <a:lnTo>
                    <a:pt x="7224" y="2394"/>
                  </a:lnTo>
                  <a:lnTo>
                    <a:pt x="7236" y="2412"/>
                  </a:lnTo>
                  <a:lnTo>
                    <a:pt x="7236" y="2430"/>
                  </a:lnTo>
                  <a:lnTo>
                    <a:pt x="7248" y="2442"/>
                  </a:lnTo>
                  <a:lnTo>
                    <a:pt x="7248" y="2466"/>
                  </a:lnTo>
                  <a:lnTo>
                    <a:pt x="7266" y="2472"/>
                  </a:lnTo>
                  <a:lnTo>
                    <a:pt x="7260" y="2502"/>
                  </a:lnTo>
                  <a:lnTo>
                    <a:pt x="7266" y="2526"/>
                  </a:lnTo>
                  <a:lnTo>
                    <a:pt x="7260" y="2532"/>
                  </a:lnTo>
                  <a:lnTo>
                    <a:pt x="7254" y="2532"/>
                  </a:lnTo>
                  <a:lnTo>
                    <a:pt x="7254" y="2550"/>
                  </a:lnTo>
                  <a:lnTo>
                    <a:pt x="7260" y="2562"/>
                  </a:lnTo>
                  <a:lnTo>
                    <a:pt x="7260" y="2574"/>
                  </a:lnTo>
                  <a:lnTo>
                    <a:pt x="7254" y="2580"/>
                  </a:lnTo>
                  <a:lnTo>
                    <a:pt x="7248" y="2580"/>
                  </a:lnTo>
                  <a:lnTo>
                    <a:pt x="7236" y="2574"/>
                  </a:lnTo>
                  <a:lnTo>
                    <a:pt x="7224" y="2574"/>
                  </a:lnTo>
                  <a:lnTo>
                    <a:pt x="7206" y="2568"/>
                  </a:lnTo>
                  <a:lnTo>
                    <a:pt x="7194" y="2562"/>
                  </a:lnTo>
                  <a:lnTo>
                    <a:pt x="7170" y="2562"/>
                  </a:lnTo>
                  <a:lnTo>
                    <a:pt x="7164" y="2568"/>
                  </a:lnTo>
                  <a:lnTo>
                    <a:pt x="7170" y="2574"/>
                  </a:lnTo>
                  <a:lnTo>
                    <a:pt x="7170" y="2586"/>
                  </a:lnTo>
                  <a:lnTo>
                    <a:pt x="7146" y="2586"/>
                  </a:lnTo>
                  <a:lnTo>
                    <a:pt x="7146" y="2598"/>
                  </a:lnTo>
                  <a:lnTo>
                    <a:pt x="7152" y="2610"/>
                  </a:lnTo>
                  <a:lnTo>
                    <a:pt x="7158" y="2610"/>
                  </a:lnTo>
                  <a:lnTo>
                    <a:pt x="7170" y="2622"/>
                  </a:lnTo>
                  <a:lnTo>
                    <a:pt x="7182" y="2628"/>
                  </a:lnTo>
                  <a:lnTo>
                    <a:pt x="7194" y="2646"/>
                  </a:lnTo>
                  <a:lnTo>
                    <a:pt x="7206" y="2658"/>
                  </a:lnTo>
                  <a:lnTo>
                    <a:pt x="7212" y="2676"/>
                  </a:lnTo>
                  <a:lnTo>
                    <a:pt x="7212" y="2688"/>
                  </a:lnTo>
                  <a:lnTo>
                    <a:pt x="7224" y="2700"/>
                  </a:lnTo>
                  <a:lnTo>
                    <a:pt x="7230" y="2712"/>
                  </a:lnTo>
                  <a:lnTo>
                    <a:pt x="7236" y="2748"/>
                  </a:lnTo>
                  <a:lnTo>
                    <a:pt x="7206" y="2742"/>
                  </a:lnTo>
                  <a:lnTo>
                    <a:pt x="7200" y="2766"/>
                  </a:lnTo>
                  <a:lnTo>
                    <a:pt x="7224" y="2778"/>
                  </a:lnTo>
                  <a:lnTo>
                    <a:pt x="7260" y="2778"/>
                  </a:lnTo>
                  <a:lnTo>
                    <a:pt x="7260" y="2718"/>
                  </a:lnTo>
                  <a:lnTo>
                    <a:pt x="7266" y="2712"/>
                  </a:lnTo>
                  <a:lnTo>
                    <a:pt x="7272" y="2712"/>
                  </a:lnTo>
                  <a:lnTo>
                    <a:pt x="7284" y="2718"/>
                  </a:lnTo>
                  <a:lnTo>
                    <a:pt x="7290" y="2724"/>
                  </a:lnTo>
                  <a:lnTo>
                    <a:pt x="7302" y="2712"/>
                  </a:lnTo>
                  <a:lnTo>
                    <a:pt x="7308" y="2724"/>
                  </a:lnTo>
                  <a:lnTo>
                    <a:pt x="7314" y="2730"/>
                  </a:lnTo>
                  <a:lnTo>
                    <a:pt x="7320" y="2742"/>
                  </a:lnTo>
                  <a:lnTo>
                    <a:pt x="7332" y="2754"/>
                  </a:lnTo>
                  <a:lnTo>
                    <a:pt x="7344" y="2754"/>
                  </a:lnTo>
                  <a:lnTo>
                    <a:pt x="7356" y="2748"/>
                  </a:lnTo>
                  <a:lnTo>
                    <a:pt x="7368" y="2748"/>
                  </a:lnTo>
                  <a:lnTo>
                    <a:pt x="7374" y="2742"/>
                  </a:lnTo>
                  <a:lnTo>
                    <a:pt x="7380" y="2742"/>
                  </a:lnTo>
                  <a:lnTo>
                    <a:pt x="7380" y="2760"/>
                  </a:lnTo>
                  <a:lnTo>
                    <a:pt x="7386" y="2760"/>
                  </a:lnTo>
                  <a:lnTo>
                    <a:pt x="7392" y="2754"/>
                  </a:lnTo>
                  <a:lnTo>
                    <a:pt x="7404" y="2748"/>
                  </a:lnTo>
                  <a:lnTo>
                    <a:pt x="7422" y="2742"/>
                  </a:lnTo>
                  <a:lnTo>
                    <a:pt x="7440" y="2730"/>
                  </a:lnTo>
                  <a:lnTo>
                    <a:pt x="7452" y="2724"/>
                  </a:lnTo>
                  <a:lnTo>
                    <a:pt x="7464" y="2700"/>
                  </a:lnTo>
                  <a:lnTo>
                    <a:pt x="7464" y="2682"/>
                  </a:lnTo>
                  <a:lnTo>
                    <a:pt x="7470" y="2664"/>
                  </a:lnTo>
                  <a:lnTo>
                    <a:pt x="7470" y="2628"/>
                  </a:lnTo>
                  <a:lnTo>
                    <a:pt x="7494" y="2622"/>
                  </a:lnTo>
                  <a:lnTo>
                    <a:pt x="7494" y="2562"/>
                  </a:lnTo>
                  <a:lnTo>
                    <a:pt x="7500" y="2550"/>
                  </a:lnTo>
                  <a:lnTo>
                    <a:pt x="7506" y="2544"/>
                  </a:lnTo>
                  <a:lnTo>
                    <a:pt x="7518" y="2520"/>
                  </a:lnTo>
                  <a:lnTo>
                    <a:pt x="7518" y="2490"/>
                  </a:lnTo>
                  <a:lnTo>
                    <a:pt x="7524" y="2472"/>
                  </a:lnTo>
                  <a:lnTo>
                    <a:pt x="7524" y="2454"/>
                  </a:lnTo>
                  <a:lnTo>
                    <a:pt x="7518" y="2442"/>
                  </a:lnTo>
                  <a:lnTo>
                    <a:pt x="7518" y="2424"/>
                  </a:lnTo>
                  <a:lnTo>
                    <a:pt x="7512" y="2418"/>
                  </a:lnTo>
                  <a:lnTo>
                    <a:pt x="7512" y="2412"/>
                  </a:lnTo>
                  <a:lnTo>
                    <a:pt x="7518" y="2400"/>
                  </a:lnTo>
                  <a:lnTo>
                    <a:pt x="7524" y="2394"/>
                  </a:lnTo>
                  <a:lnTo>
                    <a:pt x="7524" y="2382"/>
                  </a:lnTo>
                  <a:lnTo>
                    <a:pt x="7530" y="2376"/>
                  </a:lnTo>
                  <a:lnTo>
                    <a:pt x="7530" y="2364"/>
                  </a:lnTo>
                  <a:lnTo>
                    <a:pt x="7524" y="2358"/>
                  </a:lnTo>
                  <a:lnTo>
                    <a:pt x="7518" y="2346"/>
                  </a:lnTo>
                  <a:lnTo>
                    <a:pt x="7524" y="2334"/>
                  </a:lnTo>
                  <a:lnTo>
                    <a:pt x="7530" y="2328"/>
                  </a:lnTo>
                  <a:lnTo>
                    <a:pt x="7536" y="2316"/>
                  </a:lnTo>
                  <a:lnTo>
                    <a:pt x="7536" y="2298"/>
                  </a:lnTo>
                  <a:lnTo>
                    <a:pt x="7530" y="2292"/>
                  </a:lnTo>
                  <a:lnTo>
                    <a:pt x="7530" y="2280"/>
                  </a:lnTo>
                  <a:lnTo>
                    <a:pt x="7518" y="2256"/>
                  </a:lnTo>
                  <a:lnTo>
                    <a:pt x="7512" y="2250"/>
                  </a:lnTo>
                  <a:lnTo>
                    <a:pt x="7512" y="2238"/>
                  </a:lnTo>
                  <a:lnTo>
                    <a:pt x="7506" y="2232"/>
                  </a:lnTo>
                  <a:lnTo>
                    <a:pt x="7506" y="2220"/>
                  </a:lnTo>
                  <a:lnTo>
                    <a:pt x="7500" y="2214"/>
                  </a:lnTo>
                  <a:lnTo>
                    <a:pt x="7500" y="2202"/>
                  </a:lnTo>
                  <a:lnTo>
                    <a:pt x="7494" y="2196"/>
                  </a:lnTo>
                  <a:lnTo>
                    <a:pt x="7482" y="2190"/>
                  </a:lnTo>
                  <a:lnTo>
                    <a:pt x="7476" y="2184"/>
                  </a:lnTo>
                  <a:lnTo>
                    <a:pt x="7482" y="2178"/>
                  </a:lnTo>
                  <a:lnTo>
                    <a:pt x="7476" y="2178"/>
                  </a:lnTo>
                  <a:lnTo>
                    <a:pt x="7470" y="2172"/>
                  </a:lnTo>
                  <a:lnTo>
                    <a:pt x="7458" y="2166"/>
                  </a:lnTo>
                  <a:lnTo>
                    <a:pt x="7446" y="2154"/>
                  </a:lnTo>
                  <a:lnTo>
                    <a:pt x="7440" y="2142"/>
                  </a:lnTo>
                  <a:lnTo>
                    <a:pt x="7434" y="2124"/>
                  </a:lnTo>
                  <a:lnTo>
                    <a:pt x="7434" y="2112"/>
                  </a:lnTo>
                  <a:lnTo>
                    <a:pt x="7428" y="2106"/>
                  </a:lnTo>
                  <a:lnTo>
                    <a:pt x="7428" y="2100"/>
                  </a:lnTo>
                  <a:lnTo>
                    <a:pt x="7416" y="2094"/>
                  </a:lnTo>
                  <a:lnTo>
                    <a:pt x="7416" y="2082"/>
                  </a:lnTo>
                  <a:lnTo>
                    <a:pt x="7422" y="2070"/>
                  </a:lnTo>
                  <a:lnTo>
                    <a:pt x="7422" y="2040"/>
                  </a:lnTo>
                  <a:lnTo>
                    <a:pt x="7410" y="2028"/>
                  </a:lnTo>
                  <a:lnTo>
                    <a:pt x="7404" y="2016"/>
                  </a:lnTo>
                  <a:lnTo>
                    <a:pt x="7398" y="2010"/>
                  </a:lnTo>
                  <a:lnTo>
                    <a:pt x="7380" y="2004"/>
                  </a:lnTo>
                  <a:lnTo>
                    <a:pt x="7380" y="1998"/>
                  </a:lnTo>
                  <a:lnTo>
                    <a:pt x="7374" y="1992"/>
                  </a:lnTo>
                  <a:lnTo>
                    <a:pt x="7368" y="1980"/>
                  </a:lnTo>
                  <a:lnTo>
                    <a:pt x="7356" y="1968"/>
                  </a:lnTo>
                  <a:lnTo>
                    <a:pt x="7344" y="1968"/>
                  </a:lnTo>
                  <a:lnTo>
                    <a:pt x="7332" y="1956"/>
                  </a:lnTo>
                  <a:lnTo>
                    <a:pt x="7326" y="1956"/>
                  </a:lnTo>
                  <a:lnTo>
                    <a:pt x="7308" y="1950"/>
                  </a:lnTo>
                  <a:lnTo>
                    <a:pt x="7302" y="1938"/>
                  </a:lnTo>
                  <a:lnTo>
                    <a:pt x="7308" y="1938"/>
                  </a:lnTo>
                  <a:lnTo>
                    <a:pt x="7314" y="1944"/>
                  </a:lnTo>
                  <a:lnTo>
                    <a:pt x="7326" y="1944"/>
                  </a:lnTo>
                  <a:lnTo>
                    <a:pt x="7332" y="1950"/>
                  </a:lnTo>
                  <a:lnTo>
                    <a:pt x="7344" y="1950"/>
                  </a:lnTo>
                  <a:lnTo>
                    <a:pt x="7350" y="1944"/>
                  </a:lnTo>
                  <a:lnTo>
                    <a:pt x="7350" y="1938"/>
                  </a:lnTo>
                  <a:lnTo>
                    <a:pt x="7344" y="1938"/>
                  </a:lnTo>
                  <a:lnTo>
                    <a:pt x="7332" y="1932"/>
                  </a:lnTo>
                  <a:lnTo>
                    <a:pt x="7326" y="1926"/>
                  </a:lnTo>
                  <a:lnTo>
                    <a:pt x="7320" y="1926"/>
                  </a:lnTo>
                  <a:lnTo>
                    <a:pt x="7242" y="1890"/>
                  </a:lnTo>
                  <a:lnTo>
                    <a:pt x="7236" y="1890"/>
                  </a:lnTo>
                  <a:lnTo>
                    <a:pt x="7230" y="1884"/>
                  </a:lnTo>
                  <a:lnTo>
                    <a:pt x="7218" y="1878"/>
                  </a:lnTo>
                  <a:lnTo>
                    <a:pt x="7206" y="1866"/>
                  </a:lnTo>
                  <a:lnTo>
                    <a:pt x="7194" y="1860"/>
                  </a:lnTo>
                  <a:lnTo>
                    <a:pt x="7188" y="1854"/>
                  </a:lnTo>
                  <a:lnTo>
                    <a:pt x="7170" y="1854"/>
                  </a:lnTo>
                  <a:lnTo>
                    <a:pt x="7164" y="1860"/>
                  </a:lnTo>
                  <a:lnTo>
                    <a:pt x="7152" y="1866"/>
                  </a:lnTo>
                  <a:lnTo>
                    <a:pt x="7116" y="1854"/>
                  </a:lnTo>
                  <a:lnTo>
                    <a:pt x="7152" y="1896"/>
                  </a:lnTo>
                  <a:lnTo>
                    <a:pt x="7146" y="1920"/>
                  </a:lnTo>
                  <a:lnTo>
                    <a:pt x="7134" y="1920"/>
                  </a:lnTo>
                  <a:lnTo>
                    <a:pt x="7134" y="1890"/>
                  </a:lnTo>
                  <a:lnTo>
                    <a:pt x="7116" y="1878"/>
                  </a:lnTo>
                  <a:lnTo>
                    <a:pt x="7116" y="1908"/>
                  </a:lnTo>
                  <a:lnTo>
                    <a:pt x="7068" y="1908"/>
                  </a:lnTo>
                  <a:lnTo>
                    <a:pt x="7074" y="1902"/>
                  </a:lnTo>
                  <a:lnTo>
                    <a:pt x="7074" y="1884"/>
                  </a:lnTo>
                  <a:lnTo>
                    <a:pt x="7068" y="1878"/>
                  </a:lnTo>
                  <a:lnTo>
                    <a:pt x="7044" y="1878"/>
                  </a:lnTo>
                  <a:lnTo>
                    <a:pt x="7038" y="1890"/>
                  </a:lnTo>
                  <a:lnTo>
                    <a:pt x="7014" y="1890"/>
                  </a:lnTo>
                  <a:lnTo>
                    <a:pt x="7002" y="1854"/>
                  </a:lnTo>
                  <a:lnTo>
                    <a:pt x="6996" y="1854"/>
                  </a:lnTo>
                  <a:lnTo>
                    <a:pt x="6984" y="1830"/>
                  </a:lnTo>
                  <a:lnTo>
                    <a:pt x="6912" y="1836"/>
                  </a:lnTo>
                  <a:lnTo>
                    <a:pt x="6906" y="1824"/>
                  </a:lnTo>
                  <a:lnTo>
                    <a:pt x="6882" y="1824"/>
                  </a:lnTo>
                  <a:lnTo>
                    <a:pt x="6870" y="1818"/>
                  </a:lnTo>
                  <a:lnTo>
                    <a:pt x="6864" y="1812"/>
                  </a:lnTo>
                  <a:lnTo>
                    <a:pt x="6864" y="1794"/>
                  </a:lnTo>
                  <a:lnTo>
                    <a:pt x="6876" y="1788"/>
                  </a:lnTo>
                  <a:lnTo>
                    <a:pt x="6888" y="1776"/>
                  </a:lnTo>
                  <a:lnTo>
                    <a:pt x="6900" y="1776"/>
                  </a:lnTo>
                  <a:lnTo>
                    <a:pt x="6900" y="1752"/>
                  </a:lnTo>
                  <a:lnTo>
                    <a:pt x="6906" y="1752"/>
                  </a:lnTo>
                  <a:lnTo>
                    <a:pt x="6918" y="1746"/>
                  </a:lnTo>
                  <a:lnTo>
                    <a:pt x="6930" y="1734"/>
                  </a:lnTo>
                  <a:lnTo>
                    <a:pt x="6930" y="1728"/>
                  </a:lnTo>
                  <a:lnTo>
                    <a:pt x="6936" y="1716"/>
                  </a:lnTo>
                  <a:lnTo>
                    <a:pt x="6936" y="1710"/>
                  </a:lnTo>
                  <a:lnTo>
                    <a:pt x="6942" y="1698"/>
                  </a:lnTo>
                  <a:lnTo>
                    <a:pt x="6930" y="1686"/>
                  </a:lnTo>
                  <a:lnTo>
                    <a:pt x="6942" y="1662"/>
                  </a:lnTo>
                  <a:lnTo>
                    <a:pt x="6930" y="1650"/>
                  </a:lnTo>
                  <a:lnTo>
                    <a:pt x="6948" y="1632"/>
                  </a:lnTo>
                  <a:lnTo>
                    <a:pt x="6972" y="1626"/>
                  </a:lnTo>
                  <a:lnTo>
                    <a:pt x="6960" y="1596"/>
                  </a:lnTo>
                  <a:lnTo>
                    <a:pt x="6984" y="1590"/>
                  </a:lnTo>
                  <a:lnTo>
                    <a:pt x="6960" y="1554"/>
                  </a:lnTo>
                  <a:lnTo>
                    <a:pt x="6990" y="1542"/>
                  </a:lnTo>
                  <a:lnTo>
                    <a:pt x="6990" y="1500"/>
                  </a:lnTo>
                  <a:lnTo>
                    <a:pt x="6996" y="1488"/>
                  </a:lnTo>
                  <a:lnTo>
                    <a:pt x="7002" y="1482"/>
                  </a:lnTo>
                  <a:lnTo>
                    <a:pt x="7020" y="1470"/>
                  </a:lnTo>
                  <a:lnTo>
                    <a:pt x="7032" y="1464"/>
                  </a:lnTo>
                  <a:lnTo>
                    <a:pt x="7050" y="1464"/>
                  </a:lnTo>
                  <a:lnTo>
                    <a:pt x="7068" y="1470"/>
                  </a:lnTo>
                  <a:lnTo>
                    <a:pt x="7188" y="1470"/>
                  </a:lnTo>
                  <a:lnTo>
                    <a:pt x="7206" y="1488"/>
                  </a:lnTo>
                  <a:lnTo>
                    <a:pt x="7224" y="1482"/>
                  </a:lnTo>
                  <a:lnTo>
                    <a:pt x="7218" y="1464"/>
                  </a:lnTo>
                  <a:lnTo>
                    <a:pt x="7290" y="1482"/>
                  </a:lnTo>
                  <a:lnTo>
                    <a:pt x="7320" y="1464"/>
                  </a:lnTo>
                  <a:lnTo>
                    <a:pt x="7350" y="1488"/>
                  </a:lnTo>
                  <a:lnTo>
                    <a:pt x="7356" y="1452"/>
                  </a:lnTo>
                  <a:lnTo>
                    <a:pt x="7434" y="1452"/>
                  </a:lnTo>
                  <a:lnTo>
                    <a:pt x="7446" y="1458"/>
                  </a:lnTo>
                  <a:lnTo>
                    <a:pt x="7452" y="1470"/>
                  </a:lnTo>
                  <a:lnTo>
                    <a:pt x="7458" y="1470"/>
                  </a:lnTo>
                  <a:lnTo>
                    <a:pt x="7464" y="1464"/>
                  </a:lnTo>
                  <a:lnTo>
                    <a:pt x="7476" y="1464"/>
                  </a:lnTo>
                  <a:lnTo>
                    <a:pt x="7482" y="1458"/>
                  </a:lnTo>
                  <a:lnTo>
                    <a:pt x="7494" y="1452"/>
                  </a:lnTo>
                  <a:lnTo>
                    <a:pt x="7518" y="1470"/>
                  </a:lnTo>
                  <a:lnTo>
                    <a:pt x="7560" y="1476"/>
                  </a:lnTo>
                  <a:lnTo>
                    <a:pt x="7506" y="1488"/>
                  </a:lnTo>
                  <a:lnTo>
                    <a:pt x="7506" y="1494"/>
                  </a:lnTo>
                  <a:lnTo>
                    <a:pt x="7512" y="1500"/>
                  </a:lnTo>
                  <a:lnTo>
                    <a:pt x="7524" y="1506"/>
                  </a:lnTo>
                  <a:lnTo>
                    <a:pt x="7530" y="1512"/>
                  </a:lnTo>
                  <a:lnTo>
                    <a:pt x="7542" y="1512"/>
                  </a:lnTo>
                  <a:lnTo>
                    <a:pt x="7548" y="1506"/>
                  </a:lnTo>
                  <a:lnTo>
                    <a:pt x="7560" y="1506"/>
                  </a:lnTo>
                  <a:lnTo>
                    <a:pt x="7572" y="1500"/>
                  </a:lnTo>
                  <a:lnTo>
                    <a:pt x="7578" y="1494"/>
                  </a:lnTo>
                  <a:lnTo>
                    <a:pt x="7584" y="1494"/>
                  </a:lnTo>
                  <a:lnTo>
                    <a:pt x="7614" y="1506"/>
                  </a:lnTo>
                  <a:lnTo>
                    <a:pt x="7638" y="1488"/>
                  </a:lnTo>
                  <a:lnTo>
                    <a:pt x="7644" y="1488"/>
                  </a:lnTo>
                  <a:lnTo>
                    <a:pt x="7650" y="1494"/>
                  </a:lnTo>
                  <a:lnTo>
                    <a:pt x="7686" y="1494"/>
                  </a:lnTo>
                  <a:lnTo>
                    <a:pt x="7692" y="1488"/>
                  </a:lnTo>
                  <a:lnTo>
                    <a:pt x="7692" y="1476"/>
                  </a:lnTo>
                  <a:lnTo>
                    <a:pt x="7728" y="1482"/>
                  </a:lnTo>
                  <a:lnTo>
                    <a:pt x="7680" y="1452"/>
                  </a:lnTo>
                  <a:lnTo>
                    <a:pt x="7650" y="1464"/>
                  </a:lnTo>
                  <a:lnTo>
                    <a:pt x="7644" y="1446"/>
                  </a:lnTo>
                  <a:lnTo>
                    <a:pt x="7638" y="1434"/>
                  </a:lnTo>
                  <a:lnTo>
                    <a:pt x="7632" y="1428"/>
                  </a:lnTo>
                  <a:lnTo>
                    <a:pt x="7626" y="1416"/>
                  </a:lnTo>
                  <a:lnTo>
                    <a:pt x="7626" y="1398"/>
                  </a:lnTo>
                  <a:lnTo>
                    <a:pt x="7650" y="1374"/>
                  </a:lnTo>
                  <a:lnTo>
                    <a:pt x="7644" y="1344"/>
                  </a:lnTo>
                  <a:lnTo>
                    <a:pt x="7662" y="1332"/>
                  </a:lnTo>
                  <a:lnTo>
                    <a:pt x="7650" y="1326"/>
                  </a:lnTo>
                  <a:lnTo>
                    <a:pt x="7638" y="1314"/>
                  </a:lnTo>
                  <a:lnTo>
                    <a:pt x="7638" y="1302"/>
                  </a:lnTo>
                  <a:lnTo>
                    <a:pt x="7644" y="1296"/>
                  </a:lnTo>
                  <a:lnTo>
                    <a:pt x="7662" y="1290"/>
                  </a:lnTo>
                  <a:lnTo>
                    <a:pt x="7698" y="1290"/>
                  </a:lnTo>
                  <a:lnTo>
                    <a:pt x="7710" y="1296"/>
                  </a:lnTo>
                  <a:lnTo>
                    <a:pt x="7728" y="1296"/>
                  </a:lnTo>
                  <a:lnTo>
                    <a:pt x="7746" y="1278"/>
                  </a:lnTo>
                  <a:lnTo>
                    <a:pt x="7782" y="1308"/>
                  </a:lnTo>
                  <a:lnTo>
                    <a:pt x="7806" y="1290"/>
                  </a:lnTo>
                  <a:lnTo>
                    <a:pt x="7812" y="1302"/>
                  </a:lnTo>
                  <a:lnTo>
                    <a:pt x="7818" y="1308"/>
                  </a:lnTo>
                  <a:lnTo>
                    <a:pt x="7830" y="1332"/>
                  </a:lnTo>
                  <a:lnTo>
                    <a:pt x="7830" y="1338"/>
                  </a:lnTo>
                  <a:lnTo>
                    <a:pt x="7836" y="1344"/>
                  </a:lnTo>
                  <a:lnTo>
                    <a:pt x="7878" y="1344"/>
                  </a:lnTo>
                  <a:lnTo>
                    <a:pt x="7878" y="1362"/>
                  </a:lnTo>
                  <a:lnTo>
                    <a:pt x="7884" y="1374"/>
                  </a:lnTo>
                  <a:lnTo>
                    <a:pt x="7890" y="1380"/>
                  </a:lnTo>
                  <a:lnTo>
                    <a:pt x="7896" y="1380"/>
                  </a:lnTo>
                  <a:lnTo>
                    <a:pt x="7914" y="1362"/>
                  </a:lnTo>
                  <a:lnTo>
                    <a:pt x="7932" y="1326"/>
                  </a:lnTo>
                  <a:lnTo>
                    <a:pt x="7938" y="1320"/>
                  </a:lnTo>
                  <a:lnTo>
                    <a:pt x="7938" y="1314"/>
                  </a:lnTo>
                  <a:lnTo>
                    <a:pt x="7962" y="1302"/>
                  </a:lnTo>
                  <a:lnTo>
                    <a:pt x="7992" y="1314"/>
                  </a:lnTo>
                  <a:lnTo>
                    <a:pt x="7986" y="1302"/>
                  </a:lnTo>
                  <a:lnTo>
                    <a:pt x="7962" y="1284"/>
                  </a:lnTo>
                  <a:lnTo>
                    <a:pt x="7956" y="1278"/>
                  </a:lnTo>
                  <a:lnTo>
                    <a:pt x="7932" y="1266"/>
                  </a:lnTo>
                  <a:lnTo>
                    <a:pt x="7926" y="1254"/>
                  </a:lnTo>
                  <a:lnTo>
                    <a:pt x="7914" y="1248"/>
                  </a:lnTo>
                  <a:lnTo>
                    <a:pt x="7908" y="1242"/>
                  </a:lnTo>
                  <a:lnTo>
                    <a:pt x="7908" y="1230"/>
                  </a:lnTo>
                  <a:lnTo>
                    <a:pt x="7962" y="1230"/>
                  </a:lnTo>
                  <a:lnTo>
                    <a:pt x="7992" y="1236"/>
                  </a:lnTo>
                  <a:lnTo>
                    <a:pt x="8052" y="1236"/>
                  </a:lnTo>
                  <a:lnTo>
                    <a:pt x="8052" y="1254"/>
                  </a:lnTo>
                  <a:lnTo>
                    <a:pt x="8040" y="1254"/>
                  </a:lnTo>
                  <a:lnTo>
                    <a:pt x="8028" y="1248"/>
                  </a:lnTo>
                  <a:lnTo>
                    <a:pt x="7992" y="1248"/>
                  </a:lnTo>
                  <a:lnTo>
                    <a:pt x="7992" y="1266"/>
                  </a:lnTo>
                  <a:lnTo>
                    <a:pt x="8016" y="1290"/>
                  </a:lnTo>
                  <a:lnTo>
                    <a:pt x="8028" y="1296"/>
                  </a:lnTo>
                  <a:lnTo>
                    <a:pt x="8034" y="1320"/>
                  </a:lnTo>
                  <a:lnTo>
                    <a:pt x="8064" y="1326"/>
                  </a:lnTo>
                  <a:lnTo>
                    <a:pt x="8058" y="1344"/>
                  </a:lnTo>
                  <a:lnTo>
                    <a:pt x="8076" y="1362"/>
                  </a:lnTo>
                  <a:lnTo>
                    <a:pt x="8046" y="1368"/>
                  </a:lnTo>
                  <a:lnTo>
                    <a:pt x="8040" y="1380"/>
                  </a:lnTo>
                  <a:lnTo>
                    <a:pt x="8022" y="1386"/>
                  </a:lnTo>
                  <a:lnTo>
                    <a:pt x="8028" y="1398"/>
                  </a:lnTo>
                  <a:lnTo>
                    <a:pt x="8028" y="1404"/>
                  </a:lnTo>
                  <a:lnTo>
                    <a:pt x="8034" y="1416"/>
                  </a:lnTo>
                  <a:lnTo>
                    <a:pt x="8034" y="1440"/>
                  </a:lnTo>
                  <a:lnTo>
                    <a:pt x="8028" y="1452"/>
                  </a:lnTo>
                  <a:lnTo>
                    <a:pt x="8016" y="1464"/>
                  </a:lnTo>
                  <a:lnTo>
                    <a:pt x="8004" y="1488"/>
                  </a:lnTo>
                  <a:lnTo>
                    <a:pt x="8004" y="1506"/>
                  </a:lnTo>
                  <a:lnTo>
                    <a:pt x="8010" y="1506"/>
                  </a:lnTo>
                  <a:lnTo>
                    <a:pt x="8016" y="1512"/>
                  </a:lnTo>
                  <a:lnTo>
                    <a:pt x="8022" y="1524"/>
                  </a:lnTo>
                  <a:lnTo>
                    <a:pt x="8016" y="1530"/>
                  </a:lnTo>
                  <a:lnTo>
                    <a:pt x="8010" y="1542"/>
                  </a:lnTo>
                  <a:lnTo>
                    <a:pt x="7986" y="1566"/>
                  </a:lnTo>
                  <a:lnTo>
                    <a:pt x="7974" y="1572"/>
                  </a:lnTo>
                  <a:lnTo>
                    <a:pt x="7968" y="1578"/>
                  </a:lnTo>
                  <a:lnTo>
                    <a:pt x="7962" y="1578"/>
                  </a:lnTo>
                  <a:lnTo>
                    <a:pt x="7962" y="1596"/>
                  </a:lnTo>
                  <a:lnTo>
                    <a:pt x="7944" y="1596"/>
                  </a:lnTo>
                  <a:lnTo>
                    <a:pt x="7950" y="1596"/>
                  </a:lnTo>
                  <a:lnTo>
                    <a:pt x="7956" y="1602"/>
                  </a:lnTo>
                  <a:lnTo>
                    <a:pt x="7968" y="1608"/>
                  </a:lnTo>
                  <a:lnTo>
                    <a:pt x="7980" y="1632"/>
                  </a:lnTo>
                  <a:lnTo>
                    <a:pt x="7974" y="1650"/>
                  </a:lnTo>
                  <a:lnTo>
                    <a:pt x="7974" y="1662"/>
                  </a:lnTo>
                  <a:lnTo>
                    <a:pt x="7968" y="1674"/>
                  </a:lnTo>
                  <a:lnTo>
                    <a:pt x="7968" y="1686"/>
                  </a:lnTo>
                  <a:lnTo>
                    <a:pt x="7974" y="1704"/>
                  </a:lnTo>
                  <a:lnTo>
                    <a:pt x="7992" y="1722"/>
                  </a:lnTo>
                  <a:lnTo>
                    <a:pt x="8016" y="1752"/>
                  </a:lnTo>
                  <a:lnTo>
                    <a:pt x="8046" y="1776"/>
                  </a:lnTo>
                  <a:lnTo>
                    <a:pt x="8070" y="1800"/>
                  </a:lnTo>
                  <a:lnTo>
                    <a:pt x="8082" y="1806"/>
                  </a:lnTo>
                  <a:lnTo>
                    <a:pt x="8142" y="1872"/>
                  </a:lnTo>
                  <a:lnTo>
                    <a:pt x="8154" y="1866"/>
                  </a:lnTo>
                  <a:lnTo>
                    <a:pt x="8238" y="1962"/>
                  </a:lnTo>
                  <a:lnTo>
                    <a:pt x="8286" y="1980"/>
                  </a:lnTo>
                  <a:lnTo>
                    <a:pt x="8310" y="2004"/>
                  </a:lnTo>
                  <a:lnTo>
                    <a:pt x="8316" y="2016"/>
                  </a:lnTo>
                  <a:lnTo>
                    <a:pt x="8328" y="2022"/>
                  </a:lnTo>
                  <a:lnTo>
                    <a:pt x="8334" y="2034"/>
                  </a:lnTo>
                  <a:lnTo>
                    <a:pt x="8388" y="2088"/>
                  </a:lnTo>
                  <a:lnTo>
                    <a:pt x="8406" y="2088"/>
                  </a:lnTo>
                  <a:lnTo>
                    <a:pt x="8406" y="2106"/>
                  </a:lnTo>
                  <a:lnTo>
                    <a:pt x="8418" y="2106"/>
                  </a:lnTo>
                  <a:lnTo>
                    <a:pt x="8430" y="2100"/>
                  </a:lnTo>
                  <a:lnTo>
                    <a:pt x="8436" y="2094"/>
                  </a:lnTo>
                  <a:lnTo>
                    <a:pt x="8442" y="2082"/>
                  </a:lnTo>
                  <a:lnTo>
                    <a:pt x="8442" y="2076"/>
                  </a:lnTo>
                  <a:lnTo>
                    <a:pt x="8430" y="2064"/>
                  </a:lnTo>
                  <a:lnTo>
                    <a:pt x="8436" y="2058"/>
                  </a:lnTo>
                  <a:lnTo>
                    <a:pt x="8442" y="2046"/>
                  </a:lnTo>
                  <a:lnTo>
                    <a:pt x="8448" y="2040"/>
                  </a:lnTo>
                  <a:lnTo>
                    <a:pt x="8448" y="2022"/>
                  </a:lnTo>
                  <a:lnTo>
                    <a:pt x="8430" y="2004"/>
                  </a:lnTo>
                  <a:lnTo>
                    <a:pt x="8418" y="1998"/>
                  </a:lnTo>
                  <a:lnTo>
                    <a:pt x="8406" y="1974"/>
                  </a:lnTo>
                  <a:lnTo>
                    <a:pt x="8406" y="1962"/>
                  </a:lnTo>
                  <a:lnTo>
                    <a:pt x="8412" y="1950"/>
                  </a:lnTo>
                  <a:lnTo>
                    <a:pt x="8430" y="1932"/>
                  </a:lnTo>
                  <a:lnTo>
                    <a:pt x="8442" y="1932"/>
                  </a:lnTo>
                  <a:lnTo>
                    <a:pt x="8454" y="1938"/>
                  </a:lnTo>
                  <a:lnTo>
                    <a:pt x="8460" y="1938"/>
                  </a:lnTo>
                  <a:lnTo>
                    <a:pt x="8466" y="1944"/>
                  </a:lnTo>
                  <a:lnTo>
                    <a:pt x="8472" y="1944"/>
                  </a:lnTo>
                  <a:lnTo>
                    <a:pt x="8466" y="1938"/>
                  </a:lnTo>
                  <a:lnTo>
                    <a:pt x="8460" y="1926"/>
                  </a:lnTo>
                  <a:lnTo>
                    <a:pt x="8448" y="1920"/>
                  </a:lnTo>
                  <a:lnTo>
                    <a:pt x="8442" y="1908"/>
                  </a:lnTo>
                  <a:lnTo>
                    <a:pt x="8424" y="1890"/>
                  </a:lnTo>
                  <a:lnTo>
                    <a:pt x="8412" y="1890"/>
                  </a:lnTo>
                  <a:lnTo>
                    <a:pt x="8406" y="1884"/>
                  </a:lnTo>
                  <a:lnTo>
                    <a:pt x="8400" y="1872"/>
                  </a:lnTo>
                  <a:lnTo>
                    <a:pt x="8400" y="1860"/>
                  </a:lnTo>
                  <a:lnTo>
                    <a:pt x="8406" y="1848"/>
                  </a:lnTo>
                  <a:lnTo>
                    <a:pt x="8412" y="1842"/>
                  </a:lnTo>
                  <a:lnTo>
                    <a:pt x="8424" y="1836"/>
                  </a:lnTo>
                  <a:lnTo>
                    <a:pt x="8430" y="1830"/>
                  </a:lnTo>
                  <a:lnTo>
                    <a:pt x="8442" y="1836"/>
                  </a:lnTo>
                  <a:lnTo>
                    <a:pt x="8466" y="1836"/>
                  </a:lnTo>
                  <a:lnTo>
                    <a:pt x="8472" y="1830"/>
                  </a:lnTo>
                  <a:lnTo>
                    <a:pt x="8472" y="1812"/>
                  </a:lnTo>
                  <a:lnTo>
                    <a:pt x="8454" y="1794"/>
                  </a:lnTo>
                  <a:lnTo>
                    <a:pt x="8436" y="1788"/>
                  </a:lnTo>
                  <a:lnTo>
                    <a:pt x="8424" y="1782"/>
                  </a:lnTo>
                  <a:lnTo>
                    <a:pt x="8406" y="1770"/>
                  </a:lnTo>
                  <a:lnTo>
                    <a:pt x="8394" y="1758"/>
                  </a:lnTo>
                  <a:lnTo>
                    <a:pt x="8388" y="1740"/>
                  </a:lnTo>
                  <a:lnTo>
                    <a:pt x="8376" y="1716"/>
                  </a:lnTo>
                  <a:lnTo>
                    <a:pt x="8376" y="1704"/>
                  </a:lnTo>
                  <a:lnTo>
                    <a:pt x="8370" y="1698"/>
                  </a:lnTo>
                  <a:lnTo>
                    <a:pt x="8370" y="1692"/>
                  </a:lnTo>
                  <a:lnTo>
                    <a:pt x="8382" y="1686"/>
                  </a:lnTo>
                  <a:lnTo>
                    <a:pt x="8406" y="1710"/>
                  </a:lnTo>
                  <a:lnTo>
                    <a:pt x="8418" y="1716"/>
                  </a:lnTo>
                  <a:lnTo>
                    <a:pt x="8430" y="1716"/>
                  </a:lnTo>
                  <a:lnTo>
                    <a:pt x="8430" y="1710"/>
                  </a:lnTo>
                  <a:lnTo>
                    <a:pt x="8424" y="1704"/>
                  </a:lnTo>
                  <a:lnTo>
                    <a:pt x="8418" y="1692"/>
                  </a:lnTo>
                  <a:lnTo>
                    <a:pt x="8412" y="1686"/>
                  </a:lnTo>
                  <a:lnTo>
                    <a:pt x="8406" y="1674"/>
                  </a:lnTo>
                  <a:lnTo>
                    <a:pt x="8400" y="1668"/>
                  </a:lnTo>
                  <a:lnTo>
                    <a:pt x="8364" y="1668"/>
                  </a:lnTo>
                  <a:lnTo>
                    <a:pt x="8316" y="1626"/>
                  </a:lnTo>
                  <a:lnTo>
                    <a:pt x="8316" y="1596"/>
                  </a:lnTo>
                  <a:lnTo>
                    <a:pt x="8310" y="1590"/>
                  </a:lnTo>
                  <a:lnTo>
                    <a:pt x="8298" y="1584"/>
                  </a:lnTo>
                  <a:lnTo>
                    <a:pt x="8280" y="1578"/>
                  </a:lnTo>
                  <a:lnTo>
                    <a:pt x="8268" y="1572"/>
                  </a:lnTo>
                  <a:lnTo>
                    <a:pt x="8256" y="1572"/>
                  </a:lnTo>
                  <a:lnTo>
                    <a:pt x="8256" y="1590"/>
                  </a:lnTo>
                  <a:lnTo>
                    <a:pt x="8250" y="1590"/>
                  </a:lnTo>
                  <a:lnTo>
                    <a:pt x="8244" y="1584"/>
                  </a:lnTo>
                  <a:lnTo>
                    <a:pt x="8232" y="1584"/>
                  </a:lnTo>
                  <a:lnTo>
                    <a:pt x="8214" y="1572"/>
                  </a:lnTo>
                  <a:lnTo>
                    <a:pt x="8202" y="1566"/>
                  </a:lnTo>
                  <a:lnTo>
                    <a:pt x="8196" y="1560"/>
                  </a:lnTo>
                  <a:lnTo>
                    <a:pt x="8190" y="1548"/>
                  </a:lnTo>
                  <a:lnTo>
                    <a:pt x="8190" y="1536"/>
                  </a:lnTo>
                  <a:lnTo>
                    <a:pt x="8196" y="1524"/>
                  </a:lnTo>
                  <a:lnTo>
                    <a:pt x="8196" y="1500"/>
                  </a:lnTo>
                  <a:lnTo>
                    <a:pt x="8184" y="1476"/>
                  </a:lnTo>
                  <a:lnTo>
                    <a:pt x="8166" y="1458"/>
                  </a:lnTo>
                  <a:lnTo>
                    <a:pt x="8154" y="1452"/>
                  </a:lnTo>
                  <a:lnTo>
                    <a:pt x="8154" y="1434"/>
                  </a:lnTo>
                  <a:lnTo>
                    <a:pt x="8160" y="1428"/>
                  </a:lnTo>
                  <a:lnTo>
                    <a:pt x="8172" y="1428"/>
                  </a:lnTo>
                  <a:lnTo>
                    <a:pt x="8184" y="1434"/>
                  </a:lnTo>
                  <a:lnTo>
                    <a:pt x="8196" y="1416"/>
                  </a:lnTo>
                  <a:lnTo>
                    <a:pt x="8232" y="1446"/>
                  </a:lnTo>
                  <a:lnTo>
                    <a:pt x="8238" y="1440"/>
                  </a:lnTo>
                  <a:lnTo>
                    <a:pt x="8226" y="1428"/>
                  </a:lnTo>
                  <a:lnTo>
                    <a:pt x="8226" y="1422"/>
                  </a:lnTo>
                  <a:lnTo>
                    <a:pt x="8232" y="1416"/>
                  </a:lnTo>
                  <a:lnTo>
                    <a:pt x="8232" y="1404"/>
                  </a:lnTo>
                  <a:lnTo>
                    <a:pt x="8238" y="1392"/>
                  </a:lnTo>
                  <a:lnTo>
                    <a:pt x="8250" y="1386"/>
                  </a:lnTo>
                  <a:lnTo>
                    <a:pt x="8256" y="1386"/>
                  </a:lnTo>
                  <a:lnTo>
                    <a:pt x="8274" y="1404"/>
                  </a:lnTo>
                  <a:lnTo>
                    <a:pt x="8280" y="1416"/>
                  </a:lnTo>
                  <a:lnTo>
                    <a:pt x="8292" y="1428"/>
                  </a:lnTo>
                  <a:lnTo>
                    <a:pt x="8304" y="1434"/>
                  </a:lnTo>
                  <a:lnTo>
                    <a:pt x="8310" y="1446"/>
                  </a:lnTo>
                  <a:lnTo>
                    <a:pt x="8322" y="1398"/>
                  </a:lnTo>
                  <a:lnTo>
                    <a:pt x="8334" y="1398"/>
                  </a:lnTo>
                  <a:lnTo>
                    <a:pt x="8364" y="1392"/>
                  </a:lnTo>
                  <a:lnTo>
                    <a:pt x="8400" y="1386"/>
                  </a:lnTo>
                  <a:lnTo>
                    <a:pt x="8430" y="1386"/>
                  </a:lnTo>
                  <a:lnTo>
                    <a:pt x="8478" y="1410"/>
                  </a:lnTo>
                  <a:lnTo>
                    <a:pt x="8484" y="1416"/>
                  </a:lnTo>
                  <a:lnTo>
                    <a:pt x="8490" y="1416"/>
                  </a:lnTo>
                  <a:lnTo>
                    <a:pt x="8532" y="1434"/>
                  </a:lnTo>
                  <a:lnTo>
                    <a:pt x="8502" y="1374"/>
                  </a:lnTo>
                  <a:lnTo>
                    <a:pt x="8526" y="1374"/>
                  </a:lnTo>
                  <a:lnTo>
                    <a:pt x="8538" y="1368"/>
                  </a:lnTo>
                  <a:lnTo>
                    <a:pt x="8550" y="1356"/>
                  </a:lnTo>
                  <a:lnTo>
                    <a:pt x="8550" y="1332"/>
                  </a:lnTo>
                  <a:lnTo>
                    <a:pt x="8544" y="1326"/>
                  </a:lnTo>
                  <a:lnTo>
                    <a:pt x="8538" y="1314"/>
                  </a:lnTo>
                  <a:lnTo>
                    <a:pt x="8562" y="1314"/>
                  </a:lnTo>
                  <a:lnTo>
                    <a:pt x="8562" y="1290"/>
                  </a:lnTo>
                  <a:lnTo>
                    <a:pt x="8574" y="1290"/>
                  </a:lnTo>
                  <a:lnTo>
                    <a:pt x="8586" y="1296"/>
                  </a:lnTo>
                  <a:lnTo>
                    <a:pt x="8616" y="1296"/>
                  </a:lnTo>
                  <a:lnTo>
                    <a:pt x="8628" y="1290"/>
                  </a:lnTo>
                  <a:lnTo>
                    <a:pt x="8634" y="1284"/>
                  </a:lnTo>
                  <a:lnTo>
                    <a:pt x="8640" y="1272"/>
                  </a:lnTo>
                  <a:lnTo>
                    <a:pt x="8652" y="1260"/>
                  </a:lnTo>
                  <a:lnTo>
                    <a:pt x="8658" y="1248"/>
                  </a:lnTo>
                  <a:lnTo>
                    <a:pt x="8664" y="1242"/>
                  </a:lnTo>
                  <a:lnTo>
                    <a:pt x="8670" y="1242"/>
                  </a:lnTo>
                  <a:lnTo>
                    <a:pt x="8652" y="1218"/>
                  </a:lnTo>
                  <a:lnTo>
                    <a:pt x="8682" y="1218"/>
                  </a:lnTo>
                  <a:lnTo>
                    <a:pt x="8688" y="1236"/>
                  </a:lnTo>
                  <a:lnTo>
                    <a:pt x="8748" y="1242"/>
                  </a:lnTo>
                  <a:lnTo>
                    <a:pt x="8760" y="1242"/>
                  </a:lnTo>
                  <a:lnTo>
                    <a:pt x="8772" y="1248"/>
                  </a:lnTo>
                  <a:lnTo>
                    <a:pt x="8808" y="1248"/>
                  </a:lnTo>
                  <a:lnTo>
                    <a:pt x="8808" y="1230"/>
                  </a:lnTo>
                  <a:lnTo>
                    <a:pt x="8802" y="1218"/>
                  </a:lnTo>
                  <a:lnTo>
                    <a:pt x="8766" y="1218"/>
                  </a:lnTo>
                  <a:lnTo>
                    <a:pt x="8760" y="1194"/>
                  </a:lnTo>
                  <a:lnTo>
                    <a:pt x="8754" y="1194"/>
                  </a:lnTo>
                  <a:lnTo>
                    <a:pt x="8748" y="1188"/>
                  </a:lnTo>
                  <a:lnTo>
                    <a:pt x="8736" y="1188"/>
                  </a:lnTo>
                  <a:lnTo>
                    <a:pt x="8712" y="1176"/>
                  </a:lnTo>
                  <a:lnTo>
                    <a:pt x="8700" y="1176"/>
                  </a:lnTo>
                  <a:lnTo>
                    <a:pt x="8688" y="1170"/>
                  </a:lnTo>
                  <a:lnTo>
                    <a:pt x="8658" y="1170"/>
                  </a:lnTo>
                  <a:lnTo>
                    <a:pt x="8664" y="1152"/>
                  </a:lnTo>
                  <a:lnTo>
                    <a:pt x="8592" y="1104"/>
                  </a:lnTo>
                  <a:lnTo>
                    <a:pt x="8574" y="1122"/>
                  </a:lnTo>
                  <a:lnTo>
                    <a:pt x="8568" y="1122"/>
                  </a:lnTo>
                  <a:lnTo>
                    <a:pt x="8562" y="1116"/>
                  </a:lnTo>
                  <a:lnTo>
                    <a:pt x="8550" y="1116"/>
                  </a:lnTo>
                  <a:lnTo>
                    <a:pt x="8538" y="1110"/>
                  </a:lnTo>
                  <a:lnTo>
                    <a:pt x="8532" y="1110"/>
                  </a:lnTo>
                  <a:lnTo>
                    <a:pt x="8520" y="1104"/>
                  </a:lnTo>
                  <a:lnTo>
                    <a:pt x="8508" y="1092"/>
                  </a:lnTo>
                  <a:lnTo>
                    <a:pt x="8502" y="1092"/>
                  </a:lnTo>
                  <a:lnTo>
                    <a:pt x="8466" y="1098"/>
                  </a:lnTo>
                  <a:lnTo>
                    <a:pt x="8442" y="1092"/>
                  </a:lnTo>
                  <a:lnTo>
                    <a:pt x="8430" y="1086"/>
                  </a:lnTo>
                  <a:lnTo>
                    <a:pt x="8412" y="1068"/>
                  </a:lnTo>
                  <a:lnTo>
                    <a:pt x="8406" y="1068"/>
                  </a:lnTo>
                  <a:lnTo>
                    <a:pt x="8412" y="1062"/>
                  </a:lnTo>
                  <a:lnTo>
                    <a:pt x="8436" y="1062"/>
                  </a:lnTo>
                  <a:lnTo>
                    <a:pt x="8460" y="1074"/>
                  </a:lnTo>
                  <a:lnTo>
                    <a:pt x="8478" y="1074"/>
                  </a:lnTo>
                  <a:lnTo>
                    <a:pt x="8496" y="1080"/>
                  </a:lnTo>
                  <a:lnTo>
                    <a:pt x="8514" y="1080"/>
                  </a:lnTo>
                  <a:lnTo>
                    <a:pt x="8526" y="1086"/>
                  </a:lnTo>
                  <a:lnTo>
                    <a:pt x="8544" y="1086"/>
                  </a:lnTo>
                  <a:lnTo>
                    <a:pt x="8550" y="1080"/>
                  </a:lnTo>
                  <a:lnTo>
                    <a:pt x="8562" y="1080"/>
                  </a:lnTo>
                  <a:lnTo>
                    <a:pt x="8580" y="1074"/>
                  </a:lnTo>
                  <a:lnTo>
                    <a:pt x="8604" y="1062"/>
                  </a:lnTo>
                  <a:lnTo>
                    <a:pt x="8616" y="1050"/>
                  </a:lnTo>
                  <a:lnTo>
                    <a:pt x="8604" y="1038"/>
                  </a:lnTo>
                  <a:lnTo>
                    <a:pt x="8592" y="1032"/>
                  </a:lnTo>
                  <a:lnTo>
                    <a:pt x="8586" y="1026"/>
                  </a:lnTo>
                  <a:lnTo>
                    <a:pt x="8574" y="1020"/>
                  </a:lnTo>
                  <a:lnTo>
                    <a:pt x="8568" y="1014"/>
                  </a:lnTo>
                  <a:lnTo>
                    <a:pt x="8562" y="1014"/>
                  </a:lnTo>
                  <a:lnTo>
                    <a:pt x="8556" y="1008"/>
                  </a:lnTo>
                  <a:lnTo>
                    <a:pt x="8520" y="990"/>
                  </a:lnTo>
                  <a:lnTo>
                    <a:pt x="8508" y="978"/>
                  </a:lnTo>
                  <a:lnTo>
                    <a:pt x="8514" y="972"/>
                  </a:lnTo>
                  <a:lnTo>
                    <a:pt x="8538" y="972"/>
                  </a:lnTo>
                  <a:lnTo>
                    <a:pt x="8556" y="978"/>
                  </a:lnTo>
                  <a:lnTo>
                    <a:pt x="8562" y="984"/>
                  </a:lnTo>
                  <a:lnTo>
                    <a:pt x="8574" y="990"/>
                  </a:lnTo>
                  <a:lnTo>
                    <a:pt x="8580" y="990"/>
                  </a:lnTo>
                  <a:lnTo>
                    <a:pt x="8586" y="996"/>
                  </a:lnTo>
                  <a:lnTo>
                    <a:pt x="8610" y="1008"/>
                  </a:lnTo>
                  <a:lnTo>
                    <a:pt x="8628" y="1020"/>
                  </a:lnTo>
                  <a:lnTo>
                    <a:pt x="8652" y="1032"/>
                  </a:lnTo>
                  <a:lnTo>
                    <a:pt x="8664" y="1032"/>
                  </a:lnTo>
                  <a:lnTo>
                    <a:pt x="8676" y="1026"/>
                  </a:lnTo>
                  <a:lnTo>
                    <a:pt x="8682" y="1026"/>
                  </a:lnTo>
                  <a:lnTo>
                    <a:pt x="8688" y="1020"/>
                  </a:lnTo>
                  <a:lnTo>
                    <a:pt x="8730" y="1020"/>
                  </a:lnTo>
                  <a:lnTo>
                    <a:pt x="8754" y="1026"/>
                  </a:lnTo>
                  <a:lnTo>
                    <a:pt x="8808" y="1044"/>
                  </a:lnTo>
                  <a:lnTo>
                    <a:pt x="8850" y="1062"/>
                  </a:lnTo>
                  <a:lnTo>
                    <a:pt x="8880" y="1068"/>
                  </a:lnTo>
                  <a:lnTo>
                    <a:pt x="8886" y="1074"/>
                  </a:lnTo>
                  <a:lnTo>
                    <a:pt x="8898" y="1074"/>
                  </a:lnTo>
                  <a:lnTo>
                    <a:pt x="8934" y="1086"/>
                  </a:lnTo>
                  <a:lnTo>
                    <a:pt x="8946" y="1086"/>
                  </a:lnTo>
                  <a:lnTo>
                    <a:pt x="8952" y="1092"/>
                  </a:lnTo>
                  <a:lnTo>
                    <a:pt x="8958" y="1092"/>
                  </a:lnTo>
                  <a:lnTo>
                    <a:pt x="8970" y="1098"/>
                  </a:lnTo>
                  <a:lnTo>
                    <a:pt x="8976" y="1104"/>
                  </a:lnTo>
                  <a:lnTo>
                    <a:pt x="8988" y="1110"/>
                  </a:lnTo>
                  <a:lnTo>
                    <a:pt x="9000" y="1110"/>
                  </a:lnTo>
                  <a:lnTo>
                    <a:pt x="9018" y="1116"/>
                  </a:lnTo>
                  <a:lnTo>
                    <a:pt x="9024" y="1122"/>
                  </a:lnTo>
                  <a:lnTo>
                    <a:pt x="9042" y="1122"/>
                  </a:lnTo>
                  <a:lnTo>
                    <a:pt x="9042" y="1116"/>
                  </a:lnTo>
                  <a:lnTo>
                    <a:pt x="9036" y="1098"/>
                  </a:lnTo>
                  <a:lnTo>
                    <a:pt x="9012" y="1074"/>
                  </a:lnTo>
                  <a:lnTo>
                    <a:pt x="9006" y="1074"/>
                  </a:lnTo>
                  <a:lnTo>
                    <a:pt x="9024" y="1056"/>
                  </a:lnTo>
                  <a:lnTo>
                    <a:pt x="8976" y="1038"/>
                  </a:lnTo>
                  <a:lnTo>
                    <a:pt x="8988" y="1032"/>
                  </a:lnTo>
                  <a:lnTo>
                    <a:pt x="8940" y="1008"/>
                  </a:lnTo>
                  <a:lnTo>
                    <a:pt x="8994" y="1020"/>
                  </a:lnTo>
                  <a:lnTo>
                    <a:pt x="8988" y="996"/>
                  </a:lnTo>
                  <a:lnTo>
                    <a:pt x="9000" y="996"/>
                  </a:lnTo>
                  <a:lnTo>
                    <a:pt x="9012" y="1002"/>
                  </a:lnTo>
                  <a:lnTo>
                    <a:pt x="9048" y="1002"/>
                  </a:lnTo>
                  <a:lnTo>
                    <a:pt x="9048" y="996"/>
                  </a:lnTo>
                  <a:close/>
                </a:path>
              </a:pathLst>
            </a:custGeom>
            <a:solidFill>
              <a:srgbClr val="B1B1B0"/>
            </a:solidFill>
            <a:ln w="6350">
              <a:solidFill>
                <a:srgbClr val="B1B1B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Lato"/>
                <a:ea typeface="+mn-ea"/>
                <a:cs typeface="+mn-cs"/>
              </a:endParaRPr>
            </a:p>
          </p:txBody>
        </p:sp>
        <p:sp>
          <p:nvSpPr>
            <p:cNvPr id="456" name="Philippines" descr="© INSCALE GmbH, 05.05.2010&#10;http://www.presentationload.com/">
              <a:extLst>
                <a:ext uri="{FF2B5EF4-FFF2-40B4-BE49-F238E27FC236}">
                  <a16:creationId xmlns:a16="http://schemas.microsoft.com/office/drawing/2014/main" id="{85DDCBAE-F6C5-034E-63EB-2DB229FC37FC}"/>
                </a:ext>
              </a:extLst>
            </p:cNvPr>
            <p:cNvSpPr>
              <a:spLocks noEditPoints="1"/>
            </p:cNvSpPr>
            <p:nvPr/>
          </p:nvSpPr>
          <p:spPr bwMode="gray">
            <a:xfrm>
              <a:off x="9610450" y="3642548"/>
              <a:ext cx="355343" cy="596121"/>
            </a:xfrm>
            <a:custGeom>
              <a:avLst/>
              <a:gdLst>
                <a:gd name="T0" fmla="*/ 2147483647 w 714"/>
                <a:gd name="T1" fmla="*/ 2147483647 h 1200"/>
                <a:gd name="T2" fmla="*/ 2147483647 w 714"/>
                <a:gd name="T3" fmla="*/ 2147483647 h 1200"/>
                <a:gd name="T4" fmla="*/ 2147483647 w 714"/>
                <a:gd name="T5" fmla="*/ 2147483647 h 1200"/>
                <a:gd name="T6" fmla="*/ 2147483647 w 714"/>
                <a:gd name="T7" fmla="*/ 2147483647 h 1200"/>
                <a:gd name="T8" fmla="*/ 2147483647 w 714"/>
                <a:gd name="T9" fmla="*/ 2147483647 h 1200"/>
                <a:gd name="T10" fmla="*/ 2147483647 w 714"/>
                <a:gd name="T11" fmla="*/ 2147483647 h 1200"/>
                <a:gd name="T12" fmla="*/ 2147483647 w 714"/>
                <a:gd name="T13" fmla="*/ 2147483647 h 1200"/>
                <a:gd name="T14" fmla="*/ 2147483647 w 714"/>
                <a:gd name="T15" fmla="*/ 2147483647 h 1200"/>
                <a:gd name="T16" fmla="*/ 2147483647 w 714"/>
                <a:gd name="T17" fmla="*/ 2147483647 h 1200"/>
                <a:gd name="T18" fmla="*/ 2147483647 w 714"/>
                <a:gd name="T19" fmla="*/ 2147483647 h 1200"/>
                <a:gd name="T20" fmla="*/ 2147483647 w 714"/>
                <a:gd name="T21" fmla="*/ 2147483647 h 1200"/>
                <a:gd name="T22" fmla="*/ 2147483647 w 714"/>
                <a:gd name="T23" fmla="*/ 2147483647 h 1200"/>
                <a:gd name="T24" fmla="*/ 2147483647 w 714"/>
                <a:gd name="T25" fmla="*/ 2147483647 h 1200"/>
                <a:gd name="T26" fmla="*/ 2147483647 w 714"/>
                <a:gd name="T27" fmla="*/ 2147483647 h 1200"/>
                <a:gd name="T28" fmla="*/ 2147483647 w 714"/>
                <a:gd name="T29" fmla="*/ 2147483647 h 1200"/>
                <a:gd name="T30" fmla="*/ 2147483647 w 714"/>
                <a:gd name="T31" fmla="*/ 2147483647 h 1200"/>
                <a:gd name="T32" fmla="*/ 2147483647 w 714"/>
                <a:gd name="T33" fmla="*/ 2147483647 h 1200"/>
                <a:gd name="T34" fmla="*/ 2147483647 w 714"/>
                <a:gd name="T35" fmla="*/ 2147483647 h 1200"/>
                <a:gd name="T36" fmla="*/ 2147483647 w 714"/>
                <a:gd name="T37" fmla="*/ 2147483647 h 1200"/>
                <a:gd name="T38" fmla="*/ 2147483647 w 714"/>
                <a:gd name="T39" fmla="*/ 2147483647 h 1200"/>
                <a:gd name="T40" fmla="*/ 2147483647 w 714"/>
                <a:gd name="T41" fmla="*/ 2147483647 h 1200"/>
                <a:gd name="T42" fmla="*/ 2147483647 w 714"/>
                <a:gd name="T43" fmla="*/ 2147483647 h 1200"/>
                <a:gd name="T44" fmla="*/ 2147483647 w 714"/>
                <a:gd name="T45" fmla="*/ 2147483647 h 1200"/>
                <a:gd name="T46" fmla="*/ 2147483647 w 714"/>
                <a:gd name="T47" fmla="*/ 2147483647 h 1200"/>
                <a:gd name="T48" fmla="*/ 2147483647 w 714"/>
                <a:gd name="T49" fmla="*/ 2147483647 h 1200"/>
                <a:gd name="T50" fmla="*/ 2147483647 w 714"/>
                <a:gd name="T51" fmla="*/ 2147483647 h 1200"/>
                <a:gd name="T52" fmla="*/ 2147483647 w 714"/>
                <a:gd name="T53" fmla="*/ 2147483647 h 1200"/>
                <a:gd name="T54" fmla="*/ 2147483647 w 714"/>
                <a:gd name="T55" fmla="*/ 2147483647 h 1200"/>
                <a:gd name="T56" fmla="*/ 2147483647 w 714"/>
                <a:gd name="T57" fmla="*/ 2147483647 h 1200"/>
                <a:gd name="T58" fmla="*/ 2147483647 w 714"/>
                <a:gd name="T59" fmla="*/ 2147483647 h 1200"/>
                <a:gd name="T60" fmla="*/ 2147483647 w 714"/>
                <a:gd name="T61" fmla="*/ 2147483647 h 1200"/>
                <a:gd name="T62" fmla="*/ 2147483647 w 714"/>
                <a:gd name="T63" fmla="*/ 2147483647 h 1200"/>
                <a:gd name="T64" fmla="*/ 2147483647 w 714"/>
                <a:gd name="T65" fmla="*/ 2147483647 h 1200"/>
                <a:gd name="T66" fmla="*/ 2147483647 w 714"/>
                <a:gd name="T67" fmla="*/ 2147483647 h 1200"/>
                <a:gd name="T68" fmla="*/ 2147483647 w 714"/>
                <a:gd name="T69" fmla="*/ 2147483647 h 1200"/>
                <a:gd name="T70" fmla="*/ 2147483647 w 714"/>
                <a:gd name="T71" fmla="*/ 2147483647 h 1200"/>
                <a:gd name="T72" fmla="*/ 2147483647 w 714"/>
                <a:gd name="T73" fmla="*/ 2147483647 h 1200"/>
                <a:gd name="T74" fmla="*/ 2147483647 w 714"/>
                <a:gd name="T75" fmla="*/ 2147483647 h 1200"/>
                <a:gd name="T76" fmla="*/ 2147483647 w 714"/>
                <a:gd name="T77" fmla="*/ 2147483647 h 1200"/>
                <a:gd name="T78" fmla="*/ 2147483647 w 714"/>
                <a:gd name="T79" fmla="*/ 0 h 1200"/>
                <a:gd name="T80" fmla="*/ 2147483647 w 714"/>
                <a:gd name="T81" fmla="*/ 2147483647 h 1200"/>
                <a:gd name="T82" fmla="*/ 2147483647 w 714"/>
                <a:gd name="T83" fmla="*/ 2147483647 h 1200"/>
                <a:gd name="T84" fmla="*/ 2147483647 w 714"/>
                <a:gd name="T85" fmla="*/ 2147483647 h 1200"/>
                <a:gd name="T86" fmla="*/ 2147483647 w 714"/>
                <a:gd name="T87" fmla="*/ 2147483647 h 1200"/>
                <a:gd name="T88" fmla="*/ 2147483647 w 714"/>
                <a:gd name="T89" fmla="*/ 2147483647 h 1200"/>
                <a:gd name="T90" fmla="*/ 2147483647 w 714"/>
                <a:gd name="T91" fmla="*/ 2147483647 h 1200"/>
                <a:gd name="T92" fmla="*/ 2147483647 w 714"/>
                <a:gd name="T93" fmla="*/ 2147483647 h 1200"/>
                <a:gd name="T94" fmla="*/ 2147483647 w 714"/>
                <a:gd name="T95" fmla="*/ 2147483647 h 1200"/>
                <a:gd name="T96" fmla="*/ 2147483647 w 714"/>
                <a:gd name="T97" fmla="*/ 2147483647 h 1200"/>
                <a:gd name="T98" fmla="*/ 2147483647 w 714"/>
                <a:gd name="T99" fmla="*/ 2147483647 h 1200"/>
                <a:gd name="T100" fmla="*/ 2147483647 w 714"/>
                <a:gd name="T101" fmla="*/ 2147483647 h 1200"/>
                <a:gd name="T102" fmla="*/ 2147483647 w 714"/>
                <a:gd name="T103" fmla="*/ 2147483647 h 1200"/>
                <a:gd name="T104" fmla="*/ 2147483647 w 714"/>
                <a:gd name="T105" fmla="*/ 2147483647 h 1200"/>
                <a:gd name="T106" fmla="*/ 2147483647 w 714"/>
                <a:gd name="T107" fmla="*/ 2147483647 h 1200"/>
                <a:gd name="T108" fmla="*/ 2147483647 w 714"/>
                <a:gd name="T109" fmla="*/ 2147483647 h 1200"/>
                <a:gd name="T110" fmla="*/ 2147483647 w 714"/>
                <a:gd name="T111" fmla="*/ 2147483647 h 1200"/>
                <a:gd name="T112" fmla="*/ 2147483647 w 714"/>
                <a:gd name="T113" fmla="*/ 2147483647 h 1200"/>
                <a:gd name="T114" fmla="*/ 2147483647 w 714"/>
                <a:gd name="T115" fmla="*/ 2147483647 h 1200"/>
                <a:gd name="T116" fmla="*/ 2147483647 w 714"/>
                <a:gd name="T117" fmla="*/ 2147483647 h 12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14"/>
                <a:gd name="T178" fmla="*/ 0 h 1200"/>
                <a:gd name="T179" fmla="*/ 714 w 714"/>
                <a:gd name="T180" fmla="*/ 1200 h 12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14" h="1200">
                  <a:moveTo>
                    <a:pt x="702" y="1140"/>
                  </a:moveTo>
                  <a:lnTo>
                    <a:pt x="690" y="1170"/>
                  </a:lnTo>
                  <a:lnTo>
                    <a:pt x="696" y="1200"/>
                  </a:lnTo>
                  <a:lnTo>
                    <a:pt x="714" y="1182"/>
                  </a:lnTo>
                  <a:lnTo>
                    <a:pt x="714" y="1140"/>
                  </a:lnTo>
                  <a:lnTo>
                    <a:pt x="702" y="1140"/>
                  </a:lnTo>
                  <a:close/>
                  <a:moveTo>
                    <a:pt x="582" y="1176"/>
                  </a:moveTo>
                  <a:lnTo>
                    <a:pt x="600" y="1140"/>
                  </a:lnTo>
                  <a:lnTo>
                    <a:pt x="576" y="1134"/>
                  </a:lnTo>
                  <a:lnTo>
                    <a:pt x="582" y="1176"/>
                  </a:lnTo>
                  <a:close/>
                  <a:moveTo>
                    <a:pt x="246" y="1038"/>
                  </a:moveTo>
                  <a:lnTo>
                    <a:pt x="264" y="1050"/>
                  </a:lnTo>
                  <a:lnTo>
                    <a:pt x="282" y="1020"/>
                  </a:lnTo>
                  <a:lnTo>
                    <a:pt x="258" y="1008"/>
                  </a:lnTo>
                  <a:lnTo>
                    <a:pt x="246" y="1038"/>
                  </a:lnTo>
                  <a:close/>
                  <a:moveTo>
                    <a:pt x="504" y="558"/>
                  </a:moveTo>
                  <a:lnTo>
                    <a:pt x="540" y="576"/>
                  </a:lnTo>
                  <a:lnTo>
                    <a:pt x="540" y="582"/>
                  </a:lnTo>
                  <a:lnTo>
                    <a:pt x="534" y="588"/>
                  </a:lnTo>
                  <a:lnTo>
                    <a:pt x="504" y="588"/>
                  </a:lnTo>
                  <a:lnTo>
                    <a:pt x="570" y="642"/>
                  </a:lnTo>
                  <a:lnTo>
                    <a:pt x="570" y="618"/>
                  </a:lnTo>
                  <a:lnTo>
                    <a:pt x="600" y="624"/>
                  </a:lnTo>
                  <a:lnTo>
                    <a:pt x="576" y="588"/>
                  </a:lnTo>
                  <a:lnTo>
                    <a:pt x="576" y="582"/>
                  </a:lnTo>
                  <a:lnTo>
                    <a:pt x="570" y="576"/>
                  </a:lnTo>
                  <a:lnTo>
                    <a:pt x="570" y="558"/>
                  </a:lnTo>
                  <a:lnTo>
                    <a:pt x="564" y="546"/>
                  </a:lnTo>
                  <a:lnTo>
                    <a:pt x="534" y="516"/>
                  </a:lnTo>
                  <a:lnTo>
                    <a:pt x="522" y="510"/>
                  </a:lnTo>
                  <a:lnTo>
                    <a:pt x="504" y="504"/>
                  </a:lnTo>
                  <a:lnTo>
                    <a:pt x="492" y="498"/>
                  </a:lnTo>
                  <a:lnTo>
                    <a:pt x="474" y="498"/>
                  </a:lnTo>
                  <a:lnTo>
                    <a:pt x="468" y="504"/>
                  </a:lnTo>
                  <a:lnTo>
                    <a:pt x="468" y="528"/>
                  </a:lnTo>
                  <a:lnTo>
                    <a:pt x="492" y="552"/>
                  </a:lnTo>
                  <a:lnTo>
                    <a:pt x="504" y="558"/>
                  </a:lnTo>
                  <a:close/>
                  <a:moveTo>
                    <a:pt x="462" y="666"/>
                  </a:moveTo>
                  <a:lnTo>
                    <a:pt x="474" y="750"/>
                  </a:lnTo>
                  <a:lnTo>
                    <a:pt x="486" y="672"/>
                  </a:lnTo>
                  <a:lnTo>
                    <a:pt x="462" y="618"/>
                  </a:lnTo>
                  <a:lnTo>
                    <a:pt x="438" y="618"/>
                  </a:lnTo>
                  <a:lnTo>
                    <a:pt x="462" y="666"/>
                  </a:lnTo>
                  <a:close/>
                  <a:moveTo>
                    <a:pt x="492" y="738"/>
                  </a:moveTo>
                  <a:lnTo>
                    <a:pt x="522" y="738"/>
                  </a:lnTo>
                  <a:lnTo>
                    <a:pt x="528" y="708"/>
                  </a:lnTo>
                  <a:lnTo>
                    <a:pt x="498" y="702"/>
                  </a:lnTo>
                  <a:lnTo>
                    <a:pt x="492" y="738"/>
                  </a:lnTo>
                  <a:close/>
                  <a:moveTo>
                    <a:pt x="570" y="660"/>
                  </a:moveTo>
                  <a:lnTo>
                    <a:pt x="546" y="648"/>
                  </a:lnTo>
                  <a:lnTo>
                    <a:pt x="528" y="630"/>
                  </a:lnTo>
                  <a:lnTo>
                    <a:pt x="528" y="624"/>
                  </a:lnTo>
                  <a:lnTo>
                    <a:pt x="522" y="618"/>
                  </a:lnTo>
                  <a:lnTo>
                    <a:pt x="486" y="618"/>
                  </a:lnTo>
                  <a:lnTo>
                    <a:pt x="492" y="660"/>
                  </a:lnTo>
                  <a:lnTo>
                    <a:pt x="510" y="654"/>
                  </a:lnTo>
                  <a:lnTo>
                    <a:pt x="522" y="678"/>
                  </a:lnTo>
                  <a:lnTo>
                    <a:pt x="570" y="714"/>
                  </a:lnTo>
                  <a:lnTo>
                    <a:pt x="570" y="660"/>
                  </a:lnTo>
                  <a:close/>
                  <a:moveTo>
                    <a:pt x="162" y="600"/>
                  </a:moveTo>
                  <a:lnTo>
                    <a:pt x="144" y="582"/>
                  </a:lnTo>
                  <a:lnTo>
                    <a:pt x="138" y="606"/>
                  </a:lnTo>
                  <a:lnTo>
                    <a:pt x="132" y="618"/>
                  </a:lnTo>
                  <a:lnTo>
                    <a:pt x="126" y="624"/>
                  </a:lnTo>
                  <a:lnTo>
                    <a:pt x="120" y="642"/>
                  </a:lnTo>
                  <a:lnTo>
                    <a:pt x="120" y="654"/>
                  </a:lnTo>
                  <a:lnTo>
                    <a:pt x="126" y="660"/>
                  </a:lnTo>
                  <a:lnTo>
                    <a:pt x="138" y="666"/>
                  </a:lnTo>
                  <a:lnTo>
                    <a:pt x="150" y="678"/>
                  </a:lnTo>
                  <a:lnTo>
                    <a:pt x="144" y="684"/>
                  </a:lnTo>
                  <a:lnTo>
                    <a:pt x="120" y="696"/>
                  </a:lnTo>
                  <a:lnTo>
                    <a:pt x="114" y="702"/>
                  </a:lnTo>
                  <a:lnTo>
                    <a:pt x="102" y="708"/>
                  </a:lnTo>
                  <a:lnTo>
                    <a:pt x="96" y="732"/>
                  </a:lnTo>
                  <a:lnTo>
                    <a:pt x="72" y="750"/>
                  </a:lnTo>
                  <a:lnTo>
                    <a:pt x="72" y="762"/>
                  </a:lnTo>
                  <a:lnTo>
                    <a:pt x="60" y="774"/>
                  </a:lnTo>
                  <a:lnTo>
                    <a:pt x="48" y="780"/>
                  </a:lnTo>
                  <a:lnTo>
                    <a:pt x="42" y="786"/>
                  </a:lnTo>
                  <a:lnTo>
                    <a:pt x="30" y="792"/>
                  </a:lnTo>
                  <a:lnTo>
                    <a:pt x="24" y="798"/>
                  </a:lnTo>
                  <a:lnTo>
                    <a:pt x="18" y="798"/>
                  </a:lnTo>
                  <a:lnTo>
                    <a:pt x="18" y="804"/>
                  </a:lnTo>
                  <a:lnTo>
                    <a:pt x="12" y="810"/>
                  </a:lnTo>
                  <a:lnTo>
                    <a:pt x="0" y="834"/>
                  </a:lnTo>
                  <a:lnTo>
                    <a:pt x="0" y="864"/>
                  </a:lnTo>
                  <a:lnTo>
                    <a:pt x="30" y="834"/>
                  </a:lnTo>
                  <a:lnTo>
                    <a:pt x="30" y="816"/>
                  </a:lnTo>
                  <a:lnTo>
                    <a:pt x="36" y="810"/>
                  </a:lnTo>
                  <a:lnTo>
                    <a:pt x="42" y="810"/>
                  </a:lnTo>
                  <a:lnTo>
                    <a:pt x="78" y="798"/>
                  </a:lnTo>
                  <a:lnTo>
                    <a:pt x="84" y="792"/>
                  </a:lnTo>
                  <a:lnTo>
                    <a:pt x="84" y="762"/>
                  </a:lnTo>
                  <a:lnTo>
                    <a:pt x="90" y="750"/>
                  </a:lnTo>
                  <a:lnTo>
                    <a:pt x="96" y="744"/>
                  </a:lnTo>
                  <a:lnTo>
                    <a:pt x="114" y="738"/>
                  </a:lnTo>
                  <a:lnTo>
                    <a:pt x="126" y="732"/>
                  </a:lnTo>
                  <a:lnTo>
                    <a:pt x="144" y="720"/>
                  </a:lnTo>
                  <a:lnTo>
                    <a:pt x="162" y="714"/>
                  </a:lnTo>
                  <a:lnTo>
                    <a:pt x="168" y="702"/>
                  </a:lnTo>
                  <a:lnTo>
                    <a:pt x="174" y="696"/>
                  </a:lnTo>
                  <a:lnTo>
                    <a:pt x="174" y="684"/>
                  </a:lnTo>
                  <a:lnTo>
                    <a:pt x="156" y="648"/>
                  </a:lnTo>
                  <a:lnTo>
                    <a:pt x="156" y="624"/>
                  </a:lnTo>
                  <a:lnTo>
                    <a:pt x="162" y="612"/>
                  </a:lnTo>
                  <a:lnTo>
                    <a:pt x="162" y="600"/>
                  </a:lnTo>
                  <a:close/>
                  <a:moveTo>
                    <a:pt x="330" y="1026"/>
                  </a:moveTo>
                  <a:lnTo>
                    <a:pt x="372" y="1056"/>
                  </a:lnTo>
                  <a:lnTo>
                    <a:pt x="372" y="1020"/>
                  </a:lnTo>
                  <a:lnTo>
                    <a:pt x="348" y="1002"/>
                  </a:lnTo>
                  <a:lnTo>
                    <a:pt x="330" y="1026"/>
                  </a:lnTo>
                  <a:close/>
                  <a:moveTo>
                    <a:pt x="660" y="840"/>
                  </a:moveTo>
                  <a:lnTo>
                    <a:pt x="660" y="816"/>
                  </a:lnTo>
                  <a:lnTo>
                    <a:pt x="654" y="804"/>
                  </a:lnTo>
                  <a:lnTo>
                    <a:pt x="654" y="792"/>
                  </a:lnTo>
                  <a:lnTo>
                    <a:pt x="642" y="780"/>
                  </a:lnTo>
                  <a:lnTo>
                    <a:pt x="630" y="774"/>
                  </a:lnTo>
                  <a:lnTo>
                    <a:pt x="600" y="744"/>
                  </a:lnTo>
                  <a:lnTo>
                    <a:pt x="588" y="738"/>
                  </a:lnTo>
                  <a:lnTo>
                    <a:pt x="582" y="738"/>
                  </a:lnTo>
                  <a:lnTo>
                    <a:pt x="576" y="744"/>
                  </a:lnTo>
                  <a:lnTo>
                    <a:pt x="582" y="750"/>
                  </a:lnTo>
                  <a:lnTo>
                    <a:pt x="588" y="762"/>
                  </a:lnTo>
                  <a:lnTo>
                    <a:pt x="594" y="768"/>
                  </a:lnTo>
                  <a:lnTo>
                    <a:pt x="606" y="774"/>
                  </a:lnTo>
                  <a:lnTo>
                    <a:pt x="606" y="786"/>
                  </a:lnTo>
                  <a:lnTo>
                    <a:pt x="600" y="786"/>
                  </a:lnTo>
                  <a:lnTo>
                    <a:pt x="588" y="792"/>
                  </a:lnTo>
                  <a:lnTo>
                    <a:pt x="570" y="792"/>
                  </a:lnTo>
                  <a:lnTo>
                    <a:pt x="558" y="798"/>
                  </a:lnTo>
                  <a:lnTo>
                    <a:pt x="546" y="798"/>
                  </a:lnTo>
                  <a:lnTo>
                    <a:pt x="546" y="828"/>
                  </a:lnTo>
                  <a:lnTo>
                    <a:pt x="528" y="828"/>
                  </a:lnTo>
                  <a:lnTo>
                    <a:pt x="522" y="846"/>
                  </a:lnTo>
                  <a:lnTo>
                    <a:pt x="498" y="864"/>
                  </a:lnTo>
                  <a:lnTo>
                    <a:pt x="492" y="864"/>
                  </a:lnTo>
                  <a:lnTo>
                    <a:pt x="486" y="858"/>
                  </a:lnTo>
                  <a:lnTo>
                    <a:pt x="474" y="852"/>
                  </a:lnTo>
                  <a:lnTo>
                    <a:pt x="462" y="852"/>
                  </a:lnTo>
                  <a:lnTo>
                    <a:pt x="450" y="846"/>
                  </a:lnTo>
                  <a:lnTo>
                    <a:pt x="438" y="858"/>
                  </a:lnTo>
                  <a:lnTo>
                    <a:pt x="432" y="870"/>
                  </a:lnTo>
                  <a:lnTo>
                    <a:pt x="420" y="882"/>
                  </a:lnTo>
                  <a:lnTo>
                    <a:pt x="414" y="894"/>
                  </a:lnTo>
                  <a:lnTo>
                    <a:pt x="408" y="900"/>
                  </a:lnTo>
                  <a:lnTo>
                    <a:pt x="408" y="906"/>
                  </a:lnTo>
                  <a:lnTo>
                    <a:pt x="408" y="900"/>
                  </a:lnTo>
                  <a:lnTo>
                    <a:pt x="396" y="888"/>
                  </a:lnTo>
                  <a:lnTo>
                    <a:pt x="384" y="888"/>
                  </a:lnTo>
                  <a:lnTo>
                    <a:pt x="378" y="900"/>
                  </a:lnTo>
                  <a:lnTo>
                    <a:pt x="378" y="912"/>
                  </a:lnTo>
                  <a:lnTo>
                    <a:pt x="372" y="924"/>
                  </a:lnTo>
                  <a:lnTo>
                    <a:pt x="366" y="930"/>
                  </a:lnTo>
                  <a:lnTo>
                    <a:pt x="360" y="942"/>
                  </a:lnTo>
                  <a:lnTo>
                    <a:pt x="384" y="960"/>
                  </a:lnTo>
                  <a:lnTo>
                    <a:pt x="402" y="942"/>
                  </a:lnTo>
                  <a:lnTo>
                    <a:pt x="414" y="966"/>
                  </a:lnTo>
                  <a:lnTo>
                    <a:pt x="420" y="960"/>
                  </a:lnTo>
                  <a:lnTo>
                    <a:pt x="432" y="954"/>
                  </a:lnTo>
                  <a:lnTo>
                    <a:pt x="450" y="936"/>
                  </a:lnTo>
                  <a:lnTo>
                    <a:pt x="462" y="930"/>
                  </a:lnTo>
                  <a:lnTo>
                    <a:pt x="474" y="930"/>
                  </a:lnTo>
                  <a:lnTo>
                    <a:pt x="498" y="954"/>
                  </a:lnTo>
                  <a:lnTo>
                    <a:pt x="510" y="960"/>
                  </a:lnTo>
                  <a:lnTo>
                    <a:pt x="492" y="978"/>
                  </a:lnTo>
                  <a:lnTo>
                    <a:pt x="492" y="990"/>
                  </a:lnTo>
                  <a:lnTo>
                    <a:pt x="510" y="1026"/>
                  </a:lnTo>
                  <a:lnTo>
                    <a:pt x="522" y="1044"/>
                  </a:lnTo>
                  <a:lnTo>
                    <a:pt x="534" y="1056"/>
                  </a:lnTo>
                  <a:lnTo>
                    <a:pt x="546" y="1062"/>
                  </a:lnTo>
                  <a:lnTo>
                    <a:pt x="558" y="1062"/>
                  </a:lnTo>
                  <a:lnTo>
                    <a:pt x="570" y="1068"/>
                  </a:lnTo>
                  <a:lnTo>
                    <a:pt x="582" y="1068"/>
                  </a:lnTo>
                  <a:lnTo>
                    <a:pt x="606" y="1050"/>
                  </a:lnTo>
                  <a:lnTo>
                    <a:pt x="606" y="1074"/>
                  </a:lnTo>
                  <a:lnTo>
                    <a:pt x="630" y="1074"/>
                  </a:lnTo>
                  <a:lnTo>
                    <a:pt x="630" y="1038"/>
                  </a:lnTo>
                  <a:lnTo>
                    <a:pt x="624" y="1032"/>
                  </a:lnTo>
                  <a:lnTo>
                    <a:pt x="606" y="996"/>
                  </a:lnTo>
                  <a:lnTo>
                    <a:pt x="606" y="984"/>
                  </a:lnTo>
                  <a:lnTo>
                    <a:pt x="612" y="972"/>
                  </a:lnTo>
                  <a:lnTo>
                    <a:pt x="624" y="960"/>
                  </a:lnTo>
                  <a:lnTo>
                    <a:pt x="654" y="1014"/>
                  </a:lnTo>
                  <a:lnTo>
                    <a:pt x="654" y="1008"/>
                  </a:lnTo>
                  <a:lnTo>
                    <a:pt x="660" y="1002"/>
                  </a:lnTo>
                  <a:lnTo>
                    <a:pt x="672" y="978"/>
                  </a:lnTo>
                  <a:lnTo>
                    <a:pt x="678" y="960"/>
                  </a:lnTo>
                  <a:lnTo>
                    <a:pt x="678" y="936"/>
                  </a:lnTo>
                  <a:lnTo>
                    <a:pt x="672" y="918"/>
                  </a:lnTo>
                  <a:lnTo>
                    <a:pt x="666" y="912"/>
                  </a:lnTo>
                  <a:lnTo>
                    <a:pt x="660" y="900"/>
                  </a:lnTo>
                  <a:lnTo>
                    <a:pt x="660" y="840"/>
                  </a:lnTo>
                  <a:close/>
                  <a:moveTo>
                    <a:pt x="330" y="384"/>
                  </a:moveTo>
                  <a:lnTo>
                    <a:pt x="348" y="384"/>
                  </a:lnTo>
                  <a:lnTo>
                    <a:pt x="354" y="390"/>
                  </a:lnTo>
                  <a:lnTo>
                    <a:pt x="366" y="396"/>
                  </a:lnTo>
                  <a:lnTo>
                    <a:pt x="366" y="408"/>
                  </a:lnTo>
                  <a:lnTo>
                    <a:pt x="372" y="420"/>
                  </a:lnTo>
                  <a:lnTo>
                    <a:pt x="384" y="438"/>
                  </a:lnTo>
                  <a:lnTo>
                    <a:pt x="396" y="450"/>
                  </a:lnTo>
                  <a:lnTo>
                    <a:pt x="414" y="462"/>
                  </a:lnTo>
                  <a:lnTo>
                    <a:pt x="432" y="462"/>
                  </a:lnTo>
                  <a:lnTo>
                    <a:pt x="444" y="438"/>
                  </a:lnTo>
                  <a:lnTo>
                    <a:pt x="444" y="426"/>
                  </a:lnTo>
                  <a:lnTo>
                    <a:pt x="432" y="402"/>
                  </a:lnTo>
                  <a:lnTo>
                    <a:pt x="420" y="396"/>
                  </a:lnTo>
                  <a:lnTo>
                    <a:pt x="408" y="396"/>
                  </a:lnTo>
                  <a:lnTo>
                    <a:pt x="408" y="390"/>
                  </a:lnTo>
                  <a:lnTo>
                    <a:pt x="414" y="384"/>
                  </a:lnTo>
                  <a:lnTo>
                    <a:pt x="414" y="378"/>
                  </a:lnTo>
                  <a:lnTo>
                    <a:pt x="420" y="372"/>
                  </a:lnTo>
                  <a:lnTo>
                    <a:pt x="408" y="372"/>
                  </a:lnTo>
                  <a:lnTo>
                    <a:pt x="396" y="366"/>
                  </a:lnTo>
                  <a:lnTo>
                    <a:pt x="390" y="360"/>
                  </a:lnTo>
                  <a:lnTo>
                    <a:pt x="372" y="360"/>
                  </a:lnTo>
                  <a:lnTo>
                    <a:pt x="366" y="366"/>
                  </a:lnTo>
                  <a:lnTo>
                    <a:pt x="354" y="372"/>
                  </a:lnTo>
                  <a:lnTo>
                    <a:pt x="342" y="360"/>
                  </a:lnTo>
                  <a:lnTo>
                    <a:pt x="330" y="354"/>
                  </a:lnTo>
                  <a:lnTo>
                    <a:pt x="312" y="354"/>
                  </a:lnTo>
                  <a:lnTo>
                    <a:pt x="300" y="366"/>
                  </a:lnTo>
                  <a:lnTo>
                    <a:pt x="288" y="372"/>
                  </a:lnTo>
                  <a:lnTo>
                    <a:pt x="282" y="372"/>
                  </a:lnTo>
                  <a:lnTo>
                    <a:pt x="264" y="354"/>
                  </a:lnTo>
                  <a:lnTo>
                    <a:pt x="258" y="342"/>
                  </a:lnTo>
                  <a:lnTo>
                    <a:pt x="258" y="252"/>
                  </a:lnTo>
                  <a:lnTo>
                    <a:pt x="270" y="228"/>
                  </a:lnTo>
                  <a:lnTo>
                    <a:pt x="270" y="222"/>
                  </a:lnTo>
                  <a:lnTo>
                    <a:pt x="288" y="204"/>
                  </a:lnTo>
                  <a:lnTo>
                    <a:pt x="288" y="174"/>
                  </a:lnTo>
                  <a:lnTo>
                    <a:pt x="276" y="150"/>
                  </a:lnTo>
                  <a:lnTo>
                    <a:pt x="276" y="126"/>
                  </a:lnTo>
                  <a:lnTo>
                    <a:pt x="282" y="108"/>
                  </a:lnTo>
                  <a:lnTo>
                    <a:pt x="282" y="72"/>
                  </a:lnTo>
                  <a:lnTo>
                    <a:pt x="264" y="54"/>
                  </a:lnTo>
                  <a:lnTo>
                    <a:pt x="264" y="36"/>
                  </a:lnTo>
                  <a:lnTo>
                    <a:pt x="258" y="30"/>
                  </a:lnTo>
                  <a:lnTo>
                    <a:pt x="258" y="6"/>
                  </a:lnTo>
                  <a:lnTo>
                    <a:pt x="252" y="0"/>
                  </a:lnTo>
                  <a:lnTo>
                    <a:pt x="240" y="0"/>
                  </a:lnTo>
                  <a:lnTo>
                    <a:pt x="234" y="6"/>
                  </a:lnTo>
                  <a:lnTo>
                    <a:pt x="234" y="12"/>
                  </a:lnTo>
                  <a:lnTo>
                    <a:pt x="228" y="18"/>
                  </a:lnTo>
                  <a:lnTo>
                    <a:pt x="216" y="24"/>
                  </a:lnTo>
                  <a:lnTo>
                    <a:pt x="204" y="24"/>
                  </a:lnTo>
                  <a:lnTo>
                    <a:pt x="192" y="18"/>
                  </a:lnTo>
                  <a:lnTo>
                    <a:pt x="186" y="12"/>
                  </a:lnTo>
                  <a:lnTo>
                    <a:pt x="174" y="12"/>
                  </a:lnTo>
                  <a:lnTo>
                    <a:pt x="162" y="18"/>
                  </a:lnTo>
                  <a:lnTo>
                    <a:pt x="162" y="36"/>
                  </a:lnTo>
                  <a:lnTo>
                    <a:pt x="156" y="42"/>
                  </a:lnTo>
                  <a:lnTo>
                    <a:pt x="156" y="48"/>
                  </a:lnTo>
                  <a:lnTo>
                    <a:pt x="144" y="72"/>
                  </a:lnTo>
                  <a:lnTo>
                    <a:pt x="132" y="84"/>
                  </a:lnTo>
                  <a:lnTo>
                    <a:pt x="132" y="96"/>
                  </a:lnTo>
                  <a:lnTo>
                    <a:pt x="138" y="102"/>
                  </a:lnTo>
                  <a:lnTo>
                    <a:pt x="144" y="114"/>
                  </a:lnTo>
                  <a:lnTo>
                    <a:pt x="150" y="132"/>
                  </a:lnTo>
                  <a:lnTo>
                    <a:pt x="156" y="138"/>
                  </a:lnTo>
                  <a:lnTo>
                    <a:pt x="156" y="150"/>
                  </a:lnTo>
                  <a:lnTo>
                    <a:pt x="150" y="162"/>
                  </a:lnTo>
                  <a:lnTo>
                    <a:pt x="150" y="168"/>
                  </a:lnTo>
                  <a:lnTo>
                    <a:pt x="144" y="174"/>
                  </a:lnTo>
                  <a:lnTo>
                    <a:pt x="138" y="186"/>
                  </a:lnTo>
                  <a:lnTo>
                    <a:pt x="138" y="198"/>
                  </a:lnTo>
                  <a:lnTo>
                    <a:pt x="150" y="210"/>
                  </a:lnTo>
                  <a:lnTo>
                    <a:pt x="150" y="216"/>
                  </a:lnTo>
                  <a:lnTo>
                    <a:pt x="144" y="222"/>
                  </a:lnTo>
                  <a:lnTo>
                    <a:pt x="138" y="222"/>
                  </a:lnTo>
                  <a:lnTo>
                    <a:pt x="126" y="228"/>
                  </a:lnTo>
                  <a:lnTo>
                    <a:pt x="120" y="228"/>
                  </a:lnTo>
                  <a:lnTo>
                    <a:pt x="120" y="210"/>
                  </a:lnTo>
                  <a:lnTo>
                    <a:pt x="114" y="204"/>
                  </a:lnTo>
                  <a:lnTo>
                    <a:pt x="114" y="252"/>
                  </a:lnTo>
                  <a:lnTo>
                    <a:pt x="150" y="306"/>
                  </a:lnTo>
                  <a:lnTo>
                    <a:pt x="174" y="330"/>
                  </a:lnTo>
                  <a:lnTo>
                    <a:pt x="186" y="348"/>
                  </a:lnTo>
                  <a:lnTo>
                    <a:pt x="204" y="384"/>
                  </a:lnTo>
                  <a:lnTo>
                    <a:pt x="216" y="402"/>
                  </a:lnTo>
                  <a:lnTo>
                    <a:pt x="228" y="408"/>
                  </a:lnTo>
                  <a:lnTo>
                    <a:pt x="252" y="408"/>
                  </a:lnTo>
                  <a:lnTo>
                    <a:pt x="258" y="396"/>
                  </a:lnTo>
                  <a:lnTo>
                    <a:pt x="270" y="390"/>
                  </a:lnTo>
                  <a:lnTo>
                    <a:pt x="276" y="384"/>
                  </a:lnTo>
                  <a:lnTo>
                    <a:pt x="288" y="384"/>
                  </a:lnTo>
                  <a:lnTo>
                    <a:pt x="294" y="396"/>
                  </a:lnTo>
                  <a:lnTo>
                    <a:pt x="306" y="402"/>
                  </a:lnTo>
                  <a:lnTo>
                    <a:pt x="324" y="420"/>
                  </a:lnTo>
                  <a:lnTo>
                    <a:pt x="342" y="420"/>
                  </a:lnTo>
                  <a:lnTo>
                    <a:pt x="342" y="402"/>
                  </a:lnTo>
                  <a:lnTo>
                    <a:pt x="336" y="396"/>
                  </a:lnTo>
                  <a:lnTo>
                    <a:pt x="330" y="384"/>
                  </a:lnTo>
                  <a:close/>
                  <a:moveTo>
                    <a:pt x="258" y="432"/>
                  </a:moveTo>
                  <a:lnTo>
                    <a:pt x="246" y="426"/>
                  </a:lnTo>
                  <a:lnTo>
                    <a:pt x="204" y="426"/>
                  </a:lnTo>
                  <a:lnTo>
                    <a:pt x="234" y="468"/>
                  </a:lnTo>
                  <a:lnTo>
                    <a:pt x="258" y="534"/>
                  </a:lnTo>
                  <a:lnTo>
                    <a:pt x="270" y="528"/>
                  </a:lnTo>
                  <a:lnTo>
                    <a:pt x="276" y="516"/>
                  </a:lnTo>
                  <a:lnTo>
                    <a:pt x="282" y="510"/>
                  </a:lnTo>
                  <a:lnTo>
                    <a:pt x="282" y="486"/>
                  </a:lnTo>
                  <a:lnTo>
                    <a:pt x="276" y="480"/>
                  </a:lnTo>
                  <a:lnTo>
                    <a:pt x="270" y="468"/>
                  </a:lnTo>
                  <a:lnTo>
                    <a:pt x="270" y="450"/>
                  </a:lnTo>
                  <a:lnTo>
                    <a:pt x="264" y="438"/>
                  </a:lnTo>
                  <a:lnTo>
                    <a:pt x="258" y="432"/>
                  </a:lnTo>
                  <a:close/>
                  <a:moveTo>
                    <a:pt x="330" y="648"/>
                  </a:moveTo>
                  <a:lnTo>
                    <a:pt x="336" y="660"/>
                  </a:lnTo>
                  <a:lnTo>
                    <a:pt x="354" y="678"/>
                  </a:lnTo>
                  <a:lnTo>
                    <a:pt x="360" y="672"/>
                  </a:lnTo>
                  <a:lnTo>
                    <a:pt x="372" y="666"/>
                  </a:lnTo>
                  <a:lnTo>
                    <a:pt x="378" y="660"/>
                  </a:lnTo>
                  <a:lnTo>
                    <a:pt x="384" y="660"/>
                  </a:lnTo>
                  <a:lnTo>
                    <a:pt x="390" y="666"/>
                  </a:lnTo>
                  <a:lnTo>
                    <a:pt x="390" y="696"/>
                  </a:lnTo>
                  <a:lnTo>
                    <a:pt x="402" y="708"/>
                  </a:lnTo>
                  <a:lnTo>
                    <a:pt x="396" y="720"/>
                  </a:lnTo>
                  <a:lnTo>
                    <a:pt x="390" y="726"/>
                  </a:lnTo>
                  <a:lnTo>
                    <a:pt x="372" y="762"/>
                  </a:lnTo>
                  <a:lnTo>
                    <a:pt x="372" y="786"/>
                  </a:lnTo>
                  <a:lnTo>
                    <a:pt x="378" y="792"/>
                  </a:lnTo>
                  <a:lnTo>
                    <a:pt x="384" y="804"/>
                  </a:lnTo>
                  <a:lnTo>
                    <a:pt x="396" y="804"/>
                  </a:lnTo>
                  <a:lnTo>
                    <a:pt x="408" y="798"/>
                  </a:lnTo>
                  <a:lnTo>
                    <a:pt x="420" y="798"/>
                  </a:lnTo>
                  <a:lnTo>
                    <a:pt x="432" y="792"/>
                  </a:lnTo>
                  <a:lnTo>
                    <a:pt x="438" y="786"/>
                  </a:lnTo>
                  <a:lnTo>
                    <a:pt x="438" y="768"/>
                  </a:lnTo>
                  <a:lnTo>
                    <a:pt x="432" y="756"/>
                  </a:lnTo>
                  <a:lnTo>
                    <a:pt x="426" y="738"/>
                  </a:lnTo>
                  <a:lnTo>
                    <a:pt x="426" y="726"/>
                  </a:lnTo>
                  <a:lnTo>
                    <a:pt x="432" y="714"/>
                  </a:lnTo>
                  <a:lnTo>
                    <a:pt x="444" y="678"/>
                  </a:lnTo>
                  <a:lnTo>
                    <a:pt x="444" y="660"/>
                  </a:lnTo>
                  <a:lnTo>
                    <a:pt x="438" y="648"/>
                  </a:lnTo>
                  <a:lnTo>
                    <a:pt x="432" y="642"/>
                  </a:lnTo>
                  <a:lnTo>
                    <a:pt x="426" y="642"/>
                  </a:lnTo>
                  <a:lnTo>
                    <a:pt x="414" y="654"/>
                  </a:lnTo>
                  <a:lnTo>
                    <a:pt x="402" y="660"/>
                  </a:lnTo>
                  <a:lnTo>
                    <a:pt x="396" y="660"/>
                  </a:lnTo>
                  <a:lnTo>
                    <a:pt x="396" y="648"/>
                  </a:lnTo>
                  <a:lnTo>
                    <a:pt x="408" y="624"/>
                  </a:lnTo>
                  <a:lnTo>
                    <a:pt x="408" y="612"/>
                  </a:lnTo>
                  <a:lnTo>
                    <a:pt x="414" y="600"/>
                  </a:lnTo>
                  <a:lnTo>
                    <a:pt x="414" y="594"/>
                  </a:lnTo>
                  <a:lnTo>
                    <a:pt x="408" y="588"/>
                  </a:lnTo>
                  <a:lnTo>
                    <a:pt x="372" y="570"/>
                  </a:lnTo>
                  <a:lnTo>
                    <a:pt x="366" y="564"/>
                  </a:lnTo>
                  <a:lnTo>
                    <a:pt x="330" y="564"/>
                  </a:lnTo>
                  <a:lnTo>
                    <a:pt x="324" y="570"/>
                  </a:lnTo>
                  <a:lnTo>
                    <a:pt x="324" y="576"/>
                  </a:lnTo>
                  <a:lnTo>
                    <a:pt x="330" y="582"/>
                  </a:lnTo>
                  <a:lnTo>
                    <a:pt x="336" y="582"/>
                  </a:lnTo>
                  <a:lnTo>
                    <a:pt x="342" y="594"/>
                  </a:lnTo>
                  <a:lnTo>
                    <a:pt x="342" y="600"/>
                  </a:lnTo>
                  <a:lnTo>
                    <a:pt x="336" y="606"/>
                  </a:lnTo>
                  <a:lnTo>
                    <a:pt x="336" y="618"/>
                  </a:lnTo>
                  <a:lnTo>
                    <a:pt x="330" y="630"/>
                  </a:lnTo>
                  <a:lnTo>
                    <a:pt x="330" y="648"/>
                  </a:lnTo>
                  <a:close/>
                </a:path>
              </a:pathLst>
            </a:cu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Lato"/>
                <a:ea typeface="+mn-ea"/>
                <a:cs typeface="+mn-cs"/>
              </a:endParaRPr>
            </a:p>
          </p:txBody>
        </p:sp>
        <p:sp>
          <p:nvSpPr>
            <p:cNvPr id="466" name="Parcel Islands" descr="© INSCALE GmbH, 05.05.2010&#10;http://www.presentationload.com/">
              <a:extLst>
                <a:ext uri="{FF2B5EF4-FFF2-40B4-BE49-F238E27FC236}">
                  <a16:creationId xmlns:a16="http://schemas.microsoft.com/office/drawing/2014/main" id="{3CEAD6C2-BA59-ADC4-3535-0761DC1DF2EA}"/>
                </a:ext>
              </a:extLst>
            </p:cNvPr>
            <p:cNvSpPr>
              <a:spLocks noEditPoints="1"/>
            </p:cNvSpPr>
            <p:nvPr/>
          </p:nvSpPr>
          <p:spPr bwMode="gray">
            <a:xfrm>
              <a:off x="9369669" y="3700798"/>
              <a:ext cx="46602" cy="31068"/>
            </a:xfrm>
            <a:custGeom>
              <a:avLst/>
              <a:gdLst>
                <a:gd name="T0" fmla="*/ 2147483647 w 96"/>
                <a:gd name="T1" fmla="*/ 2147483647 h 66"/>
                <a:gd name="T2" fmla="*/ 2147483647 w 96"/>
                <a:gd name="T3" fmla="*/ 2147483647 h 66"/>
                <a:gd name="T4" fmla="*/ 0 w 96"/>
                <a:gd name="T5" fmla="*/ 2147483647 h 66"/>
                <a:gd name="T6" fmla="*/ 0 w 96"/>
                <a:gd name="T7" fmla="*/ 2147483647 h 66"/>
                <a:gd name="T8" fmla="*/ 2147483647 w 96"/>
                <a:gd name="T9" fmla="*/ 2147483647 h 66"/>
                <a:gd name="T10" fmla="*/ 2147483647 w 96"/>
                <a:gd name="T11" fmla="*/ 2147483647 h 66"/>
                <a:gd name="T12" fmla="*/ 2147483647 w 96"/>
                <a:gd name="T13" fmla="*/ 2147483647 h 66"/>
                <a:gd name="T14" fmla="*/ 2147483647 w 96"/>
                <a:gd name="T15" fmla="*/ 2147483647 h 66"/>
                <a:gd name="T16" fmla="*/ 2147483647 w 96"/>
                <a:gd name="T17" fmla="*/ 2147483647 h 66"/>
                <a:gd name="T18" fmla="*/ 2147483647 w 96"/>
                <a:gd name="T19" fmla="*/ 0 h 66"/>
                <a:gd name="T20" fmla="*/ 2147483647 w 96"/>
                <a:gd name="T21" fmla="*/ 2147483647 h 66"/>
                <a:gd name="T22" fmla="*/ 2147483647 w 96"/>
                <a:gd name="T23" fmla="*/ 2147483647 h 66"/>
                <a:gd name="T24" fmla="*/ 2147483647 w 96"/>
                <a:gd name="T25" fmla="*/ 2147483647 h 66"/>
                <a:gd name="T26" fmla="*/ 2147483647 w 96"/>
                <a:gd name="T27" fmla="*/ 2147483647 h 66"/>
                <a:gd name="T28" fmla="*/ 2147483647 w 96"/>
                <a:gd name="T29" fmla="*/ 0 h 66"/>
                <a:gd name="T30" fmla="*/ 2147483647 w 96"/>
                <a:gd name="T31" fmla="*/ 0 h 66"/>
                <a:gd name="T32" fmla="*/ 2147483647 w 96"/>
                <a:gd name="T33" fmla="*/ 2147483647 h 66"/>
                <a:gd name="T34" fmla="*/ 2147483647 w 96"/>
                <a:gd name="T35" fmla="*/ 2147483647 h 66"/>
                <a:gd name="T36" fmla="*/ 2147483647 w 96"/>
                <a:gd name="T37" fmla="*/ 2147483647 h 66"/>
                <a:gd name="T38" fmla="*/ 2147483647 w 96"/>
                <a:gd name="T39" fmla="*/ 2147483647 h 66"/>
                <a:gd name="T40" fmla="*/ 2147483647 w 96"/>
                <a:gd name="T41" fmla="*/ 2147483647 h 66"/>
                <a:gd name="T42" fmla="*/ 2147483647 w 96"/>
                <a:gd name="T43" fmla="*/ 2147483647 h 66"/>
                <a:gd name="T44" fmla="*/ 2147483647 w 96"/>
                <a:gd name="T45" fmla="*/ 2147483647 h 6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6"/>
                <a:gd name="T70" fmla="*/ 0 h 66"/>
                <a:gd name="T71" fmla="*/ 96 w 96"/>
                <a:gd name="T72" fmla="*/ 66 h 6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6" h="66">
                  <a:moveTo>
                    <a:pt x="12" y="42"/>
                  </a:moveTo>
                  <a:lnTo>
                    <a:pt x="6" y="42"/>
                  </a:lnTo>
                  <a:lnTo>
                    <a:pt x="0" y="48"/>
                  </a:lnTo>
                  <a:lnTo>
                    <a:pt x="0" y="60"/>
                  </a:lnTo>
                  <a:lnTo>
                    <a:pt x="6" y="66"/>
                  </a:lnTo>
                  <a:lnTo>
                    <a:pt x="12" y="66"/>
                  </a:lnTo>
                  <a:lnTo>
                    <a:pt x="24" y="54"/>
                  </a:lnTo>
                  <a:lnTo>
                    <a:pt x="24" y="42"/>
                  </a:lnTo>
                  <a:lnTo>
                    <a:pt x="12" y="42"/>
                  </a:lnTo>
                  <a:close/>
                  <a:moveTo>
                    <a:pt x="42" y="0"/>
                  </a:moveTo>
                  <a:lnTo>
                    <a:pt x="42" y="18"/>
                  </a:lnTo>
                  <a:lnTo>
                    <a:pt x="54" y="30"/>
                  </a:lnTo>
                  <a:lnTo>
                    <a:pt x="60" y="30"/>
                  </a:lnTo>
                  <a:lnTo>
                    <a:pt x="72" y="24"/>
                  </a:lnTo>
                  <a:lnTo>
                    <a:pt x="48" y="0"/>
                  </a:lnTo>
                  <a:lnTo>
                    <a:pt x="42" y="0"/>
                  </a:lnTo>
                  <a:close/>
                  <a:moveTo>
                    <a:pt x="96" y="36"/>
                  </a:moveTo>
                  <a:lnTo>
                    <a:pt x="78" y="36"/>
                  </a:lnTo>
                  <a:lnTo>
                    <a:pt x="72" y="42"/>
                  </a:lnTo>
                  <a:lnTo>
                    <a:pt x="72" y="54"/>
                  </a:lnTo>
                  <a:lnTo>
                    <a:pt x="84" y="60"/>
                  </a:lnTo>
                  <a:lnTo>
                    <a:pt x="96" y="48"/>
                  </a:lnTo>
                  <a:lnTo>
                    <a:pt x="96" y="36"/>
                  </a:lnTo>
                  <a:close/>
                </a:path>
              </a:pathLst>
            </a:custGeom>
            <a:solidFill>
              <a:srgbClr val="B1B1B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Lato"/>
                <a:ea typeface="+mn-ea"/>
                <a:cs typeface="+mn-cs"/>
              </a:endParaRPr>
            </a:p>
          </p:txBody>
        </p:sp>
        <p:sp>
          <p:nvSpPr>
            <p:cNvPr id="472" name="Nepal" descr="© INSCALE GmbH, 05.05.2010&#10;http://www.presentationload.com/">
              <a:extLst>
                <a:ext uri="{FF2B5EF4-FFF2-40B4-BE49-F238E27FC236}">
                  <a16:creationId xmlns:a16="http://schemas.microsoft.com/office/drawing/2014/main" id="{CAA5DB31-41E8-A1EC-4452-A4E9F4758C39}"/>
                </a:ext>
              </a:extLst>
            </p:cNvPr>
            <p:cNvSpPr>
              <a:spLocks/>
            </p:cNvSpPr>
            <p:nvPr/>
          </p:nvSpPr>
          <p:spPr bwMode="gray">
            <a:xfrm>
              <a:off x="8220148" y="3172640"/>
              <a:ext cx="291264" cy="163108"/>
            </a:xfrm>
            <a:custGeom>
              <a:avLst/>
              <a:gdLst>
                <a:gd name="T0" fmla="*/ 2147483647 w 588"/>
                <a:gd name="T1" fmla="*/ 2147483647 h 330"/>
                <a:gd name="T2" fmla="*/ 2147483647 w 588"/>
                <a:gd name="T3" fmla="*/ 2147483647 h 330"/>
                <a:gd name="T4" fmla="*/ 2147483647 w 588"/>
                <a:gd name="T5" fmla="*/ 2147483647 h 330"/>
                <a:gd name="T6" fmla="*/ 2147483647 w 588"/>
                <a:gd name="T7" fmla="*/ 2147483647 h 330"/>
                <a:gd name="T8" fmla="*/ 2147483647 w 588"/>
                <a:gd name="T9" fmla="*/ 2147483647 h 330"/>
                <a:gd name="T10" fmla="*/ 2147483647 w 588"/>
                <a:gd name="T11" fmla="*/ 2147483647 h 330"/>
                <a:gd name="T12" fmla="*/ 2147483647 w 588"/>
                <a:gd name="T13" fmla="*/ 2147483647 h 330"/>
                <a:gd name="T14" fmla="*/ 2147483647 w 588"/>
                <a:gd name="T15" fmla="*/ 2147483647 h 330"/>
                <a:gd name="T16" fmla="*/ 2147483647 w 588"/>
                <a:gd name="T17" fmla="*/ 2147483647 h 330"/>
                <a:gd name="T18" fmla="*/ 2147483647 w 588"/>
                <a:gd name="T19" fmla="*/ 2147483647 h 330"/>
                <a:gd name="T20" fmla="*/ 2147483647 w 588"/>
                <a:gd name="T21" fmla="*/ 2147483647 h 330"/>
                <a:gd name="T22" fmla="*/ 2147483647 w 588"/>
                <a:gd name="T23" fmla="*/ 2147483647 h 330"/>
                <a:gd name="T24" fmla="*/ 2147483647 w 588"/>
                <a:gd name="T25" fmla="*/ 2147483647 h 330"/>
                <a:gd name="T26" fmla="*/ 2147483647 w 588"/>
                <a:gd name="T27" fmla="*/ 2147483647 h 330"/>
                <a:gd name="T28" fmla="*/ 2147483647 w 588"/>
                <a:gd name="T29" fmla="*/ 2147483647 h 330"/>
                <a:gd name="T30" fmla="*/ 2147483647 w 588"/>
                <a:gd name="T31" fmla="*/ 2147483647 h 330"/>
                <a:gd name="T32" fmla="*/ 2147483647 w 588"/>
                <a:gd name="T33" fmla="*/ 2147483647 h 330"/>
                <a:gd name="T34" fmla="*/ 2147483647 w 588"/>
                <a:gd name="T35" fmla="*/ 2147483647 h 330"/>
                <a:gd name="T36" fmla="*/ 2147483647 w 588"/>
                <a:gd name="T37" fmla="*/ 2147483647 h 330"/>
                <a:gd name="T38" fmla="*/ 2147483647 w 588"/>
                <a:gd name="T39" fmla="*/ 2147483647 h 330"/>
                <a:gd name="T40" fmla="*/ 2147483647 w 588"/>
                <a:gd name="T41" fmla="*/ 2147483647 h 330"/>
                <a:gd name="T42" fmla="*/ 2147483647 w 588"/>
                <a:gd name="T43" fmla="*/ 2147483647 h 330"/>
                <a:gd name="T44" fmla="*/ 2147483647 w 588"/>
                <a:gd name="T45" fmla="*/ 2147483647 h 330"/>
                <a:gd name="T46" fmla="*/ 2147483647 w 588"/>
                <a:gd name="T47" fmla="*/ 2147483647 h 330"/>
                <a:gd name="T48" fmla="*/ 2147483647 w 588"/>
                <a:gd name="T49" fmla="*/ 2147483647 h 330"/>
                <a:gd name="T50" fmla="*/ 2147483647 w 588"/>
                <a:gd name="T51" fmla="*/ 2147483647 h 330"/>
                <a:gd name="T52" fmla="*/ 2147483647 w 588"/>
                <a:gd name="T53" fmla="*/ 2147483647 h 330"/>
                <a:gd name="T54" fmla="*/ 2147483647 w 588"/>
                <a:gd name="T55" fmla="*/ 2147483647 h 330"/>
                <a:gd name="T56" fmla="*/ 2147483647 w 588"/>
                <a:gd name="T57" fmla="*/ 2147483647 h 330"/>
                <a:gd name="T58" fmla="*/ 2147483647 w 588"/>
                <a:gd name="T59" fmla="*/ 2147483647 h 330"/>
                <a:gd name="T60" fmla="*/ 2147483647 w 588"/>
                <a:gd name="T61" fmla="*/ 2147483647 h 330"/>
                <a:gd name="T62" fmla="*/ 2147483647 w 588"/>
                <a:gd name="T63" fmla="*/ 2147483647 h 330"/>
                <a:gd name="T64" fmla="*/ 2147483647 w 588"/>
                <a:gd name="T65" fmla="*/ 2147483647 h 330"/>
                <a:gd name="T66" fmla="*/ 2147483647 w 588"/>
                <a:gd name="T67" fmla="*/ 2147483647 h 330"/>
                <a:gd name="T68" fmla="*/ 2147483647 w 588"/>
                <a:gd name="T69" fmla="*/ 2147483647 h 330"/>
                <a:gd name="T70" fmla="*/ 2147483647 w 588"/>
                <a:gd name="T71" fmla="*/ 0 h 330"/>
                <a:gd name="T72" fmla="*/ 2147483647 w 588"/>
                <a:gd name="T73" fmla="*/ 2147483647 h 330"/>
                <a:gd name="T74" fmla="*/ 2147483647 w 588"/>
                <a:gd name="T75" fmla="*/ 2147483647 h 330"/>
                <a:gd name="T76" fmla="*/ 2147483647 w 588"/>
                <a:gd name="T77" fmla="*/ 2147483647 h 330"/>
                <a:gd name="T78" fmla="*/ 2147483647 w 588"/>
                <a:gd name="T79" fmla="*/ 2147483647 h 330"/>
                <a:gd name="T80" fmla="*/ 2147483647 w 588"/>
                <a:gd name="T81" fmla="*/ 2147483647 h 330"/>
                <a:gd name="T82" fmla="*/ 2147483647 w 588"/>
                <a:gd name="T83" fmla="*/ 2147483647 h 330"/>
                <a:gd name="T84" fmla="*/ 0 w 588"/>
                <a:gd name="T85" fmla="*/ 2147483647 h 330"/>
                <a:gd name="T86" fmla="*/ 2147483647 w 588"/>
                <a:gd name="T87" fmla="*/ 2147483647 h 330"/>
                <a:gd name="T88" fmla="*/ 2147483647 w 588"/>
                <a:gd name="T89" fmla="*/ 2147483647 h 330"/>
                <a:gd name="T90" fmla="*/ 2147483647 w 588"/>
                <a:gd name="T91" fmla="*/ 2147483647 h 330"/>
                <a:gd name="T92" fmla="*/ 2147483647 w 588"/>
                <a:gd name="T93" fmla="*/ 2147483647 h 330"/>
                <a:gd name="T94" fmla="*/ 2147483647 w 588"/>
                <a:gd name="T95" fmla="*/ 2147483647 h 330"/>
                <a:gd name="T96" fmla="*/ 2147483647 w 588"/>
                <a:gd name="T97" fmla="*/ 2147483647 h 330"/>
                <a:gd name="T98" fmla="*/ 2147483647 w 588"/>
                <a:gd name="T99" fmla="*/ 2147483647 h 330"/>
                <a:gd name="T100" fmla="*/ 2147483647 w 588"/>
                <a:gd name="T101" fmla="*/ 2147483647 h 330"/>
                <a:gd name="T102" fmla="*/ 2147483647 w 588"/>
                <a:gd name="T103" fmla="*/ 2147483647 h 330"/>
                <a:gd name="T104" fmla="*/ 2147483647 w 588"/>
                <a:gd name="T105" fmla="*/ 2147483647 h 330"/>
                <a:gd name="T106" fmla="*/ 2147483647 w 588"/>
                <a:gd name="T107" fmla="*/ 2147483647 h 330"/>
                <a:gd name="T108" fmla="*/ 2147483647 w 588"/>
                <a:gd name="T109" fmla="*/ 2147483647 h 3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88"/>
                <a:gd name="T166" fmla="*/ 0 h 330"/>
                <a:gd name="T167" fmla="*/ 588 w 588"/>
                <a:gd name="T168" fmla="*/ 330 h 3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88" h="330">
                  <a:moveTo>
                    <a:pt x="294" y="234"/>
                  </a:moveTo>
                  <a:lnTo>
                    <a:pt x="306" y="246"/>
                  </a:lnTo>
                  <a:lnTo>
                    <a:pt x="306" y="252"/>
                  </a:lnTo>
                  <a:lnTo>
                    <a:pt x="330" y="252"/>
                  </a:lnTo>
                  <a:lnTo>
                    <a:pt x="384" y="306"/>
                  </a:lnTo>
                  <a:lnTo>
                    <a:pt x="402" y="294"/>
                  </a:lnTo>
                  <a:lnTo>
                    <a:pt x="432" y="312"/>
                  </a:lnTo>
                  <a:lnTo>
                    <a:pt x="438" y="306"/>
                  </a:lnTo>
                  <a:lnTo>
                    <a:pt x="456" y="306"/>
                  </a:lnTo>
                  <a:lnTo>
                    <a:pt x="474" y="312"/>
                  </a:lnTo>
                  <a:lnTo>
                    <a:pt x="486" y="318"/>
                  </a:lnTo>
                  <a:lnTo>
                    <a:pt x="492" y="330"/>
                  </a:lnTo>
                  <a:lnTo>
                    <a:pt x="498" y="318"/>
                  </a:lnTo>
                  <a:lnTo>
                    <a:pt x="510" y="312"/>
                  </a:lnTo>
                  <a:lnTo>
                    <a:pt x="516" y="312"/>
                  </a:lnTo>
                  <a:lnTo>
                    <a:pt x="522" y="318"/>
                  </a:lnTo>
                  <a:lnTo>
                    <a:pt x="522" y="330"/>
                  </a:lnTo>
                  <a:lnTo>
                    <a:pt x="588" y="330"/>
                  </a:lnTo>
                  <a:lnTo>
                    <a:pt x="588" y="294"/>
                  </a:lnTo>
                  <a:lnTo>
                    <a:pt x="576" y="270"/>
                  </a:lnTo>
                  <a:lnTo>
                    <a:pt x="576" y="222"/>
                  </a:lnTo>
                  <a:lnTo>
                    <a:pt x="564" y="204"/>
                  </a:lnTo>
                  <a:lnTo>
                    <a:pt x="540" y="216"/>
                  </a:lnTo>
                  <a:lnTo>
                    <a:pt x="522" y="216"/>
                  </a:lnTo>
                  <a:lnTo>
                    <a:pt x="498" y="204"/>
                  </a:lnTo>
                  <a:lnTo>
                    <a:pt x="480" y="198"/>
                  </a:lnTo>
                  <a:lnTo>
                    <a:pt x="474" y="192"/>
                  </a:lnTo>
                  <a:lnTo>
                    <a:pt x="462" y="186"/>
                  </a:lnTo>
                  <a:lnTo>
                    <a:pt x="462" y="192"/>
                  </a:lnTo>
                  <a:lnTo>
                    <a:pt x="456" y="198"/>
                  </a:lnTo>
                  <a:lnTo>
                    <a:pt x="438" y="198"/>
                  </a:lnTo>
                  <a:lnTo>
                    <a:pt x="432" y="192"/>
                  </a:lnTo>
                  <a:lnTo>
                    <a:pt x="432" y="180"/>
                  </a:lnTo>
                  <a:lnTo>
                    <a:pt x="432" y="186"/>
                  </a:lnTo>
                  <a:lnTo>
                    <a:pt x="420" y="198"/>
                  </a:lnTo>
                  <a:lnTo>
                    <a:pt x="408" y="198"/>
                  </a:lnTo>
                  <a:lnTo>
                    <a:pt x="402" y="192"/>
                  </a:lnTo>
                  <a:lnTo>
                    <a:pt x="402" y="174"/>
                  </a:lnTo>
                  <a:lnTo>
                    <a:pt x="396" y="174"/>
                  </a:lnTo>
                  <a:lnTo>
                    <a:pt x="390" y="180"/>
                  </a:lnTo>
                  <a:lnTo>
                    <a:pt x="378" y="180"/>
                  </a:lnTo>
                  <a:lnTo>
                    <a:pt x="360" y="174"/>
                  </a:lnTo>
                  <a:lnTo>
                    <a:pt x="354" y="168"/>
                  </a:lnTo>
                  <a:lnTo>
                    <a:pt x="348" y="168"/>
                  </a:lnTo>
                  <a:lnTo>
                    <a:pt x="348" y="162"/>
                  </a:lnTo>
                  <a:lnTo>
                    <a:pt x="354" y="156"/>
                  </a:lnTo>
                  <a:lnTo>
                    <a:pt x="354" y="150"/>
                  </a:lnTo>
                  <a:lnTo>
                    <a:pt x="348" y="144"/>
                  </a:lnTo>
                  <a:lnTo>
                    <a:pt x="342" y="144"/>
                  </a:lnTo>
                  <a:lnTo>
                    <a:pt x="330" y="150"/>
                  </a:lnTo>
                  <a:lnTo>
                    <a:pt x="324" y="156"/>
                  </a:lnTo>
                  <a:lnTo>
                    <a:pt x="312" y="150"/>
                  </a:lnTo>
                  <a:lnTo>
                    <a:pt x="282" y="120"/>
                  </a:lnTo>
                  <a:lnTo>
                    <a:pt x="282" y="102"/>
                  </a:lnTo>
                  <a:lnTo>
                    <a:pt x="276" y="90"/>
                  </a:lnTo>
                  <a:lnTo>
                    <a:pt x="270" y="84"/>
                  </a:lnTo>
                  <a:lnTo>
                    <a:pt x="258" y="84"/>
                  </a:lnTo>
                  <a:lnTo>
                    <a:pt x="252" y="96"/>
                  </a:lnTo>
                  <a:lnTo>
                    <a:pt x="246" y="102"/>
                  </a:lnTo>
                  <a:lnTo>
                    <a:pt x="246" y="108"/>
                  </a:lnTo>
                  <a:lnTo>
                    <a:pt x="234" y="108"/>
                  </a:lnTo>
                  <a:lnTo>
                    <a:pt x="234" y="96"/>
                  </a:lnTo>
                  <a:lnTo>
                    <a:pt x="228" y="90"/>
                  </a:lnTo>
                  <a:lnTo>
                    <a:pt x="222" y="78"/>
                  </a:lnTo>
                  <a:lnTo>
                    <a:pt x="216" y="72"/>
                  </a:lnTo>
                  <a:lnTo>
                    <a:pt x="210" y="60"/>
                  </a:lnTo>
                  <a:lnTo>
                    <a:pt x="168" y="54"/>
                  </a:lnTo>
                  <a:lnTo>
                    <a:pt x="150" y="36"/>
                  </a:lnTo>
                  <a:lnTo>
                    <a:pt x="138" y="30"/>
                  </a:lnTo>
                  <a:lnTo>
                    <a:pt x="132" y="18"/>
                  </a:lnTo>
                  <a:lnTo>
                    <a:pt x="120" y="6"/>
                  </a:lnTo>
                  <a:lnTo>
                    <a:pt x="108" y="0"/>
                  </a:lnTo>
                  <a:lnTo>
                    <a:pt x="96" y="0"/>
                  </a:lnTo>
                  <a:lnTo>
                    <a:pt x="84" y="6"/>
                  </a:lnTo>
                  <a:lnTo>
                    <a:pt x="78" y="12"/>
                  </a:lnTo>
                  <a:lnTo>
                    <a:pt x="54" y="30"/>
                  </a:lnTo>
                  <a:lnTo>
                    <a:pt x="36" y="12"/>
                  </a:lnTo>
                  <a:lnTo>
                    <a:pt x="30" y="36"/>
                  </a:lnTo>
                  <a:lnTo>
                    <a:pt x="6" y="60"/>
                  </a:lnTo>
                  <a:lnTo>
                    <a:pt x="12" y="72"/>
                  </a:lnTo>
                  <a:lnTo>
                    <a:pt x="6" y="78"/>
                  </a:lnTo>
                  <a:lnTo>
                    <a:pt x="6" y="84"/>
                  </a:lnTo>
                  <a:lnTo>
                    <a:pt x="18" y="96"/>
                  </a:lnTo>
                  <a:lnTo>
                    <a:pt x="12" y="96"/>
                  </a:lnTo>
                  <a:lnTo>
                    <a:pt x="0" y="108"/>
                  </a:lnTo>
                  <a:lnTo>
                    <a:pt x="0" y="120"/>
                  </a:lnTo>
                  <a:lnTo>
                    <a:pt x="30" y="150"/>
                  </a:lnTo>
                  <a:lnTo>
                    <a:pt x="42" y="144"/>
                  </a:lnTo>
                  <a:lnTo>
                    <a:pt x="60" y="168"/>
                  </a:lnTo>
                  <a:lnTo>
                    <a:pt x="84" y="168"/>
                  </a:lnTo>
                  <a:lnTo>
                    <a:pt x="96" y="186"/>
                  </a:lnTo>
                  <a:lnTo>
                    <a:pt x="138" y="204"/>
                  </a:lnTo>
                  <a:lnTo>
                    <a:pt x="150" y="204"/>
                  </a:lnTo>
                  <a:lnTo>
                    <a:pt x="156" y="210"/>
                  </a:lnTo>
                  <a:lnTo>
                    <a:pt x="162" y="222"/>
                  </a:lnTo>
                  <a:lnTo>
                    <a:pt x="168" y="228"/>
                  </a:lnTo>
                  <a:lnTo>
                    <a:pt x="186" y="228"/>
                  </a:lnTo>
                  <a:lnTo>
                    <a:pt x="192" y="222"/>
                  </a:lnTo>
                  <a:lnTo>
                    <a:pt x="204" y="222"/>
                  </a:lnTo>
                  <a:lnTo>
                    <a:pt x="204" y="234"/>
                  </a:lnTo>
                  <a:lnTo>
                    <a:pt x="210" y="240"/>
                  </a:lnTo>
                  <a:lnTo>
                    <a:pt x="234" y="240"/>
                  </a:lnTo>
                  <a:lnTo>
                    <a:pt x="240" y="246"/>
                  </a:lnTo>
                  <a:lnTo>
                    <a:pt x="246" y="258"/>
                  </a:lnTo>
                  <a:lnTo>
                    <a:pt x="258" y="246"/>
                  </a:lnTo>
                  <a:lnTo>
                    <a:pt x="276" y="246"/>
                  </a:lnTo>
                  <a:lnTo>
                    <a:pt x="282" y="252"/>
                  </a:lnTo>
                  <a:lnTo>
                    <a:pt x="282" y="258"/>
                  </a:lnTo>
                  <a:lnTo>
                    <a:pt x="282" y="240"/>
                  </a:lnTo>
                  <a:lnTo>
                    <a:pt x="288" y="234"/>
                  </a:lnTo>
                  <a:lnTo>
                    <a:pt x="294" y="234"/>
                  </a:lnTo>
                  <a:close/>
                </a:path>
              </a:pathLst>
            </a:custGeom>
            <a:solidFill>
              <a:srgbClr val="B1B1B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Lato"/>
                <a:ea typeface="+mn-ea"/>
                <a:cs typeface="+mn-cs"/>
              </a:endParaRPr>
            </a:p>
          </p:txBody>
        </p:sp>
        <p:sp>
          <p:nvSpPr>
            <p:cNvPr id="474" name="Myanmar" descr="© INSCALE GmbH, 05.05.2010&#10;http://www.presentationload.com/">
              <a:extLst>
                <a:ext uri="{FF2B5EF4-FFF2-40B4-BE49-F238E27FC236}">
                  <a16:creationId xmlns:a16="http://schemas.microsoft.com/office/drawing/2014/main" id="{5CC8E4BA-27A0-86C8-2B70-705FCAB3D78E}"/>
                </a:ext>
              </a:extLst>
            </p:cNvPr>
            <p:cNvSpPr>
              <a:spLocks/>
            </p:cNvSpPr>
            <p:nvPr/>
          </p:nvSpPr>
          <p:spPr bwMode="gray">
            <a:xfrm>
              <a:off x="8678404" y="3250312"/>
              <a:ext cx="316507" cy="743694"/>
            </a:xfrm>
            <a:custGeom>
              <a:avLst/>
              <a:gdLst>
                <a:gd name="T0" fmla="*/ 2147483647 w 636"/>
                <a:gd name="T1" fmla="*/ 2147483647 h 1500"/>
                <a:gd name="T2" fmla="*/ 2147483647 w 636"/>
                <a:gd name="T3" fmla="*/ 2147483647 h 1500"/>
                <a:gd name="T4" fmla="*/ 2147483647 w 636"/>
                <a:gd name="T5" fmla="*/ 2147483647 h 1500"/>
                <a:gd name="T6" fmla="*/ 2147483647 w 636"/>
                <a:gd name="T7" fmla="*/ 2147483647 h 1500"/>
                <a:gd name="T8" fmla="*/ 2147483647 w 636"/>
                <a:gd name="T9" fmla="*/ 2147483647 h 1500"/>
                <a:gd name="T10" fmla="*/ 2147483647 w 636"/>
                <a:gd name="T11" fmla="*/ 2147483647 h 1500"/>
                <a:gd name="T12" fmla="*/ 2147483647 w 636"/>
                <a:gd name="T13" fmla="*/ 2147483647 h 1500"/>
                <a:gd name="T14" fmla="*/ 2147483647 w 636"/>
                <a:gd name="T15" fmla="*/ 2147483647 h 1500"/>
                <a:gd name="T16" fmla="*/ 2147483647 w 636"/>
                <a:gd name="T17" fmla="*/ 2147483647 h 1500"/>
                <a:gd name="T18" fmla="*/ 2147483647 w 636"/>
                <a:gd name="T19" fmla="*/ 2147483647 h 1500"/>
                <a:gd name="T20" fmla="*/ 2147483647 w 636"/>
                <a:gd name="T21" fmla="*/ 2147483647 h 1500"/>
                <a:gd name="T22" fmla="*/ 2147483647 w 636"/>
                <a:gd name="T23" fmla="*/ 2147483647 h 1500"/>
                <a:gd name="T24" fmla="*/ 2147483647 w 636"/>
                <a:gd name="T25" fmla="*/ 2147483647 h 1500"/>
                <a:gd name="T26" fmla="*/ 2147483647 w 636"/>
                <a:gd name="T27" fmla="*/ 2147483647 h 1500"/>
                <a:gd name="T28" fmla="*/ 2147483647 w 636"/>
                <a:gd name="T29" fmla="*/ 2147483647 h 1500"/>
                <a:gd name="T30" fmla="*/ 2147483647 w 636"/>
                <a:gd name="T31" fmla="*/ 2147483647 h 1500"/>
                <a:gd name="T32" fmla="*/ 2147483647 w 636"/>
                <a:gd name="T33" fmla="*/ 2147483647 h 1500"/>
                <a:gd name="T34" fmla="*/ 2147483647 w 636"/>
                <a:gd name="T35" fmla="*/ 2147483647 h 1500"/>
                <a:gd name="T36" fmla="*/ 2147483647 w 636"/>
                <a:gd name="T37" fmla="*/ 2147483647 h 1500"/>
                <a:gd name="T38" fmla="*/ 2147483647 w 636"/>
                <a:gd name="T39" fmla="*/ 2147483647 h 1500"/>
                <a:gd name="T40" fmla="*/ 2147483647 w 636"/>
                <a:gd name="T41" fmla="*/ 2147483647 h 1500"/>
                <a:gd name="T42" fmla="*/ 2147483647 w 636"/>
                <a:gd name="T43" fmla="*/ 2147483647 h 1500"/>
                <a:gd name="T44" fmla="*/ 2147483647 w 636"/>
                <a:gd name="T45" fmla="*/ 2147483647 h 1500"/>
                <a:gd name="T46" fmla="*/ 2147483647 w 636"/>
                <a:gd name="T47" fmla="*/ 2147483647 h 1500"/>
                <a:gd name="T48" fmla="*/ 2147483647 w 636"/>
                <a:gd name="T49" fmla="*/ 2147483647 h 1500"/>
                <a:gd name="T50" fmla="*/ 2147483647 w 636"/>
                <a:gd name="T51" fmla="*/ 2147483647 h 1500"/>
                <a:gd name="T52" fmla="*/ 2147483647 w 636"/>
                <a:gd name="T53" fmla="*/ 2147483647 h 1500"/>
                <a:gd name="T54" fmla="*/ 2147483647 w 636"/>
                <a:gd name="T55" fmla="*/ 2147483647 h 1500"/>
                <a:gd name="T56" fmla="*/ 2147483647 w 636"/>
                <a:gd name="T57" fmla="*/ 2147483647 h 1500"/>
                <a:gd name="T58" fmla="*/ 2147483647 w 636"/>
                <a:gd name="T59" fmla="*/ 2147483647 h 1500"/>
                <a:gd name="T60" fmla="*/ 2147483647 w 636"/>
                <a:gd name="T61" fmla="*/ 2147483647 h 1500"/>
                <a:gd name="T62" fmla="*/ 2147483647 w 636"/>
                <a:gd name="T63" fmla="*/ 2147483647 h 1500"/>
                <a:gd name="T64" fmla="*/ 2147483647 w 636"/>
                <a:gd name="T65" fmla="*/ 2147483647 h 1500"/>
                <a:gd name="T66" fmla="*/ 2147483647 w 636"/>
                <a:gd name="T67" fmla="*/ 2147483647 h 1500"/>
                <a:gd name="T68" fmla="*/ 2147483647 w 636"/>
                <a:gd name="T69" fmla="*/ 2147483647 h 1500"/>
                <a:gd name="T70" fmla="*/ 2147483647 w 636"/>
                <a:gd name="T71" fmla="*/ 2147483647 h 1500"/>
                <a:gd name="T72" fmla="*/ 2147483647 w 636"/>
                <a:gd name="T73" fmla="*/ 2147483647 h 1500"/>
                <a:gd name="T74" fmla="*/ 2147483647 w 636"/>
                <a:gd name="T75" fmla="*/ 2147483647 h 1500"/>
                <a:gd name="T76" fmla="*/ 2147483647 w 636"/>
                <a:gd name="T77" fmla="*/ 2147483647 h 1500"/>
                <a:gd name="T78" fmla="*/ 2147483647 w 636"/>
                <a:gd name="T79" fmla="*/ 2147483647 h 1500"/>
                <a:gd name="T80" fmla="*/ 2147483647 w 636"/>
                <a:gd name="T81" fmla="*/ 2147483647 h 1500"/>
                <a:gd name="T82" fmla="*/ 2147483647 w 636"/>
                <a:gd name="T83" fmla="*/ 2147483647 h 1500"/>
                <a:gd name="T84" fmla="*/ 2147483647 w 636"/>
                <a:gd name="T85" fmla="*/ 2147483647 h 1500"/>
                <a:gd name="T86" fmla="*/ 2147483647 w 636"/>
                <a:gd name="T87" fmla="*/ 0 h 1500"/>
                <a:gd name="T88" fmla="*/ 2147483647 w 636"/>
                <a:gd name="T89" fmla="*/ 2147483647 h 1500"/>
                <a:gd name="T90" fmla="*/ 2147483647 w 636"/>
                <a:gd name="T91" fmla="*/ 2147483647 h 1500"/>
                <a:gd name="T92" fmla="*/ 2147483647 w 636"/>
                <a:gd name="T93" fmla="*/ 2147483647 h 1500"/>
                <a:gd name="T94" fmla="*/ 2147483647 w 636"/>
                <a:gd name="T95" fmla="*/ 2147483647 h 1500"/>
                <a:gd name="T96" fmla="*/ 2147483647 w 636"/>
                <a:gd name="T97" fmla="*/ 2147483647 h 1500"/>
                <a:gd name="T98" fmla="*/ 2147483647 w 636"/>
                <a:gd name="T99" fmla="*/ 2147483647 h 1500"/>
                <a:gd name="T100" fmla="*/ 2147483647 w 636"/>
                <a:gd name="T101" fmla="*/ 2147483647 h 1500"/>
                <a:gd name="T102" fmla="*/ 2147483647 w 636"/>
                <a:gd name="T103" fmla="*/ 2147483647 h 1500"/>
                <a:gd name="T104" fmla="*/ 2147483647 w 636"/>
                <a:gd name="T105" fmla="*/ 2147483647 h 1500"/>
                <a:gd name="T106" fmla="*/ 2147483647 w 636"/>
                <a:gd name="T107" fmla="*/ 2147483647 h 1500"/>
                <a:gd name="T108" fmla="*/ 2147483647 w 636"/>
                <a:gd name="T109" fmla="*/ 2147483647 h 15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36"/>
                <a:gd name="T166" fmla="*/ 0 h 1500"/>
                <a:gd name="T167" fmla="*/ 636 w 636"/>
                <a:gd name="T168" fmla="*/ 1500 h 15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36" h="1500">
                  <a:moveTo>
                    <a:pt x="0" y="588"/>
                  </a:moveTo>
                  <a:lnTo>
                    <a:pt x="18" y="588"/>
                  </a:lnTo>
                  <a:lnTo>
                    <a:pt x="12" y="630"/>
                  </a:lnTo>
                  <a:lnTo>
                    <a:pt x="18" y="630"/>
                  </a:lnTo>
                  <a:lnTo>
                    <a:pt x="24" y="636"/>
                  </a:lnTo>
                  <a:lnTo>
                    <a:pt x="42" y="642"/>
                  </a:lnTo>
                  <a:lnTo>
                    <a:pt x="54" y="648"/>
                  </a:lnTo>
                  <a:lnTo>
                    <a:pt x="72" y="666"/>
                  </a:lnTo>
                  <a:lnTo>
                    <a:pt x="84" y="690"/>
                  </a:lnTo>
                  <a:lnTo>
                    <a:pt x="90" y="696"/>
                  </a:lnTo>
                  <a:lnTo>
                    <a:pt x="90" y="702"/>
                  </a:lnTo>
                  <a:lnTo>
                    <a:pt x="126" y="696"/>
                  </a:lnTo>
                  <a:lnTo>
                    <a:pt x="102" y="738"/>
                  </a:lnTo>
                  <a:lnTo>
                    <a:pt x="108" y="738"/>
                  </a:lnTo>
                  <a:lnTo>
                    <a:pt x="114" y="744"/>
                  </a:lnTo>
                  <a:lnTo>
                    <a:pt x="126" y="744"/>
                  </a:lnTo>
                  <a:lnTo>
                    <a:pt x="144" y="750"/>
                  </a:lnTo>
                  <a:lnTo>
                    <a:pt x="156" y="762"/>
                  </a:lnTo>
                  <a:lnTo>
                    <a:pt x="168" y="768"/>
                  </a:lnTo>
                  <a:lnTo>
                    <a:pt x="174" y="780"/>
                  </a:lnTo>
                  <a:lnTo>
                    <a:pt x="186" y="792"/>
                  </a:lnTo>
                  <a:lnTo>
                    <a:pt x="192" y="804"/>
                  </a:lnTo>
                  <a:lnTo>
                    <a:pt x="192" y="822"/>
                  </a:lnTo>
                  <a:lnTo>
                    <a:pt x="198" y="834"/>
                  </a:lnTo>
                  <a:lnTo>
                    <a:pt x="198" y="840"/>
                  </a:lnTo>
                  <a:lnTo>
                    <a:pt x="204" y="846"/>
                  </a:lnTo>
                  <a:lnTo>
                    <a:pt x="210" y="858"/>
                  </a:lnTo>
                  <a:lnTo>
                    <a:pt x="222" y="870"/>
                  </a:lnTo>
                  <a:lnTo>
                    <a:pt x="210" y="888"/>
                  </a:lnTo>
                  <a:lnTo>
                    <a:pt x="216" y="978"/>
                  </a:lnTo>
                  <a:lnTo>
                    <a:pt x="204" y="990"/>
                  </a:lnTo>
                  <a:lnTo>
                    <a:pt x="204" y="1002"/>
                  </a:lnTo>
                  <a:lnTo>
                    <a:pt x="222" y="1020"/>
                  </a:lnTo>
                  <a:lnTo>
                    <a:pt x="234" y="1020"/>
                  </a:lnTo>
                  <a:lnTo>
                    <a:pt x="246" y="1014"/>
                  </a:lnTo>
                  <a:lnTo>
                    <a:pt x="252" y="1008"/>
                  </a:lnTo>
                  <a:lnTo>
                    <a:pt x="258" y="1014"/>
                  </a:lnTo>
                  <a:lnTo>
                    <a:pt x="258" y="1020"/>
                  </a:lnTo>
                  <a:lnTo>
                    <a:pt x="276" y="1020"/>
                  </a:lnTo>
                  <a:lnTo>
                    <a:pt x="282" y="1014"/>
                  </a:lnTo>
                  <a:lnTo>
                    <a:pt x="294" y="1008"/>
                  </a:lnTo>
                  <a:lnTo>
                    <a:pt x="300" y="996"/>
                  </a:lnTo>
                  <a:lnTo>
                    <a:pt x="306" y="990"/>
                  </a:lnTo>
                  <a:lnTo>
                    <a:pt x="312" y="978"/>
                  </a:lnTo>
                  <a:lnTo>
                    <a:pt x="324" y="978"/>
                  </a:lnTo>
                  <a:lnTo>
                    <a:pt x="360" y="960"/>
                  </a:lnTo>
                  <a:lnTo>
                    <a:pt x="366" y="954"/>
                  </a:lnTo>
                  <a:lnTo>
                    <a:pt x="366" y="900"/>
                  </a:lnTo>
                  <a:lnTo>
                    <a:pt x="372" y="894"/>
                  </a:lnTo>
                  <a:lnTo>
                    <a:pt x="378" y="894"/>
                  </a:lnTo>
                  <a:lnTo>
                    <a:pt x="396" y="912"/>
                  </a:lnTo>
                  <a:lnTo>
                    <a:pt x="402" y="924"/>
                  </a:lnTo>
                  <a:lnTo>
                    <a:pt x="402" y="954"/>
                  </a:lnTo>
                  <a:lnTo>
                    <a:pt x="408" y="954"/>
                  </a:lnTo>
                  <a:lnTo>
                    <a:pt x="426" y="972"/>
                  </a:lnTo>
                  <a:lnTo>
                    <a:pt x="432" y="984"/>
                  </a:lnTo>
                  <a:lnTo>
                    <a:pt x="444" y="1014"/>
                  </a:lnTo>
                  <a:lnTo>
                    <a:pt x="450" y="1050"/>
                  </a:lnTo>
                  <a:lnTo>
                    <a:pt x="450" y="1074"/>
                  </a:lnTo>
                  <a:lnTo>
                    <a:pt x="456" y="1092"/>
                  </a:lnTo>
                  <a:lnTo>
                    <a:pt x="456" y="1128"/>
                  </a:lnTo>
                  <a:lnTo>
                    <a:pt x="462" y="1134"/>
                  </a:lnTo>
                  <a:lnTo>
                    <a:pt x="480" y="1170"/>
                  </a:lnTo>
                  <a:lnTo>
                    <a:pt x="486" y="1176"/>
                  </a:lnTo>
                  <a:lnTo>
                    <a:pt x="486" y="1182"/>
                  </a:lnTo>
                  <a:lnTo>
                    <a:pt x="528" y="1272"/>
                  </a:lnTo>
                  <a:lnTo>
                    <a:pt x="540" y="1320"/>
                  </a:lnTo>
                  <a:lnTo>
                    <a:pt x="522" y="1320"/>
                  </a:lnTo>
                  <a:lnTo>
                    <a:pt x="516" y="1326"/>
                  </a:lnTo>
                  <a:lnTo>
                    <a:pt x="516" y="1350"/>
                  </a:lnTo>
                  <a:lnTo>
                    <a:pt x="510" y="1362"/>
                  </a:lnTo>
                  <a:lnTo>
                    <a:pt x="510" y="1374"/>
                  </a:lnTo>
                  <a:lnTo>
                    <a:pt x="552" y="1362"/>
                  </a:lnTo>
                  <a:lnTo>
                    <a:pt x="540" y="1416"/>
                  </a:lnTo>
                  <a:lnTo>
                    <a:pt x="540" y="1428"/>
                  </a:lnTo>
                  <a:lnTo>
                    <a:pt x="534" y="1440"/>
                  </a:lnTo>
                  <a:lnTo>
                    <a:pt x="534" y="1464"/>
                  </a:lnTo>
                  <a:lnTo>
                    <a:pt x="540" y="1482"/>
                  </a:lnTo>
                  <a:lnTo>
                    <a:pt x="540" y="1488"/>
                  </a:lnTo>
                  <a:lnTo>
                    <a:pt x="546" y="1500"/>
                  </a:lnTo>
                  <a:lnTo>
                    <a:pt x="552" y="1488"/>
                  </a:lnTo>
                  <a:lnTo>
                    <a:pt x="558" y="1482"/>
                  </a:lnTo>
                  <a:lnTo>
                    <a:pt x="564" y="1470"/>
                  </a:lnTo>
                  <a:lnTo>
                    <a:pt x="564" y="1458"/>
                  </a:lnTo>
                  <a:lnTo>
                    <a:pt x="558" y="1452"/>
                  </a:lnTo>
                  <a:lnTo>
                    <a:pt x="558" y="1440"/>
                  </a:lnTo>
                  <a:lnTo>
                    <a:pt x="576" y="1422"/>
                  </a:lnTo>
                  <a:lnTo>
                    <a:pt x="594" y="1386"/>
                  </a:lnTo>
                  <a:lnTo>
                    <a:pt x="594" y="1368"/>
                  </a:lnTo>
                  <a:lnTo>
                    <a:pt x="600" y="1356"/>
                  </a:lnTo>
                  <a:lnTo>
                    <a:pt x="600" y="1326"/>
                  </a:lnTo>
                  <a:lnTo>
                    <a:pt x="594" y="1314"/>
                  </a:lnTo>
                  <a:lnTo>
                    <a:pt x="594" y="1290"/>
                  </a:lnTo>
                  <a:lnTo>
                    <a:pt x="570" y="1266"/>
                  </a:lnTo>
                  <a:lnTo>
                    <a:pt x="570" y="1242"/>
                  </a:lnTo>
                  <a:lnTo>
                    <a:pt x="564" y="1224"/>
                  </a:lnTo>
                  <a:lnTo>
                    <a:pt x="564" y="1194"/>
                  </a:lnTo>
                  <a:lnTo>
                    <a:pt x="558" y="1182"/>
                  </a:lnTo>
                  <a:lnTo>
                    <a:pt x="516" y="1140"/>
                  </a:lnTo>
                  <a:lnTo>
                    <a:pt x="510" y="1128"/>
                  </a:lnTo>
                  <a:lnTo>
                    <a:pt x="504" y="1122"/>
                  </a:lnTo>
                  <a:lnTo>
                    <a:pt x="498" y="1110"/>
                  </a:lnTo>
                  <a:lnTo>
                    <a:pt x="492" y="1104"/>
                  </a:lnTo>
                  <a:lnTo>
                    <a:pt x="492" y="1098"/>
                  </a:lnTo>
                  <a:lnTo>
                    <a:pt x="486" y="1092"/>
                  </a:lnTo>
                  <a:lnTo>
                    <a:pt x="504" y="1056"/>
                  </a:lnTo>
                  <a:lnTo>
                    <a:pt x="510" y="1050"/>
                  </a:lnTo>
                  <a:lnTo>
                    <a:pt x="516" y="1038"/>
                  </a:lnTo>
                  <a:lnTo>
                    <a:pt x="516" y="1014"/>
                  </a:lnTo>
                  <a:lnTo>
                    <a:pt x="510" y="1002"/>
                  </a:lnTo>
                  <a:lnTo>
                    <a:pt x="522" y="1002"/>
                  </a:lnTo>
                  <a:lnTo>
                    <a:pt x="528" y="996"/>
                  </a:lnTo>
                  <a:lnTo>
                    <a:pt x="528" y="978"/>
                  </a:lnTo>
                  <a:lnTo>
                    <a:pt x="522" y="972"/>
                  </a:lnTo>
                  <a:lnTo>
                    <a:pt x="516" y="978"/>
                  </a:lnTo>
                  <a:lnTo>
                    <a:pt x="510" y="978"/>
                  </a:lnTo>
                  <a:lnTo>
                    <a:pt x="504" y="972"/>
                  </a:lnTo>
                  <a:lnTo>
                    <a:pt x="498" y="960"/>
                  </a:lnTo>
                  <a:lnTo>
                    <a:pt x="498" y="942"/>
                  </a:lnTo>
                  <a:lnTo>
                    <a:pt x="504" y="942"/>
                  </a:lnTo>
                  <a:lnTo>
                    <a:pt x="504" y="936"/>
                  </a:lnTo>
                  <a:lnTo>
                    <a:pt x="498" y="930"/>
                  </a:lnTo>
                  <a:lnTo>
                    <a:pt x="486" y="924"/>
                  </a:lnTo>
                  <a:lnTo>
                    <a:pt x="474" y="912"/>
                  </a:lnTo>
                  <a:lnTo>
                    <a:pt x="462" y="906"/>
                  </a:lnTo>
                  <a:lnTo>
                    <a:pt x="444" y="888"/>
                  </a:lnTo>
                  <a:lnTo>
                    <a:pt x="438" y="876"/>
                  </a:lnTo>
                  <a:lnTo>
                    <a:pt x="438" y="870"/>
                  </a:lnTo>
                  <a:lnTo>
                    <a:pt x="432" y="870"/>
                  </a:lnTo>
                  <a:lnTo>
                    <a:pt x="438" y="846"/>
                  </a:lnTo>
                  <a:lnTo>
                    <a:pt x="426" y="840"/>
                  </a:lnTo>
                  <a:lnTo>
                    <a:pt x="402" y="816"/>
                  </a:lnTo>
                  <a:lnTo>
                    <a:pt x="402" y="810"/>
                  </a:lnTo>
                  <a:lnTo>
                    <a:pt x="426" y="810"/>
                  </a:lnTo>
                  <a:lnTo>
                    <a:pt x="426" y="792"/>
                  </a:lnTo>
                  <a:lnTo>
                    <a:pt x="408" y="774"/>
                  </a:lnTo>
                  <a:lnTo>
                    <a:pt x="408" y="768"/>
                  </a:lnTo>
                  <a:lnTo>
                    <a:pt x="414" y="762"/>
                  </a:lnTo>
                  <a:lnTo>
                    <a:pt x="420" y="762"/>
                  </a:lnTo>
                  <a:lnTo>
                    <a:pt x="426" y="756"/>
                  </a:lnTo>
                  <a:lnTo>
                    <a:pt x="426" y="708"/>
                  </a:lnTo>
                  <a:lnTo>
                    <a:pt x="456" y="708"/>
                  </a:lnTo>
                  <a:lnTo>
                    <a:pt x="468" y="714"/>
                  </a:lnTo>
                  <a:lnTo>
                    <a:pt x="480" y="714"/>
                  </a:lnTo>
                  <a:lnTo>
                    <a:pt x="486" y="708"/>
                  </a:lnTo>
                  <a:lnTo>
                    <a:pt x="492" y="696"/>
                  </a:lnTo>
                  <a:lnTo>
                    <a:pt x="498" y="690"/>
                  </a:lnTo>
                  <a:lnTo>
                    <a:pt x="498" y="684"/>
                  </a:lnTo>
                  <a:lnTo>
                    <a:pt x="522" y="684"/>
                  </a:lnTo>
                  <a:lnTo>
                    <a:pt x="528" y="660"/>
                  </a:lnTo>
                  <a:lnTo>
                    <a:pt x="534" y="660"/>
                  </a:lnTo>
                  <a:lnTo>
                    <a:pt x="540" y="654"/>
                  </a:lnTo>
                  <a:lnTo>
                    <a:pt x="564" y="654"/>
                  </a:lnTo>
                  <a:lnTo>
                    <a:pt x="564" y="642"/>
                  </a:lnTo>
                  <a:lnTo>
                    <a:pt x="582" y="624"/>
                  </a:lnTo>
                  <a:lnTo>
                    <a:pt x="594" y="624"/>
                  </a:lnTo>
                  <a:lnTo>
                    <a:pt x="600" y="618"/>
                  </a:lnTo>
                  <a:lnTo>
                    <a:pt x="594" y="612"/>
                  </a:lnTo>
                  <a:lnTo>
                    <a:pt x="600" y="600"/>
                  </a:lnTo>
                  <a:lnTo>
                    <a:pt x="600" y="588"/>
                  </a:lnTo>
                  <a:lnTo>
                    <a:pt x="636" y="570"/>
                  </a:lnTo>
                  <a:lnTo>
                    <a:pt x="636" y="552"/>
                  </a:lnTo>
                  <a:lnTo>
                    <a:pt x="630" y="546"/>
                  </a:lnTo>
                  <a:lnTo>
                    <a:pt x="618" y="546"/>
                  </a:lnTo>
                  <a:lnTo>
                    <a:pt x="600" y="564"/>
                  </a:lnTo>
                  <a:lnTo>
                    <a:pt x="600" y="570"/>
                  </a:lnTo>
                  <a:lnTo>
                    <a:pt x="558" y="570"/>
                  </a:lnTo>
                  <a:lnTo>
                    <a:pt x="558" y="552"/>
                  </a:lnTo>
                  <a:lnTo>
                    <a:pt x="546" y="552"/>
                  </a:lnTo>
                  <a:lnTo>
                    <a:pt x="534" y="522"/>
                  </a:lnTo>
                  <a:lnTo>
                    <a:pt x="480" y="516"/>
                  </a:lnTo>
                  <a:lnTo>
                    <a:pt x="486" y="504"/>
                  </a:lnTo>
                  <a:lnTo>
                    <a:pt x="486" y="498"/>
                  </a:lnTo>
                  <a:lnTo>
                    <a:pt x="492" y="492"/>
                  </a:lnTo>
                  <a:lnTo>
                    <a:pt x="492" y="480"/>
                  </a:lnTo>
                  <a:lnTo>
                    <a:pt x="480" y="468"/>
                  </a:lnTo>
                  <a:lnTo>
                    <a:pt x="486" y="462"/>
                  </a:lnTo>
                  <a:lnTo>
                    <a:pt x="498" y="462"/>
                  </a:lnTo>
                  <a:lnTo>
                    <a:pt x="504" y="456"/>
                  </a:lnTo>
                  <a:lnTo>
                    <a:pt x="504" y="450"/>
                  </a:lnTo>
                  <a:lnTo>
                    <a:pt x="498" y="444"/>
                  </a:lnTo>
                  <a:lnTo>
                    <a:pt x="486" y="438"/>
                  </a:lnTo>
                  <a:lnTo>
                    <a:pt x="456" y="438"/>
                  </a:lnTo>
                  <a:lnTo>
                    <a:pt x="444" y="396"/>
                  </a:lnTo>
                  <a:lnTo>
                    <a:pt x="420" y="378"/>
                  </a:lnTo>
                  <a:lnTo>
                    <a:pt x="450" y="354"/>
                  </a:lnTo>
                  <a:lnTo>
                    <a:pt x="390" y="354"/>
                  </a:lnTo>
                  <a:lnTo>
                    <a:pt x="384" y="360"/>
                  </a:lnTo>
                  <a:lnTo>
                    <a:pt x="372" y="360"/>
                  </a:lnTo>
                  <a:lnTo>
                    <a:pt x="366" y="366"/>
                  </a:lnTo>
                  <a:lnTo>
                    <a:pt x="354" y="372"/>
                  </a:lnTo>
                  <a:lnTo>
                    <a:pt x="366" y="354"/>
                  </a:lnTo>
                  <a:lnTo>
                    <a:pt x="360" y="342"/>
                  </a:lnTo>
                  <a:lnTo>
                    <a:pt x="342" y="324"/>
                  </a:lnTo>
                  <a:lnTo>
                    <a:pt x="342" y="306"/>
                  </a:lnTo>
                  <a:lnTo>
                    <a:pt x="354" y="306"/>
                  </a:lnTo>
                  <a:lnTo>
                    <a:pt x="348" y="276"/>
                  </a:lnTo>
                  <a:lnTo>
                    <a:pt x="360" y="276"/>
                  </a:lnTo>
                  <a:lnTo>
                    <a:pt x="366" y="270"/>
                  </a:lnTo>
                  <a:lnTo>
                    <a:pt x="366" y="234"/>
                  </a:lnTo>
                  <a:lnTo>
                    <a:pt x="372" y="240"/>
                  </a:lnTo>
                  <a:lnTo>
                    <a:pt x="384" y="240"/>
                  </a:lnTo>
                  <a:lnTo>
                    <a:pt x="390" y="234"/>
                  </a:lnTo>
                  <a:lnTo>
                    <a:pt x="396" y="222"/>
                  </a:lnTo>
                  <a:lnTo>
                    <a:pt x="396" y="216"/>
                  </a:lnTo>
                  <a:lnTo>
                    <a:pt x="378" y="198"/>
                  </a:lnTo>
                  <a:lnTo>
                    <a:pt x="390" y="198"/>
                  </a:lnTo>
                  <a:lnTo>
                    <a:pt x="396" y="192"/>
                  </a:lnTo>
                  <a:lnTo>
                    <a:pt x="408" y="192"/>
                  </a:lnTo>
                  <a:lnTo>
                    <a:pt x="396" y="132"/>
                  </a:lnTo>
                  <a:lnTo>
                    <a:pt x="384" y="108"/>
                  </a:lnTo>
                  <a:lnTo>
                    <a:pt x="384" y="78"/>
                  </a:lnTo>
                  <a:lnTo>
                    <a:pt x="378" y="72"/>
                  </a:lnTo>
                  <a:lnTo>
                    <a:pt x="342" y="72"/>
                  </a:lnTo>
                  <a:lnTo>
                    <a:pt x="342" y="66"/>
                  </a:lnTo>
                  <a:lnTo>
                    <a:pt x="336" y="60"/>
                  </a:lnTo>
                  <a:lnTo>
                    <a:pt x="318" y="24"/>
                  </a:lnTo>
                  <a:lnTo>
                    <a:pt x="306" y="18"/>
                  </a:lnTo>
                  <a:lnTo>
                    <a:pt x="300" y="6"/>
                  </a:lnTo>
                  <a:lnTo>
                    <a:pt x="294" y="0"/>
                  </a:lnTo>
                  <a:lnTo>
                    <a:pt x="288" y="0"/>
                  </a:lnTo>
                  <a:lnTo>
                    <a:pt x="282" y="18"/>
                  </a:lnTo>
                  <a:lnTo>
                    <a:pt x="282" y="48"/>
                  </a:lnTo>
                  <a:lnTo>
                    <a:pt x="276" y="48"/>
                  </a:lnTo>
                  <a:lnTo>
                    <a:pt x="270" y="54"/>
                  </a:lnTo>
                  <a:lnTo>
                    <a:pt x="258" y="60"/>
                  </a:lnTo>
                  <a:lnTo>
                    <a:pt x="246" y="72"/>
                  </a:lnTo>
                  <a:lnTo>
                    <a:pt x="252" y="84"/>
                  </a:lnTo>
                  <a:lnTo>
                    <a:pt x="258" y="90"/>
                  </a:lnTo>
                  <a:lnTo>
                    <a:pt x="270" y="96"/>
                  </a:lnTo>
                  <a:lnTo>
                    <a:pt x="276" y="102"/>
                  </a:lnTo>
                  <a:lnTo>
                    <a:pt x="276" y="108"/>
                  </a:lnTo>
                  <a:lnTo>
                    <a:pt x="258" y="108"/>
                  </a:lnTo>
                  <a:lnTo>
                    <a:pt x="252" y="102"/>
                  </a:lnTo>
                  <a:lnTo>
                    <a:pt x="216" y="102"/>
                  </a:lnTo>
                  <a:lnTo>
                    <a:pt x="204" y="108"/>
                  </a:lnTo>
                  <a:lnTo>
                    <a:pt x="198" y="108"/>
                  </a:lnTo>
                  <a:lnTo>
                    <a:pt x="198" y="126"/>
                  </a:lnTo>
                  <a:lnTo>
                    <a:pt x="186" y="138"/>
                  </a:lnTo>
                  <a:lnTo>
                    <a:pt x="174" y="144"/>
                  </a:lnTo>
                  <a:lnTo>
                    <a:pt x="162" y="144"/>
                  </a:lnTo>
                  <a:lnTo>
                    <a:pt x="156" y="150"/>
                  </a:lnTo>
                  <a:lnTo>
                    <a:pt x="150" y="150"/>
                  </a:lnTo>
                  <a:lnTo>
                    <a:pt x="150" y="174"/>
                  </a:lnTo>
                  <a:lnTo>
                    <a:pt x="156" y="180"/>
                  </a:lnTo>
                  <a:lnTo>
                    <a:pt x="156" y="186"/>
                  </a:lnTo>
                  <a:lnTo>
                    <a:pt x="162" y="192"/>
                  </a:lnTo>
                  <a:lnTo>
                    <a:pt x="162" y="204"/>
                  </a:lnTo>
                  <a:lnTo>
                    <a:pt x="144" y="234"/>
                  </a:lnTo>
                  <a:lnTo>
                    <a:pt x="138" y="240"/>
                  </a:lnTo>
                  <a:lnTo>
                    <a:pt x="126" y="246"/>
                  </a:lnTo>
                  <a:lnTo>
                    <a:pt x="126" y="264"/>
                  </a:lnTo>
                  <a:lnTo>
                    <a:pt x="132" y="276"/>
                  </a:lnTo>
                  <a:lnTo>
                    <a:pt x="138" y="282"/>
                  </a:lnTo>
                  <a:lnTo>
                    <a:pt x="120" y="336"/>
                  </a:lnTo>
                  <a:lnTo>
                    <a:pt x="120" y="372"/>
                  </a:lnTo>
                  <a:lnTo>
                    <a:pt x="108" y="372"/>
                  </a:lnTo>
                  <a:lnTo>
                    <a:pt x="96" y="366"/>
                  </a:lnTo>
                  <a:lnTo>
                    <a:pt x="42" y="366"/>
                  </a:lnTo>
                  <a:lnTo>
                    <a:pt x="48" y="366"/>
                  </a:lnTo>
                  <a:lnTo>
                    <a:pt x="66" y="384"/>
                  </a:lnTo>
                  <a:lnTo>
                    <a:pt x="72" y="432"/>
                  </a:lnTo>
                  <a:lnTo>
                    <a:pt x="66" y="432"/>
                  </a:lnTo>
                  <a:lnTo>
                    <a:pt x="48" y="450"/>
                  </a:lnTo>
                  <a:lnTo>
                    <a:pt x="54" y="462"/>
                  </a:lnTo>
                  <a:lnTo>
                    <a:pt x="54" y="486"/>
                  </a:lnTo>
                  <a:lnTo>
                    <a:pt x="72" y="504"/>
                  </a:lnTo>
                  <a:lnTo>
                    <a:pt x="72" y="516"/>
                  </a:lnTo>
                  <a:lnTo>
                    <a:pt x="60" y="516"/>
                  </a:lnTo>
                  <a:lnTo>
                    <a:pt x="54" y="510"/>
                  </a:lnTo>
                  <a:lnTo>
                    <a:pt x="48" y="510"/>
                  </a:lnTo>
                  <a:lnTo>
                    <a:pt x="48" y="534"/>
                  </a:lnTo>
                  <a:lnTo>
                    <a:pt x="30" y="516"/>
                  </a:lnTo>
                  <a:lnTo>
                    <a:pt x="42" y="576"/>
                  </a:lnTo>
                  <a:lnTo>
                    <a:pt x="6" y="570"/>
                  </a:lnTo>
                  <a:lnTo>
                    <a:pt x="6" y="576"/>
                  </a:lnTo>
                  <a:lnTo>
                    <a:pt x="0" y="588"/>
                  </a:lnTo>
                  <a:close/>
                </a:path>
              </a:pathLst>
            </a:custGeom>
            <a:solidFill>
              <a:srgbClr val="B1B1B0"/>
            </a:solidFill>
            <a:ln w="6350">
              <a:solidFill>
                <a:srgbClr val="B1B1B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Lato"/>
                <a:ea typeface="+mn-ea"/>
                <a:cs typeface="+mn-cs"/>
              </a:endParaRPr>
            </a:p>
          </p:txBody>
        </p:sp>
        <p:sp>
          <p:nvSpPr>
            <p:cNvPr id="475" name="Mongolia" descr="© INSCALE GmbH, 05.05.2010&#10;http://www.presentationload.com/">
              <a:extLst>
                <a:ext uri="{FF2B5EF4-FFF2-40B4-BE49-F238E27FC236}">
                  <a16:creationId xmlns:a16="http://schemas.microsoft.com/office/drawing/2014/main" id="{3E1CB526-AB27-58EB-8B34-B65558BDDB1D}"/>
                </a:ext>
              </a:extLst>
            </p:cNvPr>
            <p:cNvSpPr>
              <a:spLocks/>
            </p:cNvSpPr>
            <p:nvPr/>
          </p:nvSpPr>
          <p:spPr bwMode="gray">
            <a:xfrm>
              <a:off x="8237624" y="2314384"/>
              <a:ext cx="1042726" cy="413595"/>
            </a:xfrm>
            <a:custGeom>
              <a:avLst/>
              <a:gdLst>
                <a:gd name="T0" fmla="*/ 2147483647 w 2100"/>
                <a:gd name="T1" fmla="*/ 2147483647 h 834"/>
                <a:gd name="T2" fmla="*/ 2147483647 w 2100"/>
                <a:gd name="T3" fmla="*/ 2147483647 h 834"/>
                <a:gd name="T4" fmla="*/ 2147483647 w 2100"/>
                <a:gd name="T5" fmla="*/ 2147483647 h 834"/>
                <a:gd name="T6" fmla="*/ 2147483647 w 2100"/>
                <a:gd name="T7" fmla="*/ 2147483647 h 834"/>
                <a:gd name="T8" fmla="*/ 2147483647 w 2100"/>
                <a:gd name="T9" fmla="*/ 2147483647 h 834"/>
                <a:gd name="T10" fmla="*/ 2147483647 w 2100"/>
                <a:gd name="T11" fmla="*/ 2147483647 h 834"/>
                <a:gd name="T12" fmla="*/ 2147483647 w 2100"/>
                <a:gd name="T13" fmla="*/ 2147483647 h 834"/>
                <a:gd name="T14" fmla="*/ 2147483647 w 2100"/>
                <a:gd name="T15" fmla="*/ 2147483647 h 834"/>
                <a:gd name="T16" fmla="*/ 2147483647 w 2100"/>
                <a:gd name="T17" fmla="*/ 2147483647 h 834"/>
                <a:gd name="T18" fmla="*/ 2147483647 w 2100"/>
                <a:gd name="T19" fmla="*/ 2147483647 h 834"/>
                <a:gd name="T20" fmla="*/ 2147483647 w 2100"/>
                <a:gd name="T21" fmla="*/ 2147483647 h 834"/>
                <a:gd name="T22" fmla="*/ 2147483647 w 2100"/>
                <a:gd name="T23" fmla="*/ 2147483647 h 834"/>
                <a:gd name="T24" fmla="*/ 2147483647 w 2100"/>
                <a:gd name="T25" fmla="*/ 2147483647 h 834"/>
                <a:gd name="T26" fmla="*/ 2147483647 w 2100"/>
                <a:gd name="T27" fmla="*/ 2147483647 h 834"/>
                <a:gd name="T28" fmla="*/ 2147483647 w 2100"/>
                <a:gd name="T29" fmla="*/ 2147483647 h 834"/>
                <a:gd name="T30" fmla="*/ 2147483647 w 2100"/>
                <a:gd name="T31" fmla="*/ 2147483647 h 834"/>
                <a:gd name="T32" fmla="*/ 2147483647 w 2100"/>
                <a:gd name="T33" fmla="*/ 2147483647 h 834"/>
                <a:gd name="T34" fmla="*/ 2147483647 w 2100"/>
                <a:gd name="T35" fmla="*/ 2147483647 h 834"/>
                <a:gd name="T36" fmla="*/ 2147483647 w 2100"/>
                <a:gd name="T37" fmla="*/ 2147483647 h 834"/>
                <a:gd name="T38" fmla="*/ 2147483647 w 2100"/>
                <a:gd name="T39" fmla="*/ 2147483647 h 834"/>
                <a:gd name="T40" fmla="*/ 2147483647 w 2100"/>
                <a:gd name="T41" fmla="*/ 2147483647 h 834"/>
                <a:gd name="T42" fmla="*/ 2147483647 w 2100"/>
                <a:gd name="T43" fmla="*/ 2147483647 h 834"/>
                <a:gd name="T44" fmla="*/ 2147483647 w 2100"/>
                <a:gd name="T45" fmla="*/ 2147483647 h 834"/>
                <a:gd name="T46" fmla="*/ 2147483647 w 2100"/>
                <a:gd name="T47" fmla="*/ 2147483647 h 834"/>
                <a:gd name="T48" fmla="*/ 2147483647 w 2100"/>
                <a:gd name="T49" fmla="*/ 2147483647 h 834"/>
                <a:gd name="T50" fmla="*/ 2147483647 w 2100"/>
                <a:gd name="T51" fmla="*/ 2147483647 h 834"/>
                <a:gd name="T52" fmla="*/ 2147483647 w 2100"/>
                <a:gd name="T53" fmla="*/ 2147483647 h 834"/>
                <a:gd name="T54" fmla="*/ 2147483647 w 2100"/>
                <a:gd name="T55" fmla="*/ 2147483647 h 834"/>
                <a:gd name="T56" fmla="*/ 2147483647 w 2100"/>
                <a:gd name="T57" fmla="*/ 2147483647 h 834"/>
                <a:gd name="T58" fmla="*/ 2147483647 w 2100"/>
                <a:gd name="T59" fmla="*/ 2147483647 h 834"/>
                <a:gd name="T60" fmla="*/ 2147483647 w 2100"/>
                <a:gd name="T61" fmla="*/ 2147483647 h 834"/>
                <a:gd name="T62" fmla="*/ 0 w 2100"/>
                <a:gd name="T63" fmla="*/ 2147483647 h 834"/>
                <a:gd name="T64" fmla="*/ 2147483647 w 2100"/>
                <a:gd name="T65" fmla="*/ 2147483647 h 834"/>
                <a:gd name="T66" fmla="*/ 2147483647 w 2100"/>
                <a:gd name="T67" fmla="*/ 2147483647 h 834"/>
                <a:gd name="T68" fmla="*/ 2147483647 w 2100"/>
                <a:gd name="T69" fmla="*/ 2147483647 h 834"/>
                <a:gd name="T70" fmla="*/ 2147483647 w 2100"/>
                <a:gd name="T71" fmla="*/ 2147483647 h 834"/>
                <a:gd name="T72" fmla="*/ 2147483647 w 2100"/>
                <a:gd name="T73" fmla="*/ 2147483647 h 834"/>
                <a:gd name="T74" fmla="*/ 2147483647 w 2100"/>
                <a:gd name="T75" fmla="*/ 2147483647 h 834"/>
                <a:gd name="T76" fmla="*/ 2147483647 w 2100"/>
                <a:gd name="T77" fmla="*/ 2147483647 h 834"/>
                <a:gd name="T78" fmla="*/ 2147483647 w 2100"/>
                <a:gd name="T79" fmla="*/ 2147483647 h 834"/>
                <a:gd name="T80" fmla="*/ 2147483647 w 2100"/>
                <a:gd name="T81" fmla="*/ 2147483647 h 834"/>
                <a:gd name="T82" fmla="*/ 2147483647 w 2100"/>
                <a:gd name="T83" fmla="*/ 2147483647 h 834"/>
                <a:gd name="T84" fmla="*/ 2147483647 w 2100"/>
                <a:gd name="T85" fmla="*/ 2147483647 h 834"/>
                <a:gd name="T86" fmla="*/ 2147483647 w 2100"/>
                <a:gd name="T87" fmla="*/ 2147483647 h 834"/>
                <a:gd name="T88" fmla="*/ 2147483647 w 2100"/>
                <a:gd name="T89" fmla="*/ 2147483647 h 834"/>
                <a:gd name="T90" fmla="*/ 2147483647 w 2100"/>
                <a:gd name="T91" fmla="*/ 2147483647 h 834"/>
                <a:gd name="T92" fmla="*/ 2147483647 w 2100"/>
                <a:gd name="T93" fmla="*/ 2147483647 h 834"/>
                <a:gd name="T94" fmla="*/ 2147483647 w 2100"/>
                <a:gd name="T95" fmla="*/ 2147483647 h 834"/>
                <a:gd name="T96" fmla="*/ 2147483647 w 2100"/>
                <a:gd name="T97" fmla="*/ 2147483647 h 834"/>
                <a:gd name="T98" fmla="*/ 2147483647 w 2100"/>
                <a:gd name="T99" fmla="*/ 2147483647 h 834"/>
                <a:gd name="T100" fmla="*/ 2147483647 w 2100"/>
                <a:gd name="T101" fmla="*/ 2147483647 h 834"/>
                <a:gd name="T102" fmla="*/ 2147483647 w 2100"/>
                <a:gd name="T103" fmla="*/ 2147483647 h 834"/>
                <a:gd name="T104" fmla="*/ 2147483647 w 2100"/>
                <a:gd name="T105" fmla="*/ 2147483647 h 834"/>
                <a:gd name="T106" fmla="*/ 2147483647 w 2100"/>
                <a:gd name="T107" fmla="*/ 2147483647 h 834"/>
                <a:gd name="T108" fmla="*/ 2147483647 w 2100"/>
                <a:gd name="T109" fmla="*/ 2147483647 h 834"/>
                <a:gd name="T110" fmla="*/ 2147483647 w 2100"/>
                <a:gd name="T111" fmla="*/ 2147483647 h 834"/>
                <a:gd name="T112" fmla="*/ 2147483647 w 2100"/>
                <a:gd name="T113" fmla="*/ 2147483647 h 834"/>
                <a:gd name="T114" fmla="*/ 2147483647 w 2100"/>
                <a:gd name="T115" fmla="*/ 2147483647 h 834"/>
                <a:gd name="T116" fmla="*/ 2147483647 w 2100"/>
                <a:gd name="T117" fmla="*/ 2147483647 h 834"/>
                <a:gd name="T118" fmla="*/ 2147483647 w 2100"/>
                <a:gd name="T119" fmla="*/ 2147483647 h 834"/>
                <a:gd name="T120" fmla="*/ 2147483647 w 2100"/>
                <a:gd name="T121" fmla="*/ 2147483647 h 834"/>
                <a:gd name="T122" fmla="*/ 2147483647 w 2100"/>
                <a:gd name="T123" fmla="*/ 2147483647 h 83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100"/>
                <a:gd name="T187" fmla="*/ 0 h 834"/>
                <a:gd name="T188" fmla="*/ 2100 w 2100"/>
                <a:gd name="T189" fmla="*/ 834 h 83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100" h="834">
                  <a:moveTo>
                    <a:pt x="2088" y="408"/>
                  </a:moveTo>
                  <a:lnTo>
                    <a:pt x="2076" y="396"/>
                  </a:lnTo>
                  <a:lnTo>
                    <a:pt x="2070" y="384"/>
                  </a:lnTo>
                  <a:lnTo>
                    <a:pt x="2058" y="384"/>
                  </a:lnTo>
                  <a:lnTo>
                    <a:pt x="2034" y="372"/>
                  </a:lnTo>
                  <a:lnTo>
                    <a:pt x="2022" y="360"/>
                  </a:lnTo>
                  <a:lnTo>
                    <a:pt x="2010" y="354"/>
                  </a:lnTo>
                  <a:lnTo>
                    <a:pt x="2004" y="348"/>
                  </a:lnTo>
                  <a:lnTo>
                    <a:pt x="1986" y="348"/>
                  </a:lnTo>
                  <a:lnTo>
                    <a:pt x="1974" y="342"/>
                  </a:lnTo>
                  <a:lnTo>
                    <a:pt x="1968" y="336"/>
                  </a:lnTo>
                  <a:lnTo>
                    <a:pt x="1968" y="324"/>
                  </a:lnTo>
                  <a:lnTo>
                    <a:pt x="1902" y="324"/>
                  </a:lnTo>
                  <a:lnTo>
                    <a:pt x="1902" y="348"/>
                  </a:lnTo>
                  <a:lnTo>
                    <a:pt x="1896" y="354"/>
                  </a:lnTo>
                  <a:lnTo>
                    <a:pt x="1890" y="354"/>
                  </a:lnTo>
                  <a:lnTo>
                    <a:pt x="1878" y="348"/>
                  </a:lnTo>
                  <a:lnTo>
                    <a:pt x="1866" y="336"/>
                  </a:lnTo>
                  <a:lnTo>
                    <a:pt x="1812" y="336"/>
                  </a:lnTo>
                  <a:lnTo>
                    <a:pt x="1806" y="342"/>
                  </a:lnTo>
                  <a:lnTo>
                    <a:pt x="1812" y="342"/>
                  </a:lnTo>
                  <a:lnTo>
                    <a:pt x="1812" y="348"/>
                  </a:lnTo>
                  <a:lnTo>
                    <a:pt x="1794" y="348"/>
                  </a:lnTo>
                  <a:lnTo>
                    <a:pt x="1788" y="342"/>
                  </a:lnTo>
                  <a:lnTo>
                    <a:pt x="1776" y="336"/>
                  </a:lnTo>
                  <a:lnTo>
                    <a:pt x="1770" y="324"/>
                  </a:lnTo>
                  <a:lnTo>
                    <a:pt x="1770" y="306"/>
                  </a:lnTo>
                  <a:lnTo>
                    <a:pt x="1776" y="306"/>
                  </a:lnTo>
                  <a:lnTo>
                    <a:pt x="1770" y="294"/>
                  </a:lnTo>
                  <a:lnTo>
                    <a:pt x="1764" y="270"/>
                  </a:lnTo>
                  <a:lnTo>
                    <a:pt x="1758" y="258"/>
                  </a:lnTo>
                  <a:lnTo>
                    <a:pt x="1758" y="174"/>
                  </a:lnTo>
                  <a:lnTo>
                    <a:pt x="1740" y="174"/>
                  </a:lnTo>
                  <a:lnTo>
                    <a:pt x="1716" y="168"/>
                  </a:lnTo>
                  <a:lnTo>
                    <a:pt x="1710" y="174"/>
                  </a:lnTo>
                  <a:lnTo>
                    <a:pt x="1698" y="180"/>
                  </a:lnTo>
                  <a:lnTo>
                    <a:pt x="1674" y="180"/>
                  </a:lnTo>
                  <a:lnTo>
                    <a:pt x="1662" y="174"/>
                  </a:lnTo>
                  <a:lnTo>
                    <a:pt x="1644" y="156"/>
                  </a:lnTo>
                  <a:lnTo>
                    <a:pt x="1608" y="156"/>
                  </a:lnTo>
                  <a:lnTo>
                    <a:pt x="1596" y="150"/>
                  </a:lnTo>
                  <a:lnTo>
                    <a:pt x="1578" y="150"/>
                  </a:lnTo>
                  <a:lnTo>
                    <a:pt x="1548" y="180"/>
                  </a:lnTo>
                  <a:lnTo>
                    <a:pt x="1548" y="192"/>
                  </a:lnTo>
                  <a:lnTo>
                    <a:pt x="1536" y="204"/>
                  </a:lnTo>
                  <a:lnTo>
                    <a:pt x="1500" y="204"/>
                  </a:lnTo>
                  <a:lnTo>
                    <a:pt x="1488" y="216"/>
                  </a:lnTo>
                  <a:lnTo>
                    <a:pt x="1440" y="216"/>
                  </a:lnTo>
                  <a:lnTo>
                    <a:pt x="1440" y="222"/>
                  </a:lnTo>
                  <a:lnTo>
                    <a:pt x="1422" y="240"/>
                  </a:lnTo>
                  <a:lnTo>
                    <a:pt x="1416" y="240"/>
                  </a:lnTo>
                  <a:lnTo>
                    <a:pt x="1416" y="234"/>
                  </a:lnTo>
                  <a:lnTo>
                    <a:pt x="1410" y="228"/>
                  </a:lnTo>
                  <a:lnTo>
                    <a:pt x="1392" y="228"/>
                  </a:lnTo>
                  <a:lnTo>
                    <a:pt x="1380" y="234"/>
                  </a:lnTo>
                  <a:lnTo>
                    <a:pt x="1356" y="234"/>
                  </a:lnTo>
                  <a:lnTo>
                    <a:pt x="1344" y="228"/>
                  </a:lnTo>
                  <a:lnTo>
                    <a:pt x="1338" y="228"/>
                  </a:lnTo>
                  <a:lnTo>
                    <a:pt x="1332" y="222"/>
                  </a:lnTo>
                  <a:lnTo>
                    <a:pt x="1266" y="222"/>
                  </a:lnTo>
                  <a:lnTo>
                    <a:pt x="1260" y="216"/>
                  </a:lnTo>
                  <a:lnTo>
                    <a:pt x="1260" y="204"/>
                  </a:lnTo>
                  <a:lnTo>
                    <a:pt x="1248" y="198"/>
                  </a:lnTo>
                  <a:lnTo>
                    <a:pt x="1230" y="198"/>
                  </a:lnTo>
                  <a:lnTo>
                    <a:pt x="1230" y="192"/>
                  </a:lnTo>
                  <a:lnTo>
                    <a:pt x="1218" y="180"/>
                  </a:lnTo>
                  <a:lnTo>
                    <a:pt x="1218" y="174"/>
                  </a:lnTo>
                  <a:lnTo>
                    <a:pt x="1212" y="168"/>
                  </a:lnTo>
                  <a:lnTo>
                    <a:pt x="1152" y="168"/>
                  </a:lnTo>
                  <a:lnTo>
                    <a:pt x="1128" y="144"/>
                  </a:lnTo>
                  <a:lnTo>
                    <a:pt x="1092" y="144"/>
                  </a:lnTo>
                  <a:lnTo>
                    <a:pt x="1086" y="138"/>
                  </a:lnTo>
                  <a:lnTo>
                    <a:pt x="1080" y="138"/>
                  </a:lnTo>
                  <a:lnTo>
                    <a:pt x="1068" y="132"/>
                  </a:lnTo>
                  <a:lnTo>
                    <a:pt x="1020" y="132"/>
                  </a:lnTo>
                  <a:lnTo>
                    <a:pt x="966" y="150"/>
                  </a:lnTo>
                  <a:lnTo>
                    <a:pt x="954" y="156"/>
                  </a:lnTo>
                  <a:lnTo>
                    <a:pt x="942" y="156"/>
                  </a:lnTo>
                  <a:lnTo>
                    <a:pt x="930" y="150"/>
                  </a:lnTo>
                  <a:lnTo>
                    <a:pt x="918" y="150"/>
                  </a:lnTo>
                  <a:lnTo>
                    <a:pt x="912" y="144"/>
                  </a:lnTo>
                  <a:lnTo>
                    <a:pt x="882" y="144"/>
                  </a:lnTo>
                  <a:lnTo>
                    <a:pt x="864" y="126"/>
                  </a:lnTo>
                  <a:lnTo>
                    <a:pt x="864" y="120"/>
                  </a:lnTo>
                  <a:lnTo>
                    <a:pt x="840" y="126"/>
                  </a:lnTo>
                  <a:lnTo>
                    <a:pt x="840" y="120"/>
                  </a:lnTo>
                  <a:lnTo>
                    <a:pt x="834" y="114"/>
                  </a:lnTo>
                  <a:lnTo>
                    <a:pt x="822" y="90"/>
                  </a:lnTo>
                  <a:lnTo>
                    <a:pt x="810" y="78"/>
                  </a:lnTo>
                  <a:lnTo>
                    <a:pt x="804" y="66"/>
                  </a:lnTo>
                  <a:lnTo>
                    <a:pt x="798" y="60"/>
                  </a:lnTo>
                  <a:lnTo>
                    <a:pt x="786" y="54"/>
                  </a:lnTo>
                  <a:lnTo>
                    <a:pt x="768" y="54"/>
                  </a:lnTo>
                  <a:lnTo>
                    <a:pt x="756" y="60"/>
                  </a:lnTo>
                  <a:lnTo>
                    <a:pt x="750" y="60"/>
                  </a:lnTo>
                  <a:lnTo>
                    <a:pt x="726" y="48"/>
                  </a:lnTo>
                  <a:lnTo>
                    <a:pt x="720" y="42"/>
                  </a:lnTo>
                  <a:lnTo>
                    <a:pt x="708" y="36"/>
                  </a:lnTo>
                  <a:lnTo>
                    <a:pt x="672" y="36"/>
                  </a:lnTo>
                  <a:lnTo>
                    <a:pt x="648" y="30"/>
                  </a:lnTo>
                  <a:lnTo>
                    <a:pt x="636" y="30"/>
                  </a:lnTo>
                  <a:lnTo>
                    <a:pt x="576" y="0"/>
                  </a:lnTo>
                  <a:lnTo>
                    <a:pt x="576" y="18"/>
                  </a:lnTo>
                  <a:lnTo>
                    <a:pt x="570" y="30"/>
                  </a:lnTo>
                  <a:lnTo>
                    <a:pt x="558" y="36"/>
                  </a:lnTo>
                  <a:lnTo>
                    <a:pt x="552" y="36"/>
                  </a:lnTo>
                  <a:lnTo>
                    <a:pt x="558" y="48"/>
                  </a:lnTo>
                  <a:lnTo>
                    <a:pt x="540" y="48"/>
                  </a:lnTo>
                  <a:lnTo>
                    <a:pt x="540" y="60"/>
                  </a:lnTo>
                  <a:lnTo>
                    <a:pt x="552" y="72"/>
                  </a:lnTo>
                  <a:lnTo>
                    <a:pt x="558" y="90"/>
                  </a:lnTo>
                  <a:lnTo>
                    <a:pt x="582" y="126"/>
                  </a:lnTo>
                  <a:lnTo>
                    <a:pt x="588" y="126"/>
                  </a:lnTo>
                  <a:lnTo>
                    <a:pt x="594" y="132"/>
                  </a:lnTo>
                  <a:lnTo>
                    <a:pt x="600" y="144"/>
                  </a:lnTo>
                  <a:lnTo>
                    <a:pt x="600" y="168"/>
                  </a:lnTo>
                  <a:lnTo>
                    <a:pt x="582" y="168"/>
                  </a:lnTo>
                  <a:lnTo>
                    <a:pt x="582" y="174"/>
                  </a:lnTo>
                  <a:lnTo>
                    <a:pt x="576" y="180"/>
                  </a:lnTo>
                  <a:lnTo>
                    <a:pt x="552" y="192"/>
                  </a:lnTo>
                  <a:lnTo>
                    <a:pt x="546" y="186"/>
                  </a:lnTo>
                  <a:lnTo>
                    <a:pt x="546" y="174"/>
                  </a:lnTo>
                  <a:lnTo>
                    <a:pt x="498" y="180"/>
                  </a:lnTo>
                  <a:lnTo>
                    <a:pt x="498" y="168"/>
                  </a:lnTo>
                  <a:lnTo>
                    <a:pt x="456" y="168"/>
                  </a:lnTo>
                  <a:lnTo>
                    <a:pt x="450" y="174"/>
                  </a:lnTo>
                  <a:lnTo>
                    <a:pt x="450" y="180"/>
                  </a:lnTo>
                  <a:lnTo>
                    <a:pt x="444" y="168"/>
                  </a:lnTo>
                  <a:lnTo>
                    <a:pt x="420" y="174"/>
                  </a:lnTo>
                  <a:lnTo>
                    <a:pt x="414" y="162"/>
                  </a:lnTo>
                  <a:lnTo>
                    <a:pt x="384" y="162"/>
                  </a:lnTo>
                  <a:lnTo>
                    <a:pt x="366" y="156"/>
                  </a:lnTo>
                  <a:lnTo>
                    <a:pt x="360" y="150"/>
                  </a:lnTo>
                  <a:lnTo>
                    <a:pt x="360" y="138"/>
                  </a:lnTo>
                  <a:lnTo>
                    <a:pt x="354" y="132"/>
                  </a:lnTo>
                  <a:lnTo>
                    <a:pt x="354" y="126"/>
                  </a:lnTo>
                  <a:lnTo>
                    <a:pt x="312" y="126"/>
                  </a:lnTo>
                  <a:lnTo>
                    <a:pt x="294" y="132"/>
                  </a:lnTo>
                  <a:lnTo>
                    <a:pt x="270" y="132"/>
                  </a:lnTo>
                  <a:lnTo>
                    <a:pt x="264" y="114"/>
                  </a:lnTo>
                  <a:lnTo>
                    <a:pt x="228" y="114"/>
                  </a:lnTo>
                  <a:lnTo>
                    <a:pt x="228" y="108"/>
                  </a:lnTo>
                  <a:lnTo>
                    <a:pt x="210" y="114"/>
                  </a:lnTo>
                  <a:lnTo>
                    <a:pt x="204" y="108"/>
                  </a:lnTo>
                  <a:lnTo>
                    <a:pt x="186" y="108"/>
                  </a:lnTo>
                  <a:lnTo>
                    <a:pt x="180" y="114"/>
                  </a:lnTo>
                  <a:lnTo>
                    <a:pt x="180" y="120"/>
                  </a:lnTo>
                  <a:lnTo>
                    <a:pt x="174" y="126"/>
                  </a:lnTo>
                  <a:lnTo>
                    <a:pt x="174" y="132"/>
                  </a:lnTo>
                  <a:lnTo>
                    <a:pt x="150" y="132"/>
                  </a:lnTo>
                  <a:lnTo>
                    <a:pt x="138" y="150"/>
                  </a:lnTo>
                  <a:lnTo>
                    <a:pt x="120" y="150"/>
                  </a:lnTo>
                  <a:lnTo>
                    <a:pt x="84" y="186"/>
                  </a:lnTo>
                  <a:lnTo>
                    <a:pt x="84" y="192"/>
                  </a:lnTo>
                  <a:lnTo>
                    <a:pt x="90" y="198"/>
                  </a:lnTo>
                  <a:lnTo>
                    <a:pt x="66" y="198"/>
                  </a:lnTo>
                  <a:lnTo>
                    <a:pt x="72" y="210"/>
                  </a:lnTo>
                  <a:lnTo>
                    <a:pt x="12" y="210"/>
                  </a:lnTo>
                  <a:lnTo>
                    <a:pt x="12" y="228"/>
                  </a:lnTo>
                  <a:lnTo>
                    <a:pt x="0" y="240"/>
                  </a:lnTo>
                  <a:lnTo>
                    <a:pt x="6" y="246"/>
                  </a:lnTo>
                  <a:lnTo>
                    <a:pt x="6" y="258"/>
                  </a:lnTo>
                  <a:lnTo>
                    <a:pt x="0" y="264"/>
                  </a:lnTo>
                  <a:lnTo>
                    <a:pt x="24" y="264"/>
                  </a:lnTo>
                  <a:lnTo>
                    <a:pt x="24" y="282"/>
                  </a:lnTo>
                  <a:lnTo>
                    <a:pt x="36" y="288"/>
                  </a:lnTo>
                  <a:lnTo>
                    <a:pt x="48" y="288"/>
                  </a:lnTo>
                  <a:lnTo>
                    <a:pt x="60" y="294"/>
                  </a:lnTo>
                  <a:lnTo>
                    <a:pt x="72" y="294"/>
                  </a:lnTo>
                  <a:lnTo>
                    <a:pt x="78" y="306"/>
                  </a:lnTo>
                  <a:lnTo>
                    <a:pt x="102" y="330"/>
                  </a:lnTo>
                  <a:lnTo>
                    <a:pt x="138" y="318"/>
                  </a:lnTo>
                  <a:lnTo>
                    <a:pt x="156" y="330"/>
                  </a:lnTo>
                  <a:lnTo>
                    <a:pt x="162" y="336"/>
                  </a:lnTo>
                  <a:lnTo>
                    <a:pt x="174" y="336"/>
                  </a:lnTo>
                  <a:lnTo>
                    <a:pt x="186" y="342"/>
                  </a:lnTo>
                  <a:lnTo>
                    <a:pt x="204" y="348"/>
                  </a:lnTo>
                  <a:lnTo>
                    <a:pt x="222" y="366"/>
                  </a:lnTo>
                  <a:lnTo>
                    <a:pt x="228" y="378"/>
                  </a:lnTo>
                  <a:lnTo>
                    <a:pt x="240" y="396"/>
                  </a:lnTo>
                  <a:lnTo>
                    <a:pt x="264" y="414"/>
                  </a:lnTo>
                  <a:lnTo>
                    <a:pt x="276" y="426"/>
                  </a:lnTo>
                  <a:lnTo>
                    <a:pt x="282" y="438"/>
                  </a:lnTo>
                  <a:lnTo>
                    <a:pt x="282" y="450"/>
                  </a:lnTo>
                  <a:lnTo>
                    <a:pt x="288" y="456"/>
                  </a:lnTo>
                  <a:lnTo>
                    <a:pt x="294" y="468"/>
                  </a:lnTo>
                  <a:lnTo>
                    <a:pt x="300" y="474"/>
                  </a:lnTo>
                  <a:lnTo>
                    <a:pt x="300" y="480"/>
                  </a:lnTo>
                  <a:lnTo>
                    <a:pt x="288" y="492"/>
                  </a:lnTo>
                  <a:lnTo>
                    <a:pt x="288" y="504"/>
                  </a:lnTo>
                  <a:lnTo>
                    <a:pt x="294" y="522"/>
                  </a:lnTo>
                  <a:lnTo>
                    <a:pt x="300" y="534"/>
                  </a:lnTo>
                  <a:lnTo>
                    <a:pt x="306" y="540"/>
                  </a:lnTo>
                  <a:lnTo>
                    <a:pt x="318" y="546"/>
                  </a:lnTo>
                  <a:lnTo>
                    <a:pt x="330" y="546"/>
                  </a:lnTo>
                  <a:lnTo>
                    <a:pt x="342" y="552"/>
                  </a:lnTo>
                  <a:lnTo>
                    <a:pt x="348" y="552"/>
                  </a:lnTo>
                  <a:lnTo>
                    <a:pt x="366" y="558"/>
                  </a:lnTo>
                  <a:lnTo>
                    <a:pt x="390" y="564"/>
                  </a:lnTo>
                  <a:lnTo>
                    <a:pt x="486" y="564"/>
                  </a:lnTo>
                  <a:lnTo>
                    <a:pt x="492" y="570"/>
                  </a:lnTo>
                  <a:lnTo>
                    <a:pt x="498" y="570"/>
                  </a:lnTo>
                  <a:lnTo>
                    <a:pt x="510" y="576"/>
                  </a:lnTo>
                  <a:lnTo>
                    <a:pt x="516" y="576"/>
                  </a:lnTo>
                  <a:lnTo>
                    <a:pt x="528" y="582"/>
                  </a:lnTo>
                  <a:lnTo>
                    <a:pt x="534" y="594"/>
                  </a:lnTo>
                  <a:lnTo>
                    <a:pt x="540" y="594"/>
                  </a:lnTo>
                  <a:lnTo>
                    <a:pt x="546" y="600"/>
                  </a:lnTo>
                  <a:lnTo>
                    <a:pt x="552" y="600"/>
                  </a:lnTo>
                  <a:lnTo>
                    <a:pt x="576" y="612"/>
                  </a:lnTo>
                  <a:lnTo>
                    <a:pt x="588" y="612"/>
                  </a:lnTo>
                  <a:lnTo>
                    <a:pt x="594" y="618"/>
                  </a:lnTo>
                  <a:lnTo>
                    <a:pt x="630" y="618"/>
                  </a:lnTo>
                  <a:lnTo>
                    <a:pt x="642" y="642"/>
                  </a:lnTo>
                  <a:lnTo>
                    <a:pt x="684" y="684"/>
                  </a:lnTo>
                  <a:lnTo>
                    <a:pt x="690" y="696"/>
                  </a:lnTo>
                  <a:lnTo>
                    <a:pt x="720" y="726"/>
                  </a:lnTo>
                  <a:lnTo>
                    <a:pt x="732" y="732"/>
                  </a:lnTo>
                  <a:lnTo>
                    <a:pt x="738" y="744"/>
                  </a:lnTo>
                  <a:lnTo>
                    <a:pt x="750" y="750"/>
                  </a:lnTo>
                  <a:lnTo>
                    <a:pt x="810" y="744"/>
                  </a:lnTo>
                  <a:lnTo>
                    <a:pt x="864" y="750"/>
                  </a:lnTo>
                  <a:lnTo>
                    <a:pt x="912" y="750"/>
                  </a:lnTo>
                  <a:lnTo>
                    <a:pt x="948" y="756"/>
                  </a:lnTo>
                  <a:lnTo>
                    <a:pt x="954" y="750"/>
                  </a:lnTo>
                  <a:lnTo>
                    <a:pt x="966" y="744"/>
                  </a:lnTo>
                  <a:lnTo>
                    <a:pt x="972" y="738"/>
                  </a:lnTo>
                  <a:lnTo>
                    <a:pt x="984" y="738"/>
                  </a:lnTo>
                  <a:lnTo>
                    <a:pt x="996" y="744"/>
                  </a:lnTo>
                  <a:lnTo>
                    <a:pt x="1002" y="744"/>
                  </a:lnTo>
                  <a:lnTo>
                    <a:pt x="1008" y="750"/>
                  </a:lnTo>
                  <a:lnTo>
                    <a:pt x="1062" y="750"/>
                  </a:lnTo>
                  <a:lnTo>
                    <a:pt x="1080" y="756"/>
                  </a:lnTo>
                  <a:lnTo>
                    <a:pt x="1092" y="756"/>
                  </a:lnTo>
                  <a:lnTo>
                    <a:pt x="1110" y="774"/>
                  </a:lnTo>
                  <a:lnTo>
                    <a:pt x="1116" y="786"/>
                  </a:lnTo>
                  <a:lnTo>
                    <a:pt x="1128" y="792"/>
                  </a:lnTo>
                  <a:lnTo>
                    <a:pt x="1152" y="798"/>
                  </a:lnTo>
                  <a:lnTo>
                    <a:pt x="1200" y="798"/>
                  </a:lnTo>
                  <a:lnTo>
                    <a:pt x="1218" y="804"/>
                  </a:lnTo>
                  <a:lnTo>
                    <a:pt x="1242" y="816"/>
                  </a:lnTo>
                  <a:lnTo>
                    <a:pt x="1248" y="822"/>
                  </a:lnTo>
                  <a:lnTo>
                    <a:pt x="1260" y="822"/>
                  </a:lnTo>
                  <a:lnTo>
                    <a:pt x="1266" y="816"/>
                  </a:lnTo>
                  <a:lnTo>
                    <a:pt x="1278" y="816"/>
                  </a:lnTo>
                  <a:lnTo>
                    <a:pt x="1290" y="810"/>
                  </a:lnTo>
                  <a:lnTo>
                    <a:pt x="1302" y="810"/>
                  </a:lnTo>
                  <a:lnTo>
                    <a:pt x="1302" y="816"/>
                  </a:lnTo>
                  <a:lnTo>
                    <a:pt x="1308" y="828"/>
                  </a:lnTo>
                  <a:lnTo>
                    <a:pt x="1314" y="828"/>
                  </a:lnTo>
                  <a:lnTo>
                    <a:pt x="1320" y="834"/>
                  </a:lnTo>
                  <a:lnTo>
                    <a:pt x="1338" y="834"/>
                  </a:lnTo>
                  <a:lnTo>
                    <a:pt x="1344" y="828"/>
                  </a:lnTo>
                  <a:lnTo>
                    <a:pt x="1362" y="816"/>
                  </a:lnTo>
                  <a:lnTo>
                    <a:pt x="1422" y="780"/>
                  </a:lnTo>
                  <a:lnTo>
                    <a:pt x="1440" y="768"/>
                  </a:lnTo>
                  <a:lnTo>
                    <a:pt x="1596" y="768"/>
                  </a:lnTo>
                  <a:lnTo>
                    <a:pt x="1614" y="744"/>
                  </a:lnTo>
                  <a:lnTo>
                    <a:pt x="1638" y="744"/>
                  </a:lnTo>
                  <a:lnTo>
                    <a:pt x="1650" y="738"/>
                  </a:lnTo>
                  <a:lnTo>
                    <a:pt x="1662" y="714"/>
                  </a:lnTo>
                  <a:lnTo>
                    <a:pt x="1662" y="708"/>
                  </a:lnTo>
                  <a:lnTo>
                    <a:pt x="1668" y="696"/>
                  </a:lnTo>
                  <a:lnTo>
                    <a:pt x="1668" y="690"/>
                  </a:lnTo>
                  <a:lnTo>
                    <a:pt x="1692" y="690"/>
                  </a:lnTo>
                  <a:lnTo>
                    <a:pt x="1704" y="678"/>
                  </a:lnTo>
                  <a:lnTo>
                    <a:pt x="1710" y="666"/>
                  </a:lnTo>
                  <a:lnTo>
                    <a:pt x="1716" y="660"/>
                  </a:lnTo>
                  <a:lnTo>
                    <a:pt x="1716" y="654"/>
                  </a:lnTo>
                  <a:lnTo>
                    <a:pt x="1704" y="648"/>
                  </a:lnTo>
                  <a:lnTo>
                    <a:pt x="1686" y="630"/>
                  </a:lnTo>
                  <a:lnTo>
                    <a:pt x="1674" y="624"/>
                  </a:lnTo>
                  <a:lnTo>
                    <a:pt x="1656" y="606"/>
                  </a:lnTo>
                  <a:lnTo>
                    <a:pt x="1650" y="594"/>
                  </a:lnTo>
                  <a:lnTo>
                    <a:pt x="1650" y="582"/>
                  </a:lnTo>
                  <a:lnTo>
                    <a:pt x="1656" y="570"/>
                  </a:lnTo>
                  <a:lnTo>
                    <a:pt x="1656" y="558"/>
                  </a:lnTo>
                  <a:lnTo>
                    <a:pt x="1668" y="552"/>
                  </a:lnTo>
                  <a:lnTo>
                    <a:pt x="1692" y="552"/>
                  </a:lnTo>
                  <a:lnTo>
                    <a:pt x="1698" y="558"/>
                  </a:lnTo>
                  <a:lnTo>
                    <a:pt x="1704" y="558"/>
                  </a:lnTo>
                  <a:lnTo>
                    <a:pt x="1710" y="564"/>
                  </a:lnTo>
                  <a:lnTo>
                    <a:pt x="1722" y="570"/>
                  </a:lnTo>
                  <a:lnTo>
                    <a:pt x="1728" y="576"/>
                  </a:lnTo>
                  <a:lnTo>
                    <a:pt x="1740" y="582"/>
                  </a:lnTo>
                  <a:lnTo>
                    <a:pt x="1764" y="582"/>
                  </a:lnTo>
                  <a:lnTo>
                    <a:pt x="1776" y="576"/>
                  </a:lnTo>
                  <a:lnTo>
                    <a:pt x="1794" y="576"/>
                  </a:lnTo>
                  <a:lnTo>
                    <a:pt x="1806" y="570"/>
                  </a:lnTo>
                  <a:lnTo>
                    <a:pt x="1812" y="558"/>
                  </a:lnTo>
                  <a:lnTo>
                    <a:pt x="1818" y="552"/>
                  </a:lnTo>
                  <a:lnTo>
                    <a:pt x="1818" y="528"/>
                  </a:lnTo>
                  <a:lnTo>
                    <a:pt x="1890" y="528"/>
                  </a:lnTo>
                  <a:lnTo>
                    <a:pt x="1914" y="504"/>
                  </a:lnTo>
                  <a:lnTo>
                    <a:pt x="1902" y="492"/>
                  </a:lnTo>
                  <a:lnTo>
                    <a:pt x="1896" y="480"/>
                  </a:lnTo>
                  <a:lnTo>
                    <a:pt x="1902" y="474"/>
                  </a:lnTo>
                  <a:lnTo>
                    <a:pt x="1938" y="456"/>
                  </a:lnTo>
                  <a:lnTo>
                    <a:pt x="1950" y="456"/>
                  </a:lnTo>
                  <a:lnTo>
                    <a:pt x="1950" y="438"/>
                  </a:lnTo>
                  <a:lnTo>
                    <a:pt x="1980" y="444"/>
                  </a:lnTo>
                  <a:lnTo>
                    <a:pt x="1998" y="426"/>
                  </a:lnTo>
                  <a:lnTo>
                    <a:pt x="2004" y="426"/>
                  </a:lnTo>
                  <a:lnTo>
                    <a:pt x="2010" y="420"/>
                  </a:lnTo>
                  <a:lnTo>
                    <a:pt x="2040" y="420"/>
                  </a:lnTo>
                  <a:lnTo>
                    <a:pt x="2052" y="426"/>
                  </a:lnTo>
                  <a:lnTo>
                    <a:pt x="2058" y="432"/>
                  </a:lnTo>
                  <a:lnTo>
                    <a:pt x="2094" y="432"/>
                  </a:lnTo>
                  <a:lnTo>
                    <a:pt x="2100" y="426"/>
                  </a:lnTo>
                  <a:lnTo>
                    <a:pt x="2100" y="420"/>
                  </a:lnTo>
                  <a:lnTo>
                    <a:pt x="2088" y="408"/>
                  </a:lnTo>
                  <a:close/>
                </a:path>
              </a:pathLst>
            </a:custGeom>
            <a:solidFill>
              <a:srgbClr val="B1B1B0"/>
            </a:solidFill>
            <a:ln w="6350">
              <a:solidFill>
                <a:srgbClr val="B1B1B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Lato"/>
                <a:ea typeface="+mn-ea"/>
                <a:cs typeface="+mn-cs"/>
              </a:endParaRPr>
            </a:p>
          </p:txBody>
        </p:sp>
        <p:sp>
          <p:nvSpPr>
            <p:cNvPr id="477" name="Malaysia" descr="© INSCALE GmbH, 05.05.2010&#10;http://www.presentationload.com/">
              <a:extLst>
                <a:ext uri="{FF2B5EF4-FFF2-40B4-BE49-F238E27FC236}">
                  <a16:creationId xmlns:a16="http://schemas.microsoft.com/office/drawing/2014/main" id="{D4F5391C-42B9-7908-583E-484571F920E5}"/>
                </a:ext>
              </a:extLst>
            </p:cNvPr>
            <p:cNvSpPr>
              <a:spLocks/>
            </p:cNvSpPr>
            <p:nvPr/>
          </p:nvSpPr>
          <p:spPr bwMode="gray">
            <a:xfrm>
              <a:off x="9008503" y="4122162"/>
              <a:ext cx="151458" cy="217477"/>
            </a:xfrm>
            <a:custGeom>
              <a:avLst/>
              <a:gdLst>
                <a:gd name="T0" fmla="*/ 2147483647 w 306"/>
                <a:gd name="T1" fmla="*/ 2147483647 h 438"/>
                <a:gd name="T2" fmla="*/ 2147483647 w 306"/>
                <a:gd name="T3" fmla="*/ 2147483647 h 438"/>
                <a:gd name="T4" fmla="*/ 2147483647 w 306"/>
                <a:gd name="T5" fmla="*/ 2147483647 h 438"/>
                <a:gd name="T6" fmla="*/ 2147483647 w 306"/>
                <a:gd name="T7" fmla="*/ 2147483647 h 438"/>
                <a:gd name="T8" fmla="*/ 2147483647 w 306"/>
                <a:gd name="T9" fmla="*/ 2147483647 h 438"/>
                <a:gd name="T10" fmla="*/ 2147483647 w 306"/>
                <a:gd name="T11" fmla="*/ 2147483647 h 438"/>
                <a:gd name="T12" fmla="*/ 2147483647 w 306"/>
                <a:gd name="T13" fmla="*/ 2147483647 h 438"/>
                <a:gd name="T14" fmla="*/ 2147483647 w 306"/>
                <a:gd name="T15" fmla="*/ 2147483647 h 438"/>
                <a:gd name="T16" fmla="*/ 2147483647 w 306"/>
                <a:gd name="T17" fmla="*/ 2147483647 h 438"/>
                <a:gd name="T18" fmla="*/ 2147483647 w 306"/>
                <a:gd name="T19" fmla="*/ 2147483647 h 438"/>
                <a:gd name="T20" fmla="*/ 2147483647 w 306"/>
                <a:gd name="T21" fmla="*/ 2147483647 h 438"/>
                <a:gd name="T22" fmla="*/ 2147483647 w 306"/>
                <a:gd name="T23" fmla="*/ 2147483647 h 438"/>
                <a:gd name="T24" fmla="*/ 2147483647 w 306"/>
                <a:gd name="T25" fmla="*/ 2147483647 h 438"/>
                <a:gd name="T26" fmla="*/ 2147483647 w 306"/>
                <a:gd name="T27" fmla="*/ 2147483647 h 438"/>
                <a:gd name="T28" fmla="*/ 2147483647 w 306"/>
                <a:gd name="T29" fmla="*/ 2147483647 h 438"/>
                <a:gd name="T30" fmla="*/ 2147483647 w 306"/>
                <a:gd name="T31" fmla="*/ 2147483647 h 438"/>
                <a:gd name="T32" fmla="*/ 2147483647 w 306"/>
                <a:gd name="T33" fmla="*/ 2147483647 h 438"/>
                <a:gd name="T34" fmla="*/ 2147483647 w 306"/>
                <a:gd name="T35" fmla="*/ 2147483647 h 438"/>
                <a:gd name="T36" fmla="*/ 2147483647 w 306"/>
                <a:gd name="T37" fmla="*/ 2147483647 h 438"/>
                <a:gd name="T38" fmla="*/ 2147483647 w 306"/>
                <a:gd name="T39" fmla="*/ 2147483647 h 438"/>
                <a:gd name="T40" fmla="*/ 2147483647 w 306"/>
                <a:gd name="T41" fmla="*/ 2147483647 h 438"/>
                <a:gd name="T42" fmla="*/ 2147483647 w 306"/>
                <a:gd name="T43" fmla="*/ 2147483647 h 438"/>
                <a:gd name="T44" fmla="*/ 2147483647 w 306"/>
                <a:gd name="T45" fmla="*/ 2147483647 h 438"/>
                <a:gd name="T46" fmla="*/ 2147483647 w 306"/>
                <a:gd name="T47" fmla="*/ 2147483647 h 438"/>
                <a:gd name="T48" fmla="*/ 2147483647 w 306"/>
                <a:gd name="T49" fmla="*/ 2147483647 h 438"/>
                <a:gd name="T50" fmla="*/ 2147483647 w 306"/>
                <a:gd name="T51" fmla="*/ 2147483647 h 438"/>
                <a:gd name="T52" fmla="*/ 2147483647 w 306"/>
                <a:gd name="T53" fmla="*/ 2147483647 h 438"/>
                <a:gd name="T54" fmla="*/ 2147483647 w 306"/>
                <a:gd name="T55" fmla="*/ 2147483647 h 438"/>
                <a:gd name="T56" fmla="*/ 2147483647 w 306"/>
                <a:gd name="T57" fmla="*/ 2147483647 h 438"/>
                <a:gd name="T58" fmla="*/ 2147483647 w 306"/>
                <a:gd name="T59" fmla="*/ 2147483647 h 438"/>
                <a:gd name="T60" fmla="*/ 2147483647 w 306"/>
                <a:gd name="T61" fmla="*/ 2147483647 h 438"/>
                <a:gd name="T62" fmla="*/ 2147483647 w 306"/>
                <a:gd name="T63" fmla="*/ 2147483647 h 438"/>
                <a:gd name="T64" fmla="*/ 2147483647 w 306"/>
                <a:gd name="T65" fmla="*/ 2147483647 h 438"/>
                <a:gd name="T66" fmla="*/ 2147483647 w 306"/>
                <a:gd name="T67" fmla="*/ 2147483647 h 438"/>
                <a:gd name="T68" fmla="*/ 2147483647 w 306"/>
                <a:gd name="T69" fmla="*/ 2147483647 h 438"/>
                <a:gd name="T70" fmla="*/ 2147483647 w 306"/>
                <a:gd name="T71" fmla="*/ 2147483647 h 438"/>
                <a:gd name="T72" fmla="*/ 2147483647 w 306"/>
                <a:gd name="T73" fmla="*/ 2147483647 h 438"/>
                <a:gd name="T74" fmla="*/ 2147483647 w 306"/>
                <a:gd name="T75" fmla="*/ 2147483647 h 438"/>
                <a:gd name="T76" fmla="*/ 2147483647 w 306"/>
                <a:gd name="T77" fmla="*/ 0 h 438"/>
                <a:gd name="T78" fmla="*/ 2147483647 w 306"/>
                <a:gd name="T79" fmla="*/ 2147483647 h 438"/>
                <a:gd name="T80" fmla="*/ 2147483647 w 306"/>
                <a:gd name="T81" fmla="*/ 2147483647 h 43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06"/>
                <a:gd name="T124" fmla="*/ 0 h 438"/>
                <a:gd name="T125" fmla="*/ 306 w 306"/>
                <a:gd name="T126" fmla="*/ 438 h 43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06" h="438">
                  <a:moveTo>
                    <a:pt x="0" y="42"/>
                  </a:moveTo>
                  <a:lnTo>
                    <a:pt x="6" y="138"/>
                  </a:lnTo>
                  <a:lnTo>
                    <a:pt x="18" y="138"/>
                  </a:lnTo>
                  <a:lnTo>
                    <a:pt x="24" y="132"/>
                  </a:lnTo>
                  <a:lnTo>
                    <a:pt x="42" y="132"/>
                  </a:lnTo>
                  <a:lnTo>
                    <a:pt x="54" y="138"/>
                  </a:lnTo>
                  <a:lnTo>
                    <a:pt x="54" y="168"/>
                  </a:lnTo>
                  <a:lnTo>
                    <a:pt x="48" y="180"/>
                  </a:lnTo>
                  <a:lnTo>
                    <a:pt x="48" y="198"/>
                  </a:lnTo>
                  <a:lnTo>
                    <a:pt x="54" y="216"/>
                  </a:lnTo>
                  <a:lnTo>
                    <a:pt x="60" y="228"/>
                  </a:lnTo>
                  <a:lnTo>
                    <a:pt x="66" y="234"/>
                  </a:lnTo>
                  <a:lnTo>
                    <a:pt x="84" y="234"/>
                  </a:lnTo>
                  <a:lnTo>
                    <a:pt x="90" y="228"/>
                  </a:lnTo>
                  <a:lnTo>
                    <a:pt x="90" y="240"/>
                  </a:lnTo>
                  <a:lnTo>
                    <a:pt x="84" y="252"/>
                  </a:lnTo>
                  <a:lnTo>
                    <a:pt x="84" y="282"/>
                  </a:lnTo>
                  <a:lnTo>
                    <a:pt x="96" y="306"/>
                  </a:lnTo>
                  <a:lnTo>
                    <a:pt x="102" y="312"/>
                  </a:lnTo>
                  <a:lnTo>
                    <a:pt x="114" y="318"/>
                  </a:lnTo>
                  <a:lnTo>
                    <a:pt x="132" y="330"/>
                  </a:lnTo>
                  <a:lnTo>
                    <a:pt x="144" y="336"/>
                  </a:lnTo>
                  <a:lnTo>
                    <a:pt x="162" y="354"/>
                  </a:lnTo>
                  <a:lnTo>
                    <a:pt x="168" y="354"/>
                  </a:lnTo>
                  <a:lnTo>
                    <a:pt x="168" y="366"/>
                  </a:lnTo>
                  <a:lnTo>
                    <a:pt x="174" y="372"/>
                  </a:lnTo>
                  <a:lnTo>
                    <a:pt x="174" y="378"/>
                  </a:lnTo>
                  <a:lnTo>
                    <a:pt x="180" y="384"/>
                  </a:lnTo>
                  <a:lnTo>
                    <a:pt x="186" y="384"/>
                  </a:lnTo>
                  <a:lnTo>
                    <a:pt x="198" y="390"/>
                  </a:lnTo>
                  <a:lnTo>
                    <a:pt x="204" y="396"/>
                  </a:lnTo>
                  <a:lnTo>
                    <a:pt x="216" y="396"/>
                  </a:lnTo>
                  <a:lnTo>
                    <a:pt x="222" y="402"/>
                  </a:lnTo>
                  <a:lnTo>
                    <a:pt x="228" y="402"/>
                  </a:lnTo>
                  <a:lnTo>
                    <a:pt x="252" y="438"/>
                  </a:lnTo>
                  <a:lnTo>
                    <a:pt x="300" y="432"/>
                  </a:lnTo>
                  <a:lnTo>
                    <a:pt x="300" y="420"/>
                  </a:lnTo>
                  <a:lnTo>
                    <a:pt x="306" y="408"/>
                  </a:lnTo>
                  <a:lnTo>
                    <a:pt x="306" y="378"/>
                  </a:lnTo>
                  <a:lnTo>
                    <a:pt x="294" y="354"/>
                  </a:lnTo>
                  <a:lnTo>
                    <a:pt x="270" y="330"/>
                  </a:lnTo>
                  <a:lnTo>
                    <a:pt x="264" y="318"/>
                  </a:lnTo>
                  <a:lnTo>
                    <a:pt x="258" y="312"/>
                  </a:lnTo>
                  <a:lnTo>
                    <a:pt x="258" y="288"/>
                  </a:lnTo>
                  <a:lnTo>
                    <a:pt x="252" y="276"/>
                  </a:lnTo>
                  <a:lnTo>
                    <a:pt x="246" y="270"/>
                  </a:lnTo>
                  <a:lnTo>
                    <a:pt x="246" y="258"/>
                  </a:lnTo>
                  <a:lnTo>
                    <a:pt x="252" y="252"/>
                  </a:lnTo>
                  <a:lnTo>
                    <a:pt x="252" y="126"/>
                  </a:lnTo>
                  <a:lnTo>
                    <a:pt x="246" y="114"/>
                  </a:lnTo>
                  <a:lnTo>
                    <a:pt x="222" y="90"/>
                  </a:lnTo>
                  <a:lnTo>
                    <a:pt x="204" y="84"/>
                  </a:lnTo>
                  <a:lnTo>
                    <a:pt x="192" y="72"/>
                  </a:lnTo>
                  <a:lnTo>
                    <a:pt x="180" y="66"/>
                  </a:lnTo>
                  <a:lnTo>
                    <a:pt x="156" y="42"/>
                  </a:lnTo>
                  <a:lnTo>
                    <a:pt x="150" y="54"/>
                  </a:lnTo>
                  <a:lnTo>
                    <a:pt x="144" y="60"/>
                  </a:lnTo>
                  <a:lnTo>
                    <a:pt x="138" y="72"/>
                  </a:lnTo>
                  <a:lnTo>
                    <a:pt x="138" y="78"/>
                  </a:lnTo>
                  <a:lnTo>
                    <a:pt x="132" y="84"/>
                  </a:lnTo>
                  <a:lnTo>
                    <a:pt x="114" y="66"/>
                  </a:lnTo>
                  <a:lnTo>
                    <a:pt x="108" y="66"/>
                  </a:lnTo>
                  <a:lnTo>
                    <a:pt x="102" y="72"/>
                  </a:lnTo>
                  <a:lnTo>
                    <a:pt x="90" y="72"/>
                  </a:lnTo>
                  <a:lnTo>
                    <a:pt x="90" y="78"/>
                  </a:lnTo>
                  <a:lnTo>
                    <a:pt x="72" y="78"/>
                  </a:lnTo>
                  <a:lnTo>
                    <a:pt x="66" y="72"/>
                  </a:lnTo>
                  <a:lnTo>
                    <a:pt x="66" y="66"/>
                  </a:lnTo>
                  <a:lnTo>
                    <a:pt x="78" y="54"/>
                  </a:lnTo>
                  <a:lnTo>
                    <a:pt x="78" y="42"/>
                  </a:lnTo>
                  <a:lnTo>
                    <a:pt x="66" y="42"/>
                  </a:lnTo>
                  <a:lnTo>
                    <a:pt x="66" y="30"/>
                  </a:lnTo>
                  <a:lnTo>
                    <a:pt x="60" y="24"/>
                  </a:lnTo>
                  <a:lnTo>
                    <a:pt x="48" y="18"/>
                  </a:lnTo>
                  <a:lnTo>
                    <a:pt x="30" y="18"/>
                  </a:lnTo>
                  <a:lnTo>
                    <a:pt x="30" y="12"/>
                  </a:lnTo>
                  <a:lnTo>
                    <a:pt x="24" y="0"/>
                  </a:lnTo>
                  <a:lnTo>
                    <a:pt x="12" y="0"/>
                  </a:lnTo>
                  <a:lnTo>
                    <a:pt x="6" y="6"/>
                  </a:lnTo>
                  <a:lnTo>
                    <a:pt x="6" y="18"/>
                  </a:lnTo>
                  <a:lnTo>
                    <a:pt x="12" y="24"/>
                  </a:lnTo>
                  <a:lnTo>
                    <a:pt x="6" y="36"/>
                  </a:lnTo>
                  <a:lnTo>
                    <a:pt x="0" y="42"/>
                  </a:lnTo>
                  <a:close/>
                </a:path>
              </a:pathLst>
            </a:cu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Lato"/>
                <a:ea typeface="+mn-ea"/>
                <a:cs typeface="+mn-cs"/>
              </a:endParaRPr>
            </a:p>
          </p:txBody>
        </p:sp>
        <p:sp>
          <p:nvSpPr>
            <p:cNvPr id="478" name="Malaysia" descr="© INSCALE GmbH, 05.05.2010&#10;http://www.presentationload.com/">
              <a:extLst>
                <a:ext uri="{FF2B5EF4-FFF2-40B4-BE49-F238E27FC236}">
                  <a16:creationId xmlns:a16="http://schemas.microsoft.com/office/drawing/2014/main" id="{B2943DB4-B66C-9B8B-D201-8A670B0C0863}"/>
                </a:ext>
              </a:extLst>
            </p:cNvPr>
            <p:cNvSpPr>
              <a:spLocks/>
            </p:cNvSpPr>
            <p:nvPr/>
          </p:nvSpPr>
          <p:spPr bwMode="gray">
            <a:xfrm>
              <a:off x="9363844" y="4096920"/>
              <a:ext cx="341750" cy="262138"/>
            </a:xfrm>
            <a:custGeom>
              <a:avLst/>
              <a:gdLst>
                <a:gd name="T0" fmla="*/ 2147483647 w 690"/>
                <a:gd name="T1" fmla="*/ 2147483647 h 528"/>
                <a:gd name="T2" fmla="*/ 2147483647 w 690"/>
                <a:gd name="T3" fmla="*/ 2147483647 h 528"/>
                <a:gd name="T4" fmla="*/ 2147483647 w 690"/>
                <a:gd name="T5" fmla="*/ 2147483647 h 528"/>
                <a:gd name="T6" fmla="*/ 2147483647 w 690"/>
                <a:gd name="T7" fmla="*/ 2147483647 h 528"/>
                <a:gd name="T8" fmla="*/ 2147483647 w 690"/>
                <a:gd name="T9" fmla="*/ 2147483647 h 528"/>
                <a:gd name="T10" fmla="*/ 2147483647 w 690"/>
                <a:gd name="T11" fmla="*/ 2147483647 h 528"/>
                <a:gd name="T12" fmla="*/ 2147483647 w 690"/>
                <a:gd name="T13" fmla="*/ 2147483647 h 528"/>
                <a:gd name="T14" fmla="*/ 2147483647 w 690"/>
                <a:gd name="T15" fmla="*/ 2147483647 h 528"/>
                <a:gd name="T16" fmla="*/ 2147483647 w 690"/>
                <a:gd name="T17" fmla="*/ 2147483647 h 528"/>
                <a:gd name="T18" fmla="*/ 2147483647 w 690"/>
                <a:gd name="T19" fmla="*/ 2147483647 h 528"/>
                <a:gd name="T20" fmla="*/ 2147483647 w 690"/>
                <a:gd name="T21" fmla="*/ 2147483647 h 528"/>
                <a:gd name="T22" fmla="*/ 2147483647 w 690"/>
                <a:gd name="T23" fmla="*/ 2147483647 h 528"/>
                <a:gd name="T24" fmla="*/ 2147483647 w 690"/>
                <a:gd name="T25" fmla="*/ 2147483647 h 528"/>
                <a:gd name="T26" fmla="*/ 2147483647 w 690"/>
                <a:gd name="T27" fmla="*/ 2147483647 h 528"/>
                <a:gd name="T28" fmla="*/ 2147483647 w 690"/>
                <a:gd name="T29" fmla="*/ 2147483647 h 528"/>
                <a:gd name="T30" fmla="*/ 2147483647 w 690"/>
                <a:gd name="T31" fmla="*/ 2147483647 h 528"/>
                <a:gd name="T32" fmla="*/ 2147483647 w 690"/>
                <a:gd name="T33" fmla="*/ 2147483647 h 528"/>
                <a:gd name="T34" fmla="*/ 2147483647 w 690"/>
                <a:gd name="T35" fmla="*/ 2147483647 h 528"/>
                <a:gd name="T36" fmla="*/ 2147483647 w 690"/>
                <a:gd name="T37" fmla="*/ 2147483647 h 528"/>
                <a:gd name="T38" fmla="*/ 2147483647 w 690"/>
                <a:gd name="T39" fmla="*/ 2147483647 h 528"/>
                <a:gd name="T40" fmla="*/ 2147483647 w 690"/>
                <a:gd name="T41" fmla="*/ 2147483647 h 528"/>
                <a:gd name="T42" fmla="*/ 2147483647 w 690"/>
                <a:gd name="T43" fmla="*/ 2147483647 h 528"/>
                <a:gd name="T44" fmla="*/ 2147483647 w 690"/>
                <a:gd name="T45" fmla="*/ 2147483647 h 528"/>
                <a:gd name="T46" fmla="*/ 2147483647 w 690"/>
                <a:gd name="T47" fmla="*/ 2147483647 h 528"/>
                <a:gd name="T48" fmla="*/ 2147483647 w 690"/>
                <a:gd name="T49" fmla="*/ 2147483647 h 528"/>
                <a:gd name="T50" fmla="*/ 2147483647 w 690"/>
                <a:gd name="T51" fmla="*/ 2147483647 h 528"/>
                <a:gd name="T52" fmla="*/ 2147483647 w 690"/>
                <a:gd name="T53" fmla="*/ 2147483647 h 528"/>
                <a:gd name="T54" fmla="*/ 2147483647 w 690"/>
                <a:gd name="T55" fmla="*/ 2147483647 h 528"/>
                <a:gd name="T56" fmla="*/ 2147483647 w 690"/>
                <a:gd name="T57" fmla="*/ 2147483647 h 528"/>
                <a:gd name="T58" fmla="*/ 2147483647 w 690"/>
                <a:gd name="T59" fmla="*/ 2147483647 h 528"/>
                <a:gd name="T60" fmla="*/ 2147483647 w 690"/>
                <a:gd name="T61" fmla="*/ 2147483647 h 528"/>
                <a:gd name="T62" fmla="*/ 2147483647 w 690"/>
                <a:gd name="T63" fmla="*/ 2147483647 h 528"/>
                <a:gd name="T64" fmla="*/ 2147483647 w 690"/>
                <a:gd name="T65" fmla="*/ 2147483647 h 528"/>
                <a:gd name="T66" fmla="*/ 2147483647 w 690"/>
                <a:gd name="T67" fmla="*/ 2147483647 h 528"/>
                <a:gd name="T68" fmla="*/ 2147483647 w 690"/>
                <a:gd name="T69" fmla="*/ 2147483647 h 528"/>
                <a:gd name="T70" fmla="*/ 2147483647 w 690"/>
                <a:gd name="T71" fmla="*/ 0 h 528"/>
                <a:gd name="T72" fmla="*/ 2147483647 w 690"/>
                <a:gd name="T73" fmla="*/ 0 h 528"/>
                <a:gd name="T74" fmla="*/ 2147483647 w 690"/>
                <a:gd name="T75" fmla="*/ 2147483647 h 528"/>
                <a:gd name="T76" fmla="*/ 2147483647 w 690"/>
                <a:gd name="T77" fmla="*/ 2147483647 h 528"/>
                <a:gd name="T78" fmla="*/ 2147483647 w 690"/>
                <a:gd name="T79" fmla="*/ 2147483647 h 528"/>
                <a:gd name="T80" fmla="*/ 2147483647 w 690"/>
                <a:gd name="T81" fmla="*/ 2147483647 h 528"/>
                <a:gd name="T82" fmla="*/ 2147483647 w 690"/>
                <a:gd name="T83" fmla="*/ 2147483647 h 528"/>
                <a:gd name="T84" fmla="*/ 2147483647 w 690"/>
                <a:gd name="T85" fmla="*/ 2147483647 h 528"/>
                <a:gd name="T86" fmla="*/ 2147483647 w 690"/>
                <a:gd name="T87" fmla="*/ 2147483647 h 528"/>
                <a:gd name="T88" fmla="*/ 2147483647 w 690"/>
                <a:gd name="T89" fmla="*/ 2147483647 h 528"/>
                <a:gd name="T90" fmla="*/ 2147483647 w 690"/>
                <a:gd name="T91" fmla="*/ 2147483647 h 528"/>
                <a:gd name="T92" fmla="*/ 2147483647 w 690"/>
                <a:gd name="T93" fmla="*/ 2147483647 h 528"/>
                <a:gd name="T94" fmla="*/ 2147483647 w 690"/>
                <a:gd name="T95" fmla="*/ 2147483647 h 528"/>
                <a:gd name="T96" fmla="*/ 2147483647 w 690"/>
                <a:gd name="T97" fmla="*/ 2147483647 h 528"/>
                <a:gd name="T98" fmla="*/ 2147483647 w 690"/>
                <a:gd name="T99" fmla="*/ 2147483647 h 528"/>
                <a:gd name="T100" fmla="*/ 2147483647 w 690"/>
                <a:gd name="T101" fmla="*/ 2147483647 h 528"/>
                <a:gd name="T102" fmla="*/ 2147483647 w 690"/>
                <a:gd name="T103" fmla="*/ 2147483647 h 528"/>
                <a:gd name="T104" fmla="*/ 2147483647 w 690"/>
                <a:gd name="T105" fmla="*/ 2147483647 h 528"/>
                <a:gd name="T106" fmla="*/ 2147483647 w 690"/>
                <a:gd name="T107" fmla="*/ 2147483647 h 528"/>
                <a:gd name="T108" fmla="*/ 2147483647 w 690"/>
                <a:gd name="T109" fmla="*/ 2147483647 h 528"/>
                <a:gd name="T110" fmla="*/ 2147483647 w 690"/>
                <a:gd name="T111" fmla="*/ 2147483647 h 528"/>
                <a:gd name="T112" fmla="*/ 2147483647 w 690"/>
                <a:gd name="T113" fmla="*/ 2147483647 h 528"/>
                <a:gd name="T114" fmla="*/ 0 w 690"/>
                <a:gd name="T115" fmla="*/ 2147483647 h 5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90"/>
                <a:gd name="T175" fmla="*/ 0 h 528"/>
                <a:gd name="T176" fmla="*/ 690 w 690"/>
                <a:gd name="T177" fmla="*/ 528 h 52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90" h="528">
                  <a:moveTo>
                    <a:pt x="12" y="504"/>
                  </a:moveTo>
                  <a:lnTo>
                    <a:pt x="24" y="510"/>
                  </a:lnTo>
                  <a:lnTo>
                    <a:pt x="30" y="516"/>
                  </a:lnTo>
                  <a:lnTo>
                    <a:pt x="54" y="528"/>
                  </a:lnTo>
                  <a:lnTo>
                    <a:pt x="60" y="528"/>
                  </a:lnTo>
                  <a:lnTo>
                    <a:pt x="78" y="510"/>
                  </a:lnTo>
                  <a:lnTo>
                    <a:pt x="102" y="510"/>
                  </a:lnTo>
                  <a:lnTo>
                    <a:pt x="120" y="516"/>
                  </a:lnTo>
                  <a:lnTo>
                    <a:pt x="144" y="516"/>
                  </a:lnTo>
                  <a:lnTo>
                    <a:pt x="174" y="486"/>
                  </a:lnTo>
                  <a:lnTo>
                    <a:pt x="180" y="474"/>
                  </a:lnTo>
                  <a:lnTo>
                    <a:pt x="222" y="474"/>
                  </a:lnTo>
                  <a:lnTo>
                    <a:pt x="234" y="486"/>
                  </a:lnTo>
                  <a:lnTo>
                    <a:pt x="258" y="498"/>
                  </a:lnTo>
                  <a:lnTo>
                    <a:pt x="264" y="504"/>
                  </a:lnTo>
                  <a:lnTo>
                    <a:pt x="270" y="504"/>
                  </a:lnTo>
                  <a:lnTo>
                    <a:pt x="282" y="492"/>
                  </a:lnTo>
                  <a:lnTo>
                    <a:pt x="294" y="486"/>
                  </a:lnTo>
                  <a:lnTo>
                    <a:pt x="300" y="480"/>
                  </a:lnTo>
                  <a:lnTo>
                    <a:pt x="324" y="480"/>
                  </a:lnTo>
                  <a:lnTo>
                    <a:pt x="354" y="444"/>
                  </a:lnTo>
                  <a:lnTo>
                    <a:pt x="348" y="432"/>
                  </a:lnTo>
                  <a:lnTo>
                    <a:pt x="384" y="402"/>
                  </a:lnTo>
                  <a:lnTo>
                    <a:pt x="378" y="390"/>
                  </a:lnTo>
                  <a:lnTo>
                    <a:pt x="372" y="384"/>
                  </a:lnTo>
                  <a:lnTo>
                    <a:pt x="372" y="360"/>
                  </a:lnTo>
                  <a:lnTo>
                    <a:pt x="378" y="354"/>
                  </a:lnTo>
                  <a:lnTo>
                    <a:pt x="396" y="354"/>
                  </a:lnTo>
                  <a:lnTo>
                    <a:pt x="402" y="342"/>
                  </a:lnTo>
                  <a:lnTo>
                    <a:pt x="402" y="336"/>
                  </a:lnTo>
                  <a:lnTo>
                    <a:pt x="408" y="318"/>
                  </a:lnTo>
                  <a:lnTo>
                    <a:pt x="408" y="264"/>
                  </a:lnTo>
                  <a:lnTo>
                    <a:pt x="414" y="252"/>
                  </a:lnTo>
                  <a:lnTo>
                    <a:pt x="420" y="246"/>
                  </a:lnTo>
                  <a:lnTo>
                    <a:pt x="516" y="246"/>
                  </a:lnTo>
                  <a:lnTo>
                    <a:pt x="540" y="270"/>
                  </a:lnTo>
                  <a:lnTo>
                    <a:pt x="552" y="276"/>
                  </a:lnTo>
                  <a:lnTo>
                    <a:pt x="558" y="282"/>
                  </a:lnTo>
                  <a:lnTo>
                    <a:pt x="576" y="276"/>
                  </a:lnTo>
                  <a:lnTo>
                    <a:pt x="564" y="216"/>
                  </a:lnTo>
                  <a:lnTo>
                    <a:pt x="576" y="222"/>
                  </a:lnTo>
                  <a:lnTo>
                    <a:pt x="582" y="234"/>
                  </a:lnTo>
                  <a:lnTo>
                    <a:pt x="594" y="240"/>
                  </a:lnTo>
                  <a:lnTo>
                    <a:pt x="636" y="240"/>
                  </a:lnTo>
                  <a:lnTo>
                    <a:pt x="630" y="234"/>
                  </a:lnTo>
                  <a:lnTo>
                    <a:pt x="624" y="222"/>
                  </a:lnTo>
                  <a:lnTo>
                    <a:pt x="618" y="216"/>
                  </a:lnTo>
                  <a:lnTo>
                    <a:pt x="606" y="192"/>
                  </a:lnTo>
                  <a:lnTo>
                    <a:pt x="606" y="186"/>
                  </a:lnTo>
                  <a:lnTo>
                    <a:pt x="612" y="180"/>
                  </a:lnTo>
                  <a:lnTo>
                    <a:pt x="624" y="180"/>
                  </a:lnTo>
                  <a:lnTo>
                    <a:pt x="642" y="186"/>
                  </a:lnTo>
                  <a:lnTo>
                    <a:pt x="654" y="186"/>
                  </a:lnTo>
                  <a:lnTo>
                    <a:pt x="660" y="192"/>
                  </a:lnTo>
                  <a:lnTo>
                    <a:pt x="666" y="192"/>
                  </a:lnTo>
                  <a:lnTo>
                    <a:pt x="690" y="162"/>
                  </a:lnTo>
                  <a:lnTo>
                    <a:pt x="666" y="156"/>
                  </a:lnTo>
                  <a:lnTo>
                    <a:pt x="660" y="144"/>
                  </a:lnTo>
                  <a:lnTo>
                    <a:pt x="642" y="126"/>
                  </a:lnTo>
                  <a:lnTo>
                    <a:pt x="630" y="120"/>
                  </a:lnTo>
                  <a:lnTo>
                    <a:pt x="612" y="120"/>
                  </a:lnTo>
                  <a:lnTo>
                    <a:pt x="600" y="114"/>
                  </a:lnTo>
                  <a:lnTo>
                    <a:pt x="588" y="114"/>
                  </a:lnTo>
                  <a:lnTo>
                    <a:pt x="588" y="108"/>
                  </a:lnTo>
                  <a:lnTo>
                    <a:pt x="582" y="102"/>
                  </a:lnTo>
                  <a:lnTo>
                    <a:pt x="582" y="90"/>
                  </a:lnTo>
                  <a:lnTo>
                    <a:pt x="576" y="78"/>
                  </a:lnTo>
                  <a:lnTo>
                    <a:pt x="564" y="66"/>
                  </a:lnTo>
                  <a:lnTo>
                    <a:pt x="540" y="54"/>
                  </a:lnTo>
                  <a:lnTo>
                    <a:pt x="534" y="60"/>
                  </a:lnTo>
                  <a:lnTo>
                    <a:pt x="528" y="60"/>
                  </a:lnTo>
                  <a:lnTo>
                    <a:pt x="510" y="0"/>
                  </a:lnTo>
                  <a:lnTo>
                    <a:pt x="504" y="18"/>
                  </a:lnTo>
                  <a:lnTo>
                    <a:pt x="492" y="0"/>
                  </a:lnTo>
                  <a:lnTo>
                    <a:pt x="480" y="60"/>
                  </a:lnTo>
                  <a:lnTo>
                    <a:pt x="468" y="66"/>
                  </a:lnTo>
                  <a:lnTo>
                    <a:pt x="462" y="66"/>
                  </a:lnTo>
                  <a:lnTo>
                    <a:pt x="450" y="72"/>
                  </a:lnTo>
                  <a:lnTo>
                    <a:pt x="438" y="96"/>
                  </a:lnTo>
                  <a:lnTo>
                    <a:pt x="438" y="114"/>
                  </a:lnTo>
                  <a:lnTo>
                    <a:pt x="408" y="126"/>
                  </a:lnTo>
                  <a:lnTo>
                    <a:pt x="420" y="162"/>
                  </a:lnTo>
                  <a:lnTo>
                    <a:pt x="408" y="162"/>
                  </a:lnTo>
                  <a:lnTo>
                    <a:pt x="390" y="156"/>
                  </a:lnTo>
                  <a:lnTo>
                    <a:pt x="378" y="156"/>
                  </a:lnTo>
                  <a:lnTo>
                    <a:pt x="360" y="150"/>
                  </a:lnTo>
                  <a:lnTo>
                    <a:pt x="354" y="150"/>
                  </a:lnTo>
                  <a:lnTo>
                    <a:pt x="342" y="156"/>
                  </a:lnTo>
                  <a:lnTo>
                    <a:pt x="342" y="168"/>
                  </a:lnTo>
                  <a:lnTo>
                    <a:pt x="336" y="180"/>
                  </a:lnTo>
                  <a:lnTo>
                    <a:pt x="336" y="204"/>
                  </a:lnTo>
                  <a:lnTo>
                    <a:pt x="294" y="246"/>
                  </a:lnTo>
                  <a:lnTo>
                    <a:pt x="294" y="258"/>
                  </a:lnTo>
                  <a:lnTo>
                    <a:pt x="282" y="294"/>
                  </a:lnTo>
                  <a:lnTo>
                    <a:pt x="276" y="306"/>
                  </a:lnTo>
                  <a:lnTo>
                    <a:pt x="264" y="318"/>
                  </a:lnTo>
                  <a:lnTo>
                    <a:pt x="228" y="336"/>
                  </a:lnTo>
                  <a:lnTo>
                    <a:pt x="186" y="342"/>
                  </a:lnTo>
                  <a:lnTo>
                    <a:pt x="162" y="348"/>
                  </a:lnTo>
                  <a:lnTo>
                    <a:pt x="156" y="354"/>
                  </a:lnTo>
                  <a:lnTo>
                    <a:pt x="132" y="366"/>
                  </a:lnTo>
                  <a:lnTo>
                    <a:pt x="114" y="384"/>
                  </a:lnTo>
                  <a:lnTo>
                    <a:pt x="102" y="390"/>
                  </a:lnTo>
                  <a:lnTo>
                    <a:pt x="84" y="426"/>
                  </a:lnTo>
                  <a:lnTo>
                    <a:pt x="102" y="444"/>
                  </a:lnTo>
                  <a:lnTo>
                    <a:pt x="102" y="462"/>
                  </a:lnTo>
                  <a:lnTo>
                    <a:pt x="96" y="474"/>
                  </a:lnTo>
                  <a:lnTo>
                    <a:pt x="84" y="480"/>
                  </a:lnTo>
                  <a:lnTo>
                    <a:pt x="72" y="480"/>
                  </a:lnTo>
                  <a:lnTo>
                    <a:pt x="48" y="468"/>
                  </a:lnTo>
                  <a:lnTo>
                    <a:pt x="42" y="462"/>
                  </a:lnTo>
                  <a:lnTo>
                    <a:pt x="30" y="456"/>
                  </a:lnTo>
                  <a:lnTo>
                    <a:pt x="24" y="456"/>
                  </a:lnTo>
                  <a:lnTo>
                    <a:pt x="12" y="462"/>
                  </a:lnTo>
                  <a:lnTo>
                    <a:pt x="0" y="474"/>
                  </a:lnTo>
                  <a:lnTo>
                    <a:pt x="0" y="492"/>
                  </a:lnTo>
                  <a:lnTo>
                    <a:pt x="12" y="504"/>
                  </a:lnTo>
                  <a:close/>
                </a:path>
              </a:pathLst>
            </a:cu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Lato"/>
                <a:ea typeface="+mn-ea"/>
                <a:cs typeface="+mn-cs"/>
              </a:endParaRPr>
            </a:p>
          </p:txBody>
        </p:sp>
        <p:sp>
          <p:nvSpPr>
            <p:cNvPr id="479" name="Laos" descr="© INSCALE GmbH, 05.05.2010&#10;http://www.presentationload.com/">
              <a:extLst>
                <a:ext uri="{FF2B5EF4-FFF2-40B4-BE49-F238E27FC236}">
                  <a16:creationId xmlns:a16="http://schemas.microsoft.com/office/drawing/2014/main" id="{326E8D9B-3913-6C39-D3E8-6CC28772CBC9}"/>
                </a:ext>
              </a:extLst>
            </p:cNvPr>
            <p:cNvSpPr>
              <a:spLocks/>
            </p:cNvSpPr>
            <p:nvPr/>
          </p:nvSpPr>
          <p:spPr bwMode="gray">
            <a:xfrm>
              <a:off x="8958017" y="3491090"/>
              <a:ext cx="299031" cy="345634"/>
            </a:xfrm>
            <a:custGeom>
              <a:avLst/>
              <a:gdLst>
                <a:gd name="T0" fmla="*/ 2147483647 w 600"/>
                <a:gd name="T1" fmla="*/ 2147483647 h 696"/>
                <a:gd name="T2" fmla="*/ 2147483647 w 600"/>
                <a:gd name="T3" fmla="*/ 2147483647 h 696"/>
                <a:gd name="T4" fmla="*/ 2147483647 w 600"/>
                <a:gd name="T5" fmla="*/ 2147483647 h 696"/>
                <a:gd name="T6" fmla="*/ 2147483647 w 600"/>
                <a:gd name="T7" fmla="*/ 2147483647 h 696"/>
                <a:gd name="T8" fmla="*/ 2147483647 w 600"/>
                <a:gd name="T9" fmla="*/ 2147483647 h 696"/>
                <a:gd name="T10" fmla="*/ 2147483647 w 600"/>
                <a:gd name="T11" fmla="*/ 2147483647 h 696"/>
                <a:gd name="T12" fmla="*/ 2147483647 w 600"/>
                <a:gd name="T13" fmla="*/ 2147483647 h 696"/>
                <a:gd name="T14" fmla="*/ 2147483647 w 600"/>
                <a:gd name="T15" fmla="*/ 2147483647 h 696"/>
                <a:gd name="T16" fmla="*/ 2147483647 w 600"/>
                <a:gd name="T17" fmla="*/ 2147483647 h 696"/>
                <a:gd name="T18" fmla="*/ 2147483647 w 600"/>
                <a:gd name="T19" fmla="*/ 2147483647 h 696"/>
                <a:gd name="T20" fmla="*/ 2147483647 w 600"/>
                <a:gd name="T21" fmla="*/ 2147483647 h 696"/>
                <a:gd name="T22" fmla="*/ 2147483647 w 600"/>
                <a:gd name="T23" fmla="*/ 2147483647 h 696"/>
                <a:gd name="T24" fmla="*/ 2147483647 w 600"/>
                <a:gd name="T25" fmla="*/ 2147483647 h 696"/>
                <a:gd name="T26" fmla="*/ 2147483647 w 600"/>
                <a:gd name="T27" fmla="*/ 2147483647 h 696"/>
                <a:gd name="T28" fmla="*/ 2147483647 w 600"/>
                <a:gd name="T29" fmla="*/ 2147483647 h 696"/>
                <a:gd name="T30" fmla="*/ 2147483647 w 600"/>
                <a:gd name="T31" fmla="*/ 2147483647 h 696"/>
                <a:gd name="T32" fmla="*/ 2147483647 w 600"/>
                <a:gd name="T33" fmla="*/ 2147483647 h 696"/>
                <a:gd name="T34" fmla="*/ 2147483647 w 600"/>
                <a:gd name="T35" fmla="*/ 2147483647 h 696"/>
                <a:gd name="T36" fmla="*/ 2147483647 w 600"/>
                <a:gd name="T37" fmla="*/ 2147483647 h 696"/>
                <a:gd name="T38" fmla="*/ 2147483647 w 600"/>
                <a:gd name="T39" fmla="*/ 2147483647 h 696"/>
                <a:gd name="T40" fmla="*/ 2147483647 w 600"/>
                <a:gd name="T41" fmla="*/ 2147483647 h 696"/>
                <a:gd name="T42" fmla="*/ 2147483647 w 600"/>
                <a:gd name="T43" fmla="*/ 2147483647 h 696"/>
                <a:gd name="T44" fmla="*/ 2147483647 w 600"/>
                <a:gd name="T45" fmla="*/ 2147483647 h 696"/>
                <a:gd name="T46" fmla="*/ 2147483647 w 600"/>
                <a:gd name="T47" fmla="*/ 2147483647 h 696"/>
                <a:gd name="T48" fmla="*/ 2147483647 w 600"/>
                <a:gd name="T49" fmla="*/ 2147483647 h 696"/>
                <a:gd name="T50" fmla="*/ 2147483647 w 600"/>
                <a:gd name="T51" fmla="*/ 2147483647 h 696"/>
                <a:gd name="T52" fmla="*/ 2147483647 w 600"/>
                <a:gd name="T53" fmla="*/ 2147483647 h 696"/>
                <a:gd name="T54" fmla="*/ 2147483647 w 600"/>
                <a:gd name="T55" fmla="*/ 2147483647 h 696"/>
                <a:gd name="T56" fmla="*/ 2147483647 w 600"/>
                <a:gd name="T57" fmla="*/ 2147483647 h 696"/>
                <a:gd name="T58" fmla="*/ 2147483647 w 600"/>
                <a:gd name="T59" fmla="*/ 2147483647 h 696"/>
                <a:gd name="T60" fmla="*/ 2147483647 w 600"/>
                <a:gd name="T61" fmla="*/ 2147483647 h 696"/>
                <a:gd name="T62" fmla="*/ 2147483647 w 600"/>
                <a:gd name="T63" fmla="*/ 2147483647 h 696"/>
                <a:gd name="T64" fmla="*/ 2147483647 w 600"/>
                <a:gd name="T65" fmla="*/ 2147483647 h 696"/>
                <a:gd name="T66" fmla="*/ 2147483647 w 600"/>
                <a:gd name="T67" fmla="*/ 2147483647 h 696"/>
                <a:gd name="T68" fmla="*/ 2147483647 w 600"/>
                <a:gd name="T69" fmla="*/ 2147483647 h 696"/>
                <a:gd name="T70" fmla="*/ 2147483647 w 600"/>
                <a:gd name="T71" fmla="*/ 2147483647 h 696"/>
                <a:gd name="T72" fmla="*/ 2147483647 w 600"/>
                <a:gd name="T73" fmla="*/ 2147483647 h 696"/>
                <a:gd name="T74" fmla="*/ 2147483647 w 600"/>
                <a:gd name="T75" fmla="*/ 2147483647 h 696"/>
                <a:gd name="T76" fmla="*/ 2147483647 w 600"/>
                <a:gd name="T77" fmla="*/ 2147483647 h 696"/>
                <a:gd name="T78" fmla="*/ 2147483647 w 600"/>
                <a:gd name="T79" fmla="*/ 2147483647 h 696"/>
                <a:gd name="T80" fmla="*/ 2147483647 w 600"/>
                <a:gd name="T81" fmla="*/ 2147483647 h 696"/>
                <a:gd name="T82" fmla="*/ 2147483647 w 600"/>
                <a:gd name="T83" fmla="*/ 2147483647 h 696"/>
                <a:gd name="T84" fmla="*/ 2147483647 w 600"/>
                <a:gd name="T85" fmla="*/ 2147483647 h 696"/>
                <a:gd name="T86" fmla="*/ 2147483647 w 600"/>
                <a:gd name="T87" fmla="*/ 2147483647 h 696"/>
                <a:gd name="T88" fmla="*/ 2147483647 w 600"/>
                <a:gd name="T89" fmla="*/ 2147483647 h 696"/>
                <a:gd name="T90" fmla="*/ 2147483647 w 600"/>
                <a:gd name="T91" fmla="*/ 2147483647 h 696"/>
                <a:gd name="T92" fmla="*/ 2147483647 w 600"/>
                <a:gd name="T93" fmla="*/ 2147483647 h 696"/>
                <a:gd name="T94" fmla="*/ 2147483647 w 600"/>
                <a:gd name="T95" fmla="*/ 2147483647 h 696"/>
                <a:gd name="T96" fmla="*/ 2147483647 w 600"/>
                <a:gd name="T97" fmla="*/ 2147483647 h 696"/>
                <a:gd name="T98" fmla="*/ 2147483647 w 600"/>
                <a:gd name="T99" fmla="*/ 2147483647 h 696"/>
                <a:gd name="T100" fmla="*/ 2147483647 w 600"/>
                <a:gd name="T101" fmla="*/ 2147483647 h 696"/>
                <a:gd name="T102" fmla="*/ 2147483647 w 600"/>
                <a:gd name="T103" fmla="*/ 2147483647 h 696"/>
                <a:gd name="T104" fmla="*/ 2147483647 w 600"/>
                <a:gd name="T105" fmla="*/ 2147483647 h 696"/>
                <a:gd name="T106" fmla="*/ 2147483647 w 600"/>
                <a:gd name="T107" fmla="*/ 2147483647 h 696"/>
                <a:gd name="T108" fmla="*/ 2147483647 w 600"/>
                <a:gd name="T109" fmla="*/ 2147483647 h 696"/>
                <a:gd name="T110" fmla="*/ 2147483647 w 600"/>
                <a:gd name="T111" fmla="*/ 2147483647 h 696"/>
                <a:gd name="T112" fmla="*/ 2147483647 w 600"/>
                <a:gd name="T113" fmla="*/ 2147483647 h 696"/>
                <a:gd name="T114" fmla="*/ 2147483647 w 600"/>
                <a:gd name="T115" fmla="*/ 2147483647 h 696"/>
                <a:gd name="T116" fmla="*/ 2147483647 w 600"/>
                <a:gd name="T117" fmla="*/ 2147483647 h 696"/>
                <a:gd name="T118" fmla="*/ 0 w 600"/>
                <a:gd name="T119" fmla="*/ 2147483647 h 696"/>
                <a:gd name="T120" fmla="*/ 2147483647 w 600"/>
                <a:gd name="T121" fmla="*/ 2147483647 h 6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00"/>
                <a:gd name="T184" fmla="*/ 0 h 696"/>
                <a:gd name="T185" fmla="*/ 600 w 600"/>
                <a:gd name="T186" fmla="*/ 696 h 69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00" h="696">
                  <a:moveTo>
                    <a:pt x="24" y="180"/>
                  </a:moveTo>
                  <a:lnTo>
                    <a:pt x="36" y="180"/>
                  </a:lnTo>
                  <a:lnTo>
                    <a:pt x="42" y="186"/>
                  </a:lnTo>
                  <a:lnTo>
                    <a:pt x="42" y="198"/>
                  </a:lnTo>
                  <a:lnTo>
                    <a:pt x="36" y="204"/>
                  </a:lnTo>
                  <a:lnTo>
                    <a:pt x="36" y="228"/>
                  </a:lnTo>
                  <a:lnTo>
                    <a:pt x="42" y="240"/>
                  </a:lnTo>
                  <a:lnTo>
                    <a:pt x="48" y="246"/>
                  </a:lnTo>
                  <a:lnTo>
                    <a:pt x="66" y="246"/>
                  </a:lnTo>
                  <a:lnTo>
                    <a:pt x="66" y="234"/>
                  </a:lnTo>
                  <a:lnTo>
                    <a:pt x="78" y="234"/>
                  </a:lnTo>
                  <a:lnTo>
                    <a:pt x="84" y="228"/>
                  </a:lnTo>
                  <a:lnTo>
                    <a:pt x="90" y="228"/>
                  </a:lnTo>
                  <a:lnTo>
                    <a:pt x="102" y="234"/>
                  </a:lnTo>
                  <a:lnTo>
                    <a:pt x="102" y="264"/>
                  </a:lnTo>
                  <a:lnTo>
                    <a:pt x="96" y="270"/>
                  </a:lnTo>
                  <a:lnTo>
                    <a:pt x="102" y="276"/>
                  </a:lnTo>
                  <a:lnTo>
                    <a:pt x="108" y="288"/>
                  </a:lnTo>
                  <a:lnTo>
                    <a:pt x="108" y="300"/>
                  </a:lnTo>
                  <a:lnTo>
                    <a:pt x="102" y="312"/>
                  </a:lnTo>
                  <a:lnTo>
                    <a:pt x="90" y="324"/>
                  </a:lnTo>
                  <a:lnTo>
                    <a:pt x="102" y="324"/>
                  </a:lnTo>
                  <a:lnTo>
                    <a:pt x="108" y="330"/>
                  </a:lnTo>
                  <a:lnTo>
                    <a:pt x="108" y="342"/>
                  </a:lnTo>
                  <a:lnTo>
                    <a:pt x="84" y="390"/>
                  </a:lnTo>
                  <a:lnTo>
                    <a:pt x="84" y="402"/>
                  </a:lnTo>
                  <a:lnTo>
                    <a:pt x="102" y="402"/>
                  </a:lnTo>
                  <a:lnTo>
                    <a:pt x="126" y="390"/>
                  </a:lnTo>
                  <a:lnTo>
                    <a:pt x="132" y="384"/>
                  </a:lnTo>
                  <a:lnTo>
                    <a:pt x="132" y="378"/>
                  </a:lnTo>
                  <a:lnTo>
                    <a:pt x="144" y="366"/>
                  </a:lnTo>
                  <a:lnTo>
                    <a:pt x="150" y="354"/>
                  </a:lnTo>
                  <a:lnTo>
                    <a:pt x="156" y="348"/>
                  </a:lnTo>
                  <a:lnTo>
                    <a:pt x="168" y="348"/>
                  </a:lnTo>
                  <a:lnTo>
                    <a:pt x="174" y="354"/>
                  </a:lnTo>
                  <a:lnTo>
                    <a:pt x="198" y="366"/>
                  </a:lnTo>
                  <a:lnTo>
                    <a:pt x="216" y="366"/>
                  </a:lnTo>
                  <a:lnTo>
                    <a:pt x="234" y="348"/>
                  </a:lnTo>
                  <a:lnTo>
                    <a:pt x="234" y="336"/>
                  </a:lnTo>
                  <a:lnTo>
                    <a:pt x="240" y="330"/>
                  </a:lnTo>
                  <a:lnTo>
                    <a:pt x="258" y="330"/>
                  </a:lnTo>
                  <a:lnTo>
                    <a:pt x="264" y="336"/>
                  </a:lnTo>
                  <a:lnTo>
                    <a:pt x="276" y="342"/>
                  </a:lnTo>
                  <a:lnTo>
                    <a:pt x="300" y="342"/>
                  </a:lnTo>
                  <a:lnTo>
                    <a:pt x="306" y="348"/>
                  </a:lnTo>
                  <a:lnTo>
                    <a:pt x="306" y="360"/>
                  </a:lnTo>
                  <a:lnTo>
                    <a:pt x="318" y="372"/>
                  </a:lnTo>
                  <a:lnTo>
                    <a:pt x="336" y="384"/>
                  </a:lnTo>
                  <a:lnTo>
                    <a:pt x="348" y="390"/>
                  </a:lnTo>
                  <a:lnTo>
                    <a:pt x="366" y="408"/>
                  </a:lnTo>
                  <a:lnTo>
                    <a:pt x="372" y="450"/>
                  </a:lnTo>
                  <a:lnTo>
                    <a:pt x="372" y="462"/>
                  </a:lnTo>
                  <a:lnTo>
                    <a:pt x="384" y="486"/>
                  </a:lnTo>
                  <a:lnTo>
                    <a:pt x="420" y="522"/>
                  </a:lnTo>
                  <a:lnTo>
                    <a:pt x="420" y="528"/>
                  </a:lnTo>
                  <a:lnTo>
                    <a:pt x="426" y="534"/>
                  </a:lnTo>
                  <a:lnTo>
                    <a:pt x="426" y="546"/>
                  </a:lnTo>
                  <a:lnTo>
                    <a:pt x="432" y="540"/>
                  </a:lnTo>
                  <a:lnTo>
                    <a:pt x="432" y="546"/>
                  </a:lnTo>
                  <a:lnTo>
                    <a:pt x="444" y="558"/>
                  </a:lnTo>
                  <a:lnTo>
                    <a:pt x="432" y="582"/>
                  </a:lnTo>
                  <a:lnTo>
                    <a:pt x="426" y="588"/>
                  </a:lnTo>
                  <a:lnTo>
                    <a:pt x="426" y="594"/>
                  </a:lnTo>
                  <a:lnTo>
                    <a:pt x="438" y="606"/>
                  </a:lnTo>
                  <a:lnTo>
                    <a:pt x="450" y="612"/>
                  </a:lnTo>
                  <a:lnTo>
                    <a:pt x="456" y="618"/>
                  </a:lnTo>
                  <a:lnTo>
                    <a:pt x="456" y="630"/>
                  </a:lnTo>
                  <a:lnTo>
                    <a:pt x="450" y="636"/>
                  </a:lnTo>
                  <a:lnTo>
                    <a:pt x="444" y="648"/>
                  </a:lnTo>
                  <a:lnTo>
                    <a:pt x="432" y="654"/>
                  </a:lnTo>
                  <a:lnTo>
                    <a:pt x="426" y="660"/>
                  </a:lnTo>
                  <a:lnTo>
                    <a:pt x="426" y="672"/>
                  </a:lnTo>
                  <a:lnTo>
                    <a:pt x="450" y="672"/>
                  </a:lnTo>
                  <a:lnTo>
                    <a:pt x="456" y="678"/>
                  </a:lnTo>
                  <a:lnTo>
                    <a:pt x="462" y="678"/>
                  </a:lnTo>
                  <a:lnTo>
                    <a:pt x="462" y="684"/>
                  </a:lnTo>
                  <a:lnTo>
                    <a:pt x="474" y="696"/>
                  </a:lnTo>
                  <a:lnTo>
                    <a:pt x="486" y="696"/>
                  </a:lnTo>
                  <a:lnTo>
                    <a:pt x="492" y="690"/>
                  </a:lnTo>
                  <a:lnTo>
                    <a:pt x="492" y="678"/>
                  </a:lnTo>
                  <a:lnTo>
                    <a:pt x="480" y="666"/>
                  </a:lnTo>
                  <a:lnTo>
                    <a:pt x="498" y="654"/>
                  </a:lnTo>
                  <a:lnTo>
                    <a:pt x="510" y="642"/>
                  </a:lnTo>
                  <a:lnTo>
                    <a:pt x="546" y="654"/>
                  </a:lnTo>
                  <a:lnTo>
                    <a:pt x="558" y="642"/>
                  </a:lnTo>
                  <a:lnTo>
                    <a:pt x="582" y="648"/>
                  </a:lnTo>
                  <a:lnTo>
                    <a:pt x="588" y="648"/>
                  </a:lnTo>
                  <a:lnTo>
                    <a:pt x="600" y="636"/>
                  </a:lnTo>
                  <a:lnTo>
                    <a:pt x="600" y="630"/>
                  </a:lnTo>
                  <a:lnTo>
                    <a:pt x="588" y="618"/>
                  </a:lnTo>
                  <a:lnTo>
                    <a:pt x="582" y="618"/>
                  </a:lnTo>
                  <a:lnTo>
                    <a:pt x="600" y="582"/>
                  </a:lnTo>
                  <a:lnTo>
                    <a:pt x="594" y="582"/>
                  </a:lnTo>
                  <a:lnTo>
                    <a:pt x="588" y="576"/>
                  </a:lnTo>
                  <a:lnTo>
                    <a:pt x="564" y="564"/>
                  </a:lnTo>
                  <a:lnTo>
                    <a:pt x="540" y="540"/>
                  </a:lnTo>
                  <a:lnTo>
                    <a:pt x="546" y="540"/>
                  </a:lnTo>
                  <a:lnTo>
                    <a:pt x="552" y="534"/>
                  </a:lnTo>
                  <a:lnTo>
                    <a:pt x="558" y="534"/>
                  </a:lnTo>
                  <a:lnTo>
                    <a:pt x="564" y="528"/>
                  </a:lnTo>
                  <a:lnTo>
                    <a:pt x="564" y="516"/>
                  </a:lnTo>
                  <a:lnTo>
                    <a:pt x="558" y="510"/>
                  </a:lnTo>
                  <a:lnTo>
                    <a:pt x="546" y="504"/>
                  </a:lnTo>
                  <a:lnTo>
                    <a:pt x="540" y="498"/>
                  </a:lnTo>
                  <a:lnTo>
                    <a:pt x="528" y="498"/>
                  </a:lnTo>
                  <a:lnTo>
                    <a:pt x="516" y="486"/>
                  </a:lnTo>
                  <a:lnTo>
                    <a:pt x="504" y="462"/>
                  </a:lnTo>
                  <a:lnTo>
                    <a:pt x="498" y="456"/>
                  </a:lnTo>
                  <a:lnTo>
                    <a:pt x="498" y="450"/>
                  </a:lnTo>
                  <a:lnTo>
                    <a:pt x="480" y="450"/>
                  </a:lnTo>
                  <a:lnTo>
                    <a:pt x="474" y="432"/>
                  </a:lnTo>
                  <a:lnTo>
                    <a:pt x="456" y="414"/>
                  </a:lnTo>
                  <a:lnTo>
                    <a:pt x="438" y="402"/>
                  </a:lnTo>
                  <a:lnTo>
                    <a:pt x="426" y="378"/>
                  </a:lnTo>
                  <a:lnTo>
                    <a:pt x="426" y="354"/>
                  </a:lnTo>
                  <a:lnTo>
                    <a:pt x="420" y="354"/>
                  </a:lnTo>
                  <a:lnTo>
                    <a:pt x="414" y="348"/>
                  </a:lnTo>
                  <a:lnTo>
                    <a:pt x="402" y="342"/>
                  </a:lnTo>
                  <a:lnTo>
                    <a:pt x="390" y="342"/>
                  </a:lnTo>
                  <a:lnTo>
                    <a:pt x="384" y="336"/>
                  </a:lnTo>
                  <a:lnTo>
                    <a:pt x="384" y="306"/>
                  </a:lnTo>
                  <a:lnTo>
                    <a:pt x="372" y="306"/>
                  </a:lnTo>
                  <a:lnTo>
                    <a:pt x="366" y="300"/>
                  </a:lnTo>
                  <a:lnTo>
                    <a:pt x="354" y="294"/>
                  </a:lnTo>
                  <a:lnTo>
                    <a:pt x="342" y="282"/>
                  </a:lnTo>
                  <a:lnTo>
                    <a:pt x="306" y="264"/>
                  </a:lnTo>
                  <a:lnTo>
                    <a:pt x="300" y="258"/>
                  </a:lnTo>
                  <a:lnTo>
                    <a:pt x="288" y="252"/>
                  </a:lnTo>
                  <a:lnTo>
                    <a:pt x="288" y="234"/>
                  </a:lnTo>
                  <a:lnTo>
                    <a:pt x="282" y="228"/>
                  </a:lnTo>
                  <a:lnTo>
                    <a:pt x="306" y="228"/>
                  </a:lnTo>
                  <a:lnTo>
                    <a:pt x="312" y="234"/>
                  </a:lnTo>
                  <a:lnTo>
                    <a:pt x="330" y="234"/>
                  </a:lnTo>
                  <a:lnTo>
                    <a:pt x="336" y="228"/>
                  </a:lnTo>
                  <a:lnTo>
                    <a:pt x="342" y="216"/>
                  </a:lnTo>
                  <a:lnTo>
                    <a:pt x="354" y="210"/>
                  </a:lnTo>
                  <a:lnTo>
                    <a:pt x="360" y="198"/>
                  </a:lnTo>
                  <a:lnTo>
                    <a:pt x="360" y="186"/>
                  </a:lnTo>
                  <a:lnTo>
                    <a:pt x="348" y="180"/>
                  </a:lnTo>
                  <a:lnTo>
                    <a:pt x="330" y="174"/>
                  </a:lnTo>
                  <a:lnTo>
                    <a:pt x="306" y="162"/>
                  </a:lnTo>
                  <a:lnTo>
                    <a:pt x="306" y="156"/>
                  </a:lnTo>
                  <a:lnTo>
                    <a:pt x="312" y="150"/>
                  </a:lnTo>
                  <a:lnTo>
                    <a:pt x="318" y="150"/>
                  </a:lnTo>
                  <a:lnTo>
                    <a:pt x="294" y="126"/>
                  </a:lnTo>
                  <a:lnTo>
                    <a:pt x="282" y="120"/>
                  </a:lnTo>
                  <a:lnTo>
                    <a:pt x="270" y="120"/>
                  </a:lnTo>
                  <a:lnTo>
                    <a:pt x="264" y="132"/>
                  </a:lnTo>
                  <a:lnTo>
                    <a:pt x="264" y="138"/>
                  </a:lnTo>
                  <a:lnTo>
                    <a:pt x="258" y="150"/>
                  </a:lnTo>
                  <a:lnTo>
                    <a:pt x="252" y="156"/>
                  </a:lnTo>
                  <a:lnTo>
                    <a:pt x="240" y="144"/>
                  </a:lnTo>
                  <a:lnTo>
                    <a:pt x="240" y="138"/>
                  </a:lnTo>
                  <a:lnTo>
                    <a:pt x="222" y="138"/>
                  </a:lnTo>
                  <a:lnTo>
                    <a:pt x="216" y="126"/>
                  </a:lnTo>
                  <a:lnTo>
                    <a:pt x="198" y="108"/>
                  </a:lnTo>
                  <a:lnTo>
                    <a:pt x="186" y="84"/>
                  </a:lnTo>
                  <a:lnTo>
                    <a:pt x="186" y="54"/>
                  </a:lnTo>
                  <a:lnTo>
                    <a:pt x="180" y="54"/>
                  </a:lnTo>
                  <a:lnTo>
                    <a:pt x="174" y="60"/>
                  </a:lnTo>
                  <a:lnTo>
                    <a:pt x="168" y="48"/>
                  </a:lnTo>
                  <a:lnTo>
                    <a:pt x="156" y="42"/>
                  </a:lnTo>
                  <a:lnTo>
                    <a:pt x="150" y="30"/>
                  </a:lnTo>
                  <a:lnTo>
                    <a:pt x="144" y="24"/>
                  </a:lnTo>
                  <a:lnTo>
                    <a:pt x="138" y="12"/>
                  </a:lnTo>
                  <a:lnTo>
                    <a:pt x="132" y="6"/>
                  </a:lnTo>
                  <a:lnTo>
                    <a:pt x="96" y="0"/>
                  </a:lnTo>
                  <a:lnTo>
                    <a:pt x="90" y="6"/>
                  </a:lnTo>
                  <a:lnTo>
                    <a:pt x="90" y="48"/>
                  </a:lnTo>
                  <a:lnTo>
                    <a:pt x="114" y="72"/>
                  </a:lnTo>
                  <a:lnTo>
                    <a:pt x="114" y="108"/>
                  </a:lnTo>
                  <a:lnTo>
                    <a:pt x="72" y="108"/>
                  </a:lnTo>
                  <a:lnTo>
                    <a:pt x="72" y="84"/>
                  </a:lnTo>
                  <a:lnTo>
                    <a:pt x="36" y="102"/>
                  </a:lnTo>
                  <a:lnTo>
                    <a:pt x="36" y="114"/>
                  </a:lnTo>
                  <a:lnTo>
                    <a:pt x="30" y="126"/>
                  </a:lnTo>
                  <a:lnTo>
                    <a:pt x="36" y="132"/>
                  </a:lnTo>
                  <a:lnTo>
                    <a:pt x="30" y="138"/>
                  </a:lnTo>
                  <a:lnTo>
                    <a:pt x="18" y="138"/>
                  </a:lnTo>
                  <a:lnTo>
                    <a:pt x="0" y="156"/>
                  </a:lnTo>
                  <a:lnTo>
                    <a:pt x="0" y="168"/>
                  </a:lnTo>
                  <a:lnTo>
                    <a:pt x="6" y="168"/>
                  </a:lnTo>
                  <a:lnTo>
                    <a:pt x="12" y="174"/>
                  </a:lnTo>
                  <a:lnTo>
                    <a:pt x="24" y="180"/>
                  </a:lnTo>
                  <a:close/>
                </a:path>
              </a:pathLst>
            </a:custGeom>
            <a:solidFill>
              <a:srgbClr val="B1B1B0"/>
            </a:solidFill>
            <a:ln w="6350">
              <a:solidFill>
                <a:srgbClr val="B1B1B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Lato"/>
                <a:ea typeface="+mn-ea"/>
                <a:cs typeface="+mn-cs"/>
              </a:endParaRPr>
            </a:p>
          </p:txBody>
        </p:sp>
        <p:sp>
          <p:nvSpPr>
            <p:cNvPr id="480" name="Korea, South" descr="© INSCALE GmbH, 05.05.2010&#10;http://www.presentationload.com/">
              <a:extLst>
                <a:ext uri="{FF2B5EF4-FFF2-40B4-BE49-F238E27FC236}">
                  <a16:creationId xmlns:a16="http://schemas.microsoft.com/office/drawing/2014/main" id="{757D6761-03F3-FDB3-C233-6AC4AFBB2740}"/>
                </a:ext>
              </a:extLst>
            </p:cNvPr>
            <p:cNvSpPr>
              <a:spLocks noEditPoints="1"/>
            </p:cNvSpPr>
            <p:nvPr/>
          </p:nvSpPr>
          <p:spPr bwMode="gray">
            <a:xfrm>
              <a:off x="9670643" y="2850309"/>
              <a:ext cx="135923" cy="211652"/>
            </a:xfrm>
            <a:custGeom>
              <a:avLst/>
              <a:gdLst>
                <a:gd name="T0" fmla="*/ 2147483647 w 276"/>
                <a:gd name="T1" fmla="*/ 2147483647 h 426"/>
                <a:gd name="T2" fmla="*/ 2147483647 w 276"/>
                <a:gd name="T3" fmla="*/ 2147483647 h 426"/>
                <a:gd name="T4" fmla="*/ 2147483647 w 276"/>
                <a:gd name="T5" fmla="*/ 2147483647 h 426"/>
                <a:gd name="T6" fmla="*/ 2147483647 w 276"/>
                <a:gd name="T7" fmla="*/ 2147483647 h 426"/>
                <a:gd name="T8" fmla="*/ 2147483647 w 276"/>
                <a:gd name="T9" fmla="*/ 2147483647 h 426"/>
                <a:gd name="T10" fmla="*/ 2147483647 w 276"/>
                <a:gd name="T11" fmla="*/ 2147483647 h 426"/>
                <a:gd name="T12" fmla="*/ 2147483647 w 276"/>
                <a:gd name="T13" fmla="*/ 2147483647 h 426"/>
                <a:gd name="T14" fmla="*/ 2147483647 w 276"/>
                <a:gd name="T15" fmla="*/ 2147483647 h 426"/>
                <a:gd name="T16" fmla="*/ 2147483647 w 276"/>
                <a:gd name="T17" fmla="*/ 2147483647 h 426"/>
                <a:gd name="T18" fmla="*/ 2147483647 w 276"/>
                <a:gd name="T19" fmla="*/ 2147483647 h 426"/>
                <a:gd name="T20" fmla="*/ 2147483647 w 276"/>
                <a:gd name="T21" fmla="*/ 2147483647 h 426"/>
                <a:gd name="T22" fmla="*/ 2147483647 w 276"/>
                <a:gd name="T23" fmla="*/ 2147483647 h 426"/>
                <a:gd name="T24" fmla="*/ 2147483647 w 276"/>
                <a:gd name="T25" fmla="*/ 0 h 426"/>
                <a:gd name="T26" fmla="*/ 2147483647 w 276"/>
                <a:gd name="T27" fmla="*/ 2147483647 h 426"/>
                <a:gd name="T28" fmla="*/ 2147483647 w 276"/>
                <a:gd name="T29" fmla="*/ 2147483647 h 426"/>
                <a:gd name="T30" fmla="*/ 2147483647 w 276"/>
                <a:gd name="T31" fmla="*/ 2147483647 h 426"/>
                <a:gd name="T32" fmla="*/ 2147483647 w 276"/>
                <a:gd name="T33" fmla="*/ 2147483647 h 426"/>
                <a:gd name="T34" fmla="*/ 0 w 276"/>
                <a:gd name="T35" fmla="*/ 2147483647 h 426"/>
                <a:gd name="T36" fmla="*/ 2147483647 w 276"/>
                <a:gd name="T37" fmla="*/ 2147483647 h 426"/>
                <a:gd name="T38" fmla="*/ 2147483647 w 276"/>
                <a:gd name="T39" fmla="*/ 2147483647 h 426"/>
                <a:gd name="T40" fmla="*/ 2147483647 w 276"/>
                <a:gd name="T41" fmla="*/ 2147483647 h 426"/>
                <a:gd name="T42" fmla="*/ 2147483647 w 276"/>
                <a:gd name="T43" fmla="*/ 2147483647 h 426"/>
                <a:gd name="T44" fmla="*/ 2147483647 w 276"/>
                <a:gd name="T45" fmla="*/ 2147483647 h 426"/>
                <a:gd name="T46" fmla="*/ 2147483647 w 276"/>
                <a:gd name="T47" fmla="*/ 2147483647 h 426"/>
                <a:gd name="T48" fmla="*/ 2147483647 w 276"/>
                <a:gd name="T49" fmla="*/ 2147483647 h 426"/>
                <a:gd name="T50" fmla="*/ 2147483647 w 276"/>
                <a:gd name="T51" fmla="*/ 2147483647 h 426"/>
                <a:gd name="T52" fmla="*/ 2147483647 w 276"/>
                <a:gd name="T53" fmla="*/ 2147483647 h 426"/>
                <a:gd name="T54" fmla="*/ 2147483647 w 276"/>
                <a:gd name="T55" fmla="*/ 2147483647 h 426"/>
                <a:gd name="T56" fmla="*/ 2147483647 w 276"/>
                <a:gd name="T57" fmla="*/ 2147483647 h 426"/>
                <a:gd name="T58" fmla="*/ 2147483647 w 276"/>
                <a:gd name="T59" fmla="*/ 2147483647 h 426"/>
                <a:gd name="T60" fmla="*/ 2147483647 w 276"/>
                <a:gd name="T61" fmla="*/ 2147483647 h 426"/>
                <a:gd name="T62" fmla="*/ 2147483647 w 276"/>
                <a:gd name="T63" fmla="*/ 2147483647 h 426"/>
                <a:gd name="T64" fmla="*/ 2147483647 w 276"/>
                <a:gd name="T65" fmla="*/ 2147483647 h 426"/>
                <a:gd name="T66" fmla="*/ 2147483647 w 276"/>
                <a:gd name="T67" fmla="*/ 2147483647 h 426"/>
                <a:gd name="T68" fmla="*/ 2147483647 w 276"/>
                <a:gd name="T69" fmla="*/ 2147483647 h 426"/>
                <a:gd name="T70" fmla="*/ 2147483647 w 276"/>
                <a:gd name="T71" fmla="*/ 2147483647 h 426"/>
                <a:gd name="T72" fmla="*/ 2147483647 w 276"/>
                <a:gd name="T73" fmla="*/ 2147483647 h 426"/>
                <a:gd name="T74" fmla="*/ 2147483647 w 276"/>
                <a:gd name="T75" fmla="*/ 2147483647 h 4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76"/>
                <a:gd name="T115" fmla="*/ 0 h 426"/>
                <a:gd name="T116" fmla="*/ 276 w 276"/>
                <a:gd name="T117" fmla="*/ 426 h 42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76" h="426">
                  <a:moveTo>
                    <a:pt x="150" y="402"/>
                  </a:moveTo>
                  <a:lnTo>
                    <a:pt x="132" y="408"/>
                  </a:lnTo>
                  <a:lnTo>
                    <a:pt x="126" y="414"/>
                  </a:lnTo>
                  <a:lnTo>
                    <a:pt x="138" y="426"/>
                  </a:lnTo>
                  <a:lnTo>
                    <a:pt x="162" y="426"/>
                  </a:lnTo>
                  <a:lnTo>
                    <a:pt x="174" y="414"/>
                  </a:lnTo>
                  <a:lnTo>
                    <a:pt x="174" y="408"/>
                  </a:lnTo>
                  <a:lnTo>
                    <a:pt x="168" y="402"/>
                  </a:lnTo>
                  <a:lnTo>
                    <a:pt x="150" y="402"/>
                  </a:lnTo>
                  <a:close/>
                  <a:moveTo>
                    <a:pt x="276" y="246"/>
                  </a:moveTo>
                  <a:lnTo>
                    <a:pt x="270" y="228"/>
                  </a:lnTo>
                  <a:lnTo>
                    <a:pt x="264" y="216"/>
                  </a:lnTo>
                  <a:lnTo>
                    <a:pt x="246" y="198"/>
                  </a:lnTo>
                  <a:lnTo>
                    <a:pt x="252" y="186"/>
                  </a:lnTo>
                  <a:lnTo>
                    <a:pt x="252" y="180"/>
                  </a:lnTo>
                  <a:lnTo>
                    <a:pt x="246" y="162"/>
                  </a:lnTo>
                  <a:lnTo>
                    <a:pt x="240" y="150"/>
                  </a:lnTo>
                  <a:lnTo>
                    <a:pt x="210" y="120"/>
                  </a:lnTo>
                  <a:lnTo>
                    <a:pt x="198" y="102"/>
                  </a:lnTo>
                  <a:lnTo>
                    <a:pt x="168" y="72"/>
                  </a:lnTo>
                  <a:lnTo>
                    <a:pt x="144" y="66"/>
                  </a:lnTo>
                  <a:lnTo>
                    <a:pt x="144" y="60"/>
                  </a:lnTo>
                  <a:lnTo>
                    <a:pt x="138" y="54"/>
                  </a:lnTo>
                  <a:lnTo>
                    <a:pt x="132" y="42"/>
                  </a:lnTo>
                  <a:lnTo>
                    <a:pt x="102" y="12"/>
                  </a:lnTo>
                  <a:lnTo>
                    <a:pt x="96" y="0"/>
                  </a:lnTo>
                  <a:lnTo>
                    <a:pt x="78" y="12"/>
                  </a:lnTo>
                  <a:lnTo>
                    <a:pt x="48" y="12"/>
                  </a:lnTo>
                  <a:lnTo>
                    <a:pt x="24" y="24"/>
                  </a:lnTo>
                  <a:lnTo>
                    <a:pt x="18" y="30"/>
                  </a:lnTo>
                  <a:lnTo>
                    <a:pt x="12" y="30"/>
                  </a:lnTo>
                  <a:lnTo>
                    <a:pt x="12" y="36"/>
                  </a:lnTo>
                  <a:lnTo>
                    <a:pt x="18" y="42"/>
                  </a:lnTo>
                  <a:lnTo>
                    <a:pt x="18" y="48"/>
                  </a:lnTo>
                  <a:lnTo>
                    <a:pt x="12" y="54"/>
                  </a:lnTo>
                  <a:lnTo>
                    <a:pt x="0" y="60"/>
                  </a:lnTo>
                  <a:lnTo>
                    <a:pt x="0" y="66"/>
                  </a:lnTo>
                  <a:lnTo>
                    <a:pt x="6" y="72"/>
                  </a:lnTo>
                  <a:lnTo>
                    <a:pt x="12" y="84"/>
                  </a:lnTo>
                  <a:lnTo>
                    <a:pt x="24" y="90"/>
                  </a:lnTo>
                  <a:lnTo>
                    <a:pt x="30" y="90"/>
                  </a:lnTo>
                  <a:lnTo>
                    <a:pt x="42" y="96"/>
                  </a:lnTo>
                  <a:lnTo>
                    <a:pt x="60" y="132"/>
                  </a:lnTo>
                  <a:lnTo>
                    <a:pt x="54" y="132"/>
                  </a:lnTo>
                  <a:lnTo>
                    <a:pt x="48" y="126"/>
                  </a:lnTo>
                  <a:lnTo>
                    <a:pt x="36" y="126"/>
                  </a:lnTo>
                  <a:lnTo>
                    <a:pt x="24" y="120"/>
                  </a:lnTo>
                  <a:lnTo>
                    <a:pt x="6" y="120"/>
                  </a:lnTo>
                  <a:lnTo>
                    <a:pt x="6" y="126"/>
                  </a:lnTo>
                  <a:lnTo>
                    <a:pt x="18" y="132"/>
                  </a:lnTo>
                  <a:lnTo>
                    <a:pt x="30" y="144"/>
                  </a:lnTo>
                  <a:lnTo>
                    <a:pt x="42" y="150"/>
                  </a:lnTo>
                  <a:lnTo>
                    <a:pt x="54" y="192"/>
                  </a:lnTo>
                  <a:lnTo>
                    <a:pt x="90" y="198"/>
                  </a:lnTo>
                  <a:lnTo>
                    <a:pt x="90" y="228"/>
                  </a:lnTo>
                  <a:lnTo>
                    <a:pt x="78" y="240"/>
                  </a:lnTo>
                  <a:lnTo>
                    <a:pt x="78" y="270"/>
                  </a:lnTo>
                  <a:lnTo>
                    <a:pt x="84" y="282"/>
                  </a:lnTo>
                  <a:lnTo>
                    <a:pt x="102" y="300"/>
                  </a:lnTo>
                  <a:lnTo>
                    <a:pt x="108" y="300"/>
                  </a:lnTo>
                  <a:lnTo>
                    <a:pt x="108" y="306"/>
                  </a:lnTo>
                  <a:lnTo>
                    <a:pt x="102" y="312"/>
                  </a:lnTo>
                  <a:lnTo>
                    <a:pt x="102" y="324"/>
                  </a:lnTo>
                  <a:lnTo>
                    <a:pt x="108" y="330"/>
                  </a:lnTo>
                  <a:lnTo>
                    <a:pt x="132" y="330"/>
                  </a:lnTo>
                  <a:lnTo>
                    <a:pt x="144" y="324"/>
                  </a:lnTo>
                  <a:lnTo>
                    <a:pt x="144" y="318"/>
                  </a:lnTo>
                  <a:lnTo>
                    <a:pt x="150" y="312"/>
                  </a:lnTo>
                  <a:lnTo>
                    <a:pt x="150" y="306"/>
                  </a:lnTo>
                  <a:lnTo>
                    <a:pt x="198" y="282"/>
                  </a:lnTo>
                  <a:lnTo>
                    <a:pt x="222" y="288"/>
                  </a:lnTo>
                  <a:lnTo>
                    <a:pt x="234" y="270"/>
                  </a:lnTo>
                  <a:lnTo>
                    <a:pt x="258" y="270"/>
                  </a:lnTo>
                  <a:lnTo>
                    <a:pt x="270" y="264"/>
                  </a:lnTo>
                  <a:lnTo>
                    <a:pt x="276" y="264"/>
                  </a:lnTo>
                  <a:lnTo>
                    <a:pt x="276" y="246"/>
                  </a:lnTo>
                  <a:close/>
                </a:path>
              </a:pathLst>
            </a:cu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Lato"/>
                <a:ea typeface="+mn-ea"/>
                <a:cs typeface="+mn-cs"/>
              </a:endParaRPr>
            </a:p>
          </p:txBody>
        </p:sp>
        <p:sp>
          <p:nvSpPr>
            <p:cNvPr id="481" name="Korea, North" descr="© INSCALE GmbH, 05.05.2010&#10;http://www.presentationload.com/">
              <a:extLst>
                <a:ext uri="{FF2B5EF4-FFF2-40B4-BE49-F238E27FC236}">
                  <a16:creationId xmlns:a16="http://schemas.microsoft.com/office/drawing/2014/main" id="{F4460620-9C19-F305-1F45-D4363E01330D}"/>
                </a:ext>
              </a:extLst>
            </p:cNvPr>
            <p:cNvSpPr>
              <a:spLocks/>
            </p:cNvSpPr>
            <p:nvPr/>
          </p:nvSpPr>
          <p:spPr bwMode="gray">
            <a:xfrm>
              <a:off x="9558020" y="2675550"/>
              <a:ext cx="163108" cy="207769"/>
            </a:xfrm>
            <a:custGeom>
              <a:avLst/>
              <a:gdLst>
                <a:gd name="T0" fmla="*/ 2147483647 w 330"/>
                <a:gd name="T1" fmla="*/ 0 h 420"/>
                <a:gd name="T2" fmla="*/ 2147483647 w 330"/>
                <a:gd name="T3" fmla="*/ 2147483647 h 420"/>
                <a:gd name="T4" fmla="*/ 2147483647 w 330"/>
                <a:gd name="T5" fmla="*/ 2147483647 h 420"/>
                <a:gd name="T6" fmla="*/ 2147483647 w 330"/>
                <a:gd name="T7" fmla="*/ 2147483647 h 420"/>
                <a:gd name="T8" fmla="*/ 2147483647 w 330"/>
                <a:gd name="T9" fmla="*/ 2147483647 h 420"/>
                <a:gd name="T10" fmla="*/ 2147483647 w 330"/>
                <a:gd name="T11" fmla="*/ 2147483647 h 420"/>
                <a:gd name="T12" fmla="*/ 2147483647 w 330"/>
                <a:gd name="T13" fmla="*/ 2147483647 h 420"/>
                <a:gd name="T14" fmla="*/ 2147483647 w 330"/>
                <a:gd name="T15" fmla="*/ 2147483647 h 420"/>
                <a:gd name="T16" fmla="*/ 2147483647 w 330"/>
                <a:gd name="T17" fmla="*/ 2147483647 h 420"/>
                <a:gd name="T18" fmla="*/ 2147483647 w 330"/>
                <a:gd name="T19" fmla="*/ 2147483647 h 420"/>
                <a:gd name="T20" fmla="*/ 2147483647 w 330"/>
                <a:gd name="T21" fmla="*/ 2147483647 h 420"/>
                <a:gd name="T22" fmla="*/ 2147483647 w 330"/>
                <a:gd name="T23" fmla="*/ 2147483647 h 420"/>
                <a:gd name="T24" fmla="*/ 2147483647 w 330"/>
                <a:gd name="T25" fmla="*/ 2147483647 h 420"/>
                <a:gd name="T26" fmla="*/ 2147483647 w 330"/>
                <a:gd name="T27" fmla="*/ 2147483647 h 420"/>
                <a:gd name="T28" fmla="*/ 2147483647 w 330"/>
                <a:gd name="T29" fmla="*/ 2147483647 h 420"/>
                <a:gd name="T30" fmla="*/ 2147483647 w 330"/>
                <a:gd name="T31" fmla="*/ 2147483647 h 420"/>
                <a:gd name="T32" fmla="*/ 2147483647 w 330"/>
                <a:gd name="T33" fmla="*/ 2147483647 h 420"/>
                <a:gd name="T34" fmla="*/ 2147483647 w 330"/>
                <a:gd name="T35" fmla="*/ 2147483647 h 420"/>
                <a:gd name="T36" fmla="*/ 2147483647 w 330"/>
                <a:gd name="T37" fmla="*/ 2147483647 h 420"/>
                <a:gd name="T38" fmla="*/ 2147483647 w 330"/>
                <a:gd name="T39" fmla="*/ 2147483647 h 420"/>
                <a:gd name="T40" fmla="*/ 2147483647 w 330"/>
                <a:gd name="T41" fmla="*/ 2147483647 h 420"/>
                <a:gd name="T42" fmla="*/ 2147483647 w 330"/>
                <a:gd name="T43" fmla="*/ 2147483647 h 420"/>
                <a:gd name="T44" fmla="*/ 2147483647 w 330"/>
                <a:gd name="T45" fmla="*/ 2147483647 h 420"/>
                <a:gd name="T46" fmla="*/ 2147483647 w 330"/>
                <a:gd name="T47" fmla="*/ 2147483647 h 420"/>
                <a:gd name="T48" fmla="*/ 2147483647 w 330"/>
                <a:gd name="T49" fmla="*/ 2147483647 h 420"/>
                <a:gd name="T50" fmla="*/ 2147483647 w 330"/>
                <a:gd name="T51" fmla="*/ 2147483647 h 420"/>
                <a:gd name="T52" fmla="*/ 2147483647 w 330"/>
                <a:gd name="T53" fmla="*/ 2147483647 h 420"/>
                <a:gd name="T54" fmla="*/ 2147483647 w 330"/>
                <a:gd name="T55" fmla="*/ 2147483647 h 420"/>
                <a:gd name="T56" fmla="*/ 2147483647 w 330"/>
                <a:gd name="T57" fmla="*/ 2147483647 h 420"/>
                <a:gd name="T58" fmla="*/ 2147483647 w 330"/>
                <a:gd name="T59" fmla="*/ 2147483647 h 420"/>
                <a:gd name="T60" fmla="*/ 2147483647 w 330"/>
                <a:gd name="T61" fmla="*/ 2147483647 h 420"/>
                <a:gd name="T62" fmla="*/ 2147483647 w 330"/>
                <a:gd name="T63" fmla="*/ 2147483647 h 420"/>
                <a:gd name="T64" fmla="*/ 2147483647 w 330"/>
                <a:gd name="T65" fmla="*/ 2147483647 h 420"/>
                <a:gd name="T66" fmla="*/ 2147483647 w 330"/>
                <a:gd name="T67" fmla="*/ 2147483647 h 420"/>
                <a:gd name="T68" fmla="*/ 2147483647 w 330"/>
                <a:gd name="T69" fmla="*/ 2147483647 h 420"/>
                <a:gd name="T70" fmla="*/ 2147483647 w 330"/>
                <a:gd name="T71" fmla="*/ 2147483647 h 420"/>
                <a:gd name="T72" fmla="*/ 2147483647 w 330"/>
                <a:gd name="T73" fmla="*/ 2147483647 h 420"/>
                <a:gd name="T74" fmla="*/ 2147483647 w 330"/>
                <a:gd name="T75" fmla="*/ 2147483647 h 420"/>
                <a:gd name="T76" fmla="*/ 2147483647 w 330"/>
                <a:gd name="T77" fmla="*/ 2147483647 h 420"/>
                <a:gd name="T78" fmla="*/ 2147483647 w 330"/>
                <a:gd name="T79" fmla="*/ 2147483647 h 420"/>
                <a:gd name="T80" fmla="*/ 2147483647 w 330"/>
                <a:gd name="T81" fmla="*/ 2147483647 h 420"/>
                <a:gd name="T82" fmla="*/ 2147483647 w 330"/>
                <a:gd name="T83" fmla="*/ 2147483647 h 420"/>
                <a:gd name="T84" fmla="*/ 2147483647 w 330"/>
                <a:gd name="T85" fmla="*/ 2147483647 h 420"/>
                <a:gd name="T86" fmla="*/ 2147483647 w 330"/>
                <a:gd name="T87" fmla="*/ 2147483647 h 420"/>
                <a:gd name="T88" fmla="*/ 2147483647 w 330"/>
                <a:gd name="T89" fmla="*/ 2147483647 h 420"/>
                <a:gd name="T90" fmla="*/ 2147483647 w 330"/>
                <a:gd name="T91" fmla="*/ 2147483647 h 420"/>
                <a:gd name="T92" fmla="*/ 2147483647 w 330"/>
                <a:gd name="T93" fmla="*/ 2147483647 h 420"/>
                <a:gd name="T94" fmla="*/ 2147483647 w 330"/>
                <a:gd name="T95" fmla="*/ 2147483647 h 420"/>
                <a:gd name="T96" fmla="*/ 2147483647 w 330"/>
                <a:gd name="T97" fmla="*/ 2147483647 h 420"/>
                <a:gd name="T98" fmla="*/ 2147483647 w 330"/>
                <a:gd name="T99" fmla="*/ 2147483647 h 420"/>
                <a:gd name="T100" fmla="*/ 2147483647 w 330"/>
                <a:gd name="T101" fmla="*/ 2147483647 h 420"/>
                <a:gd name="T102" fmla="*/ 2147483647 w 330"/>
                <a:gd name="T103" fmla="*/ 0 h 42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30"/>
                <a:gd name="T157" fmla="*/ 0 h 420"/>
                <a:gd name="T158" fmla="*/ 330 w 330"/>
                <a:gd name="T159" fmla="*/ 420 h 42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30" h="420">
                  <a:moveTo>
                    <a:pt x="270" y="0"/>
                  </a:moveTo>
                  <a:lnTo>
                    <a:pt x="240" y="0"/>
                  </a:lnTo>
                  <a:lnTo>
                    <a:pt x="240" y="6"/>
                  </a:lnTo>
                  <a:lnTo>
                    <a:pt x="246" y="12"/>
                  </a:lnTo>
                  <a:lnTo>
                    <a:pt x="252" y="24"/>
                  </a:lnTo>
                  <a:lnTo>
                    <a:pt x="252" y="42"/>
                  </a:lnTo>
                  <a:lnTo>
                    <a:pt x="228" y="42"/>
                  </a:lnTo>
                  <a:lnTo>
                    <a:pt x="234" y="54"/>
                  </a:lnTo>
                  <a:lnTo>
                    <a:pt x="234" y="60"/>
                  </a:lnTo>
                  <a:lnTo>
                    <a:pt x="228" y="72"/>
                  </a:lnTo>
                  <a:lnTo>
                    <a:pt x="216" y="78"/>
                  </a:lnTo>
                  <a:lnTo>
                    <a:pt x="204" y="72"/>
                  </a:lnTo>
                  <a:lnTo>
                    <a:pt x="180" y="72"/>
                  </a:lnTo>
                  <a:lnTo>
                    <a:pt x="174" y="66"/>
                  </a:lnTo>
                  <a:lnTo>
                    <a:pt x="168" y="72"/>
                  </a:lnTo>
                  <a:lnTo>
                    <a:pt x="168" y="84"/>
                  </a:lnTo>
                  <a:lnTo>
                    <a:pt x="192" y="108"/>
                  </a:lnTo>
                  <a:lnTo>
                    <a:pt x="198" y="108"/>
                  </a:lnTo>
                  <a:lnTo>
                    <a:pt x="198" y="120"/>
                  </a:lnTo>
                  <a:lnTo>
                    <a:pt x="150" y="120"/>
                  </a:lnTo>
                  <a:lnTo>
                    <a:pt x="138" y="114"/>
                  </a:lnTo>
                  <a:lnTo>
                    <a:pt x="126" y="114"/>
                  </a:lnTo>
                  <a:lnTo>
                    <a:pt x="114" y="102"/>
                  </a:lnTo>
                  <a:lnTo>
                    <a:pt x="102" y="96"/>
                  </a:lnTo>
                  <a:lnTo>
                    <a:pt x="90" y="96"/>
                  </a:lnTo>
                  <a:lnTo>
                    <a:pt x="90" y="102"/>
                  </a:lnTo>
                  <a:lnTo>
                    <a:pt x="84" y="108"/>
                  </a:lnTo>
                  <a:lnTo>
                    <a:pt x="84" y="138"/>
                  </a:lnTo>
                  <a:lnTo>
                    <a:pt x="66" y="174"/>
                  </a:lnTo>
                  <a:lnTo>
                    <a:pt x="54" y="186"/>
                  </a:lnTo>
                  <a:lnTo>
                    <a:pt x="18" y="204"/>
                  </a:lnTo>
                  <a:lnTo>
                    <a:pt x="12" y="216"/>
                  </a:lnTo>
                  <a:lnTo>
                    <a:pt x="6" y="222"/>
                  </a:lnTo>
                  <a:lnTo>
                    <a:pt x="6" y="234"/>
                  </a:lnTo>
                  <a:lnTo>
                    <a:pt x="0" y="246"/>
                  </a:lnTo>
                  <a:lnTo>
                    <a:pt x="12" y="228"/>
                  </a:lnTo>
                  <a:lnTo>
                    <a:pt x="18" y="246"/>
                  </a:lnTo>
                  <a:lnTo>
                    <a:pt x="36" y="270"/>
                  </a:lnTo>
                  <a:lnTo>
                    <a:pt x="48" y="252"/>
                  </a:lnTo>
                  <a:lnTo>
                    <a:pt x="54" y="258"/>
                  </a:lnTo>
                  <a:lnTo>
                    <a:pt x="60" y="270"/>
                  </a:lnTo>
                  <a:lnTo>
                    <a:pt x="96" y="270"/>
                  </a:lnTo>
                  <a:lnTo>
                    <a:pt x="96" y="282"/>
                  </a:lnTo>
                  <a:lnTo>
                    <a:pt x="102" y="294"/>
                  </a:lnTo>
                  <a:lnTo>
                    <a:pt x="102" y="336"/>
                  </a:lnTo>
                  <a:lnTo>
                    <a:pt x="138" y="336"/>
                  </a:lnTo>
                  <a:lnTo>
                    <a:pt x="144" y="348"/>
                  </a:lnTo>
                  <a:lnTo>
                    <a:pt x="132" y="342"/>
                  </a:lnTo>
                  <a:lnTo>
                    <a:pt x="108" y="342"/>
                  </a:lnTo>
                  <a:lnTo>
                    <a:pt x="102" y="348"/>
                  </a:lnTo>
                  <a:lnTo>
                    <a:pt x="102" y="360"/>
                  </a:lnTo>
                  <a:lnTo>
                    <a:pt x="108" y="378"/>
                  </a:lnTo>
                  <a:lnTo>
                    <a:pt x="114" y="384"/>
                  </a:lnTo>
                  <a:lnTo>
                    <a:pt x="126" y="408"/>
                  </a:lnTo>
                  <a:lnTo>
                    <a:pt x="156" y="396"/>
                  </a:lnTo>
                  <a:lnTo>
                    <a:pt x="162" y="402"/>
                  </a:lnTo>
                  <a:lnTo>
                    <a:pt x="174" y="408"/>
                  </a:lnTo>
                  <a:lnTo>
                    <a:pt x="180" y="414"/>
                  </a:lnTo>
                  <a:lnTo>
                    <a:pt x="192" y="420"/>
                  </a:lnTo>
                  <a:lnTo>
                    <a:pt x="198" y="420"/>
                  </a:lnTo>
                  <a:lnTo>
                    <a:pt x="216" y="414"/>
                  </a:lnTo>
                  <a:lnTo>
                    <a:pt x="228" y="414"/>
                  </a:lnTo>
                  <a:lnTo>
                    <a:pt x="240" y="408"/>
                  </a:lnTo>
                  <a:lnTo>
                    <a:pt x="246" y="402"/>
                  </a:lnTo>
                  <a:lnTo>
                    <a:pt x="246" y="396"/>
                  </a:lnTo>
                  <a:lnTo>
                    <a:pt x="240" y="390"/>
                  </a:lnTo>
                  <a:lnTo>
                    <a:pt x="240" y="384"/>
                  </a:lnTo>
                  <a:lnTo>
                    <a:pt x="246" y="384"/>
                  </a:lnTo>
                  <a:lnTo>
                    <a:pt x="252" y="378"/>
                  </a:lnTo>
                  <a:lnTo>
                    <a:pt x="276" y="366"/>
                  </a:lnTo>
                  <a:lnTo>
                    <a:pt x="306" y="366"/>
                  </a:lnTo>
                  <a:lnTo>
                    <a:pt x="324" y="354"/>
                  </a:lnTo>
                  <a:lnTo>
                    <a:pt x="312" y="342"/>
                  </a:lnTo>
                  <a:lnTo>
                    <a:pt x="312" y="336"/>
                  </a:lnTo>
                  <a:lnTo>
                    <a:pt x="264" y="312"/>
                  </a:lnTo>
                  <a:lnTo>
                    <a:pt x="240" y="312"/>
                  </a:lnTo>
                  <a:lnTo>
                    <a:pt x="240" y="300"/>
                  </a:lnTo>
                  <a:lnTo>
                    <a:pt x="246" y="288"/>
                  </a:lnTo>
                  <a:lnTo>
                    <a:pt x="252" y="282"/>
                  </a:lnTo>
                  <a:lnTo>
                    <a:pt x="246" y="276"/>
                  </a:lnTo>
                  <a:lnTo>
                    <a:pt x="234" y="270"/>
                  </a:lnTo>
                  <a:lnTo>
                    <a:pt x="228" y="264"/>
                  </a:lnTo>
                  <a:lnTo>
                    <a:pt x="228" y="252"/>
                  </a:lnTo>
                  <a:lnTo>
                    <a:pt x="240" y="246"/>
                  </a:lnTo>
                  <a:lnTo>
                    <a:pt x="246" y="240"/>
                  </a:lnTo>
                  <a:lnTo>
                    <a:pt x="258" y="234"/>
                  </a:lnTo>
                  <a:lnTo>
                    <a:pt x="270" y="234"/>
                  </a:lnTo>
                  <a:lnTo>
                    <a:pt x="276" y="228"/>
                  </a:lnTo>
                  <a:lnTo>
                    <a:pt x="288" y="204"/>
                  </a:lnTo>
                  <a:lnTo>
                    <a:pt x="288" y="192"/>
                  </a:lnTo>
                  <a:lnTo>
                    <a:pt x="294" y="186"/>
                  </a:lnTo>
                  <a:lnTo>
                    <a:pt x="300" y="174"/>
                  </a:lnTo>
                  <a:lnTo>
                    <a:pt x="324" y="162"/>
                  </a:lnTo>
                  <a:lnTo>
                    <a:pt x="312" y="132"/>
                  </a:lnTo>
                  <a:lnTo>
                    <a:pt x="306" y="126"/>
                  </a:lnTo>
                  <a:lnTo>
                    <a:pt x="294" y="102"/>
                  </a:lnTo>
                  <a:lnTo>
                    <a:pt x="294" y="90"/>
                  </a:lnTo>
                  <a:lnTo>
                    <a:pt x="306" y="66"/>
                  </a:lnTo>
                  <a:lnTo>
                    <a:pt x="318" y="60"/>
                  </a:lnTo>
                  <a:lnTo>
                    <a:pt x="324" y="54"/>
                  </a:lnTo>
                  <a:lnTo>
                    <a:pt x="330" y="54"/>
                  </a:lnTo>
                  <a:lnTo>
                    <a:pt x="312" y="36"/>
                  </a:lnTo>
                  <a:lnTo>
                    <a:pt x="288" y="24"/>
                  </a:lnTo>
                  <a:lnTo>
                    <a:pt x="270" y="0"/>
                  </a:lnTo>
                  <a:close/>
                </a:path>
              </a:pathLst>
            </a:custGeom>
            <a:solidFill>
              <a:srgbClr val="B1B1B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Lato"/>
                <a:ea typeface="+mn-ea"/>
                <a:cs typeface="+mn-cs"/>
              </a:endParaRPr>
            </a:p>
          </p:txBody>
        </p:sp>
        <p:sp>
          <p:nvSpPr>
            <p:cNvPr id="482" name="Japan" descr="© INSCALE GmbH, 05.05.2010&#10;http://www.presentationload.com/">
              <a:extLst>
                <a:ext uri="{FF2B5EF4-FFF2-40B4-BE49-F238E27FC236}">
                  <a16:creationId xmlns:a16="http://schemas.microsoft.com/office/drawing/2014/main" id="{205B4FF1-C90A-2F04-845F-0F8E4015A0C0}"/>
                </a:ext>
              </a:extLst>
            </p:cNvPr>
            <p:cNvSpPr>
              <a:spLocks noEditPoints="1"/>
            </p:cNvSpPr>
            <p:nvPr/>
          </p:nvSpPr>
          <p:spPr bwMode="gray">
            <a:xfrm>
              <a:off x="9748313" y="2574580"/>
              <a:ext cx="434954" cy="848549"/>
            </a:xfrm>
            <a:custGeom>
              <a:avLst/>
              <a:gdLst>
                <a:gd name="T0" fmla="*/ 2147483647 w 876"/>
                <a:gd name="T1" fmla="*/ 2147483647 h 1710"/>
                <a:gd name="T2" fmla="*/ 2147483647 w 876"/>
                <a:gd name="T3" fmla="*/ 2147483647 h 1710"/>
                <a:gd name="T4" fmla="*/ 2147483647 w 876"/>
                <a:gd name="T5" fmla="*/ 2147483647 h 1710"/>
                <a:gd name="T6" fmla="*/ 2147483647 w 876"/>
                <a:gd name="T7" fmla="*/ 2147483647 h 1710"/>
                <a:gd name="T8" fmla="*/ 2147483647 w 876"/>
                <a:gd name="T9" fmla="*/ 2147483647 h 1710"/>
                <a:gd name="T10" fmla="*/ 2147483647 w 876"/>
                <a:gd name="T11" fmla="*/ 2147483647 h 1710"/>
                <a:gd name="T12" fmla="*/ 2147483647 w 876"/>
                <a:gd name="T13" fmla="*/ 2147483647 h 1710"/>
                <a:gd name="T14" fmla="*/ 2147483647 w 876"/>
                <a:gd name="T15" fmla="*/ 2147483647 h 1710"/>
                <a:gd name="T16" fmla="*/ 2147483647 w 876"/>
                <a:gd name="T17" fmla="*/ 2147483647 h 1710"/>
                <a:gd name="T18" fmla="*/ 2147483647 w 876"/>
                <a:gd name="T19" fmla="*/ 2147483647 h 1710"/>
                <a:gd name="T20" fmla="*/ 2147483647 w 876"/>
                <a:gd name="T21" fmla="*/ 2147483647 h 1710"/>
                <a:gd name="T22" fmla="*/ 2147483647 w 876"/>
                <a:gd name="T23" fmla="*/ 2147483647 h 1710"/>
                <a:gd name="T24" fmla="*/ 2147483647 w 876"/>
                <a:gd name="T25" fmla="*/ 2147483647 h 1710"/>
                <a:gd name="T26" fmla="*/ 2147483647 w 876"/>
                <a:gd name="T27" fmla="*/ 2147483647 h 1710"/>
                <a:gd name="T28" fmla="*/ 2147483647 w 876"/>
                <a:gd name="T29" fmla="*/ 2147483647 h 1710"/>
                <a:gd name="T30" fmla="*/ 2147483647 w 876"/>
                <a:gd name="T31" fmla="*/ 2147483647 h 1710"/>
                <a:gd name="T32" fmla="*/ 2147483647 w 876"/>
                <a:gd name="T33" fmla="*/ 2147483647 h 1710"/>
                <a:gd name="T34" fmla="*/ 2147483647 w 876"/>
                <a:gd name="T35" fmla="*/ 2147483647 h 1710"/>
                <a:gd name="T36" fmla="*/ 2147483647 w 876"/>
                <a:gd name="T37" fmla="*/ 2147483647 h 1710"/>
                <a:gd name="T38" fmla="*/ 2147483647 w 876"/>
                <a:gd name="T39" fmla="*/ 2147483647 h 1710"/>
                <a:gd name="T40" fmla="*/ 2147483647 w 876"/>
                <a:gd name="T41" fmla="*/ 2147483647 h 1710"/>
                <a:gd name="T42" fmla="*/ 2147483647 w 876"/>
                <a:gd name="T43" fmla="*/ 2147483647 h 1710"/>
                <a:gd name="T44" fmla="*/ 2147483647 w 876"/>
                <a:gd name="T45" fmla="*/ 2147483647 h 1710"/>
                <a:gd name="T46" fmla="*/ 2147483647 w 876"/>
                <a:gd name="T47" fmla="*/ 2147483647 h 1710"/>
                <a:gd name="T48" fmla="*/ 2147483647 w 876"/>
                <a:gd name="T49" fmla="*/ 2147483647 h 1710"/>
                <a:gd name="T50" fmla="*/ 2147483647 w 876"/>
                <a:gd name="T51" fmla="*/ 2147483647 h 1710"/>
                <a:gd name="T52" fmla="*/ 2147483647 w 876"/>
                <a:gd name="T53" fmla="*/ 2147483647 h 1710"/>
                <a:gd name="T54" fmla="*/ 2147483647 w 876"/>
                <a:gd name="T55" fmla="*/ 2147483647 h 1710"/>
                <a:gd name="T56" fmla="*/ 2147483647 w 876"/>
                <a:gd name="T57" fmla="*/ 2147483647 h 1710"/>
                <a:gd name="T58" fmla="*/ 2147483647 w 876"/>
                <a:gd name="T59" fmla="*/ 2147483647 h 1710"/>
                <a:gd name="T60" fmla="*/ 2147483647 w 876"/>
                <a:gd name="T61" fmla="*/ 2147483647 h 1710"/>
                <a:gd name="T62" fmla="*/ 2147483647 w 876"/>
                <a:gd name="T63" fmla="*/ 2147483647 h 1710"/>
                <a:gd name="T64" fmla="*/ 2147483647 w 876"/>
                <a:gd name="T65" fmla="*/ 2147483647 h 1710"/>
                <a:gd name="T66" fmla="*/ 2147483647 w 876"/>
                <a:gd name="T67" fmla="*/ 2147483647 h 1710"/>
                <a:gd name="T68" fmla="*/ 2147483647 w 876"/>
                <a:gd name="T69" fmla="*/ 2147483647 h 1710"/>
                <a:gd name="T70" fmla="*/ 2147483647 w 876"/>
                <a:gd name="T71" fmla="*/ 2147483647 h 1710"/>
                <a:gd name="T72" fmla="*/ 2147483647 w 876"/>
                <a:gd name="T73" fmla="*/ 2147483647 h 1710"/>
                <a:gd name="T74" fmla="*/ 2147483647 w 876"/>
                <a:gd name="T75" fmla="*/ 2147483647 h 1710"/>
                <a:gd name="T76" fmla="*/ 2147483647 w 876"/>
                <a:gd name="T77" fmla="*/ 2147483647 h 1710"/>
                <a:gd name="T78" fmla="*/ 2147483647 w 876"/>
                <a:gd name="T79" fmla="*/ 2147483647 h 1710"/>
                <a:gd name="T80" fmla="*/ 2147483647 w 876"/>
                <a:gd name="T81" fmla="*/ 2147483647 h 1710"/>
                <a:gd name="T82" fmla="*/ 2147483647 w 876"/>
                <a:gd name="T83" fmla="*/ 2147483647 h 1710"/>
                <a:gd name="T84" fmla="*/ 2147483647 w 876"/>
                <a:gd name="T85" fmla="*/ 2147483647 h 1710"/>
                <a:gd name="T86" fmla="*/ 2147483647 w 876"/>
                <a:gd name="T87" fmla="*/ 2147483647 h 1710"/>
                <a:gd name="T88" fmla="*/ 2147483647 w 876"/>
                <a:gd name="T89" fmla="*/ 2147483647 h 1710"/>
                <a:gd name="T90" fmla="*/ 2147483647 w 876"/>
                <a:gd name="T91" fmla="*/ 2147483647 h 1710"/>
                <a:gd name="T92" fmla="*/ 2147483647 w 876"/>
                <a:gd name="T93" fmla="*/ 2147483647 h 1710"/>
                <a:gd name="T94" fmla="*/ 2147483647 w 876"/>
                <a:gd name="T95" fmla="*/ 2147483647 h 1710"/>
                <a:gd name="T96" fmla="*/ 2147483647 w 876"/>
                <a:gd name="T97" fmla="*/ 2147483647 h 1710"/>
                <a:gd name="T98" fmla="*/ 2147483647 w 876"/>
                <a:gd name="T99" fmla="*/ 2147483647 h 1710"/>
                <a:gd name="T100" fmla="*/ 2147483647 w 876"/>
                <a:gd name="T101" fmla="*/ 2147483647 h 1710"/>
                <a:gd name="T102" fmla="*/ 2147483647 w 876"/>
                <a:gd name="T103" fmla="*/ 2147483647 h 1710"/>
                <a:gd name="T104" fmla="*/ 2147483647 w 876"/>
                <a:gd name="T105" fmla="*/ 2147483647 h 1710"/>
                <a:gd name="T106" fmla="*/ 2147483647 w 876"/>
                <a:gd name="T107" fmla="*/ 2147483647 h 1710"/>
                <a:gd name="T108" fmla="*/ 2147483647 w 876"/>
                <a:gd name="T109" fmla="*/ 2147483647 h 1710"/>
                <a:gd name="T110" fmla="*/ 2147483647 w 876"/>
                <a:gd name="T111" fmla="*/ 2147483647 h 1710"/>
                <a:gd name="T112" fmla="*/ 2147483647 w 876"/>
                <a:gd name="T113" fmla="*/ 2147483647 h 1710"/>
                <a:gd name="T114" fmla="*/ 2147483647 w 876"/>
                <a:gd name="T115" fmla="*/ 2147483647 h 1710"/>
                <a:gd name="T116" fmla="*/ 2147483647 w 876"/>
                <a:gd name="T117" fmla="*/ 2147483647 h 1710"/>
                <a:gd name="T118" fmla="*/ 2147483647 w 876"/>
                <a:gd name="T119" fmla="*/ 2147483647 h 171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6"/>
                <a:gd name="T181" fmla="*/ 0 h 1710"/>
                <a:gd name="T182" fmla="*/ 876 w 876"/>
                <a:gd name="T183" fmla="*/ 1710 h 171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6" h="1710">
                  <a:moveTo>
                    <a:pt x="876" y="780"/>
                  </a:moveTo>
                  <a:lnTo>
                    <a:pt x="864" y="774"/>
                  </a:lnTo>
                  <a:lnTo>
                    <a:pt x="858" y="768"/>
                  </a:lnTo>
                  <a:lnTo>
                    <a:pt x="846" y="762"/>
                  </a:lnTo>
                  <a:lnTo>
                    <a:pt x="840" y="750"/>
                  </a:lnTo>
                  <a:lnTo>
                    <a:pt x="828" y="744"/>
                  </a:lnTo>
                  <a:lnTo>
                    <a:pt x="828" y="720"/>
                  </a:lnTo>
                  <a:lnTo>
                    <a:pt x="834" y="702"/>
                  </a:lnTo>
                  <a:lnTo>
                    <a:pt x="834" y="684"/>
                  </a:lnTo>
                  <a:lnTo>
                    <a:pt x="828" y="666"/>
                  </a:lnTo>
                  <a:lnTo>
                    <a:pt x="816" y="642"/>
                  </a:lnTo>
                  <a:lnTo>
                    <a:pt x="792" y="618"/>
                  </a:lnTo>
                  <a:lnTo>
                    <a:pt x="786" y="600"/>
                  </a:lnTo>
                  <a:lnTo>
                    <a:pt x="786" y="576"/>
                  </a:lnTo>
                  <a:lnTo>
                    <a:pt x="792" y="570"/>
                  </a:lnTo>
                  <a:lnTo>
                    <a:pt x="810" y="570"/>
                  </a:lnTo>
                  <a:lnTo>
                    <a:pt x="810" y="528"/>
                  </a:lnTo>
                  <a:lnTo>
                    <a:pt x="798" y="516"/>
                  </a:lnTo>
                  <a:lnTo>
                    <a:pt x="810" y="510"/>
                  </a:lnTo>
                  <a:lnTo>
                    <a:pt x="810" y="498"/>
                  </a:lnTo>
                  <a:lnTo>
                    <a:pt x="804" y="486"/>
                  </a:lnTo>
                  <a:lnTo>
                    <a:pt x="804" y="474"/>
                  </a:lnTo>
                  <a:lnTo>
                    <a:pt x="798" y="468"/>
                  </a:lnTo>
                  <a:lnTo>
                    <a:pt x="792" y="456"/>
                  </a:lnTo>
                  <a:lnTo>
                    <a:pt x="786" y="450"/>
                  </a:lnTo>
                  <a:lnTo>
                    <a:pt x="774" y="444"/>
                  </a:lnTo>
                  <a:lnTo>
                    <a:pt x="768" y="438"/>
                  </a:lnTo>
                  <a:lnTo>
                    <a:pt x="762" y="420"/>
                  </a:lnTo>
                  <a:lnTo>
                    <a:pt x="756" y="420"/>
                  </a:lnTo>
                  <a:lnTo>
                    <a:pt x="738" y="402"/>
                  </a:lnTo>
                  <a:lnTo>
                    <a:pt x="714" y="390"/>
                  </a:lnTo>
                  <a:lnTo>
                    <a:pt x="702" y="378"/>
                  </a:lnTo>
                  <a:lnTo>
                    <a:pt x="696" y="360"/>
                  </a:lnTo>
                  <a:lnTo>
                    <a:pt x="690" y="348"/>
                  </a:lnTo>
                  <a:lnTo>
                    <a:pt x="690" y="330"/>
                  </a:lnTo>
                  <a:lnTo>
                    <a:pt x="684" y="324"/>
                  </a:lnTo>
                  <a:lnTo>
                    <a:pt x="678" y="324"/>
                  </a:lnTo>
                  <a:lnTo>
                    <a:pt x="666" y="318"/>
                  </a:lnTo>
                  <a:lnTo>
                    <a:pt x="654" y="318"/>
                  </a:lnTo>
                  <a:lnTo>
                    <a:pt x="648" y="324"/>
                  </a:lnTo>
                  <a:lnTo>
                    <a:pt x="648" y="342"/>
                  </a:lnTo>
                  <a:lnTo>
                    <a:pt x="654" y="342"/>
                  </a:lnTo>
                  <a:lnTo>
                    <a:pt x="660" y="348"/>
                  </a:lnTo>
                  <a:lnTo>
                    <a:pt x="672" y="342"/>
                  </a:lnTo>
                  <a:lnTo>
                    <a:pt x="678" y="348"/>
                  </a:lnTo>
                  <a:lnTo>
                    <a:pt x="678" y="366"/>
                  </a:lnTo>
                  <a:lnTo>
                    <a:pt x="672" y="366"/>
                  </a:lnTo>
                  <a:lnTo>
                    <a:pt x="666" y="360"/>
                  </a:lnTo>
                  <a:lnTo>
                    <a:pt x="654" y="372"/>
                  </a:lnTo>
                  <a:lnTo>
                    <a:pt x="630" y="342"/>
                  </a:lnTo>
                  <a:lnTo>
                    <a:pt x="612" y="342"/>
                  </a:lnTo>
                  <a:lnTo>
                    <a:pt x="636" y="378"/>
                  </a:lnTo>
                  <a:lnTo>
                    <a:pt x="618" y="378"/>
                  </a:lnTo>
                  <a:lnTo>
                    <a:pt x="648" y="426"/>
                  </a:lnTo>
                  <a:lnTo>
                    <a:pt x="636" y="438"/>
                  </a:lnTo>
                  <a:lnTo>
                    <a:pt x="648" y="444"/>
                  </a:lnTo>
                  <a:lnTo>
                    <a:pt x="666" y="462"/>
                  </a:lnTo>
                  <a:lnTo>
                    <a:pt x="678" y="468"/>
                  </a:lnTo>
                  <a:lnTo>
                    <a:pt x="684" y="480"/>
                  </a:lnTo>
                  <a:lnTo>
                    <a:pt x="684" y="504"/>
                  </a:lnTo>
                  <a:lnTo>
                    <a:pt x="678" y="516"/>
                  </a:lnTo>
                  <a:lnTo>
                    <a:pt x="678" y="534"/>
                  </a:lnTo>
                  <a:lnTo>
                    <a:pt x="672" y="540"/>
                  </a:lnTo>
                  <a:lnTo>
                    <a:pt x="672" y="570"/>
                  </a:lnTo>
                  <a:lnTo>
                    <a:pt x="678" y="570"/>
                  </a:lnTo>
                  <a:lnTo>
                    <a:pt x="690" y="582"/>
                  </a:lnTo>
                  <a:lnTo>
                    <a:pt x="690" y="600"/>
                  </a:lnTo>
                  <a:lnTo>
                    <a:pt x="678" y="606"/>
                  </a:lnTo>
                  <a:lnTo>
                    <a:pt x="660" y="606"/>
                  </a:lnTo>
                  <a:lnTo>
                    <a:pt x="660" y="618"/>
                  </a:lnTo>
                  <a:lnTo>
                    <a:pt x="666" y="630"/>
                  </a:lnTo>
                  <a:lnTo>
                    <a:pt x="666" y="642"/>
                  </a:lnTo>
                  <a:lnTo>
                    <a:pt x="660" y="654"/>
                  </a:lnTo>
                  <a:lnTo>
                    <a:pt x="654" y="660"/>
                  </a:lnTo>
                  <a:lnTo>
                    <a:pt x="642" y="666"/>
                  </a:lnTo>
                  <a:lnTo>
                    <a:pt x="630" y="666"/>
                  </a:lnTo>
                  <a:lnTo>
                    <a:pt x="618" y="672"/>
                  </a:lnTo>
                  <a:lnTo>
                    <a:pt x="612" y="678"/>
                  </a:lnTo>
                  <a:lnTo>
                    <a:pt x="606" y="678"/>
                  </a:lnTo>
                  <a:lnTo>
                    <a:pt x="606" y="696"/>
                  </a:lnTo>
                  <a:lnTo>
                    <a:pt x="588" y="696"/>
                  </a:lnTo>
                  <a:lnTo>
                    <a:pt x="564" y="672"/>
                  </a:lnTo>
                  <a:lnTo>
                    <a:pt x="564" y="654"/>
                  </a:lnTo>
                  <a:lnTo>
                    <a:pt x="570" y="636"/>
                  </a:lnTo>
                  <a:lnTo>
                    <a:pt x="558" y="636"/>
                  </a:lnTo>
                  <a:lnTo>
                    <a:pt x="552" y="642"/>
                  </a:lnTo>
                  <a:lnTo>
                    <a:pt x="540" y="648"/>
                  </a:lnTo>
                  <a:lnTo>
                    <a:pt x="534" y="654"/>
                  </a:lnTo>
                  <a:lnTo>
                    <a:pt x="534" y="660"/>
                  </a:lnTo>
                  <a:lnTo>
                    <a:pt x="540" y="666"/>
                  </a:lnTo>
                  <a:lnTo>
                    <a:pt x="558" y="702"/>
                  </a:lnTo>
                  <a:lnTo>
                    <a:pt x="558" y="714"/>
                  </a:lnTo>
                  <a:lnTo>
                    <a:pt x="552" y="720"/>
                  </a:lnTo>
                  <a:lnTo>
                    <a:pt x="540" y="744"/>
                  </a:lnTo>
                  <a:lnTo>
                    <a:pt x="540" y="756"/>
                  </a:lnTo>
                  <a:lnTo>
                    <a:pt x="546" y="762"/>
                  </a:lnTo>
                  <a:lnTo>
                    <a:pt x="546" y="768"/>
                  </a:lnTo>
                  <a:lnTo>
                    <a:pt x="552" y="780"/>
                  </a:lnTo>
                  <a:lnTo>
                    <a:pt x="558" y="786"/>
                  </a:lnTo>
                  <a:lnTo>
                    <a:pt x="558" y="792"/>
                  </a:lnTo>
                  <a:lnTo>
                    <a:pt x="522" y="792"/>
                  </a:lnTo>
                  <a:lnTo>
                    <a:pt x="498" y="780"/>
                  </a:lnTo>
                  <a:lnTo>
                    <a:pt x="474" y="780"/>
                  </a:lnTo>
                  <a:lnTo>
                    <a:pt x="450" y="792"/>
                  </a:lnTo>
                  <a:lnTo>
                    <a:pt x="438" y="792"/>
                  </a:lnTo>
                  <a:lnTo>
                    <a:pt x="420" y="798"/>
                  </a:lnTo>
                  <a:lnTo>
                    <a:pt x="414" y="804"/>
                  </a:lnTo>
                  <a:lnTo>
                    <a:pt x="378" y="804"/>
                  </a:lnTo>
                  <a:lnTo>
                    <a:pt x="366" y="792"/>
                  </a:lnTo>
                  <a:lnTo>
                    <a:pt x="336" y="816"/>
                  </a:lnTo>
                  <a:lnTo>
                    <a:pt x="330" y="828"/>
                  </a:lnTo>
                  <a:lnTo>
                    <a:pt x="312" y="846"/>
                  </a:lnTo>
                  <a:lnTo>
                    <a:pt x="306" y="864"/>
                  </a:lnTo>
                  <a:lnTo>
                    <a:pt x="300" y="870"/>
                  </a:lnTo>
                  <a:lnTo>
                    <a:pt x="294" y="882"/>
                  </a:lnTo>
                  <a:lnTo>
                    <a:pt x="270" y="882"/>
                  </a:lnTo>
                  <a:lnTo>
                    <a:pt x="264" y="888"/>
                  </a:lnTo>
                  <a:lnTo>
                    <a:pt x="258" y="888"/>
                  </a:lnTo>
                  <a:lnTo>
                    <a:pt x="258" y="900"/>
                  </a:lnTo>
                  <a:lnTo>
                    <a:pt x="264" y="912"/>
                  </a:lnTo>
                  <a:lnTo>
                    <a:pt x="276" y="924"/>
                  </a:lnTo>
                  <a:lnTo>
                    <a:pt x="288" y="924"/>
                  </a:lnTo>
                  <a:lnTo>
                    <a:pt x="294" y="918"/>
                  </a:lnTo>
                  <a:lnTo>
                    <a:pt x="312" y="918"/>
                  </a:lnTo>
                  <a:lnTo>
                    <a:pt x="318" y="924"/>
                  </a:lnTo>
                  <a:lnTo>
                    <a:pt x="324" y="924"/>
                  </a:lnTo>
                  <a:lnTo>
                    <a:pt x="336" y="930"/>
                  </a:lnTo>
                  <a:lnTo>
                    <a:pt x="342" y="930"/>
                  </a:lnTo>
                  <a:lnTo>
                    <a:pt x="348" y="924"/>
                  </a:lnTo>
                  <a:lnTo>
                    <a:pt x="348" y="912"/>
                  </a:lnTo>
                  <a:lnTo>
                    <a:pt x="354" y="906"/>
                  </a:lnTo>
                  <a:lnTo>
                    <a:pt x="354" y="894"/>
                  </a:lnTo>
                  <a:lnTo>
                    <a:pt x="372" y="906"/>
                  </a:lnTo>
                  <a:lnTo>
                    <a:pt x="378" y="906"/>
                  </a:lnTo>
                  <a:lnTo>
                    <a:pt x="384" y="900"/>
                  </a:lnTo>
                  <a:lnTo>
                    <a:pt x="420" y="882"/>
                  </a:lnTo>
                  <a:lnTo>
                    <a:pt x="426" y="882"/>
                  </a:lnTo>
                  <a:lnTo>
                    <a:pt x="432" y="876"/>
                  </a:lnTo>
                  <a:lnTo>
                    <a:pt x="444" y="876"/>
                  </a:lnTo>
                  <a:lnTo>
                    <a:pt x="456" y="882"/>
                  </a:lnTo>
                  <a:lnTo>
                    <a:pt x="480" y="882"/>
                  </a:lnTo>
                  <a:lnTo>
                    <a:pt x="480" y="876"/>
                  </a:lnTo>
                  <a:lnTo>
                    <a:pt x="474" y="870"/>
                  </a:lnTo>
                  <a:lnTo>
                    <a:pt x="474" y="864"/>
                  </a:lnTo>
                  <a:lnTo>
                    <a:pt x="480" y="858"/>
                  </a:lnTo>
                  <a:lnTo>
                    <a:pt x="498" y="858"/>
                  </a:lnTo>
                  <a:lnTo>
                    <a:pt x="516" y="876"/>
                  </a:lnTo>
                  <a:lnTo>
                    <a:pt x="522" y="870"/>
                  </a:lnTo>
                  <a:lnTo>
                    <a:pt x="534" y="864"/>
                  </a:lnTo>
                  <a:lnTo>
                    <a:pt x="540" y="864"/>
                  </a:lnTo>
                  <a:lnTo>
                    <a:pt x="546" y="858"/>
                  </a:lnTo>
                  <a:lnTo>
                    <a:pt x="552" y="864"/>
                  </a:lnTo>
                  <a:lnTo>
                    <a:pt x="552" y="882"/>
                  </a:lnTo>
                  <a:lnTo>
                    <a:pt x="546" y="894"/>
                  </a:lnTo>
                  <a:lnTo>
                    <a:pt x="540" y="900"/>
                  </a:lnTo>
                  <a:lnTo>
                    <a:pt x="540" y="912"/>
                  </a:lnTo>
                  <a:lnTo>
                    <a:pt x="546" y="918"/>
                  </a:lnTo>
                  <a:lnTo>
                    <a:pt x="552" y="930"/>
                  </a:lnTo>
                  <a:lnTo>
                    <a:pt x="576" y="954"/>
                  </a:lnTo>
                  <a:lnTo>
                    <a:pt x="600" y="966"/>
                  </a:lnTo>
                  <a:lnTo>
                    <a:pt x="612" y="960"/>
                  </a:lnTo>
                  <a:lnTo>
                    <a:pt x="618" y="954"/>
                  </a:lnTo>
                  <a:lnTo>
                    <a:pt x="630" y="930"/>
                  </a:lnTo>
                  <a:lnTo>
                    <a:pt x="630" y="906"/>
                  </a:lnTo>
                  <a:lnTo>
                    <a:pt x="660" y="900"/>
                  </a:lnTo>
                  <a:lnTo>
                    <a:pt x="654" y="894"/>
                  </a:lnTo>
                  <a:lnTo>
                    <a:pt x="648" y="882"/>
                  </a:lnTo>
                  <a:lnTo>
                    <a:pt x="636" y="870"/>
                  </a:lnTo>
                  <a:lnTo>
                    <a:pt x="624" y="870"/>
                  </a:lnTo>
                  <a:lnTo>
                    <a:pt x="612" y="858"/>
                  </a:lnTo>
                  <a:lnTo>
                    <a:pt x="630" y="834"/>
                  </a:lnTo>
                  <a:lnTo>
                    <a:pt x="636" y="834"/>
                  </a:lnTo>
                  <a:lnTo>
                    <a:pt x="636" y="840"/>
                  </a:lnTo>
                  <a:lnTo>
                    <a:pt x="642" y="852"/>
                  </a:lnTo>
                  <a:lnTo>
                    <a:pt x="642" y="858"/>
                  </a:lnTo>
                  <a:lnTo>
                    <a:pt x="654" y="858"/>
                  </a:lnTo>
                  <a:lnTo>
                    <a:pt x="666" y="870"/>
                  </a:lnTo>
                  <a:lnTo>
                    <a:pt x="666" y="876"/>
                  </a:lnTo>
                  <a:lnTo>
                    <a:pt x="684" y="864"/>
                  </a:lnTo>
                  <a:lnTo>
                    <a:pt x="696" y="870"/>
                  </a:lnTo>
                  <a:lnTo>
                    <a:pt x="732" y="870"/>
                  </a:lnTo>
                  <a:lnTo>
                    <a:pt x="744" y="858"/>
                  </a:lnTo>
                  <a:lnTo>
                    <a:pt x="744" y="852"/>
                  </a:lnTo>
                  <a:lnTo>
                    <a:pt x="738" y="846"/>
                  </a:lnTo>
                  <a:lnTo>
                    <a:pt x="738" y="840"/>
                  </a:lnTo>
                  <a:lnTo>
                    <a:pt x="744" y="834"/>
                  </a:lnTo>
                  <a:lnTo>
                    <a:pt x="762" y="834"/>
                  </a:lnTo>
                  <a:lnTo>
                    <a:pt x="768" y="840"/>
                  </a:lnTo>
                  <a:lnTo>
                    <a:pt x="768" y="858"/>
                  </a:lnTo>
                  <a:lnTo>
                    <a:pt x="774" y="864"/>
                  </a:lnTo>
                  <a:lnTo>
                    <a:pt x="774" y="870"/>
                  </a:lnTo>
                  <a:lnTo>
                    <a:pt x="780" y="870"/>
                  </a:lnTo>
                  <a:lnTo>
                    <a:pt x="786" y="864"/>
                  </a:lnTo>
                  <a:lnTo>
                    <a:pt x="786" y="852"/>
                  </a:lnTo>
                  <a:lnTo>
                    <a:pt x="780" y="840"/>
                  </a:lnTo>
                  <a:lnTo>
                    <a:pt x="780" y="816"/>
                  </a:lnTo>
                  <a:lnTo>
                    <a:pt x="804" y="816"/>
                  </a:lnTo>
                  <a:lnTo>
                    <a:pt x="804" y="798"/>
                  </a:lnTo>
                  <a:lnTo>
                    <a:pt x="810" y="792"/>
                  </a:lnTo>
                  <a:lnTo>
                    <a:pt x="810" y="786"/>
                  </a:lnTo>
                  <a:lnTo>
                    <a:pt x="816" y="780"/>
                  </a:lnTo>
                  <a:lnTo>
                    <a:pt x="828" y="792"/>
                  </a:lnTo>
                  <a:lnTo>
                    <a:pt x="828" y="840"/>
                  </a:lnTo>
                  <a:lnTo>
                    <a:pt x="852" y="840"/>
                  </a:lnTo>
                  <a:lnTo>
                    <a:pt x="858" y="828"/>
                  </a:lnTo>
                  <a:lnTo>
                    <a:pt x="858" y="792"/>
                  </a:lnTo>
                  <a:lnTo>
                    <a:pt x="876" y="780"/>
                  </a:lnTo>
                  <a:close/>
                  <a:moveTo>
                    <a:pt x="498" y="912"/>
                  </a:moveTo>
                  <a:lnTo>
                    <a:pt x="486" y="906"/>
                  </a:lnTo>
                  <a:lnTo>
                    <a:pt x="480" y="900"/>
                  </a:lnTo>
                  <a:lnTo>
                    <a:pt x="468" y="894"/>
                  </a:lnTo>
                  <a:lnTo>
                    <a:pt x="444" y="894"/>
                  </a:lnTo>
                  <a:lnTo>
                    <a:pt x="438" y="900"/>
                  </a:lnTo>
                  <a:lnTo>
                    <a:pt x="438" y="924"/>
                  </a:lnTo>
                  <a:lnTo>
                    <a:pt x="432" y="924"/>
                  </a:lnTo>
                  <a:lnTo>
                    <a:pt x="426" y="918"/>
                  </a:lnTo>
                  <a:lnTo>
                    <a:pt x="396" y="918"/>
                  </a:lnTo>
                  <a:lnTo>
                    <a:pt x="390" y="924"/>
                  </a:lnTo>
                  <a:lnTo>
                    <a:pt x="390" y="942"/>
                  </a:lnTo>
                  <a:lnTo>
                    <a:pt x="396" y="948"/>
                  </a:lnTo>
                  <a:lnTo>
                    <a:pt x="396" y="954"/>
                  </a:lnTo>
                  <a:lnTo>
                    <a:pt x="378" y="972"/>
                  </a:lnTo>
                  <a:lnTo>
                    <a:pt x="390" y="978"/>
                  </a:lnTo>
                  <a:lnTo>
                    <a:pt x="396" y="990"/>
                  </a:lnTo>
                  <a:lnTo>
                    <a:pt x="408" y="1002"/>
                  </a:lnTo>
                  <a:lnTo>
                    <a:pt x="432" y="1014"/>
                  </a:lnTo>
                  <a:lnTo>
                    <a:pt x="438" y="1020"/>
                  </a:lnTo>
                  <a:lnTo>
                    <a:pt x="450" y="1026"/>
                  </a:lnTo>
                  <a:lnTo>
                    <a:pt x="450" y="984"/>
                  </a:lnTo>
                  <a:lnTo>
                    <a:pt x="456" y="972"/>
                  </a:lnTo>
                  <a:lnTo>
                    <a:pt x="462" y="966"/>
                  </a:lnTo>
                  <a:lnTo>
                    <a:pt x="474" y="960"/>
                  </a:lnTo>
                  <a:lnTo>
                    <a:pt x="486" y="960"/>
                  </a:lnTo>
                  <a:lnTo>
                    <a:pt x="492" y="966"/>
                  </a:lnTo>
                  <a:lnTo>
                    <a:pt x="504" y="972"/>
                  </a:lnTo>
                  <a:lnTo>
                    <a:pt x="510" y="984"/>
                  </a:lnTo>
                  <a:lnTo>
                    <a:pt x="516" y="990"/>
                  </a:lnTo>
                  <a:lnTo>
                    <a:pt x="516" y="978"/>
                  </a:lnTo>
                  <a:lnTo>
                    <a:pt x="522" y="966"/>
                  </a:lnTo>
                  <a:lnTo>
                    <a:pt x="522" y="954"/>
                  </a:lnTo>
                  <a:lnTo>
                    <a:pt x="528" y="942"/>
                  </a:lnTo>
                  <a:lnTo>
                    <a:pt x="528" y="930"/>
                  </a:lnTo>
                  <a:lnTo>
                    <a:pt x="522" y="918"/>
                  </a:lnTo>
                  <a:lnTo>
                    <a:pt x="516" y="912"/>
                  </a:lnTo>
                  <a:lnTo>
                    <a:pt x="516" y="906"/>
                  </a:lnTo>
                  <a:lnTo>
                    <a:pt x="498" y="912"/>
                  </a:lnTo>
                  <a:close/>
                  <a:moveTo>
                    <a:pt x="354" y="1050"/>
                  </a:moveTo>
                  <a:lnTo>
                    <a:pt x="354" y="1038"/>
                  </a:lnTo>
                  <a:lnTo>
                    <a:pt x="372" y="1020"/>
                  </a:lnTo>
                  <a:lnTo>
                    <a:pt x="372" y="1008"/>
                  </a:lnTo>
                  <a:lnTo>
                    <a:pt x="360" y="1002"/>
                  </a:lnTo>
                  <a:lnTo>
                    <a:pt x="354" y="990"/>
                  </a:lnTo>
                  <a:lnTo>
                    <a:pt x="348" y="984"/>
                  </a:lnTo>
                  <a:lnTo>
                    <a:pt x="336" y="978"/>
                  </a:lnTo>
                  <a:lnTo>
                    <a:pt x="336" y="966"/>
                  </a:lnTo>
                  <a:lnTo>
                    <a:pt x="330" y="960"/>
                  </a:lnTo>
                  <a:lnTo>
                    <a:pt x="324" y="960"/>
                  </a:lnTo>
                  <a:lnTo>
                    <a:pt x="318" y="954"/>
                  </a:lnTo>
                  <a:lnTo>
                    <a:pt x="300" y="954"/>
                  </a:lnTo>
                  <a:lnTo>
                    <a:pt x="294" y="948"/>
                  </a:lnTo>
                  <a:lnTo>
                    <a:pt x="270" y="936"/>
                  </a:lnTo>
                  <a:lnTo>
                    <a:pt x="258" y="936"/>
                  </a:lnTo>
                  <a:lnTo>
                    <a:pt x="240" y="954"/>
                  </a:lnTo>
                  <a:lnTo>
                    <a:pt x="204" y="972"/>
                  </a:lnTo>
                  <a:lnTo>
                    <a:pt x="234" y="1026"/>
                  </a:lnTo>
                  <a:lnTo>
                    <a:pt x="252" y="1014"/>
                  </a:lnTo>
                  <a:lnTo>
                    <a:pt x="252" y="1008"/>
                  </a:lnTo>
                  <a:lnTo>
                    <a:pt x="246" y="1002"/>
                  </a:lnTo>
                  <a:lnTo>
                    <a:pt x="246" y="990"/>
                  </a:lnTo>
                  <a:lnTo>
                    <a:pt x="252" y="990"/>
                  </a:lnTo>
                  <a:lnTo>
                    <a:pt x="264" y="1002"/>
                  </a:lnTo>
                  <a:lnTo>
                    <a:pt x="270" y="1014"/>
                  </a:lnTo>
                  <a:lnTo>
                    <a:pt x="276" y="1020"/>
                  </a:lnTo>
                  <a:lnTo>
                    <a:pt x="282" y="1032"/>
                  </a:lnTo>
                  <a:lnTo>
                    <a:pt x="282" y="1068"/>
                  </a:lnTo>
                  <a:lnTo>
                    <a:pt x="264" y="1074"/>
                  </a:lnTo>
                  <a:lnTo>
                    <a:pt x="264" y="1080"/>
                  </a:lnTo>
                  <a:lnTo>
                    <a:pt x="270" y="1086"/>
                  </a:lnTo>
                  <a:lnTo>
                    <a:pt x="270" y="1104"/>
                  </a:lnTo>
                  <a:lnTo>
                    <a:pt x="276" y="1116"/>
                  </a:lnTo>
                  <a:lnTo>
                    <a:pt x="282" y="1134"/>
                  </a:lnTo>
                  <a:lnTo>
                    <a:pt x="294" y="1146"/>
                  </a:lnTo>
                  <a:lnTo>
                    <a:pt x="300" y="1146"/>
                  </a:lnTo>
                  <a:lnTo>
                    <a:pt x="306" y="1140"/>
                  </a:lnTo>
                  <a:lnTo>
                    <a:pt x="306" y="1104"/>
                  </a:lnTo>
                  <a:lnTo>
                    <a:pt x="336" y="1116"/>
                  </a:lnTo>
                  <a:lnTo>
                    <a:pt x="336" y="1140"/>
                  </a:lnTo>
                  <a:lnTo>
                    <a:pt x="342" y="1146"/>
                  </a:lnTo>
                  <a:lnTo>
                    <a:pt x="342" y="1152"/>
                  </a:lnTo>
                  <a:lnTo>
                    <a:pt x="348" y="1152"/>
                  </a:lnTo>
                  <a:lnTo>
                    <a:pt x="348" y="1140"/>
                  </a:lnTo>
                  <a:lnTo>
                    <a:pt x="360" y="1128"/>
                  </a:lnTo>
                  <a:lnTo>
                    <a:pt x="366" y="1116"/>
                  </a:lnTo>
                  <a:lnTo>
                    <a:pt x="366" y="1110"/>
                  </a:lnTo>
                  <a:lnTo>
                    <a:pt x="360" y="1104"/>
                  </a:lnTo>
                  <a:lnTo>
                    <a:pt x="360" y="1074"/>
                  </a:lnTo>
                  <a:lnTo>
                    <a:pt x="354" y="1062"/>
                  </a:lnTo>
                  <a:lnTo>
                    <a:pt x="354" y="1050"/>
                  </a:lnTo>
                  <a:close/>
                  <a:moveTo>
                    <a:pt x="264" y="1026"/>
                  </a:moveTo>
                  <a:lnTo>
                    <a:pt x="246" y="1062"/>
                  </a:lnTo>
                  <a:lnTo>
                    <a:pt x="264" y="1056"/>
                  </a:lnTo>
                  <a:lnTo>
                    <a:pt x="264" y="1026"/>
                  </a:lnTo>
                  <a:close/>
                  <a:moveTo>
                    <a:pt x="624" y="618"/>
                  </a:moveTo>
                  <a:lnTo>
                    <a:pt x="636" y="618"/>
                  </a:lnTo>
                  <a:lnTo>
                    <a:pt x="636" y="594"/>
                  </a:lnTo>
                  <a:lnTo>
                    <a:pt x="630" y="594"/>
                  </a:lnTo>
                  <a:lnTo>
                    <a:pt x="612" y="570"/>
                  </a:lnTo>
                  <a:lnTo>
                    <a:pt x="606" y="582"/>
                  </a:lnTo>
                  <a:lnTo>
                    <a:pt x="618" y="600"/>
                  </a:lnTo>
                  <a:lnTo>
                    <a:pt x="624" y="618"/>
                  </a:lnTo>
                  <a:close/>
                  <a:moveTo>
                    <a:pt x="546" y="72"/>
                  </a:moveTo>
                  <a:lnTo>
                    <a:pt x="552" y="96"/>
                  </a:lnTo>
                  <a:lnTo>
                    <a:pt x="558" y="102"/>
                  </a:lnTo>
                  <a:lnTo>
                    <a:pt x="570" y="108"/>
                  </a:lnTo>
                  <a:lnTo>
                    <a:pt x="576" y="114"/>
                  </a:lnTo>
                  <a:lnTo>
                    <a:pt x="576" y="132"/>
                  </a:lnTo>
                  <a:lnTo>
                    <a:pt x="564" y="144"/>
                  </a:lnTo>
                  <a:lnTo>
                    <a:pt x="564" y="150"/>
                  </a:lnTo>
                  <a:lnTo>
                    <a:pt x="570" y="156"/>
                  </a:lnTo>
                  <a:lnTo>
                    <a:pt x="576" y="168"/>
                  </a:lnTo>
                  <a:lnTo>
                    <a:pt x="582" y="174"/>
                  </a:lnTo>
                  <a:lnTo>
                    <a:pt x="582" y="186"/>
                  </a:lnTo>
                  <a:lnTo>
                    <a:pt x="576" y="186"/>
                  </a:lnTo>
                  <a:lnTo>
                    <a:pt x="564" y="180"/>
                  </a:lnTo>
                  <a:lnTo>
                    <a:pt x="552" y="180"/>
                  </a:lnTo>
                  <a:lnTo>
                    <a:pt x="540" y="174"/>
                  </a:lnTo>
                  <a:lnTo>
                    <a:pt x="528" y="174"/>
                  </a:lnTo>
                  <a:lnTo>
                    <a:pt x="522" y="168"/>
                  </a:lnTo>
                  <a:lnTo>
                    <a:pt x="522" y="180"/>
                  </a:lnTo>
                  <a:lnTo>
                    <a:pt x="540" y="198"/>
                  </a:lnTo>
                  <a:lnTo>
                    <a:pt x="516" y="228"/>
                  </a:lnTo>
                  <a:lnTo>
                    <a:pt x="522" y="240"/>
                  </a:lnTo>
                  <a:lnTo>
                    <a:pt x="528" y="246"/>
                  </a:lnTo>
                  <a:lnTo>
                    <a:pt x="528" y="252"/>
                  </a:lnTo>
                  <a:lnTo>
                    <a:pt x="534" y="258"/>
                  </a:lnTo>
                  <a:lnTo>
                    <a:pt x="546" y="264"/>
                  </a:lnTo>
                  <a:lnTo>
                    <a:pt x="552" y="270"/>
                  </a:lnTo>
                  <a:lnTo>
                    <a:pt x="564" y="276"/>
                  </a:lnTo>
                  <a:lnTo>
                    <a:pt x="570" y="282"/>
                  </a:lnTo>
                  <a:lnTo>
                    <a:pt x="576" y="282"/>
                  </a:lnTo>
                  <a:lnTo>
                    <a:pt x="576" y="318"/>
                  </a:lnTo>
                  <a:lnTo>
                    <a:pt x="582" y="330"/>
                  </a:lnTo>
                  <a:lnTo>
                    <a:pt x="600" y="330"/>
                  </a:lnTo>
                  <a:lnTo>
                    <a:pt x="600" y="300"/>
                  </a:lnTo>
                  <a:lnTo>
                    <a:pt x="636" y="300"/>
                  </a:lnTo>
                  <a:lnTo>
                    <a:pt x="642" y="294"/>
                  </a:lnTo>
                  <a:lnTo>
                    <a:pt x="606" y="270"/>
                  </a:lnTo>
                  <a:lnTo>
                    <a:pt x="588" y="270"/>
                  </a:lnTo>
                  <a:lnTo>
                    <a:pt x="576" y="264"/>
                  </a:lnTo>
                  <a:lnTo>
                    <a:pt x="570" y="264"/>
                  </a:lnTo>
                  <a:lnTo>
                    <a:pt x="558" y="258"/>
                  </a:lnTo>
                  <a:lnTo>
                    <a:pt x="558" y="246"/>
                  </a:lnTo>
                  <a:lnTo>
                    <a:pt x="564" y="240"/>
                  </a:lnTo>
                  <a:lnTo>
                    <a:pt x="576" y="234"/>
                  </a:lnTo>
                  <a:lnTo>
                    <a:pt x="600" y="246"/>
                  </a:lnTo>
                  <a:lnTo>
                    <a:pt x="606" y="252"/>
                  </a:lnTo>
                  <a:lnTo>
                    <a:pt x="618" y="240"/>
                  </a:lnTo>
                  <a:lnTo>
                    <a:pt x="630" y="234"/>
                  </a:lnTo>
                  <a:lnTo>
                    <a:pt x="636" y="234"/>
                  </a:lnTo>
                  <a:lnTo>
                    <a:pt x="690" y="252"/>
                  </a:lnTo>
                  <a:lnTo>
                    <a:pt x="726" y="270"/>
                  </a:lnTo>
                  <a:lnTo>
                    <a:pt x="756" y="282"/>
                  </a:lnTo>
                  <a:lnTo>
                    <a:pt x="768" y="282"/>
                  </a:lnTo>
                  <a:lnTo>
                    <a:pt x="768" y="270"/>
                  </a:lnTo>
                  <a:lnTo>
                    <a:pt x="762" y="258"/>
                  </a:lnTo>
                  <a:lnTo>
                    <a:pt x="762" y="222"/>
                  </a:lnTo>
                  <a:lnTo>
                    <a:pt x="780" y="204"/>
                  </a:lnTo>
                  <a:lnTo>
                    <a:pt x="792" y="204"/>
                  </a:lnTo>
                  <a:lnTo>
                    <a:pt x="798" y="210"/>
                  </a:lnTo>
                  <a:lnTo>
                    <a:pt x="816" y="210"/>
                  </a:lnTo>
                  <a:lnTo>
                    <a:pt x="840" y="198"/>
                  </a:lnTo>
                  <a:lnTo>
                    <a:pt x="858" y="180"/>
                  </a:lnTo>
                  <a:lnTo>
                    <a:pt x="804" y="144"/>
                  </a:lnTo>
                  <a:lnTo>
                    <a:pt x="804" y="120"/>
                  </a:lnTo>
                  <a:lnTo>
                    <a:pt x="798" y="108"/>
                  </a:lnTo>
                  <a:lnTo>
                    <a:pt x="792" y="102"/>
                  </a:lnTo>
                  <a:lnTo>
                    <a:pt x="786" y="102"/>
                  </a:lnTo>
                  <a:lnTo>
                    <a:pt x="774" y="114"/>
                  </a:lnTo>
                  <a:lnTo>
                    <a:pt x="774" y="126"/>
                  </a:lnTo>
                  <a:lnTo>
                    <a:pt x="756" y="120"/>
                  </a:lnTo>
                  <a:lnTo>
                    <a:pt x="720" y="114"/>
                  </a:lnTo>
                  <a:lnTo>
                    <a:pt x="678" y="102"/>
                  </a:lnTo>
                  <a:lnTo>
                    <a:pt x="648" y="90"/>
                  </a:lnTo>
                  <a:lnTo>
                    <a:pt x="624" y="72"/>
                  </a:lnTo>
                  <a:lnTo>
                    <a:pt x="552" y="24"/>
                  </a:lnTo>
                  <a:lnTo>
                    <a:pt x="516" y="6"/>
                  </a:lnTo>
                  <a:lnTo>
                    <a:pt x="498" y="0"/>
                  </a:lnTo>
                  <a:lnTo>
                    <a:pt x="498" y="18"/>
                  </a:lnTo>
                  <a:lnTo>
                    <a:pt x="510" y="30"/>
                  </a:lnTo>
                  <a:lnTo>
                    <a:pt x="516" y="42"/>
                  </a:lnTo>
                  <a:lnTo>
                    <a:pt x="528" y="54"/>
                  </a:lnTo>
                  <a:lnTo>
                    <a:pt x="534" y="66"/>
                  </a:lnTo>
                  <a:lnTo>
                    <a:pt x="546" y="72"/>
                  </a:lnTo>
                  <a:close/>
                  <a:moveTo>
                    <a:pt x="282" y="1458"/>
                  </a:moveTo>
                  <a:lnTo>
                    <a:pt x="306" y="1458"/>
                  </a:lnTo>
                  <a:lnTo>
                    <a:pt x="276" y="1440"/>
                  </a:lnTo>
                  <a:lnTo>
                    <a:pt x="282" y="1458"/>
                  </a:lnTo>
                  <a:close/>
                  <a:moveTo>
                    <a:pt x="300" y="1386"/>
                  </a:moveTo>
                  <a:lnTo>
                    <a:pt x="312" y="1398"/>
                  </a:lnTo>
                  <a:lnTo>
                    <a:pt x="318" y="1398"/>
                  </a:lnTo>
                  <a:lnTo>
                    <a:pt x="330" y="1386"/>
                  </a:lnTo>
                  <a:lnTo>
                    <a:pt x="336" y="1386"/>
                  </a:lnTo>
                  <a:lnTo>
                    <a:pt x="342" y="1380"/>
                  </a:lnTo>
                  <a:lnTo>
                    <a:pt x="342" y="1368"/>
                  </a:lnTo>
                  <a:lnTo>
                    <a:pt x="336" y="1362"/>
                  </a:lnTo>
                  <a:lnTo>
                    <a:pt x="318" y="1362"/>
                  </a:lnTo>
                  <a:lnTo>
                    <a:pt x="306" y="1368"/>
                  </a:lnTo>
                  <a:lnTo>
                    <a:pt x="300" y="1380"/>
                  </a:lnTo>
                  <a:lnTo>
                    <a:pt x="300" y="1386"/>
                  </a:lnTo>
                  <a:close/>
                  <a:moveTo>
                    <a:pt x="312" y="1416"/>
                  </a:moveTo>
                  <a:lnTo>
                    <a:pt x="300" y="1416"/>
                  </a:lnTo>
                  <a:lnTo>
                    <a:pt x="300" y="1428"/>
                  </a:lnTo>
                  <a:lnTo>
                    <a:pt x="318" y="1428"/>
                  </a:lnTo>
                  <a:lnTo>
                    <a:pt x="318" y="1422"/>
                  </a:lnTo>
                  <a:lnTo>
                    <a:pt x="312" y="1416"/>
                  </a:lnTo>
                  <a:close/>
                  <a:moveTo>
                    <a:pt x="336" y="1200"/>
                  </a:moveTo>
                  <a:lnTo>
                    <a:pt x="336" y="1206"/>
                  </a:lnTo>
                  <a:lnTo>
                    <a:pt x="330" y="1206"/>
                  </a:lnTo>
                  <a:lnTo>
                    <a:pt x="318" y="1212"/>
                  </a:lnTo>
                  <a:lnTo>
                    <a:pt x="342" y="1230"/>
                  </a:lnTo>
                  <a:lnTo>
                    <a:pt x="342" y="1218"/>
                  </a:lnTo>
                  <a:lnTo>
                    <a:pt x="336" y="1206"/>
                  </a:lnTo>
                  <a:lnTo>
                    <a:pt x="336" y="1200"/>
                  </a:lnTo>
                  <a:close/>
                  <a:moveTo>
                    <a:pt x="366" y="1170"/>
                  </a:moveTo>
                  <a:lnTo>
                    <a:pt x="366" y="1182"/>
                  </a:lnTo>
                  <a:lnTo>
                    <a:pt x="360" y="1194"/>
                  </a:lnTo>
                  <a:lnTo>
                    <a:pt x="378" y="1224"/>
                  </a:lnTo>
                  <a:lnTo>
                    <a:pt x="378" y="1200"/>
                  </a:lnTo>
                  <a:lnTo>
                    <a:pt x="372" y="1194"/>
                  </a:lnTo>
                  <a:lnTo>
                    <a:pt x="372" y="1176"/>
                  </a:lnTo>
                  <a:lnTo>
                    <a:pt x="366" y="1170"/>
                  </a:lnTo>
                  <a:close/>
                  <a:moveTo>
                    <a:pt x="36" y="1698"/>
                  </a:moveTo>
                  <a:lnTo>
                    <a:pt x="54" y="1698"/>
                  </a:lnTo>
                  <a:lnTo>
                    <a:pt x="60" y="1692"/>
                  </a:lnTo>
                  <a:lnTo>
                    <a:pt x="72" y="1692"/>
                  </a:lnTo>
                  <a:lnTo>
                    <a:pt x="42" y="1680"/>
                  </a:lnTo>
                  <a:lnTo>
                    <a:pt x="36" y="1686"/>
                  </a:lnTo>
                  <a:lnTo>
                    <a:pt x="36" y="1698"/>
                  </a:lnTo>
                  <a:close/>
                  <a:moveTo>
                    <a:pt x="114" y="1662"/>
                  </a:moveTo>
                  <a:lnTo>
                    <a:pt x="96" y="1632"/>
                  </a:lnTo>
                  <a:lnTo>
                    <a:pt x="96" y="1662"/>
                  </a:lnTo>
                  <a:lnTo>
                    <a:pt x="102" y="1674"/>
                  </a:lnTo>
                  <a:lnTo>
                    <a:pt x="114" y="1680"/>
                  </a:lnTo>
                  <a:lnTo>
                    <a:pt x="120" y="1680"/>
                  </a:lnTo>
                  <a:lnTo>
                    <a:pt x="126" y="1674"/>
                  </a:lnTo>
                  <a:lnTo>
                    <a:pt x="126" y="1662"/>
                  </a:lnTo>
                  <a:lnTo>
                    <a:pt x="114" y="1662"/>
                  </a:lnTo>
                  <a:close/>
                  <a:moveTo>
                    <a:pt x="12" y="1686"/>
                  </a:moveTo>
                  <a:lnTo>
                    <a:pt x="6" y="1686"/>
                  </a:lnTo>
                  <a:lnTo>
                    <a:pt x="0" y="1692"/>
                  </a:lnTo>
                  <a:lnTo>
                    <a:pt x="0" y="1704"/>
                  </a:lnTo>
                  <a:lnTo>
                    <a:pt x="6" y="1710"/>
                  </a:lnTo>
                  <a:lnTo>
                    <a:pt x="12" y="1710"/>
                  </a:lnTo>
                  <a:lnTo>
                    <a:pt x="24" y="1698"/>
                  </a:lnTo>
                  <a:lnTo>
                    <a:pt x="24" y="1686"/>
                  </a:lnTo>
                  <a:lnTo>
                    <a:pt x="12" y="1686"/>
                  </a:lnTo>
                  <a:close/>
                  <a:moveTo>
                    <a:pt x="168" y="1536"/>
                  </a:moveTo>
                  <a:lnTo>
                    <a:pt x="168" y="1542"/>
                  </a:lnTo>
                  <a:lnTo>
                    <a:pt x="180" y="1548"/>
                  </a:lnTo>
                  <a:lnTo>
                    <a:pt x="186" y="1548"/>
                  </a:lnTo>
                  <a:lnTo>
                    <a:pt x="186" y="1536"/>
                  </a:lnTo>
                  <a:lnTo>
                    <a:pt x="180" y="1530"/>
                  </a:lnTo>
                  <a:lnTo>
                    <a:pt x="168" y="1530"/>
                  </a:lnTo>
                  <a:lnTo>
                    <a:pt x="168" y="1536"/>
                  </a:lnTo>
                  <a:close/>
                  <a:moveTo>
                    <a:pt x="264" y="1494"/>
                  </a:moveTo>
                  <a:lnTo>
                    <a:pt x="252" y="1518"/>
                  </a:lnTo>
                  <a:lnTo>
                    <a:pt x="246" y="1536"/>
                  </a:lnTo>
                  <a:lnTo>
                    <a:pt x="246" y="1548"/>
                  </a:lnTo>
                  <a:lnTo>
                    <a:pt x="240" y="1554"/>
                  </a:lnTo>
                  <a:lnTo>
                    <a:pt x="240" y="1560"/>
                  </a:lnTo>
                  <a:lnTo>
                    <a:pt x="258" y="1566"/>
                  </a:lnTo>
                  <a:lnTo>
                    <a:pt x="264" y="1554"/>
                  </a:lnTo>
                  <a:lnTo>
                    <a:pt x="264" y="1548"/>
                  </a:lnTo>
                  <a:lnTo>
                    <a:pt x="270" y="1542"/>
                  </a:lnTo>
                  <a:lnTo>
                    <a:pt x="270" y="1524"/>
                  </a:lnTo>
                  <a:lnTo>
                    <a:pt x="288" y="1506"/>
                  </a:lnTo>
                  <a:lnTo>
                    <a:pt x="282" y="1500"/>
                  </a:lnTo>
                  <a:lnTo>
                    <a:pt x="282" y="1494"/>
                  </a:lnTo>
                  <a:lnTo>
                    <a:pt x="276" y="1488"/>
                  </a:lnTo>
                  <a:lnTo>
                    <a:pt x="264" y="1494"/>
                  </a:lnTo>
                  <a:close/>
                </a:path>
              </a:pathLst>
            </a:cu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Lato"/>
                <a:ea typeface="+mn-ea"/>
                <a:cs typeface="+mn-cs"/>
              </a:endParaRPr>
            </a:p>
          </p:txBody>
        </p:sp>
        <p:sp>
          <p:nvSpPr>
            <p:cNvPr id="483" name="Indonesia" descr="© INSCALE GmbH, 05.05.2010&#10;http://www.presentationload.com/">
              <a:extLst>
                <a:ext uri="{FF2B5EF4-FFF2-40B4-BE49-F238E27FC236}">
                  <a16:creationId xmlns:a16="http://schemas.microsoft.com/office/drawing/2014/main" id="{CE087849-16A1-3BB8-2B72-0468D495A972}"/>
                </a:ext>
              </a:extLst>
            </p:cNvPr>
            <p:cNvSpPr>
              <a:spLocks noEditPoints="1"/>
            </p:cNvSpPr>
            <p:nvPr/>
          </p:nvSpPr>
          <p:spPr bwMode="gray">
            <a:xfrm>
              <a:off x="8841511" y="4164880"/>
              <a:ext cx="1621369" cy="646607"/>
            </a:xfrm>
            <a:custGeom>
              <a:avLst/>
              <a:gdLst>
                <a:gd name="T0" fmla="*/ 2147483647 w 3264"/>
                <a:gd name="T1" fmla="*/ 2147483647 h 1302"/>
                <a:gd name="T2" fmla="*/ 2147483647 w 3264"/>
                <a:gd name="T3" fmla="*/ 2147483647 h 1302"/>
                <a:gd name="T4" fmla="*/ 2147483647 w 3264"/>
                <a:gd name="T5" fmla="*/ 2147483647 h 1302"/>
                <a:gd name="T6" fmla="*/ 2147483647 w 3264"/>
                <a:gd name="T7" fmla="*/ 2147483647 h 1302"/>
                <a:gd name="T8" fmla="*/ 2147483647 w 3264"/>
                <a:gd name="T9" fmla="*/ 2147483647 h 1302"/>
                <a:gd name="T10" fmla="*/ 2147483647 w 3264"/>
                <a:gd name="T11" fmla="*/ 2147483647 h 1302"/>
                <a:gd name="T12" fmla="*/ 2147483647 w 3264"/>
                <a:gd name="T13" fmla="*/ 2147483647 h 1302"/>
                <a:gd name="T14" fmla="*/ 2147483647 w 3264"/>
                <a:gd name="T15" fmla="*/ 2147483647 h 1302"/>
                <a:gd name="T16" fmla="*/ 2147483647 w 3264"/>
                <a:gd name="T17" fmla="*/ 2147483647 h 1302"/>
                <a:gd name="T18" fmla="*/ 2147483647 w 3264"/>
                <a:gd name="T19" fmla="*/ 2147483647 h 1302"/>
                <a:gd name="T20" fmla="*/ 2147483647 w 3264"/>
                <a:gd name="T21" fmla="*/ 2147483647 h 1302"/>
                <a:gd name="T22" fmla="*/ 2147483647 w 3264"/>
                <a:gd name="T23" fmla="*/ 2147483647 h 1302"/>
                <a:gd name="T24" fmla="*/ 2147483647 w 3264"/>
                <a:gd name="T25" fmla="*/ 2147483647 h 1302"/>
                <a:gd name="T26" fmla="*/ 2147483647 w 3264"/>
                <a:gd name="T27" fmla="*/ 2147483647 h 1302"/>
                <a:gd name="T28" fmla="*/ 2147483647 w 3264"/>
                <a:gd name="T29" fmla="*/ 2147483647 h 1302"/>
                <a:gd name="T30" fmla="*/ 2147483647 w 3264"/>
                <a:gd name="T31" fmla="*/ 2147483647 h 1302"/>
                <a:gd name="T32" fmla="*/ 2147483647 w 3264"/>
                <a:gd name="T33" fmla="*/ 2147483647 h 1302"/>
                <a:gd name="T34" fmla="*/ 2147483647 w 3264"/>
                <a:gd name="T35" fmla="*/ 2147483647 h 1302"/>
                <a:gd name="T36" fmla="*/ 2147483647 w 3264"/>
                <a:gd name="T37" fmla="*/ 2147483647 h 1302"/>
                <a:gd name="T38" fmla="*/ 2147483647 w 3264"/>
                <a:gd name="T39" fmla="*/ 2147483647 h 1302"/>
                <a:gd name="T40" fmla="*/ 2147483647 w 3264"/>
                <a:gd name="T41" fmla="*/ 2147483647 h 1302"/>
                <a:gd name="T42" fmla="*/ 2147483647 w 3264"/>
                <a:gd name="T43" fmla="*/ 2147483647 h 1302"/>
                <a:gd name="T44" fmla="*/ 2147483647 w 3264"/>
                <a:gd name="T45" fmla="*/ 2147483647 h 1302"/>
                <a:gd name="T46" fmla="*/ 2147483647 w 3264"/>
                <a:gd name="T47" fmla="*/ 2147483647 h 1302"/>
                <a:gd name="T48" fmla="*/ 2147483647 w 3264"/>
                <a:gd name="T49" fmla="*/ 2147483647 h 1302"/>
                <a:gd name="T50" fmla="*/ 2147483647 w 3264"/>
                <a:gd name="T51" fmla="*/ 2147483647 h 1302"/>
                <a:gd name="T52" fmla="*/ 2147483647 w 3264"/>
                <a:gd name="T53" fmla="*/ 2147483647 h 1302"/>
                <a:gd name="T54" fmla="*/ 2147483647 w 3264"/>
                <a:gd name="T55" fmla="*/ 2147483647 h 1302"/>
                <a:gd name="T56" fmla="*/ 2147483647 w 3264"/>
                <a:gd name="T57" fmla="*/ 2147483647 h 1302"/>
                <a:gd name="T58" fmla="*/ 2147483647 w 3264"/>
                <a:gd name="T59" fmla="*/ 2147483647 h 1302"/>
                <a:gd name="T60" fmla="*/ 2147483647 w 3264"/>
                <a:gd name="T61" fmla="*/ 2147483647 h 1302"/>
                <a:gd name="T62" fmla="*/ 2147483647 w 3264"/>
                <a:gd name="T63" fmla="*/ 2147483647 h 1302"/>
                <a:gd name="T64" fmla="*/ 2147483647 w 3264"/>
                <a:gd name="T65" fmla="*/ 2147483647 h 1302"/>
                <a:gd name="T66" fmla="*/ 2147483647 w 3264"/>
                <a:gd name="T67" fmla="*/ 2147483647 h 1302"/>
                <a:gd name="T68" fmla="*/ 2147483647 w 3264"/>
                <a:gd name="T69" fmla="*/ 2147483647 h 1302"/>
                <a:gd name="T70" fmla="*/ 2147483647 w 3264"/>
                <a:gd name="T71" fmla="*/ 2147483647 h 1302"/>
                <a:gd name="T72" fmla="*/ 2147483647 w 3264"/>
                <a:gd name="T73" fmla="*/ 2147483647 h 1302"/>
                <a:gd name="T74" fmla="*/ 2147483647 w 3264"/>
                <a:gd name="T75" fmla="*/ 2147483647 h 1302"/>
                <a:gd name="T76" fmla="*/ 2147483647 w 3264"/>
                <a:gd name="T77" fmla="*/ 2147483647 h 1302"/>
                <a:gd name="T78" fmla="*/ 2147483647 w 3264"/>
                <a:gd name="T79" fmla="*/ 2147483647 h 1302"/>
                <a:gd name="T80" fmla="*/ 2147483647 w 3264"/>
                <a:gd name="T81" fmla="*/ 2147483647 h 1302"/>
                <a:gd name="T82" fmla="*/ 2147483647 w 3264"/>
                <a:gd name="T83" fmla="*/ 2147483647 h 1302"/>
                <a:gd name="T84" fmla="*/ 2147483647 w 3264"/>
                <a:gd name="T85" fmla="*/ 2147483647 h 1302"/>
                <a:gd name="T86" fmla="*/ 2147483647 w 3264"/>
                <a:gd name="T87" fmla="*/ 2147483647 h 1302"/>
                <a:gd name="T88" fmla="*/ 2147483647 w 3264"/>
                <a:gd name="T89" fmla="*/ 2147483647 h 1302"/>
                <a:gd name="T90" fmla="*/ 2147483647 w 3264"/>
                <a:gd name="T91" fmla="*/ 2147483647 h 1302"/>
                <a:gd name="T92" fmla="*/ 2147483647 w 3264"/>
                <a:gd name="T93" fmla="*/ 2147483647 h 1302"/>
                <a:gd name="T94" fmla="*/ 2147483647 w 3264"/>
                <a:gd name="T95" fmla="*/ 2147483647 h 1302"/>
                <a:gd name="T96" fmla="*/ 2147483647 w 3264"/>
                <a:gd name="T97" fmla="*/ 2147483647 h 1302"/>
                <a:gd name="T98" fmla="*/ 2147483647 w 3264"/>
                <a:gd name="T99" fmla="*/ 2147483647 h 1302"/>
                <a:gd name="T100" fmla="*/ 2147483647 w 3264"/>
                <a:gd name="T101" fmla="*/ 2147483647 h 1302"/>
                <a:gd name="T102" fmla="*/ 2147483647 w 3264"/>
                <a:gd name="T103" fmla="*/ 2147483647 h 1302"/>
                <a:gd name="T104" fmla="*/ 2147483647 w 3264"/>
                <a:gd name="T105" fmla="*/ 2147483647 h 1302"/>
                <a:gd name="T106" fmla="*/ 2147483647 w 3264"/>
                <a:gd name="T107" fmla="*/ 2147483647 h 1302"/>
                <a:gd name="T108" fmla="*/ 2147483647 w 3264"/>
                <a:gd name="T109" fmla="*/ 2147483647 h 1302"/>
                <a:gd name="T110" fmla="*/ 2147483647 w 3264"/>
                <a:gd name="T111" fmla="*/ 2147483647 h 1302"/>
                <a:gd name="T112" fmla="*/ 2147483647 w 3264"/>
                <a:gd name="T113" fmla="*/ 2147483647 h 1302"/>
                <a:gd name="T114" fmla="*/ 2147483647 w 3264"/>
                <a:gd name="T115" fmla="*/ 2147483647 h 1302"/>
                <a:gd name="T116" fmla="*/ 2147483647 w 3264"/>
                <a:gd name="T117" fmla="*/ 2147483647 h 1302"/>
                <a:gd name="T118" fmla="*/ 2147483647 w 3264"/>
                <a:gd name="T119" fmla="*/ 2147483647 h 1302"/>
                <a:gd name="T120" fmla="*/ 2147483647 w 3264"/>
                <a:gd name="T121" fmla="*/ 2147483647 h 1302"/>
                <a:gd name="T122" fmla="*/ 2147483647 w 3264"/>
                <a:gd name="T123" fmla="*/ 2147483647 h 1302"/>
                <a:gd name="T124" fmla="*/ 2147483647 w 3264"/>
                <a:gd name="T125" fmla="*/ 2147483647 h 130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264"/>
                <a:gd name="T190" fmla="*/ 0 h 1302"/>
                <a:gd name="T191" fmla="*/ 3264 w 3264"/>
                <a:gd name="T192" fmla="*/ 1302 h 130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264" h="1302">
                  <a:moveTo>
                    <a:pt x="1788" y="984"/>
                  </a:moveTo>
                  <a:lnTo>
                    <a:pt x="1806" y="978"/>
                  </a:lnTo>
                  <a:lnTo>
                    <a:pt x="1818" y="954"/>
                  </a:lnTo>
                  <a:lnTo>
                    <a:pt x="1812" y="930"/>
                  </a:lnTo>
                  <a:lnTo>
                    <a:pt x="1788" y="984"/>
                  </a:lnTo>
                  <a:close/>
                  <a:moveTo>
                    <a:pt x="672" y="462"/>
                  </a:moveTo>
                  <a:lnTo>
                    <a:pt x="702" y="480"/>
                  </a:lnTo>
                  <a:lnTo>
                    <a:pt x="702" y="450"/>
                  </a:lnTo>
                  <a:lnTo>
                    <a:pt x="672" y="426"/>
                  </a:lnTo>
                  <a:lnTo>
                    <a:pt x="672" y="462"/>
                  </a:lnTo>
                  <a:close/>
                  <a:moveTo>
                    <a:pt x="678" y="492"/>
                  </a:moveTo>
                  <a:lnTo>
                    <a:pt x="654" y="516"/>
                  </a:lnTo>
                  <a:lnTo>
                    <a:pt x="678" y="546"/>
                  </a:lnTo>
                  <a:lnTo>
                    <a:pt x="678" y="492"/>
                  </a:lnTo>
                  <a:close/>
                  <a:moveTo>
                    <a:pt x="906" y="714"/>
                  </a:moveTo>
                  <a:lnTo>
                    <a:pt x="930" y="732"/>
                  </a:lnTo>
                  <a:lnTo>
                    <a:pt x="936" y="708"/>
                  </a:lnTo>
                  <a:lnTo>
                    <a:pt x="936" y="702"/>
                  </a:lnTo>
                  <a:lnTo>
                    <a:pt x="930" y="696"/>
                  </a:lnTo>
                  <a:lnTo>
                    <a:pt x="930" y="690"/>
                  </a:lnTo>
                  <a:lnTo>
                    <a:pt x="912" y="672"/>
                  </a:lnTo>
                  <a:lnTo>
                    <a:pt x="900" y="666"/>
                  </a:lnTo>
                  <a:lnTo>
                    <a:pt x="888" y="666"/>
                  </a:lnTo>
                  <a:lnTo>
                    <a:pt x="882" y="672"/>
                  </a:lnTo>
                  <a:lnTo>
                    <a:pt x="876" y="684"/>
                  </a:lnTo>
                  <a:lnTo>
                    <a:pt x="882" y="696"/>
                  </a:lnTo>
                  <a:lnTo>
                    <a:pt x="882" y="708"/>
                  </a:lnTo>
                  <a:lnTo>
                    <a:pt x="888" y="720"/>
                  </a:lnTo>
                  <a:lnTo>
                    <a:pt x="906" y="714"/>
                  </a:lnTo>
                  <a:close/>
                  <a:moveTo>
                    <a:pt x="684" y="372"/>
                  </a:moveTo>
                  <a:lnTo>
                    <a:pt x="672" y="360"/>
                  </a:lnTo>
                  <a:lnTo>
                    <a:pt x="660" y="372"/>
                  </a:lnTo>
                  <a:lnTo>
                    <a:pt x="672" y="396"/>
                  </a:lnTo>
                  <a:lnTo>
                    <a:pt x="684" y="396"/>
                  </a:lnTo>
                  <a:lnTo>
                    <a:pt x="684" y="372"/>
                  </a:lnTo>
                  <a:close/>
                  <a:moveTo>
                    <a:pt x="750" y="624"/>
                  </a:moveTo>
                  <a:lnTo>
                    <a:pt x="750" y="630"/>
                  </a:lnTo>
                  <a:lnTo>
                    <a:pt x="756" y="636"/>
                  </a:lnTo>
                  <a:lnTo>
                    <a:pt x="756" y="648"/>
                  </a:lnTo>
                  <a:lnTo>
                    <a:pt x="774" y="684"/>
                  </a:lnTo>
                  <a:lnTo>
                    <a:pt x="786" y="690"/>
                  </a:lnTo>
                  <a:lnTo>
                    <a:pt x="804" y="696"/>
                  </a:lnTo>
                  <a:lnTo>
                    <a:pt x="816" y="702"/>
                  </a:lnTo>
                  <a:lnTo>
                    <a:pt x="834" y="702"/>
                  </a:lnTo>
                  <a:lnTo>
                    <a:pt x="828" y="660"/>
                  </a:lnTo>
                  <a:lnTo>
                    <a:pt x="810" y="648"/>
                  </a:lnTo>
                  <a:lnTo>
                    <a:pt x="810" y="618"/>
                  </a:lnTo>
                  <a:lnTo>
                    <a:pt x="804" y="606"/>
                  </a:lnTo>
                  <a:lnTo>
                    <a:pt x="792" y="600"/>
                  </a:lnTo>
                  <a:lnTo>
                    <a:pt x="786" y="588"/>
                  </a:lnTo>
                  <a:lnTo>
                    <a:pt x="768" y="582"/>
                  </a:lnTo>
                  <a:lnTo>
                    <a:pt x="756" y="576"/>
                  </a:lnTo>
                  <a:lnTo>
                    <a:pt x="732" y="576"/>
                  </a:lnTo>
                  <a:lnTo>
                    <a:pt x="732" y="582"/>
                  </a:lnTo>
                  <a:lnTo>
                    <a:pt x="726" y="588"/>
                  </a:lnTo>
                  <a:lnTo>
                    <a:pt x="726" y="600"/>
                  </a:lnTo>
                  <a:lnTo>
                    <a:pt x="714" y="600"/>
                  </a:lnTo>
                  <a:lnTo>
                    <a:pt x="714" y="606"/>
                  </a:lnTo>
                  <a:lnTo>
                    <a:pt x="708" y="612"/>
                  </a:lnTo>
                  <a:lnTo>
                    <a:pt x="714" y="624"/>
                  </a:lnTo>
                  <a:lnTo>
                    <a:pt x="750" y="624"/>
                  </a:lnTo>
                  <a:close/>
                  <a:moveTo>
                    <a:pt x="246" y="438"/>
                  </a:moveTo>
                  <a:lnTo>
                    <a:pt x="222" y="462"/>
                  </a:lnTo>
                  <a:lnTo>
                    <a:pt x="234" y="492"/>
                  </a:lnTo>
                  <a:lnTo>
                    <a:pt x="234" y="498"/>
                  </a:lnTo>
                  <a:lnTo>
                    <a:pt x="228" y="504"/>
                  </a:lnTo>
                  <a:lnTo>
                    <a:pt x="228" y="510"/>
                  </a:lnTo>
                  <a:lnTo>
                    <a:pt x="240" y="510"/>
                  </a:lnTo>
                  <a:lnTo>
                    <a:pt x="246" y="504"/>
                  </a:lnTo>
                  <a:lnTo>
                    <a:pt x="246" y="468"/>
                  </a:lnTo>
                  <a:lnTo>
                    <a:pt x="252" y="456"/>
                  </a:lnTo>
                  <a:lnTo>
                    <a:pt x="246" y="438"/>
                  </a:lnTo>
                  <a:close/>
                  <a:moveTo>
                    <a:pt x="264" y="534"/>
                  </a:moveTo>
                  <a:lnTo>
                    <a:pt x="258" y="546"/>
                  </a:lnTo>
                  <a:lnTo>
                    <a:pt x="258" y="588"/>
                  </a:lnTo>
                  <a:lnTo>
                    <a:pt x="264" y="600"/>
                  </a:lnTo>
                  <a:lnTo>
                    <a:pt x="276" y="612"/>
                  </a:lnTo>
                  <a:lnTo>
                    <a:pt x="288" y="612"/>
                  </a:lnTo>
                  <a:lnTo>
                    <a:pt x="294" y="606"/>
                  </a:lnTo>
                  <a:lnTo>
                    <a:pt x="294" y="588"/>
                  </a:lnTo>
                  <a:lnTo>
                    <a:pt x="288" y="576"/>
                  </a:lnTo>
                  <a:lnTo>
                    <a:pt x="282" y="558"/>
                  </a:lnTo>
                  <a:lnTo>
                    <a:pt x="282" y="546"/>
                  </a:lnTo>
                  <a:lnTo>
                    <a:pt x="276" y="534"/>
                  </a:lnTo>
                  <a:lnTo>
                    <a:pt x="264" y="534"/>
                  </a:lnTo>
                  <a:close/>
                  <a:moveTo>
                    <a:pt x="48" y="222"/>
                  </a:moveTo>
                  <a:lnTo>
                    <a:pt x="42" y="228"/>
                  </a:lnTo>
                  <a:lnTo>
                    <a:pt x="42" y="246"/>
                  </a:lnTo>
                  <a:lnTo>
                    <a:pt x="48" y="258"/>
                  </a:lnTo>
                  <a:lnTo>
                    <a:pt x="66" y="258"/>
                  </a:lnTo>
                  <a:lnTo>
                    <a:pt x="84" y="276"/>
                  </a:lnTo>
                  <a:lnTo>
                    <a:pt x="90" y="270"/>
                  </a:lnTo>
                  <a:lnTo>
                    <a:pt x="90" y="252"/>
                  </a:lnTo>
                  <a:lnTo>
                    <a:pt x="78" y="246"/>
                  </a:lnTo>
                  <a:lnTo>
                    <a:pt x="72" y="234"/>
                  </a:lnTo>
                  <a:lnTo>
                    <a:pt x="60" y="228"/>
                  </a:lnTo>
                  <a:lnTo>
                    <a:pt x="54" y="222"/>
                  </a:lnTo>
                  <a:lnTo>
                    <a:pt x="48" y="222"/>
                  </a:lnTo>
                  <a:close/>
                  <a:moveTo>
                    <a:pt x="162" y="330"/>
                  </a:moveTo>
                  <a:lnTo>
                    <a:pt x="156" y="330"/>
                  </a:lnTo>
                  <a:lnTo>
                    <a:pt x="144" y="342"/>
                  </a:lnTo>
                  <a:lnTo>
                    <a:pt x="144" y="354"/>
                  </a:lnTo>
                  <a:lnTo>
                    <a:pt x="156" y="366"/>
                  </a:lnTo>
                  <a:lnTo>
                    <a:pt x="162" y="378"/>
                  </a:lnTo>
                  <a:lnTo>
                    <a:pt x="174" y="390"/>
                  </a:lnTo>
                  <a:lnTo>
                    <a:pt x="180" y="402"/>
                  </a:lnTo>
                  <a:lnTo>
                    <a:pt x="192" y="414"/>
                  </a:lnTo>
                  <a:lnTo>
                    <a:pt x="198" y="408"/>
                  </a:lnTo>
                  <a:lnTo>
                    <a:pt x="198" y="402"/>
                  </a:lnTo>
                  <a:lnTo>
                    <a:pt x="204" y="390"/>
                  </a:lnTo>
                  <a:lnTo>
                    <a:pt x="204" y="384"/>
                  </a:lnTo>
                  <a:lnTo>
                    <a:pt x="198" y="372"/>
                  </a:lnTo>
                  <a:lnTo>
                    <a:pt x="198" y="366"/>
                  </a:lnTo>
                  <a:lnTo>
                    <a:pt x="192" y="360"/>
                  </a:lnTo>
                  <a:lnTo>
                    <a:pt x="186" y="348"/>
                  </a:lnTo>
                  <a:lnTo>
                    <a:pt x="180" y="342"/>
                  </a:lnTo>
                  <a:lnTo>
                    <a:pt x="168" y="336"/>
                  </a:lnTo>
                  <a:lnTo>
                    <a:pt x="162" y="330"/>
                  </a:lnTo>
                  <a:close/>
                  <a:moveTo>
                    <a:pt x="2574" y="486"/>
                  </a:moveTo>
                  <a:lnTo>
                    <a:pt x="2574" y="474"/>
                  </a:lnTo>
                  <a:lnTo>
                    <a:pt x="2568" y="474"/>
                  </a:lnTo>
                  <a:lnTo>
                    <a:pt x="2556" y="468"/>
                  </a:lnTo>
                  <a:lnTo>
                    <a:pt x="2520" y="468"/>
                  </a:lnTo>
                  <a:lnTo>
                    <a:pt x="2514" y="474"/>
                  </a:lnTo>
                  <a:lnTo>
                    <a:pt x="2520" y="498"/>
                  </a:lnTo>
                  <a:lnTo>
                    <a:pt x="2526" y="498"/>
                  </a:lnTo>
                  <a:lnTo>
                    <a:pt x="2538" y="492"/>
                  </a:lnTo>
                  <a:lnTo>
                    <a:pt x="2562" y="492"/>
                  </a:lnTo>
                  <a:lnTo>
                    <a:pt x="2568" y="486"/>
                  </a:lnTo>
                  <a:lnTo>
                    <a:pt x="2574" y="486"/>
                  </a:lnTo>
                  <a:close/>
                  <a:moveTo>
                    <a:pt x="336" y="648"/>
                  </a:moveTo>
                  <a:lnTo>
                    <a:pt x="342" y="648"/>
                  </a:lnTo>
                  <a:lnTo>
                    <a:pt x="342" y="636"/>
                  </a:lnTo>
                  <a:lnTo>
                    <a:pt x="330" y="624"/>
                  </a:lnTo>
                  <a:lnTo>
                    <a:pt x="318" y="624"/>
                  </a:lnTo>
                  <a:lnTo>
                    <a:pt x="318" y="636"/>
                  </a:lnTo>
                  <a:lnTo>
                    <a:pt x="330" y="648"/>
                  </a:lnTo>
                  <a:lnTo>
                    <a:pt x="336" y="648"/>
                  </a:lnTo>
                  <a:close/>
                  <a:moveTo>
                    <a:pt x="2472" y="654"/>
                  </a:moveTo>
                  <a:lnTo>
                    <a:pt x="2484" y="648"/>
                  </a:lnTo>
                  <a:lnTo>
                    <a:pt x="2502" y="630"/>
                  </a:lnTo>
                  <a:lnTo>
                    <a:pt x="2502" y="618"/>
                  </a:lnTo>
                  <a:lnTo>
                    <a:pt x="2430" y="612"/>
                  </a:lnTo>
                  <a:lnTo>
                    <a:pt x="2430" y="624"/>
                  </a:lnTo>
                  <a:lnTo>
                    <a:pt x="2436" y="630"/>
                  </a:lnTo>
                  <a:lnTo>
                    <a:pt x="2442" y="642"/>
                  </a:lnTo>
                  <a:lnTo>
                    <a:pt x="2448" y="648"/>
                  </a:lnTo>
                  <a:lnTo>
                    <a:pt x="2460" y="654"/>
                  </a:lnTo>
                  <a:lnTo>
                    <a:pt x="2472" y="654"/>
                  </a:lnTo>
                  <a:close/>
                  <a:moveTo>
                    <a:pt x="2406" y="288"/>
                  </a:moveTo>
                  <a:lnTo>
                    <a:pt x="2418" y="276"/>
                  </a:lnTo>
                  <a:lnTo>
                    <a:pt x="2418" y="264"/>
                  </a:lnTo>
                  <a:lnTo>
                    <a:pt x="2412" y="258"/>
                  </a:lnTo>
                  <a:lnTo>
                    <a:pt x="2400" y="252"/>
                  </a:lnTo>
                  <a:lnTo>
                    <a:pt x="2376" y="252"/>
                  </a:lnTo>
                  <a:lnTo>
                    <a:pt x="2370" y="258"/>
                  </a:lnTo>
                  <a:lnTo>
                    <a:pt x="2370" y="264"/>
                  </a:lnTo>
                  <a:lnTo>
                    <a:pt x="2394" y="288"/>
                  </a:lnTo>
                  <a:lnTo>
                    <a:pt x="2406" y="288"/>
                  </a:lnTo>
                  <a:close/>
                  <a:moveTo>
                    <a:pt x="2868" y="528"/>
                  </a:moveTo>
                  <a:lnTo>
                    <a:pt x="2886" y="534"/>
                  </a:lnTo>
                  <a:lnTo>
                    <a:pt x="2892" y="534"/>
                  </a:lnTo>
                  <a:lnTo>
                    <a:pt x="2898" y="528"/>
                  </a:lnTo>
                  <a:lnTo>
                    <a:pt x="2898" y="522"/>
                  </a:lnTo>
                  <a:lnTo>
                    <a:pt x="2874" y="510"/>
                  </a:lnTo>
                  <a:lnTo>
                    <a:pt x="2868" y="516"/>
                  </a:lnTo>
                  <a:lnTo>
                    <a:pt x="2862" y="516"/>
                  </a:lnTo>
                  <a:lnTo>
                    <a:pt x="2862" y="522"/>
                  </a:lnTo>
                  <a:lnTo>
                    <a:pt x="2868" y="528"/>
                  </a:lnTo>
                  <a:close/>
                  <a:moveTo>
                    <a:pt x="2916" y="618"/>
                  </a:moveTo>
                  <a:lnTo>
                    <a:pt x="2928" y="618"/>
                  </a:lnTo>
                  <a:lnTo>
                    <a:pt x="2940" y="612"/>
                  </a:lnTo>
                  <a:lnTo>
                    <a:pt x="2958" y="612"/>
                  </a:lnTo>
                  <a:lnTo>
                    <a:pt x="2964" y="606"/>
                  </a:lnTo>
                  <a:lnTo>
                    <a:pt x="2970" y="606"/>
                  </a:lnTo>
                  <a:lnTo>
                    <a:pt x="2964" y="606"/>
                  </a:lnTo>
                  <a:lnTo>
                    <a:pt x="2958" y="600"/>
                  </a:lnTo>
                  <a:lnTo>
                    <a:pt x="2946" y="594"/>
                  </a:lnTo>
                  <a:lnTo>
                    <a:pt x="2934" y="594"/>
                  </a:lnTo>
                  <a:lnTo>
                    <a:pt x="2928" y="588"/>
                  </a:lnTo>
                  <a:lnTo>
                    <a:pt x="2922" y="588"/>
                  </a:lnTo>
                  <a:lnTo>
                    <a:pt x="2910" y="594"/>
                  </a:lnTo>
                  <a:lnTo>
                    <a:pt x="2892" y="594"/>
                  </a:lnTo>
                  <a:lnTo>
                    <a:pt x="2886" y="600"/>
                  </a:lnTo>
                  <a:lnTo>
                    <a:pt x="2880" y="600"/>
                  </a:lnTo>
                  <a:lnTo>
                    <a:pt x="2892" y="606"/>
                  </a:lnTo>
                  <a:lnTo>
                    <a:pt x="2898" y="612"/>
                  </a:lnTo>
                  <a:lnTo>
                    <a:pt x="2910" y="618"/>
                  </a:lnTo>
                  <a:lnTo>
                    <a:pt x="2916" y="618"/>
                  </a:lnTo>
                  <a:close/>
                  <a:moveTo>
                    <a:pt x="1710" y="552"/>
                  </a:moveTo>
                  <a:lnTo>
                    <a:pt x="1710" y="564"/>
                  </a:lnTo>
                  <a:lnTo>
                    <a:pt x="1716" y="570"/>
                  </a:lnTo>
                  <a:lnTo>
                    <a:pt x="1716" y="582"/>
                  </a:lnTo>
                  <a:lnTo>
                    <a:pt x="1722" y="594"/>
                  </a:lnTo>
                  <a:lnTo>
                    <a:pt x="1722" y="612"/>
                  </a:lnTo>
                  <a:lnTo>
                    <a:pt x="1716" y="618"/>
                  </a:lnTo>
                  <a:lnTo>
                    <a:pt x="1692" y="630"/>
                  </a:lnTo>
                  <a:lnTo>
                    <a:pt x="1686" y="636"/>
                  </a:lnTo>
                  <a:lnTo>
                    <a:pt x="1674" y="642"/>
                  </a:lnTo>
                  <a:lnTo>
                    <a:pt x="1674" y="678"/>
                  </a:lnTo>
                  <a:lnTo>
                    <a:pt x="1680" y="684"/>
                  </a:lnTo>
                  <a:lnTo>
                    <a:pt x="1686" y="696"/>
                  </a:lnTo>
                  <a:lnTo>
                    <a:pt x="1674" y="708"/>
                  </a:lnTo>
                  <a:lnTo>
                    <a:pt x="1674" y="720"/>
                  </a:lnTo>
                  <a:lnTo>
                    <a:pt x="1680" y="726"/>
                  </a:lnTo>
                  <a:lnTo>
                    <a:pt x="1692" y="732"/>
                  </a:lnTo>
                  <a:lnTo>
                    <a:pt x="1698" y="726"/>
                  </a:lnTo>
                  <a:lnTo>
                    <a:pt x="1722" y="726"/>
                  </a:lnTo>
                  <a:lnTo>
                    <a:pt x="1728" y="732"/>
                  </a:lnTo>
                  <a:lnTo>
                    <a:pt x="1728" y="756"/>
                  </a:lnTo>
                  <a:lnTo>
                    <a:pt x="1722" y="762"/>
                  </a:lnTo>
                  <a:lnTo>
                    <a:pt x="1740" y="780"/>
                  </a:lnTo>
                  <a:lnTo>
                    <a:pt x="1728" y="846"/>
                  </a:lnTo>
                  <a:lnTo>
                    <a:pt x="1710" y="864"/>
                  </a:lnTo>
                  <a:lnTo>
                    <a:pt x="1704" y="876"/>
                  </a:lnTo>
                  <a:lnTo>
                    <a:pt x="1704" y="888"/>
                  </a:lnTo>
                  <a:lnTo>
                    <a:pt x="1710" y="906"/>
                  </a:lnTo>
                  <a:lnTo>
                    <a:pt x="1722" y="924"/>
                  </a:lnTo>
                  <a:lnTo>
                    <a:pt x="1746" y="936"/>
                  </a:lnTo>
                  <a:lnTo>
                    <a:pt x="1764" y="930"/>
                  </a:lnTo>
                  <a:lnTo>
                    <a:pt x="1788" y="906"/>
                  </a:lnTo>
                  <a:lnTo>
                    <a:pt x="1788" y="864"/>
                  </a:lnTo>
                  <a:lnTo>
                    <a:pt x="1782" y="858"/>
                  </a:lnTo>
                  <a:lnTo>
                    <a:pt x="1776" y="846"/>
                  </a:lnTo>
                  <a:lnTo>
                    <a:pt x="1800" y="822"/>
                  </a:lnTo>
                  <a:lnTo>
                    <a:pt x="1806" y="804"/>
                  </a:lnTo>
                  <a:lnTo>
                    <a:pt x="1806" y="774"/>
                  </a:lnTo>
                  <a:lnTo>
                    <a:pt x="1812" y="756"/>
                  </a:lnTo>
                  <a:lnTo>
                    <a:pt x="1812" y="726"/>
                  </a:lnTo>
                  <a:lnTo>
                    <a:pt x="1806" y="714"/>
                  </a:lnTo>
                  <a:lnTo>
                    <a:pt x="1800" y="696"/>
                  </a:lnTo>
                  <a:lnTo>
                    <a:pt x="1794" y="684"/>
                  </a:lnTo>
                  <a:lnTo>
                    <a:pt x="1794" y="636"/>
                  </a:lnTo>
                  <a:lnTo>
                    <a:pt x="1800" y="630"/>
                  </a:lnTo>
                  <a:lnTo>
                    <a:pt x="1800" y="624"/>
                  </a:lnTo>
                  <a:lnTo>
                    <a:pt x="1806" y="618"/>
                  </a:lnTo>
                  <a:lnTo>
                    <a:pt x="1812" y="618"/>
                  </a:lnTo>
                  <a:lnTo>
                    <a:pt x="1818" y="624"/>
                  </a:lnTo>
                  <a:lnTo>
                    <a:pt x="1824" y="642"/>
                  </a:lnTo>
                  <a:lnTo>
                    <a:pt x="1830" y="666"/>
                  </a:lnTo>
                  <a:lnTo>
                    <a:pt x="1836" y="684"/>
                  </a:lnTo>
                  <a:lnTo>
                    <a:pt x="1836" y="702"/>
                  </a:lnTo>
                  <a:lnTo>
                    <a:pt x="1866" y="738"/>
                  </a:lnTo>
                  <a:lnTo>
                    <a:pt x="1866" y="792"/>
                  </a:lnTo>
                  <a:lnTo>
                    <a:pt x="1890" y="822"/>
                  </a:lnTo>
                  <a:lnTo>
                    <a:pt x="1890" y="858"/>
                  </a:lnTo>
                  <a:lnTo>
                    <a:pt x="1902" y="930"/>
                  </a:lnTo>
                  <a:lnTo>
                    <a:pt x="1920" y="918"/>
                  </a:lnTo>
                  <a:lnTo>
                    <a:pt x="1962" y="930"/>
                  </a:lnTo>
                  <a:lnTo>
                    <a:pt x="1962" y="870"/>
                  </a:lnTo>
                  <a:lnTo>
                    <a:pt x="1968" y="864"/>
                  </a:lnTo>
                  <a:lnTo>
                    <a:pt x="1974" y="852"/>
                  </a:lnTo>
                  <a:lnTo>
                    <a:pt x="1980" y="876"/>
                  </a:lnTo>
                  <a:lnTo>
                    <a:pt x="1998" y="876"/>
                  </a:lnTo>
                  <a:lnTo>
                    <a:pt x="2004" y="870"/>
                  </a:lnTo>
                  <a:lnTo>
                    <a:pt x="2010" y="858"/>
                  </a:lnTo>
                  <a:lnTo>
                    <a:pt x="2010" y="828"/>
                  </a:lnTo>
                  <a:lnTo>
                    <a:pt x="2004" y="822"/>
                  </a:lnTo>
                  <a:lnTo>
                    <a:pt x="2004" y="816"/>
                  </a:lnTo>
                  <a:lnTo>
                    <a:pt x="1992" y="810"/>
                  </a:lnTo>
                  <a:lnTo>
                    <a:pt x="1986" y="798"/>
                  </a:lnTo>
                  <a:lnTo>
                    <a:pt x="1974" y="792"/>
                  </a:lnTo>
                  <a:lnTo>
                    <a:pt x="1962" y="780"/>
                  </a:lnTo>
                  <a:lnTo>
                    <a:pt x="1956" y="768"/>
                  </a:lnTo>
                  <a:lnTo>
                    <a:pt x="1944" y="756"/>
                  </a:lnTo>
                  <a:lnTo>
                    <a:pt x="1944" y="750"/>
                  </a:lnTo>
                  <a:lnTo>
                    <a:pt x="1956" y="726"/>
                  </a:lnTo>
                  <a:lnTo>
                    <a:pt x="1968" y="720"/>
                  </a:lnTo>
                  <a:lnTo>
                    <a:pt x="1968" y="708"/>
                  </a:lnTo>
                  <a:lnTo>
                    <a:pt x="1962" y="696"/>
                  </a:lnTo>
                  <a:lnTo>
                    <a:pt x="1938" y="684"/>
                  </a:lnTo>
                  <a:lnTo>
                    <a:pt x="1932" y="672"/>
                  </a:lnTo>
                  <a:lnTo>
                    <a:pt x="1932" y="642"/>
                  </a:lnTo>
                  <a:lnTo>
                    <a:pt x="1938" y="636"/>
                  </a:lnTo>
                  <a:lnTo>
                    <a:pt x="1938" y="630"/>
                  </a:lnTo>
                  <a:lnTo>
                    <a:pt x="1926" y="618"/>
                  </a:lnTo>
                  <a:lnTo>
                    <a:pt x="1914" y="612"/>
                  </a:lnTo>
                  <a:lnTo>
                    <a:pt x="1896" y="594"/>
                  </a:lnTo>
                  <a:lnTo>
                    <a:pt x="1884" y="588"/>
                  </a:lnTo>
                  <a:lnTo>
                    <a:pt x="1878" y="582"/>
                  </a:lnTo>
                  <a:lnTo>
                    <a:pt x="1914" y="582"/>
                  </a:lnTo>
                  <a:lnTo>
                    <a:pt x="1926" y="576"/>
                  </a:lnTo>
                  <a:lnTo>
                    <a:pt x="1932" y="570"/>
                  </a:lnTo>
                  <a:lnTo>
                    <a:pt x="1944" y="546"/>
                  </a:lnTo>
                  <a:lnTo>
                    <a:pt x="1950" y="540"/>
                  </a:lnTo>
                  <a:lnTo>
                    <a:pt x="1956" y="528"/>
                  </a:lnTo>
                  <a:lnTo>
                    <a:pt x="1992" y="528"/>
                  </a:lnTo>
                  <a:lnTo>
                    <a:pt x="2004" y="522"/>
                  </a:lnTo>
                  <a:lnTo>
                    <a:pt x="2010" y="522"/>
                  </a:lnTo>
                  <a:lnTo>
                    <a:pt x="2016" y="516"/>
                  </a:lnTo>
                  <a:lnTo>
                    <a:pt x="2016" y="504"/>
                  </a:lnTo>
                  <a:lnTo>
                    <a:pt x="1998" y="486"/>
                  </a:lnTo>
                  <a:lnTo>
                    <a:pt x="1986" y="480"/>
                  </a:lnTo>
                  <a:lnTo>
                    <a:pt x="1974" y="486"/>
                  </a:lnTo>
                  <a:lnTo>
                    <a:pt x="1956" y="504"/>
                  </a:lnTo>
                  <a:lnTo>
                    <a:pt x="1956" y="510"/>
                  </a:lnTo>
                  <a:lnTo>
                    <a:pt x="1944" y="510"/>
                  </a:lnTo>
                  <a:lnTo>
                    <a:pt x="1932" y="504"/>
                  </a:lnTo>
                  <a:lnTo>
                    <a:pt x="1896" y="504"/>
                  </a:lnTo>
                  <a:lnTo>
                    <a:pt x="1890" y="510"/>
                  </a:lnTo>
                  <a:lnTo>
                    <a:pt x="1884" y="522"/>
                  </a:lnTo>
                  <a:lnTo>
                    <a:pt x="1854" y="552"/>
                  </a:lnTo>
                  <a:lnTo>
                    <a:pt x="1848" y="546"/>
                  </a:lnTo>
                  <a:lnTo>
                    <a:pt x="1836" y="540"/>
                  </a:lnTo>
                  <a:lnTo>
                    <a:pt x="1824" y="516"/>
                  </a:lnTo>
                  <a:lnTo>
                    <a:pt x="1788" y="498"/>
                  </a:lnTo>
                  <a:lnTo>
                    <a:pt x="1776" y="498"/>
                  </a:lnTo>
                  <a:lnTo>
                    <a:pt x="1776" y="486"/>
                  </a:lnTo>
                  <a:lnTo>
                    <a:pt x="1782" y="468"/>
                  </a:lnTo>
                  <a:lnTo>
                    <a:pt x="1782" y="456"/>
                  </a:lnTo>
                  <a:lnTo>
                    <a:pt x="1794" y="420"/>
                  </a:lnTo>
                  <a:lnTo>
                    <a:pt x="1806" y="408"/>
                  </a:lnTo>
                  <a:lnTo>
                    <a:pt x="1824" y="408"/>
                  </a:lnTo>
                  <a:lnTo>
                    <a:pt x="1842" y="414"/>
                  </a:lnTo>
                  <a:lnTo>
                    <a:pt x="1896" y="414"/>
                  </a:lnTo>
                  <a:lnTo>
                    <a:pt x="1902" y="408"/>
                  </a:lnTo>
                  <a:lnTo>
                    <a:pt x="1908" y="408"/>
                  </a:lnTo>
                  <a:lnTo>
                    <a:pt x="1908" y="402"/>
                  </a:lnTo>
                  <a:lnTo>
                    <a:pt x="1914" y="396"/>
                  </a:lnTo>
                  <a:lnTo>
                    <a:pt x="1920" y="396"/>
                  </a:lnTo>
                  <a:lnTo>
                    <a:pt x="1944" y="402"/>
                  </a:lnTo>
                  <a:lnTo>
                    <a:pt x="1980" y="420"/>
                  </a:lnTo>
                  <a:lnTo>
                    <a:pt x="2010" y="432"/>
                  </a:lnTo>
                  <a:lnTo>
                    <a:pt x="2034" y="438"/>
                  </a:lnTo>
                  <a:lnTo>
                    <a:pt x="2040" y="438"/>
                  </a:lnTo>
                  <a:lnTo>
                    <a:pt x="2052" y="432"/>
                  </a:lnTo>
                  <a:lnTo>
                    <a:pt x="2064" y="420"/>
                  </a:lnTo>
                  <a:lnTo>
                    <a:pt x="2082" y="420"/>
                  </a:lnTo>
                  <a:lnTo>
                    <a:pt x="2094" y="414"/>
                  </a:lnTo>
                  <a:lnTo>
                    <a:pt x="2106" y="414"/>
                  </a:lnTo>
                  <a:lnTo>
                    <a:pt x="2112" y="408"/>
                  </a:lnTo>
                  <a:lnTo>
                    <a:pt x="2112" y="402"/>
                  </a:lnTo>
                  <a:lnTo>
                    <a:pt x="2106" y="396"/>
                  </a:lnTo>
                  <a:lnTo>
                    <a:pt x="2106" y="390"/>
                  </a:lnTo>
                  <a:lnTo>
                    <a:pt x="2118" y="378"/>
                  </a:lnTo>
                  <a:lnTo>
                    <a:pt x="2142" y="366"/>
                  </a:lnTo>
                  <a:lnTo>
                    <a:pt x="2148" y="360"/>
                  </a:lnTo>
                  <a:lnTo>
                    <a:pt x="2160" y="354"/>
                  </a:lnTo>
                  <a:lnTo>
                    <a:pt x="2148" y="324"/>
                  </a:lnTo>
                  <a:lnTo>
                    <a:pt x="2070" y="360"/>
                  </a:lnTo>
                  <a:lnTo>
                    <a:pt x="2076" y="366"/>
                  </a:lnTo>
                  <a:lnTo>
                    <a:pt x="2076" y="372"/>
                  </a:lnTo>
                  <a:lnTo>
                    <a:pt x="2070" y="378"/>
                  </a:lnTo>
                  <a:lnTo>
                    <a:pt x="2046" y="378"/>
                  </a:lnTo>
                  <a:lnTo>
                    <a:pt x="2022" y="366"/>
                  </a:lnTo>
                  <a:lnTo>
                    <a:pt x="2004" y="366"/>
                  </a:lnTo>
                  <a:lnTo>
                    <a:pt x="1968" y="384"/>
                  </a:lnTo>
                  <a:lnTo>
                    <a:pt x="1950" y="384"/>
                  </a:lnTo>
                  <a:lnTo>
                    <a:pt x="1938" y="378"/>
                  </a:lnTo>
                  <a:lnTo>
                    <a:pt x="1926" y="378"/>
                  </a:lnTo>
                  <a:lnTo>
                    <a:pt x="1902" y="366"/>
                  </a:lnTo>
                  <a:lnTo>
                    <a:pt x="1860" y="366"/>
                  </a:lnTo>
                  <a:lnTo>
                    <a:pt x="1872" y="348"/>
                  </a:lnTo>
                  <a:lnTo>
                    <a:pt x="1860" y="348"/>
                  </a:lnTo>
                  <a:lnTo>
                    <a:pt x="1848" y="342"/>
                  </a:lnTo>
                  <a:lnTo>
                    <a:pt x="1824" y="342"/>
                  </a:lnTo>
                  <a:lnTo>
                    <a:pt x="1824" y="366"/>
                  </a:lnTo>
                  <a:lnTo>
                    <a:pt x="1812" y="378"/>
                  </a:lnTo>
                  <a:lnTo>
                    <a:pt x="1788" y="390"/>
                  </a:lnTo>
                  <a:lnTo>
                    <a:pt x="1764" y="390"/>
                  </a:lnTo>
                  <a:lnTo>
                    <a:pt x="1758" y="396"/>
                  </a:lnTo>
                  <a:lnTo>
                    <a:pt x="1758" y="426"/>
                  </a:lnTo>
                  <a:lnTo>
                    <a:pt x="1740" y="432"/>
                  </a:lnTo>
                  <a:lnTo>
                    <a:pt x="1752" y="498"/>
                  </a:lnTo>
                  <a:lnTo>
                    <a:pt x="1740" y="498"/>
                  </a:lnTo>
                  <a:lnTo>
                    <a:pt x="1734" y="510"/>
                  </a:lnTo>
                  <a:lnTo>
                    <a:pt x="1728" y="516"/>
                  </a:lnTo>
                  <a:lnTo>
                    <a:pt x="1710" y="552"/>
                  </a:lnTo>
                  <a:close/>
                  <a:moveTo>
                    <a:pt x="1986" y="576"/>
                  </a:moveTo>
                  <a:lnTo>
                    <a:pt x="1986" y="594"/>
                  </a:lnTo>
                  <a:lnTo>
                    <a:pt x="1992" y="600"/>
                  </a:lnTo>
                  <a:lnTo>
                    <a:pt x="2004" y="600"/>
                  </a:lnTo>
                  <a:lnTo>
                    <a:pt x="2016" y="588"/>
                  </a:lnTo>
                  <a:lnTo>
                    <a:pt x="2016" y="576"/>
                  </a:lnTo>
                  <a:lnTo>
                    <a:pt x="1986" y="576"/>
                  </a:lnTo>
                  <a:close/>
                  <a:moveTo>
                    <a:pt x="1686" y="1110"/>
                  </a:moveTo>
                  <a:lnTo>
                    <a:pt x="1674" y="1110"/>
                  </a:lnTo>
                  <a:lnTo>
                    <a:pt x="1668" y="1116"/>
                  </a:lnTo>
                  <a:lnTo>
                    <a:pt x="1662" y="1116"/>
                  </a:lnTo>
                  <a:lnTo>
                    <a:pt x="1614" y="1104"/>
                  </a:lnTo>
                  <a:lnTo>
                    <a:pt x="1644" y="1146"/>
                  </a:lnTo>
                  <a:lnTo>
                    <a:pt x="1650" y="1152"/>
                  </a:lnTo>
                  <a:lnTo>
                    <a:pt x="1662" y="1158"/>
                  </a:lnTo>
                  <a:lnTo>
                    <a:pt x="1668" y="1164"/>
                  </a:lnTo>
                  <a:lnTo>
                    <a:pt x="1680" y="1170"/>
                  </a:lnTo>
                  <a:lnTo>
                    <a:pt x="1692" y="1158"/>
                  </a:lnTo>
                  <a:lnTo>
                    <a:pt x="1698" y="1140"/>
                  </a:lnTo>
                  <a:lnTo>
                    <a:pt x="1698" y="1128"/>
                  </a:lnTo>
                  <a:lnTo>
                    <a:pt x="1692" y="1116"/>
                  </a:lnTo>
                  <a:lnTo>
                    <a:pt x="1686" y="1110"/>
                  </a:lnTo>
                  <a:close/>
                  <a:moveTo>
                    <a:pt x="2094" y="1104"/>
                  </a:moveTo>
                  <a:lnTo>
                    <a:pt x="2064" y="1128"/>
                  </a:lnTo>
                  <a:lnTo>
                    <a:pt x="2094" y="1134"/>
                  </a:lnTo>
                  <a:lnTo>
                    <a:pt x="2094" y="1104"/>
                  </a:lnTo>
                  <a:close/>
                  <a:moveTo>
                    <a:pt x="486" y="294"/>
                  </a:moveTo>
                  <a:lnTo>
                    <a:pt x="474" y="288"/>
                  </a:lnTo>
                  <a:lnTo>
                    <a:pt x="468" y="288"/>
                  </a:lnTo>
                  <a:lnTo>
                    <a:pt x="456" y="294"/>
                  </a:lnTo>
                  <a:lnTo>
                    <a:pt x="456" y="312"/>
                  </a:lnTo>
                  <a:lnTo>
                    <a:pt x="468" y="324"/>
                  </a:lnTo>
                  <a:lnTo>
                    <a:pt x="474" y="318"/>
                  </a:lnTo>
                  <a:lnTo>
                    <a:pt x="486" y="318"/>
                  </a:lnTo>
                  <a:lnTo>
                    <a:pt x="486" y="312"/>
                  </a:lnTo>
                  <a:lnTo>
                    <a:pt x="492" y="300"/>
                  </a:lnTo>
                  <a:lnTo>
                    <a:pt x="486" y="294"/>
                  </a:lnTo>
                  <a:close/>
                  <a:moveTo>
                    <a:pt x="2346" y="588"/>
                  </a:moveTo>
                  <a:lnTo>
                    <a:pt x="2340" y="576"/>
                  </a:lnTo>
                  <a:lnTo>
                    <a:pt x="2328" y="570"/>
                  </a:lnTo>
                  <a:lnTo>
                    <a:pt x="2310" y="552"/>
                  </a:lnTo>
                  <a:lnTo>
                    <a:pt x="2304" y="552"/>
                  </a:lnTo>
                  <a:lnTo>
                    <a:pt x="2304" y="600"/>
                  </a:lnTo>
                  <a:lnTo>
                    <a:pt x="2316" y="600"/>
                  </a:lnTo>
                  <a:lnTo>
                    <a:pt x="2328" y="606"/>
                  </a:lnTo>
                  <a:lnTo>
                    <a:pt x="2334" y="606"/>
                  </a:lnTo>
                  <a:lnTo>
                    <a:pt x="2346" y="600"/>
                  </a:lnTo>
                  <a:lnTo>
                    <a:pt x="2346" y="588"/>
                  </a:lnTo>
                  <a:close/>
                  <a:moveTo>
                    <a:pt x="2310" y="474"/>
                  </a:moveTo>
                  <a:lnTo>
                    <a:pt x="2340" y="504"/>
                  </a:lnTo>
                  <a:lnTo>
                    <a:pt x="2358" y="516"/>
                  </a:lnTo>
                  <a:lnTo>
                    <a:pt x="2382" y="528"/>
                  </a:lnTo>
                  <a:lnTo>
                    <a:pt x="2400" y="528"/>
                  </a:lnTo>
                  <a:lnTo>
                    <a:pt x="2400" y="522"/>
                  </a:lnTo>
                  <a:lnTo>
                    <a:pt x="2358" y="480"/>
                  </a:lnTo>
                  <a:lnTo>
                    <a:pt x="2358" y="468"/>
                  </a:lnTo>
                  <a:lnTo>
                    <a:pt x="2364" y="456"/>
                  </a:lnTo>
                  <a:lnTo>
                    <a:pt x="2376" y="450"/>
                  </a:lnTo>
                  <a:lnTo>
                    <a:pt x="2394" y="450"/>
                  </a:lnTo>
                  <a:lnTo>
                    <a:pt x="2406" y="456"/>
                  </a:lnTo>
                  <a:lnTo>
                    <a:pt x="2424" y="444"/>
                  </a:lnTo>
                  <a:lnTo>
                    <a:pt x="2400" y="432"/>
                  </a:lnTo>
                  <a:lnTo>
                    <a:pt x="2412" y="426"/>
                  </a:lnTo>
                  <a:lnTo>
                    <a:pt x="2424" y="402"/>
                  </a:lnTo>
                  <a:lnTo>
                    <a:pt x="2412" y="378"/>
                  </a:lnTo>
                  <a:lnTo>
                    <a:pt x="2400" y="372"/>
                  </a:lnTo>
                  <a:lnTo>
                    <a:pt x="2382" y="372"/>
                  </a:lnTo>
                  <a:lnTo>
                    <a:pt x="2358" y="396"/>
                  </a:lnTo>
                  <a:lnTo>
                    <a:pt x="2346" y="402"/>
                  </a:lnTo>
                  <a:lnTo>
                    <a:pt x="2340" y="408"/>
                  </a:lnTo>
                  <a:lnTo>
                    <a:pt x="2334" y="408"/>
                  </a:lnTo>
                  <a:lnTo>
                    <a:pt x="2328" y="402"/>
                  </a:lnTo>
                  <a:lnTo>
                    <a:pt x="2328" y="366"/>
                  </a:lnTo>
                  <a:lnTo>
                    <a:pt x="2334" y="360"/>
                  </a:lnTo>
                  <a:lnTo>
                    <a:pt x="2346" y="336"/>
                  </a:lnTo>
                  <a:lnTo>
                    <a:pt x="2346" y="318"/>
                  </a:lnTo>
                  <a:lnTo>
                    <a:pt x="2340" y="312"/>
                  </a:lnTo>
                  <a:lnTo>
                    <a:pt x="2358" y="276"/>
                  </a:lnTo>
                  <a:lnTo>
                    <a:pt x="2316" y="312"/>
                  </a:lnTo>
                  <a:lnTo>
                    <a:pt x="2316" y="342"/>
                  </a:lnTo>
                  <a:lnTo>
                    <a:pt x="2304" y="348"/>
                  </a:lnTo>
                  <a:lnTo>
                    <a:pt x="2298" y="354"/>
                  </a:lnTo>
                  <a:lnTo>
                    <a:pt x="2286" y="378"/>
                  </a:lnTo>
                  <a:lnTo>
                    <a:pt x="2286" y="408"/>
                  </a:lnTo>
                  <a:lnTo>
                    <a:pt x="2298" y="420"/>
                  </a:lnTo>
                  <a:lnTo>
                    <a:pt x="2304" y="432"/>
                  </a:lnTo>
                  <a:lnTo>
                    <a:pt x="2310" y="438"/>
                  </a:lnTo>
                  <a:lnTo>
                    <a:pt x="2310" y="444"/>
                  </a:lnTo>
                  <a:lnTo>
                    <a:pt x="2304" y="450"/>
                  </a:lnTo>
                  <a:lnTo>
                    <a:pt x="2304" y="468"/>
                  </a:lnTo>
                  <a:lnTo>
                    <a:pt x="2310" y="474"/>
                  </a:lnTo>
                  <a:close/>
                  <a:moveTo>
                    <a:pt x="2250" y="708"/>
                  </a:moveTo>
                  <a:lnTo>
                    <a:pt x="2238" y="696"/>
                  </a:lnTo>
                  <a:lnTo>
                    <a:pt x="2214" y="708"/>
                  </a:lnTo>
                  <a:lnTo>
                    <a:pt x="2214" y="732"/>
                  </a:lnTo>
                  <a:lnTo>
                    <a:pt x="2220" y="744"/>
                  </a:lnTo>
                  <a:lnTo>
                    <a:pt x="2226" y="750"/>
                  </a:lnTo>
                  <a:lnTo>
                    <a:pt x="2250" y="762"/>
                  </a:lnTo>
                  <a:lnTo>
                    <a:pt x="2274" y="762"/>
                  </a:lnTo>
                  <a:lnTo>
                    <a:pt x="2280" y="750"/>
                  </a:lnTo>
                  <a:lnTo>
                    <a:pt x="2280" y="738"/>
                  </a:lnTo>
                  <a:lnTo>
                    <a:pt x="2274" y="726"/>
                  </a:lnTo>
                  <a:lnTo>
                    <a:pt x="2274" y="714"/>
                  </a:lnTo>
                  <a:lnTo>
                    <a:pt x="2268" y="708"/>
                  </a:lnTo>
                  <a:lnTo>
                    <a:pt x="2268" y="702"/>
                  </a:lnTo>
                  <a:lnTo>
                    <a:pt x="2250" y="708"/>
                  </a:lnTo>
                  <a:close/>
                  <a:moveTo>
                    <a:pt x="2148" y="1104"/>
                  </a:moveTo>
                  <a:lnTo>
                    <a:pt x="2226" y="1092"/>
                  </a:lnTo>
                  <a:lnTo>
                    <a:pt x="2166" y="1074"/>
                  </a:lnTo>
                  <a:lnTo>
                    <a:pt x="2148" y="1104"/>
                  </a:lnTo>
                  <a:close/>
                  <a:moveTo>
                    <a:pt x="2544" y="750"/>
                  </a:moveTo>
                  <a:lnTo>
                    <a:pt x="2520" y="732"/>
                  </a:lnTo>
                  <a:lnTo>
                    <a:pt x="2526" y="714"/>
                  </a:lnTo>
                  <a:lnTo>
                    <a:pt x="2514" y="702"/>
                  </a:lnTo>
                  <a:lnTo>
                    <a:pt x="2508" y="690"/>
                  </a:lnTo>
                  <a:lnTo>
                    <a:pt x="2490" y="684"/>
                  </a:lnTo>
                  <a:lnTo>
                    <a:pt x="2472" y="672"/>
                  </a:lnTo>
                  <a:lnTo>
                    <a:pt x="2442" y="666"/>
                  </a:lnTo>
                  <a:lnTo>
                    <a:pt x="2424" y="666"/>
                  </a:lnTo>
                  <a:lnTo>
                    <a:pt x="2388" y="684"/>
                  </a:lnTo>
                  <a:lnTo>
                    <a:pt x="2358" y="684"/>
                  </a:lnTo>
                  <a:lnTo>
                    <a:pt x="2346" y="696"/>
                  </a:lnTo>
                  <a:lnTo>
                    <a:pt x="2340" y="708"/>
                  </a:lnTo>
                  <a:lnTo>
                    <a:pt x="2340" y="726"/>
                  </a:lnTo>
                  <a:lnTo>
                    <a:pt x="2346" y="732"/>
                  </a:lnTo>
                  <a:lnTo>
                    <a:pt x="2364" y="714"/>
                  </a:lnTo>
                  <a:lnTo>
                    <a:pt x="2364" y="726"/>
                  </a:lnTo>
                  <a:lnTo>
                    <a:pt x="2370" y="738"/>
                  </a:lnTo>
                  <a:lnTo>
                    <a:pt x="2376" y="744"/>
                  </a:lnTo>
                  <a:lnTo>
                    <a:pt x="2388" y="738"/>
                  </a:lnTo>
                  <a:lnTo>
                    <a:pt x="2394" y="732"/>
                  </a:lnTo>
                  <a:lnTo>
                    <a:pt x="2394" y="726"/>
                  </a:lnTo>
                  <a:lnTo>
                    <a:pt x="2400" y="720"/>
                  </a:lnTo>
                  <a:lnTo>
                    <a:pt x="2400" y="714"/>
                  </a:lnTo>
                  <a:lnTo>
                    <a:pt x="2406" y="726"/>
                  </a:lnTo>
                  <a:lnTo>
                    <a:pt x="2418" y="732"/>
                  </a:lnTo>
                  <a:lnTo>
                    <a:pt x="2430" y="732"/>
                  </a:lnTo>
                  <a:lnTo>
                    <a:pt x="2442" y="720"/>
                  </a:lnTo>
                  <a:lnTo>
                    <a:pt x="2454" y="714"/>
                  </a:lnTo>
                  <a:lnTo>
                    <a:pt x="2460" y="708"/>
                  </a:lnTo>
                  <a:lnTo>
                    <a:pt x="2472" y="762"/>
                  </a:lnTo>
                  <a:lnTo>
                    <a:pt x="2502" y="738"/>
                  </a:lnTo>
                  <a:lnTo>
                    <a:pt x="2538" y="774"/>
                  </a:lnTo>
                  <a:lnTo>
                    <a:pt x="2544" y="750"/>
                  </a:lnTo>
                  <a:close/>
                  <a:moveTo>
                    <a:pt x="3264" y="678"/>
                  </a:moveTo>
                  <a:lnTo>
                    <a:pt x="3222" y="648"/>
                  </a:lnTo>
                  <a:lnTo>
                    <a:pt x="3210" y="648"/>
                  </a:lnTo>
                  <a:lnTo>
                    <a:pt x="3198" y="654"/>
                  </a:lnTo>
                  <a:lnTo>
                    <a:pt x="3180" y="654"/>
                  </a:lnTo>
                  <a:lnTo>
                    <a:pt x="3162" y="648"/>
                  </a:lnTo>
                  <a:lnTo>
                    <a:pt x="3126" y="630"/>
                  </a:lnTo>
                  <a:lnTo>
                    <a:pt x="3096" y="612"/>
                  </a:lnTo>
                  <a:lnTo>
                    <a:pt x="3060" y="594"/>
                  </a:lnTo>
                  <a:lnTo>
                    <a:pt x="3042" y="582"/>
                  </a:lnTo>
                  <a:lnTo>
                    <a:pt x="3030" y="582"/>
                  </a:lnTo>
                  <a:lnTo>
                    <a:pt x="3006" y="594"/>
                  </a:lnTo>
                  <a:lnTo>
                    <a:pt x="3000" y="600"/>
                  </a:lnTo>
                  <a:lnTo>
                    <a:pt x="2988" y="606"/>
                  </a:lnTo>
                  <a:lnTo>
                    <a:pt x="3006" y="630"/>
                  </a:lnTo>
                  <a:lnTo>
                    <a:pt x="2928" y="642"/>
                  </a:lnTo>
                  <a:lnTo>
                    <a:pt x="2934" y="666"/>
                  </a:lnTo>
                  <a:lnTo>
                    <a:pt x="2928" y="678"/>
                  </a:lnTo>
                  <a:lnTo>
                    <a:pt x="2922" y="684"/>
                  </a:lnTo>
                  <a:lnTo>
                    <a:pt x="2916" y="696"/>
                  </a:lnTo>
                  <a:lnTo>
                    <a:pt x="2880" y="720"/>
                  </a:lnTo>
                  <a:lnTo>
                    <a:pt x="2862" y="726"/>
                  </a:lnTo>
                  <a:lnTo>
                    <a:pt x="2844" y="726"/>
                  </a:lnTo>
                  <a:lnTo>
                    <a:pt x="2832" y="720"/>
                  </a:lnTo>
                  <a:lnTo>
                    <a:pt x="2826" y="714"/>
                  </a:lnTo>
                  <a:lnTo>
                    <a:pt x="2820" y="702"/>
                  </a:lnTo>
                  <a:lnTo>
                    <a:pt x="2820" y="678"/>
                  </a:lnTo>
                  <a:lnTo>
                    <a:pt x="2814" y="672"/>
                  </a:lnTo>
                  <a:lnTo>
                    <a:pt x="2814" y="660"/>
                  </a:lnTo>
                  <a:lnTo>
                    <a:pt x="2808" y="666"/>
                  </a:lnTo>
                  <a:lnTo>
                    <a:pt x="2808" y="672"/>
                  </a:lnTo>
                  <a:lnTo>
                    <a:pt x="2802" y="684"/>
                  </a:lnTo>
                  <a:lnTo>
                    <a:pt x="2796" y="690"/>
                  </a:lnTo>
                  <a:lnTo>
                    <a:pt x="2796" y="696"/>
                  </a:lnTo>
                  <a:lnTo>
                    <a:pt x="2796" y="690"/>
                  </a:lnTo>
                  <a:lnTo>
                    <a:pt x="2790" y="684"/>
                  </a:lnTo>
                  <a:lnTo>
                    <a:pt x="2790" y="672"/>
                  </a:lnTo>
                  <a:lnTo>
                    <a:pt x="2784" y="660"/>
                  </a:lnTo>
                  <a:lnTo>
                    <a:pt x="2784" y="576"/>
                  </a:lnTo>
                  <a:lnTo>
                    <a:pt x="2778" y="558"/>
                  </a:lnTo>
                  <a:lnTo>
                    <a:pt x="2760" y="522"/>
                  </a:lnTo>
                  <a:lnTo>
                    <a:pt x="2724" y="522"/>
                  </a:lnTo>
                  <a:lnTo>
                    <a:pt x="2718" y="510"/>
                  </a:lnTo>
                  <a:lnTo>
                    <a:pt x="2694" y="498"/>
                  </a:lnTo>
                  <a:lnTo>
                    <a:pt x="2676" y="486"/>
                  </a:lnTo>
                  <a:lnTo>
                    <a:pt x="2652" y="486"/>
                  </a:lnTo>
                  <a:lnTo>
                    <a:pt x="2634" y="498"/>
                  </a:lnTo>
                  <a:lnTo>
                    <a:pt x="2628" y="504"/>
                  </a:lnTo>
                  <a:lnTo>
                    <a:pt x="2616" y="510"/>
                  </a:lnTo>
                  <a:lnTo>
                    <a:pt x="2610" y="522"/>
                  </a:lnTo>
                  <a:lnTo>
                    <a:pt x="2586" y="528"/>
                  </a:lnTo>
                  <a:lnTo>
                    <a:pt x="2580" y="546"/>
                  </a:lnTo>
                  <a:lnTo>
                    <a:pt x="2562" y="558"/>
                  </a:lnTo>
                  <a:lnTo>
                    <a:pt x="2562" y="540"/>
                  </a:lnTo>
                  <a:lnTo>
                    <a:pt x="2556" y="534"/>
                  </a:lnTo>
                  <a:lnTo>
                    <a:pt x="2532" y="534"/>
                  </a:lnTo>
                  <a:lnTo>
                    <a:pt x="2532" y="546"/>
                  </a:lnTo>
                  <a:lnTo>
                    <a:pt x="2544" y="570"/>
                  </a:lnTo>
                  <a:lnTo>
                    <a:pt x="2568" y="582"/>
                  </a:lnTo>
                  <a:lnTo>
                    <a:pt x="2604" y="582"/>
                  </a:lnTo>
                  <a:lnTo>
                    <a:pt x="2616" y="588"/>
                  </a:lnTo>
                  <a:lnTo>
                    <a:pt x="2622" y="594"/>
                  </a:lnTo>
                  <a:lnTo>
                    <a:pt x="2628" y="594"/>
                  </a:lnTo>
                  <a:lnTo>
                    <a:pt x="2628" y="618"/>
                  </a:lnTo>
                  <a:lnTo>
                    <a:pt x="2634" y="630"/>
                  </a:lnTo>
                  <a:lnTo>
                    <a:pt x="2640" y="636"/>
                  </a:lnTo>
                  <a:lnTo>
                    <a:pt x="2652" y="642"/>
                  </a:lnTo>
                  <a:lnTo>
                    <a:pt x="2694" y="642"/>
                  </a:lnTo>
                  <a:lnTo>
                    <a:pt x="2712" y="636"/>
                  </a:lnTo>
                  <a:lnTo>
                    <a:pt x="2754" y="636"/>
                  </a:lnTo>
                  <a:lnTo>
                    <a:pt x="2760" y="642"/>
                  </a:lnTo>
                  <a:lnTo>
                    <a:pt x="2760" y="660"/>
                  </a:lnTo>
                  <a:lnTo>
                    <a:pt x="2700" y="660"/>
                  </a:lnTo>
                  <a:lnTo>
                    <a:pt x="2688" y="666"/>
                  </a:lnTo>
                  <a:lnTo>
                    <a:pt x="2676" y="678"/>
                  </a:lnTo>
                  <a:lnTo>
                    <a:pt x="2640" y="678"/>
                  </a:lnTo>
                  <a:lnTo>
                    <a:pt x="2616" y="690"/>
                  </a:lnTo>
                  <a:lnTo>
                    <a:pt x="2616" y="696"/>
                  </a:lnTo>
                  <a:lnTo>
                    <a:pt x="2622" y="696"/>
                  </a:lnTo>
                  <a:lnTo>
                    <a:pt x="2646" y="708"/>
                  </a:lnTo>
                  <a:lnTo>
                    <a:pt x="2658" y="708"/>
                  </a:lnTo>
                  <a:lnTo>
                    <a:pt x="2676" y="726"/>
                  </a:lnTo>
                  <a:lnTo>
                    <a:pt x="2682" y="738"/>
                  </a:lnTo>
                  <a:lnTo>
                    <a:pt x="2688" y="744"/>
                  </a:lnTo>
                  <a:lnTo>
                    <a:pt x="2682" y="750"/>
                  </a:lnTo>
                  <a:lnTo>
                    <a:pt x="2676" y="762"/>
                  </a:lnTo>
                  <a:lnTo>
                    <a:pt x="2676" y="774"/>
                  </a:lnTo>
                  <a:lnTo>
                    <a:pt x="2670" y="780"/>
                  </a:lnTo>
                  <a:lnTo>
                    <a:pt x="2676" y="792"/>
                  </a:lnTo>
                  <a:lnTo>
                    <a:pt x="2682" y="798"/>
                  </a:lnTo>
                  <a:lnTo>
                    <a:pt x="2694" y="792"/>
                  </a:lnTo>
                  <a:lnTo>
                    <a:pt x="2706" y="780"/>
                  </a:lnTo>
                  <a:lnTo>
                    <a:pt x="2712" y="768"/>
                  </a:lnTo>
                  <a:lnTo>
                    <a:pt x="2718" y="762"/>
                  </a:lnTo>
                  <a:lnTo>
                    <a:pt x="2718" y="750"/>
                  </a:lnTo>
                  <a:lnTo>
                    <a:pt x="2724" y="744"/>
                  </a:lnTo>
                  <a:lnTo>
                    <a:pt x="2736" y="720"/>
                  </a:lnTo>
                  <a:lnTo>
                    <a:pt x="2742" y="714"/>
                  </a:lnTo>
                  <a:lnTo>
                    <a:pt x="2748" y="702"/>
                  </a:lnTo>
                  <a:lnTo>
                    <a:pt x="2748" y="744"/>
                  </a:lnTo>
                  <a:lnTo>
                    <a:pt x="2754" y="750"/>
                  </a:lnTo>
                  <a:lnTo>
                    <a:pt x="2766" y="756"/>
                  </a:lnTo>
                  <a:lnTo>
                    <a:pt x="2772" y="768"/>
                  </a:lnTo>
                  <a:lnTo>
                    <a:pt x="2784" y="774"/>
                  </a:lnTo>
                  <a:lnTo>
                    <a:pt x="2790" y="780"/>
                  </a:lnTo>
                  <a:lnTo>
                    <a:pt x="2814" y="780"/>
                  </a:lnTo>
                  <a:lnTo>
                    <a:pt x="2820" y="774"/>
                  </a:lnTo>
                  <a:lnTo>
                    <a:pt x="2826" y="774"/>
                  </a:lnTo>
                  <a:lnTo>
                    <a:pt x="2814" y="792"/>
                  </a:lnTo>
                  <a:lnTo>
                    <a:pt x="2844" y="822"/>
                  </a:lnTo>
                  <a:lnTo>
                    <a:pt x="2904" y="822"/>
                  </a:lnTo>
                  <a:lnTo>
                    <a:pt x="2940" y="846"/>
                  </a:lnTo>
                  <a:lnTo>
                    <a:pt x="2976" y="864"/>
                  </a:lnTo>
                  <a:lnTo>
                    <a:pt x="3006" y="876"/>
                  </a:lnTo>
                  <a:lnTo>
                    <a:pt x="3036" y="894"/>
                  </a:lnTo>
                  <a:lnTo>
                    <a:pt x="3066" y="924"/>
                  </a:lnTo>
                  <a:lnTo>
                    <a:pt x="3066" y="972"/>
                  </a:lnTo>
                  <a:lnTo>
                    <a:pt x="3090" y="996"/>
                  </a:lnTo>
                  <a:lnTo>
                    <a:pt x="3102" y="1002"/>
                  </a:lnTo>
                  <a:lnTo>
                    <a:pt x="3096" y="1002"/>
                  </a:lnTo>
                  <a:lnTo>
                    <a:pt x="3084" y="1008"/>
                  </a:lnTo>
                  <a:lnTo>
                    <a:pt x="3078" y="1014"/>
                  </a:lnTo>
                  <a:lnTo>
                    <a:pt x="3078" y="1020"/>
                  </a:lnTo>
                  <a:lnTo>
                    <a:pt x="3090" y="1032"/>
                  </a:lnTo>
                  <a:lnTo>
                    <a:pt x="3114" y="1032"/>
                  </a:lnTo>
                  <a:lnTo>
                    <a:pt x="3090" y="1044"/>
                  </a:lnTo>
                  <a:lnTo>
                    <a:pt x="3090" y="1056"/>
                  </a:lnTo>
                  <a:lnTo>
                    <a:pt x="3102" y="1062"/>
                  </a:lnTo>
                  <a:lnTo>
                    <a:pt x="3108" y="1092"/>
                  </a:lnTo>
                  <a:lnTo>
                    <a:pt x="3096" y="1122"/>
                  </a:lnTo>
                  <a:lnTo>
                    <a:pt x="3120" y="1122"/>
                  </a:lnTo>
                  <a:lnTo>
                    <a:pt x="3126" y="1116"/>
                  </a:lnTo>
                  <a:lnTo>
                    <a:pt x="3138" y="1116"/>
                  </a:lnTo>
                  <a:lnTo>
                    <a:pt x="3150" y="1110"/>
                  </a:lnTo>
                  <a:lnTo>
                    <a:pt x="3162" y="1110"/>
                  </a:lnTo>
                  <a:lnTo>
                    <a:pt x="3168" y="1104"/>
                  </a:lnTo>
                  <a:lnTo>
                    <a:pt x="3174" y="1104"/>
                  </a:lnTo>
                  <a:lnTo>
                    <a:pt x="3174" y="1134"/>
                  </a:lnTo>
                  <a:lnTo>
                    <a:pt x="3234" y="1194"/>
                  </a:lnTo>
                  <a:lnTo>
                    <a:pt x="3240" y="1194"/>
                  </a:lnTo>
                  <a:lnTo>
                    <a:pt x="3240" y="1146"/>
                  </a:lnTo>
                  <a:lnTo>
                    <a:pt x="3234" y="1122"/>
                  </a:lnTo>
                  <a:lnTo>
                    <a:pt x="3234" y="1116"/>
                  </a:lnTo>
                  <a:lnTo>
                    <a:pt x="3240" y="1110"/>
                  </a:lnTo>
                  <a:lnTo>
                    <a:pt x="3240" y="1098"/>
                  </a:lnTo>
                  <a:lnTo>
                    <a:pt x="3246" y="1086"/>
                  </a:lnTo>
                  <a:lnTo>
                    <a:pt x="3246" y="1062"/>
                  </a:lnTo>
                  <a:lnTo>
                    <a:pt x="3252" y="1050"/>
                  </a:lnTo>
                  <a:lnTo>
                    <a:pt x="3252" y="1020"/>
                  </a:lnTo>
                  <a:lnTo>
                    <a:pt x="3240" y="1020"/>
                  </a:lnTo>
                  <a:lnTo>
                    <a:pt x="3228" y="1014"/>
                  </a:lnTo>
                  <a:lnTo>
                    <a:pt x="3222" y="1008"/>
                  </a:lnTo>
                  <a:lnTo>
                    <a:pt x="3222" y="1002"/>
                  </a:lnTo>
                  <a:lnTo>
                    <a:pt x="3234" y="990"/>
                  </a:lnTo>
                  <a:lnTo>
                    <a:pt x="3246" y="984"/>
                  </a:lnTo>
                  <a:lnTo>
                    <a:pt x="3252" y="978"/>
                  </a:lnTo>
                  <a:lnTo>
                    <a:pt x="3252" y="864"/>
                  </a:lnTo>
                  <a:lnTo>
                    <a:pt x="3258" y="846"/>
                  </a:lnTo>
                  <a:lnTo>
                    <a:pt x="3258" y="708"/>
                  </a:lnTo>
                  <a:lnTo>
                    <a:pt x="3264" y="678"/>
                  </a:lnTo>
                  <a:close/>
                  <a:moveTo>
                    <a:pt x="336" y="666"/>
                  </a:moveTo>
                  <a:lnTo>
                    <a:pt x="330" y="672"/>
                  </a:lnTo>
                  <a:lnTo>
                    <a:pt x="354" y="696"/>
                  </a:lnTo>
                  <a:lnTo>
                    <a:pt x="360" y="708"/>
                  </a:lnTo>
                  <a:lnTo>
                    <a:pt x="366" y="714"/>
                  </a:lnTo>
                  <a:lnTo>
                    <a:pt x="378" y="714"/>
                  </a:lnTo>
                  <a:lnTo>
                    <a:pt x="378" y="696"/>
                  </a:lnTo>
                  <a:lnTo>
                    <a:pt x="366" y="690"/>
                  </a:lnTo>
                  <a:lnTo>
                    <a:pt x="360" y="678"/>
                  </a:lnTo>
                  <a:lnTo>
                    <a:pt x="348" y="672"/>
                  </a:lnTo>
                  <a:lnTo>
                    <a:pt x="342" y="666"/>
                  </a:lnTo>
                  <a:lnTo>
                    <a:pt x="336" y="666"/>
                  </a:lnTo>
                  <a:close/>
                  <a:moveTo>
                    <a:pt x="2526" y="1104"/>
                  </a:moveTo>
                  <a:lnTo>
                    <a:pt x="2544" y="1116"/>
                  </a:lnTo>
                  <a:lnTo>
                    <a:pt x="2574" y="1092"/>
                  </a:lnTo>
                  <a:lnTo>
                    <a:pt x="2592" y="1092"/>
                  </a:lnTo>
                  <a:lnTo>
                    <a:pt x="2604" y="1080"/>
                  </a:lnTo>
                  <a:lnTo>
                    <a:pt x="2604" y="1062"/>
                  </a:lnTo>
                  <a:lnTo>
                    <a:pt x="2592" y="1056"/>
                  </a:lnTo>
                  <a:lnTo>
                    <a:pt x="2586" y="1056"/>
                  </a:lnTo>
                  <a:lnTo>
                    <a:pt x="2574" y="1062"/>
                  </a:lnTo>
                  <a:lnTo>
                    <a:pt x="2556" y="1068"/>
                  </a:lnTo>
                  <a:lnTo>
                    <a:pt x="2526" y="1098"/>
                  </a:lnTo>
                  <a:lnTo>
                    <a:pt x="2526" y="1104"/>
                  </a:lnTo>
                  <a:close/>
                  <a:moveTo>
                    <a:pt x="3096" y="1068"/>
                  </a:moveTo>
                  <a:lnTo>
                    <a:pt x="3090" y="1068"/>
                  </a:lnTo>
                  <a:lnTo>
                    <a:pt x="3090" y="1062"/>
                  </a:lnTo>
                  <a:lnTo>
                    <a:pt x="3084" y="1062"/>
                  </a:lnTo>
                  <a:lnTo>
                    <a:pt x="3078" y="1056"/>
                  </a:lnTo>
                  <a:lnTo>
                    <a:pt x="3066" y="1056"/>
                  </a:lnTo>
                  <a:lnTo>
                    <a:pt x="3048" y="1062"/>
                  </a:lnTo>
                  <a:lnTo>
                    <a:pt x="3024" y="1086"/>
                  </a:lnTo>
                  <a:lnTo>
                    <a:pt x="3012" y="1122"/>
                  </a:lnTo>
                  <a:lnTo>
                    <a:pt x="3012" y="1134"/>
                  </a:lnTo>
                  <a:lnTo>
                    <a:pt x="3072" y="1128"/>
                  </a:lnTo>
                  <a:lnTo>
                    <a:pt x="3084" y="1128"/>
                  </a:lnTo>
                  <a:lnTo>
                    <a:pt x="3090" y="1122"/>
                  </a:lnTo>
                  <a:lnTo>
                    <a:pt x="3102" y="1092"/>
                  </a:lnTo>
                  <a:lnTo>
                    <a:pt x="3096" y="1068"/>
                  </a:lnTo>
                  <a:close/>
                  <a:moveTo>
                    <a:pt x="2778" y="942"/>
                  </a:moveTo>
                  <a:lnTo>
                    <a:pt x="2766" y="960"/>
                  </a:lnTo>
                  <a:lnTo>
                    <a:pt x="2766" y="1014"/>
                  </a:lnTo>
                  <a:lnTo>
                    <a:pt x="2784" y="1014"/>
                  </a:lnTo>
                  <a:lnTo>
                    <a:pt x="2778" y="996"/>
                  </a:lnTo>
                  <a:lnTo>
                    <a:pt x="2790" y="990"/>
                  </a:lnTo>
                  <a:lnTo>
                    <a:pt x="2790" y="972"/>
                  </a:lnTo>
                  <a:lnTo>
                    <a:pt x="2778" y="972"/>
                  </a:lnTo>
                  <a:lnTo>
                    <a:pt x="2796" y="936"/>
                  </a:lnTo>
                  <a:lnTo>
                    <a:pt x="2814" y="906"/>
                  </a:lnTo>
                  <a:lnTo>
                    <a:pt x="2784" y="912"/>
                  </a:lnTo>
                  <a:lnTo>
                    <a:pt x="2778" y="942"/>
                  </a:lnTo>
                  <a:close/>
                  <a:moveTo>
                    <a:pt x="2136" y="600"/>
                  </a:moveTo>
                  <a:lnTo>
                    <a:pt x="2124" y="594"/>
                  </a:lnTo>
                  <a:lnTo>
                    <a:pt x="2118" y="594"/>
                  </a:lnTo>
                  <a:lnTo>
                    <a:pt x="2106" y="588"/>
                  </a:lnTo>
                  <a:lnTo>
                    <a:pt x="2088" y="588"/>
                  </a:lnTo>
                  <a:lnTo>
                    <a:pt x="2082" y="594"/>
                  </a:lnTo>
                  <a:lnTo>
                    <a:pt x="2082" y="600"/>
                  </a:lnTo>
                  <a:lnTo>
                    <a:pt x="2076" y="606"/>
                  </a:lnTo>
                  <a:lnTo>
                    <a:pt x="2082" y="612"/>
                  </a:lnTo>
                  <a:lnTo>
                    <a:pt x="2094" y="618"/>
                  </a:lnTo>
                  <a:lnTo>
                    <a:pt x="2136" y="618"/>
                  </a:lnTo>
                  <a:lnTo>
                    <a:pt x="2214" y="606"/>
                  </a:lnTo>
                  <a:lnTo>
                    <a:pt x="2136" y="600"/>
                  </a:lnTo>
                  <a:close/>
                  <a:moveTo>
                    <a:pt x="1308" y="1038"/>
                  </a:moveTo>
                  <a:lnTo>
                    <a:pt x="1368" y="1002"/>
                  </a:lnTo>
                  <a:lnTo>
                    <a:pt x="1362" y="990"/>
                  </a:lnTo>
                  <a:lnTo>
                    <a:pt x="1350" y="990"/>
                  </a:lnTo>
                  <a:lnTo>
                    <a:pt x="1332" y="996"/>
                  </a:lnTo>
                  <a:lnTo>
                    <a:pt x="1320" y="996"/>
                  </a:lnTo>
                  <a:lnTo>
                    <a:pt x="1302" y="1002"/>
                  </a:lnTo>
                  <a:lnTo>
                    <a:pt x="1290" y="1008"/>
                  </a:lnTo>
                  <a:lnTo>
                    <a:pt x="1284" y="1014"/>
                  </a:lnTo>
                  <a:lnTo>
                    <a:pt x="1284" y="1032"/>
                  </a:lnTo>
                  <a:lnTo>
                    <a:pt x="1290" y="1038"/>
                  </a:lnTo>
                  <a:lnTo>
                    <a:pt x="1308" y="1038"/>
                  </a:lnTo>
                  <a:close/>
                  <a:moveTo>
                    <a:pt x="1428" y="1116"/>
                  </a:moveTo>
                  <a:lnTo>
                    <a:pt x="1392" y="1116"/>
                  </a:lnTo>
                  <a:lnTo>
                    <a:pt x="1386" y="1146"/>
                  </a:lnTo>
                  <a:lnTo>
                    <a:pt x="1386" y="1152"/>
                  </a:lnTo>
                  <a:lnTo>
                    <a:pt x="1404" y="1170"/>
                  </a:lnTo>
                  <a:lnTo>
                    <a:pt x="1416" y="1176"/>
                  </a:lnTo>
                  <a:lnTo>
                    <a:pt x="1428" y="1164"/>
                  </a:lnTo>
                  <a:lnTo>
                    <a:pt x="1440" y="1140"/>
                  </a:lnTo>
                  <a:lnTo>
                    <a:pt x="1440" y="1128"/>
                  </a:lnTo>
                  <a:lnTo>
                    <a:pt x="1428" y="1116"/>
                  </a:lnTo>
                  <a:close/>
                  <a:moveTo>
                    <a:pt x="708" y="930"/>
                  </a:moveTo>
                  <a:lnTo>
                    <a:pt x="714" y="924"/>
                  </a:lnTo>
                  <a:lnTo>
                    <a:pt x="714" y="900"/>
                  </a:lnTo>
                  <a:lnTo>
                    <a:pt x="744" y="924"/>
                  </a:lnTo>
                  <a:lnTo>
                    <a:pt x="744" y="918"/>
                  </a:lnTo>
                  <a:lnTo>
                    <a:pt x="750" y="912"/>
                  </a:lnTo>
                  <a:lnTo>
                    <a:pt x="750" y="900"/>
                  </a:lnTo>
                  <a:lnTo>
                    <a:pt x="756" y="882"/>
                  </a:lnTo>
                  <a:lnTo>
                    <a:pt x="756" y="840"/>
                  </a:lnTo>
                  <a:lnTo>
                    <a:pt x="762" y="822"/>
                  </a:lnTo>
                  <a:lnTo>
                    <a:pt x="762" y="810"/>
                  </a:lnTo>
                  <a:lnTo>
                    <a:pt x="768" y="792"/>
                  </a:lnTo>
                  <a:lnTo>
                    <a:pt x="768" y="780"/>
                  </a:lnTo>
                  <a:lnTo>
                    <a:pt x="762" y="774"/>
                  </a:lnTo>
                  <a:lnTo>
                    <a:pt x="756" y="762"/>
                  </a:lnTo>
                  <a:lnTo>
                    <a:pt x="756" y="750"/>
                  </a:lnTo>
                  <a:lnTo>
                    <a:pt x="768" y="726"/>
                  </a:lnTo>
                  <a:lnTo>
                    <a:pt x="774" y="720"/>
                  </a:lnTo>
                  <a:lnTo>
                    <a:pt x="774" y="714"/>
                  </a:lnTo>
                  <a:lnTo>
                    <a:pt x="756" y="696"/>
                  </a:lnTo>
                  <a:lnTo>
                    <a:pt x="744" y="654"/>
                  </a:lnTo>
                  <a:lnTo>
                    <a:pt x="702" y="654"/>
                  </a:lnTo>
                  <a:lnTo>
                    <a:pt x="702" y="618"/>
                  </a:lnTo>
                  <a:lnTo>
                    <a:pt x="666" y="618"/>
                  </a:lnTo>
                  <a:lnTo>
                    <a:pt x="660" y="546"/>
                  </a:lnTo>
                  <a:lnTo>
                    <a:pt x="606" y="546"/>
                  </a:lnTo>
                  <a:lnTo>
                    <a:pt x="594" y="534"/>
                  </a:lnTo>
                  <a:lnTo>
                    <a:pt x="594" y="504"/>
                  </a:lnTo>
                  <a:lnTo>
                    <a:pt x="600" y="498"/>
                  </a:lnTo>
                  <a:lnTo>
                    <a:pt x="606" y="486"/>
                  </a:lnTo>
                  <a:lnTo>
                    <a:pt x="582" y="486"/>
                  </a:lnTo>
                  <a:lnTo>
                    <a:pt x="600" y="468"/>
                  </a:lnTo>
                  <a:lnTo>
                    <a:pt x="606" y="456"/>
                  </a:lnTo>
                  <a:lnTo>
                    <a:pt x="612" y="450"/>
                  </a:lnTo>
                  <a:lnTo>
                    <a:pt x="612" y="438"/>
                  </a:lnTo>
                  <a:lnTo>
                    <a:pt x="600" y="426"/>
                  </a:lnTo>
                  <a:lnTo>
                    <a:pt x="588" y="432"/>
                  </a:lnTo>
                  <a:lnTo>
                    <a:pt x="570" y="432"/>
                  </a:lnTo>
                  <a:lnTo>
                    <a:pt x="552" y="438"/>
                  </a:lnTo>
                  <a:lnTo>
                    <a:pt x="540" y="438"/>
                  </a:lnTo>
                  <a:lnTo>
                    <a:pt x="534" y="444"/>
                  </a:lnTo>
                  <a:lnTo>
                    <a:pt x="528" y="444"/>
                  </a:lnTo>
                  <a:lnTo>
                    <a:pt x="534" y="438"/>
                  </a:lnTo>
                  <a:lnTo>
                    <a:pt x="546" y="432"/>
                  </a:lnTo>
                  <a:lnTo>
                    <a:pt x="552" y="420"/>
                  </a:lnTo>
                  <a:lnTo>
                    <a:pt x="558" y="414"/>
                  </a:lnTo>
                  <a:lnTo>
                    <a:pt x="558" y="402"/>
                  </a:lnTo>
                  <a:lnTo>
                    <a:pt x="546" y="396"/>
                  </a:lnTo>
                  <a:lnTo>
                    <a:pt x="534" y="396"/>
                  </a:lnTo>
                  <a:lnTo>
                    <a:pt x="522" y="390"/>
                  </a:lnTo>
                  <a:lnTo>
                    <a:pt x="510" y="390"/>
                  </a:lnTo>
                  <a:lnTo>
                    <a:pt x="516" y="384"/>
                  </a:lnTo>
                  <a:lnTo>
                    <a:pt x="516" y="378"/>
                  </a:lnTo>
                  <a:lnTo>
                    <a:pt x="504" y="354"/>
                  </a:lnTo>
                  <a:lnTo>
                    <a:pt x="492" y="342"/>
                  </a:lnTo>
                  <a:lnTo>
                    <a:pt x="480" y="336"/>
                  </a:lnTo>
                  <a:lnTo>
                    <a:pt x="462" y="330"/>
                  </a:lnTo>
                  <a:lnTo>
                    <a:pt x="456" y="324"/>
                  </a:lnTo>
                  <a:lnTo>
                    <a:pt x="450" y="324"/>
                  </a:lnTo>
                  <a:lnTo>
                    <a:pt x="450" y="318"/>
                  </a:lnTo>
                  <a:lnTo>
                    <a:pt x="444" y="312"/>
                  </a:lnTo>
                  <a:lnTo>
                    <a:pt x="438" y="300"/>
                  </a:lnTo>
                  <a:lnTo>
                    <a:pt x="438" y="288"/>
                  </a:lnTo>
                  <a:lnTo>
                    <a:pt x="426" y="276"/>
                  </a:lnTo>
                  <a:lnTo>
                    <a:pt x="414" y="276"/>
                  </a:lnTo>
                  <a:lnTo>
                    <a:pt x="408" y="282"/>
                  </a:lnTo>
                  <a:lnTo>
                    <a:pt x="414" y="306"/>
                  </a:lnTo>
                  <a:lnTo>
                    <a:pt x="408" y="300"/>
                  </a:lnTo>
                  <a:lnTo>
                    <a:pt x="396" y="294"/>
                  </a:lnTo>
                  <a:lnTo>
                    <a:pt x="360" y="258"/>
                  </a:lnTo>
                  <a:lnTo>
                    <a:pt x="360" y="246"/>
                  </a:lnTo>
                  <a:lnTo>
                    <a:pt x="354" y="240"/>
                  </a:lnTo>
                  <a:lnTo>
                    <a:pt x="348" y="228"/>
                  </a:lnTo>
                  <a:lnTo>
                    <a:pt x="342" y="222"/>
                  </a:lnTo>
                  <a:lnTo>
                    <a:pt x="342" y="216"/>
                  </a:lnTo>
                  <a:lnTo>
                    <a:pt x="330" y="210"/>
                  </a:lnTo>
                  <a:lnTo>
                    <a:pt x="312" y="192"/>
                  </a:lnTo>
                  <a:lnTo>
                    <a:pt x="294" y="186"/>
                  </a:lnTo>
                  <a:lnTo>
                    <a:pt x="288" y="174"/>
                  </a:lnTo>
                  <a:lnTo>
                    <a:pt x="276" y="168"/>
                  </a:lnTo>
                  <a:lnTo>
                    <a:pt x="264" y="156"/>
                  </a:lnTo>
                  <a:lnTo>
                    <a:pt x="252" y="150"/>
                  </a:lnTo>
                  <a:lnTo>
                    <a:pt x="240" y="138"/>
                  </a:lnTo>
                  <a:lnTo>
                    <a:pt x="234" y="126"/>
                  </a:lnTo>
                  <a:lnTo>
                    <a:pt x="222" y="120"/>
                  </a:lnTo>
                  <a:lnTo>
                    <a:pt x="222" y="102"/>
                  </a:lnTo>
                  <a:lnTo>
                    <a:pt x="204" y="84"/>
                  </a:lnTo>
                  <a:lnTo>
                    <a:pt x="198" y="72"/>
                  </a:lnTo>
                  <a:lnTo>
                    <a:pt x="168" y="42"/>
                  </a:lnTo>
                  <a:lnTo>
                    <a:pt x="150" y="42"/>
                  </a:lnTo>
                  <a:lnTo>
                    <a:pt x="66" y="36"/>
                  </a:lnTo>
                  <a:lnTo>
                    <a:pt x="42" y="12"/>
                  </a:lnTo>
                  <a:lnTo>
                    <a:pt x="30" y="6"/>
                  </a:lnTo>
                  <a:lnTo>
                    <a:pt x="24" y="0"/>
                  </a:lnTo>
                  <a:lnTo>
                    <a:pt x="18" y="0"/>
                  </a:lnTo>
                  <a:lnTo>
                    <a:pt x="6" y="6"/>
                  </a:lnTo>
                  <a:lnTo>
                    <a:pt x="0" y="18"/>
                  </a:lnTo>
                  <a:lnTo>
                    <a:pt x="0" y="48"/>
                  </a:lnTo>
                  <a:lnTo>
                    <a:pt x="6" y="60"/>
                  </a:lnTo>
                  <a:lnTo>
                    <a:pt x="18" y="78"/>
                  </a:lnTo>
                  <a:lnTo>
                    <a:pt x="66" y="126"/>
                  </a:lnTo>
                  <a:lnTo>
                    <a:pt x="96" y="150"/>
                  </a:lnTo>
                  <a:lnTo>
                    <a:pt x="126" y="180"/>
                  </a:lnTo>
                  <a:lnTo>
                    <a:pt x="162" y="234"/>
                  </a:lnTo>
                  <a:lnTo>
                    <a:pt x="174" y="228"/>
                  </a:lnTo>
                  <a:lnTo>
                    <a:pt x="174" y="252"/>
                  </a:lnTo>
                  <a:lnTo>
                    <a:pt x="180" y="264"/>
                  </a:lnTo>
                  <a:lnTo>
                    <a:pt x="186" y="270"/>
                  </a:lnTo>
                  <a:lnTo>
                    <a:pt x="198" y="276"/>
                  </a:lnTo>
                  <a:lnTo>
                    <a:pt x="216" y="288"/>
                  </a:lnTo>
                  <a:lnTo>
                    <a:pt x="228" y="300"/>
                  </a:lnTo>
                  <a:lnTo>
                    <a:pt x="246" y="312"/>
                  </a:lnTo>
                  <a:lnTo>
                    <a:pt x="258" y="324"/>
                  </a:lnTo>
                  <a:lnTo>
                    <a:pt x="264" y="336"/>
                  </a:lnTo>
                  <a:lnTo>
                    <a:pt x="276" y="372"/>
                  </a:lnTo>
                  <a:lnTo>
                    <a:pt x="276" y="384"/>
                  </a:lnTo>
                  <a:lnTo>
                    <a:pt x="282" y="390"/>
                  </a:lnTo>
                  <a:lnTo>
                    <a:pt x="282" y="426"/>
                  </a:lnTo>
                  <a:lnTo>
                    <a:pt x="288" y="438"/>
                  </a:lnTo>
                  <a:lnTo>
                    <a:pt x="288" y="444"/>
                  </a:lnTo>
                  <a:lnTo>
                    <a:pt x="294" y="450"/>
                  </a:lnTo>
                  <a:lnTo>
                    <a:pt x="300" y="450"/>
                  </a:lnTo>
                  <a:lnTo>
                    <a:pt x="312" y="444"/>
                  </a:lnTo>
                  <a:lnTo>
                    <a:pt x="324" y="444"/>
                  </a:lnTo>
                  <a:lnTo>
                    <a:pt x="324" y="450"/>
                  </a:lnTo>
                  <a:lnTo>
                    <a:pt x="330" y="462"/>
                  </a:lnTo>
                  <a:lnTo>
                    <a:pt x="330" y="474"/>
                  </a:lnTo>
                  <a:lnTo>
                    <a:pt x="336" y="480"/>
                  </a:lnTo>
                  <a:lnTo>
                    <a:pt x="336" y="486"/>
                  </a:lnTo>
                  <a:lnTo>
                    <a:pt x="378" y="522"/>
                  </a:lnTo>
                  <a:lnTo>
                    <a:pt x="372" y="546"/>
                  </a:lnTo>
                  <a:lnTo>
                    <a:pt x="408" y="606"/>
                  </a:lnTo>
                  <a:lnTo>
                    <a:pt x="402" y="618"/>
                  </a:lnTo>
                  <a:lnTo>
                    <a:pt x="402" y="636"/>
                  </a:lnTo>
                  <a:lnTo>
                    <a:pt x="408" y="648"/>
                  </a:lnTo>
                  <a:lnTo>
                    <a:pt x="438" y="678"/>
                  </a:lnTo>
                  <a:lnTo>
                    <a:pt x="438" y="684"/>
                  </a:lnTo>
                  <a:lnTo>
                    <a:pt x="444" y="690"/>
                  </a:lnTo>
                  <a:lnTo>
                    <a:pt x="462" y="726"/>
                  </a:lnTo>
                  <a:lnTo>
                    <a:pt x="498" y="744"/>
                  </a:lnTo>
                  <a:lnTo>
                    <a:pt x="504" y="750"/>
                  </a:lnTo>
                  <a:lnTo>
                    <a:pt x="510" y="750"/>
                  </a:lnTo>
                  <a:lnTo>
                    <a:pt x="510" y="786"/>
                  </a:lnTo>
                  <a:lnTo>
                    <a:pt x="522" y="792"/>
                  </a:lnTo>
                  <a:lnTo>
                    <a:pt x="528" y="804"/>
                  </a:lnTo>
                  <a:lnTo>
                    <a:pt x="540" y="810"/>
                  </a:lnTo>
                  <a:lnTo>
                    <a:pt x="564" y="834"/>
                  </a:lnTo>
                  <a:lnTo>
                    <a:pt x="576" y="840"/>
                  </a:lnTo>
                  <a:lnTo>
                    <a:pt x="594" y="858"/>
                  </a:lnTo>
                  <a:lnTo>
                    <a:pt x="600" y="858"/>
                  </a:lnTo>
                  <a:lnTo>
                    <a:pt x="606" y="864"/>
                  </a:lnTo>
                  <a:lnTo>
                    <a:pt x="612" y="864"/>
                  </a:lnTo>
                  <a:lnTo>
                    <a:pt x="612" y="870"/>
                  </a:lnTo>
                  <a:lnTo>
                    <a:pt x="618" y="876"/>
                  </a:lnTo>
                  <a:lnTo>
                    <a:pt x="630" y="900"/>
                  </a:lnTo>
                  <a:lnTo>
                    <a:pt x="642" y="912"/>
                  </a:lnTo>
                  <a:lnTo>
                    <a:pt x="654" y="936"/>
                  </a:lnTo>
                  <a:lnTo>
                    <a:pt x="660" y="942"/>
                  </a:lnTo>
                  <a:lnTo>
                    <a:pt x="660" y="906"/>
                  </a:lnTo>
                  <a:lnTo>
                    <a:pt x="672" y="906"/>
                  </a:lnTo>
                  <a:lnTo>
                    <a:pt x="684" y="918"/>
                  </a:lnTo>
                  <a:lnTo>
                    <a:pt x="696" y="924"/>
                  </a:lnTo>
                  <a:lnTo>
                    <a:pt x="702" y="930"/>
                  </a:lnTo>
                  <a:lnTo>
                    <a:pt x="708" y="930"/>
                  </a:lnTo>
                  <a:close/>
                  <a:moveTo>
                    <a:pt x="2118" y="1194"/>
                  </a:moveTo>
                  <a:lnTo>
                    <a:pt x="2106" y="1176"/>
                  </a:lnTo>
                  <a:lnTo>
                    <a:pt x="2088" y="1176"/>
                  </a:lnTo>
                  <a:lnTo>
                    <a:pt x="2064" y="1200"/>
                  </a:lnTo>
                  <a:lnTo>
                    <a:pt x="2064" y="1212"/>
                  </a:lnTo>
                  <a:lnTo>
                    <a:pt x="2052" y="1212"/>
                  </a:lnTo>
                  <a:lnTo>
                    <a:pt x="2040" y="1218"/>
                  </a:lnTo>
                  <a:lnTo>
                    <a:pt x="2010" y="1248"/>
                  </a:lnTo>
                  <a:lnTo>
                    <a:pt x="1998" y="1272"/>
                  </a:lnTo>
                  <a:lnTo>
                    <a:pt x="1992" y="1278"/>
                  </a:lnTo>
                  <a:lnTo>
                    <a:pt x="1992" y="1290"/>
                  </a:lnTo>
                  <a:lnTo>
                    <a:pt x="2004" y="1302"/>
                  </a:lnTo>
                  <a:lnTo>
                    <a:pt x="2022" y="1302"/>
                  </a:lnTo>
                  <a:lnTo>
                    <a:pt x="2052" y="1284"/>
                  </a:lnTo>
                  <a:lnTo>
                    <a:pt x="2082" y="1260"/>
                  </a:lnTo>
                  <a:lnTo>
                    <a:pt x="2106" y="1242"/>
                  </a:lnTo>
                  <a:lnTo>
                    <a:pt x="2100" y="1236"/>
                  </a:lnTo>
                  <a:lnTo>
                    <a:pt x="2100" y="1224"/>
                  </a:lnTo>
                  <a:lnTo>
                    <a:pt x="2112" y="1200"/>
                  </a:lnTo>
                  <a:lnTo>
                    <a:pt x="2118" y="1194"/>
                  </a:lnTo>
                  <a:close/>
                  <a:moveTo>
                    <a:pt x="1374" y="1128"/>
                  </a:moveTo>
                  <a:lnTo>
                    <a:pt x="1374" y="1116"/>
                  </a:lnTo>
                  <a:lnTo>
                    <a:pt x="1368" y="1110"/>
                  </a:lnTo>
                  <a:lnTo>
                    <a:pt x="1344" y="1098"/>
                  </a:lnTo>
                  <a:lnTo>
                    <a:pt x="1332" y="1098"/>
                  </a:lnTo>
                  <a:lnTo>
                    <a:pt x="1320" y="1092"/>
                  </a:lnTo>
                  <a:lnTo>
                    <a:pt x="1314" y="1092"/>
                  </a:lnTo>
                  <a:lnTo>
                    <a:pt x="1302" y="1098"/>
                  </a:lnTo>
                  <a:lnTo>
                    <a:pt x="1296" y="1104"/>
                  </a:lnTo>
                  <a:lnTo>
                    <a:pt x="1296" y="1116"/>
                  </a:lnTo>
                  <a:lnTo>
                    <a:pt x="1290" y="1122"/>
                  </a:lnTo>
                  <a:lnTo>
                    <a:pt x="1290" y="1134"/>
                  </a:lnTo>
                  <a:lnTo>
                    <a:pt x="1254" y="1104"/>
                  </a:lnTo>
                  <a:lnTo>
                    <a:pt x="1260" y="1092"/>
                  </a:lnTo>
                  <a:lnTo>
                    <a:pt x="1260" y="1080"/>
                  </a:lnTo>
                  <a:lnTo>
                    <a:pt x="1266" y="1068"/>
                  </a:lnTo>
                  <a:lnTo>
                    <a:pt x="1266" y="1050"/>
                  </a:lnTo>
                  <a:lnTo>
                    <a:pt x="1260" y="1038"/>
                  </a:lnTo>
                  <a:lnTo>
                    <a:pt x="1254" y="1032"/>
                  </a:lnTo>
                  <a:lnTo>
                    <a:pt x="1242" y="1026"/>
                  </a:lnTo>
                  <a:lnTo>
                    <a:pt x="1188" y="1026"/>
                  </a:lnTo>
                  <a:lnTo>
                    <a:pt x="1158" y="1008"/>
                  </a:lnTo>
                  <a:lnTo>
                    <a:pt x="1158" y="984"/>
                  </a:lnTo>
                  <a:lnTo>
                    <a:pt x="1116" y="984"/>
                  </a:lnTo>
                  <a:lnTo>
                    <a:pt x="1116" y="996"/>
                  </a:lnTo>
                  <a:lnTo>
                    <a:pt x="1110" y="1008"/>
                  </a:lnTo>
                  <a:lnTo>
                    <a:pt x="1110" y="1026"/>
                  </a:lnTo>
                  <a:lnTo>
                    <a:pt x="1086" y="1026"/>
                  </a:lnTo>
                  <a:lnTo>
                    <a:pt x="1074" y="1020"/>
                  </a:lnTo>
                  <a:lnTo>
                    <a:pt x="1056" y="1014"/>
                  </a:lnTo>
                  <a:lnTo>
                    <a:pt x="1044" y="1014"/>
                  </a:lnTo>
                  <a:lnTo>
                    <a:pt x="1032" y="1008"/>
                  </a:lnTo>
                  <a:lnTo>
                    <a:pt x="966" y="1008"/>
                  </a:lnTo>
                  <a:lnTo>
                    <a:pt x="960" y="996"/>
                  </a:lnTo>
                  <a:lnTo>
                    <a:pt x="948" y="990"/>
                  </a:lnTo>
                  <a:lnTo>
                    <a:pt x="942" y="978"/>
                  </a:lnTo>
                  <a:lnTo>
                    <a:pt x="918" y="954"/>
                  </a:lnTo>
                  <a:lnTo>
                    <a:pt x="900" y="954"/>
                  </a:lnTo>
                  <a:lnTo>
                    <a:pt x="888" y="960"/>
                  </a:lnTo>
                  <a:lnTo>
                    <a:pt x="876" y="954"/>
                  </a:lnTo>
                  <a:lnTo>
                    <a:pt x="870" y="948"/>
                  </a:lnTo>
                  <a:lnTo>
                    <a:pt x="858" y="942"/>
                  </a:lnTo>
                  <a:lnTo>
                    <a:pt x="846" y="942"/>
                  </a:lnTo>
                  <a:lnTo>
                    <a:pt x="840" y="936"/>
                  </a:lnTo>
                  <a:lnTo>
                    <a:pt x="822" y="936"/>
                  </a:lnTo>
                  <a:lnTo>
                    <a:pt x="810" y="930"/>
                  </a:lnTo>
                  <a:lnTo>
                    <a:pt x="792" y="930"/>
                  </a:lnTo>
                  <a:lnTo>
                    <a:pt x="786" y="924"/>
                  </a:lnTo>
                  <a:lnTo>
                    <a:pt x="762" y="924"/>
                  </a:lnTo>
                  <a:lnTo>
                    <a:pt x="750" y="930"/>
                  </a:lnTo>
                  <a:lnTo>
                    <a:pt x="738" y="954"/>
                  </a:lnTo>
                  <a:lnTo>
                    <a:pt x="738" y="966"/>
                  </a:lnTo>
                  <a:lnTo>
                    <a:pt x="732" y="978"/>
                  </a:lnTo>
                  <a:lnTo>
                    <a:pt x="720" y="990"/>
                  </a:lnTo>
                  <a:lnTo>
                    <a:pt x="714" y="990"/>
                  </a:lnTo>
                  <a:lnTo>
                    <a:pt x="702" y="1002"/>
                  </a:lnTo>
                  <a:lnTo>
                    <a:pt x="702" y="1014"/>
                  </a:lnTo>
                  <a:lnTo>
                    <a:pt x="738" y="1008"/>
                  </a:lnTo>
                  <a:lnTo>
                    <a:pt x="786" y="1008"/>
                  </a:lnTo>
                  <a:lnTo>
                    <a:pt x="780" y="1014"/>
                  </a:lnTo>
                  <a:lnTo>
                    <a:pt x="768" y="1020"/>
                  </a:lnTo>
                  <a:lnTo>
                    <a:pt x="762" y="1032"/>
                  </a:lnTo>
                  <a:lnTo>
                    <a:pt x="762" y="1044"/>
                  </a:lnTo>
                  <a:lnTo>
                    <a:pt x="774" y="1050"/>
                  </a:lnTo>
                  <a:lnTo>
                    <a:pt x="780" y="1050"/>
                  </a:lnTo>
                  <a:lnTo>
                    <a:pt x="798" y="1044"/>
                  </a:lnTo>
                  <a:lnTo>
                    <a:pt x="810" y="1044"/>
                  </a:lnTo>
                  <a:lnTo>
                    <a:pt x="816" y="1038"/>
                  </a:lnTo>
                  <a:lnTo>
                    <a:pt x="828" y="1032"/>
                  </a:lnTo>
                  <a:lnTo>
                    <a:pt x="840" y="1038"/>
                  </a:lnTo>
                  <a:lnTo>
                    <a:pt x="870" y="1056"/>
                  </a:lnTo>
                  <a:lnTo>
                    <a:pt x="900" y="1068"/>
                  </a:lnTo>
                  <a:lnTo>
                    <a:pt x="924" y="1080"/>
                  </a:lnTo>
                  <a:lnTo>
                    <a:pt x="960" y="1086"/>
                  </a:lnTo>
                  <a:lnTo>
                    <a:pt x="1014" y="1092"/>
                  </a:lnTo>
                  <a:lnTo>
                    <a:pt x="1062" y="1092"/>
                  </a:lnTo>
                  <a:lnTo>
                    <a:pt x="1080" y="1110"/>
                  </a:lnTo>
                  <a:lnTo>
                    <a:pt x="1086" y="1122"/>
                  </a:lnTo>
                  <a:lnTo>
                    <a:pt x="1098" y="1128"/>
                  </a:lnTo>
                  <a:lnTo>
                    <a:pt x="1110" y="1140"/>
                  </a:lnTo>
                  <a:lnTo>
                    <a:pt x="1128" y="1146"/>
                  </a:lnTo>
                  <a:lnTo>
                    <a:pt x="1152" y="1152"/>
                  </a:lnTo>
                  <a:lnTo>
                    <a:pt x="1170" y="1152"/>
                  </a:lnTo>
                  <a:lnTo>
                    <a:pt x="1182" y="1158"/>
                  </a:lnTo>
                  <a:lnTo>
                    <a:pt x="1248" y="1158"/>
                  </a:lnTo>
                  <a:lnTo>
                    <a:pt x="1260" y="1164"/>
                  </a:lnTo>
                  <a:lnTo>
                    <a:pt x="1278" y="1170"/>
                  </a:lnTo>
                  <a:lnTo>
                    <a:pt x="1290" y="1182"/>
                  </a:lnTo>
                  <a:lnTo>
                    <a:pt x="1302" y="1188"/>
                  </a:lnTo>
                  <a:lnTo>
                    <a:pt x="1320" y="1206"/>
                  </a:lnTo>
                  <a:lnTo>
                    <a:pt x="1338" y="1206"/>
                  </a:lnTo>
                  <a:lnTo>
                    <a:pt x="1350" y="1200"/>
                  </a:lnTo>
                  <a:lnTo>
                    <a:pt x="1356" y="1206"/>
                  </a:lnTo>
                  <a:lnTo>
                    <a:pt x="1374" y="1206"/>
                  </a:lnTo>
                  <a:lnTo>
                    <a:pt x="1374" y="1194"/>
                  </a:lnTo>
                  <a:lnTo>
                    <a:pt x="1368" y="1182"/>
                  </a:lnTo>
                  <a:lnTo>
                    <a:pt x="1362" y="1176"/>
                  </a:lnTo>
                  <a:lnTo>
                    <a:pt x="1356" y="1164"/>
                  </a:lnTo>
                  <a:lnTo>
                    <a:pt x="1374" y="1146"/>
                  </a:lnTo>
                  <a:lnTo>
                    <a:pt x="1374" y="1128"/>
                  </a:lnTo>
                  <a:close/>
                  <a:moveTo>
                    <a:pt x="1500" y="726"/>
                  </a:moveTo>
                  <a:lnTo>
                    <a:pt x="1542" y="684"/>
                  </a:lnTo>
                  <a:lnTo>
                    <a:pt x="1548" y="672"/>
                  </a:lnTo>
                  <a:lnTo>
                    <a:pt x="1554" y="654"/>
                  </a:lnTo>
                  <a:lnTo>
                    <a:pt x="1560" y="642"/>
                  </a:lnTo>
                  <a:lnTo>
                    <a:pt x="1566" y="624"/>
                  </a:lnTo>
                  <a:lnTo>
                    <a:pt x="1566" y="612"/>
                  </a:lnTo>
                  <a:lnTo>
                    <a:pt x="1572" y="606"/>
                  </a:lnTo>
                  <a:lnTo>
                    <a:pt x="1572" y="600"/>
                  </a:lnTo>
                  <a:lnTo>
                    <a:pt x="1566" y="600"/>
                  </a:lnTo>
                  <a:lnTo>
                    <a:pt x="1554" y="594"/>
                  </a:lnTo>
                  <a:lnTo>
                    <a:pt x="1542" y="582"/>
                  </a:lnTo>
                  <a:lnTo>
                    <a:pt x="1542" y="564"/>
                  </a:lnTo>
                  <a:lnTo>
                    <a:pt x="1554" y="516"/>
                  </a:lnTo>
                  <a:lnTo>
                    <a:pt x="1590" y="498"/>
                  </a:lnTo>
                  <a:lnTo>
                    <a:pt x="1626" y="498"/>
                  </a:lnTo>
                  <a:lnTo>
                    <a:pt x="1632" y="486"/>
                  </a:lnTo>
                  <a:lnTo>
                    <a:pt x="1638" y="480"/>
                  </a:lnTo>
                  <a:lnTo>
                    <a:pt x="1644" y="468"/>
                  </a:lnTo>
                  <a:lnTo>
                    <a:pt x="1644" y="444"/>
                  </a:lnTo>
                  <a:lnTo>
                    <a:pt x="1626" y="444"/>
                  </a:lnTo>
                  <a:lnTo>
                    <a:pt x="1620" y="450"/>
                  </a:lnTo>
                  <a:lnTo>
                    <a:pt x="1608" y="450"/>
                  </a:lnTo>
                  <a:lnTo>
                    <a:pt x="1608" y="438"/>
                  </a:lnTo>
                  <a:lnTo>
                    <a:pt x="1614" y="420"/>
                  </a:lnTo>
                  <a:lnTo>
                    <a:pt x="1626" y="408"/>
                  </a:lnTo>
                  <a:lnTo>
                    <a:pt x="1650" y="396"/>
                  </a:lnTo>
                  <a:lnTo>
                    <a:pt x="1662" y="396"/>
                  </a:lnTo>
                  <a:lnTo>
                    <a:pt x="1680" y="402"/>
                  </a:lnTo>
                  <a:lnTo>
                    <a:pt x="1704" y="402"/>
                  </a:lnTo>
                  <a:lnTo>
                    <a:pt x="1716" y="390"/>
                  </a:lnTo>
                  <a:lnTo>
                    <a:pt x="1716" y="384"/>
                  </a:lnTo>
                  <a:lnTo>
                    <a:pt x="1680" y="348"/>
                  </a:lnTo>
                  <a:lnTo>
                    <a:pt x="1680" y="312"/>
                  </a:lnTo>
                  <a:lnTo>
                    <a:pt x="1668" y="312"/>
                  </a:lnTo>
                  <a:lnTo>
                    <a:pt x="1650" y="294"/>
                  </a:lnTo>
                  <a:lnTo>
                    <a:pt x="1650" y="282"/>
                  </a:lnTo>
                  <a:lnTo>
                    <a:pt x="1662" y="270"/>
                  </a:lnTo>
                  <a:lnTo>
                    <a:pt x="1668" y="258"/>
                  </a:lnTo>
                  <a:lnTo>
                    <a:pt x="1668" y="246"/>
                  </a:lnTo>
                  <a:lnTo>
                    <a:pt x="1662" y="240"/>
                  </a:lnTo>
                  <a:lnTo>
                    <a:pt x="1638" y="228"/>
                  </a:lnTo>
                  <a:lnTo>
                    <a:pt x="1614" y="228"/>
                  </a:lnTo>
                  <a:lnTo>
                    <a:pt x="1632" y="198"/>
                  </a:lnTo>
                  <a:lnTo>
                    <a:pt x="1614" y="192"/>
                  </a:lnTo>
                  <a:lnTo>
                    <a:pt x="1620" y="162"/>
                  </a:lnTo>
                  <a:lnTo>
                    <a:pt x="1608" y="144"/>
                  </a:lnTo>
                  <a:lnTo>
                    <a:pt x="1602" y="138"/>
                  </a:lnTo>
                  <a:lnTo>
                    <a:pt x="1590" y="132"/>
                  </a:lnTo>
                  <a:lnTo>
                    <a:pt x="1566" y="108"/>
                  </a:lnTo>
                  <a:lnTo>
                    <a:pt x="1470" y="108"/>
                  </a:lnTo>
                  <a:lnTo>
                    <a:pt x="1464" y="114"/>
                  </a:lnTo>
                  <a:lnTo>
                    <a:pt x="1458" y="126"/>
                  </a:lnTo>
                  <a:lnTo>
                    <a:pt x="1458" y="180"/>
                  </a:lnTo>
                  <a:lnTo>
                    <a:pt x="1452" y="198"/>
                  </a:lnTo>
                  <a:lnTo>
                    <a:pt x="1452" y="204"/>
                  </a:lnTo>
                  <a:lnTo>
                    <a:pt x="1446" y="216"/>
                  </a:lnTo>
                  <a:lnTo>
                    <a:pt x="1428" y="216"/>
                  </a:lnTo>
                  <a:lnTo>
                    <a:pt x="1422" y="222"/>
                  </a:lnTo>
                  <a:lnTo>
                    <a:pt x="1422" y="246"/>
                  </a:lnTo>
                  <a:lnTo>
                    <a:pt x="1428" y="252"/>
                  </a:lnTo>
                  <a:lnTo>
                    <a:pt x="1434" y="264"/>
                  </a:lnTo>
                  <a:lnTo>
                    <a:pt x="1398" y="294"/>
                  </a:lnTo>
                  <a:lnTo>
                    <a:pt x="1404" y="306"/>
                  </a:lnTo>
                  <a:lnTo>
                    <a:pt x="1374" y="342"/>
                  </a:lnTo>
                  <a:lnTo>
                    <a:pt x="1350" y="342"/>
                  </a:lnTo>
                  <a:lnTo>
                    <a:pt x="1344" y="348"/>
                  </a:lnTo>
                  <a:lnTo>
                    <a:pt x="1332" y="354"/>
                  </a:lnTo>
                  <a:lnTo>
                    <a:pt x="1320" y="366"/>
                  </a:lnTo>
                  <a:lnTo>
                    <a:pt x="1314" y="366"/>
                  </a:lnTo>
                  <a:lnTo>
                    <a:pt x="1308" y="360"/>
                  </a:lnTo>
                  <a:lnTo>
                    <a:pt x="1284" y="348"/>
                  </a:lnTo>
                  <a:lnTo>
                    <a:pt x="1272" y="336"/>
                  </a:lnTo>
                  <a:lnTo>
                    <a:pt x="1230" y="336"/>
                  </a:lnTo>
                  <a:lnTo>
                    <a:pt x="1224" y="348"/>
                  </a:lnTo>
                  <a:lnTo>
                    <a:pt x="1194" y="378"/>
                  </a:lnTo>
                  <a:lnTo>
                    <a:pt x="1170" y="378"/>
                  </a:lnTo>
                  <a:lnTo>
                    <a:pt x="1152" y="372"/>
                  </a:lnTo>
                  <a:lnTo>
                    <a:pt x="1128" y="372"/>
                  </a:lnTo>
                  <a:lnTo>
                    <a:pt x="1110" y="390"/>
                  </a:lnTo>
                  <a:lnTo>
                    <a:pt x="1104" y="390"/>
                  </a:lnTo>
                  <a:lnTo>
                    <a:pt x="1080" y="378"/>
                  </a:lnTo>
                  <a:lnTo>
                    <a:pt x="1074" y="372"/>
                  </a:lnTo>
                  <a:lnTo>
                    <a:pt x="1062" y="366"/>
                  </a:lnTo>
                  <a:lnTo>
                    <a:pt x="1050" y="354"/>
                  </a:lnTo>
                  <a:lnTo>
                    <a:pt x="1050" y="342"/>
                  </a:lnTo>
                  <a:lnTo>
                    <a:pt x="1044" y="336"/>
                  </a:lnTo>
                  <a:lnTo>
                    <a:pt x="1032" y="330"/>
                  </a:lnTo>
                  <a:lnTo>
                    <a:pt x="1008" y="330"/>
                  </a:lnTo>
                  <a:lnTo>
                    <a:pt x="996" y="336"/>
                  </a:lnTo>
                  <a:lnTo>
                    <a:pt x="990" y="348"/>
                  </a:lnTo>
                  <a:lnTo>
                    <a:pt x="978" y="366"/>
                  </a:lnTo>
                  <a:lnTo>
                    <a:pt x="972" y="384"/>
                  </a:lnTo>
                  <a:lnTo>
                    <a:pt x="972" y="402"/>
                  </a:lnTo>
                  <a:lnTo>
                    <a:pt x="966" y="408"/>
                  </a:lnTo>
                  <a:lnTo>
                    <a:pt x="966" y="414"/>
                  </a:lnTo>
                  <a:lnTo>
                    <a:pt x="990" y="444"/>
                  </a:lnTo>
                  <a:lnTo>
                    <a:pt x="1002" y="498"/>
                  </a:lnTo>
                  <a:lnTo>
                    <a:pt x="1050" y="528"/>
                  </a:lnTo>
                  <a:lnTo>
                    <a:pt x="1038" y="564"/>
                  </a:lnTo>
                  <a:lnTo>
                    <a:pt x="1068" y="582"/>
                  </a:lnTo>
                  <a:lnTo>
                    <a:pt x="1050" y="606"/>
                  </a:lnTo>
                  <a:lnTo>
                    <a:pt x="1068" y="636"/>
                  </a:lnTo>
                  <a:lnTo>
                    <a:pt x="1056" y="648"/>
                  </a:lnTo>
                  <a:lnTo>
                    <a:pt x="1068" y="702"/>
                  </a:lnTo>
                  <a:lnTo>
                    <a:pt x="1110" y="696"/>
                  </a:lnTo>
                  <a:lnTo>
                    <a:pt x="1140" y="708"/>
                  </a:lnTo>
                  <a:lnTo>
                    <a:pt x="1146" y="696"/>
                  </a:lnTo>
                  <a:lnTo>
                    <a:pt x="1170" y="672"/>
                  </a:lnTo>
                  <a:lnTo>
                    <a:pt x="1182" y="672"/>
                  </a:lnTo>
                  <a:lnTo>
                    <a:pt x="1182" y="690"/>
                  </a:lnTo>
                  <a:lnTo>
                    <a:pt x="1188" y="702"/>
                  </a:lnTo>
                  <a:lnTo>
                    <a:pt x="1188" y="726"/>
                  </a:lnTo>
                  <a:lnTo>
                    <a:pt x="1194" y="738"/>
                  </a:lnTo>
                  <a:lnTo>
                    <a:pt x="1212" y="738"/>
                  </a:lnTo>
                  <a:lnTo>
                    <a:pt x="1218" y="726"/>
                  </a:lnTo>
                  <a:lnTo>
                    <a:pt x="1218" y="720"/>
                  </a:lnTo>
                  <a:lnTo>
                    <a:pt x="1224" y="714"/>
                  </a:lnTo>
                  <a:lnTo>
                    <a:pt x="1224" y="708"/>
                  </a:lnTo>
                  <a:lnTo>
                    <a:pt x="1254" y="726"/>
                  </a:lnTo>
                  <a:lnTo>
                    <a:pt x="1266" y="720"/>
                  </a:lnTo>
                  <a:lnTo>
                    <a:pt x="1272" y="708"/>
                  </a:lnTo>
                  <a:lnTo>
                    <a:pt x="1284" y="702"/>
                  </a:lnTo>
                  <a:lnTo>
                    <a:pt x="1296" y="702"/>
                  </a:lnTo>
                  <a:lnTo>
                    <a:pt x="1296" y="714"/>
                  </a:lnTo>
                  <a:lnTo>
                    <a:pt x="1302" y="720"/>
                  </a:lnTo>
                  <a:lnTo>
                    <a:pt x="1302" y="738"/>
                  </a:lnTo>
                  <a:lnTo>
                    <a:pt x="1308" y="744"/>
                  </a:lnTo>
                  <a:lnTo>
                    <a:pt x="1332" y="744"/>
                  </a:lnTo>
                  <a:lnTo>
                    <a:pt x="1350" y="738"/>
                  </a:lnTo>
                  <a:lnTo>
                    <a:pt x="1362" y="732"/>
                  </a:lnTo>
                  <a:lnTo>
                    <a:pt x="1392" y="732"/>
                  </a:lnTo>
                  <a:lnTo>
                    <a:pt x="1404" y="744"/>
                  </a:lnTo>
                  <a:lnTo>
                    <a:pt x="1404" y="786"/>
                  </a:lnTo>
                  <a:lnTo>
                    <a:pt x="1398" y="798"/>
                  </a:lnTo>
                  <a:lnTo>
                    <a:pt x="1398" y="810"/>
                  </a:lnTo>
                  <a:lnTo>
                    <a:pt x="1404" y="810"/>
                  </a:lnTo>
                  <a:lnTo>
                    <a:pt x="1410" y="804"/>
                  </a:lnTo>
                  <a:lnTo>
                    <a:pt x="1422" y="798"/>
                  </a:lnTo>
                  <a:lnTo>
                    <a:pt x="1440" y="792"/>
                  </a:lnTo>
                  <a:lnTo>
                    <a:pt x="1452" y="786"/>
                  </a:lnTo>
                  <a:lnTo>
                    <a:pt x="1476" y="762"/>
                  </a:lnTo>
                  <a:lnTo>
                    <a:pt x="1482" y="750"/>
                  </a:lnTo>
                  <a:lnTo>
                    <a:pt x="1500" y="732"/>
                  </a:lnTo>
                  <a:lnTo>
                    <a:pt x="1500" y="726"/>
                  </a:lnTo>
                  <a:close/>
                  <a:moveTo>
                    <a:pt x="1476" y="1116"/>
                  </a:moveTo>
                  <a:lnTo>
                    <a:pt x="1470" y="1116"/>
                  </a:lnTo>
                  <a:lnTo>
                    <a:pt x="1458" y="1122"/>
                  </a:lnTo>
                  <a:lnTo>
                    <a:pt x="1452" y="1128"/>
                  </a:lnTo>
                  <a:lnTo>
                    <a:pt x="1458" y="1134"/>
                  </a:lnTo>
                  <a:lnTo>
                    <a:pt x="1470" y="1140"/>
                  </a:lnTo>
                  <a:lnTo>
                    <a:pt x="1476" y="1140"/>
                  </a:lnTo>
                  <a:lnTo>
                    <a:pt x="1488" y="1146"/>
                  </a:lnTo>
                  <a:lnTo>
                    <a:pt x="1500" y="1134"/>
                  </a:lnTo>
                  <a:lnTo>
                    <a:pt x="1500" y="1128"/>
                  </a:lnTo>
                  <a:lnTo>
                    <a:pt x="1488" y="1116"/>
                  </a:lnTo>
                  <a:lnTo>
                    <a:pt x="1476" y="1116"/>
                  </a:lnTo>
                  <a:close/>
                  <a:moveTo>
                    <a:pt x="1716" y="1230"/>
                  </a:moveTo>
                  <a:lnTo>
                    <a:pt x="1680" y="1218"/>
                  </a:lnTo>
                  <a:lnTo>
                    <a:pt x="1674" y="1224"/>
                  </a:lnTo>
                  <a:lnTo>
                    <a:pt x="1674" y="1230"/>
                  </a:lnTo>
                  <a:lnTo>
                    <a:pt x="1686" y="1254"/>
                  </a:lnTo>
                  <a:lnTo>
                    <a:pt x="1692" y="1260"/>
                  </a:lnTo>
                  <a:lnTo>
                    <a:pt x="1704" y="1266"/>
                  </a:lnTo>
                  <a:lnTo>
                    <a:pt x="1716" y="1266"/>
                  </a:lnTo>
                  <a:lnTo>
                    <a:pt x="1722" y="1260"/>
                  </a:lnTo>
                  <a:lnTo>
                    <a:pt x="1740" y="1260"/>
                  </a:lnTo>
                  <a:lnTo>
                    <a:pt x="1746" y="1266"/>
                  </a:lnTo>
                  <a:lnTo>
                    <a:pt x="1746" y="1278"/>
                  </a:lnTo>
                  <a:lnTo>
                    <a:pt x="1752" y="1290"/>
                  </a:lnTo>
                  <a:lnTo>
                    <a:pt x="1764" y="1296"/>
                  </a:lnTo>
                  <a:lnTo>
                    <a:pt x="1788" y="1296"/>
                  </a:lnTo>
                  <a:lnTo>
                    <a:pt x="1794" y="1290"/>
                  </a:lnTo>
                  <a:lnTo>
                    <a:pt x="1800" y="1290"/>
                  </a:lnTo>
                  <a:lnTo>
                    <a:pt x="1800" y="1284"/>
                  </a:lnTo>
                  <a:lnTo>
                    <a:pt x="1794" y="1272"/>
                  </a:lnTo>
                  <a:lnTo>
                    <a:pt x="1782" y="1260"/>
                  </a:lnTo>
                  <a:lnTo>
                    <a:pt x="1770" y="1236"/>
                  </a:lnTo>
                  <a:lnTo>
                    <a:pt x="1746" y="1224"/>
                  </a:lnTo>
                  <a:lnTo>
                    <a:pt x="1728" y="1224"/>
                  </a:lnTo>
                  <a:lnTo>
                    <a:pt x="1716" y="1230"/>
                  </a:lnTo>
                  <a:close/>
                  <a:moveTo>
                    <a:pt x="1962" y="1122"/>
                  </a:moveTo>
                  <a:lnTo>
                    <a:pt x="1932" y="1146"/>
                  </a:lnTo>
                  <a:lnTo>
                    <a:pt x="1920" y="1134"/>
                  </a:lnTo>
                  <a:lnTo>
                    <a:pt x="1890" y="1134"/>
                  </a:lnTo>
                  <a:lnTo>
                    <a:pt x="1884" y="1140"/>
                  </a:lnTo>
                  <a:lnTo>
                    <a:pt x="1872" y="1146"/>
                  </a:lnTo>
                  <a:lnTo>
                    <a:pt x="1866" y="1152"/>
                  </a:lnTo>
                  <a:lnTo>
                    <a:pt x="1860" y="1140"/>
                  </a:lnTo>
                  <a:lnTo>
                    <a:pt x="1836" y="1116"/>
                  </a:lnTo>
                  <a:lnTo>
                    <a:pt x="1824" y="1116"/>
                  </a:lnTo>
                  <a:lnTo>
                    <a:pt x="1800" y="1128"/>
                  </a:lnTo>
                  <a:lnTo>
                    <a:pt x="1764" y="1164"/>
                  </a:lnTo>
                  <a:lnTo>
                    <a:pt x="1728" y="1158"/>
                  </a:lnTo>
                  <a:lnTo>
                    <a:pt x="1716" y="1176"/>
                  </a:lnTo>
                  <a:lnTo>
                    <a:pt x="1746" y="1176"/>
                  </a:lnTo>
                  <a:lnTo>
                    <a:pt x="1752" y="1182"/>
                  </a:lnTo>
                  <a:lnTo>
                    <a:pt x="1764" y="1182"/>
                  </a:lnTo>
                  <a:lnTo>
                    <a:pt x="1776" y="1188"/>
                  </a:lnTo>
                  <a:lnTo>
                    <a:pt x="1788" y="1188"/>
                  </a:lnTo>
                  <a:lnTo>
                    <a:pt x="1794" y="1182"/>
                  </a:lnTo>
                  <a:lnTo>
                    <a:pt x="1806" y="1176"/>
                  </a:lnTo>
                  <a:lnTo>
                    <a:pt x="1812" y="1170"/>
                  </a:lnTo>
                  <a:lnTo>
                    <a:pt x="1908" y="1164"/>
                  </a:lnTo>
                  <a:lnTo>
                    <a:pt x="1956" y="1158"/>
                  </a:lnTo>
                  <a:lnTo>
                    <a:pt x="1992" y="1128"/>
                  </a:lnTo>
                  <a:lnTo>
                    <a:pt x="1992" y="1110"/>
                  </a:lnTo>
                  <a:lnTo>
                    <a:pt x="1962" y="1122"/>
                  </a:lnTo>
                  <a:close/>
                  <a:moveTo>
                    <a:pt x="1578" y="1158"/>
                  </a:moveTo>
                  <a:lnTo>
                    <a:pt x="1566" y="1152"/>
                  </a:lnTo>
                  <a:lnTo>
                    <a:pt x="1560" y="1146"/>
                  </a:lnTo>
                  <a:lnTo>
                    <a:pt x="1548" y="1140"/>
                  </a:lnTo>
                  <a:lnTo>
                    <a:pt x="1536" y="1140"/>
                  </a:lnTo>
                  <a:lnTo>
                    <a:pt x="1512" y="1164"/>
                  </a:lnTo>
                  <a:lnTo>
                    <a:pt x="1506" y="1176"/>
                  </a:lnTo>
                  <a:lnTo>
                    <a:pt x="1500" y="1182"/>
                  </a:lnTo>
                  <a:lnTo>
                    <a:pt x="1554" y="1188"/>
                  </a:lnTo>
                  <a:lnTo>
                    <a:pt x="1554" y="1212"/>
                  </a:lnTo>
                  <a:lnTo>
                    <a:pt x="1578" y="1206"/>
                  </a:lnTo>
                  <a:lnTo>
                    <a:pt x="1590" y="1188"/>
                  </a:lnTo>
                  <a:lnTo>
                    <a:pt x="1614" y="1206"/>
                  </a:lnTo>
                  <a:lnTo>
                    <a:pt x="1644" y="1170"/>
                  </a:lnTo>
                  <a:lnTo>
                    <a:pt x="1596" y="1152"/>
                  </a:lnTo>
                  <a:lnTo>
                    <a:pt x="1578" y="1158"/>
                  </a:lnTo>
                  <a:close/>
                </a:path>
              </a:pathLst>
            </a:custGeom>
            <a:solidFill>
              <a:srgbClr val="B1B1B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Lato"/>
                <a:ea typeface="+mn-ea"/>
                <a:cs typeface="+mn-cs"/>
              </a:endParaRPr>
            </a:p>
          </p:txBody>
        </p:sp>
        <p:sp>
          <p:nvSpPr>
            <p:cNvPr id="484" name="India" descr="© INSCALE GmbH, 05.05.2010&#10;http://www.presentationload.com/">
              <a:extLst>
                <a:ext uri="{FF2B5EF4-FFF2-40B4-BE49-F238E27FC236}">
                  <a16:creationId xmlns:a16="http://schemas.microsoft.com/office/drawing/2014/main" id="{DB71722A-65E9-3E8F-1AD0-5C64DBDA80D4}"/>
                </a:ext>
              </a:extLst>
            </p:cNvPr>
            <p:cNvSpPr>
              <a:spLocks noEditPoints="1"/>
            </p:cNvSpPr>
            <p:nvPr/>
          </p:nvSpPr>
          <p:spPr bwMode="gray">
            <a:xfrm>
              <a:off x="7847330" y="2951281"/>
              <a:ext cx="970880" cy="1170880"/>
            </a:xfrm>
            <a:custGeom>
              <a:avLst/>
              <a:gdLst>
                <a:gd name="T0" fmla="*/ 2147483647 w 1956"/>
                <a:gd name="T1" fmla="*/ 2147483647 h 2358"/>
                <a:gd name="T2" fmla="*/ 2147483647 w 1956"/>
                <a:gd name="T3" fmla="*/ 2147483647 h 2358"/>
                <a:gd name="T4" fmla="*/ 2147483647 w 1956"/>
                <a:gd name="T5" fmla="*/ 2147483647 h 2358"/>
                <a:gd name="T6" fmla="*/ 2147483647 w 1956"/>
                <a:gd name="T7" fmla="*/ 2147483647 h 2358"/>
                <a:gd name="T8" fmla="*/ 2147483647 w 1956"/>
                <a:gd name="T9" fmla="*/ 2147483647 h 2358"/>
                <a:gd name="T10" fmla="*/ 2147483647 w 1956"/>
                <a:gd name="T11" fmla="*/ 2147483647 h 2358"/>
                <a:gd name="T12" fmla="*/ 2147483647 w 1956"/>
                <a:gd name="T13" fmla="*/ 2147483647 h 2358"/>
                <a:gd name="T14" fmla="*/ 2147483647 w 1956"/>
                <a:gd name="T15" fmla="*/ 2147483647 h 2358"/>
                <a:gd name="T16" fmla="*/ 2147483647 w 1956"/>
                <a:gd name="T17" fmla="*/ 2147483647 h 2358"/>
                <a:gd name="T18" fmla="*/ 2147483647 w 1956"/>
                <a:gd name="T19" fmla="*/ 2147483647 h 2358"/>
                <a:gd name="T20" fmla="*/ 2147483647 w 1956"/>
                <a:gd name="T21" fmla="*/ 2147483647 h 2358"/>
                <a:gd name="T22" fmla="*/ 2147483647 w 1956"/>
                <a:gd name="T23" fmla="*/ 2147483647 h 2358"/>
                <a:gd name="T24" fmla="*/ 2147483647 w 1956"/>
                <a:gd name="T25" fmla="*/ 2147483647 h 2358"/>
                <a:gd name="T26" fmla="*/ 2147483647 w 1956"/>
                <a:gd name="T27" fmla="*/ 2147483647 h 2358"/>
                <a:gd name="T28" fmla="*/ 2147483647 w 1956"/>
                <a:gd name="T29" fmla="*/ 2147483647 h 2358"/>
                <a:gd name="T30" fmla="*/ 2147483647 w 1956"/>
                <a:gd name="T31" fmla="*/ 2147483647 h 2358"/>
                <a:gd name="T32" fmla="*/ 2147483647 w 1956"/>
                <a:gd name="T33" fmla="*/ 2147483647 h 2358"/>
                <a:gd name="T34" fmla="*/ 2147483647 w 1956"/>
                <a:gd name="T35" fmla="*/ 2147483647 h 2358"/>
                <a:gd name="T36" fmla="*/ 2147483647 w 1956"/>
                <a:gd name="T37" fmla="*/ 2147483647 h 2358"/>
                <a:gd name="T38" fmla="*/ 2147483647 w 1956"/>
                <a:gd name="T39" fmla="*/ 2147483647 h 2358"/>
                <a:gd name="T40" fmla="*/ 2147483647 w 1956"/>
                <a:gd name="T41" fmla="*/ 2147483647 h 2358"/>
                <a:gd name="T42" fmla="*/ 2147483647 w 1956"/>
                <a:gd name="T43" fmla="*/ 2147483647 h 2358"/>
                <a:gd name="T44" fmla="*/ 2147483647 w 1956"/>
                <a:gd name="T45" fmla="*/ 2147483647 h 2358"/>
                <a:gd name="T46" fmla="*/ 2147483647 w 1956"/>
                <a:gd name="T47" fmla="*/ 2147483647 h 2358"/>
                <a:gd name="T48" fmla="*/ 2147483647 w 1956"/>
                <a:gd name="T49" fmla="*/ 2147483647 h 2358"/>
                <a:gd name="T50" fmla="*/ 2147483647 w 1956"/>
                <a:gd name="T51" fmla="*/ 2147483647 h 2358"/>
                <a:gd name="T52" fmla="*/ 2147483647 w 1956"/>
                <a:gd name="T53" fmla="*/ 2147483647 h 2358"/>
                <a:gd name="T54" fmla="*/ 2147483647 w 1956"/>
                <a:gd name="T55" fmla="*/ 2147483647 h 2358"/>
                <a:gd name="T56" fmla="*/ 2147483647 w 1956"/>
                <a:gd name="T57" fmla="*/ 2147483647 h 2358"/>
                <a:gd name="T58" fmla="*/ 2147483647 w 1956"/>
                <a:gd name="T59" fmla="*/ 2147483647 h 2358"/>
                <a:gd name="T60" fmla="*/ 2147483647 w 1956"/>
                <a:gd name="T61" fmla="*/ 2147483647 h 2358"/>
                <a:gd name="T62" fmla="*/ 2147483647 w 1956"/>
                <a:gd name="T63" fmla="*/ 2147483647 h 2358"/>
                <a:gd name="T64" fmla="*/ 2147483647 w 1956"/>
                <a:gd name="T65" fmla="*/ 2147483647 h 2358"/>
                <a:gd name="T66" fmla="*/ 2147483647 w 1956"/>
                <a:gd name="T67" fmla="*/ 2147483647 h 2358"/>
                <a:gd name="T68" fmla="*/ 2147483647 w 1956"/>
                <a:gd name="T69" fmla="*/ 2147483647 h 2358"/>
                <a:gd name="T70" fmla="*/ 2147483647 w 1956"/>
                <a:gd name="T71" fmla="*/ 2147483647 h 2358"/>
                <a:gd name="T72" fmla="*/ 2147483647 w 1956"/>
                <a:gd name="T73" fmla="*/ 2147483647 h 2358"/>
                <a:gd name="T74" fmla="*/ 2147483647 w 1956"/>
                <a:gd name="T75" fmla="*/ 2147483647 h 2358"/>
                <a:gd name="T76" fmla="*/ 2147483647 w 1956"/>
                <a:gd name="T77" fmla="*/ 2147483647 h 2358"/>
                <a:gd name="T78" fmla="*/ 2147483647 w 1956"/>
                <a:gd name="T79" fmla="*/ 2147483647 h 2358"/>
                <a:gd name="T80" fmla="*/ 2147483647 w 1956"/>
                <a:gd name="T81" fmla="*/ 2147483647 h 2358"/>
                <a:gd name="T82" fmla="*/ 2147483647 w 1956"/>
                <a:gd name="T83" fmla="*/ 2147483647 h 2358"/>
                <a:gd name="T84" fmla="*/ 2147483647 w 1956"/>
                <a:gd name="T85" fmla="*/ 2147483647 h 2358"/>
                <a:gd name="T86" fmla="*/ 2147483647 w 1956"/>
                <a:gd name="T87" fmla="*/ 2147483647 h 2358"/>
                <a:gd name="T88" fmla="*/ 2147483647 w 1956"/>
                <a:gd name="T89" fmla="*/ 2147483647 h 2358"/>
                <a:gd name="T90" fmla="*/ 2147483647 w 1956"/>
                <a:gd name="T91" fmla="*/ 2147483647 h 2358"/>
                <a:gd name="T92" fmla="*/ 2147483647 w 1956"/>
                <a:gd name="T93" fmla="*/ 2147483647 h 2358"/>
                <a:gd name="T94" fmla="*/ 2147483647 w 1956"/>
                <a:gd name="T95" fmla="*/ 2147483647 h 2358"/>
                <a:gd name="T96" fmla="*/ 2147483647 w 1956"/>
                <a:gd name="T97" fmla="*/ 2147483647 h 2358"/>
                <a:gd name="T98" fmla="*/ 2147483647 w 1956"/>
                <a:gd name="T99" fmla="*/ 2147483647 h 2358"/>
                <a:gd name="T100" fmla="*/ 2147483647 w 1956"/>
                <a:gd name="T101" fmla="*/ 2147483647 h 2358"/>
                <a:gd name="T102" fmla="*/ 2147483647 w 1956"/>
                <a:gd name="T103" fmla="*/ 2147483647 h 2358"/>
                <a:gd name="T104" fmla="*/ 2147483647 w 1956"/>
                <a:gd name="T105" fmla="*/ 2147483647 h 2358"/>
                <a:gd name="T106" fmla="*/ 2147483647 w 1956"/>
                <a:gd name="T107" fmla="*/ 2147483647 h 2358"/>
                <a:gd name="T108" fmla="*/ 2147483647 w 1956"/>
                <a:gd name="T109" fmla="*/ 2147483647 h 2358"/>
                <a:gd name="T110" fmla="*/ 2147483647 w 1956"/>
                <a:gd name="T111" fmla="*/ 2147483647 h 2358"/>
                <a:gd name="T112" fmla="*/ 2147483647 w 1956"/>
                <a:gd name="T113" fmla="*/ 2147483647 h 2358"/>
                <a:gd name="T114" fmla="*/ 2147483647 w 1956"/>
                <a:gd name="T115" fmla="*/ 2147483647 h 2358"/>
                <a:gd name="T116" fmla="*/ 2147483647 w 1956"/>
                <a:gd name="T117" fmla="*/ 2147483647 h 2358"/>
                <a:gd name="T118" fmla="*/ 2147483647 w 1956"/>
                <a:gd name="T119" fmla="*/ 2147483647 h 235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956"/>
                <a:gd name="T181" fmla="*/ 0 h 2358"/>
                <a:gd name="T182" fmla="*/ 1956 w 1956"/>
                <a:gd name="T183" fmla="*/ 2358 h 235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956" h="2358">
                  <a:moveTo>
                    <a:pt x="1806" y="1788"/>
                  </a:moveTo>
                  <a:lnTo>
                    <a:pt x="1794" y="1800"/>
                  </a:lnTo>
                  <a:lnTo>
                    <a:pt x="1782" y="1824"/>
                  </a:lnTo>
                  <a:lnTo>
                    <a:pt x="1782" y="1884"/>
                  </a:lnTo>
                  <a:lnTo>
                    <a:pt x="1788" y="1980"/>
                  </a:lnTo>
                  <a:lnTo>
                    <a:pt x="1800" y="1950"/>
                  </a:lnTo>
                  <a:lnTo>
                    <a:pt x="1800" y="1848"/>
                  </a:lnTo>
                  <a:lnTo>
                    <a:pt x="1806" y="1836"/>
                  </a:lnTo>
                  <a:lnTo>
                    <a:pt x="1806" y="1830"/>
                  </a:lnTo>
                  <a:lnTo>
                    <a:pt x="1812" y="1818"/>
                  </a:lnTo>
                  <a:lnTo>
                    <a:pt x="1812" y="1806"/>
                  </a:lnTo>
                  <a:lnTo>
                    <a:pt x="1818" y="1800"/>
                  </a:lnTo>
                  <a:lnTo>
                    <a:pt x="1812" y="1788"/>
                  </a:lnTo>
                  <a:lnTo>
                    <a:pt x="1806" y="1788"/>
                  </a:lnTo>
                  <a:close/>
                  <a:moveTo>
                    <a:pt x="1794" y="2028"/>
                  </a:moveTo>
                  <a:lnTo>
                    <a:pt x="1788" y="2028"/>
                  </a:lnTo>
                  <a:lnTo>
                    <a:pt x="1782" y="2040"/>
                  </a:lnTo>
                  <a:lnTo>
                    <a:pt x="1782" y="2046"/>
                  </a:lnTo>
                  <a:lnTo>
                    <a:pt x="1788" y="2058"/>
                  </a:lnTo>
                  <a:lnTo>
                    <a:pt x="1788" y="2064"/>
                  </a:lnTo>
                  <a:lnTo>
                    <a:pt x="1794" y="2076"/>
                  </a:lnTo>
                  <a:lnTo>
                    <a:pt x="1800" y="2064"/>
                  </a:lnTo>
                  <a:lnTo>
                    <a:pt x="1800" y="2028"/>
                  </a:lnTo>
                  <a:lnTo>
                    <a:pt x="1794" y="2028"/>
                  </a:lnTo>
                  <a:close/>
                  <a:moveTo>
                    <a:pt x="1890" y="2310"/>
                  </a:moveTo>
                  <a:lnTo>
                    <a:pt x="1884" y="2316"/>
                  </a:lnTo>
                  <a:lnTo>
                    <a:pt x="1884" y="2334"/>
                  </a:lnTo>
                  <a:lnTo>
                    <a:pt x="1890" y="2346"/>
                  </a:lnTo>
                  <a:lnTo>
                    <a:pt x="1896" y="2352"/>
                  </a:lnTo>
                  <a:lnTo>
                    <a:pt x="1908" y="2358"/>
                  </a:lnTo>
                  <a:lnTo>
                    <a:pt x="1908" y="2346"/>
                  </a:lnTo>
                  <a:lnTo>
                    <a:pt x="1902" y="2334"/>
                  </a:lnTo>
                  <a:lnTo>
                    <a:pt x="1902" y="2322"/>
                  </a:lnTo>
                  <a:lnTo>
                    <a:pt x="1896" y="2310"/>
                  </a:lnTo>
                  <a:lnTo>
                    <a:pt x="1890" y="2310"/>
                  </a:lnTo>
                  <a:close/>
                  <a:moveTo>
                    <a:pt x="1920" y="672"/>
                  </a:moveTo>
                  <a:lnTo>
                    <a:pt x="1932" y="660"/>
                  </a:lnTo>
                  <a:lnTo>
                    <a:pt x="1944" y="654"/>
                  </a:lnTo>
                  <a:lnTo>
                    <a:pt x="1950" y="648"/>
                  </a:lnTo>
                  <a:lnTo>
                    <a:pt x="1956" y="648"/>
                  </a:lnTo>
                  <a:lnTo>
                    <a:pt x="1956" y="618"/>
                  </a:lnTo>
                  <a:lnTo>
                    <a:pt x="1950" y="618"/>
                  </a:lnTo>
                  <a:lnTo>
                    <a:pt x="1944" y="612"/>
                  </a:lnTo>
                  <a:lnTo>
                    <a:pt x="1878" y="612"/>
                  </a:lnTo>
                  <a:lnTo>
                    <a:pt x="1878" y="606"/>
                  </a:lnTo>
                  <a:lnTo>
                    <a:pt x="1890" y="594"/>
                  </a:lnTo>
                  <a:lnTo>
                    <a:pt x="1896" y="594"/>
                  </a:lnTo>
                  <a:lnTo>
                    <a:pt x="1878" y="564"/>
                  </a:lnTo>
                  <a:lnTo>
                    <a:pt x="1848" y="564"/>
                  </a:lnTo>
                  <a:lnTo>
                    <a:pt x="1842" y="558"/>
                  </a:lnTo>
                  <a:lnTo>
                    <a:pt x="1848" y="558"/>
                  </a:lnTo>
                  <a:lnTo>
                    <a:pt x="1860" y="546"/>
                  </a:lnTo>
                  <a:lnTo>
                    <a:pt x="1854" y="540"/>
                  </a:lnTo>
                  <a:lnTo>
                    <a:pt x="1818" y="522"/>
                  </a:lnTo>
                  <a:lnTo>
                    <a:pt x="1806" y="534"/>
                  </a:lnTo>
                  <a:lnTo>
                    <a:pt x="1806" y="558"/>
                  </a:lnTo>
                  <a:lnTo>
                    <a:pt x="1788" y="558"/>
                  </a:lnTo>
                  <a:lnTo>
                    <a:pt x="1770" y="546"/>
                  </a:lnTo>
                  <a:lnTo>
                    <a:pt x="1758" y="540"/>
                  </a:lnTo>
                  <a:lnTo>
                    <a:pt x="1740" y="540"/>
                  </a:lnTo>
                  <a:lnTo>
                    <a:pt x="1728" y="552"/>
                  </a:lnTo>
                  <a:lnTo>
                    <a:pt x="1716" y="558"/>
                  </a:lnTo>
                  <a:lnTo>
                    <a:pt x="1692" y="582"/>
                  </a:lnTo>
                  <a:lnTo>
                    <a:pt x="1656" y="582"/>
                  </a:lnTo>
                  <a:lnTo>
                    <a:pt x="1656" y="588"/>
                  </a:lnTo>
                  <a:lnTo>
                    <a:pt x="1662" y="594"/>
                  </a:lnTo>
                  <a:lnTo>
                    <a:pt x="1662" y="618"/>
                  </a:lnTo>
                  <a:lnTo>
                    <a:pt x="1656" y="624"/>
                  </a:lnTo>
                  <a:lnTo>
                    <a:pt x="1626" y="624"/>
                  </a:lnTo>
                  <a:lnTo>
                    <a:pt x="1632" y="636"/>
                  </a:lnTo>
                  <a:lnTo>
                    <a:pt x="1632" y="654"/>
                  </a:lnTo>
                  <a:lnTo>
                    <a:pt x="1620" y="666"/>
                  </a:lnTo>
                  <a:lnTo>
                    <a:pt x="1566" y="666"/>
                  </a:lnTo>
                  <a:lnTo>
                    <a:pt x="1566" y="684"/>
                  </a:lnTo>
                  <a:lnTo>
                    <a:pt x="1572" y="690"/>
                  </a:lnTo>
                  <a:lnTo>
                    <a:pt x="1596" y="690"/>
                  </a:lnTo>
                  <a:lnTo>
                    <a:pt x="1596" y="714"/>
                  </a:lnTo>
                  <a:lnTo>
                    <a:pt x="1608" y="726"/>
                  </a:lnTo>
                  <a:lnTo>
                    <a:pt x="1608" y="732"/>
                  </a:lnTo>
                  <a:lnTo>
                    <a:pt x="1584" y="744"/>
                  </a:lnTo>
                  <a:lnTo>
                    <a:pt x="1572" y="744"/>
                  </a:lnTo>
                  <a:lnTo>
                    <a:pt x="1566" y="738"/>
                  </a:lnTo>
                  <a:lnTo>
                    <a:pt x="1554" y="738"/>
                  </a:lnTo>
                  <a:lnTo>
                    <a:pt x="1542" y="744"/>
                  </a:lnTo>
                  <a:lnTo>
                    <a:pt x="1512" y="744"/>
                  </a:lnTo>
                  <a:lnTo>
                    <a:pt x="1500" y="738"/>
                  </a:lnTo>
                  <a:lnTo>
                    <a:pt x="1482" y="738"/>
                  </a:lnTo>
                  <a:lnTo>
                    <a:pt x="1476" y="744"/>
                  </a:lnTo>
                  <a:lnTo>
                    <a:pt x="1464" y="750"/>
                  </a:lnTo>
                  <a:lnTo>
                    <a:pt x="1440" y="750"/>
                  </a:lnTo>
                  <a:lnTo>
                    <a:pt x="1428" y="738"/>
                  </a:lnTo>
                  <a:lnTo>
                    <a:pt x="1428" y="732"/>
                  </a:lnTo>
                  <a:lnTo>
                    <a:pt x="1428" y="738"/>
                  </a:lnTo>
                  <a:lnTo>
                    <a:pt x="1416" y="738"/>
                  </a:lnTo>
                  <a:lnTo>
                    <a:pt x="1392" y="726"/>
                  </a:lnTo>
                  <a:lnTo>
                    <a:pt x="1374" y="708"/>
                  </a:lnTo>
                  <a:lnTo>
                    <a:pt x="1374" y="696"/>
                  </a:lnTo>
                  <a:lnTo>
                    <a:pt x="1380" y="696"/>
                  </a:lnTo>
                  <a:lnTo>
                    <a:pt x="1374" y="696"/>
                  </a:lnTo>
                  <a:lnTo>
                    <a:pt x="1368" y="690"/>
                  </a:lnTo>
                  <a:lnTo>
                    <a:pt x="1368" y="642"/>
                  </a:lnTo>
                  <a:lnTo>
                    <a:pt x="1362" y="636"/>
                  </a:lnTo>
                  <a:lnTo>
                    <a:pt x="1350" y="630"/>
                  </a:lnTo>
                  <a:lnTo>
                    <a:pt x="1338" y="630"/>
                  </a:lnTo>
                  <a:lnTo>
                    <a:pt x="1326" y="642"/>
                  </a:lnTo>
                  <a:lnTo>
                    <a:pt x="1314" y="648"/>
                  </a:lnTo>
                  <a:lnTo>
                    <a:pt x="1326" y="666"/>
                  </a:lnTo>
                  <a:lnTo>
                    <a:pt x="1326" y="714"/>
                  </a:lnTo>
                  <a:lnTo>
                    <a:pt x="1338" y="738"/>
                  </a:lnTo>
                  <a:lnTo>
                    <a:pt x="1338" y="774"/>
                  </a:lnTo>
                  <a:lnTo>
                    <a:pt x="1272" y="774"/>
                  </a:lnTo>
                  <a:lnTo>
                    <a:pt x="1272" y="762"/>
                  </a:lnTo>
                  <a:lnTo>
                    <a:pt x="1266" y="756"/>
                  </a:lnTo>
                  <a:lnTo>
                    <a:pt x="1260" y="756"/>
                  </a:lnTo>
                  <a:lnTo>
                    <a:pt x="1248" y="762"/>
                  </a:lnTo>
                  <a:lnTo>
                    <a:pt x="1242" y="774"/>
                  </a:lnTo>
                  <a:lnTo>
                    <a:pt x="1236" y="762"/>
                  </a:lnTo>
                  <a:lnTo>
                    <a:pt x="1224" y="756"/>
                  </a:lnTo>
                  <a:lnTo>
                    <a:pt x="1206" y="750"/>
                  </a:lnTo>
                  <a:lnTo>
                    <a:pt x="1188" y="750"/>
                  </a:lnTo>
                  <a:lnTo>
                    <a:pt x="1182" y="756"/>
                  </a:lnTo>
                  <a:lnTo>
                    <a:pt x="1152" y="738"/>
                  </a:lnTo>
                  <a:lnTo>
                    <a:pt x="1134" y="750"/>
                  </a:lnTo>
                  <a:lnTo>
                    <a:pt x="1080" y="696"/>
                  </a:lnTo>
                  <a:lnTo>
                    <a:pt x="1056" y="696"/>
                  </a:lnTo>
                  <a:lnTo>
                    <a:pt x="1056" y="690"/>
                  </a:lnTo>
                  <a:lnTo>
                    <a:pt x="1044" y="678"/>
                  </a:lnTo>
                  <a:lnTo>
                    <a:pt x="1038" y="678"/>
                  </a:lnTo>
                  <a:lnTo>
                    <a:pt x="1032" y="684"/>
                  </a:lnTo>
                  <a:lnTo>
                    <a:pt x="1032" y="702"/>
                  </a:lnTo>
                  <a:lnTo>
                    <a:pt x="1032" y="696"/>
                  </a:lnTo>
                  <a:lnTo>
                    <a:pt x="1026" y="690"/>
                  </a:lnTo>
                  <a:lnTo>
                    <a:pt x="1008" y="690"/>
                  </a:lnTo>
                  <a:lnTo>
                    <a:pt x="996" y="702"/>
                  </a:lnTo>
                  <a:lnTo>
                    <a:pt x="990" y="690"/>
                  </a:lnTo>
                  <a:lnTo>
                    <a:pt x="984" y="684"/>
                  </a:lnTo>
                  <a:lnTo>
                    <a:pt x="960" y="684"/>
                  </a:lnTo>
                  <a:lnTo>
                    <a:pt x="954" y="678"/>
                  </a:lnTo>
                  <a:lnTo>
                    <a:pt x="954" y="666"/>
                  </a:lnTo>
                  <a:lnTo>
                    <a:pt x="942" y="666"/>
                  </a:lnTo>
                  <a:lnTo>
                    <a:pt x="936" y="672"/>
                  </a:lnTo>
                  <a:lnTo>
                    <a:pt x="918" y="672"/>
                  </a:lnTo>
                  <a:lnTo>
                    <a:pt x="912" y="666"/>
                  </a:lnTo>
                  <a:lnTo>
                    <a:pt x="906" y="654"/>
                  </a:lnTo>
                  <a:lnTo>
                    <a:pt x="900" y="648"/>
                  </a:lnTo>
                  <a:lnTo>
                    <a:pt x="888" y="648"/>
                  </a:lnTo>
                  <a:lnTo>
                    <a:pt x="846" y="630"/>
                  </a:lnTo>
                  <a:lnTo>
                    <a:pt x="834" y="612"/>
                  </a:lnTo>
                  <a:lnTo>
                    <a:pt x="810" y="612"/>
                  </a:lnTo>
                  <a:lnTo>
                    <a:pt x="792" y="588"/>
                  </a:lnTo>
                  <a:lnTo>
                    <a:pt x="780" y="594"/>
                  </a:lnTo>
                  <a:lnTo>
                    <a:pt x="750" y="564"/>
                  </a:lnTo>
                  <a:lnTo>
                    <a:pt x="750" y="552"/>
                  </a:lnTo>
                  <a:lnTo>
                    <a:pt x="762" y="540"/>
                  </a:lnTo>
                  <a:lnTo>
                    <a:pt x="768" y="540"/>
                  </a:lnTo>
                  <a:lnTo>
                    <a:pt x="756" y="528"/>
                  </a:lnTo>
                  <a:lnTo>
                    <a:pt x="756" y="522"/>
                  </a:lnTo>
                  <a:lnTo>
                    <a:pt x="762" y="516"/>
                  </a:lnTo>
                  <a:lnTo>
                    <a:pt x="756" y="504"/>
                  </a:lnTo>
                  <a:lnTo>
                    <a:pt x="780" y="480"/>
                  </a:lnTo>
                  <a:lnTo>
                    <a:pt x="786" y="456"/>
                  </a:lnTo>
                  <a:lnTo>
                    <a:pt x="762" y="438"/>
                  </a:lnTo>
                  <a:lnTo>
                    <a:pt x="750" y="438"/>
                  </a:lnTo>
                  <a:lnTo>
                    <a:pt x="738" y="432"/>
                  </a:lnTo>
                  <a:lnTo>
                    <a:pt x="738" y="414"/>
                  </a:lnTo>
                  <a:lnTo>
                    <a:pt x="720" y="420"/>
                  </a:lnTo>
                  <a:lnTo>
                    <a:pt x="702" y="402"/>
                  </a:lnTo>
                  <a:lnTo>
                    <a:pt x="696" y="402"/>
                  </a:lnTo>
                  <a:lnTo>
                    <a:pt x="690" y="396"/>
                  </a:lnTo>
                  <a:lnTo>
                    <a:pt x="678" y="396"/>
                  </a:lnTo>
                  <a:lnTo>
                    <a:pt x="666" y="390"/>
                  </a:lnTo>
                  <a:lnTo>
                    <a:pt x="654" y="378"/>
                  </a:lnTo>
                  <a:lnTo>
                    <a:pt x="648" y="366"/>
                  </a:lnTo>
                  <a:lnTo>
                    <a:pt x="618" y="366"/>
                  </a:lnTo>
                  <a:lnTo>
                    <a:pt x="612" y="360"/>
                  </a:lnTo>
                  <a:lnTo>
                    <a:pt x="612" y="342"/>
                  </a:lnTo>
                  <a:lnTo>
                    <a:pt x="618" y="336"/>
                  </a:lnTo>
                  <a:lnTo>
                    <a:pt x="618" y="324"/>
                  </a:lnTo>
                  <a:lnTo>
                    <a:pt x="612" y="324"/>
                  </a:lnTo>
                  <a:lnTo>
                    <a:pt x="600" y="312"/>
                  </a:lnTo>
                  <a:lnTo>
                    <a:pt x="594" y="300"/>
                  </a:lnTo>
                  <a:lnTo>
                    <a:pt x="588" y="294"/>
                  </a:lnTo>
                  <a:lnTo>
                    <a:pt x="588" y="276"/>
                  </a:lnTo>
                  <a:lnTo>
                    <a:pt x="594" y="276"/>
                  </a:lnTo>
                  <a:lnTo>
                    <a:pt x="600" y="270"/>
                  </a:lnTo>
                  <a:lnTo>
                    <a:pt x="612" y="270"/>
                  </a:lnTo>
                  <a:lnTo>
                    <a:pt x="612" y="288"/>
                  </a:lnTo>
                  <a:lnTo>
                    <a:pt x="624" y="300"/>
                  </a:lnTo>
                  <a:lnTo>
                    <a:pt x="636" y="282"/>
                  </a:lnTo>
                  <a:lnTo>
                    <a:pt x="642" y="282"/>
                  </a:lnTo>
                  <a:lnTo>
                    <a:pt x="648" y="276"/>
                  </a:lnTo>
                  <a:lnTo>
                    <a:pt x="660" y="270"/>
                  </a:lnTo>
                  <a:lnTo>
                    <a:pt x="660" y="258"/>
                  </a:lnTo>
                  <a:lnTo>
                    <a:pt x="642" y="240"/>
                  </a:lnTo>
                  <a:lnTo>
                    <a:pt x="636" y="228"/>
                  </a:lnTo>
                  <a:lnTo>
                    <a:pt x="630" y="222"/>
                  </a:lnTo>
                  <a:lnTo>
                    <a:pt x="618" y="222"/>
                  </a:lnTo>
                  <a:lnTo>
                    <a:pt x="594" y="210"/>
                  </a:lnTo>
                  <a:lnTo>
                    <a:pt x="594" y="186"/>
                  </a:lnTo>
                  <a:lnTo>
                    <a:pt x="612" y="180"/>
                  </a:lnTo>
                  <a:lnTo>
                    <a:pt x="594" y="156"/>
                  </a:lnTo>
                  <a:lnTo>
                    <a:pt x="624" y="156"/>
                  </a:lnTo>
                  <a:lnTo>
                    <a:pt x="636" y="150"/>
                  </a:lnTo>
                  <a:lnTo>
                    <a:pt x="642" y="138"/>
                  </a:lnTo>
                  <a:lnTo>
                    <a:pt x="642" y="114"/>
                  </a:lnTo>
                  <a:lnTo>
                    <a:pt x="636" y="108"/>
                  </a:lnTo>
                  <a:lnTo>
                    <a:pt x="636" y="102"/>
                  </a:lnTo>
                  <a:lnTo>
                    <a:pt x="654" y="102"/>
                  </a:lnTo>
                  <a:lnTo>
                    <a:pt x="660" y="96"/>
                  </a:lnTo>
                  <a:lnTo>
                    <a:pt x="660" y="36"/>
                  </a:lnTo>
                  <a:lnTo>
                    <a:pt x="618" y="36"/>
                  </a:lnTo>
                  <a:lnTo>
                    <a:pt x="594" y="12"/>
                  </a:lnTo>
                  <a:lnTo>
                    <a:pt x="576" y="0"/>
                  </a:lnTo>
                  <a:lnTo>
                    <a:pt x="564" y="0"/>
                  </a:lnTo>
                  <a:lnTo>
                    <a:pt x="540" y="12"/>
                  </a:lnTo>
                  <a:lnTo>
                    <a:pt x="522" y="18"/>
                  </a:lnTo>
                  <a:lnTo>
                    <a:pt x="516" y="30"/>
                  </a:lnTo>
                  <a:lnTo>
                    <a:pt x="504" y="36"/>
                  </a:lnTo>
                  <a:lnTo>
                    <a:pt x="480" y="36"/>
                  </a:lnTo>
                  <a:lnTo>
                    <a:pt x="456" y="72"/>
                  </a:lnTo>
                  <a:lnTo>
                    <a:pt x="432" y="78"/>
                  </a:lnTo>
                  <a:lnTo>
                    <a:pt x="432" y="96"/>
                  </a:lnTo>
                  <a:lnTo>
                    <a:pt x="408" y="96"/>
                  </a:lnTo>
                  <a:lnTo>
                    <a:pt x="402" y="102"/>
                  </a:lnTo>
                  <a:lnTo>
                    <a:pt x="396" y="96"/>
                  </a:lnTo>
                  <a:lnTo>
                    <a:pt x="390" y="102"/>
                  </a:lnTo>
                  <a:lnTo>
                    <a:pt x="378" y="108"/>
                  </a:lnTo>
                  <a:lnTo>
                    <a:pt x="372" y="114"/>
                  </a:lnTo>
                  <a:lnTo>
                    <a:pt x="360" y="120"/>
                  </a:lnTo>
                  <a:lnTo>
                    <a:pt x="348" y="120"/>
                  </a:lnTo>
                  <a:lnTo>
                    <a:pt x="348" y="108"/>
                  </a:lnTo>
                  <a:lnTo>
                    <a:pt x="342" y="102"/>
                  </a:lnTo>
                  <a:lnTo>
                    <a:pt x="324" y="102"/>
                  </a:lnTo>
                  <a:lnTo>
                    <a:pt x="306" y="96"/>
                  </a:lnTo>
                  <a:lnTo>
                    <a:pt x="264" y="96"/>
                  </a:lnTo>
                  <a:lnTo>
                    <a:pt x="240" y="108"/>
                  </a:lnTo>
                  <a:lnTo>
                    <a:pt x="234" y="120"/>
                  </a:lnTo>
                  <a:lnTo>
                    <a:pt x="234" y="126"/>
                  </a:lnTo>
                  <a:lnTo>
                    <a:pt x="258" y="144"/>
                  </a:lnTo>
                  <a:lnTo>
                    <a:pt x="252" y="156"/>
                  </a:lnTo>
                  <a:lnTo>
                    <a:pt x="282" y="162"/>
                  </a:lnTo>
                  <a:lnTo>
                    <a:pt x="276" y="168"/>
                  </a:lnTo>
                  <a:lnTo>
                    <a:pt x="270" y="180"/>
                  </a:lnTo>
                  <a:lnTo>
                    <a:pt x="264" y="186"/>
                  </a:lnTo>
                  <a:lnTo>
                    <a:pt x="264" y="192"/>
                  </a:lnTo>
                  <a:lnTo>
                    <a:pt x="276" y="204"/>
                  </a:lnTo>
                  <a:lnTo>
                    <a:pt x="282" y="204"/>
                  </a:lnTo>
                  <a:lnTo>
                    <a:pt x="282" y="210"/>
                  </a:lnTo>
                  <a:lnTo>
                    <a:pt x="276" y="222"/>
                  </a:lnTo>
                  <a:lnTo>
                    <a:pt x="276" y="234"/>
                  </a:lnTo>
                  <a:lnTo>
                    <a:pt x="294" y="234"/>
                  </a:lnTo>
                  <a:lnTo>
                    <a:pt x="306" y="252"/>
                  </a:lnTo>
                  <a:lnTo>
                    <a:pt x="324" y="252"/>
                  </a:lnTo>
                  <a:lnTo>
                    <a:pt x="330" y="288"/>
                  </a:lnTo>
                  <a:lnTo>
                    <a:pt x="366" y="288"/>
                  </a:lnTo>
                  <a:lnTo>
                    <a:pt x="378" y="294"/>
                  </a:lnTo>
                  <a:lnTo>
                    <a:pt x="384" y="300"/>
                  </a:lnTo>
                  <a:lnTo>
                    <a:pt x="384" y="306"/>
                  </a:lnTo>
                  <a:lnTo>
                    <a:pt x="378" y="312"/>
                  </a:lnTo>
                  <a:lnTo>
                    <a:pt x="354" y="324"/>
                  </a:lnTo>
                  <a:lnTo>
                    <a:pt x="342" y="324"/>
                  </a:lnTo>
                  <a:lnTo>
                    <a:pt x="336" y="330"/>
                  </a:lnTo>
                  <a:lnTo>
                    <a:pt x="336" y="366"/>
                  </a:lnTo>
                  <a:lnTo>
                    <a:pt x="342" y="378"/>
                  </a:lnTo>
                  <a:lnTo>
                    <a:pt x="354" y="390"/>
                  </a:lnTo>
                  <a:lnTo>
                    <a:pt x="354" y="396"/>
                  </a:lnTo>
                  <a:lnTo>
                    <a:pt x="324" y="414"/>
                  </a:lnTo>
                  <a:lnTo>
                    <a:pt x="300" y="450"/>
                  </a:lnTo>
                  <a:lnTo>
                    <a:pt x="318" y="474"/>
                  </a:lnTo>
                  <a:lnTo>
                    <a:pt x="306" y="474"/>
                  </a:lnTo>
                  <a:lnTo>
                    <a:pt x="300" y="480"/>
                  </a:lnTo>
                  <a:lnTo>
                    <a:pt x="288" y="486"/>
                  </a:lnTo>
                  <a:lnTo>
                    <a:pt x="282" y="492"/>
                  </a:lnTo>
                  <a:lnTo>
                    <a:pt x="282" y="504"/>
                  </a:lnTo>
                  <a:lnTo>
                    <a:pt x="276" y="522"/>
                  </a:lnTo>
                  <a:lnTo>
                    <a:pt x="276" y="534"/>
                  </a:lnTo>
                  <a:lnTo>
                    <a:pt x="270" y="552"/>
                  </a:lnTo>
                  <a:lnTo>
                    <a:pt x="258" y="564"/>
                  </a:lnTo>
                  <a:lnTo>
                    <a:pt x="234" y="576"/>
                  </a:lnTo>
                  <a:lnTo>
                    <a:pt x="228" y="582"/>
                  </a:lnTo>
                  <a:lnTo>
                    <a:pt x="228" y="588"/>
                  </a:lnTo>
                  <a:lnTo>
                    <a:pt x="222" y="594"/>
                  </a:lnTo>
                  <a:lnTo>
                    <a:pt x="222" y="612"/>
                  </a:lnTo>
                  <a:lnTo>
                    <a:pt x="204" y="624"/>
                  </a:lnTo>
                  <a:lnTo>
                    <a:pt x="204" y="630"/>
                  </a:lnTo>
                  <a:lnTo>
                    <a:pt x="198" y="636"/>
                  </a:lnTo>
                  <a:lnTo>
                    <a:pt x="192" y="648"/>
                  </a:lnTo>
                  <a:lnTo>
                    <a:pt x="186" y="654"/>
                  </a:lnTo>
                  <a:lnTo>
                    <a:pt x="168" y="654"/>
                  </a:lnTo>
                  <a:lnTo>
                    <a:pt x="162" y="648"/>
                  </a:lnTo>
                  <a:lnTo>
                    <a:pt x="156" y="654"/>
                  </a:lnTo>
                  <a:lnTo>
                    <a:pt x="132" y="666"/>
                  </a:lnTo>
                  <a:lnTo>
                    <a:pt x="126" y="666"/>
                  </a:lnTo>
                  <a:lnTo>
                    <a:pt x="120" y="660"/>
                  </a:lnTo>
                  <a:lnTo>
                    <a:pt x="120" y="648"/>
                  </a:lnTo>
                  <a:lnTo>
                    <a:pt x="114" y="642"/>
                  </a:lnTo>
                  <a:lnTo>
                    <a:pt x="108" y="642"/>
                  </a:lnTo>
                  <a:lnTo>
                    <a:pt x="96" y="648"/>
                  </a:lnTo>
                  <a:lnTo>
                    <a:pt x="84" y="660"/>
                  </a:lnTo>
                  <a:lnTo>
                    <a:pt x="84" y="666"/>
                  </a:lnTo>
                  <a:lnTo>
                    <a:pt x="78" y="678"/>
                  </a:lnTo>
                  <a:lnTo>
                    <a:pt x="72" y="684"/>
                  </a:lnTo>
                  <a:lnTo>
                    <a:pt x="66" y="696"/>
                  </a:lnTo>
                  <a:lnTo>
                    <a:pt x="54" y="708"/>
                  </a:lnTo>
                  <a:lnTo>
                    <a:pt x="48" y="720"/>
                  </a:lnTo>
                  <a:lnTo>
                    <a:pt x="48" y="744"/>
                  </a:lnTo>
                  <a:lnTo>
                    <a:pt x="54" y="750"/>
                  </a:lnTo>
                  <a:lnTo>
                    <a:pt x="66" y="756"/>
                  </a:lnTo>
                  <a:lnTo>
                    <a:pt x="72" y="756"/>
                  </a:lnTo>
                  <a:lnTo>
                    <a:pt x="102" y="750"/>
                  </a:lnTo>
                  <a:lnTo>
                    <a:pt x="102" y="768"/>
                  </a:lnTo>
                  <a:lnTo>
                    <a:pt x="96" y="798"/>
                  </a:lnTo>
                  <a:lnTo>
                    <a:pt x="102" y="804"/>
                  </a:lnTo>
                  <a:lnTo>
                    <a:pt x="108" y="816"/>
                  </a:lnTo>
                  <a:lnTo>
                    <a:pt x="120" y="828"/>
                  </a:lnTo>
                  <a:lnTo>
                    <a:pt x="144" y="828"/>
                  </a:lnTo>
                  <a:lnTo>
                    <a:pt x="144" y="852"/>
                  </a:lnTo>
                  <a:lnTo>
                    <a:pt x="168" y="894"/>
                  </a:lnTo>
                  <a:lnTo>
                    <a:pt x="174" y="906"/>
                  </a:lnTo>
                  <a:lnTo>
                    <a:pt x="180" y="912"/>
                  </a:lnTo>
                  <a:lnTo>
                    <a:pt x="180" y="936"/>
                  </a:lnTo>
                  <a:lnTo>
                    <a:pt x="168" y="942"/>
                  </a:lnTo>
                  <a:lnTo>
                    <a:pt x="162" y="948"/>
                  </a:lnTo>
                  <a:lnTo>
                    <a:pt x="144" y="948"/>
                  </a:lnTo>
                  <a:lnTo>
                    <a:pt x="138" y="942"/>
                  </a:lnTo>
                  <a:lnTo>
                    <a:pt x="138" y="930"/>
                  </a:lnTo>
                  <a:lnTo>
                    <a:pt x="132" y="930"/>
                  </a:lnTo>
                  <a:lnTo>
                    <a:pt x="120" y="936"/>
                  </a:lnTo>
                  <a:lnTo>
                    <a:pt x="108" y="948"/>
                  </a:lnTo>
                  <a:lnTo>
                    <a:pt x="84" y="948"/>
                  </a:lnTo>
                  <a:lnTo>
                    <a:pt x="78" y="942"/>
                  </a:lnTo>
                  <a:lnTo>
                    <a:pt x="78" y="936"/>
                  </a:lnTo>
                  <a:lnTo>
                    <a:pt x="54" y="948"/>
                  </a:lnTo>
                  <a:lnTo>
                    <a:pt x="48" y="942"/>
                  </a:lnTo>
                  <a:lnTo>
                    <a:pt x="36" y="936"/>
                  </a:lnTo>
                  <a:lnTo>
                    <a:pt x="24" y="936"/>
                  </a:lnTo>
                  <a:lnTo>
                    <a:pt x="12" y="948"/>
                  </a:lnTo>
                  <a:lnTo>
                    <a:pt x="12" y="960"/>
                  </a:lnTo>
                  <a:lnTo>
                    <a:pt x="18" y="966"/>
                  </a:lnTo>
                  <a:lnTo>
                    <a:pt x="0" y="972"/>
                  </a:lnTo>
                  <a:lnTo>
                    <a:pt x="36" y="972"/>
                  </a:lnTo>
                  <a:lnTo>
                    <a:pt x="30" y="984"/>
                  </a:lnTo>
                  <a:lnTo>
                    <a:pt x="30" y="1014"/>
                  </a:lnTo>
                  <a:lnTo>
                    <a:pt x="36" y="1026"/>
                  </a:lnTo>
                  <a:lnTo>
                    <a:pt x="48" y="1032"/>
                  </a:lnTo>
                  <a:lnTo>
                    <a:pt x="66" y="1038"/>
                  </a:lnTo>
                  <a:lnTo>
                    <a:pt x="120" y="1038"/>
                  </a:lnTo>
                  <a:lnTo>
                    <a:pt x="132" y="1032"/>
                  </a:lnTo>
                  <a:lnTo>
                    <a:pt x="150" y="1014"/>
                  </a:lnTo>
                  <a:lnTo>
                    <a:pt x="162" y="1008"/>
                  </a:lnTo>
                  <a:lnTo>
                    <a:pt x="168" y="1020"/>
                  </a:lnTo>
                  <a:lnTo>
                    <a:pt x="168" y="1026"/>
                  </a:lnTo>
                  <a:lnTo>
                    <a:pt x="162" y="1038"/>
                  </a:lnTo>
                  <a:lnTo>
                    <a:pt x="144" y="1056"/>
                  </a:lnTo>
                  <a:lnTo>
                    <a:pt x="120" y="1068"/>
                  </a:lnTo>
                  <a:lnTo>
                    <a:pt x="114" y="1074"/>
                  </a:lnTo>
                  <a:lnTo>
                    <a:pt x="90" y="1074"/>
                  </a:lnTo>
                  <a:lnTo>
                    <a:pt x="78" y="1080"/>
                  </a:lnTo>
                  <a:lnTo>
                    <a:pt x="60" y="1086"/>
                  </a:lnTo>
                  <a:lnTo>
                    <a:pt x="48" y="1092"/>
                  </a:lnTo>
                  <a:lnTo>
                    <a:pt x="42" y="1098"/>
                  </a:lnTo>
                  <a:lnTo>
                    <a:pt x="54" y="1122"/>
                  </a:lnTo>
                  <a:lnTo>
                    <a:pt x="66" y="1128"/>
                  </a:lnTo>
                  <a:lnTo>
                    <a:pt x="78" y="1140"/>
                  </a:lnTo>
                  <a:lnTo>
                    <a:pt x="96" y="1152"/>
                  </a:lnTo>
                  <a:lnTo>
                    <a:pt x="108" y="1164"/>
                  </a:lnTo>
                  <a:lnTo>
                    <a:pt x="132" y="1182"/>
                  </a:lnTo>
                  <a:lnTo>
                    <a:pt x="162" y="1206"/>
                  </a:lnTo>
                  <a:lnTo>
                    <a:pt x="204" y="1224"/>
                  </a:lnTo>
                  <a:lnTo>
                    <a:pt x="240" y="1218"/>
                  </a:lnTo>
                  <a:lnTo>
                    <a:pt x="270" y="1200"/>
                  </a:lnTo>
                  <a:lnTo>
                    <a:pt x="294" y="1176"/>
                  </a:lnTo>
                  <a:lnTo>
                    <a:pt x="300" y="1158"/>
                  </a:lnTo>
                  <a:lnTo>
                    <a:pt x="300" y="1128"/>
                  </a:lnTo>
                  <a:lnTo>
                    <a:pt x="306" y="1116"/>
                  </a:lnTo>
                  <a:lnTo>
                    <a:pt x="318" y="1104"/>
                  </a:lnTo>
                  <a:lnTo>
                    <a:pt x="324" y="1092"/>
                  </a:lnTo>
                  <a:lnTo>
                    <a:pt x="330" y="1086"/>
                  </a:lnTo>
                  <a:lnTo>
                    <a:pt x="342" y="1086"/>
                  </a:lnTo>
                  <a:lnTo>
                    <a:pt x="348" y="1080"/>
                  </a:lnTo>
                  <a:lnTo>
                    <a:pt x="354" y="1080"/>
                  </a:lnTo>
                  <a:lnTo>
                    <a:pt x="360" y="1086"/>
                  </a:lnTo>
                  <a:lnTo>
                    <a:pt x="360" y="1098"/>
                  </a:lnTo>
                  <a:lnTo>
                    <a:pt x="348" y="1110"/>
                  </a:lnTo>
                  <a:lnTo>
                    <a:pt x="336" y="1128"/>
                  </a:lnTo>
                  <a:lnTo>
                    <a:pt x="324" y="1140"/>
                  </a:lnTo>
                  <a:lnTo>
                    <a:pt x="318" y="1152"/>
                  </a:lnTo>
                  <a:lnTo>
                    <a:pt x="318" y="1164"/>
                  </a:lnTo>
                  <a:lnTo>
                    <a:pt x="324" y="1176"/>
                  </a:lnTo>
                  <a:lnTo>
                    <a:pt x="336" y="1182"/>
                  </a:lnTo>
                  <a:lnTo>
                    <a:pt x="342" y="1182"/>
                  </a:lnTo>
                  <a:lnTo>
                    <a:pt x="354" y="1194"/>
                  </a:lnTo>
                  <a:lnTo>
                    <a:pt x="354" y="1206"/>
                  </a:lnTo>
                  <a:lnTo>
                    <a:pt x="348" y="1242"/>
                  </a:lnTo>
                  <a:lnTo>
                    <a:pt x="342" y="1284"/>
                  </a:lnTo>
                  <a:lnTo>
                    <a:pt x="336" y="1338"/>
                  </a:lnTo>
                  <a:lnTo>
                    <a:pt x="342" y="1398"/>
                  </a:lnTo>
                  <a:lnTo>
                    <a:pt x="354" y="1446"/>
                  </a:lnTo>
                  <a:lnTo>
                    <a:pt x="384" y="1536"/>
                  </a:lnTo>
                  <a:lnTo>
                    <a:pt x="402" y="1554"/>
                  </a:lnTo>
                  <a:lnTo>
                    <a:pt x="402" y="1596"/>
                  </a:lnTo>
                  <a:lnTo>
                    <a:pt x="414" y="1620"/>
                  </a:lnTo>
                  <a:lnTo>
                    <a:pt x="426" y="1626"/>
                  </a:lnTo>
                  <a:lnTo>
                    <a:pt x="438" y="1626"/>
                  </a:lnTo>
                  <a:lnTo>
                    <a:pt x="444" y="1632"/>
                  </a:lnTo>
                  <a:lnTo>
                    <a:pt x="450" y="1632"/>
                  </a:lnTo>
                  <a:lnTo>
                    <a:pt x="450" y="1644"/>
                  </a:lnTo>
                  <a:lnTo>
                    <a:pt x="456" y="1656"/>
                  </a:lnTo>
                  <a:lnTo>
                    <a:pt x="456" y="1674"/>
                  </a:lnTo>
                  <a:lnTo>
                    <a:pt x="474" y="1710"/>
                  </a:lnTo>
                  <a:lnTo>
                    <a:pt x="498" y="1722"/>
                  </a:lnTo>
                  <a:lnTo>
                    <a:pt x="504" y="1728"/>
                  </a:lnTo>
                  <a:lnTo>
                    <a:pt x="510" y="1728"/>
                  </a:lnTo>
                  <a:lnTo>
                    <a:pt x="510" y="1746"/>
                  </a:lnTo>
                  <a:lnTo>
                    <a:pt x="516" y="1782"/>
                  </a:lnTo>
                  <a:lnTo>
                    <a:pt x="522" y="1830"/>
                  </a:lnTo>
                  <a:lnTo>
                    <a:pt x="534" y="1872"/>
                  </a:lnTo>
                  <a:lnTo>
                    <a:pt x="552" y="1908"/>
                  </a:lnTo>
                  <a:lnTo>
                    <a:pt x="576" y="1944"/>
                  </a:lnTo>
                  <a:lnTo>
                    <a:pt x="600" y="1974"/>
                  </a:lnTo>
                  <a:lnTo>
                    <a:pt x="612" y="1998"/>
                  </a:lnTo>
                  <a:lnTo>
                    <a:pt x="618" y="2016"/>
                  </a:lnTo>
                  <a:lnTo>
                    <a:pt x="618" y="2070"/>
                  </a:lnTo>
                  <a:lnTo>
                    <a:pt x="624" y="2094"/>
                  </a:lnTo>
                  <a:lnTo>
                    <a:pt x="642" y="2124"/>
                  </a:lnTo>
                  <a:lnTo>
                    <a:pt x="672" y="2166"/>
                  </a:lnTo>
                  <a:lnTo>
                    <a:pt x="696" y="2202"/>
                  </a:lnTo>
                  <a:lnTo>
                    <a:pt x="714" y="2232"/>
                  </a:lnTo>
                  <a:lnTo>
                    <a:pt x="720" y="2244"/>
                  </a:lnTo>
                  <a:lnTo>
                    <a:pt x="726" y="2244"/>
                  </a:lnTo>
                  <a:lnTo>
                    <a:pt x="732" y="2238"/>
                  </a:lnTo>
                  <a:lnTo>
                    <a:pt x="744" y="2238"/>
                  </a:lnTo>
                  <a:lnTo>
                    <a:pt x="768" y="2226"/>
                  </a:lnTo>
                  <a:lnTo>
                    <a:pt x="774" y="2220"/>
                  </a:lnTo>
                  <a:lnTo>
                    <a:pt x="780" y="2208"/>
                  </a:lnTo>
                  <a:lnTo>
                    <a:pt x="780" y="2172"/>
                  </a:lnTo>
                  <a:lnTo>
                    <a:pt x="786" y="2160"/>
                  </a:lnTo>
                  <a:lnTo>
                    <a:pt x="798" y="2154"/>
                  </a:lnTo>
                  <a:lnTo>
                    <a:pt x="804" y="2154"/>
                  </a:lnTo>
                  <a:lnTo>
                    <a:pt x="810" y="2160"/>
                  </a:lnTo>
                  <a:lnTo>
                    <a:pt x="828" y="2160"/>
                  </a:lnTo>
                  <a:lnTo>
                    <a:pt x="834" y="2154"/>
                  </a:lnTo>
                  <a:lnTo>
                    <a:pt x="846" y="2148"/>
                  </a:lnTo>
                  <a:lnTo>
                    <a:pt x="852" y="2142"/>
                  </a:lnTo>
                  <a:lnTo>
                    <a:pt x="864" y="2136"/>
                  </a:lnTo>
                  <a:lnTo>
                    <a:pt x="852" y="2136"/>
                  </a:lnTo>
                  <a:lnTo>
                    <a:pt x="846" y="2130"/>
                  </a:lnTo>
                  <a:lnTo>
                    <a:pt x="846" y="2118"/>
                  </a:lnTo>
                  <a:lnTo>
                    <a:pt x="852" y="2100"/>
                  </a:lnTo>
                  <a:lnTo>
                    <a:pt x="858" y="2088"/>
                  </a:lnTo>
                  <a:lnTo>
                    <a:pt x="906" y="2064"/>
                  </a:lnTo>
                  <a:lnTo>
                    <a:pt x="918" y="2052"/>
                  </a:lnTo>
                  <a:lnTo>
                    <a:pt x="918" y="2040"/>
                  </a:lnTo>
                  <a:lnTo>
                    <a:pt x="912" y="2028"/>
                  </a:lnTo>
                  <a:lnTo>
                    <a:pt x="912" y="2010"/>
                  </a:lnTo>
                  <a:lnTo>
                    <a:pt x="900" y="1974"/>
                  </a:lnTo>
                  <a:lnTo>
                    <a:pt x="900" y="1908"/>
                  </a:lnTo>
                  <a:lnTo>
                    <a:pt x="906" y="1890"/>
                  </a:lnTo>
                  <a:lnTo>
                    <a:pt x="906" y="1884"/>
                  </a:lnTo>
                  <a:lnTo>
                    <a:pt x="912" y="1878"/>
                  </a:lnTo>
                  <a:lnTo>
                    <a:pt x="912" y="1860"/>
                  </a:lnTo>
                  <a:lnTo>
                    <a:pt x="918" y="1842"/>
                  </a:lnTo>
                  <a:lnTo>
                    <a:pt x="918" y="1800"/>
                  </a:lnTo>
                  <a:lnTo>
                    <a:pt x="906" y="1776"/>
                  </a:lnTo>
                  <a:lnTo>
                    <a:pt x="888" y="1758"/>
                  </a:lnTo>
                  <a:lnTo>
                    <a:pt x="888" y="1728"/>
                  </a:lnTo>
                  <a:lnTo>
                    <a:pt x="894" y="1722"/>
                  </a:lnTo>
                  <a:lnTo>
                    <a:pt x="900" y="1710"/>
                  </a:lnTo>
                  <a:lnTo>
                    <a:pt x="900" y="1698"/>
                  </a:lnTo>
                  <a:lnTo>
                    <a:pt x="894" y="1686"/>
                  </a:lnTo>
                  <a:lnTo>
                    <a:pt x="894" y="1644"/>
                  </a:lnTo>
                  <a:lnTo>
                    <a:pt x="918" y="1632"/>
                  </a:lnTo>
                  <a:lnTo>
                    <a:pt x="924" y="1632"/>
                  </a:lnTo>
                  <a:lnTo>
                    <a:pt x="948" y="1620"/>
                  </a:lnTo>
                  <a:lnTo>
                    <a:pt x="948" y="1596"/>
                  </a:lnTo>
                  <a:lnTo>
                    <a:pt x="954" y="1584"/>
                  </a:lnTo>
                  <a:lnTo>
                    <a:pt x="960" y="1578"/>
                  </a:lnTo>
                  <a:lnTo>
                    <a:pt x="972" y="1572"/>
                  </a:lnTo>
                  <a:lnTo>
                    <a:pt x="990" y="1572"/>
                  </a:lnTo>
                  <a:lnTo>
                    <a:pt x="996" y="1560"/>
                  </a:lnTo>
                  <a:lnTo>
                    <a:pt x="1002" y="1566"/>
                  </a:lnTo>
                  <a:lnTo>
                    <a:pt x="1032" y="1566"/>
                  </a:lnTo>
                  <a:lnTo>
                    <a:pt x="1032" y="1548"/>
                  </a:lnTo>
                  <a:lnTo>
                    <a:pt x="1038" y="1530"/>
                  </a:lnTo>
                  <a:lnTo>
                    <a:pt x="1050" y="1518"/>
                  </a:lnTo>
                  <a:lnTo>
                    <a:pt x="1056" y="1500"/>
                  </a:lnTo>
                  <a:lnTo>
                    <a:pt x="1068" y="1488"/>
                  </a:lnTo>
                  <a:lnTo>
                    <a:pt x="1074" y="1476"/>
                  </a:lnTo>
                  <a:lnTo>
                    <a:pt x="1086" y="1470"/>
                  </a:lnTo>
                  <a:lnTo>
                    <a:pt x="1092" y="1464"/>
                  </a:lnTo>
                  <a:lnTo>
                    <a:pt x="1110" y="1458"/>
                  </a:lnTo>
                  <a:lnTo>
                    <a:pt x="1116" y="1452"/>
                  </a:lnTo>
                  <a:lnTo>
                    <a:pt x="1128" y="1446"/>
                  </a:lnTo>
                  <a:lnTo>
                    <a:pt x="1134" y="1428"/>
                  </a:lnTo>
                  <a:lnTo>
                    <a:pt x="1158" y="1380"/>
                  </a:lnTo>
                  <a:lnTo>
                    <a:pt x="1176" y="1362"/>
                  </a:lnTo>
                  <a:lnTo>
                    <a:pt x="1188" y="1356"/>
                  </a:lnTo>
                  <a:lnTo>
                    <a:pt x="1206" y="1344"/>
                  </a:lnTo>
                  <a:lnTo>
                    <a:pt x="1218" y="1338"/>
                  </a:lnTo>
                  <a:lnTo>
                    <a:pt x="1236" y="1320"/>
                  </a:lnTo>
                  <a:lnTo>
                    <a:pt x="1242" y="1320"/>
                  </a:lnTo>
                  <a:lnTo>
                    <a:pt x="1230" y="1290"/>
                  </a:lnTo>
                  <a:lnTo>
                    <a:pt x="1236" y="1284"/>
                  </a:lnTo>
                  <a:lnTo>
                    <a:pt x="1260" y="1314"/>
                  </a:lnTo>
                  <a:lnTo>
                    <a:pt x="1320" y="1254"/>
                  </a:lnTo>
                  <a:lnTo>
                    <a:pt x="1332" y="1230"/>
                  </a:lnTo>
                  <a:lnTo>
                    <a:pt x="1326" y="1224"/>
                  </a:lnTo>
                  <a:lnTo>
                    <a:pt x="1320" y="1212"/>
                  </a:lnTo>
                  <a:lnTo>
                    <a:pt x="1314" y="1206"/>
                  </a:lnTo>
                  <a:lnTo>
                    <a:pt x="1308" y="1194"/>
                  </a:lnTo>
                  <a:lnTo>
                    <a:pt x="1308" y="1182"/>
                  </a:lnTo>
                  <a:lnTo>
                    <a:pt x="1320" y="1176"/>
                  </a:lnTo>
                  <a:lnTo>
                    <a:pt x="1326" y="1170"/>
                  </a:lnTo>
                  <a:lnTo>
                    <a:pt x="1338" y="1170"/>
                  </a:lnTo>
                  <a:lnTo>
                    <a:pt x="1350" y="1164"/>
                  </a:lnTo>
                  <a:lnTo>
                    <a:pt x="1362" y="1152"/>
                  </a:lnTo>
                  <a:lnTo>
                    <a:pt x="1374" y="1134"/>
                  </a:lnTo>
                  <a:lnTo>
                    <a:pt x="1374" y="1110"/>
                  </a:lnTo>
                  <a:lnTo>
                    <a:pt x="1392" y="1116"/>
                  </a:lnTo>
                  <a:lnTo>
                    <a:pt x="1398" y="1146"/>
                  </a:lnTo>
                  <a:lnTo>
                    <a:pt x="1416" y="1110"/>
                  </a:lnTo>
                  <a:lnTo>
                    <a:pt x="1416" y="1128"/>
                  </a:lnTo>
                  <a:lnTo>
                    <a:pt x="1422" y="1140"/>
                  </a:lnTo>
                  <a:lnTo>
                    <a:pt x="1422" y="1158"/>
                  </a:lnTo>
                  <a:lnTo>
                    <a:pt x="1428" y="1170"/>
                  </a:lnTo>
                  <a:lnTo>
                    <a:pt x="1434" y="1176"/>
                  </a:lnTo>
                  <a:lnTo>
                    <a:pt x="1440" y="1176"/>
                  </a:lnTo>
                  <a:lnTo>
                    <a:pt x="1446" y="1170"/>
                  </a:lnTo>
                  <a:lnTo>
                    <a:pt x="1446" y="1158"/>
                  </a:lnTo>
                  <a:lnTo>
                    <a:pt x="1452" y="1152"/>
                  </a:lnTo>
                  <a:lnTo>
                    <a:pt x="1452" y="1140"/>
                  </a:lnTo>
                  <a:lnTo>
                    <a:pt x="1458" y="1110"/>
                  </a:lnTo>
                  <a:lnTo>
                    <a:pt x="1440" y="1068"/>
                  </a:lnTo>
                  <a:lnTo>
                    <a:pt x="1440" y="1038"/>
                  </a:lnTo>
                  <a:lnTo>
                    <a:pt x="1410" y="1014"/>
                  </a:lnTo>
                  <a:lnTo>
                    <a:pt x="1398" y="984"/>
                  </a:lnTo>
                  <a:lnTo>
                    <a:pt x="1404" y="972"/>
                  </a:lnTo>
                  <a:lnTo>
                    <a:pt x="1410" y="966"/>
                  </a:lnTo>
                  <a:lnTo>
                    <a:pt x="1416" y="948"/>
                  </a:lnTo>
                  <a:lnTo>
                    <a:pt x="1416" y="942"/>
                  </a:lnTo>
                  <a:lnTo>
                    <a:pt x="1410" y="936"/>
                  </a:lnTo>
                  <a:lnTo>
                    <a:pt x="1398" y="930"/>
                  </a:lnTo>
                  <a:lnTo>
                    <a:pt x="1380" y="930"/>
                  </a:lnTo>
                  <a:lnTo>
                    <a:pt x="1368" y="924"/>
                  </a:lnTo>
                  <a:lnTo>
                    <a:pt x="1356" y="912"/>
                  </a:lnTo>
                  <a:lnTo>
                    <a:pt x="1368" y="900"/>
                  </a:lnTo>
                  <a:lnTo>
                    <a:pt x="1374" y="900"/>
                  </a:lnTo>
                  <a:lnTo>
                    <a:pt x="1374" y="870"/>
                  </a:lnTo>
                  <a:lnTo>
                    <a:pt x="1410" y="870"/>
                  </a:lnTo>
                  <a:lnTo>
                    <a:pt x="1410" y="858"/>
                  </a:lnTo>
                  <a:lnTo>
                    <a:pt x="1380" y="840"/>
                  </a:lnTo>
                  <a:lnTo>
                    <a:pt x="1374" y="840"/>
                  </a:lnTo>
                  <a:lnTo>
                    <a:pt x="1362" y="828"/>
                  </a:lnTo>
                  <a:lnTo>
                    <a:pt x="1350" y="822"/>
                  </a:lnTo>
                  <a:lnTo>
                    <a:pt x="1344" y="810"/>
                  </a:lnTo>
                  <a:lnTo>
                    <a:pt x="1344" y="804"/>
                  </a:lnTo>
                  <a:lnTo>
                    <a:pt x="1350" y="792"/>
                  </a:lnTo>
                  <a:lnTo>
                    <a:pt x="1362" y="780"/>
                  </a:lnTo>
                  <a:lnTo>
                    <a:pt x="1350" y="762"/>
                  </a:lnTo>
                  <a:lnTo>
                    <a:pt x="1368" y="762"/>
                  </a:lnTo>
                  <a:lnTo>
                    <a:pt x="1392" y="774"/>
                  </a:lnTo>
                  <a:lnTo>
                    <a:pt x="1386" y="768"/>
                  </a:lnTo>
                  <a:lnTo>
                    <a:pt x="1404" y="762"/>
                  </a:lnTo>
                  <a:lnTo>
                    <a:pt x="1410" y="774"/>
                  </a:lnTo>
                  <a:lnTo>
                    <a:pt x="1410" y="780"/>
                  </a:lnTo>
                  <a:lnTo>
                    <a:pt x="1416" y="792"/>
                  </a:lnTo>
                  <a:lnTo>
                    <a:pt x="1422" y="798"/>
                  </a:lnTo>
                  <a:lnTo>
                    <a:pt x="1434" y="798"/>
                  </a:lnTo>
                  <a:lnTo>
                    <a:pt x="1440" y="804"/>
                  </a:lnTo>
                  <a:lnTo>
                    <a:pt x="1446" y="786"/>
                  </a:lnTo>
                  <a:lnTo>
                    <a:pt x="1452" y="792"/>
                  </a:lnTo>
                  <a:lnTo>
                    <a:pt x="1458" y="792"/>
                  </a:lnTo>
                  <a:lnTo>
                    <a:pt x="1464" y="798"/>
                  </a:lnTo>
                  <a:lnTo>
                    <a:pt x="1464" y="828"/>
                  </a:lnTo>
                  <a:lnTo>
                    <a:pt x="1470" y="828"/>
                  </a:lnTo>
                  <a:lnTo>
                    <a:pt x="1470" y="864"/>
                  </a:lnTo>
                  <a:lnTo>
                    <a:pt x="1476" y="864"/>
                  </a:lnTo>
                  <a:lnTo>
                    <a:pt x="1482" y="870"/>
                  </a:lnTo>
                  <a:lnTo>
                    <a:pt x="1542" y="870"/>
                  </a:lnTo>
                  <a:lnTo>
                    <a:pt x="1554" y="876"/>
                  </a:lnTo>
                  <a:lnTo>
                    <a:pt x="1572" y="876"/>
                  </a:lnTo>
                  <a:lnTo>
                    <a:pt x="1620" y="864"/>
                  </a:lnTo>
                  <a:lnTo>
                    <a:pt x="1626" y="864"/>
                  </a:lnTo>
                  <a:lnTo>
                    <a:pt x="1650" y="888"/>
                  </a:lnTo>
                  <a:lnTo>
                    <a:pt x="1650" y="894"/>
                  </a:lnTo>
                  <a:lnTo>
                    <a:pt x="1644" y="900"/>
                  </a:lnTo>
                  <a:lnTo>
                    <a:pt x="1638" y="900"/>
                  </a:lnTo>
                  <a:lnTo>
                    <a:pt x="1638" y="912"/>
                  </a:lnTo>
                  <a:lnTo>
                    <a:pt x="1632" y="930"/>
                  </a:lnTo>
                  <a:lnTo>
                    <a:pt x="1626" y="942"/>
                  </a:lnTo>
                  <a:lnTo>
                    <a:pt x="1620" y="948"/>
                  </a:lnTo>
                  <a:lnTo>
                    <a:pt x="1614" y="948"/>
                  </a:lnTo>
                  <a:lnTo>
                    <a:pt x="1602" y="954"/>
                  </a:lnTo>
                  <a:lnTo>
                    <a:pt x="1596" y="954"/>
                  </a:lnTo>
                  <a:lnTo>
                    <a:pt x="1584" y="966"/>
                  </a:lnTo>
                  <a:lnTo>
                    <a:pt x="1578" y="978"/>
                  </a:lnTo>
                  <a:lnTo>
                    <a:pt x="1578" y="996"/>
                  </a:lnTo>
                  <a:lnTo>
                    <a:pt x="1584" y="1008"/>
                  </a:lnTo>
                  <a:lnTo>
                    <a:pt x="1602" y="1026"/>
                  </a:lnTo>
                  <a:lnTo>
                    <a:pt x="1608" y="1026"/>
                  </a:lnTo>
                  <a:lnTo>
                    <a:pt x="1626" y="1050"/>
                  </a:lnTo>
                  <a:lnTo>
                    <a:pt x="1632" y="1014"/>
                  </a:lnTo>
                  <a:lnTo>
                    <a:pt x="1632" y="990"/>
                  </a:lnTo>
                  <a:lnTo>
                    <a:pt x="1650" y="990"/>
                  </a:lnTo>
                  <a:lnTo>
                    <a:pt x="1662" y="996"/>
                  </a:lnTo>
                  <a:lnTo>
                    <a:pt x="1668" y="1002"/>
                  </a:lnTo>
                  <a:lnTo>
                    <a:pt x="1668" y="1020"/>
                  </a:lnTo>
                  <a:lnTo>
                    <a:pt x="1674" y="1032"/>
                  </a:lnTo>
                  <a:lnTo>
                    <a:pt x="1674" y="1038"/>
                  </a:lnTo>
                  <a:lnTo>
                    <a:pt x="1680" y="1050"/>
                  </a:lnTo>
                  <a:lnTo>
                    <a:pt x="1680" y="1062"/>
                  </a:lnTo>
                  <a:lnTo>
                    <a:pt x="1686" y="1074"/>
                  </a:lnTo>
                  <a:lnTo>
                    <a:pt x="1692" y="1092"/>
                  </a:lnTo>
                  <a:lnTo>
                    <a:pt x="1698" y="1104"/>
                  </a:lnTo>
                  <a:lnTo>
                    <a:pt x="1704" y="1110"/>
                  </a:lnTo>
                  <a:lnTo>
                    <a:pt x="1704" y="1116"/>
                  </a:lnTo>
                  <a:lnTo>
                    <a:pt x="1722" y="1134"/>
                  </a:lnTo>
                  <a:lnTo>
                    <a:pt x="1722" y="1110"/>
                  </a:lnTo>
                  <a:lnTo>
                    <a:pt x="1728" y="1110"/>
                  </a:lnTo>
                  <a:lnTo>
                    <a:pt x="1734" y="1116"/>
                  </a:lnTo>
                  <a:lnTo>
                    <a:pt x="1746" y="1116"/>
                  </a:lnTo>
                  <a:lnTo>
                    <a:pt x="1746" y="1104"/>
                  </a:lnTo>
                  <a:lnTo>
                    <a:pt x="1728" y="1086"/>
                  </a:lnTo>
                  <a:lnTo>
                    <a:pt x="1728" y="1062"/>
                  </a:lnTo>
                  <a:lnTo>
                    <a:pt x="1722" y="1050"/>
                  </a:lnTo>
                  <a:lnTo>
                    <a:pt x="1740" y="1032"/>
                  </a:lnTo>
                  <a:lnTo>
                    <a:pt x="1746" y="1032"/>
                  </a:lnTo>
                  <a:lnTo>
                    <a:pt x="1740" y="984"/>
                  </a:lnTo>
                  <a:lnTo>
                    <a:pt x="1722" y="966"/>
                  </a:lnTo>
                  <a:lnTo>
                    <a:pt x="1716" y="966"/>
                  </a:lnTo>
                  <a:lnTo>
                    <a:pt x="1770" y="966"/>
                  </a:lnTo>
                  <a:lnTo>
                    <a:pt x="1782" y="972"/>
                  </a:lnTo>
                  <a:lnTo>
                    <a:pt x="1794" y="972"/>
                  </a:lnTo>
                  <a:lnTo>
                    <a:pt x="1794" y="936"/>
                  </a:lnTo>
                  <a:lnTo>
                    <a:pt x="1812" y="882"/>
                  </a:lnTo>
                  <a:lnTo>
                    <a:pt x="1806" y="876"/>
                  </a:lnTo>
                  <a:lnTo>
                    <a:pt x="1800" y="864"/>
                  </a:lnTo>
                  <a:lnTo>
                    <a:pt x="1800" y="846"/>
                  </a:lnTo>
                  <a:lnTo>
                    <a:pt x="1812" y="840"/>
                  </a:lnTo>
                  <a:lnTo>
                    <a:pt x="1818" y="834"/>
                  </a:lnTo>
                  <a:lnTo>
                    <a:pt x="1836" y="804"/>
                  </a:lnTo>
                  <a:lnTo>
                    <a:pt x="1836" y="792"/>
                  </a:lnTo>
                  <a:lnTo>
                    <a:pt x="1830" y="786"/>
                  </a:lnTo>
                  <a:lnTo>
                    <a:pt x="1830" y="780"/>
                  </a:lnTo>
                  <a:lnTo>
                    <a:pt x="1824" y="774"/>
                  </a:lnTo>
                  <a:lnTo>
                    <a:pt x="1824" y="750"/>
                  </a:lnTo>
                  <a:lnTo>
                    <a:pt x="1830" y="750"/>
                  </a:lnTo>
                  <a:lnTo>
                    <a:pt x="1836" y="744"/>
                  </a:lnTo>
                  <a:lnTo>
                    <a:pt x="1848" y="744"/>
                  </a:lnTo>
                  <a:lnTo>
                    <a:pt x="1860" y="738"/>
                  </a:lnTo>
                  <a:lnTo>
                    <a:pt x="1872" y="726"/>
                  </a:lnTo>
                  <a:lnTo>
                    <a:pt x="1872" y="708"/>
                  </a:lnTo>
                  <a:lnTo>
                    <a:pt x="1878" y="708"/>
                  </a:lnTo>
                  <a:lnTo>
                    <a:pt x="1890" y="702"/>
                  </a:lnTo>
                  <a:lnTo>
                    <a:pt x="1926" y="702"/>
                  </a:lnTo>
                  <a:lnTo>
                    <a:pt x="1932" y="708"/>
                  </a:lnTo>
                  <a:lnTo>
                    <a:pt x="1950" y="708"/>
                  </a:lnTo>
                  <a:lnTo>
                    <a:pt x="1950" y="702"/>
                  </a:lnTo>
                  <a:lnTo>
                    <a:pt x="1944" y="696"/>
                  </a:lnTo>
                  <a:lnTo>
                    <a:pt x="1932" y="690"/>
                  </a:lnTo>
                  <a:lnTo>
                    <a:pt x="1926" y="684"/>
                  </a:lnTo>
                  <a:lnTo>
                    <a:pt x="1920" y="672"/>
                  </a:lnTo>
                  <a:close/>
                </a:path>
              </a:pathLst>
            </a:cu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Lato"/>
                <a:ea typeface="+mn-ea"/>
                <a:cs typeface="+mn-cs"/>
              </a:endParaRPr>
            </a:p>
          </p:txBody>
        </p:sp>
        <p:sp>
          <p:nvSpPr>
            <p:cNvPr id="485" name="East Timor" descr="© INSCALE GmbH, 05.05.2010&#10;http://www.presentationload.com/">
              <a:extLst>
                <a:ext uri="{FF2B5EF4-FFF2-40B4-BE49-F238E27FC236}">
                  <a16:creationId xmlns:a16="http://schemas.microsoft.com/office/drawing/2014/main" id="{0AC1C540-3908-1277-7B74-BF58244928B1}"/>
                </a:ext>
              </a:extLst>
            </p:cNvPr>
            <p:cNvSpPr>
              <a:spLocks noEditPoints="1"/>
            </p:cNvSpPr>
            <p:nvPr/>
          </p:nvSpPr>
          <p:spPr bwMode="gray">
            <a:xfrm>
              <a:off x="9849283" y="4722165"/>
              <a:ext cx="124273" cy="58253"/>
            </a:xfrm>
            <a:custGeom>
              <a:avLst/>
              <a:gdLst>
                <a:gd name="T0" fmla="*/ 2147483647 w 252"/>
                <a:gd name="T1" fmla="*/ 0 h 120"/>
                <a:gd name="T2" fmla="*/ 2147483647 w 252"/>
                <a:gd name="T3" fmla="*/ 2147483647 h 120"/>
                <a:gd name="T4" fmla="*/ 2147483647 w 252"/>
                <a:gd name="T5" fmla="*/ 2147483647 h 120"/>
                <a:gd name="T6" fmla="*/ 2147483647 w 252"/>
                <a:gd name="T7" fmla="*/ 2147483647 h 120"/>
                <a:gd name="T8" fmla="*/ 2147483647 w 252"/>
                <a:gd name="T9" fmla="*/ 2147483647 h 120"/>
                <a:gd name="T10" fmla="*/ 2147483647 w 252"/>
                <a:gd name="T11" fmla="*/ 2147483647 h 120"/>
                <a:gd name="T12" fmla="*/ 2147483647 w 252"/>
                <a:gd name="T13" fmla="*/ 2147483647 h 120"/>
                <a:gd name="T14" fmla="*/ 2147483647 w 252"/>
                <a:gd name="T15" fmla="*/ 2147483647 h 120"/>
                <a:gd name="T16" fmla="*/ 2147483647 w 252"/>
                <a:gd name="T17" fmla="*/ 2147483647 h 120"/>
                <a:gd name="T18" fmla="*/ 2147483647 w 252"/>
                <a:gd name="T19" fmla="*/ 2147483647 h 120"/>
                <a:gd name="T20" fmla="*/ 2147483647 w 252"/>
                <a:gd name="T21" fmla="*/ 2147483647 h 120"/>
                <a:gd name="T22" fmla="*/ 2147483647 w 252"/>
                <a:gd name="T23" fmla="*/ 2147483647 h 120"/>
                <a:gd name="T24" fmla="*/ 2147483647 w 252"/>
                <a:gd name="T25" fmla="*/ 2147483647 h 120"/>
                <a:gd name="T26" fmla="*/ 2147483647 w 252"/>
                <a:gd name="T27" fmla="*/ 2147483647 h 120"/>
                <a:gd name="T28" fmla="*/ 2147483647 w 252"/>
                <a:gd name="T29" fmla="*/ 2147483647 h 120"/>
                <a:gd name="T30" fmla="*/ 2147483647 w 252"/>
                <a:gd name="T31" fmla="*/ 2147483647 h 120"/>
                <a:gd name="T32" fmla="*/ 2147483647 w 252"/>
                <a:gd name="T33" fmla="*/ 2147483647 h 120"/>
                <a:gd name="T34" fmla="*/ 2147483647 w 252"/>
                <a:gd name="T35" fmla="*/ 2147483647 h 120"/>
                <a:gd name="T36" fmla="*/ 2147483647 w 252"/>
                <a:gd name="T37" fmla="*/ 2147483647 h 120"/>
                <a:gd name="T38" fmla="*/ 2147483647 w 252"/>
                <a:gd name="T39" fmla="*/ 2147483647 h 120"/>
                <a:gd name="T40" fmla="*/ 2147483647 w 252"/>
                <a:gd name="T41" fmla="*/ 2147483647 h 120"/>
                <a:gd name="T42" fmla="*/ 2147483647 w 252"/>
                <a:gd name="T43" fmla="*/ 2147483647 h 120"/>
                <a:gd name="T44" fmla="*/ 2147483647 w 252"/>
                <a:gd name="T45" fmla="*/ 2147483647 h 120"/>
                <a:gd name="T46" fmla="*/ 2147483647 w 252"/>
                <a:gd name="T47" fmla="*/ 0 h 120"/>
                <a:gd name="T48" fmla="*/ 0 w 252"/>
                <a:gd name="T49" fmla="*/ 2147483647 h 120"/>
                <a:gd name="T50" fmla="*/ 2147483647 w 252"/>
                <a:gd name="T51" fmla="*/ 2147483647 h 120"/>
                <a:gd name="T52" fmla="*/ 2147483647 w 252"/>
                <a:gd name="T53" fmla="*/ 2147483647 h 120"/>
                <a:gd name="T54" fmla="*/ 2147483647 w 252"/>
                <a:gd name="T55" fmla="*/ 2147483647 h 120"/>
                <a:gd name="T56" fmla="*/ 2147483647 w 252"/>
                <a:gd name="T57" fmla="*/ 2147483647 h 120"/>
                <a:gd name="T58" fmla="*/ 2147483647 w 252"/>
                <a:gd name="T59" fmla="*/ 2147483647 h 120"/>
                <a:gd name="T60" fmla="*/ 2147483647 w 252"/>
                <a:gd name="T61" fmla="*/ 2147483647 h 120"/>
                <a:gd name="T62" fmla="*/ 2147483647 w 252"/>
                <a:gd name="T63" fmla="*/ 2147483647 h 120"/>
                <a:gd name="T64" fmla="*/ 0 w 252"/>
                <a:gd name="T65" fmla="*/ 2147483647 h 1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52"/>
                <a:gd name="T100" fmla="*/ 0 h 120"/>
                <a:gd name="T101" fmla="*/ 252 w 252"/>
                <a:gd name="T102" fmla="*/ 120 h 1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52" h="120">
                  <a:moveTo>
                    <a:pt x="228" y="0"/>
                  </a:moveTo>
                  <a:lnTo>
                    <a:pt x="204" y="24"/>
                  </a:lnTo>
                  <a:lnTo>
                    <a:pt x="114" y="24"/>
                  </a:lnTo>
                  <a:lnTo>
                    <a:pt x="108" y="30"/>
                  </a:lnTo>
                  <a:lnTo>
                    <a:pt x="102" y="42"/>
                  </a:lnTo>
                  <a:lnTo>
                    <a:pt x="96" y="48"/>
                  </a:lnTo>
                  <a:lnTo>
                    <a:pt x="90" y="48"/>
                  </a:lnTo>
                  <a:lnTo>
                    <a:pt x="78" y="54"/>
                  </a:lnTo>
                  <a:lnTo>
                    <a:pt x="90" y="72"/>
                  </a:lnTo>
                  <a:lnTo>
                    <a:pt x="84" y="78"/>
                  </a:lnTo>
                  <a:lnTo>
                    <a:pt x="72" y="102"/>
                  </a:lnTo>
                  <a:lnTo>
                    <a:pt x="72" y="114"/>
                  </a:lnTo>
                  <a:lnTo>
                    <a:pt x="78" y="120"/>
                  </a:lnTo>
                  <a:lnTo>
                    <a:pt x="78" y="114"/>
                  </a:lnTo>
                  <a:lnTo>
                    <a:pt x="84" y="108"/>
                  </a:lnTo>
                  <a:lnTo>
                    <a:pt x="96" y="108"/>
                  </a:lnTo>
                  <a:lnTo>
                    <a:pt x="132" y="84"/>
                  </a:lnTo>
                  <a:lnTo>
                    <a:pt x="138" y="90"/>
                  </a:lnTo>
                  <a:lnTo>
                    <a:pt x="162" y="90"/>
                  </a:lnTo>
                  <a:lnTo>
                    <a:pt x="186" y="78"/>
                  </a:lnTo>
                  <a:lnTo>
                    <a:pt x="198" y="66"/>
                  </a:lnTo>
                  <a:lnTo>
                    <a:pt x="210" y="60"/>
                  </a:lnTo>
                  <a:lnTo>
                    <a:pt x="252" y="18"/>
                  </a:lnTo>
                  <a:lnTo>
                    <a:pt x="228" y="0"/>
                  </a:lnTo>
                  <a:close/>
                  <a:moveTo>
                    <a:pt x="0" y="90"/>
                  </a:moveTo>
                  <a:lnTo>
                    <a:pt x="6" y="102"/>
                  </a:lnTo>
                  <a:lnTo>
                    <a:pt x="18" y="96"/>
                  </a:lnTo>
                  <a:lnTo>
                    <a:pt x="24" y="90"/>
                  </a:lnTo>
                  <a:lnTo>
                    <a:pt x="36" y="90"/>
                  </a:lnTo>
                  <a:lnTo>
                    <a:pt x="36" y="84"/>
                  </a:lnTo>
                  <a:lnTo>
                    <a:pt x="42" y="72"/>
                  </a:lnTo>
                  <a:lnTo>
                    <a:pt x="18" y="72"/>
                  </a:lnTo>
                  <a:lnTo>
                    <a:pt x="0" y="90"/>
                  </a:lnTo>
                  <a:close/>
                </a:path>
              </a:pathLst>
            </a:custGeom>
            <a:solidFill>
              <a:srgbClr val="B1B1B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Lato"/>
                <a:ea typeface="+mn-ea"/>
                <a:cs typeface="+mn-cs"/>
              </a:endParaRPr>
            </a:p>
          </p:txBody>
        </p:sp>
        <p:sp>
          <p:nvSpPr>
            <p:cNvPr id="486" name="China" descr="© INSCALE GmbH, 05.05.2010&#10;http://www.presentationload.com/">
              <a:extLst>
                <a:ext uri="{FF2B5EF4-FFF2-40B4-BE49-F238E27FC236}">
                  <a16:creationId xmlns:a16="http://schemas.microsoft.com/office/drawing/2014/main" id="{2140D3A3-5BDE-8F5F-1C76-1F849A7E45E8}"/>
                </a:ext>
              </a:extLst>
            </p:cNvPr>
            <p:cNvSpPr>
              <a:spLocks noEditPoints="1"/>
            </p:cNvSpPr>
            <p:nvPr/>
          </p:nvSpPr>
          <p:spPr bwMode="gray">
            <a:xfrm>
              <a:off x="7915291" y="2258073"/>
              <a:ext cx="1817486" cy="1403891"/>
            </a:xfrm>
            <a:custGeom>
              <a:avLst/>
              <a:gdLst>
                <a:gd name="T0" fmla="*/ 2147483647 w 3660"/>
                <a:gd name="T1" fmla="*/ 2147483647 h 2826"/>
                <a:gd name="T2" fmla="*/ 2147483647 w 3660"/>
                <a:gd name="T3" fmla="*/ 2147483647 h 2826"/>
                <a:gd name="T4" fmla="*/ 2147483647 w 3660"/>
                <a:gd name="T5" fmla="*/ 2147483647 h 2826"/>
                <a:gd name="T6" fmla="*/ 2147483647 w 3660"/>
                <a:gd name="T7" fmla="*/ 2147483647 h 2826"/>
                <a:gd name="T8" fmla="*/ 2147483647 w 3660"/>
                <a:gd name="T9" fmla="*/ 2147483647 h 2826"/>
                <a:gd name="T10" fmla="*/ 2147483647 w 3660"/>
                <a:gd name="T11" fmla="*/ 2147483647 h 2826"/>
                <a:gd name="T12" fmla="*/ 2147483647 w 3660"/>
                <a:gd name="T13" fmla="*/ 2147483647 h 2826"/>
                <a:gd name="T14" fmla="*/ 2147483647 w 3660"/>
                <a:gd name="T15" fmla="*/ 2147483647 h 2826"/>
                <a:gd name="T16" fmla="*/ 2147483647 w 3660"/>
                <a:gd name="T17" fmla="*/ 2147483647 h 2826"/>
                <a:gd name="T18" fmla="*/ 2147483647 w 3660"/>
                <a:gd name="T19" fmla="*/ 2147483647 h 2826"/>
                <a:gd name="T20" fmla="*/ 2147483647 w 3660"/>
                <a:gd name="T21" fmla="*/ 2147483647 h 2826"/>
                <a:gd name="T22" fmla="*/ 2147483647 w 3660"/>
                <a:gd name="T23" fmla="*/ 2147483647 h 2826"/>
                <a:gd name="T24" fmla="*/ 2147483647 w 3660"/>
                <a:gd name="T25" fmla="*/ 2147483647 h 2826"/>
                <a:gd name="T26" fmla="*/ 2147483647 w 3660"/>
                <a:gd name="T27" fmla="*/ 2147483647 h 2826"/>
                <a:gd name="T28" fmla="*/ 2147483647 w 3660"/>
                <a:gd name="T29" fmla="*/ 2147483647 h 2826"/>
                <a:gd name="T30" fmla="*/ 2147483647 w 3660"/>
                <a:gd name="T31" fmla="*/ 2147483647 h 2826"/>
                <a:gd name="T32" fmla="*/ 2147483647 w 3660"/>
                <a:gd name="T33" fmla="*/ 2147483647 h 2826"/>
                <a:gd name="T34" fmla="*/ 2147483647 w 3660"/>
                <a:gd name="T35" fmla="*/ 2147483647 h 2826"/>
                <a:gd name="T36" fmla="*/ 2147483647 w 3660"/>
                <a:gd name="T37" fmla="*/ 2147483647 h 2826"/>
                <a:gd name="T38" fmla="*/ 2147483647 w 3660"/>
                <a:gd name="T39" fmla="*/ 2147483647 h 2826"/>
                <a:gd name="T40" fmla="*/ 2147483647 w 3660"/>
                <a:gd name="T41" fmla="*/ 2147483647 h 2826"/>
                <a:gd name="T42" fmla="*/ 2147483647 w 3660"/>
                <a:gd name="T43" fmla="*/ 2147483647 h 2826"/>
                <a:gd name="T44" fmla="*/ 2147483647 w 3660"/>
                <a:gd name="T45" fmla="*/ 2147483647 h 2826"/>
                <a:gd name="T46" fmla="*/ 0 w 3660"/>
                <a:gd name="T47" fmla="*/ 2147483647 h 2826"/>
                <a:gd name="T48" fmla="*/ 2147483647 w 3660"/>
                <a:gd name="T49" fmla="*/ 2147483647 h 2826"/>
                <a:gd name="T50" fmla="*/ 2147483647 w 3660"/>
                <a:gd name="T51" fmla="*/ 2147483647 h 2826"/>
                <a:gd name="T52" fmla="*/ 2147483647 w 3660"/>
                <a:gd name="T53" fmla="*/ 2147483647 h 2826"/>
                <a:gd name="T54" fmla="*/ 2147483647 w 3660"/>
                <a:gd name="T55" fmla="*/ 2147483647 h 2826"/>
                <a:gd name="T56" fmla="*/ 2147483647 w 3660"/>
                <a:gd name="T57" fmla="*/ 2147483647 h 2826"/>
                <a:gd name="T58" fmla="*/ 2147483647 w 3660"/>
                <a:gd name="T59" fmla="*/ 2147483647 h 2826"/>
                <a:gd name="T60" fmla="*/ 2147483647 w 3660"/>
                <a:gd name="T61" fmla="*/ 2147483647 h 2826"/>
                <a:gd name="T62" fmla="*/ 2147483647 w 3660"/>
                <a:gd name="T63" fmla="*/ 2147483647 h 2826"/>
                <a:gd name="T64" fmla="*/ 2147483647 w 3660"/>
                <a:gd name="T65" fmla="*/ 2147483647 h 2826"/>
                <a:gd name="T66" fmla="*/ 2147483647 w 3660"/>
                <a:gd name="T67" fmla="*/ 2147483647 h 2826"/>
                <a:gd name="T68" fmla="*/ 2147483647 w 3660"/>
                <a:gd name="T69" fmla="*/ 2147483647 h 2826"/>
                <a:gd name="T70" fmla="*/ 2147483647 w 3660"/>
                <a:gd name="T71" fmla="*/ 2147483647 h 2826"/>
                <a:gd name="T72" fmla="*/ 2147483647 w 3660"/>
                <a:gd name="T73" fmla="*/ 2147483647 h 2826"/>
                <a:gd name="T74" fmla="*/ 2147483647 w 3660"/>
                <a:gd name="T75" fmla="*/ 2147483647 h 2826"/>
                <a:gd name="T76" fmla="*/ 2147483647 w 3660"/>
                <a:gd name="T77" fmla="*/ 2147483647 h 2826"/>
                <a:gd name="T78" fmla="*/ 2147483647 w 3660"/>
                <a:gd name="T79" fmla="*/ 2147483647 h 2826"/>
                <a:gd name="T80" fmla="*/ 2147483647 w 3660"/>
                <a:gd name="T81" fmla="*/ 2147483647 h 2826"/>
                <a:gd name="T82" fmla="*/ 2147483647 w 3660"/>
                <a:gd name="T83" fmla="*/ 2147483647 h 2826"/>
                <a:gd name="T84" fmla="*/ 2147483647 w 3660"/>
                <a:gd name="T85" fmla="*/ 2147483647 h 2826"/>
                <a:gd name="T86" fmla="*/ 2147483647 w 3660"/>
                <a:gd name="T87" fmla="*/ 2147483647 h 2826"/>
                <a:gd name="T88" fmla="*/ 2147483647 w 3660"/>
                <a:gd name="T89" fmla="*/ 2147483647 h 2826"/>
                <a:gd name="T90" fmla="*/ 2147483647 w 3660"/>
                <a:gd name="T91" fmla="*/ 2147483647 h 2826"/>
                <a:gd name="T92" fmla="*/ 2147483647 w 3660"/>
                <a:gd name="T93" fmla="*/ 2147483647 h 2826"/>
                <a:gd name="T94" fmla="*/ 2147483647 w 3660"/>
                <a:gd name="T95" fmla="*/ 2147483647 h 2826"/>
                <a:gd name="T96" fmla="*/ 2147483647 w 3660"/>
                <a:gd name="T97" fmla="*/ 2147483647 h 2826"/>
                <a:gd name="T98" fmla="*/ 2147483647 w 3660"/>
                <a:gd name="T99" fmla="*/ 2147483647 h 2826"/>
                <a:gd name="T100" fmla="*/ 2147483647 w 3660"/>
                <a:gd name="T101" fmla="*/ 2147483647 h 2826"/>
                <a:gd name="T102" fmla="*/ 2147483647 w 3660"/>
                <a:gd name="T103" fmla="*/ 2147483647 h 2826"/>
                <a:gd name="T104" fmla="*/ 2147483647 w 3660"/>
                <a:gd name="T105" fmla="*/ 2147483647 h 2826"/>
                <a:gd name="T106" fmla="*/ 2147483647 w 3660"/>
                <a:gd name="T107" fmla="*/ 2147483647 h 2826"/>
                <a:gd name="T108" fmla="*/ 2147483647 w 3660"/>
                <a:gd name="T109" fmla="*/ 2147483647 h 2826"/>
                <a:gd name="T110" fmla="*/ 2147483647 w 3660"/>
                <a:gd name="T111" fmla="*/ 2147483647 h 2826"/>
                <a:gd name="T112" fmla="*/ 2147483647 w 3660"/>
                <a:gd name="T113" fmla="*/ 2147483647 h 2826"/>
                <a:gd name="T114" fmla="*/ 2147483647 w 3660"/>
                <a:gd name="T115" fmla="*/ 2147483647 h 2826"/>
                <a:gd name="T116" fmla="*/ 2147483647 w 3660"/>
                <a:gd name="T117" fmla="*/ 2147483647 h 2826"/>
                <a:gd name="T118" fmla="*/ 2147483647 w 3660"/>
                <a:gd name="T119" fmla="*/ 2147483647 h 2826"/>
                <a:gd name="T120" fmla="*/ 2147483647 w 3660"/>
                <a:gd name="T121" fmla="*/ 2147483647 h 2826"/>
                <a:gd name="T122" fmla="*/ 2147483647 w 3660"/>
                <a:gd name="T123" fmla="*/ 2147483647 h 28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660"/>
                <a:gd name="T187" fmla="*/ 0 h 2826"/>
                <a:gd name="T188" fmla="*/ 3660 w 3660"/>
                <a:gd name="T189" fmla="*/ 2826 h 28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660" h="2826">
                  <a:moveTo>
                    <a:pt x="2862" y="2688"/>
                  </a:moveTo>
                  <a:lnTo>
                    <a:pt x="2850" y="2682"/>
                  </a:lnTo>
                  <a:lnTo>
                    <a:pt x="2772" y="2682"/>
                  </a:lnTo>
                  <a:lnTo>
                    <a:pt x="2766" y="2700"/>
                  </a:lnTo>
                  <a:lnTo>
                    <a:pt x="2748" y="2694"/>
                  </a:lnTo>
                  <a:lnTo>
                    <a:pt x="2736" y="2718"/>
                  </a:lnTo>
                  <a:lnTo>
                    <a:pt x="2730" y="2724"/>
                  </a:lnTo>
                  <a:lnTo>
                    <a:pt x="2712" y="2760"/>
                  </a:lnTo>
                  <a:lnTo>
                    <a:pt x="2718" y="2772"/>
                  </a:lnTo>
                  <a:lnTo>
                    <a:pt x="2724" y="2790"/>
                  </a:lnTo>
                  <a:lnTo>
                    <a:pt x="2754" y="2820"/>
                  </a:lnTo>
                  <a:lnTo>
                    <a:pt x="2766" y="2826"/>
                  </a:lnTo>
                  <a:lnTo>
                    <a:pt x="2772" y="2826"/>
                  </a:lnTo>
                  <a:lnTo>
                    <a:pt x="2802" y="2820"/>
                  </a:lnTo>
                  <a:lnTo>
                    <a:pt x="2820" y="2820"/>
                  </a:lnTo>
                  <a:lnTo>
                    <a:pt x="2844" y="2808"/>
                  </a:lnTo>
                  <a:lnTo>
                    <a:pt x="2850" y="2802"/>
                  </a:lnTo>
                  <a:lnTo>
                    <a:pt x="2850" y="2754"/>
                  </a:lnTo>
                  <a:lnTo>
                    <a:pt x="2856" y="2742"/>
                  </a:lnTo>
                  <a:lnTo>
                    <a:pt x="2862" y="2736"/>
                  </a:lnTo>
                  <a:lnTo>
                    <a:pt x="2868" y="2724"/>
                  </a:lnTo>
                  <a:lnTo>
                    <a:pt x="2868" y="2700"/>
                  </a:lnTo>
                  <a:lnTo>
                    <a:pt x="2862" y="2688"/>
                  </a:lnTo>
                  <a:close/>
                  <a:moveTo>
                    <a:pt x="3660" y="624"/>
                  </a:moveTo>
                  <a:lnTo>
                    <a:pt x="3654" y="600"/>
                  </a:lnTo>
                  <a:lnTo>
                    <a:pt x="3660" y="570"/>
                  </a:lnTo>
                  <a:lnTo>
                    <a:pt x="3642" y="564"/>
                  </a:lnTo>
                  <a:lnTo>
                    <a:pt x="3642" y="540"/>
                  </a:lnTo>
                  <a:lnTo>
                    <a:pt x="3630" y="528"/>
                  </a:lnTo>
                  <a:lnTo>
                    <a:pt x="3630" y="510"/>
                  </a:lnTo>
                  <a:lnTo>
                    <a:pt x="3618" y="492"/>
                  </a:lnTo>
                  <a:lnTo>
                    <a:pt x="3636" y="486"/>
                  </a:lnTo>
                  <a:lnTo>
                    <a:pt x="3636" y="456"/>
                  </a:lnTo>
                  <a:lnTo>
                    <a:pt x="3612" y="444"/>
                  </a:lnTo>
                  <a:lnTo>
                    <a:pt x="3612" y="426"/>
                  </a:lnTo>
                  <a:lnTo>
                    <a:pt x="3606" y="414"/>
                  </a:lnTo>
                  <a:lnTo>
                    <a:pt x="3594" y="408"/>
                  </a:lnTo>
                  <a:lnTo>
                    <a:pt x="3552" y="408"/>
                  </a:lnTo>
                  <a:lnTo>
                    <a:pt x="3546" y="432"/>
                  </a:lnTo>
                  <a:lnTo>
                    <a:pt x="3516" y="432"/>
                  </a:lnTo>
                  <a:lnTo>
                    <a:pt x="3504" y="438"/>
                  </a:lnTo>
                  <a:lnTo>
                    <a:pt x="3498" y="438"/>
                  </a:lnTo>
                  <a:lnTo>
                    <a:pt x="3492" y="444"/>
                  </a:lnTo>
                  <a:lnTo>
                    <a:pt x="3492" y="462"/>
                  </a:lnTo>
                  <a:lnTo>
                    <a:pt x="3462" y="456"/>
                  </a:lnTo>
                  <a:lnTo>
                    <a:pt x="3462" y="468"/>
                  </a:lnTo>
                  <a:lnTo>
                    <a:pt x="3444" y="468"/>
                  </a:lnTo>
                  <a:lnTo>
                    <a:pt x="3432" y="456"/>
                  </a:lnTo>
                  <a:lnTo>
                    <a:pt x="3408" y="462"/>
                  </a:lnTo>
                  <a:lnTo>
                    <a:pt x="3366" y="432"/>
                  </a:lnTo>
                  <a:lnTo>
                    <a:pt x="3366" y="420"/>
                  </a:lnTo>
                  <a:lnTo>
                    <a:pt x="3360" y="408"/>
                  </a:lnTo>
                  <a:lnTo>
                    <a:pt x="3360" y="402"/>
                  </a:lnTo>
                  <a:lnTo>
                    <a:pt x="3354" y="396"/>
                  </a:lnTo>
                  <a:lnTo>
                    <a:pt x="3336" y="396"/>
                  </a:lnTo>
                  <a:lnTo>
                    <a:pt x="3318" y="366"/>
                  </a:lnTo>
                  <a:lnTo>
                    <a:pt x="3276" y="366"/>
                  </a:lnTo>
                  <a:lnTo>
                    <a:pt x="3258" y="348"/>
                  </a:lnTo>
                  <a:lnTo>
                    <a:pt x="3246" y="342"/>
                  </a:lnTo>
                  <a:lnTo>
                    <a:pt x="3228" y="324"/>
                  </a:lnTo>
                  <a:lnTo>
                    <a:pt x="3216" y="324"/>
                  </a:lnTo>
                  <a:lnTo>
                    <a:pt x="3204" y="336"/>
                  </a:lnTo>
                  <a:lnTo>
                    <a:pt x="3192" y="330"/>
                  </a:lnTo>
                  <a:lnTo>
                    <a:pt x="3186" y="324"/>
                  </a:lnTo>
                  <a:lnTo>
                    <a:pt x="3174" y="318"/>
                  </a:lnTo>
                  <a:lnTo>
                    <a:pt x="3126" y="318"/>
                  </a:lnTo>
                  <a:lnTo>
                    <a:pt x="3114" y="312"/>
                  </a:lnTo>
                  <a:lnTo>
                    <a:pt x="3108" y="306"/>
                  </a:lnTo>
                  <a:lnTo>
                    <a:pt x="3084" y="294"/>
                  </a:lnTo>
                  <a:lnTo>
                    <a:pt x="3078" y="288"/>
                  </a:lnTo>
                  <a:lnTo>
                    <a:pt x="3072" y="288"/>
                  </a:lnTo>
                  <a:lnTo>
                    <a:pt x="3066" y="264"/>
                  </a:lnTo>
                  <a:lnTo>
                    <a:pt x="3054" y="264"/>
                  </a:lnTo>
                  <a:lnTo>
                    <a:pt x="3048" y="252"/>
                  </a:lnTo>
                  <a:lnTo>
                    <a:pt x="3030" y="234"/>
                  </a:lnTo>
                  <a:lnTo>
                    <a:pt x="3024" y="222"/>
                  </a:lnTo>
                  <a:lnTo>
                    <a:pt x="2976" y="198"/>
                  </a:lnTo>
                  <a:lnTo>
                    <a:pt x="2964" y="198"/>
                  </a:lnTo>
                  <a:lnTo>
                    <a:pt x="2952" y="168"/>
                  </a:lnTo>
                  <a:lnTo>
                    <a:pt x="2904" y="144"/>
                  </a:lnTo>
                  <a:lnTo>
                    <a:pt x="2898" y="114"/>
                  </a:lnTo>
                  <a:lnTo>
                    <a:pt x="2892" y="114"/>
                  </a:lnTo>
                  <a:lnTo>
                    <a:pt x="2886" y="108"/>
                  </a:lnTo>
                  <a:lnTo>
                    <a:pt x="2874" y="108"/>
                  </a:lnTo>
                  <a:lnTo>
                    <a:pt x="2862" y="96"/>
                  </a:lnTo>
                  <a:lnTo>
                    <a:pt x="2850" y="90"/>
                  </a:lnTo>
                  <a:lnTo>
                    <a:pt x="2838" y="78"/>
                  </a:lnTo>
                  <a:lnTo>
                    <a:pt x="2832" y="78"/>
                  </a:lnTo>
                  <a:lnTo>
                    <a:pt x="2832" y="66"/>
                  </a:lnTo>
                  <a:lnTo>
                    <a:pt x="2820" y="60"/>
                  </a:lnTo>
                  <a:lnTo>
                    <a:pt x="2814" y="54"/>
                  </a:lnTo>
                  <a:lnTo>
                    <a:pt x="2802" y="48"/>
                  </a:lnTo>
                  <a:lnTo>
                    <a:pt x="2796" y="42"/>
                  </a:lnTo>
                  <a:lnTo>
                    <a:pt x="2724" y="42"/>
                  </a:lnTo>
                  <a:lnTo>
                    <a:pt x="2688" y="18"/>
                  </a:lnTo>
                  <a:lnTo>
                    <a:pt x="2652" y="0"/>
                  </a:lnTo>
                  <a:lnTo>
                    <a:pt x="2598" y="12"/>
                  </a:lnTo>
                  <a:lnTo>
                    <a:pt x="2556" y="6"/>
                  </a:lnTo>
                  <a:lnTo>
                    <a:pt x="2550" y="18"/>
                  </a:lnTo>
                  <a:lnTo>
                    <a:pt x="2514" y="24"/>
                  </a:lnTo>
                  <a:lnTo>
                    <a:pt x="2472" y="66"/>
                  </a:lnTo>
                  <a:lnTo>
                    <a:pt x="2466" y="66"/>
                  </a:lnTo>
                  <a:lnTo>
                    <a:pt x="2466" y="78"/>
                  </a:lnTo>
                  <a:lnTo>
                    <a:pt x="2472" y="78"/>
                  </a:lnTo>
                  <a:lnTo>
                    <a:pt x="2490" y="84"/>
                  </a:lnTo>
                  <a:lnTo>
                    <a:pt x="2502" y="84"/>
                  </a:lnTo>
                  <a:lnTo>
                    <a:pt x="2508" y="90"/>
                  </a:lnTo>
                  <a:lnTo>
                    <a:pt x="2520" y="90"/>
                  </a:lnTo>
                  <a:lnTo>
                    <a:pt x="2532" y="102"/>
                  </a:lnTo>
                  <a:lnTo>
                    <a:pt x="2544" y="108"/>
                  </a:lnTo>
                  <a:lnTo>
                    <a:pt x="2550" y="114"/>
                  </a:lnTo>
                  <a:lnTo>
                    <a:pt x="2550" y="126"/>
                  </a:lnTo>
                  <a:lnTo>
                    <a:pt x="2532" y="144"/>
                  </a:lnTo>
                  <a:lnTo>
                    <a:pt x="2532" y="216"/>
                  </a:lnTo>
                  <a:lnTo>
                    <a:pt x="2538" y="258"/>
                  </a:lnTo>
                  <a:lnTo>
                    <a:pt x="2544" y="264"/>
                  </a:lnTo>
                  <a:lnTo>
                    <a:pt x="2556" y="264"/>
                  </a:lnTo>
                  <a:lnTo>
                    <a:pt x="2556" y="276"/>
                  </a:lnTo>
                  <a:lnTo>
                    <a:pt x="2550" y="282"/>
                  </a:lnTo>
                  <a:lnTo>
                    <a:pt x="2538" y="288"/>
                  </a:lnTo>
                  <a:lnTo>
                    <a:pt x="2514" y="288"/>
                  </a:lnTo>
                  <a:lnTo>
                    <a:pt x="2514" y="300"/>
                  </a:lnTo>
                  <a:lnTo>
                    <a:pt x="2496" y="318"/>
                  </a:lnTo>
                  <a:lnTo>
                    <a:pt x="2484" y="318"/>
                  </a:lnTo>
                  <a:lnTo>
                    <a:pt x="2478" y="312"/>
                  </a:lnTo>
                  <a:lnTo>
                    <a:pt x="2442" y="312"/>
                  </a:lnTo>
                  <a:lnTo>
                    <a:pt x="2406" y="288"/>
                  </a:lnTo>
                  <a:lnTo>
                    <a:pt x="2406" y="372"/>
                  </a:lnTo>
                  <a:lnTo>
                    <a:pt x="2412" y="384"/>
                  </a:lnTo>
                  <a:lnTo>
                    <a:pt x="2418" y="408"/>
                  </a:lnTo>
                  <a:lnTo>
                    <a:pt x="2424" y="420"/>
                  </a:lnTo>
                  <a:lnTo>
                    <a:pt x="2418" y="420"/>
                  </a:lnTo>
                  <a:lnTo>
                    <a:pt x="2418" y="438"/>
                  </a:lnTo>
                  <a:lnTo>
                    <a:pt x="2424" y="450"/>
                  </a:lnTo>
                  <a:lnTo>
                    <a:pt x="2436" y="456"/>
                  </a:lnTo>
                  <a:lnTo>
                    <a:pt x="2442" y="462"/>
                  </a:lnTo>
                  <a:lnTo>
                    <a:pt x="2460" y="462"/>
                  </a:lnTo>
                  <a:lnTo>
                    <a:pt x="2460" y="456"/>
                  </a:lnTo>
                  <a:lnTo>
                    <a:pt x="2454" y="456"/>
                  </a:lnTo>
                  <a:lnTo>
                    <a:pt x="2460" y="450"/>
                  </a:lnTo>
                  <a:lnTo>
                    <a:pt x="2514" y="450"/>
                  </a:lnTo>
                  <a:lnTo>
                    <a:pt x="2526" y="462"/>
                  </a:lnTo>
                  <a:lnTo>
                    <a:pt x="2538" y="468"/>
                  </a:lnTo>
                  <a:lnTo>
                    <a:pt x="2544" y="468"/>
                  </a:lnTo>
                  <a:lnTo>
                    <a:pt x="2550" y="462"/>
                  </a:lnTo>
                  <a:lnTo>
                    <a:pt x="2550" y="438"/>
                  </a:lnTo>
                  <a:lnTo>
                    <a:pt x="2616" y="438"/>
                  </a:lnTo>
                  <a:lnTo>
                    <a:pt x="2616" y="450"/>
                  </a:lnTo>
                  <a:lnTo>
                    <a:pt x="2622" y="456"/>
                  </a:lnTo>
                  <a:lnTo>
                    <a:pt x="2634" y="462"/>
                  </a:lnTo>
                  <a:lnTo>
                    <a:pt x="2652" y="462"/>
                  </a:lnTo>
                  <a:lnTo>
                    <a:pt x="2658" y="468"/>
                  </a:lnTo>
                  <a:lnTo>
                    <a:pt x="2670" y="474"/>
                  </a:lnTo>
                  <a:lnTo>
                    <a:pt x="2682" y="486"/>
                  </a:lnTo>
                  <a:lnTo>
                    <a:pt x="2706" y="498"/>
                  </a:lnTo>
                  <a:lnTo>
                    <a:pt x="2718" y="498"/>
                  </a:lnTo>
                  <a:lnTo>
                    <a:pt x="2724" y="510"/>
                  </a:lnTo>
                  <a:lnTo>
                    <a:pt x="2748" y="534"/>
                  </a:lnTo>
                  <a:lnTo>
                    <a:pt x="2748" y="540"/>
                  </a:lnTo>
                  <a:lnTo>
                    <a:pt x="2742" y="546"/>
                  </a:lnTo>
                  <a:lnTo>
                    <a:pt x="2706" y="546"/>
                  </a:lnTo>
                  <a:lnTo>
                    <a:pt x="2700" y="540"/>
                  </a:lnTo>
                  <a:lnTo>
                    <a:pt x="2688" y="534"/>
                  </a:lnTo>
                  <a:lnTo>
                    <a:pt x="2658" y="534"/>
                  </a:lnTo>
                  <a:lnTo>
                    <a:pt x="2652" y="540"/>
                  </a:lnTo>
                  <a:lnTo>
                    <a:pt x="2646" y="540"/>
                  </a:lnTo>
                  <a:lnTo>
                    <a:pt x="2628" y="558"/>
                  </a:lnTo>
                  <a:lnTo>
                    <a:pt x="2598" y="552"/>
                  </a:lnTo>
                  <a:lnTo>
                    <a:pt x="2598" y="570"/>
                  </a:lnTo>
                  <a:lnTo>
                    <a:pt x="2586" y="570"/>
                  </a:lnTo>
                  <a:lnTo>
                    <a:pt x="2550" y="588"/>
                  </a:lnTo>
                  <a:lnTo>
                    <a:pt x="2544" y="594"/>
                  </a:lnTo>
                  <a:lnTo>
                    <a:pt x="2550" y="606"/>
                  </a:lnTo>
                  <a:lnTo>
                    <a:pt x="2562" y="618"/>
                  </a:lnTo>
                  <a:lnTo>
                    <a:pt x="2538" y="642"/>
                  </a:lnTo>
                  <a:lnTo>
                    <a:pt x="2466" y="642"/>
                  </a:lnTo>
                  <a:lnTo>
                    <a:pt x="2466" y="666"/>
                  </a:lnTo>
                  <a:lnTo>
                    <a:pt x="2460" y="672"/>
                  </a:lnTo>
                  <a:lnTo>
                    <a:pt x="2454" y="684"/>
                  </a:lnTo>
                  <a:lnTo>
                    <a:pt x="2442" y="690"/>
                  </a:lnTo>
                  <a:lnTo>
                    <a:pt x="2424" y="690"/>
                  </a:lnTo>
                  <a:lnTo>
                    <a:pt x="2412" y="696"/>
                  </a:lnTo>
                  <a:lnTo>
                    <a:pt x="2388" y="696"/>
                  </a:lnTo>
                  <a:lnTo>
                    <a:pt x="2376" y="690"/>
                  </a:lnTo>
                  <a:lnTo>
                    <a:pt x="2370" y="684"/>
                  </a:lnTo>
                  <a:lnTo>
                    <a:pt x="2358" y="678"/>
                  </a:lnTo>
                  <a:lnTo>
                    <a:pt x="2352" y="672"/>
                  </a:lnTo>
                  <a:lnTo>
                    <a:pt x="2346" y="672"/>
                  </a:lnTo>
                  <a:lnTo>
                    <a:pt x="2340" y="666"/>
                  </a:lnTo>
                  <a:lnTo>
                    <a:pt x="2316" y="666"/>
                  </a:lnTo>
                  <a:lnTo>
                    <a:pt x="2304" y="672"/>
                  </a:lnTo>
                  <a:lnTo>
                    <a:pt x="2304" y="684"/>
                  </a:lnTo>
                  <a:lnTo>
                    <a:pt x="2298" y="696"/>
                  </a:lnTo>
                  <a:lnTo>
                    <a:pt x="2298" y="708"/>
                  </a:lnTo>
                  <a:lnTo>
                    <a:pt x="2304" y="720"/>
                  </a:lnTo>
                  <a:lnTo>
                    <a:pt x="2322" y="738"/>
                  </a:lnTo>
                  <a:lnTo>
                    <a:pt x="2334" y="744"/>
                  </a:lnTo>
                  <a:lnTo>
                    <a:pt x="2352" y="762"/>
                  </a:lnTo>
                  <a:lnTo>
                    <a:pt x="2364" y="768"/>
                  </a:lnTo>
                  <a:lnTo>
                    <a:pt x="2364" y="774"/>
                  </a:lnTo>
                  <a:lnTo>
                    <a:pt x="2358" y="780"/>
                  </a:lnTo>
                  <a:lnTo>
                    <a:pt x="2352" y="792"/>
                  </a:lnTo>
                  <a:lnTo>
                    <a:pt x="2340" y="804"/>
                  </a:lnTo>
                  <a:lnTo>
                    <a:pt x="2316" y="804"/>
                  </a:lnTo>
                  <a:lnTo>
                    <a:pt x="2316" y="810"/>
                  </a:lnTo>
                  <a:lnTo>
                    <a:pt x="2310" y="822"/>
                  </a:lnTo>
                  <a:lnTo>
                    <a:pt x="2310" y="828"/>
                  </a:lnTo>
                  <a:lnTo>
                    <a:pt x="2298" y="852"/>
                  </a:lnTo>
                  <a:lnTo>
                    <a:pt x="2286" y="858"/>
                  </a:lnTo>
                  <a:lnTo>
                    <a:pt x="2262" y="858"/>
                  </a:lnTo>
                  <a:lnTo>
                    <a:pt x="2244" y="882"/>
                  </a:lnTo>
                  <a:lnTo>
                    <a:pt x="2088" y="882"/>
                  </a:lnTo>
                  <a:lnTo>
                    <a:pt x="2070" y="894"/>
                  </a:lnTo>
                  <a:lnTo>
                    <a:pt x="2010" y="930"/>
                  </a:lnTo>
                  <a:lnTo>
                    <a:pt x="1992" y="942"/>
                  </a:lnTo>
                  <a:lnTo>
                    <a:pt x="1986" y="948"/>
                  </a:lnTo>
                  <a:lnTo>
                    <a:pt x="1968" y="948"/>
                  </a:lnTo>
                  <a:lnTo>
                    <a:pt x="1962" y="942"/>
                  </a:lnTo>
                  <a:lnTo>
                    <a:pt x="1956" y="942"/>
                  </a:lnTo>
                  <a:lnTo>
                    <a:pt x="1950" y="930"/>
                  </a:lnTo>
                  <a:lnTo>
                    <a:pt x="1950" y="924"/>
                  </a:lnTo>
                  <a:lnTo>
                    <a:pt x="1938" y="924"/>
                  </a:lnTo>
                  <a:lnTo>
                    <a:pt x="1926" y="930"/>
                  </a:lnTo>
                  <a:lnTo>
                    <a:pt x="1914" y="930"/>
                  </a:lnTo>
                  <a:lnTo>
                    <a:pt x="1908" y="936"/>
                  </a:lnTo>
                  <a:lnTo>
                    <a:pt x="1896" y="936"/>
                  </a:lnTo>
                  <a:lnTo>
                    <a:pt x="1890" y="930"/>
                  </a:lnTo>
                  <a:lnTo>
                    <a:pt x="1866" y="918"/>
                  </a:lnTo>
                  <a:lnTo>
                    <a:pt x="1848" y="912"/>
                  </a:lnTo>
                  <a:lnTo>
                    <a:pt x="1800" y="912"/>
                  </a:lnTo>
                  <a:lnTo>
                    <a:pt x="1776" y="906"/>
                  </a:lnTo>
                  <a:lnTo>
                    <a:pt x="1764" y="900"/>
                  </a:lnTo>
                  <a:lnTo>
                    <a:pt x="1758" y="888"/>
                  </a:lnTo>
                  <a:lnTo>
                    <a:pt x="1740" y="870"/>
                  </a:lnTo>
                  <a:lnTo>
                    <a:pt x="1728" y="870"/>
                  </a:lnTo>
                  <a:lnTo>
                    <a:pt x="1710" y="864"/>
                  </a:lnTo>
                  <a:lnTo>
                    <a:pt x="1656" y="864"/>
                  </a:lnTo>
                  <a:lnTo>
                    <a:pt x="1650" y="858"/>
                  </a:lnTo>
                  <a:lnTo>
                    <a:pt x="1644" y="858"/>
                  </a:lnTo>
                  <a:lnTo>
                    <a:pt x="1632" y="852"/>
                  </a:lnTo>
                  <a:lnTo>
                    <a:pt x="1620" y="852"/>
                  </a:lnTo>
                  <a:lnTo>
                    <a:pt x="1614" y="858"/>
                  </a:lnTo>
                  <a:lnTo>
                    <a:pt x="1602" y="864"/>
                  </a:lnTo>
                  <a:lnTo>
                    <a:pt x="1596" y="870"/>
                  </a:lnTo>
                  <a:lnTo>
                    <a:pt x="1560" y="864"/>
                  </a:lnTo>
                  <a:lnTo>
                    <a:pt x="1512" y="864"/>
                  </a:lnTo>
                  <a:lnTo>
                    <a:pt x="1458" y="858"/>
                  </a:lnTo>
                  <a:lnTo>
                    <a:pt x="1398" y="864"/>
                  </a:lnTo>
                  <a:lnTo>
                    <a:pt x="1386" y="858"/>
                  </a:lnTo>
                  <a:lnTo>
                    <a:pt x="1380" y="846"/>
                  </a:lnTo>
                  <a:lnTo>
                    <a:pt x="1368" y="840"/>
                  </a:lnTo>
                  <a:lnTo>
                    <a:pt x="1338" y="810"/>
                  </a:lnTo>
                  <a:lnTo>
                    <a:pt x="1332" y="798"/>
                  </a:lnTo>
                  <a:lnTo>
                    <a:pt x="1290" y="756"/>
                  </a:lnTo>
                  <a:lnTo>
                    <a:pt x="1278" y="732"/>
                  </a:lnTo>
                  <a:lnTo>
                    <a:pt x="1242" y="732"/>
                  </a:lnTo>
                  <a:lnTo>
                    <a:pt x="1236" y="726"/>
                  </a:lnTo>
                  <a:lnTo>
                    <a:pt x="1224" y="726"/>
                  </a:lnTo>
                  <a:lnTo>
                    <a:pt x="1200" y="714"/>
                  </a:lnTo>
                  <a:lnTo>
                    <a:pt x="1194" y="714"/>
                  </a:lnTo>
                  <a:lnTo>
                    <a:pt x="1188" y="708"/>
                  </a:lnTo>
                  <a:lnTo>
                    <a:pt x="1182" y="708"/>
                  </a:lnTo>
                  <a:lnTo>
                    <a:pt x="1176" y="696"/>
                  </a:lnTo>
                  <a:lnTo>
                    <a:pt x="1164" y="690"/>
                  </a:lnTo>
                  <a:lnTo>
                    <a:pt x="1158" y="690"/>
                  </a:lnTo>
                  <a:lnTo>
                    <a:pt x="1146" y="684"/>
                  </a:lnTo>
                  <a:lnTo>
                    <a:pt x="1140" y="684"/>
                  </a:lnTo>
                  <a:lnTo>
                    <a:pt x="1134" y="678"/>
                  </a:lnTo>
                  <a:lnTo>
                    <a:pt x="1038" y="678"/>
                  </a:lnTo>
                  <a:lnTo>
                    <a:pt x="1014" y="672"/>
                  </a:lnTo>
                  <a:lnTo>
                    <a:pt x="996" y="666"/>
                  </a:lnTo>
                  <a:lnTo>
                    <a:pt x="990" y="666"/>
                  </a:lnTo>
                  <a:lnTo>
                    <a:pt x="978" y="660"/>
                  </a:lnTo>
                  <a:lnTo>
                    <a:pt x="966" y="660"/>
                  </a:lnTo>
                  <a:lnTo>
                    <a:pt x="954" y="654"/>
                  </a:lnTo>
                  <a:lnTo>
                    <a:pt x="948" y="648"/>
                  </a:lnTo>
                  <a:lnTo>
                    <a:pt x="942" y="636"/>
                  </a:lnTo>
                  <a:lnTo>
                    <a:pt x="936" y="618"/>
                  </a:lnTo>
                  <a:lnTo>
                    <a:pt x="936" y="606"/>
                  </a:lnTo>
                  <a:lnTo>
                    <a:pt x="948" y="594"/>
                  </a:lnTo>
                  <a:lnTo>
                    <a:pt x="948" y="588"/>
                  </a:lnTo>
                  <a:lnTo>
                    <a:pt x="942" y="582"/>
                  </a:lnTo>
                  <a:lnTo>
                    <a:pt x="936" y="570"/>
                  </a:lnTo>
                  <a:lnTo>
                    <a:pt x="930" y="564"/>
                  </a:lnTo>
                  <a:lnTo>
                    <a:pt x="930" y="552"/>
                  </a:lnTo>
                  <a:lnTo>
                    <a:pt x="924" y="540"/>
                  </a:lnTo>
                  <a:lnTo>
                    <a:pt x="912" y="528"/>
                  </a:lnTo>
                  <a:lnTo>
                    <a:pt x="888" y="510"/>
                  </a:lnTo>
                  <a:lnTo>
                    <a:pt x="876" y="492"/>
                  </a:lnTo>
                  <a:lnTo>
                    <a:pt x="870" y="480"/>
                  </a:lnTo>
                  <a:lnTo>
                    <a:pt x="852" y="462"/>
                  </a:lnTo>
                  <a:lnTo>
                    <a:pt x="834" y="456"/>
                  </a:lnTo>
                  <a:lnTo>
                    <a:pt x="822" y="450"/>
                  </a:lnTo>
                  <a:lnTo>
                    <a:pt x="810" y="450"/>
                  </a:lnTo>
                  <a:lnTo>
                    <a:pt x="804" y="444"/>
                  </a:lnTo>
                  <a:lnTo>
                    <a:pt x="786" y="432"/>
                  </a:lnTo>
                  <a:lnTo>
                    <a:pt x="750" y="444"/>
                  </a:lnTo>
                  <a:lnTo>
                    <a:pt x="726" y="420"/>
                  </a:lnTo>
                  <a:lnTo>
                    <a:pt x="720" y="408"/>
                  </a:lnTo>
                  <a:lnTo>
                    <a:pt x="708" y="408"/>
                  </a:lnTo>
                  <a:lnTo>
                    <a:pt x="696" y="402"/>
                  </a:lnTo>
                  <a:lnTo>
                    <a:pt x="684" y="402"/>
                  </a:lnTo>
                  <a:lnTo>
                    <a:pt x="672" y="396"/>
                  </a:lnTo>
                  <a:lnTo>
                    <a:pt x="672" y="378"/>
                  </a:lnTo>
                  <a:lnTo>
                    <a:pt x="648" y="378"/>
                  </a:lnTo>
                  <a:lnTo>
                    <a:pt x="654" y="372"/>
                  </a:lnTo>
                  <a:lnTo>
                    <a:pt x="654" y="360"/>
                  </a:lnTo>
                  <a:lnTo>
                    <a:pt x="648" y="354"/>
                  </a:lnTo>
                  <a:lnTo>
                    <a:pt x="612" y="354"/>
                  </a:lnTo>
                  <a:lnTo>
                    <a:pt x="600" y="348"/>
                  </a:lnTo>
                  <a:lnTo>
                    <a:pt x="582" y="348"/>
                  </a:lnTo>
                  <a:lnTo>
                    <a:pt x="576" y="354"/>
                  </a:lnTo>
                  <a:lnTo>
                    <a:pt x="576" y="360"/>
                  </a:lnTo>
                  <a:lnTo>
                    <a:pt x="594" y="378"/>
                  </a:lnTo>
                  <a:lnTo>
                    <a:pt x="594" y="390"/>
                  </a:lnTo>
                  <a:lnTo>
                    <a:pt x="588" y="396"/>
                  </a:lnTo>
                  <a:lnTo>
                    <a:pt x="546" y="396"/>
                  </a:lnTo>
                  <a:lnTo>
                    <a:pt x="534" y="408"/>
                  </a:lnTo>
                  <a:lnTo>
                    <a:pt x="534" y="426"/>
                  </a:lnTo>
                  <a:lnTo>
                    <a:pt x="546" y="450"/>
                  </a:lnTo>
                  <a:lnTo>
                    <a:pt x="558" y="462"/>
                  </a:lnTo>
                  <a:lnTo>
                    <a:pt x="570" y="486"/>
                  </a:lnTo>
                  <a:lnTo>
                    <a:pt x="570" y="504"/>
                  </a:lnTo>
                  <a:lnTo>
                    <a:pt x="564" y="510"/>
                  </a:lnTo>
                  <a:lnTo>
                    <a:pt x="546" y="510"/>
                  </a:lnTo>
                  <a:lnTo>
                    <a:pt x="528" y="528"/>
                  </a:lnTo>
                  <a:lnTo>
                    <a:pt x="516" y="516"/>
                  </a:lnTo>
                  <a:lnTo>
                    <a:pt x="468" y="516"/>
                  </a:lnTo>
                  <a:lnTo>
                    <a:pt x="444" y="504"/>
                  </a:lnTo>
                  <a:lnTo>
                    <a:pt x="432" y="504"/>
                  </a:lnTo>
                  <a:lnTo>
                    <a:pt x="420" y="498"/>
                  </a:lnTo>
                  <a:lnTo>
                    <a:pt x="408" y="498"/>
                  </a:lnTo>
                  <a:lnTo>
                    <a:pt x="408" y="636"/>
                  </a:lnTo>
                  <a:lnTo>
                    <a:pt x="414" y="636"/>
                  </a:lnTo>
                  <a:lnTo>
                    <a:pt x="420" y="642"/>
                  </a:lnTo>
                  <a:lnTo>
                    <a:pt x="426" y="642"/>
                  </a:lnTo>
                  <a:lnTo>
                    <a:pt x="432" y="648"/>
                  </a:lnTo>
                  <a:lnTo>
                    <a:pt x="432" y="660"/>
                  </a:lnTo>
                  <a:lnTo>
                    <a:pt x="426" y="666"/>
                  </a:lnTo>
                  <a:lnTo>
                    <a:pt x="420" y="666"/>
                  </a:lnTo>
                  <a:lnTo>
                    <a:pt x="408" y="654"/>
                  </a:lnTo>
                  <a:lnTo>
                    <a:pt x="390" y="666"/>
                  </a:lnTo>
                  <a:lnTo>
                    <a:pt x="384" y="660"/>
                  </a:lnTo>
                  <a:lnTo>
                    <a:pt x="378" y="648"/>
                  </a:lnTo>
                  <a:lnTo>
                    <a:pt x="372" y="642"/>
                  </a:lnTo>
                  <a:lnTo>
                    <a:pt x="360" y="642"/>
                  </a:lnTo>
                  <a:lnTo>
                    <a:pt x="324" y="660"/>
                  </a:lnTo>
                  <a:lnTo>
                    <a:pt x="312" y="660"/>
                  </a:lnTo>
                  <a:lnTo>
                    <a:pt x="300" y="666"/>
                  </a:lnTo>
                  <a:lnTo>
                    <a:pt x="288" y="666"/>
                  </a:lnTo>
                  <a:lnTo>
                    <a:pt x="276" y="672"/>
                  </a:lnTo>
                  <a:lnTo>
                    <a:pt x="270" y="678"/>
                  </a:lnTo>
                  <a:lnTo>
                    <a:pt x="270" y="684"/>
                  </a:lnTo>
                  <a:lnTo>
                    <a:pt x="276" y="690"/>
                  </a:lnTo>
                  <a:lnTo>
                    <a:pt x="288" y="696"/>
                  </a:lnTo>
                  <a:lnTo>
                    <a:pt x="306" y="696"/>
                  </a:lnTo>
                  <a:lnTo>
                    <a:pt x="306" y="726"/>
                  </a:lnTo>
                  <a:lnTo>
                    <a:pt x="318" y="750"/>
                  </a:lnTo>
                  <a:lnTo>
                    <a:pt x="360" y="792"/>
                  </a:lnTo>
                  <a:lnTo>
                    <a:pt x="366" y="804"/>
                  </a:lnTo>
                  <a:lnTo>
                    <a:pt x="378" y="810"/>
                  </a:lnTo>
                  <a:lnTo>
                    <a:pt x="378" y="822"/>
                  </a:lnTo>
                  <a:lnTo>
                    <a:pt x="360" y="822"/>
                  </a:lnTo>
                  <a:lnTo>
                    <a:pt x="354" y="828"/>
                  </a:lnTo>
                  <a:lnTo>
                    <a:pt x="354" y="834"/>
                  </a:lnTo>
                  <a:lnTo>
                    <a:pt x="372" y="852"/>
                  </a:lnTo>
                  <a:lnTo>
                    <a:pt x="348" y="852"/>
                  </a:lnTo>
                  <a:lnTo>
                    <a:pt x="348" y="864"/>
                  </a:lnTo>
                  <a:lnTo>
                    <a:pt x="354" y="870"/>
                  </a:lnTo>
                  <a:lnTo>
                    <a:pt x="354" y="882"/>
                  </a:lnTo>
                  <a:lnTo>
                    <a:pt x="372" y="900"/>
                  </a:lnTo>
                  <a:lnTo>
                    <a:pt x="372" y="912"/>
                  </a:lnTo>
                  <a:lnTo>
                    <a:pt x="366" y="918"/>
                  </a:lnTo>
                  <a:lnTo>
                    <a:pt x="342" y="918"/>
                  </a:lnTo>
                  <a:lnTo>
                    <a:pt x="294" y="936"/>
                  </a:lnTo>
                  <a:lnTo>
                    <a:pt x="282" y="948"/>
                  </a:lnTo>
                  <a:lnTo>
                    <a:pt x="270" y="954"/>
                  </a:lnTo>
                  <a:lnTo>
                    <a:pt x="264" y="960"/>
                  </a:lnTo>
                  <a:lnTo>
                    <a:pt x="264" y="978"/>
                  </a:lnTo>
                  <a:lnTo>
                    <a:pt x="258" y="990"/>
                  </a:lnTo>
                  <a:lnTo>
                    <a:pt x="252" y="996"/>
                  </a:lnTo>
                  <a:lnTo>
                    <a:pt x="234" y="996"/>
                  </a:lnTo>
                  <a:lnTo>
                    <a:pt x="216" y="990"/>
                  </a:lnTo>
                  <a:lnTo>
                    <a:pt x="186" y="990"/>
                  </a:lnTo>
                  <a:lnTo>
                    <a:pt x="168" y="1008"/>
                  </a:lnTo>
                  <a:lnTo>
                    <a:pt x="162" y="1020"/>
                  </a:lnTo>
                  <a:lnTo>
                    <a:pt x="162" y="1044"/>
                  </a:lnTo>
                  <a:lnTo>
                    <a:pt x="156" y="1050"/>
                  </a:lnTo>
                  <a:lnTo>
                    <a:pt x="126" y="1044"/>
                  </a:lnTo>
                  <a:lnTo>
                    <a:pt x="114" y="1050"/>
                  </a:lnTo>
                  <a:lnTo>
                    <a:pt x="108" y="1044"/>
                  </a:lnTo>
                  <a:lnTo>
                    <a:pt x="102" y="1032"/>
                  </a:lnTo>
                  <a:lnTo>
                    <a:pt x="96" y="1026"/>
                  </a:lnTo>
                  <a:lnTo>
                    <a:pt x="84" y="1026"/>
                  </a:lnTo>
                  <a:lnTo>
                    <a:pt x="72" y="1038"/>
                  </a:lnTo>
                  <a:lnTo>
                    <a:pt x="48" y="1038"/>
                  </a:lnTo>
                  <a:lnTo>
                    <a:pt x="48" y="1056"/>
                  </a:lnTo>
                  <a:lnTo>
                    <a:pt x="36" y="1062"/>
                  </a:lnTo>
                  <a:lnTo>
                    <a:pt x="30" y="1068"/>
                  </a:lnTo>
                  <a:lnTo>
                    <a:pt x="18" y="1068"/>
                  </a:lnTo>
                  <a:lnTo>
                    <a:pt x="6" y="1074"/>
                  </a:lnTo>
                  <a:lnTo>
                    <a:pt x="0" y="1080"/>
                  </a:lnTo>
                  <a:lnTo>
                    <a:pt x="0" y="1086"/>
                  </a:lnTo>
                  <a:lnTo>
                    <a:pt x="12" y="1092"/>
                  </a:lnTo>
                  <a:lnTo>
                    <a:pt x="18" y="1104"/>
                  </a:lnTo>
                  <a:lnTo>
                    <a:pt x="18" y="1116"/>
                  </a:lnTo>
                  <a:lnTo>
                    <a:pt x="0" y="1116"/>
                  </a:lnTo>
                  <a:lnTo>
                    <a:pt x="0" y="1140"/>
                  </a:lnTo>
                  <a:lnTo>
                    <a:pt x="18" y="1140"/>
                  </a:lnTo>
                  <a:lnTo>
                    <a:pt x="18" y="1152"/>
                  </a:lnTo>
                  <a:lnTo>
                    <a:pt x="12" y="1164"/>
                  </a:lnTo>
                  <a:lnTo>
                    <a:pt x="12" y="1176"/>
                  </a:lnTo>
                  <a:lnTo>
                    <a:pt x="24" y="1188"/>
                  </a:lnTo>
                  <a:lnTo>
                    <a:pt x="36" y="1188"/>
                  </a:lnTo>
                  <a:lnTo>
                    <a:pt x="42" y="1182"/>
                  </a:lnTo>
                  <a:lnTo>
                    <a:pt x="66" y="1182"/>
                  </a:lnTo>
                  <a:lnTo>
                    <a:pt x="78" y="1188"/>
                  </a:lnTo>
                  <a:lnTo>
                    <a:pt x="84" y="1188"/>
                  </a:lnTo>
                  <a:lnTo>
                    <a:pt x="96" y="1194"/>
                  </a:lnTo>
                  <a:lnTo>
                    <a:pt x="102" y="1200"/>
                  </a:lnTo>
                  <a:lnTo>
                    <a:pt x="102" y="1242"/>
                  </a:lnTo>
                  <a:lnTo>
                    <a:pt x="114" y="1266"/>
                  </a:lnTo>
                  <a:lnTo>
                    <a:pt x="120" y="1272"/>
                  </a:lnTo>
                  <a:lnTo>
                    <a:pt x="126" y="1272"/>
                  </a:lnTo>
                  <a:lnTo>
                    <a:pt x="138" y="1284"/>
                  </a:lnTo>
                  <a:lnTo>
                    <a:pt x="132" y="1290"/>
                  </a:lnTo>
                  <a:lnTo>
                    <a:pt x="102" y="1290"/>
                  </a:lnTo>
                  <a:lnTo>
                    <a:pt x="96" y="1296"/>
                  </a:lnTo>
                  <a:lnTo>
                    <a:pt x="96" y="1308"/>
                  </a:lnTo>
                  <a:lnTo>
                    <a:pt x="108" y="1314"/>
                  </a:lnTo>
                  <a:lnTo>
                    <a:pt x="114" y="1320"/>
                  </a:lnTo>
                  <a:lnTo>
                    <a:pt x="162" y="1320"/>
                  </a:lnTo>
                  <a:lnTo>
                    <a:pt x="168" y="1332"/>
                  </a:lnTo>
                  <a:lnTo>
                    <a:pt x="180" y="1332"/>
                  </a:lnTo>
                  <a:lnTo>
                    <a:pt x="192" y="1338"/>
                  </a:lnTo>
                  <a:lnTo>
                    <a:pt x="204" y="1350"/>
                  </a:lnTo>
                  <a:lnTo>
                    <a:pt x="216" y="1374"/>
                  </a:lnTo>
                  <a:lnTo>
                    <a:pt x="216" y="1398"/>
                  </a:lnTo>
                  <a:lnTo>
                    <a:pt x="252" y="1410"/>
                  </a:lnTo>
                  <a:lnTo>
                    <a:pt x="264" y="1404"/>
                  </a:lnTo>
                  <a:lnTo>
                    <a:pt x="264" y="1410"/>
                  </a:lnTo>
                  <a:lnTo>
                    <a:pt x="270" y="1416"/>
                  </a:lnTo>
                  <a:lnTo>
                    <a:pt x="276" y="1428"/>
                  </a:lnTo>
                  <a:lnTo>
                    <a:pt x="288" y="1434"/>
                  </a:lnTo>
                  <a:lnTo>
                    <a:pt x="366" y="1434"/>
                  </a:lnTo>
                  <a:lnTo>
                    <a:pt x="378" y="1428"/>
                  </a:lnTo>
                  <a:lnTo>
                    <a:pt x="384" y="1416"/>
                  </a:lnTo>
                  <a:lnTo>
                    <a:pt x="402" y="1410"/>
                  </a:lnTo>
                  <a:lnTo>
                    <a:pt x="426" y="1398"/>
                  </a:lnTo>
                  <a:lnTo>
                    <a:pt x="438" y="1398"/>
                  </a:lnTo>
                  <a:lnTo>
                    <a:pt x="456" y="1410"/>
                  </a:lnTo>
                  <a:lnTo>
                    <a:pt x="480" y="1434"/>
                  </a:lnTo>
                  <a:lnTo>
                    <a:pt x="522" y="1434"/>
                  </a:lnTo>
                  <a:lnTo>
                    <a:pt x="522" y="1494"/>
                  </a:lnTo>
                  <a:lnTo>
                    <a:pt x="516" y="1500"/>
                  </a:lnTo>
                  <a:lnTo>
                    <a:pt x="498" y="1500"/>
                  </a:lnTo>
                  <a:lnTo>
                    <a:pt x="498" y="1506"/>
                  </a:lnTo>
                  <a:lnTo>
                    <a:pt x="504" y="1512"/>
                  </a:lnTo>
                  <a:lnTo>
                    <a:pt x="504" y="1536"/>
                  </a:lnTo>
                  <a:lnTo>
                    <a:pt x="498" y="1548"/>
                  </a:lnTo>
                  <a:lnTo>
                    <a:pt x="486" y="1554"/>
                  </a:lnTo>
                  <a:lnTo>
                    <a:pt x="456" y="1554"/>
                  </a:lnTo>
                  <a:lnTo>
                    <a:pt x="474" y="1578"/>
                  </a:lnTo>
                  <a:lnTo>
                    <a:pt x="456" y="1584"/>
                  </a:lnTo>
                  <a:lnTo>
                    <a:pt x="456" y="1608"/>
                  </a:lnTo>
                  <a:lnTo>
                    <a:pt x="480" y="1620"/>
                  </a:lnTo>
                  <a:lnTo>
                    <a:pt x="492" y="1620"/>
                  </a:lnTo>
                  <a:lnTo>
                    <a:pt x="498" y="1626"/>
                  </a:lnTo>
                  <a:lnTo>
                    <a:pt x="504" y="1638"/>
                  </a:lnTo>
                  <a:lnTo>
                    <a:pt x="522" y="1656"/>
                  </a:lnTo>
                  <a:lnTo>
                    <a:pt x="522" y="1668"/>
                  </a:lnTo>
                  <a:lnTo>
                    <a:pt x="510" y="1674"/>
                  </a:lnTo>
                  <a:lnTo>
                    <a:pt x="504" y="1680"/>
                  </a:lnTo>
                  <a:lnTo>
                    <a:pt x="498" y="1680"/>
                  </a:lnTo>
                  <a:lnTo>
                    <a:pt x="486" y="1698"/>
                  </a:lnTo>
                  <a:lnTo>
                    <a:pt x="474" y="1686"/>
                  </a:lnTo>
                  <a:lnTo>
                    <a:pt x="474" y="1668"/>
                  </a:lnTo>
                  <a:lnTo>
                    <a:pt x="462" y="1668"/>
                  </a:lnTo>
                  <a:lnTo>
                    <a:pt x="456" y="1674"/>
                  </a:lnTo>
                  <a:lnTo>
                    <a:pt x="450" y="1674"/>
                  </a:lnTo>
                  <a:lnTo>
                    <a:pt x="450" y="1692"/>
                  </a:lnTo>
                  <a:lnTo>
                    <a:pt x="456" y="1698"/>
                  </a:lnTo>
                  <a:lnTo>
                    <a:pt x="462" y="1710"/>
                  </a:lnTo>
                  <a:lnTo>
                    <a:pt x="474" y="1722"/>
                  </a:lnTo>
                  <a:lnTo>
                    <a:pt x="480" y="1722"/>
                  </a:lnTo>
                  <a:lnTo>
                    <a:pt x="480" y="1734"/>
                  </a:lnTo>
                  <a:lnTo>
                    <a:pt x="474" y="1740"/>
                  </a:lnTo>
                  <a:lnTo>
                    <a:pt x="474" y="1758"/>
                  </a:lnTo>
                  <a:lnTo>
                    <a:pt x="480" y="1764"/>
                  </a:lnTo>
                  <a:lnTo>
                    <a:pt x="510" y="1764"/>
                  </a:lnTo>
                  <a:lnTo>
                    <a:pt x="516" y="1776"/>
                  </a:lnTo>
                  <a:lnTo>
                    <a:pt x="528" y="1788"/>
                  </a:lnTo>
                  <a:lnTo>
                    <a:pt x="540" y="1794"/>
                  </a:lnTo>
                  <a:lnTo>
                    <a:pt x="552" y="1794"/>
                  </a:lnTo>
                  <a:lnTo>
                    <a:pt x="558" y="1800"/>
                  </a:lnTo>
                  <a:lnTo>
                    <a:pt x="564" y="1800"/>
                  </a:lnTo>
                  <a:lnTo>
                    <a:pt x="582" y="1818"/>
                  </a:lnTo>
                  <a:lnTo>
                    <a:pt x="600" y="1812"/>
                  </a:lnTo>
                  <a:lnTo>
                    <a:pt x="600" y="1830"/>
                  </a:lnTo>
                  <a:lnTo>
                    <a:pt x="612" y="1836"/>
                  </a:lnTo>
                  <a:lnTo>
                    <a:pt x="624" y="1836"/>
                  </a:lnTo>
                  <a:lnTo>
                    <a:pt x="666" y="1872"/>
                  </a:lnTo>
                  <a:lnTo>
                    <a:pt x="690" y="1854"/>
                  </a:lnTo>
                  <a:lnTo>
                    <a:pt x="696" y="1848"/>
                  </a:lnTo>
                  <a:lnTo>
                    <a:pt x="708" y="1842"/>
                  </a:lnTo>
                  <a:lnTo>
                    <a:pt x="720" y="1842"/>
                  </a:lnTo>
                  <a:lnTo>
                    <a:pt x="732" y="1848"/>
                  </a:lnTo>
                  <a:lnTo>
                    <a:pt x="744" y="1860"/>
                  </a:lnTo>
                  <a:lnTo>
                    <a:pt x="750" y="1872"/>
                  </a:lnTo>
                  <a:lnTo>
                    <a:pt x="762" y="1878"/>
                  </a:lnTo>
                  <a:lnTo>
                    <a:pt x="780" y="1896"/>
                  </a:lnTo>
                  <a:lnTo>
                    <a:pt x="822" y="1902"/>
                  </a:lnTo>
                  <a:lnTo>
                    <a:pt x="828" y="1914"/>
                  </a:lnTo>
                  <a:lnTo>
                    <a:pt x="834" y="1920"/>
                  </a:lnTo>
                  <a:lnTo>
                    <a:pt x="840" y="1932"/>
                  </a:lnTo>
                  <a:lnTo>
                    <a:pt x="846" y="1938"/>
                  </a:lnTo>
                  <a:lnTo>
                    <a:pt x="846" y="1950"/>
                  </a:lnTo>
                  <a:lnTo>
                    <a:pt x="858" y="1950"/>
                  </a:lnTo>
                  <a:lnTo>
                    <a:pt x="858" y="1944"/>
                  </a:lnTo>
                  <a:lnTo>
                    <a:pt x="864" y="1938"/>
                  </a:lnTo>
                  <a:lnTo>
                    <a:pt x="870" y="1926"/>
                  </a:lnTo>
                  <a:lnTo>
                    <a:pt x="882" y="1926"/>
                  </a:lnTo>
                  <a:lnTo>
                    <a:pt x="888" y="1932"/>
                  </a:lnTo>
                  <a:lnTo>
                    <a:pt x="894" y="1944"/>
                  </a:lnTo>
                  <a:lnTo>
                    <a:pt x="894" y="1962"/>
                  </a:lnTo>
                  <a:lnTo>
                    <a:pt x="924" y="1992"/>
                  </a:lnTo>
                  <a:lnTo>
                    <a:pt x="936" y="1998"/>
                  </a:lnTo>
                  <a:lnTo>
                    <a:pt x="942" y="1992"/>
                  </a:lnTo>
                  <a:lnTo>
                    <a:pt x="954" y="1986"/>
                  </a:lnTo>
                  <a:lnTo>
                    <a:pt x="960" y="1986"/>
                  </a:lnTo>
                  <a:lnTo>
                    <a:pt x="966" y="1992"/>
                  </a:lnTo>
                  <a:lnTo>
                    <a:pt x="966" y="1998"/>
                  </a:lnTo>
                  <a:lnTo>
                    <a:pt x="960" y="2004"/>
                  </a:lnTo>
                  <a:lnTo>
                    <a:pt x="960" y="2010"/>
                  </a:lnTo>
                  <a:lnTo>
                    <a:pt x="966" y="2010"/>
                  </a:lnTo>
                  <a:lnTo>
                    <a:pt x="972" y="2016"/>
                  </a:lnTo>
                  <a:lnTo>
                    <a:pt x="990" y="2022"/>
                  </a:lnTo>
                  <a:lnTo>
                    <a:pt x="1002" y="2022"/>
                  </a:lnTo>
                  <a:lnTo>
                    <a:pt x="1008" y="2016"/>
                  </a:lnTo>
                  <a:lnTo>
                    <a:pt x="1014" y="2016"/>
                  </a:lnTo>
                  <a:lnTo>
                    <a:pt x="1014" y="2034"/>
                  </a:lnTo>
                  <a:lnTo>
                    <a:pt x="1020" y="2040"/>
                  </a:lnTo>
                  <a:lnTo>
                    <a:pt x="1032" y="2040"/>
                  </a:lnTo>
                  <a:lnTo>
                    <a:pt x="1044" y="2028"/>
                  </a:lnTo>
                  <a:lnTo>
                    <a:pt x="1044" y="2022"/>
                  </a:lnTo>
                  <a:lnTo>
                    <a:pt x="1044" y="2034"/>
                  </a:lnTo>
                  <a:lnTo>
                    <a:pt x="1050" y="2040"/>
                  </a:lnTo>
                  <a:lnTo>
                    <a:pt x="1068" y="2040"/>
                  </a:lnTo>
                  <a:lnTo>
                    <a:pt x="1074" y="2034"/>
                  </a:lnTo>
                  <a:lnTo>
                    <a:pt x="1074" y="2028"/>
                  </a:lnTo>
                  <a:lnTo>
                    <a:pt x="1086" y="2034"/>
                  </a:lnTo>
                  <a:lnTo>
                    <a:pt x="1092" y="2040"/>
                  </a:lnTo>
                  <a:lnTo>
                    <a:pt x="1110" y="2046"/>
                  </a:lnTo>
                  <a:lnTo>
                    <a:pt x="1134" y="2058"/>
                  </a:lnTo>
                  <a:lnTo>
                    <a:pt x="1158" y="2058"/>
                  </a:lnTo>
                  <a:lnTo>
                    <a:pt x="1176" y="2040"/>
                  </a:lnTo>
                  <a:lnTo>
                    <a:pt x="1194" y="2034"/>
                  </a:lnTo>
                  <a:lnTo>
                    <a:pt x="1206" y="2028"/>
                  </a:lnTo>
                  <a:lnTo>
                    <a:pt x="1212" y="2028"/>
                  </a:lnTo>
                  <a:lnTo>
                    <a:pt x="1224" y="2034"/>
                  </a:lnTo>
                  <a:lnTo>
                    <a:pt x="1230" y="2040"/>
                  </a:lnTo>
                  <a:lnTo>
                    <a:pt x="1230" y="2088"/>
                  </a:lnTo>
                  <a:lnTo>
                    <a:pt x="1236" y="2094"/>
                  </a:lnTo>
                  <a:lnTo>
                    <a:pt x="1242" y="2094"/>
                  </a:lnTo>
                  <a:lnTo>
                    <a:pt x="1242" y="2088"/>
                  </a:lnTo>
                  <a:lnTo>
                    <a:pt x="1248" y="2082"/>
                  </a:lnTo>
                  <a:lnTo>
                    <a:pt x="1254" y="2070"/>
                  </a:lnTo>
                  <a:lnTo>
                    <a:pt x="1266" y="2052"/>
                  </a:lnTo>
                  <a:lnTo>
                    <a:pt x="1272" y="2040"/>
                  </a:lnTo>
                  <a:lnTo>
                    <a:pt x="1284" y="2028"/>
                  </a:lnTo>
                  <a:lnTo>
                    <a:pt x="1290" y="2016"/>
                  </a:lnTo>
                  <a:lnTo>
                    <a:pt x="1302" y="2016"/>
                  </a:lnTo>
                  <a:lnTo>
                    <a:pt x="1314" y="2022"/>
                  </a:lnTo>
                  <a:lnTo>
                    <a:pt x="1338" y="2022"/>
                  </a:lnTo>
                  <a:lnTo>
                    <a:pt x="1338" y="2046"/>
                  </a:lnTo>
                  <a:lnTo>
                    <a:pt x="1344" y="2046"/>
                  </a:lnTo>
                  <a:lnTo>
                    <a:pt x="1350" y="2040"/>
                  </a:lnTo>
                  <a:lnTo>
                    <a:pt x="1362" y="2034"/>
                  </a:lnTo>
                  <a:lnTo>
                    <a:pt x="1374" y="2034"/>
                  </a:lnTo>
                  <a:lnTo>
                    <a:pt x="1386" y="2028"/>
                  </a:lnTo>
                  <a:lnTo>
                    <a:pt x="1398" y="2028"/>
                  </a:lnTo>
                  <a:lnTo>
                    <a:pt x="1410" y="2034"/>
                  </a:lnTo>
                  <a:lnTo>
                    <a:pt x="1422" y="2046"/>
                  </a:lnTo>
                  <a:lnTo>
                    <a:pt x="1428" y="2058"/>
                  </a:lnTo>
                  <a:lnTo>
                    <a:pt x="1428" y="2064"/>
                  </a:lnTo>
                  <a:lnTo>
                    <a:pt x="1482" y="2064"/>
                  </a:lnTo>
                  <a:lnTo>
                    <a:pt x="1494" y="2052"/>
                  </a:lnTo>
                  <a:lnTo>
                    <a:pt x="1494" y="2034"/>
                  </a:lnTo>
                  <a:lnTo>
                    <a:pt x="1488" y="2022"/>
                  </a:lnTo>
                  <a:lnTo>
                    <a:pt x="1518" y="2022"/>
                  </a:lnTo>
                  <a:lnTo>
                    <a:pt x="1524" y="2016"/>
                  </a:lnTo>
                  <a:lnTo>
                    <a:pt x="1524" y="1992"/>
                  </a:lnTo>
                  <a:lnTo>
                    <a:pt x="1518" y="1986"/>
                  </a:lnTo>
                  <a:lnTo>
                    <a:pt x="1518" y="1980"/>
                  </a:lnTo>
                  <a:lnTo>
                    <a:pt x="1554" y="1980"/>
                  </a:lnTo>
                  <a:lnTo>
                    <a:pt x="1578" y="1956"/>
                  </a:lnTo>
                  <a:lnTo>
                    <a:pt x="1590" y="1950"/>
                  </a:lnTo>
                  <a:lnTo>
                    <a:pt x="1602" y="1938"/>
                  </a:lnTo>
                  <a:lnTo>
                    <a:pt x="1620" y="1938"/>
                  </a:lnTo>
                  <a:lnTo>
                    <a:pt x="1632" y="1944"/>
                  </a:lnTo>
                  <a:lnTo>
                    <a:pt x="1650" y="1956"/>
                  </a:lnTo>
                  <a:lnTo>
                    <a:pt x="1668" y="1956"/>
                  </a:lnTo>
                  <a:lnTo>
                    <a:pt x="1668" y="1932"/>
                  </a:lnTo>
                  <a:lnTo>
                    <a:pt x="1680" y="1920"/>
                  </a:lnTo>
                  <a:lnTo>
                    <a:pt x="1716" y="1938"/>
                  </a:lnTo>
                  <a:lnTo>
                    <a:pt x="1722" y="1944"/>
                  </a:lnTo>
                  <a:lnTo>
                    <a:pt x="1710" y="1956"/>
                  </a:lnTo>
                  <a:lnTo>
                    <a:pt x="1704" y="1956"/>
                  </a:lnTo>
                  <a:lnTo>
                    <a:pt x="1710" y="1962"/>
                  </a:lnTo>
                  <a:lnTo>
                    <a:pt x="1740" y="1962"/>
                  </a:lnTo>
                  <a:lnTo>
                    <a:pt x="1758" y="1992"/>
                  </a:lnTo>
                  <a:lnTo>
                    <a:pt x="1752" y="1992"/>
                  </a:lnTo>
                  <a:lnTo>
                    <a:pt x="1740" y="2004"/>
                  </a:lnTo>
                  <a:lnTo>
                    <a:pt x="1740" y="2010"/>
                  </a:lnTo>
                  <a:lnTo>
                    <a:pt x="1806" y="2010"/>
                  </a:lnTo>
                  <a:lnTo>
                    <a:pt x="1812" y="2016"/>
                  </a:lnTo>
                  <a:lnTo>
                    <a:pt x="1818" y="2016"/>
                  </a:lnTo>
                  <a:lnTo>
                    <a:pt x="1824" y="1998"/>
                  </a:lnTo>
                  <a:lnTo>
                    <a:pt x="1830" y="1998"/>
                  </a:lnTo>
                  <a:lnTo>
                    <a:pt x="1836" y="2004"/>
                  </a:lnTo>
                  <a:lnTo>
                    <a:pt x="1842" y="2016"/>
                  </a:lnTo>
                  <a:lnTo>
                    <a:pt x="1854" y="2022"/>
                  </a:lnTo>
                  <a:lnTo>
                    <a:pt x="1872" y="2058"/>
                  </a:lnTo>
                  <a:lnTo>
                    <a:pt x="1878" y="2064"/>
                  </a:lnTo>
                  <a:lnTo>
                    <a:pt x="1878" y="2070"/>
                  </a:lnTo>
                  <a:lnTo>
                    <a:pt x="1914" y="2070"/>
                  </a:lnTo>
                  <a:lnTo>
                    <a:pt x="1920" y="2076"/>
                  </a:lnTo>
                  <a:lnTo>
                    <a:pt x="1920" y="2106"/>
                  </a:lnTo>
                  <a:lnTo>
                    <a:pt x="1932" y="2130"/>
                  </a:lnTo>
                  <a:lnTo>
                    <a:pt x="1944" y="2190"/>
                  </a:lnTo>
                  <a:lnTo>
                    <a:pt x="1932" y="2190"/>
                  </a:lnTo>
                  <a:lnTo>
                    <a:pt x="1926" y="2196"/>
                  </a:lnTo>
                  <a:lnTo>
                    <a:pt x="1914" y="2196"/>
                  </a:lnTo>
                  <a:lnTo>
                    <a:pt x="1932" y="2214"/>
                  </a:lnTo>
                  <a:lnTo>
                    <a:pt x="1932" y="2220"/>
                  </a:lnTo>
                  <a:lnTo>
                    <a:pt x="1926" y="2232"/>
                  </a:lnTo>
                  <a:lnTo>
                    <a:pt x="1920" y="2238"/>
                  </a:lnTo>
                  <a:lnTo>
                    <a:pt x="1908" y="2238"/>
                  </a:lnTo>
                  <a:lnTo>
                    <a:pt x="1902" y="2232"/>
                  </a:lnTo>
                  <a:lnTo>
                    <a:pt x="1902" y="2268"/>
                  </a:lnTo>
                  <a:lnTo>
                    <a:pt x="1896" y="2274"/>
                  </a:lnTo>
                  <a:lnTo>
                    <a:pt x="1884" y="2274"/>
                  </a:lnTo>
                  <a:lnTo>
                    <a:pt x="1890" y="2304"/>
                  </a:lnTo>
                  <a:lnTo>
                    <a:pt x="1878" y="2304"/>
                  </a:lnTo>
                  <a:lnTo>
                    <a:pt x="1878" y="2322"/>
                  </a:lnTo>
                  <a:lnTo>
                    <a:pt x="1896" y="2340"/>
                  </a:lnTo>
                  <a:lnTo>
                    <a:pt x="1902" y="2352"/>
                  </a:lnTo>
                  <a:lnTo>
                    <a:pt x="1890" y="2370"/>
                  </a:lnTo>
                  <a:lnTo>
                    <a:pt x="1902" y="2364"/>
                  </a:lnTo>
                  <a:lnTo>
                    <a:pt x="1908" y="2358"/>
                  </a:lnTo>
                  <a:lnTo>
                    <a:pt x="1920" y="2358"/>
                  </a:lnTo>
                  <a:lnTo>
                    <a:pt x="1926" y="2352"/>
                  </a:lnTo>
                  <a:lnTo>
                    <a:pt x="1986" y="2352"/>
                  </a:lnTo>
                  <a:lnTo>
                    <a:pt x="1956" y="2376"/>
                  </a:lnTo>
                  <a:lnTo>
                    <a:pt x="1980" y="2394"/>
                  </a:lnTo>
                  <a:lnTo>
                    <a:pt x="1992" y="2436"/>
                  </a:lnTo>
                  <a:lnTo>
                    <a:pt x="2022" y="2436"/>
                  </a:lnTo>
                  <a:lnTo>
                    <a:pt x="2034" y="2442"/>
                  </a:lnTo>
                  <a:lnTo>
                    <a:pt x="2040" y="2448"/>
                  </a:lnTo>
                  <a:lnTo>
                    <a:pt x="2040" y="2454"/>
                  </a:lnTo>
                  <a:lnTo>
                    <a:pt x="2034" y="2460"/>
                  </a:lnTo>
                  <a:lnTo>
                    <a:pt x="2022" y="2460"/>
                  </a:lnTo>
                  <a:lnTo>
                    <a:pt x="2016" y="2466"/>
                  </a:lnTo>
                  <a:lnTo>
                    <a:pt x="2028" y="2478"/>
                  </a:lnTo>
                  <a:lnTo>
                    <a:pt x="2028" y="2490"/>
                  </a:lnTo>
                  <a:lnTo>
                    <a:pt x="2022" y="2496"/>
                  </a:lnTo>
                  <a:lnTo>
                    <a:pt x="2022" y="2502"/>
                  </a:lnTo>
                  <a:lnTo>
                    <a:pt x="2016" y="2514"/>
                  </a:lnTo>
                  <a:lnTo>
                    <a:pt x="2070" y="2520"/>
                  </a:lnTo>
                  <a:lnTo>
                    <a:pt x="2082" y="2550"/>
                  </a:lnTo>
                  <a:lnTo>
                    <a:pt x="2094" y="2550"/>
                  </a:lnTo>
                  <a:lnTo>
                    <a:pt x="2094" y="2568"/>
                  </a:lnTo>
                  <a:lnTo>
                    <a:pt x="2136" y="2568"/>
                  </a:lnTo>
                  <a:lnTo>
                    <a:pt x="2136" y="2562"/>
                  </a:lnTo>
                  <a:lnTo>
                    <a:pt x="2154" y="2544"/>
                  </a:lnTo>
                  <a:lnTo>
                    <a:pt x="2166" y="2544"/>
                  </a:lnTo>
                  <a:lnTo>
                    <a:pt x="2172" y="2550"/>
                  </a:lnTo>
                  <a:lnTo>
                    <a:pt x="2172" y="2592"/>
                  </a:lnTo>
                  <a:lnTo>
                    <a:pt x="2214" y="2592"/>
                  </a:lnTo>
                  <a:lnTo>
                    <a:pt x="2214" y="2556"/>
                  </a:lnTo>
                  <a:lnTo>
                    <a:pt x="2190" y="2532"/>
                  </a:lnTo>
                  <a:lnTo>
                    <a:pt x="2190" y="2490"/>
                  </a:lnTo>
                  <a:lnTo>
                    <a:pt x="2196" y="2484"/>
                  </a:lnTo>
                  <a:lnTo>
                    <a:pt x="2232" y="2490"/>
                  </a:lnTo>
                  <a:lnTo>
                    <a:pt x="2232" y="2472"/>
                  </a:lnTo>
                  <a:lnTo>
                    <a:pt x="2238" y="2460"/>
                  </a:lnTo>
                  <a:lnTo>
                    <a:pt x="2250" y="2460"/>
                  </a:lnTo>
                  <a:lnTo>
                    <a:pt x="2274" y="2484"/>
                  </a:lnTo>
                  <a:lnTo>
                    <a:pt x="2286" y="2484"/>
                  </a:lnTo>
                  <a:lnTo>
                    <a:pt x="2292" y="2478"/>
                  </a:lnTo>
                  <a:lnTo>
                    <a:pt x="2298" y="2466"/>
                  </a:lnTo>
                  <a:lnTo>
                    <a:pt x="2304" y="2460"/>
                  </a:lnTo>
                  <a:lnTo>
                    <a:pt x="2322" y="2478"/>
                  </a:lnTo>
                  <a:lnTo>
                    <a:pt x="2322" y="2460"/>
                  </a:lnTo>
                  <a:lnTo>
                    <a:pt x="2328" y="2460"/>
                  </a:lnTo>
                  <a:lnTo>
                    <a:pt x="2340" y="2478"/>
                  </a:lnTo>
                  <a:lnTo>
                    <a:pt x="2346" y="2484"/>
                  </a:lnTo>
                  <a:lnTo>
                    <a:pt x="2364" y="2484"/>
                  </a:lnTo>
                  <a:lnTo>
                    <a:pt x="2364" y="2472"/>
                  </a:lnTo>
                  <a:lnTo>
                    <a:pt x="2352" y="2460"/>
                  </a:lnTo>
                  <a:lnTo>
                    <a:pt x="2370" y="2460"/>
                  </a:lnTo>
                  <a:lnTo>
                    <a:pt x="2376" y="2466"/>
                  </a:lnTo>
                  <a:lnTo>
                    <a:pt x="2382" y="2460"/>
                  </a:lnTo>
                  <a:lnTo>
                    <a:pt x="2400" y="2460"/>
                  </a:lnTo>
                  <a:lnTo>
                    <a:pt x="2400" y="2454"/>
                  </a:lnTo>
                  <a:lnTo>
                    <a:pt x="2406" y="2442"/>
                  </a:lnTo>
                  <a:lnTo>
                    <a:pt x="2406" y="2430"/>
                  </a:lnTo>
                  <a:lnTo>
                    <a:pt x="2412" y="2424"/>
                  </a:lnTo>
                  <a:lnTo>
                    <a:pt x="2424" y="2418"/>
                  </a:lnTo>
                  <a:lnTo>
                    <a:pt x="2430" y="2412"/>
                  </a:lnTo>
                  <a:lnTo>
                    <a:pt x="2436" y="2412"/>
                  </a:lnTo>
                  <a:lnTo>
                    <a:pt x="2466" y="2448"/>
                  </a:lnTo>
                  <a:lnTo>
                    <a:pt x="2496" y="2442"/>
                  </a:lnTo>
                  <a:lnTo>
                    <a:pt x="2508" y="2454"/>
                  </a:lnTo>
                  <a:lnTo>
                    <a:pt x="2538" y="2454"/>
                  </a:lnTo>
                  <a:lnTo>
                    <a:pt x="2544" y="2460"/>
                  </a:lnTo>
                  <a:lnTo>
                    <a:pt x="2544" y="2466"/>
                  </a:lnTo>
                  <a:lnTo>
                    <a:pt x="2526" y="2484"/>
                  </a:lnTo>
                  <a:lnTo>
                    <a:pt x="2532" y="2502"/>
                  </a:lnTo>
                  <a:lnTo>
                    <a:pt x="2544" y="2508"/>
                  </a:lnTo>
                  <a:lnTo>
                    <a:pt x="2544" y="2526"/>
                  </a:lnTo>
                  <a:lnTo>
                    <a:pt x="2562" y="2526"/>
                  </a:lnTo>
                  <a:lnTo>
                    <a:pt x="2568" y="2532"/>
                  </a:lnTo>
                  <a:lnTo>
                    <a:pt x="2574" y="2544"/>
                  </a:lnTo>
                  <a:lnTo>
                    <a:pt x="2586" y="2550"/>
                  </a:lnTo>
                  <a:lnTo>
                    <a:pt x="2616" y="2550"/>
                  </a:lnTo>
                  <a:lnTo>
                    <a:pt x="2622" y="2556"/>
                  </a:lnTo>
                  <a:lnTo>
                    <a:pt x="2628" y="2556"/>
                  </a:lnTo>
                  <a:lnTo>
                    <a:pt x="2676" y="2526"/>
                  </a:lnTo>
                  <a:lnTo>
                    <a:pt x="2694" y="2538"/>
                  </a:lnTo>
                  <a:lnTo>
                    <a:pt x="2718" y="2538"/>
                  </a:lnTo>
                  <a:lnTo>
                    <a:pt x="2736" y="2544"/>
                  </a:lnTo>
                  <a:lnTo>
                    <a:pt x="2748" y="2544"/>
                  </a:lnTo>
                  <a:lnTo>
                    <a:pt x="2760" y="2550"/>
                  </a:lnTo>
                  <a:lnTo>
                    <a:pt x="2766" y="2556"/>
                  </a:lnTo>
                  <a:lnTo>
                    <a:pt x="2772" y="2568"/>
                  </a:lnTo>
                  <a:lnTo>
                    <a:pt x="2766" y="2580"/>
                  </a:lnTo>
                  <a:lnTo>
                    <a:pt x="2766" y="2604"/>
                  </a:lnTo>
                  <a:lnTo>
                    <a:pt x="2760" y="2616"/>
                  </a:lnTo>
                  <a:lnTo>
                    <a:pt x="2766" y="2628"/>
                  </a:lnTo>
                  <a:lnTo>
                    <a:pt x="2772" y="2634"/>
                  </a:lnTo>
                  <a:lnTo>
                    <a:pt x="2784" y="2640"/>
                  </a:lnTo>
                  <a:lnTo>
                    <a:pt x="2790" y="2652"/>
                  </a:lnTo>
                  <a:lnTo>
                    <a:pt x="2802" y="2658"/>
                  </a:lnTo>
                  <a:lnTo>
                    <a:pt x="2808" y="2664"/>
                  </a:lnTo>
                  <a:lnTo>
                    <a:pt x="2826" y="2664"/>
                  </a:lnTo>
                  <a:lnTo>
                    <a:pt x="2832" y="2640"/>
                  </a:lnTo>
                  <a:lnTo>
                    <a:pt x="2832" y="2634"/>
                  </a:lnTo>
                  <a:lnTo>
                    <a:pt x="2826" y="2628"/>
                  </a:lnTo>
                  <a:lnTo>
                    <a:pt x="2826" y="2586"/>
                  </a:lnTo>
                  <a:lnTo>
                    <a:pt x="2832" y="2568"/>
                  </a:lnTo>
                  <a:lnTo>
                    <a:pt x="2844" y="2556"/>
                  </a:lnTo>
                  <a:lnTo>
                    <a:pt x="2856" y="2550"/>
                  </a:lnTo>
                  <a:lnTo>
                    <a:pt x="2886" y="2550"/>
                  </a:lnTo>
                  <a:lnTo>
                    <a:pt x="2898" y="2544"/>
                  </a:lnTo>
                  <a:lnTo>
                    <a:pt x="2910" y="2544"/>
                  </a:lnTo>
                  <a:lnTo>
                    <a:pt x="2922" y="2538"/>
                  </a:lnTo>
                  <a:lnTo>
                    <a:pt x="2940" y="2538"/>
                  </a:lnTo>
                  <a:lnTo>
                    <a:pt x="2964" y="2532"/>
                  </a:lnTo>
                  <a:lnTo>
                    <a:pt x="2982" y="2526"/>
                  </a:lnTo>
                  <a:lnTo>
                    <a:pt x="3000" y="2508"/>
                  </a:lnTo>
                  <a:lnTo>
                    <a:pt x="3000" y="2466"/>
                  </a:lnTo>
                  <a:lnTo>
                    <a:pt x="3006" y="2454"/>
                  </a:lnTo>
                  <a:lnTo>
                    <a:pt x="3012" y="2448"/>
                  </a:lnTo>
                  <a:lnTo>
                    <a:pt x="3024" y="2460"/>
                  </a:lnTo>
                  <a:lnTo>
                    <a:pt x="3036" y="2484"/>
                  </a:lnTo>
                  <a:lnTo>
                    <a:pt x="3042" y="2490"/>
                  </a:lnTo>
                  <a:lnTo>
                    <a:pt x="3048" y="2490"/>
                  </a:lnTo>
                  <a:lnTo>
                    <a:pt x="3054" y="2484"/>
                  </a:lnTo>
                  <a:lnTo>
                    <a:pt x="3066" y="2478"/>
                  </a:lnTo>
                  <a:lnTo>
                    <a:pt x="3072" y="2466"/>
                  </a:lnTo>
                  <a:lnTo>
                    <a:pt x="3090" y="2448"/>
                  </a:lnTo>
                  <a:lnTo>
                    <a:pt x="3096" y="2436"/>
                  </a:lnTo>
                  <a:lnTo>
                    <a:pt x="3114" y="2454"/>
                  </a:lnTo>
                  <a:lnTo>
                    <a:pt x="3144" y="2442"/>
                  </a:lnTo>
                  <a:lnTo>
                    <a:pt x="3150" y="2442"/>
                  </a:lnTo>
                  <a:lnTo>
                    <a:pt x="3156" y="2448"/>
                  </a:lnTo>
                  <a:lnTo>
                    <a:pt x="3186" y="2448"/>
                  </a:lnTo>
                  <a:lnTo>
                    <a:pt x="3234" y="2424"/>
                  </a:lnTo>
                  <a:lnTo>
                    <a:pt x="3288" y="2370"/>
                  </a:lnTo>
                  <a:lnTo>
                    <a:pt x="3294" y="2358"/>
                  </a:lnTo>
                  <a:lnTo>
                    <a:pt x="3300" y="2352"/>
                  </a:lnTo>
                  <a:lnTo>
                    <a:pt x="3294" y="2340"/>
                  </a:lnTo>
                  <a:lnTo>
                    <a:pt x="3294" y="2334"/>
                  </a:lnTo>
                  <a:lnTo>
                    <a:pt x="3288" y="2322"/>
                  </a:lnTo>
                  <a:lnTo>
                    <a:pt x="3282" y="2316"/>
                  </a:lnTo>
                  <a:lnTo>
                    <a:pt x="3300" y="2316"/>
                  </a:lnTo>
                  <a:lnTo>
                    <a:pt x="3312" y="2286"/>
                  </a:lnTo>
                  <a:lnTo>
                    <a:pt x="3336" y="2286"/>
                  </a:lnTo>
                  <a:lnTo>
                    <a:pt x="3348" y="2250"/>
                  </a:lnTo>
                  <a:lnTo>
                    <a:pt x="3360" y="2250"/>
                  </a:lnTo>
                  <a:lnTo>
                    <a:pt x="3360" y="2208"/>
                  </a:lnTo>
                  <a:lnTo>
                    <a:pt x="3372" y="2208"/>
                  </a:lnTo>
                  <a:lnTo>
                    <a:pt x="3384" y="2196"/>
                  </a:lnTo>
                  <a:lnTo>
                    <a:pt x="3384" y="2172"/>
                  </a:lnTo>
                  <a:lnTo>
                    <a:pt x="3378" y="2160"/>
                  </a:lnTo>
                  <a:lnTo>
                    <a:pt x="3372" y="2154"/>
                  </a:lnTo>
                  <a:lnTo>
                    <a:pt x="3372" y="2142"/>
                  </a:lnTo>
                  <a:lnTo>
                    <a:pt x="3378" y="2136"/>
                  </a:lnTo>
                  <a:lnTo>
                    <a:pt x="3384" y="2136"/>
                  </a:lnTo>
                  <a:lnTo>
                    <a:pt x="3390" y="2130"/>
                  </a:lnTo>
                  <a:lnTo>
                    <a:pt x="3402" y="2124"/>
                  </a:lnTo>
                  <a:lnTo>
                    <a:pt x="3408" y="2118"/>
                  </a:lnTo>
                  <a:lnTo>
                    <a:pt x="3408" y="2094"/>
                  </a:lnTo>
                  <a:lnTo>
                    <a:pt x="3390" y="2076"/>
                  </a:lnTo>
                  <a:lnTo>
                    <a:pt x="3390" y="2064"/>
                  </a:lnTo>
                  <a:lnTo>
                    <a:pt x="3402" y="2058"/>
                  </a:lnTo>
                  <a:lnTo>
                    <a:pt x="3408" y="2052"/>
                  </a:lnTo>
                  <a:lnTo>
                    <a:pt x="3408" y="2016"/>
                  </a:lnTo>
                  <a:lnTo>
                    <a:pt x="3414" y="2016"/>
                  </a:lnTo>
                  <a:lnTo>
                    <a:pt x="3420" y="2010"/>
                  </a:lnTo>
                  <a:lnTo>
                    <a:pt x="3456" y="1992"/>
                  </a:lnTo>
                  <a:lnTo>
                    <a:pt x="3462" y="1980"/>
                  </a:lnTo>
                  <a:lnTo>
                    <a:pt x="3462" y="1962"/>
                  </a:lnTo>
                  <a:lnTo>
                    <a:pt x="3456" y="1956"/>
                  </a:lnTo>
                  <a:lnTo>
                    <a:pt x="3444" y="1956"/>
                  </a:lnTo>
                  <a:lnTo>
                    <a:pt x="3450" y="1956"/>
                  </a:lnTo>
                  <a:lnTo>
                    <a:pt x="3456" y="1950"/>
                  </a:lnTo>
                  <a:lnTo>
                    <a:pt x="3468" y="1950"/>
                  </a:lnTo>
                  <a:lnTo>
                    <a:pt x="3480" y="1944"/>
                  </a:lnTo>
                  <a:lnTo>
                    <a:pt x="3492" y="1932"/>
                  </a:lnTo>
                  <a:lnTo>
                    <a:pt x="3474" y="1914"/>
                  </a:lnTo>
                  <a:lnTo>
                    <a:pt x="3468" y="1914"/>
                  </a:lnTo>
                  <a:lnTo>
                    <a:pt x="3486" y="1896"/>
                  </a:lnTo>
                  <a:lnTo>
                    <a:pt x="3498" y="1872"/>
                  </a:lnTo>
                  <a:lnTo>
                    <a:pt x="3504" y="1866"/>
                  </a:lnTo>
                  <a:lnTo>
                    <a:pt x="3504" y="1854"/>
                  </a:lnTo>
                  <a:lnTo>
                    <a:pt x="3498" y="1848"/>
                  </a:lnTo>
                  <a:lnTo>
                    <a:pt x="3474" y="1842"/>
                  </a:lnTo>
                  <a:lnTo>
                    <a:pt x="3438" y="1848"/>
                  </a:lnTo>
                  <a:lnTo>
                    <a:pt x="3396" y="1854"/>
                  </a:lnTo>
                  <a:lnTo>
                    <a:pt x="3366" y="1860"/>
                  </a:lnTo>
                  <a:lnTo>
                    <a:pt x="3354" y="1866"/>
                  </a:lnTo>
                  <a:lnTo>
                    <a:pt x="3336" y="1848"/>
                  </a:lnTo>
                  <a:lnTo>
                    <a:pt x="3378" y="1848"/>
                  </a:lnTo>
                  <a:lnTo>
                    <a:pt x="3378" y="1836"/>
                  </a:lnTo>
                  <a:lnTo>
                    <a:pt x="3384" y="1824"/>
                  </a:lnTo>
                  <a:lnTo>
                    <a:pt x="3390" y="1818"/>
                  </a:lnTo>
                  <a:lnTo>
                    <a:pt x="3402" y="1812"/>
                  </a:lnTo>
                  <a:lnTo>
                    <a:pt x="3432" y="1812"/>
                  </a:lnTo>
                  <a:lnTo>
                    <a:pt x="3426" y="1800"/>
                  </a:lnTo>
                  <a:lnTo>
                    <a:pt x="3420" y="1794"/>
                  </a:lnTo>
                  <a:lnTo>
                    <a:pt x="3414" y="1782"/>
                  </a:lnTo>
                  <a:lnTo>
                    <a:pt x="3414" y="1776"/>
                  </a:lnTo>
                  <a:lnTo>
                    <a:pt x="3408" y="1770"/>
                  </a:lnTo>
                  <a:lnTo>
                    <a:pt x="3390" y="1770"/>
                  </a:lnTo>
                  <a:lnTo>
                    <a:pt x="3378" y="1764"/>
                  </a:lnTo>
                  <a:lnTo>
                    <a:pt x="3366" y="1764"/>
                  </a:lnTo>
                  <a:lnTo>
                    <a:pt x="3354" y="1746"/>
                  </a:lnTo>
                  <a:lnTo>
                    <a:pt x="3342" y="1746"/>
                  </a:lnTo>
                  <a:lnTo>
                    <a:pt x="3336" y="1734"/>
                  </a:lnTo>
                  <a:lnTo>
                    <a:pt x="3324" y="1728"/>
                  </a:lnTo>
                  <a:lnTo>
                    <a:pt x="3294" y="1728"/>
                  </a:lnTo>
                  <a:lnTo>
                    <a:pt x="3288" y="1734"/>
                  </a:lnTo>
                  <a:lnTo>
                    <a:pt x="3282" y="1734"/>
                  </a:lnTo>
                  <a:lnTo>
                    <a:pt x="3246" y="1686"/>
                  </a:lnTo>
                  <a:lnTo>
                    <a:pt x="3252" y="1698"/>
                  </a:lnTo>
                  <a:lnTo>
                    <a:pt x="3264" y="1704"/>
                  </a:lnTo>
                  <a:lnTo>
                    <a:pt x="3270" y="1710"/>
                  </a:lnTo>
                  <a:lnTo>
                    <a:pt x="3282" y="1716"/>
                  </a:lnTo>
                  <a:lnTo>
                    <a:pt x="3294" y="1716"/>
                  </a:lnTo>
                  <a:lnTo>
                    <a:pt x="3300" y="1710"/>
                  </a:lnTo>
                  <a:lnTo>
                    <a:pt x="3306" y="1710"/>
                  </a:lnTo>
                  <a:lnTo>
                    <a:pt x="3336" y="1716"/>
                  </a:lnTo>
                  <a:lnTo>
                    <a:pt x="3348" y="1734"/>
                  </a:lnTo>
                  <a:lnTo>
                    <a:pt x="3366" y="1728"/>
                  </a:lnTo>
                  <a:lnTo>
                    <a:pt x="3408" y="1740"/>
                  </a:lnTo>
                  <a:lnTo>
                    <a:pt x="3390" y="1716"/>
                  </a:lnTo>
                  <a:lnTo>
                    <a:pt x="3372" y="1710"/>
                  </a:lnTo>
                  <a:lnTo>
                    <a:pt x="3372" y="1692"/>
                  </a:lnTo>
                  <a:lnTo>
                    <a:pt x="3360" y="1680"/>
                  </a:lnTo>
                  <a:lnTo>
                    <a:pt x="3348" y="1674"/>
                  </a:lnTo>
                  <a:lnTo>
                    <a:pt x="3330" y="1674"/>
                  </a:lnTo>
                  <a:lnTo>
                    <a:pt x="3318" y="1662"/>
                  </a:lnTo>
                  <a:lnTo>
                    <a:pt x="3318" y="1650"/>
                  </a:lnTo>
                  <a:lnTo>
                    <a:pt x="3312" y="1644"/>
                  </a:lnTo>
                  <a:lnTo>
                    <a:pt x="3312" y="1632"/>
                  </a:lnTo>
                  <a:lnTo>
                    <a:pt x="3234" y="1530"/>
                  </a:lnTo>
                  <a:lnTo>
                    <a:pt x="3198" y="1524"/>
                  </a:lnTo>
                  <a:lnTo>
                    <a:pt x="3162" y="1494"/>
                  </a:lnTo>
                  <a:lnTo>
                    <a:pt x="3144" y="1500"/>
                  </a:lnTo>
                  <a:lnTo>
                    <a:pt x="3138" y="1488"/>
                  </a:lnTo>
                  <a:lnTo>
                    <a:pt x="3132" y="1482"/>
                  </a:lnTo>
                  <a:lnTo>
                    <a:pt x="3132" y="1470"/>
                  </a:lnTo>
                  <a:lnTo>
                    <a:pt x="3126" y="1464"/>
                  </a:lnTo>
                  <a:lnTo>
                    <a:pt x="3138" y="1452"/>
                  </a:lnTo>
                  <a:lnTo>
                    <a:pt x="3150" y="1446"/>
                  </a:lnTo>
                  <a:lnTo>
                    <a:pt x="3156" y="1434"/>
                  </a:lnTo>
                  <a:lnTo>
                    <a:pt x="3162" y="1428"/>
                  </a:lnTo>
                  <a:lnTo>
                    <a:pt x="3168" y="1416"/>
                  </a:lnTo>
                  <a:lnTo>
                    <a:pt x="3168" y="1410"/>
                  </a:lnTo>
                  <a:lnTo>
                    <a:pt x="3162" y="1398"/>
                  </a:lnTo>
                  <a:lnTo>
                    <a:pt x="3162" y="1392"/>
                  </a:lnTo>
                  <a:lnTo>
                    <a:pt x="3156" y="1380"/>
                  </a:lnTo>
                  <a:lnTo>
                    <a:pt x="3168" y="1386"/>
                  </a:lnTo>
                  <a:lnTo>
                    <a:pt x="3174" y="1392"/>
                  </a:lnTo>
                  <a:lnTo>
                    <a:pt x="3186" y="1398"/>
                  </a:lnTo>
                  <a:lnTo>
                    <a:pt x="3198" y="1386"/>
                  </a:lnTo>
                  <a:lnTo>
                    <a:pt x="3198" y="1368"/>
                  </a:lnTo>
                  <a:lnTo>
                    <a:pt x="3192" y="1356"/>
                  </a:lnTo>
                  <a:lnTo>
                    <a:pt x="3192" y="1344"/>
                  </a:lnTo>
                  <a:lnTo>
                    <a:pt x="3216" y="1344"/>
                  </a:lnTo>
                  <a:lnTo>
                    <a:pt x="3252" y="1320"/>
                  </a:lnTo>
                  <a:lnTo>
                    <a:pt x="3264" y="1320"/>
                  </a:lnTo>
                  <a:lnTo>
                    <a:pt x="3270" y="1326"/>
                  </a:lnTo>
                  <a:lnTo>
                    <a:pt x="3294" y="1326"/>
                  </a:lnTo>
                  <a:lnTo>
                    <a:pt x="3294" y="1320"/>
                  </a:lnTo>
                  <a:lnTo>
                    <a:pt x="3288" y="1314"/>
                  </a:lnTo>
                  <a:lnTo>
                    <a:pt x="3288" y="1308"/>
                  </a:lnTo>
                  <a:lnTo>
                    <a:pt x="3282" y="1302"/>
                  </a:lnTo>
                  <a:lnTo>
                    <a:pt x="3288" y="1278"/>
                  </a:lnTo>
                  <a:lnTo>
                    <a:pt x="3258" y="1278"/>
                  </a:lnTo>
                  <a:lnTo>
                    <a:pt x="3246" y="1266"/>
                  </a:lnTo>
                  <a:lnTo>
                    <a:pt x="3240" y="1278"/>
                  </a:lnTo>
                  <a:lnTo>
                    <a:pt x="3204" y="1278"/>
                  </a:lnTo>
                  <a:lnTo>
                    <a:pt x="3198" y="1272"/>
                  </a:lnTo>
                  <a:lnTo>
                    <a:pt x="3192" y="1260"/>
                  </a:lnTo>
                  <a:lnTo>
                    <a:pt x="3180" y="1254"/>
                  </a:lnTo>
                  <a:lnTo>
                    <a:pt x="3174" y="1248"/>
                  </a:lnTo>
                  <a:lnTo>
                    <a:pt x="3150" y="1248"/>
                  </a:lnTo>
                  <a:lnTo>
                    <a:pt x="3144" y="1260"/>
                  </a:lnTo>
                  <a:lnTo>
                    <a:pt x="3132" y="1266"/>
                  </a:lnTo>
                  <a:lnTo>
                    <a:pt x="3114" y="1284"/>
                  </a:lnTo>
                  <a:lnTo>
                    <a:pt x="3114" y="1296"/>
                  </a:lnTo>
                  <a:lnTo>
                    <a:pt x="3108" y="1302"/>
                  </a:lnTo>
                  <a:lnTo>
                    <a:pt x="3108" y="1308"/>
                  </a:lnTo>
                  <a:lnTo>
                    <a:pt x="3078" y="1308"/>
                  </a:lnTo>
                  <a:lnTo>
                    <a:pt x="3054" y="1296"/>
                  </a:lnTo>
                  <a:lnTo>
                    <a:pt x="3048" y="1290"/>
                  </a:lnTo>
                  <a:lnTo>
                    <a:pt x="3042" y="1278"/>
                  </a:lnTo>
                  <a:lnTo>
                    <a:pt x="3030" y="1242"/>
                  </a:lnTo>
                  <a:lnTo>
                    <a:pt x="3024" y="1230"/>
                  </a:lnTo>
                  <a:lnTo>
                    <a:pt x="3018" y="1224"/>
                  </a:lnTo>
                  <a:lnTo>
                    <a:pt x="3006" y="1224"/>
                  </a:lnTo>
                  <a:lnTo>
                    <a:pt x="3000" y="1230"/>
                  </a:lnTo>
                  <a:lnTo>
                    <a:pt x="3000" y="1242"/>
                  </a:lnTo>
                  <a:lnTo>
                    <a:pt x="2988" y="1224"/>
                  </a:lnTo>
                  <a:lnTo>
                    <a:pt x="2952" y="1224"/>
                  </a:lnTo>
                  <a:lnTo>
                    <a:pt x="2940" y="1218"/>
                  </a:lnTo>
                  <a:lnTo>
                    <a:pt x="2934" y="1212"/>
                  </a:lnTo>
                  <a:lnTo>
                    <a:pt x="2928" y="1200"/>
                  </a:lnTo>
                  <a:lnTo>
                    <a:pt x="2916" y="1194"/>
                  </a:lnTo>
                  <a:lnTo>
                    <a:pt x="2910" y="1182"/>
                  </a:lnTo>
                  <a:lnTo>
                    <a:pt x="2910" y="1140"/>
                  </a:lnTo>
                  <a:lnTo>
                    <a:pt x="2928" y="1140"/>
                  </a:lnTo>
                  <a:lnTo>
                    <a:pt x="2940" y="1152"/>
                  </a:lnTo>
                  <a:lnTo>
                    <a:pt x="2946" y="1152"/>
                  </a:lnTo>
                  <a:lnTo>
                    <a:pt x="2952" y="1146"/>
                  </a:lnTo>
                  <a:lnTo>
                    <a:pt x="2952" y="1140"/>
                  </a:lnTo>
                  <a:lnTo>
                    <a:pt x="2958" y="1134"/>
                  </a:lnTo>
                  <a:lnTo>
                    <a:pt x="2964" y="1134"/>
                  </a:lnTo>
                  <a:lnTo>
                    <a:pt x="2970" y="1140"/>
                  </a:lnTo>
                  <a:lnTo>
                    <a:pt x="2982" y="1140"/>
                  </a:lnTo>
                  <a:lnTo>
                    <a:pt x="2994" y="1134"/>
                  </a:lnTo>
                  <a:lnTo>
                    <a:pt x="3000" y="1128"/>
                  </a:lnTo>
                  <a:lnTo>
                    <a:pt x="3000" y="1116"/>
                  </a:lnTo>
                  <a:lnTo>
                    <a:pt x="2994" y="1110"/>
                  </a:lnTo>
                  <a:lnTo>
                    <a:pt x="2994" y="1086"/>
                  </a:lnTo>
                  <a:lnTo>
                    <a:pt x="3000" y="1074"/>
                  </a:lnTo>
                  <a:lnTo>
                    <a:pt x="3000" y="1068"/>
                  </a:lnTo>
                  <a:lnTo>
                    <a:pt x="3036" y="1068"/>
                  </a:lnTo>
                  <a:lnTo>
                    <a:pt x="3042" y="1062"/>
                  </a:lnTo>
                  <a:lnTo>
                    <a:pt x="3048" y="1050"/>
                  </a:lnTo>
                  <a:lnTo>
                    <a:pt x="3048" y="1038"/>
                  </a:lnTo>
                  <a:lnTo>
                    <a:pt x="3054" y="1032"/>
                  </a:lnTo>
                  <a:lnTo>
                    <a:pt x="3054" y="1026"/>
                  </a:lnTo>
                  <a:lnTo>
                    <a:pt x="3072" y="1014"/>
                  </a:lnTo>
                  <a:lnTo>
                    <a:pt x="3060" y="1002"/>
                  </a:lnTo>
                  <a:lnTo>
                    <a:pt x="3096" y="1014"/>
                  </a:lnTo>
                  <a:lnTo>
                    <a:pt x="3114" y="996"/>
                  </a:lnTo>
                  <a:lnTo>
                    <a:pt x="3126" y="1002"/>
                  </a:lnTo>
                  <a:lnTo>
                    <a:pt x="3132" y="1014"/>
                  </a:lnTo>
                  <a:lnTo>
                    <a:pt x="3144" y="1020"/>
                  </a:lnTo>
                  <a:lnTo>
                    <a:pt x="3156" y="1044"/>
                  </a:lnTo>
                  <a:lnTo>
                    <a:pt x="3156" y="1050"/>
                  </a:lnTo>
                  <a:lnTo>
                    <a:pt x="3144" y="1074"/>
                  </a:lnTo>
                  <a:lnTo>
                    <a:pt x="3126" y="1092"/>
                  </a:lnTo>
                  <a:lnTo>
                    <a:pt x="3126" y="1104"/>
                  </a:lnTo>
                  <a:lnTo>
                    <a:pt x="3132" y="1116"/>
                  </a:lnTo>
                  <a:lnTo>
                    <a:pt x="3144" y="1128"/>
                  </a:lnTo>
                  <a:lnTo>
                    <a:pt x="3150" y="1128"/>
                  </a:lnTo>
                  <a:lnTo>
                    <a:pt x="3162" y="1122"/>
                  </a:lnTo>
                  <a:lnTo>
                    <a:pt x="3168" y="1122"/>
                  </a:lnTo>
                  <a:lnTo>
                    <a:pt x="3162" y="1152"/>
                  </a:lnTo>
                  <a:lnTo>
                    <a:pt x="3144" y="1170"/>
                  </a:lnTo>
                  <a:lnTo>
                    <a:pt x="3144" y="1176"/>
                  </a:lnTo>
                  <a:lnTo>
                    <a:pt x="3150" y="1176"/>
                  </a:lnTo>
                  <a:lnTo>
                    <a:pt x="3162" y="1170"/>
                  </a:lnTo>
                  <a:lnTo>
                    <a:pt x="3168" y="1164"/>
                  </a:lnTo>
                  <a:lnTo>
                    <a:pt x="3180" y="1158"/>
                  </a:lnTo>
                  <a:lnTo>
                    <a:pt x="3186" y="1158"/>
                  </a:lnTo>
                  <a:lnTo>
                    <a:pt x="3198" y="1146"/>
                  </a:lnTo>
                  <a:lnTo>
                    <a:pt x="3198" y="1122"/>
                  </a:lnTo>
                  <a:lnTo>
                    <a:pt x="3204" y="1122"/>
                  </a:lnTo>
                  <a:lnTo>
                    <a:pt x="3210" y="1116"/>
                  </a:lnTo>
                  <a:lnTo>
                    <a:pt x="3258" y="1092"/>
                  </a:lnTo>
                  <a:lnTo>
                    <a:pt x="3264" y="1086"/>
                  </a:lnTo>
                  <a:lnTo>
                    <a:pt x="3306" y="1086"/>
                  </a:lnTo>
                  <a:lnTo>
                    <a:pt x="3312" y="1074"/>
                  </a:lnTo>
                  <a:lnTo>
                    <a:pt x="3312" y="1062"/>
                  </a:lnTo>
                  <a:lnTo>
                    <a:pt x="3318" y="1056"/>
                  </a:lnTo>
                  <a:lnTo>
                    <a:pt x="3324" y="1044"/>
                  </a:lnTo>
                  <a:lnTo>
                    <a:pt x="3360" y="1026"/>
                  </a:lnTo>
                  <a:lnTo>
                    <a:pt x="3372" y="1014"/>
                  </a:lnTo>
                  <a:lnTo>
                    <a:pt x="3390" y="978"/>
                  </a:lnTo>
                  <a:lnTo>
                    <a:pt x="3390" y="948"/>
                  </a:lnTo>
                  <a:lnTo>
                    <a:pt x="3396" y="942"/>
                  </a:lnTo>
                  <a:lnTo>
                    <a:pt x="3396" y="936"/>
                  </a:lnTo>
                  <a:lnTo>
                    <a:pt x="3408" y="936"/>
                  </a:lnTo>
                  <a:lnTo>
                    <a:pt x="3420" y="942"/>
                  </a:lnTo>
                  <a:lnTo>
                    <a:pt x="3432" y="954"/>
                  </a:lnTo>
                  <a:lnTo>
                    <a:pt x="3444" y="954"/>
                  </a:lnTo>
                  <a:lnTo>
                    <a:pt x="3456" y="960"/>
                  </a:lnTo>
                  <a:lnTo>
                    <a:pt x="3504" y="960"/>
                  </a:lnTo>
                  <a:lnTo>
                    <a:pt x="3504" y="948"/>
                  </a:lnTo>
                  <a:lnTo>
                    <a:pt x="3498" y="948"/>
                  </a:lnTo>
                  <a:lnTo>
                    <a:pt x="3474" y="924"/>
                  </a:lnTo>
                  <a:lnTo>
                    <a:pt x="3474" y="912"/>
                  </a:lnTo>
                  <a:lnTo>
                    <a:pt x="3480" y="906"/>
                  </a:lnTo>
                  <a:lnTo>
                    <a:pt x="3486" y="912"/>
                  </a:lnTo>
                  <a:lnTo>
                    <a:pt x="3510" y="912"/>
                  </a:lnTo>
                  <a:lnTo>
                    <a:pt x="3522" y="918"/>
                  </a:lnTo>
                  <a:lnTo>
                    <a:pt x="3534" y="912"/>
                  </a:lnTo>
                  <a:lnTo>
                    <a:pt x="3540" y="900"/>
                  </a:lnTo>
                  <a:lnTo>
                    <a:pt x="3540" y="894"/>
                  </a:lnTo>
                  <a:lnTo>
                    <a:pt x="3534" y="882"/>
                  </a:lnTo>
                  <a:lnTo>
                    <a:pt x="3558" y="882"/>
                  </a:lnTo>
                  <a:lnTo>
                    <a:pt x="3558" y="864"/>
                  </a:lnTo>
                  <a:lnTo>
                    <a:pt x="3552" y="852"/>
                  </a:lnTo>
                  <a:lnTo>
                    <a:pt x="3546" y="846"/>
                  </a:lnTo>
                  <a:lnTo>
                    <a:pt x="3546" y="840"/>
                  </a:lnTo>
                  <a:lnTo>
                    <a:pt x="3576" y="840"/>
                  </a:lnTo>
                  <a:lnTo>
                    <a:pt x="3594" y="864"/>
                  </a:lnTo>
                  <a:lnTo>
                    <a:pt x="3600" y="840"/>
                  </a:lnTo>
                  <a:lnTo>
                    <a:pt x="3630" y="846"/>
                  </a:lnTo>
                  <a:lnTo>
                    <a:pt x="3624" y="810"/>
                  </a:lnTo>
                  <a:lnTo>
                    <a:pt x="3618" y="798"/>
                  </a:lnTo>
                  <a:lnTo>
                    <a:pt x="3606" y="786"/>
                  </a:lnTo>
                  <a:lnTo>
                    <a:pt x="3606" y="774"/>
                  </a:lnTo>
                  <a:lnTo>
                    <a:pt x="3600" y="756"/>
                  </a:lnTo>
                  <a:lnTo>
                    <a:pt x="3588" y="744"/>
                  </a:lnTo>
                  <a:lnTo>
                    <a:pt x="3576" y="726"/>
                  </a:lnTo>
                  <a:lnTo>
                    <a:pt x="3564" y="720"/>
                  </a:lnTo>
                  <a:lnTo>
                    <a:pt x="3552" y="708"/>
                  </a:lnTo>
                  <a:lnTo>
                    <a:pt x="3546" y="708"/>
                  </a:lnTo>
                  <a:lnTo>
                    <a:pt x="3540" y="696"/>
                  </a:lnTo>
                  <a:lnTo>
                    <a:pt x="3540" y="684"/>
                  </a:lnTo>
                  <a:lnTo>
                    <a:pt x="3564" y="684"/>
                  </a:lnTo>
                  <a:lnTo>
                    <a:pt x="3564" y="672"/>
                  </a:lnTo>
                  <a:lnTo>
                    <a:pt x="3558" y="666"/>
                  </a:lnTo>
                  <a:lnTo>
                    <a:pt x="3564" y="660"/>
                  </a:lnTo>
                  <a:lnTo>
                    <a:pt x="3588" y="660"/>
                  </a:lnTo>
                  <a:lnTo>
                    <a:pt x="3600" y="666"/>
                  </a:lnTo>
                  <a:lnTo>
                    <a:pt x="3618" y="672"/>
                  </a:lnTo>
                  <a:lnTo>
                    <a:pt x="3630" y="672"/>
                  </a:lnTo>
                  <a:lnTo>
                    <a:pt x="3642" y="678"/>
                  </a:lnTo>
                  <a:lnTo>
                    <a:pt x="3648" y="678"/>
                  </a:lnTo>
                  <a:lnTo>
                    <a:pt x="3654" y="672"/>
                  </a:lnTo>
                  <a:lnTo>
                    <a:pt x="3654" y="660"/>
                  </a:lnTo>
                  <a:lnTo>
                    <a:pt x="3648" y="648"/>
                  </a:lnTo>
                  <a:lnTo>
                    <a:pt x="3648" y="630"/>
                  </a:lnTo>
                  <a:lnTo>
                    <a:pt x="3654" y="630"/>
                  </a:lnTo>
                  <a:lnTo>
                    <a:pt x="3660" y="624"/>
                  </a:lnTo>
                  <a:close/>
                </a:path>
              </a:pathLst>
            </a:custGeom>
            <a:solidFill>
              <a:srgbClr val="B1B1B0"/>
            </a:solidFill>
            <a:ln w="6350">
              <a:solidFill>
                <a:srgbClr val="B1B1B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Lato"/>
                <a:ea typeface="+mn-ea"/>
                <a:cs typeface="+mn-cs"/>
              </a:endParaRPr>
            </a:p>
          </p:txBody>
        </p:sp>
        <p:sp>
          <p:nvSpPr>
            <p:cNvPr id="487" name="Cambodia" descr="© INSCALE GmbH, 05.05.2010&#10;http://www.presentationload.com/">
              <a:extLst>
                <a:ext uri="{FF2B5EF4-FFF2-40B4-BE49-F238E27FC236}">
                  <a16:creationId xmlns:a16="http://schemas.microsoft.com/office/drawing/2014/main" id="{21E2C605-6FB6-8CFF-0FEE-4C58DD0DA991}"/>
                </a:ext>
              </a:extLst>
            </p:cNvPr>
            <p:cNvSpPr>
              <a:spLocks/>
            </p:cNvSpPr>
            <p:nvPr/>
          </p:nvSpPr>
          <p:spPr bwMode="gray">
            <a:xfrm>
              <a:off x="9074521" y="3809541"/>
              <a:ext cx="188351" cy="166992"/>
            </a:xfrm>
            <a:custGeom>
              <a:avLst/>
              <a:gdLst>
                <a:gd name="T0" fmla="*/ 2147483647 w 378"/>
                <a:gd name="T1" fmla="*/ 2147483647 h 336"/>
                <a:gd name="T2" fmla="*/ 2147483647 w 378"/>
                <a:gd name="T3" fmla="*/ 2147483647 h 336"/>
                <a:gd name="T4" fmla="*/ 2147483647 w 378"/>
                <a:gd name="T5" fmla="*/ 2147483647 h 336"/>
                <a:gd name="T6" fmla="*/ 2147483647 w 378"/>
                <a:gd name="T7" fmla="*/ 2147483647 h 336"/>
                <a:gd name="T8" fmla="*/ 2147483647 w 378"/>
                <a:gd name="T9" fmla="*/ 2147483647 h 336"/>
                <a:gd name="T10" fmla="*/ 2147483647 w 378"/>
                <a:gd name="T11" fmla="*/ 2147483647 h 336"/>
                <a:gd name="T12" fmla="*/ 2147483647 w 378"/>
                <a:gd name="T13" fmla="*/ 2147483647 h 336"/>
                <a:gd name="T14" fmla="*/ 2147483647 w 378"/>
                <a:gd name="T15" fmla="*/ 2147483647 h 336"/>
                <a:gd name="T16" fmla="*/ 2147483647 w 378"/>
                <a:gd name="T17" fmla="*/ 2147483647 h 336"/>
                <a:gd name="T18" fmla="*/ 2147483647 w 378"/>
                <a:gd name="T19" fmla="*/ 2147483647 h 336"/>
                <a:gd name="T20" fmla="*/ 2147483647 w 378"/>
                <a:gd name="T21" fmla="*/ 2147483647 h 336"/>
                <a:gd name="T22" fmla="*/ 2147483647 w 378"/>
                <a:gd name="T23" fmla="*/ 2147483647 h 336"/>
                <a:gd name="T24" fmla="*/ 2147483647 w 378"/>
                <a:gd name="T25" fmla="*/ 2147483647 h 336"/>
                <a:gd name="T26" fmla="*/ 2147483647 w 378"/>
                <a:gd name="T27" fmla="*/ 2147483647 h 336"/>
                <a:gd name="T28" fmla="*/ 0 w 378"/>
                <a:gd name="T29" fmla="*/ 2147483647 h 336"/>
                <a:gd name="T30" fmla="*/ 2147483647 w 378"/>
                <a:gd name="T31" fmla="*/ 2147483647 h 336"/>
                <a:gd name="T32" fmla="*/ 2147483647 w 378"/>
                <a:gd name="T33" fmla="*/ 2147483647 h 336"/>
                <a:gd name="T34" fmla="*/ 2147483647 w 378"/>
                <a:gd name="T35" fmla="*/ 2147483647 h 336"/>
                <a:gd name="T36" fmla="*/ 2147483647 w 378"/>
                <a:gd name="T37" fmla="*/ 2147483647 h 336"/>
                <a:gd name="T38" fmla="*/ 2147483647 w 378"/>
                <a:gd name="T39" fmla="*/ 2147483647 h 336"/>
                <a:gd name="T40" fmla="*/ 2147483647 w 378"/>
                <a:gd name="T41" fmla="*/ 2147483647 h 336"/>
                <a:gd name="T42" fmla="*/ 2147483647 w 378"/>
                <a:gd name="T43" fmla="*/ 2147483647 h 336"/>
                <a:gd name="T44" fmla="*/ 2147483647 w 378"/>
                <a:gd name="T45" fmla="*/ 2147483647 h 336"/>
                <a:gd name="T46" fmla="*/ 2147483647 w 378"/>
                <a:gd name="T47" fmla="*/ 2147483647 h 336"/>
                <a:gd name="T48" fmla="*/ 2147483647 w 378"/>
                <a:gd name="T49" fmla="*/ 2147483647 h 336"/>
                <a:gd name="T50" fmla="*/ 2147483647 w 378"/>
                <a:gd name="T51" fmla="*/ 2147483647 h 336"/>
                <a:gd name="T52" fmla="*/ 2147483647 w 378"/>
                <a:gd name="T53" fmla="*/ 2147483647 h 336"/>
                <a:gd name="T54" fmla="*/ 2147483647 w 378"/>
                <a:gd name="T55" fmla="*/ 2147483647 h 336"/>
                <a:gd name="T56" fmla="*/ 2147483647 w 378"/>
                <a:gd name="T57" fmla="*/ 2147483647 h 336"/>
                <a:gd name="T58" fmla="*/ 2147483647 w 378"/>
                <a:gd name="T59" fmla="*/ 2147483647 h 336"/>
                <a:gd name="T60" fmla="*/ 2147483647 w 378"/>
                <a:gd name="T61" fmla="*/ 2147483647 h 336"/>
                <a:gd name="T62" fmla="*/ 2147483647 w 378"/>
                <a:gd name="T63" fmla="*/ 2147483647 h 336"/>
                <a:gd name="T64" fmla="*/ 2147483647 w 378"/>
                <a:gd name="T65" fmla="*/ 2147483647 h 336"/>
                <a:gd name="T66" fmla="*/ 2147483647 w 378"/>
                <a:gd name="T67" fmla="*/ 2147483647 h 336"/>
                <a:gd name="T68" fmla="*/ 2147483647 w 378"/>
                <a:gd name="T69" fmla="*/ 2147483647 h 336"/>
                <a:gd name="T70" fmla="*/ 2147483647 w 378"/>
                <a:gd name="T71" fmla="*/ 2147483647 h 336"/>
                <a:gd name="T72" fmla="*/ 2147483647 w 378"/>
                <a:gd name="T73" fmla="*/ 2147483647 h 336"/>
                <a:gd name="T74" fmla="*/ 2147483647 w 378"/>
                <a:gd name="T75" fmla="*/ 2147483647 h 336"/>
                <a:gd name="T76" fmla="*/ 2147483647 w 378"/>
                <a:gd name="T77" fmla="*/ 2147483647 h 336"/>
                <a:gd name="T78" fmla="*/ 2147483647 w 378"/>
                <a:gd name="T79" fmla="*/ 2147483647 h 336"/>
                <a:gd name="T80" fmla="*/ 2147483647 w 378"/>
                <a:gd name="T81" fmla="*/ 2147483647 h 336"/>
                <a:gd name="T82" fmla="*/ 2147483647 w 378"/>
                <a:gd name="T83" fmla="*/ 2147483647 h 336"/>
                <a:gd name="T84" fmla="*/ 2147483647 w 378"/>
                <a:gd name="T85" fmla="*/ 2147483647 h 336"/>
                <a:gd name="T86" fmla="*/ 2147483647 w 378"/>
                <a:gd name="T87" fmla="*/ 2147483647 h 336"/>
                <a:gd name="T88" fmla="*/ 2147483647 w 378"/>
                <a:gd name="T89" fmla="*/ 2147483647 h 336"/>
                <a:gd name="T90" fmla="*/ 2147483647 w 378"/>
                <a:gd name="T91" fmla="*/ 2147483647 h 336"/>
                <a:gd name="T92" fmla="*/ 2147483647 w 378"/>
                <a:gd name="T93" fmla="*/ 2147483647 h 336"/>
                <a:gd name="T94" fmla="*/ 2147483647 w 378"/>
                <a:gd name="T95" fmla="*/ 0 h 3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8"/>
                <a:gd name="T145" fmla="*/ 0 h 336"/>
                <a:gd name="T146" fmla="*/ 378 w 378"/>
                <a:gd name="T147" fmla="*/ 336 h 3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8" h="336">
                  <a:moveTo>
                    <a:pt x="324" y="0"/>
                  </a:moveTo>
                  <a:lnTo>
                    <a:pt x="312" y="12"/>
                  </a:lnTo>
                  <a:lnTo>
                    <a:pt x="276" y="0"/>
                  </a:lnTo>
                  <a:lnTo>
                    <a:pt x="264" y="12"/>
                  </a:lnTo>
                  <a:lnTo>
                    <a:pt x="246" y="24"/>
                  </a:lnTo>
                  <a:lnTo>
                    <a:pt x="258" y="36"/>
                  </a:lnTo>
                  <a:lnTo>
                    <a:pt x="258" y="48"/>
                  </a:lnTo>
                  <a:lnTo>
                    <a:pt x="252" y="54"/>
                  </a:lnTo>
                  <a:lnTo>
                    <a:pt x="240" y="54"/>
                  </a:lnTo>
                  <a:lnTo>
                    <a:pt x="228" y="42"/>
                  </a:lnTo>
                  <a:lnTo>
                    <a:pt x="228" y="36"/>
                  </a:lnTo>
                  <a:lnTo>
                    <a:pt x="222" y="36"/>
                  </a:lnTo>
                  <a:lnTo>
                    <a:pt x="216" y="30"/>
                  </a:lnTo>
                  <a:lnTo>
                    <a:pt x="192" y="30"/>
                  </a:lnTo>
                  <a:lnTo>
                    <a:pt x="192" y="18"/>
                  </a:lnTo>
                  <a:lnTo>
                    <a:pt x="186" y="18"/>
                  </a:lnTo>
                  <a:lnTo>
                    <a:pt x="186" y="24"/>
                  </a:lnTo>
                  <a:lnTo>
                    <a:pt x="180" y="18"/>
                  </a:lnTo>
                  <a:lnTo>
                    <a:pt x="168" y="12"/>
                  </a:lnTo>
                  <a:lnTo>
                    <a:pt x="138" y="12"/>
                  </a:lnTo>
                  <a:lnTo>
                    <a:pt x="126" y="18"/>
                  </a:lnTo>
                  <a:lnTo>
                    <a:pt x="114" y="18"/>
                  </a:lnTo>
                  <a:lnTo>
                    <a:pt x="108" y="12"/>
                  </a:lnTo>
                  <a:lnTo>
                    <a:pt x="72" y="12"/>
                  </a:lnTo>
                  <a:lnTo>
                    <a:pt x="54" y="18"/>
                  </a:lnTo>
                  <a:lnTo>
                    <a:pt x="42" y="24"/>
                  </a:lnTo>
                  <a:lnTo>
                    <a:pt x="36" y="30"/>
                  </a:lnTo>
                  <a:lnTo>
                    <a:pt x="30" y="42"/>
                  </a:lnTo>
                  <a:lnTo>
                    <a:pt x="30" y="48"/>
                  </a:lnTo>
                  <a:lnTo>
                    <a:pt x="0" y="78"/>
                  </a:lnTo>
                  <a:lnTo>
                    <a:pt x="6" y="114"/>
                  </a:lnTo>
                  <a:lnTo>
                    <a:pt x="18" y="126"/>
                  </a:lnTo>
                  <a:lnTo>
                    <a:pt x="18" y="156"/>
                  </a:lnTo>
                  <a:lnTo>
                    <a:pt x="30" y="168"/>
                  </a:lnTo>
                  <a:lnTo>
                    <a:pt x="30" y="198"/>
                  </a:lnTo>
                  <a:lnTo>
                    <a:pt x="42" y="210"/>
                  </a:lnTo>
                  <a:lnTo>
                    <a:pt x="48" y="222"/>
                  </a:lnTo>
                  <a:lnTo>
                    <a:pt x="54" y="228"/>
                  </a:lnTo>
                  <a:lnTo>
                    <a:pt x="54" y="234"/>
                  </a:lnTo>
                  <a:lnTo>
                    <a:pt x="42" y="246"/>
                  </a:lnTo>
                  <a:lnTo>
                    <a:pt x="54" y="270"/>
                  </a:lnTo>
                  <a:lnTo>
                    <a:pt x="60" y="276"/>
                  </a:lnTo>
                  <a:lnTo>
                    <a:pt x="72" y="282"/>
                  </a:lnTo>
                  <a:lnTo>
                    <a:pt x="78" y="282"/>
                  </a:lnTo>
                  <a:lnTo>
                    <a:pt x="90" y="270"/>
                  </a:lnTo>
                  <a:lnTo>
                    <a:pt x="90" y="264"/>
                  </a:lnTo>
                  <a:lnTo>
                    <a:pt x="90" y="288"/>
                  </a:lnTo>
                  <a:lnTo>
                    <a:pt x="96" y="300"/>
                  </a:lnTo>
                  <a:lnTo>
                    <a:pt x="102" y="306"/>
                  </a:lnTo>
                  <a:lnTo>
                    <a:pt x="114" y="306"/>
                  </a:lnTo>
                  <a:lnTo>
                    <a:pt x="120" y="300"/>
                  </a:lnTo>
                  <a:lnTo>
                    <a:pt x="132" y="300"/>
                  </a:lnTo>
                  <a:lnTo>
                    <a:pt x="138" y="306"/>
                  </a:lnTo>
                  <a:lnTo>
                    <a:pt x="138" y="312"/>
                  </a:lnTo>
                  <a:lnTo>
                    <a:pt x="150" y="336"/>
                  </a:lnTo>
                  <a:lnTo>
                    <a:pt x="168" y="336"/>
                  </a:lnTo>
                  <a:lnTo>
                    <a:pt x="180" y="324"/>
                  </a:lnTo>
                  <a:lnTo>
                    <a:pt x="192" y="318"/>
                  </a:lnTo>
                  <a:lnTo>
                    <a:pt x="210" y="318"/>
                  </a:lnTo>
                  <a:lnTo>
                    <a:pt x="222" y="312"/>
                  </a:lnTo>
                  <a:lnTo>
                    <a:pt x="222" y="306"/>
                  </a:lnTo>
                  <a:lnTo>
                    <a:pt x="216" y="300"/>
                  </a:lnTo>
                  <a:lnTo>
                    <a:pt x="210" y="300"/>
                  </a:lnTo>
                  <a:lnTo>
                    <a:pt x="204" y="294"/>
                  </a:lnTo>
                  <a:lnTo>
                    <a:pt x="240" y="294"/>
                  </a:lnTo>
                  <a:lnTo>
                    <a:pt x="240" y="288"/>
                  </a:lnTo>
                  <a:lnTo>
                    <a:pt x="246" y="282"/>
                  </a:lnTo>
                  <a:lnTo>
                    <a:pt x="258" y="282"/>
                  </a:lnTo>
                  <a:lnTo>
                    <a:pt x="270" y="288"/>
                  </a:lnTo>
                  <a:lnTo>
                    <a:pt x="276" y="294"/>
                  </a:lnTo>
                  <a:lnTo>
                    <a:pt x="288" y="300"/>
                  </a:lnTo>
                  <a:lnTo>
                    <a:pt x="294" y="306"/>
                  </a:lnTo>
                  <a:lnTo>
                    <a:pt x="294" y="294"/>
                  </a:lnTo>
                  <a:lnTo>
                    <a:pt x="276" y="276"/>
                  </a:lnTo>
                  <a:lnTo>
                    <a:pt x="264" y="252"/>
                  </a:lnTo>
                  <a:lnTo>
                    <a:pt x="264" y="228"/>
                  </a:lnTo>
                  <a:lnTo>
                    <a:pt x="306" y="228"/>
                  </a:lnTo>
                  <a:lnTo>
                    <a:pt x="306" y="204"/>
                  </a:lnTo>
                  <a:lnTo>
                    <a:pt x="336" y="204"/>
                  </a:lnTo>
                  <a:lnTo>
                    <a:pt x="336" y="186"/>
                  </a:lnTo>
                  <a:lnTo>
                    <a:pt x="342" y="180"/>
                  </a:lnTo>
                  <a:lnTo>
                    <a:pt x="360" y="180"/>
                  </a:lnTo>
                  <a:lnTo>
                    <a:pt x="372" y="186"/>
                  </a:lnTo>
                  <a:lnTo>
                    <a:pt x="372" y="156"/>
                  </a:lnTo>
                  <a:lnTo>
                    <a:pt x="366" y="150"/>
                  </a:lnTo>
                  <a:lnTo>
                    <a:pt x="366" y="120"/>
                  </a:lnTo>
                  <a:lnTo>
                    <a:pt x="360" y="114"/>
                  </a:lnTo>
                  <a:lnTo>
                    <a:pt x="360" y="102"/>
                  </a:lnTo>
                  <a:lnTo>
                    <a:pt x="366" y="102"/>
                  </a:lnTo>
                  <a:lnTo>
                    <a:pt x="378" y="90"/>
                  </a:lnTo>
                  <a:lnTo>
                    <a:pt x="378" y="84"/>
                  </a:lnTo>
                  <a:lnTo>
                    <a:pt x="366" y="60"/>
                  </a:lnTo>
                  <a:lnTo>
                    <a:pt x="354" y="48"/>
                  </a:lnTo>
                  <a:lnTo>
                    <a:pt x="348" y="48"/>
                  </a:lnTo>
                  <a:lnTo>
                    <a:pt x="348" y="6"/>
                  </a:lnTo>
                  <a:lnTo>
                    <a:pt x="324" y="0"/>
                  </a:lnTo>
                  <a:close/>
                </a:path>
              </a:pathLst>
            </a:custGeom>
            <a:solidFill>
              <a:srgbClr val="B1B1B0"/>
            </a:solidFill>
            <a:ln w="6350">
              <a:solidFill>
                <a:srgbClr val="B1B1B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Lato"/>
                <a:ea typeface="+mn-ea"/>
                <a:cs typeface="+mn-cs"/>
              </a:endParaRPr>
            </a:p>
          </p:txBody>
        </p:sp>
        <p:sp>
          <p:nvSpPr>
            <p:cNvPr id="488" name="Bhutan" descr="© INSCALE GmbH, 05.05.2010&#10;http://www.presentationload.com/">
              <a:extLst>
                <a:ext uri="{FF2B5EF4-FFF2-40B4-BE49-F238E27FC236}">
                  <a16:creationId xmlns:a16="http://schemas.microsoft.com/office/drawing/2014/main" id="{1CCECD34-5224-A9C6-2DF8-BA5EEDB6162D}"/>
                </a:ext>
              </a:extLst>
            </p:cNvPr>
            <p:cNvSpPr>
              <a:spLocks/>
            </p:cNvSpPr>
            <p:nvPr/>
          </p:nvSpPr>
          <p:spPr bwMode="gray">
            <a:xfrm>
              <a:off x="8528888" y="3258076"/>
              <a:ext cx="116505" cy="66020"/>
            </a:xfrm>
            <a:custGeom>
              <a:avLst/>
              <a:gdLst>
                <a:gd name="T0" fmla="*/ 2147483647 w 234"/>
                <a:gd name="T1" fmla="*/ 2147483647 h 132"/>
                <a:gd name="T2" fmla="*/ 2147483647 w 234"/>
                <a:gd name="T3" fmla="*/ 2147483647 h 132"/>
                <a:gd name="T4" fmla="*/ 2147483647 w 234"/>
                <a:gd name="T5" fmla="*/ 2147483647 h 132"/>
                <a:gd name="T6" fmla="*/ 2147483647 w 234"/>
                <a:gd name="T7" fmla="*/ 2147483647 h 132"/>
                <a:gd name="T8" fmla="*/ 2147483647 w 234"/>
                <a:gd name="T9" fmla="*/ 2147483647 h 132"/>
                <a:gd name="T10" fmla="*/ 2147483647 w 234"/>
                <a:gd name="T11" fmla="*/ 2147483647 h 132"/>
                <a:gd name="T12" fmla="*/ 2147483647 w 234"/>
                <a:gd name="T13" fmla="*/ 2147483647 h 132"/>
                <a:gd name="T14" fmla="*/ 2147483647 w 234"/>
                <a:gd name="T15" fmla="*/ 2147483647 h 132"/>
                <a:gd name="T16" fmla="*/ 2147483647 w 234"/>
                <a:gd name="T17" fmla="*/ 2147483647 h 132"/>
                <a:gd name="T18" fmla="*/ 2147483647 w 234"/>
                <a:gd name="T19" fmla="*/ 2147483647 h 132"/>
                <a:gd name="T20" fmla="*/ 2147483647 w 234"/>
                <a:gd name="T21" fmla="*/ 2147483647 h 132"/>
                <a:gd name="T22" fmla="*/ 2147483647 w 234"/>
                <a:gd name="T23" fmla="*/ 2147483647 h 132"/>
                <a:gd name="T24" fmla="*/ 2147483647 w 234"/>
                <a:gd name="T25" fmla="*/ 2147483647 h 132"/>
                <a:gd name="T26" fmla="*/ 2147483647 w 234"/>
                <a:gd name="T27" fmla="*/ 2147483647 h 132"/>
                <a:gd name="T28" fmla="*/ 2147483647 w 234"/>
                <a:gd name="T29" fmla="*/ 2147483647 h 132"/>
                <a:gd name="T30" fmla="*/ 2147483647 w 234"/>
                <a:gd name="T31" fmla="*/ 2147483647 h 132"/>
                <a:gd name="T32" fmla="*/ 2147483647 w 234"/>
                <a:gd name="T33" fmla="*/ 2147483647 h 132"/>
                <a:gd name="T34" fmla="*/ 2147483647 w 234"/>
                <a:gd name="T35" fmla="*/ 2147483647 h 132"/>
                <a:gd name="T36" fmla="*/ 2147483647 w 234"/>
                <a:gd name="T37" fmla="*/ 2147483647 h 132"/>
                <a:gd name="T38" fmla="*/ 2147483647 w 234"/>
                <a:gd name="T39" fmla="*/ 2147483647 h 132"/>
                <a:gd name="T40" fmla="*/ 2147483647 w 234"/>
                <a:gd name="T41" fmla="*/ 2147483647 h 132"/>
                <a:gd name="T42" fmla="*/ 2147483647 w 234"/>
                <a:gd name="T43" fmla="*/ 2147483647 h 132"/>
                <a:gd name="T44" fmla="*/ 2147483647 w 234"/>
                <a:gd name="T45" fmla="*/ 2147483647 h 132"/>
                <a:gd name="T46" fmla="*/ 2147483647 w 234"/>
                <a:gd name="T47" fmla="*/ 2147483647 h 132"/>
                <a:gd name="T48" fmla="*/ 2147483647 w 234"/>
                <a:gd name="T49" fmla="*/ 2147483647 h 132"/>
                <a:gd name="T50" fmla="*/ 2147483647 w 234"/>
                <a:gd name="T51" fmla="*/ 2147483647 h 132"/>
                <a:gd name="T52" fmla="*/ 2147483647 w 234"/>
                <a:gd name="T53" fmla="*/ 2147483647 h 132"/>
                <a:gd name="T54" fmla="*/ 2147483647 w 234"/>
                <a:gd name="T55" fmla="*/ 2147483647 h 132"/>
                <a:gd name="T56" fmla="*/ 2147483647 w 234"/>
                <a:gd name="T57" fmla="*/ 2147483647 h 132"/>
                <a:gd name="T58" fmla="*/ 2147483647 w 234"/>
                <a:gd name="T59" fmla="*/ 0 h 132"/>
                <a:gd name="T60" fmla="*/ 2147483647 w 234"/>
                <a:gd name="T61" fmla="*/ 0 h 132"/>
                <a:gd name="T62" fmla="*/ 2147483647 w 234"/>
                <a:gd name="T63" fmla="*/ 2147483647 h 132"/>
                <a:gd name="T64" fmla="*/ 2147483647 w 234"/>
                <a:gd name="T65" fmla="*/ 2147483647 h 132"/>
                <a:gd name="T66" fmla="*/ 2147483647 w 234"/>
                <a:gd name="T67" fmla="*/ 2147483647 h 132"/>
                <a:gd name="T68" fmla="*/ 2147483647 w 234"/>
                <a:gd name="T69" fmla="*/ 2147483647 h 132"/>
                <a:gd name="T70" fmla="*/ 2147483647 w 234"/>
                <a:gd name="T71" fmla="*/ 2147483647 h 132"/>
                <a:gd name="T72" fmla="*/ 2147483647 w 234"/>
                <a:gd name="T73" fmla="*/ 2147483647 h 132"/>
                <a:gd name="T74" fmla="*/ 2147483647 w 234"/>
                <a:gd name="T75" fmla="*/ 2147483647 h 132"/>
                <a:gd name="T76" fmla="*/ 0 w 234"/>
                <a:gd name="T77" fmla="*/ 2147483647 h 132"/>
                <a:gd name="T78" fmla="*/ 0 w 234"/>
                <a:gd name="T79" fmla="*/ 2147483647 h 132"/>
                <a:gd name="T80" fmla="*/ 2147483647 w 234"/>
                <a:gd name="T81" fmla="*/ 2147483647 h 132"/>
                <a:gd name="T82" fmla="*/ 2147483647 w 234"/>
                <a:gd name="T83" fmla="*/ 2147483647 h 132"/>
                <a:gd name="T84" fmla="*/ 2147483647 w 234"/>
                <a:gd name="T85" fmla="*/ 2147483647 h 132"/>
                <a:gd name="T86" fmla="*/ 2147483647 w 234"/>
                <a:gd name="T87" fmla="*/ 2147483647 h 132"/>
                <a:gd name="T88" fmla="*/ 2147483647 w 234"/>
                <a:gd name="T89" fmla="*/ 2147483647 h 132"/>
                <a:gd name="T90" fmla="*/ 2147483647 w 234"/>
                <a:gd name="T91" fmla="*/ 2147483647 h 132"/>
                <a:gd name="T92" fmla="*/ 2147483647 w 234"/>
                <a:gd name="T93" fmla="*/ 2147483647 h 13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34"/>
                <a:gd name="T142" fmla="*/ 0 h 132"/>
                <a:gd name="T143" fmla="*/ 234 w 234"/>
                <a:gd name="T144" fmla="*/ 132 h 13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34" h="132">
                  <a:moveTo>
                    <a:pt x="78" y="132"/>
                  </a:moveTo>
                  <a:lnTo>
                    <a:pt x="90" y="132"/>
                  </a:lnTo>
                  <a:lnTo>
                    <a:pt x="102" y="126"/>
                  </a:lnTo>
                  <a:lnTo>
                    <a:pt x="108" y="120"/>
                  </a:lnTo>
                  <a:lnTo>
                    <a:pt x="126" y="120"/>
                  </a:lnTo>
                  <a:lnTo>
                    <a:pt x="138" y="126"/>
                  </a:lnTo>
                  <a:lnTo>
                    <a:pt x="168" y="126"/>
                  </a:lnTo>
                  <a:lnTo>
                    <a:pt x="180" y="120"/>
                  </a:lnTo>
                  <a:lnTo>
                    <a:pt x="192" y="120"/>
                  </a:lnTo>
                  <a:lnTo>
                    <a:pt x="198" y="126"/>
                  </a:lnTo>
                  <a:lnTo>
                    <a:pt x="210" y="126"/>
                  </a:lnTo>
                  <a:lnTo>
                    <a:pt x="234" y="114"/>
                  </a:lnTo>
                  <a:lnTo>
                    <a:pt x="234" y="108"/>
                  </a:lnTo>
                  <a:lnTo>
                    <a:pt x="222" y="96"/>
                  </a:lnTo>
                  <a:lnTo>
                    <a:pt x="222" y="72"/>
                  </a:lnTo>
                  <a:lnTo>
                    <a:pt x="198" y="72"/>
                  </a:lnTo>
                  <a:lnTo>
                    <a:pt x="192" y="66"/>
                  </a:lnTo>
                  <a:lnTo>
                    <a:pt x="192" y="42"/>
                  </a:lnTo>
                  <a:lnTo>
                    <a:pt x="186" y="30"/>
                  </a:lnTo>
                  <a:lnTo>
                    <a:pt x="174" y="18"/>
                  </a:lnTo>
                  <a:lnTo>
                    <a:pt x="162" y="12"/>
                  </a:lnTo>
                  <a:lnTo>
                    <a:pt x="150" y="12"/>
                  </a:lnTo>
                  <a:lnTo>
                    <a:pt x="138" y="18"/>
                  </a:lnTo>
                  <a:lnTo>
                    <a:pt x="126" y="18"/>
                  </a:lnTo>
                  <a:lnTo>
                    <a:pt x="114" y="24"/>
                  </a:lnTo>
                  <a:lnTo>
                    <a:pt x="108" y="30"/>
                  </a:lnTo>
                  <a:lnTo>
                    <a:pt x="102" y="30"/>
                  </a:lnTo>
                  <a:lnTo>
                    <a:pt x="102" y="6"/>
                  </a:lnTo>
                  <a:lnTo>
                    <a:pt x="78" y="6"/>
                  </a:lnTo>
                  <a:lnTo>
                    <a:pt x="66" y="0"/>
                  </a:lnTo>
                  <a:lnTo>
                    <a:pt x="54" y="0"/>
                  </a:lnTo>
                  <a:lnTo>
                    <a:pt x="48" y="12"/>
                  </a:lnTo>
                  <a:lnTo>
                    <a:pt x="36" y="24"/>
                  </a:lnTo>
                  <a:lnTo>
                    <a:pt x="30" y="36"/>
                  </a:lnTo>
                  <a:lnTo>
                    <a:pt x="18" y="54"/>
                  </a:lnTo>
                  <a:lnTo>
                    <a:pt x="12" y="66"/>
                  </a:lnTo>
                  <a:lnTo>
                    <a:pt x="6" y="72"/>
                  </a:lnTo>
                  <a:lnTo>
                    <a:pt x="6" y="78"/>
                  </a:lnTo>
                  <a:lnTo>
                    <a:pt x="0" y="78"/>
                  </a:lnTo>
                  <a:lnTo>
                    <a:pt x="0" y="90"/>
                  </a:lnTo>
                  <a:lnTo>
                    <a:pt x="18" y="108"/>
                  </a:lnTo>
                  <a:lnTo>
                    <a:pt x="42" y="120"/>
                  </a:lnTo>
                  <a:lnTo>
                    <a:pt x="54" y="120"/>
                  </a:lnTo>
                  <a:lnTo>
                    <a:pt x="54" y="114"/>
                  </a:lnTo>
                  <a:lnTo>
                    <a:pt x="54" y="120"/>
                  </a:lnTo>
                  <a:lnTo>
                    <a:pt x="66" y="132"/>
                  </a:lnTo>
                  <a:lnTo>
                    <a:pt x="78" y="132"/>
                  </a:lnTo>
                  <a:close/>
                </a:path>
              </a:pathLst>
            </a:custGeom>
            <a:solidFill>
              <a:srgbClr val="B1B1B0"/>
            </a:solidFill>
            <a:ln w="6350">
              <a:solidFill>
                <a:srgbClr val="B1B1B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Lato"/>
                <a:ea typeface="+mn-ea"/>
                <a:cs typeface="+mn-cs"/>
              </a:endParaRPr>
            </a:p>
          </p:txBody>
        </p:sp>
        <p:sp>
          <p:nvSpPr>
            <p:cNvPr id="489" name="Bangladesh" descr="© INSCALE GmbH, 05.05.2010&#10;http://www.presentationload.com/">
              <a:extLst>
                <a:ext uri="{FF2B5EF4-FFF2-40B4-BE49-F238E27FC236}">
                  <a16:creationId xmlns:a16="http://schemas.microsoft.com/office/drawing/2014/main" id="{9FEFA49E-0EB3-DEAC-8616-A95CB5B0E343}"/>
                </a:ext>
              </a:extLst>
            </p:cNvPr>
            <p:cNvSpPr>
              <a:spLocks/>
            </p:cNvSpPr>
            <p:nvPr/>
          </p:nvSpPr>
          <p:spPr bwMode="gray">
            <a:xfrm>
              <a:off x="8513356" y="3329922"/>
              <a:ext cx="186409" cy="211652"/>
            </a:xfrm>
            <a:custGeom>
              <a:avLst/>
              <a:gdLst>
                <a:gd name="T0" fmla="*/ 2147483647 w 372"/>
                <a:gd name="T1" fmla="*/ 2147483647 h 426"/>
                <a:gd name="T2" fmla="*/ 2147483647 w 372"/>
                <a:gd name="T3" fmla="*/ 2147483647 h 426"/>
                <a:gd name="T4" fmla="*/ 2147483647 w 372"/>
                <a:gd name="T5" fmla="*/ 2147483647 h 426"/>
                <a:gd name="T6" fmla="*/ 2147483647 w 372"/>
                <a:gd name="T7" fmla="*/ 2147483647 h 426"/>
                <a:gd name="T8" fmla="*/ 2147483647 w 372"/>
                <a:gd name="T9" fmla="*/ 2147483647 h 426"/>
                <a:gd name="T10" fmla="*/ 2147483647 w 372"/>
                <a:gd name="T11" fmla="*/ 2147483647 h 426"/>
                <a:gd name="T12" fmla="*/ 2147483647 w 372"/>
                <a:gd name="T13" fmla="*/ 2147483647 h 426"/>
                <a:gd name="T14" fmla="*/ 2147483647 w 372"/>
                <a:gd name="T15" fmla="*/ 2147483647 h 426"/>
                <a:gd name="T16" fmla="*/ 2147483647 w 372"/>
                <a:gd name="T17" fmla="*/ 2147483647 h 426"/>
                <a:gd name="T18" fmla="*/ 2147483647 w 372"/>
                <a:gd name="T19" fmla="*/ 2147483647 h 426"/>
                <a:gd name="T20" fmla="*/ 2147483647 w 372"/>
                <a:gd name="T21" fmla="*/ 2147483647 h 426"/>
                <a:gd name="T22" fmla="*/ 2147483647 w 372"/>
                <a:gd name="T23" fmla="*/ 2147483647 h 426"/>
                <a:gd name="T24" fmla="*/ 2147483647 w 372"/>
                <a:gd name="T25" fmla="*/ 2147483647 h 426"/>
                <a:gd name="T26" fmla="*/ 2147483647 w 372"/>
                <a:gd name="T27" fmla="*/ 2147483647 h 426"/>
                <a:gd name="T28" fmla="*/ 2147483647 w 372"/>
                <a:gd name="T29" fmla="*/ 2147483647 h 426"/>
                <a:gd name="T30" fmla="*/ 2147483647 w 372"/>
                <a:gd name="T31" fmla="*/ 2147483647 h 426"/>
                <a:gd name="T32" fmla="*/ 2147483647 w 372"/>
                <a:gd name="T33" fmla="*/ 2147483647 h 426"/>
                <a:gd name="T34" fmla="*/ 2147483647 w 372"/>
                <a:gd name="T35" fmla="*/ 2147483647 h 426"/>
                <a:gd name="T36" fmla="*/ 2147483647 w 372"/>
                <a:gd name="T37" fmla="*/ 2147483647 h 426"/>
                <a:gd name="T38" fmla="*/ 2147483647 w 372"/>
                <a:gd name="T39" fmla="*/ 2147483647 h 426"/>
                <a:gd name="T40" fmla="*/ 2147483647 w 372"/>
                <a:gd name="T41" fmla="*/ 2147483647 h 426"/>
                <a:gd name="T42" fmla="*/ 2147483647 w 372"/>
                <a:gd name="T43" fmla="*/ 2147483647 h 426"/>
                <a:gd name="T44" fmla="*/ 2147483647 w 372"/>
                <a:gd name="T45" fmla="*/ 2147483647 h 426"/>
                <a:gd name="T46" fmla="*/ 2147483647 w 372"/>
                <a:gd name="T47" fmla="*/ 2147483647 h 426"/>
                <a:gd name="T48" fmla="*/ 2147483647 w 372"/>
                <a:gd name="T49" fmla="*/ 2147483647 h 426"/>
                <a:gd name="T50" fmla="*/ 2147483647 w 372"/>
                <a:gd name="T51" fmla="*/ 2147483647 h 426"/>
                <a:gd name="T52" fmla="*/ 2147483647 w 372"/>
                <a:gd name="T53" fmla="*/ 2147483647 h 426"/>
                <a:gd name="T54" fmla="*/ 2147483647 w 372"/>
                <a:gd name="T55" fmla="*/ 2147483647 h 426"/>
                <a:gd name="T56" fmla="*/ 2147483647 w 372"/>
                <a:gd name="T57" fmla="*/ 2147483647 h 426"/>
                <a:gd name="T58" fmla="*/ 2147483647 w 372"/>
                <a:gd name="T59" fmla="*/ 2147483647 h 426"/>
                <a:gd name="T60" fmla="*/ 2147483647 w 372"/>
                <a:gd name="T61" fmla="*/ 2147483647 h 426"/>
                <a:gd name="T62" fmla="*/ 2147483647 w 372"/>
                <a:gd name="T63" fmla="*/ 2147483647 h 426"/>
                <a:gd name="T64" fmla="*/ 2147483647 w 372"/>
                <a:gd name="T65" fmla="*/ 2147483647 h 426"/>
                <a:gd name="T66" fmla="*/ 2147483647 w 372"/>
                <a:gd name="T67" fmla="*/ 2147483647 h 426"/>
                <a:gd name="T68" fmla="*/ 2147483647 w 372"/>
                <a:gd name="T69" fmla="*/ 2147483647 h 426"/>
                <a:gd name="T70" fmla="*/ 2147483647 w 372"/>
                <a:gd name="T71" fmla="*/ 2147483647 h 426"/>
                <a:gd name="T72" fmla="*/ 2147483647 w 372"/>
                <a:gd name="T73" fmla="*/ 2147483647 h 426"/>
                <a:gd name="T74" fmla="*/ 2147483647 w 372"/>
                <a:gd name="T75" fmla="*/ 2147483647 h 426"/>
                <a:gd name="T76" fmla="*/ 2147483647 w 372"/>
                <a:gd name="T77" fmla="*/ 2147483647 h 426"/>
                <a:gd name="T78" fmla="*/ 2147483647 w 372"/>
                <a:gd name="T79" fmla="*/ 2147483647 h 426"/>
                <a:gd name="T80" fmla="*/ 2147483647 w 372"/>
                <a:gd name="T81" fmla="*/ 2147483647 h 426"/>
                <a:gd name="T82" fmla="*/ 2147483647 w 372"/>
                <a:gd name="T83" fmla="*/ 2147483647 h 426"/>
                <a:gd name="T84" fmla="*/ 2147483647 w 372"/>
                <a:gd name="T85" fmla="*/ 0 h 426"/>
                <a:gd name="T86" fmla="*/ 2147483647 w 372"/>
                <a:gd name="T87" fmla="*/ 2147483647 h 426"/>
                <a:gd name="T88" fmla="*/ 0 w 372"/>
                <a:gd name="T89" fmla="*/ 2147483647 h 426"/>
                <a:gd name="T90" fmla="*/ 2147483647 w 372"/>
                <a:gd name="T91" fmla="*/ 2147483647 h 426"/>
                <a:gd name="T92" fmla="*/ 2147483647 w 372"/>
                <a:gd name="T93" fmla="*/ 2147483647 h 426"/>
                <a:gd name="T94" fmla="*/ 2147483647 w 372"/>
                <a:gd name="T95" fmla="*/ 2147483647 h 426"/>
                <a:gd name="T96" fmla="*/ 2147483647 w 372"/>
                <a:gd name="T97" fmla="*/ 2147483647 h 426"/>
                <a:gd name="T98" fmla="*/ 2147483647 w 372"/>
                <a:gd name="T99" fmla="*/ 2147483647 h 426"/>
                <a:gd name="T100" fmla="*/ 2147483647 w 372"/>
                <a:gd name="T101" fmla="*/ 2147483647 h 426"/>
                <a:gd name="T102" fmla="*/ 2147483647 w 372"/>
                <a:gd name="T103" fmla="*/ 2147483647 h 426"/>
                <a:gd name="T104" fmla="*/ 2147483647 w 372"/>
                <a:gd name="T105" fmla="*/ 2147483647 h 426"/>
                <a:gd name="T106" fmla="*/ 2147483647 w 372"/>
                <a:gd name="T107" fmla="*/ 2147483647 h 426"/>
                <a:gd name="T108" fmla="*/ 2147483647 w 372"/>
                <a:gd name="T109" fmla="*/ 2147483647 h 426"/>
                <a:gd name="T110" fmla="*/ 2147483647 w 372"/>
                <a:gd name="T111" fmla="*/ 2147483647 h 426"/>
                <a:gd name="T112" fmla="*/ 2147483647 w 372"/>
                <a:gd name="T113" fmla="*/ 2147483647 h 426"/>
                <a:gd name="T114" fmla="*/ 2147483647 w 372"/>
                <a:gd name="T115" fmla="*/ 2147483647 h 4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72"/>
                <a:gd name="T175" fmla="*/ 0 h 426"/>
                <a:gd name="T176" fmla="*/ 372 w 372"/>
                <a:gd name="T177" fmla="*/ 426 h 4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72" h="426">
                  <a:moveTo>
                    <a:pt x="132" y="414"/>
                  </a:moveTo>
                  <a:lnTo>
                    <a:pt x="138" y="354"/>
                  </a:lnTo>
                  <a:lnTo>
                    <a:pt x="144" y="354"/>
                  </a:lnTo>
                  <a:lnTo>
                    <a:pt x="150" y="360"/>
                  </a:lnTo>
                  <a:lnTo>
                    <a:pt x="162" y="360"/>
                  </a:lnTo>
                  <a:lnTo>
                    <a:pt x="174" y="366"/>
                  </a:lnTo>
                  <a:lnTo>
                    <a:pt x="192" y="372"/>
                  </a:lnTo>
                  <a:lnTo>
                    <a:pt x="216" y="372"/>
                  </a:lnTo>
                  <a:lnTo>
                    <a:pt x="210" y="366"/>
                  </a:lnTo>
                  <a:lnTo>
                    <a:pt x="210" y="348"/>
                  </a:lnTo>
                  <a:lnTo>
                    <a:pt x="204" y="342"/>
                  </a:lnTo>
                  <a:lnTo>
                    <a:pt x="222" y="342"/>
                  </a:lnTo>
                  <a:lnTo>
                    <a:pt x="258" y="360"/>
                  </a:lnTo>
                  <a:lnTo>
                    <a:pt x="270" y="360"/>
                  </a:lnTo>
                  <a:lnTo>
                    <a:pt x="282" y="348"/>
                  </a:lnTo>
                  <a:lnTo>
                    <a:pt x="282" y="336"/>
                  </a:lnTo>
                  <a:lnTo>
                    <a:pt x="270" y="300"/>
                  </a:lnTo>
                  <a:lnTo>
                    <a:pt x="318" y="354"/>
                  </a:lnTo>
                  <a:lnTo>
                    <a:pt x="318" y="360"/>
                  </a:lnTo>
                  <a:lnTo>
                    <a:pt x="312" y="366"/>
                  </a:lnTo>
                  <a:lnTo>
                    <a:pt x="312" y="390"/>
                  </a:lnTo>
                  <a:lnTo>
                    <a:pt x="306" y="402"/>
                  </a:lnTo>
                  <a:lnTo>
                    <a:pt x="306" y="414"/>
                  </a:lnTo>
                  <a:lnTo>
                    <a:pt x="312" y="420"/>
                  </a:lnTo>
                  <a:lnTo>
                    <a:pt x="324" y="420"/>
                  </a:lnTo>
                  <a:lnTo>
                    <a:pt x="330" y="426"/>
                  </a:lnTo>
                  <a:lnTo>
                    <a:pt x="336" y="414"/>
                  </a:lnTo>
                  <a:lnTo>
                    <a:pt x="336" y="408"/>
                  </a:lnTo>
                  <a:lnTo>
                    <a:pt x="372" y="414"/>
                  </a:lnTo>
                  <a:lnTo>
                    <a:pt x="360" y="354"/>
                  </a:lnTo>
                  <a:lnTo>
                    <a:pt x="360" y="348"/>
                  </a:lnTo>
                  <a:lnTo>
                    <a:pt x="354" y="342"/>
                  </a:lnTo>
                  <a:lnTo>
                    <a:pt x="348" y="330"/>
                  </a:lnTo>
                  <a:lnTo>
                    <a:pt x="342" y="312"/>
                  </a:lnTo>
                  <a:lnTo>
                    <a:pt x="336" y="300"/>
                  </a:lnTo>
                  <a:lnTo>
                    <a:pt x="336" y="288"/>
                  </a:lnTo>
                  <a:lnTo>
                    <a:pt x="330" y="276"/>
                  </a:lnTo>
                  <a:lnTo>
                    <a:pt x="330" y="270"/>
                  </a:lnTo>
                  <a:lnTo>
                    <a:pt x="324" y="258"/>
                  </a:lnTo>
                  <a:lnTo>
                    <a:pt x="324" y="240"/>
                  </a:lnTo>
                  <a:lnTo>
                    <a:pt x="318" y="234"/>
                  </a:lnTo>
                  <a:lnTo>
                    <a:pt x="306" y="228"/>
                  </a:lnTo>
                  <a:lnTo>
                    <a:pt x="288" y="228"/>
                  </a:lnTo>
                  <a:lnTo>
                    <a:pt x="288" y="252"/>
                  </a:lnTo>
                  <a:lnTo>
                    <a:pt x="282" y="288"/>
                  </a:lnTo>
                  <a:lnTo>
                    <a:pt x="264" y="264"/>
                  </a:lnTo>
                  <a:lnTo>
                    <a:pt x="258" y="264"/>
                  </a:lnTo>
                  <a:lnTo>
                    <a:pt x="240" y="246"/>
                  </a:lnTo>
                  <a:lnTo>
                    <a:pt x="234" y="234"/>
                  </a:lnTo>
                  <a:lnTo>
                    <a:pt x="234" y="216"/>
                  </a:lnTo>
                  <a:lnTo>
                    <a:pt x="240" y="204"/>
                  </a:lnTo>
                  <a:lnTo>
                    <a:pt x="252" y="192"/>
                  </a:lnTo>
                  <a:lnTo>
                    <a:pt x="258" y="192"/>
                  </a:lnTo>
                  <a:lnTo>
                    <a:pt x="270" y="186"/>
                  </a:lnTo>
                  <a:lnTo>
                    <a:pt x="276" y="186"/>
                  </a:lnTo>
                  <a:lnTo>
                    <a:pt x="282" y="180"/>
                  </a:lnTo>
                  <a:lnTo>
                    <a:pt x="288" y="168"/>
                  </a:lnTo>
                  <a:lnTo>
                    <a:pt x="294" y="150"/>
                  </a:lnTo>
                  <a:lnTo>
                    <a:pt x="294" y="138"/>
                  </a:lnTo>
                  <a:lnTo>
                    <a:pt x="300" y="138"/>
                  </a:lnTo>
                  <a:lnTo>
                    <a:pt x="306" y="132"/>
                  </a:lnTo>
                  <a:lnTo>
                    <a:pt x="306" y="126"/>
                  </a:lnTo>
                  <a:lnTo>
                    <a:pt x="282" y="102"/>
                  </a:lnTo>
                  <a:lnTo>
                    <a:pt x="276" y="102"/>
                  </a:lnTo>
                  <a:lnTo>
                    <a:pt x="228" y="114"/>
                  </a:lnTo>
                  <a:lnTo>
                    <a:pt x="210" y="114"/>
                  </a:lnTo>
                  <a:lnTo>
                    <a:pt x="198" y="108"/>
                  </a:lnTo>
                  <a:lnTo>
                    <a:pt x="138" y="108"/>
                  </a:lnTo>
                  <a:lnTo>
                    <a:pt x="132" y="102"/>
                  </a:lnTo>
                  <a:lnTo>
                    <a:pt x="126" y="102"/>
                  </a:lnTo>
                  <a:lnTo>
                    <a:pt x="126" y="66"/>
                  </a:lnTo>
                  <a:lnTo>
                    <a:pt x="120" y="66"/>
                  </a:lnTo>
                  <a:lnTo>
                    <a:pt x="120" y="36"/>
                  </a:lnTo>
                  <a:lnTo>
                    <a:pt x="114" y="30"/>
                  </a:lnTo>
                  <a:lnTo>
                    <a:pt x="108" y="30"/>
                  </a:lnTo>
                  <a:lnTo>
                    <a:pt x="102" y="24"/>
                  </a:lnTo>
                  <a:lnTo>
                    <a:pt x="96" y="42"/>
                  </a:lnTo>
                  <a:lnTo>
                    <a:pt x="90" y="36"/>
                  </a:lnTo>
                  <a:lnTo>
                    <a:pt x="78" y="36"/>
                  </a:lnTo>
                  <a:lnTo>
                    <a:pt x="72" y="30"/>
                  </a:lnTo>
                  <a:lnTo>
                    <a:pt x="66" y="18"/>
                  </a:lnTo>
                  <a:lnTo>
                    <a:pt x="66" y="12"/>
                  </a:lnTo>
                  <a:lnTo>
                    <a:pt x="60" y="0"/>
                  </a:lnTo>
                  <a:lnTo>
                    <a:pt x="42" y="6"/>
                  </a:lnTo>
                  <a:lnTo>
                    <a:pt x="48" y="12"/>
                  </a:lnTo>
                  <a:lnTo>
                    <a:pt x="24" y="0"/>
                  </a:lnTo>
                  <a:lnTo>
                    <a:pt x="6" y="0"/>
                  </a:lnTo>
                  <a:lnTo>
                    <a:pt x="18" y="18"/>
                  </a:lnTo>
                  <a:lnTo>
                    <a:pt x="6" y="30"/>
                  </a:lnTo>
                  <a:lnTo>
                    <a:pt x="0" y="42"/>
                  </a:lnTo>
                  <a:lnTo>
                    <a:pt x="0" y="48"/>
                  </a:lnTo>
                  <a:lnTo>
                    <a:pt x="6" y="60"/>
                  </a:lnTo>
                  <a:lnTo>
                    <a:pt x="18" y="66"/>
                  </a:lnTo>
                  <a:lnTo>
                    <a:pt x="30" y="78"/>
                  </a:lnTo>
                  <a:lnTo>
                    <a:pt x="36" y="78"/>
                  </a:lnTo>
                  <a:lnTo>
                    <a:pt x="66" y="96"/>
                  </a:lnTo>
                  <a:lnTo>
                    <a:pt x="66" y="108"/>
                  </a:lnTo>
                  <a:lnTo>
                    <a:pt x="30" y="108"/>
                  </a:lnTo>
                  <a:lnTo>
                    <a:pt x="30" y="138"/>
                  </a:lnTo>
                  <a:lnTo>
                    <a:pt x="24" y="138"/>
                  </a:lnTo>
                  <a:lnTo>
                    <a:pt x="12" y="150"/>
                  </a:lnTo>
                  <a:lnTo>
                    <a:pt x="24" y="162"/>
                  </a:lnTo>
                  <a:lnTo>
                    <a:pt x="36" y="168"/>
                  </a:lnTo>
                  <a:lnTo>
                    <a:pt x="54" y="168"/>
                  </a:lnTo>
                  <a:lnTo>
                    <a:pt x="66" y="174"/>
                  </a:lnTo>
                  <a:lnTo>
                    <a:pt x="72" y="180"/>
                  </a:lnTo>
                  <a:lnTo>
                    <a:pt x="72" y="186"/>
                  </a:lnTo>
                  <a:lnTo>
                    <a:pt x="66" y="204"/>
                  </a:lnTo>
                  <a:lnTo>
                    <a:pt x="60" y="210"/>
                  </a:lnTo>
                  <a:lnTo>
                    <a:pt x="54" y="222"/>
                  </a:lnTo>
                  <a:lnTo>
                    <a:pt x="66" y="252"/>
                  </a:lnTo>
                  <a:lnTo>
                    <a:pt x="96" y="276"/>
                  </a:lnTo>
                  <a:lnTo>
                    <a:pt x="96" y="306"/>
                  </a:lnTo>
                  <a:lnTo>
                    <a:pt x="114" y="348"/>
                  </a:lnTo>
                  <a:lnTo>
                    <a:pt x="108" y="378"/>
                  </a:lnTo>
                  <a:lnTo>
                    <a:pt x="132" y="414"/>
                  </a:lnTo>
                  <a:close/>
                </a:path>
              </a:pathLst>
            </a:custGeom>
            <a:solidFill>
              <a:srgbClr val="B1B1B0"/>
            </a:solidFill>
            <a:ln w="6350">
              <a:solidFill>
                <a:srgbClr val="B1B1B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Lato"/>
                <a:ea typeface="+mn-ea"/>
                <a:cs typeface="+mn-cs"/>
              </a:endParaRPr>
            </a:p>
          </p:txBody>
        </p:sp>
        <p:sp>
          <p:nvSpPr>
            <p:cNvPr id="491" name="Rectangle 1">
              <a:extLst>
                <a:ext uri="{FF2B5EF4-FFF2-40B4-BE49-F238E27FC236}">
                  <a16:creationId xmlns:a16="http://schemas.microsoft.com/office/drawing/2014/main" id="{AF928561-12C5-7747-995F-2BBC528B84BB}"/>
                </a:ext>
              </a:extLst>
            </p:cNvPr>
            <p:cNvSpPr/>
            <p:nvPr/>
          </p:nvSpPr>
          <p:spPr>
            <a:xfrm>
              <a:off x="6008654" y="1014659"/>
              <a:ext cx="2908709" cy="1928038"/>
            </a:xfrm>
            <a:custGeom>
              <a:avLst/>
              <a:gdLst>
                <a:gd name="connsiteX0" fmla="*/ 0 w 2281282"/>
                <a:gd name="connsiteY0" fmla="*/ 0 h 1913710"/>
                <a:gd name="connsiteX1" fmla="*/ 2281282 w 2281282"/>
                <a:gd name="connsiteY1" fmla="*/ 0 h 1913710"/>
                <a:gd name="connsiteX2" fmla="*/ 2281282 w 2281282"/>
                <a:gd name="connsiteY2" fmla="*/ 1913710 h 1913710"/>
                <a:gd name="connsiteX3" fmla="*/ 0 w 2281282"/>
                <a:gd name="connsiteY3" fmla="*/ 1913710 h 1913710"/>
                <a:gd name="connsiteX4" fmla="*/ 0 w 2281282"/>
                <a:gd name="connsiteY4" fmla="*/ 0 h 1913710"/>
                <a:gd name="connsiteX0" fmla="*/ 0 w 2893532"/>
                <a:gd name="connsiteY0" fmla="*/ 0 h 1913710"/>
                <a:gd name="connsiteX1" fmla="*/ 2893532 w 2893532"/>
                <a:gd name="connsiteY1" fmla="*/ 63611 h 1913710"/>
                <a:gd name="connsiteX2" fmla="*/ 2281282 w 2893532"/>
                <a:gd name="connsiteY2" fmla="*/ 1913710 h 1913710"/>
                <a:gd name="connsiteX3" fmla="*/ 0 w 2893532"/>
                <a:gd name="connsiteY3" fmla="*/ 1913710 h 1913710"/>
                <a:gd name="connsiteX4" fmla="*/ 0 w 2893532"/>
                <a:gd name="connsiteY4" fmla="*/ 0 h 1913710"/>
                <a:gd name="connsiteX0" fmla="*/ 0 w 2893532"/>
                <a:gd name="connsiteY0" fmla="*/ 0 h 2001174"/>
                <a:gd name="connsiteX1" fmla="*/ 2893532 w 2893532"/>
                <a:gd name="connsiteY1" fmla="*/ 63611 h 2001174"/>
                <a:gd name="connsiteX2" fmla="*/ 2169964 w 2893532"/>
                <a:gd name="connsiteY2" fmla="*/ 2001174 h 2001174"/>
                <a:gd name="connsiteX3" fmla="*/ 0 w 2893532"/>
                <a:gd name="connsiteY3" fmla="*/ 1913710 h 2001174"/>
                <a:gd name="connsiteX4" fmla="*/ 0 w 2893532"/>
                <a:gd name="connsiteY4" fmla="*/ 0 h 2001174"/>
                <a:gd name="connsiteX0" fmla="*/ 0 w 2949191"/>
                <a:gd name="connsiteY0" fmla="*/ 0 h 2001174"/>
                <a:gd name="connsiteX1" fmla="*/ 2949191 w 2949191"/>
                <a:gd name="connsiteY1" fmla="*/ 63611 h 2001174"/>
                <a:gd name="connsiteX2" fmla="*/ 2169964 w 2949191"/>
                <a:gd name="connsiteY2" fmla="*/ 2001174 h 2001174"/>
                <a:gd name="connsiteX3" fmla="*/ 0 w 2949191"/>
                <a:gd name="connsiteY3" fmla="*/ 1913710 h 2001174"/>
                <a:gd name="connsiteX4" fmla="*/ 0 w 2949191"/>
                <a:gd name="connsiteY4" fmla="*/ 0 h 2001174"/>
                <a:gd name="connsiteX0" fmla="*/ 0 w 2963478"/>
                <a:gd name="connsiteY0" fmla="*/ 0 h 2001174"/>
                <a:gd name="connsiteX1" fmla="*/ 2963478 w 2963478"/>
                <a:gd name="connsiteY1" fmla="*/ 73136 h 2001174"/>
                <a:gd name="connsiteX2" fmla="*/ 2169964 w 2963478"/>
                <a:gd name="connsiteY2" fmla="*/ 2001174 h 2001174"/>
                <a:gd name="connsiteX3" fmla="*/ 0 w 2963478"/>
                <a:gd name="connsiteY3" fmla="*/ 1913710 h 2001174"/>
                <a:gd name="connsiteX4" fmla="*/ 0 w 2963478"/>
                <a:gd name="connsiteY4" fmla="*/ 0 h 2001174"/>
                <a:gd name="connsiteX0" fmla="*/ 54769 w 2963478"/>
                <a:gd name="connsiteY0" fmla="*/ 262620 h 1928038"/>
                <a:gd name="connsiteX1" fmla="*/ 2963478 w 2963478"/>
                <a:gd name="connsiteY1" fmla="*/ 0 h 1928038"/>
                <a:gd name="connsiteX2" fmla="*/ 2169964 w 2963478"/>
                <a:gd name="connsiteY2" fmla="*/ 1928038 h 1928038"/>
                <a:gd name="connsiteX3" fmla="*/ 0 w 2963478"/>
                <a:gd name="connsiteY3" fmla="*/ 1840574 h 1928038"/>
                <a:gd name="connsiteX4" fmla="*/ 54769 w 2963478"/>
                <a:gd name="connsiteY4" fmla="*/ 262620 h 1928038"/>
                <a:gd name="connsiteX0" fmla="*/ 0 w 2908709"/>
                <a:gd name="connsiteY0" fmla="*/ 262620 h 1928038"/>
                <a:gd name="connsiteX1" fmla="*/ 2908709 w 2908709"/>
                <a:gd name="connsiteY1" fmla="*/ 0 h 1928038"/>
                <a:gd name="connsiteX2" fmla="*/ 2115195 w 2908709"/>
                <a:gd name="connsiteY2" fmla="*/ 1928038 h 1928038"/>
                <a:gd name="connsiteX3" fmla="*/ 76199 w 2908709"/>
                <a:gd name="connsiteY3" fmla="*/ 1900106 h 1928038"/>
                <a:gd name="connsiteX4" fmla="*/ 0 w 2908709"/>
                <a:gd name="connsiteY4" fmla="*/ 262620 h 19280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8709" h="1928038">
                  <a:moveTo>
                    <a:pt x="0" y="262620"/>
                  </a:moveTo>
                  <a:lnTo>
                    <a:pt x="2908709" y="0"/>
                  </a:lnTo>
                  <a:lnTo>
                    <a:pt x="2115195" y="1928038"/>
                  </a:lnTo>
                  <a:lnTo>
                    <a:pt x="76199" y="1900106"/>
                  </a:lnTo>
                  <a:lnTo>
                    <a:pt x="0" y="262620"/>
                  </a:lnTo>
                  <a:close/>
                </a:path>
              </a:pathLst>
            </a:cu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grpSp>
      <p:sp>
        <p:nvSpPr>
          <p:cNvPr id="11" name="Rectangle 10" hidden="1">
            <a:extLst>
              <a:ext uri="{FF2B5EF4-FFF2-40B4-BE49-F238E27FC236}">
                <a16:creationId xmlns:a16="http://schemas.microsoft.com/office/drawing/2014/main" id="{DA0D9469-C56A-53B6-9D7D-29A4852F161D}"/>
              </a:ext>
            </a:extLst>
          </p:cNvPr>
          <p:cNvSpPr/>
          <p:nvPr>
            <p:custDataLst>
              <p:tags r:id="rId2"/>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2200" b="1" i="0" u="none" strike="noStrike" kern="1200" cap="none" spc="0" normalizeH="0" baseline="0" noProof="0" err="1">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5" name="Text Placeholder 4">
            <a:extLst>
              <a:ext uri="{FF2B5EF4-FFF2-40B4-BE49-F238E27FC236}">
                <a16:creationId xmlns:a16="http://schemas.microsoft.com/office/drawing/2014/main" id="{4ED8EA41-3FDE-2F69-C950-6276B38C0F0E}"/>
              </a:ext>
            </a:extLst>
          </p:cNvPr>
          <p:cNvSpPr>
            <a:spLocks noGrp="1"/>
          </p:cNvSpPr>
          <p:nvPr>
            <p:ph type="body" sz="quarter" idx="22"/>
          </p:nvPr>
        </p:nvSpPr>
        <p:spPr>
          <a:xfrm>
            <a:off x="381001" y="6715169"/>
            <a:ext cx="1500411" cy="110800"/>
          </a:xfrm>
        </p:spPr>
        <p:txBody>
          <a:bodyPr/>
          <a:lstStyle/>
          <a:p>
            <a:r>
              <a:rPr lang="en-GB">
                <a:latin typeface="Lato" panose="020F0502020204030203" pitchFamily="34" charset="0"/>
              </a:rPr>
              <a:t>Sources: Aurora Energy Research</a:t>
            </a:r>
          </a:p>
        </p:txBody>
      </p:sp>
      <p:sp>
        <p:nvSpPr>
          <p:cNvPr id="4" name="Title 3">
            <a:extLst>
              <a:ext uri="{FF2B5EF4-FFF2-40B4-BE49-F238E27FC236}">
                <a16:creationId xmlns:a16="http://schemas.microsoft.com/office/drawing/2014/main" id="{0FEDB532-BFA3-11D1-4F33-3368BBDC569F}"/>
              </a:ext>
            </a:extLst>
          </p:cNvPr>
          <p:cNvSpPr>
            <a:spLocks noGrp="1"/>
          </p:cNvSpPr>
          <p:nvPr>
            <p:ph type="title"/>
          </p:nvPr>
        </p:nvSpPr>
        <p:spPr>
          <a:xfrm>
            <a:off x="381599" y="411856"/>
            <a:ext cx="8600471" cy="609398"/>
          </a:xfrm>
        </p:spPr>
        <p:txBody>
          <a:bodyPr vert="horz"/>
          <a:lstStyle/>
          <a:p>
            <a:r>
              <a:rPr lang="en-GB">
                <a:latin typeface="Lato"/>
                <a:ea typeface="Lato"/>
                <a:cs typeface="Lato"/>
              </a:rPr>
              <a:t>Aurora provides market leading forecasts &amp; data-driven intelligence for the global energy transition</a:t>
            </a:r>
            <a:endParaRPr lang="en-GB">
              <a:latin typeface="Lato" panose="020F0502020204030203" pitchFamily="34" charset="0"/>
            </a:endParaRPr>
          </a:p>
        </p:txBody>
      </p:sp>
      <p:sp>
        <p:nvSpPr>
          <p:cNvPr id="7" name="Text Placeholder 6">
            <a:extLst>
              <a:ext uri="{FF2B5EF4-FFF2-40B4-BE49-F238E27FC236}">
                <a16:creationId xmlns:a16="http://schemas.microsoft.com/office/drawing/2014/main" id="{EF59EC75-D5CB-EBD4-F754-B0BCE8E950AF}"/>
              </a:ext>
            </a:extLst>
          </p:cNvPr>
          <p:cNvSpPr>
            <a:spLocks noGrp="1"/>
          </p:cNvSpPr>
          <p:nvPr>
            <p:ph type="body" sz="quarter" idx="32"/>
          </p:nvPr>
        </p:nvSpPr>
        <p:spPr>
          <a:xfrm>
            <a:off x="381600" y="6474841"/>
            <a:ext cx="11428800" cy="110800"/>
          </a:xfrm>
        </p:spPr>
        <p:txBody>
          <a:bodyPr/>
          <a:lstStyle/>
          <a:p>
            <a:endParaRPr lang="en-GB">
              <a:latin typeface="Lato" panose="020F0502020204030203" pitchFamily="34" charset="0"/>
            </a:endParaRPr>
          </a:p>
        </p:txBody>
      </p:sp>
      <p:grpSp>
        <p:nvGrpSpPr>
          <p:cNvPr id="22" name="Group 21">
            <a:extLst>
              <a:ext uri="{FF2B5EF4-FFF2-40B4-BE49-F238E27FC236}">
                <a16:creationId xmlns:a16="http://schemas.microsoft.com/office/drawing/2014/main" id="{789DC2A2-568D-06B0-69DA-518AB5F15B90}"/>
              </a:ext>
            </a:extLst>
          </p:cNvPr>
          <p:cNvGrpSpPr>
            <a:grpSpLocks/>
          </p:cNvGrpSpPr>
          <p:nvPr/>
        </p:nvGrpSpPr>
        <p:grpSpPr>
          <a:xfrm>
            <a:off x="3951991" y="6084299"/>
            <a:ext cx="1864391" cy="161583"/>
            <a:chOff x="381001" y="5774926"/>
            <a:chExt cx="1864391" cy="161583"/>
          </a:xfrm>
        </p:grpSpPr>
        <p:sp>
          <p:nvSpPr>
            <p:cNvPr id="2" name="Rectangle 1">
              <a:extLst>
                <a:ext uri="{FF2B5EF4-FFF2-40B4-BE49-F238E27FC236}">
                  <a16:creationId xmlns:a16="http://schemas.microsoft.com/office/drawing/2014/main" id="{268ADEB5-8B75-C620-B1F8-24D7DAF9CED7}"/>
                </a:ext>
              </a:extLst>
            </p:cNvPr>
            <p:cNvSpPr>
              <a:spLocks/>
            </p:cNvSpPr>
            <p:nvPr/>
          </p:nvSpPr>
          <p:spPr>
            <a:xfrm>
              <a:off x="381001" y="5783159"/>
              <a:ext cx="191589" cy="145116"/>
            </a:xfrm>
            <a:prstGeom prst="rect">
              <a:avLst/>
            </a:prstGeom>
            <a:solidFill>
              <a:schemeClr val="accent1"/>
            </a:solidFill>
            <a:ln w="6350">
              <a:solidFill>
                <a:schemeClr val="accent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panose="020F0502020204030203" pitchFamily="34" charset="0"/>
                <a:ea typeface="+mn-ea"/>
                <a:cs typeface="+mn-cs"/>
              </a:endParaRPr>
            </a:p>
          </p:txBody>
        </p:sp>
        <p:sp>
          <p:nvSpPr>
            <p:cNvPr id="9" name="TextBox 8">
              <a:extLst>
                <a:ext uri="{FF2B5EF4-FFF2-40B4-BE49-F238E27FC236}">
                  <a16:creationId xmlns:a16="http://schemas.microsoft.com/office/drawing/2014/main" id="{52318744-2ACB-5FC3-F819-5DB729AA3960}"/>
                </a:ext>
              </a:extLst>
            </p:cNvPr>
            <p:cNvSpPr txBox="1">
              <a:spLocks/>
            </p:cNvSpPr>
            <p:nvPr/>
          </p:nvSpPr>
          <p:spPr>
            <a:xfrm>
              <a:off x="664831" y="5774926"/>
              <a:ext cx="1580561"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50" b="0" i="0" u="none" strike="noStrike" kern="1200" cap="none" spc="0" normalizeH="0" baseline="0" noProof="0">
                  <a:ln>
                    <a:noFill/>
                  </a:ln>
                  <a:solidFill>
                    <a:srgbClr val="3C3C3B"/>
                  </a:solidFill>
                  <a:effectLst/>
                  <a:uLnTx/>
                  <a:uFillTx/>
                  <a:latin typeface="Lato" panose="020F0502020204030203" pitchFamily="34" charset="0"/>
                  <a:ea typeface="+mn-ea"/>
                  <a:cs typeface="+mn-cs"/>
                </a:rPr>
                <a:t>Regular detailed coverage</a:t>
              </a:r>
            </a:p>
          </p:txBody>
        </p:sp>
      </p:grpSp>
      <p:grpSp>
        <p:nvGrpSpPr>
          <p:cNvPr id="20" name="Group 19">
            <a:extLst>
              <a:ext uri="{FF2B5EF4-FFF2-40B4-BE49-F238E27FC236}">
                <a16:creationId xmlns:a16="http://schemas.microsoft.com/office/drawing/2014/main" id="{A45D7248-3217-2CBC-C0BD-E349EBC28706}"/>
              </a:ext>
            </a:extLst>
          </p:cNvPr>
          <p:cNvGrpSpPr>
            <a:grpSpLocks/>
          </p:cNvGrpSpPr>
          <p:nvPr/>
        </p:nvGrpSpPr>
        <p:grpSpPr>
          <a:xfrm>
            <a:off x="5913711" y="6084299"/>
            <a:ext cx="1508906" cy="161583"/>
            <a:chOff x="381001" y="6181452"/>
            <a:chExt cx="1508906" cy="161583"/>
          </a:xfrm>
        </p:grpSpPr>
        <p:sp>
          <p:nvSpPr>
            <p:cNvPr id="184" name="TextBox 183">
              <a:extLst>
                <a:ext uri="{FF2B5EF4-FFF2-40B4-BE49-F238E27FC236}">
                  <a16:creationId xmlns:a16="http://schemas.microsoft.com/office/drawing/2014/main" id="{C60C1ECA-0E73-D508-91E6-EFE84E8FC50D}"/>
                </a:ext>
              </a:extLst>
            </p:cNvPr>
            <p:cNvSpPr txBox="1">
              <a:spLocks/>
            </p:cNvSpPr>
            <p:nvPr/>
          </p:nvSpPr>
          <p:spPr>
            <a:xfrm>
              <a:off x="655595" y="6181452"/>
              <a:ext cx="1234312"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050" b="0" i="0" u="none" strike="noStrike" kern="1200" cap="none" spc="0" normalizeH="0" baseline="0" noProof="0">
                  <a:ln>
                    <a:noFill/>
                  </a:ln>
                  <a:solidFill>
                    <a:srgbClr val="3C3C3B"/>
                  </a:solidFill>
                  <a:effectLst/>
                  <a:uLnTx/>
                  <a:uFillTx/>
                  <a:latin typeface="Lato" panose="020F0502020204030203" pitchFamily="34" charset="0"/>
                  <a:ea typeface="+mn-ea"/>
                  <a:cs typeface="+mn-cs"/>
                </a:rPr>
                <a:t>Analytics on demand</a:t>
              </a:r>
            </a:p>
          </p:txBody>
        </p:sp>
        <p:sp>
          <p:nvSpPr>
            <p:cNvPr id="185" name="Rectangle 184">
              <a:extLst>
                <a:ext uri="{FF2B5EF4-FFF2-40B4-BE49-F238E27FC236}">
                  <a16:creationId xmlns:a16="http://schemas.microsoft.com/office/drawing/2014/main" id="{50A9A766-B2D7-E3EF-7DAC-584D6EF3BA4A}"/>
                </a:ext>
              </a:extLst>
            </p:cNvPr>
            <p:cNvSpPr>
              <a:spLocks/>
            </p:cNvSpPr>
            <p:nvPr/>
          </p:nvSpPr>
          <p:spPr>
            <a:xfrm>
              <a:off x="381001" y="6189685"/>
              <a:ext cx="191589" cy="145116"/>
            </a:xfrm>
            <a:prstGeom prst="rect">
              <a:avLst/>
            </a:prstGeom>
            <a:solidFill>
              <a:schemeClr val="accent2"/>
            </a:solidFill>
            <a:ln w="6350">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panose="020F0502020204030203" pitchFamily="34" charset="0"/>
                <a:ea typeface="+mn-ea"/>
                <a:cs typeface="+mn-cs"/>
              </a:endParaRPr>
            </a:p>
          </p:txBody>
        </p:sp>
      </p:grpSp>
      <p:sp>
        <p:nvSpPr>
          <p:cNvPr id="48" name="TextBox 47">
            <a:extLst>
              <a:ext uri="{FF2B5EF4-FFF2-40B4-BE49-F238E27FC236}">
                <a16:creationId xmlns:a16="http://schemas.microsoft.com/office/drawing/2014/main" id="{971565E4-B86A-5C2D-C41A-8422954B5C78}"/>
              </a:ext>
            </a:extLst>
          </p:cNvPr>
          <p:cNvSpPr txBox="1">
            <a:spLocks/>
          </p:cNvSpPr>
          <p:nvPr/>
        </p:nvSpPr>
        <p:spPr>
          <a:xfrm>
            <a:off x="638080" y="1441094"/>
            <a:ext cx="1272784" cy="230832"/>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500" b="0" i="0" u="none" strike="noStrike" kern="1200" cap="none" spc="0" normalizeH="0" baseline="0" noProof="0">
                <a:ln>
                  <a:noFill/>
                </a:ln>
                <a:solidFill>
                  <a:srgbClr val="3C3C3B"/>
                </a:solidFill>
                <a:effectLst/>
                <a:uLnTx/>
                <a:uFillTx/>
                <a:latin typeface="Lato" panose="020F0502020204030203" pitchFamily="34" charset="0"/>
                <a:ea typeface="+mn-ea"/>
                <a:cs typeface="+mn-cs"/>
              </a:rPr>
              <a:t>Power markets</a:t>
            </a:r>
          </a:p>
        </p:txBody>
      </p:sp>
      <p:sp>
        <p:nvSpPr>
          <p:cNvPr id="337" name="TextBox 336">
            <a:extLst>
              <a:ext uri="{FF2B5EF4-FFF2-40B4-BE49-F238E27FC236}">
                <a16:creationId xmlns:a16="http://schemas.microsoft.com/office/drawing/2014/main" id="{B3B35A47-C735-94E5-D693-70C743AA974A}"/>
              </a:ext>
            </a:extLst>
          </p:cNvPr>
          <p:cNvSpPr txBox="1">
            <a:spLocks/>
          </p:cNvSpPr>
          <p:nvPr/>
        </p:nvSpPr>
        <p:spPr>
          <a:xfrm>
            <a:off x="218093" y="2076394"/>
            <a:ext cx="1692771" cy="230832"/>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500" b="0" i="0" u="none" strike="noStrike" kern="1200" cap="none" spc="0" normalizeH="0" baseline="0" noProof="0">
                <a:ln>
                  <a:noFill/>
                </a:ln>
                <a:solidFill>
                  <a:srgbClr val="3C3C3B"/>
                </a:solidFill>
                <a:effectLst/>
                <a:uLnTx/>
                <a:uFillTx/>
                <a:latin typeface="Lato" panose="020F0502020204030203" pitchFamily="34" charset="0"/>
                <a:ea typeface="+mn-ea"/>
                <a:cs typeface="+mn-cs"/>
              </a:rPr>
              <a:t>Renewables &amp; PPAs</a:t>
            </a:r>
          </a:p>
        </p:txBody>
      </p:sp>
      <p:sp>
        <p:nvSpPr>
          <p:cNvPr id="338" name="TextBox 337">
            <a:extLst>
              <a:ext uri="{FF2B5EF4-FFF2-40B4-BE49-F238E27FC236}">
                <a16:creationId xmlns:a16="http://schemas.microsoft.com/office/drawing/2014/main" id="{B41AA293-1E78-4421-A3DB-6A826F091E9B}"/>
              </a:ext>
            </a:extLst>
          </p:cNvPr>
          <p:cNvSpPr txBox="1">
            <a:spLocks/>
          </p:cNvSpPr>
          <p:nvPr/>
        </p:nvSpPr>
        <p:spPr>
          <a:xfrm>
            <a:off x="1261648" y="2711694"/>
            <a:ext cx="649216" cy="230832"/>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500" b="0" i="0" u="none" strike="noStrike" kern="1200" cap="none" spc="0" normalizeH="0" baseline="0" noProof="0">
                <a:ln>
                  <a:noFill/>
                </a:ln>
                <a:solidFill>
                  <a:srgbClr val="3C3C3B"/>
                </a:solidFill>
                <a:effectLst/>
                <a:uLnTx/>
                <a:uFillTx/>
                <a:latin typeface="Lato" panose="020F0502020204030203" pitchFamily="34" charset="0"/>
                <a:ea typeface="+mn-ea"/>
                <a:cs typeface="+mn-cs"/>
              </a:rPr>
              <a:t>Storage</a:t>
            </a:r>
          </a:p>
        </p:txBody>
      </p:sp>
      <p:sp>
        <p:nvSpPr>
          <p:cNvPr id="339" name="TextBox 338">
            <a:extLst>
              <a:ext uri="{FF2B5EF4-FFF2-40B4-BE49-F238E27FC236}">
                <a16:creationId xmlns:a16="http://schemas.microsoft.com/office/drawing/2014/main" id="{D32A0CC5-D55E-1380-A348-EA3E0002F929}"/>
              </a:ext>
            </a:extLst>
          </p:cNvPr>
          <p:cNvSpPr txBox="1">
            <a:spLocks/>
          </p:cNvSpPr>
          <p:nvPr/>
        </p:nvSpPr>
        <p:spPr>
          <a:xfrm>
            <a:off x="1069287" y="4617594"/>
            <a:ext cx="841577" cy="230832"/>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500" b="0" i="0" u="none" strike="noStrike" kern="1200" cap="none" spc="0" normalizeH="0" baseline="0" noProof="0">
                <a:ln>
                  <a:noFill/>
                </a:ln>
                <a:solidFill>
                  <a:srgbClr val="3C3C3B"/>
                </a:solidFill>
                <a:effectLst/>
                <a:uLnTx/>
                <a:uFillTx/>
                <a:latin typeface="Lato" panose="020F0502020204030203" pitchFamily="34" charset="0"/>
                <a:ea typeface="+mn-ea"/>
                <a:cs typeface="+mn-cs"/>
              </a:rPr>
              <a:t>Hydrogen</a:t>
            </a:r>
          </a:p>
        </p:txBody>
      </p:sp>
      <p:sp>
        <p:nvSpPr>
          <p:cNvPr id="340" name="TextBox 339">
            <a:extLst>
              <a:ext uri="{FF2B5EF4-FFF2-40B4-BE49-F238E27FC236}">
                <a16:creationId xmlns:a16="http://schemas.microsoft.com/office/drawing/2014/main" id="{59BAA0F5-57F7-32DC-01B4-8D8238D8A833}"/>
              </a:ext>
            </a:extLst>
          </p:cNvPr>
          <p:cNvSpPr txBox="1">
            <a:spLocks/>
          </p:cNvSpPr>
          <p:nvPr/>
        </p:nvSpPr>
        <p:spPr>
          <a:xfrm>
            <a:off x="950665" y="5888192"/>
            <a:ext cx="960199" cy="230832"/>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500" b="0" i="0" u="none" strike="noStrike" kern="1200" cap="none" spc="0" normalizeH="0" baseline="0" noProof="0">
                <a:ln>
                  <a:noFill/>
                </a:ln>
                <a:solidFill>
                  <a:srgbClr val="3C3C3B"/>
                </a:solidFill>
                <a:effectLst/>
                <a:uLnTx/>
                <a:uFillTx/>
                <a:latin typeface="Lato" panose="020F0502020204030203" pitchFamily="34" charset="0"/>
                <a:ea typeface="+mn-ea"/>
                <a:cs typeface="+mn-cs"/>
              </a:rPr>
              <a:t>Natural gas</a:t>
            </a:r>
          </a:p>
        </p:txBody>
      </p:sp>
      <p:sp>
        <p:nvSpPr>
          <p:cNvPr id="341" name="TextBox 340">
            <a:extLst>
              <a:ext uri="{FF2B5EF4-FFF2-40B4-BE49-F238E27FC236}">
                <a16:creationId xmlns:a16="http://schemas.microsoft.com/office/drawing/2014/main" id="{2DB63905-652E-2C49-8C9A-05CA1CBF519F}"/>
              </a:ext>
            </a:extLst>
          </p:cNvPr>
          <p:cNvSpPr txBox="1">
            <a:spLocks/>
          </p:cNvSpPr>
          <p:nvPr/>
        </p:nvSpPr>
        <p:spPr>
          <a:xfrm>
            <a:off x="1292105" y="5252894"/>
            <a:ext cx="618759" cy="230832"/>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500" b="0" i="0" u="none" strike="noStrike" kern="1200" cap="none" spc="0" normalizeH="0" baseline="0" noProof="0">
                <a:ln>
                  <a:noFill/>
                </a:ln>
                <a:solidFill>
                  <a:srgbClr val="3C3C3B"/>
                </a:solidFill>
                <a:effectLst/>
                <a:uLnTx/>
                <a:uFillTx/>
                <a:latin typeface="Lato" panose="020F0502020204030203" pitchFamily="34" charset="0"/>
                <a:ea typeface="+mn-ea"/>
                <a:cs typeface="+mn-cs"/>
              </a:rPr>
              <a:t>Carbon</a:t>
            </a:r>
          </a:p>
        </p:txBody>
      </p:sp>
      <p:sp>
        <p:nvSpPr>
          <p:cNvPr id="342" name="TextBox 341">
            <a:extLst>
              <a:ext uri="{FF2B5EF4-FFF2-40B4-BE49-F238E27FC236}">
                <a16:creationId xmlns:a16="http://schemas.microsoft.com/office/drawing/2014/main" id="{5F9E1865-1331-9FF7-9067-B8D98DA3117D}"/>
              </a:ext>
            </a:extLst>
          </p:cNvPr>
          <p:cNvSpPr txBox="1">
            <a:spLocks/>
          </p:cNvSpPr>
          <p:nvPr/>
        </p:nvSpPr>
        <p:spPr>
          <a:xfrm>
            <a:off x="561136" y="3982294"/>
            <a:ext cx="1349728" cy="230832"/>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500" b="0" i="0" u="none" strike="noStrike" kern="1200" cap="none" spc="0" normalizeH="0" baseline="0" noProof="0">
                <a:ln>
                  <a:noFill/>
                </a:ln>
                <a:solidFill>
                  <a:srgbClr val="3C3C3B"/>
                </a:solidFill>
                <a:effectLst/>
                <a:uLnTx/>
                <a:uFillTx/>
                <a:latin typeface="Lato" panose="020F0502020204030203" pitchFamily="34" charset="0"/>
                <a:ea typeface="+mn-ea"/>
                <a:cs typeface="+mn-cs"/>
              </a:rPr>
              <a:t>Electric vehicles</a:t>
            </a:r>
          </a:p>
        </p:txBody>
      </p:sp>
      <p:sp>
        <p:nvSpPr>
          <p:cNvPr id="199" name="Oval 198">
            <a:extLst>
              <a:ext uri="{FF2B5EF4-FFF2-40B4-BE49-F238E27FC236}">
                <a16:creationId xmlns:a16="http://schemas.microsoft.com/office/drawing/2014/main" id="{32886BA1-14BD-F954-48EE-4FD719360D15}"/>
              </a:ext>
            </a:extLst>
          </p:cNvPr>
          <p:cNvSpPr>
            <a:spLocks/>
          </p:cNvSpPr>
          <p:nvPr/>
        </p:nvSpPr>
        <p:spPr>
          <a:xfrm>
            <a:off x="2066254" y="4482387"/>
            <a:ext cx="503565" cy="503565"/>
          </a:xfrm>
          <a:prstGeom prst="ellipse">
            <a:avLst/>
          </a:prstGeom>
          <a:solidFill>
            <a:schemeClr val="bg2"/>
          </a:solidFill>
          <a:ln w="6350" cmpd="sng">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72000" tIns="72000" rIns="72000" bIns="7200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t>
            </a:r>
            <a:r>
              <a:rPr kumimoji="0" lang="en-GB" sz="1800" b="0" i="0" u="none" strike="noStrike" kern="1200" cap="none" spc="0" normalizeH="0" baseline="-2500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2</a:t>
            </a: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27" name="Group 26">
            <a:extLst>
              <a:ext uri="{FF2B5EF4-FFF2-40B4-BE49-F238E27FC236}">
                <a16:creationId xmlns:a16="http://schemas.microsoft.com/office/drawing/2014/main" id="{B01EB3CB-2428-824F-5DDB-841801BA46C4}"/>
              </a:ext>
            </a:extLst>
          </p:cNvPr>
          <p:cNvGrpSpPr>
            <a:grpSpLocks/>
          </p:cNvGrpSpPr>
          <p:nvPr/>
        </p:nvGrpSpPr>
        <p:grpSpPr>
          <a:xfrm>
            <a:off x="2066254" y="1961738"/>
            <a:ext cx="503565" cy="503565"/>
            <a:chOff x="4773343" y="5688380"/>
            <a:chExt cx="720000" cy="720000"/>
          </a:xfrm>
        </p:grpSpPr>
        <p:sp>
          <p:nvSpPr>
            <p:cNvPr id="198" name="Oval 197">
              <a:extLst>
                <a:ext uri="{FF2B5EF4-FFF2-40B4-BE49-F238E27FC236}">
                  <a16:creationId xmlns:a16="http://schemas.microsoft.com/office/drawing/2014/main" id="{4CAFFA61-89A2-BD0C-A717-C34274DBAD8F}"/>
                </a:ext>
              </a:extLst>
            </p:cNvPr>
            <p:cNvSpPr>
              <a:spLocks/>
            </p:cNvSpPr>
            <p:nvPr/>
          </p:nvSpPr>
          <p:spPr>
            <a:xfrm>
              <a:off x="4773343" y="5688380"/>
              <a:ext cx="720000" cy="720000"/>
            </a:xfrm>
            <a:prstGeom prst="ellipse">
              <a:avLst/>
            </a:prstGeom>
            <a:solidFill>
              <a:schemeClr val="bg2"/>
            </a:solidFill>
            <a:ln w="6350" cmpd="sng">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pic>
          <p:nvPicPr>
            <p:cNvPr id="202" name="Picture 2" descr="Image result for icon renewables">
              <a:extLst>
                <a:ext uri="{FF2B5EF4-FFF2-40B4-BE49-F238E27FC236}">
                  <a16:creationId xmlns:a16="http://schemas.microsoft.com/office/drawing/2014/main" id="{0EAB558A-071A-557D-2DDE-193AD20BCF88}"/>
                </a:ext>
              </a:extLst>
            </p:cNvPr>
            <p:cNvPicPr>
              <a:picLocks noChangeAspect="1"/>
            </p:cNvPicPr>
            <p:nvPr/>
          </p:nvPicPr>
          <p:blipFill>
            <a:blip r:embed="rId45" cstate="screen">
              <a:alphaModFix amt="70000"/>
              <a:extLst>
                <a:ext uri="{28A0092B-C50C-407E-A947-70E740481C1C}">
                  <a14:useLocalDpi xmlns:a14="http://schemas.microsoft.com/office/drawing/2010/main"/>
                </a:ext>
              </a:extLst>
            </a:blip>
            <a:srcRect/>
            <a:stretch>
              <a:fillRect/>
            </a:stretch>
          </p:blipFill>
          <p:spPr bwMode="auto">
            <a:xfrm>
              <a:off x="4838776" y="5796380"/>
              <a:ext cx="589135" cy="504000"/>
            </a:xfrm>
            <a:prstGeom prst="rect">
              <a:avLst/>
            </a:prstGeom>
            <a:noFill/>
            <a:extLst>
              <a:ext uri="{909E8E84-426E-40DD-AFC4-6F175D3DCCD1}">
                <a14:hiddenFill xmlns:a14="http://schemas.microsoft.com/office/drawing/2010/main">
                  <a:solidFill>
                    <a:srgbClr val="FFFFFF"/>
                  </a:solidFill>
                </a14:hiddenFill>
              </a:ext>
            </a:extLst>
          </p:spPr>
        </p:pic>
      </p:grpSp>
      <p:sp>
        <p:nvSpPr>
          <p:cNvPr id="200" name="Oval 199">
            <a:extLst>
              <a:ext uri="{FF2B5EF4-FFF2-40B4-BE49-F238E27FC236}">
                <a16:creationId xmlns:a16="http://schemas.microsoft.com/office/drawing/2014/main" id="{BB88984D-87D0-8631-6E0E-A200597124D6}"/>
              </a:ext>
            </a:extLst>
          </p:cNvPr>
          <p:cNvSpPr>
            <a:spLocks/>
          </p:cNvSpPr>
          <p:nvPr/>
        </p:nvSpPr>
        <p:spPr>
          <a:xfrm>
            <a:off x="2066254" y="2600555"/>
            <a:ext cx="503565" cy="503565"/>
          </a:xfrm>
          <a:prstGeom prst="ellipse">
            <a:avLst/>
          </a:prstGeom>
          <a:solidFill>
            <a:schemeClr val="bg2"/>
          </a:solidFill>
          <a:ln w="6350" cmpd="sng">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203" name="Group 205">
            <a:extLst>
              <a:ext uri="{FF2B5EF4-FFF2-40B4-BE49-F238E27FC236}">
                <a16:creationId xmlns:a16="http://schemas.microsoft.com/office/drawing/2014/main" id="{22B812DB-5EA0-50C2-B097-A0E2C6E1907F}"/>
              </a:ext>
            </a:extLst>
          </p:cNvPr>
          <p:cNvGrpSpPr>
            <a:grpSpLocks noChangeAspect="1"/>
          </p:cNvGrpSpPr>
          <p:nvPr/>
        </p:nvGrpSpPr>
        <p:grpSpPr>
          <a:xfrm>
            <a:off x="2137478" y="2739036"/>
            <a:ext cx="361117" cy="226605"/>
            <a:chOff x="7907519" y="3112412"/>
            <a:chExt cx="673884" cy="422883"/>
          </a:xfrm>
          <a:solidFill>
            <a:schemeClr val="tx1"/>
          </a:solidFill>
        </p:grpSpPr>
        <p:sp>
          <p:nvSpPr>
            <p:cNvPr id="204" name="Freeform 175">
              <a:extLst>
                <a:ext uri="{FF2B5EF4-FFF2-40B4-BE49-F238E27FC236}">
                  <a16:creationId xmlns:a16="http://schemas.microsoft.com/office/drawing/2014/main" id="{F1805B81-9615-08FB-D908-A2A79EFFA90C}"/>
                </a:ext>
              </a:extLst>
            </p:cNvPr>
            <p:cNvSpPr>
              <a:spLocks/>
            </p:cNvSpPr>
            <p:nvPr/>
          </p:nvSpPr>
          <p:spPr bwMode="auto">
            <a:xfrm>
              <a:off x="7930692" y="3237935"/>
              <a:ext cx="627543" cy="297360"/>
            </a:xfrm>
            <a:custGeom>
              <a:avLst/>
              <a:gdLst/>
              <a:ahLst/>
              <a:cxnLst>
                <a:cxn ang="0">
                  <a:pos x="0" y="117"/>
                </a:cxn>
                <a:cxn ang="0">
                  <a:pos x="7" y="124"/>
                </a:cxn>
                <a:cxn ang="0">
                  <a:pos x="17" y="124"/>
                </a:cxn>
                <a:cxn ang="0">
                  <a:pos x="17" y="140"/>
                </a:cxn>
                <a:cxn ang="0">
                  <a:pos x="7" y="140"/>
                </a:cxn>
                <a:cxn ang="0">
                  <a:pos x="0" y="147"/>
                </a:cxn>
                <a:cxn ang="0">
                  <a:pos x="0" y="148"/>
                </a:cxn>
                <a:cxn ang="0">
                  <a:pos x="7" y="155"/>
                </a:cxn>
                <a:cxn ang="0">
                  <a:pos x="322" y="155"/>
                </a:cxn>
                <a:cxn ang="0">
                  <a:pos x="329" y="148"/>
                </a:cxn>
                <a:cxn ang="0">
                  <a:pos x="329" y="147"/>
                </a:cxn>
                <a:cxn ang="0">
                  <a:pos x="322" y="140"/>
                </a:cxn>
                <a:cxn ang="0">
                  <a:pos x="312" y="140"/>
                </a:cxn>
                <a:cxn ang="0">
                  <a:pos x="312" y="124"/>
                </a:cxn>
                <a:cxn ang="0">
                  <a:pos x="322" y="124"/>
                </a:cxn>
                <a:cxn ang="0">
                  <a:pos x="329" y="117"/>
                </a:cxn>
                <a:cxn ang="0">
                  <a:pos x="329" y="0"/>
                </a:cxn>
                <a:cxn ang="0">
                  <a:pos x="0" y="0"/>
                </a:cxn>
                <a:cxn ang="0">
                  <a:pos x="0" y="117"/>
                </a:cxn>
                <a:cxn ang="0">
                  <a:pos x="253" y="30"/>
                </a:cxn>
                <a:cxn ang="0">
                  <a:pos x="270" y="30"/>
                </a:cxn>
                <a:cxn ang="0">
                  <a:pos x="270" y="12"/>
                </a:cxn>
                <a:cxn ang="0">
                  <a:pos x="282" y="12"/>
                </a:cxn>
                <a:cxn ang="0">
                  <a:pos x="282" y="30"/>
                </a:cxn>
                <a:cxn ang="0">
                  <a:pos x="300" y="30"/>
                </a:cxn>
                <a:cxn ang="0">
                  <a:pos x="300" y="42"/>
                </a:cxn>
                <a:cxn ang="0">
                  <a:pos x="282" y="42"/>
                </a:cxn>
                <a:cxn ang="0">
                  <a:pos x="282" y="59"/>
                </a:cxn>
                <a:cxn ang="0">
                  <a:pos x="270" y="59"/>
                </a:cxn>
                <a:cxn ang="0">
                  <a:pos x="270" y="42"/>
                </a:cxn>
                <a:cxn ang="0">
                  <a:pos x="253" y="42"/>
                </a:cxn>
                <a:cxn ang="0">
                  <a:pos x="253" y="30"/>
                </a:cxn>
                <a:cxn ang="0">
                  <a:pos x="134" y="65"/>
                </a:cxn>
                <a:cxn ang="0">
                  <a:pos x="139" y="56"/>
                </a:cxn>
                <a:cxn ang="0">
                  <a:pos x="159" y="25"/>
                </a:cxn>
                <a:cxn ang="0">
                  <a:pos x="161" y="24"/>
                </a:cxn>
                <a:cxn ang="0">
                  <a:pos x="183" y="42"/>
                </a:cxn>
                <a:cxn ang="0">
                  <a:pos x="183" y="44"/>
                </a:cxn>
                <a:cxn ang="0">
                  <a:pos x="165" y="63"/>
                </a:cxn>
                <a:cxn ang="0">
                  <a:pos x="165" y="64"/>
                </a:cxn>
                <a:cxn ang="0">
                  <a:pos x="176" y="77"/>
                </a:cxn>
                <a:cxn ang="0">
                  <a:pos x="181" y="82"/>
                </a:cxn>
                <a:cxn ang="0">
                  <a:pos x="181" y="85"/>
                </a:cxn>
                <a:cxn ang="0">
                  <a:pos x="176" y="88"/>
                </a:cxn>
                <a:cxn ang="0">
                  <a:pos x="141" y="114"/>
                </a:cxn>
                <a:cxn ang="0">
                  <a:pos x="139" y="114"/>
                </a:cxn>
                <a:cxn ang="0">
                  <a:pos x="139" y="112"/>
                </a:cxn>
                <a:cxn ang="0">
                  <a:pos x="160" y="85"/>
                </a:cxn>
                <a:cxn ang="0">
                  <a:pos x="159" y="84"/>
                </a:cxn>
                <a:cxn ang="0">
                  <a:pos x="141" y="72"/>
                </a:cxn>
                <a:cxn ang="0">
                  <a:pos x="134" y="67"/>
                </a:cxn>
                <a:cxn ang="0">
                  <a:pos x="134" y="65"/>
                </a:cxn>
                <a:cxn ang="0">
                  <a:pos x="37" y="36"/>
                </a:cxn>
                <a:cxn ang="0">
                  <a:pos x="63" y="36"/>
                </a:cxn>
                <a:cxn ang="0">
                  <a:pos x="63" y="50"/>
                </a:cxn>
                <a:cxn ang="0">
                  <a:pos x="37" y="50"/>
                </a:cxn>
                <a:cxn ang="0">
                  <a:pos x="37" y="36"/>
                </a:cxn>
              </a:cxnLst>
              <a:rect l="0" t="0" r="r" b="b"/>
              <a:pathLst>
                <a:path w="329" h="155">
                  <a:moveTo>
                    <a:pt x="0" y="117"/>
                  </a:moveTo>
                  <a:cubicBezTo>
                    <a:pt x="0" y="121"/>
                    <a:pt x="4" y="124"/>
                    <a:pt x="7" y="124"/>
                  </a:cubicBezTo>
                  <a:cubicBezTo>
                    <a:pt x="17" y="124"/>
                    <a:pt x="17" y="124"/>
                    <a:pt x="17" y="124"/>
                  </a:cubicBezTo>
                  <a:cubicBezTo>
                    <a:pt x="17" y="140"/>
                    <a:pt x="17" y="140"/>
                    <a:pt x="17" y="140"/>
                  </a:cubicBezTo>
                  <a:cubicBezTo>
                    <a:pt x="7" y="140"/>
                    <a:pt x="7" y="140"/>
                    <a:pt x="7" y="140"/>
                  </a:cubicBezTo>
                  <a:cubicBezTo>
                    <a:pt x="4" y="140"/>
                    <a:pt x="0" y="143"/>
                    <a:pt x="0" y="147"/>
                  </a:cubicBezTo>
                  <a:cubicBezTo>
                    <a:pt x="0" y="148"/>
                    <a:pt x="0" y="148"/>
                    <a:pt x="0" y="148"/>
                  </a:cubicBezTo>
                  <a:cubicBezTo>
                    <a:pt x="0" y="152"/>
                    <a:pt x="4" y="155"/>
                    <a:pt x="7" y="155"/>
                  </a:cubicBezTo>
                  <a:cubicBezTo>
                    <a:pt x="322" y="155"/>
                    <a:pt x="322" y="155"/>
                    <a:pt x="322" y="155"/>
                  </a:cubicBezTo>
                  <a:cubicBezTo>
                    <a:pt x="326" y="155"/>
                    <a:pt x="329" y="152"/>
                    <a:pt x="329" y="148"/>
                  </a:cubicBezTo>
                  <a:cubicBezTo>
                    <a:pt x="329" y="147"/>
                    <a:pt x="329" y="147"/>
                    <a:pt x="329" y="147"/>
                  </a:cubicBezTo>
                  <a:cubicBezTo>
                    <a:pt x="329" y="143"/>
                    <a:pt x="326" y="140"/>
                    <a:pt x="322" y="140"/>
                  </a:cubicBezTo>
                  <a:cubicBezTo>
                    <a:pt x="312" y="140"/>
                    <a:pt x="312" y="140"/>
                    <a:pt x="312" y="140"/>
                  </a:cubicBezTo>
                  <a:cubicBezTo>
                    <a:pt x="312" y="124"/>
                    <a:pt x="312" y="124"/>
                    <a:pt x="312" y="124"/>
                  </a:cubicBezTo>
                  <a:cubicBezTo>
                    <a:pt x="322" y="124"/>
                    <a:pt x="322" y="124"/>
                    <a:pt x="322" y="124"/>
                  </a:cubicBezTo>
                  <a:cubicBezTo>
                    <a:pt x="326" y="124"/>
                    <a:pt x="329" y="121"/>
                    <a:pt x="329" y="117"/>
                  </a:cubicBezTo>
                  <a:cubicBezTo>
                    <a:pt x="329" y="0"/>
                    <a:pt x="329" y="0"/>
                    <a:pt x="329" y="0"/>
                  </a:cubicBezTo>
                  <a:cubicBezTo>
                    <a:pt x="0" y="0"/>
                    <a:pt x="0" y="0"/>
                    <a:pt x="0" y="0"/>
                  </a:cubicBezTo>
                  <a:lnTo>
                    <a:pt x="0" y="117"/>
                  </a:lnTo>
                  <a:close/>
                  <a:moveTo>
                    <a:pt x="253" y="30"/>
                  </a:moveTo>
                  <a:cubicBezTo>
                    <a:pt x="270" y="30"/>
                    <a:pt x="270" y="30"/>
                    <a:pt x="270" y="30"/>
                  </a:cubicBezTo>
                  <a:cubicBezTo>
                    <a:pt x="270" y="12"/>
                    <a:pt x="270" y="12"/>
                    <a:pt x="270" y="12"/>
                  </a:cubicBezTo>
                  <a:cubicBezTo>
                    <a:pt x="282" y="12"/>
                    <a:pt x="282" y="12"/>
                    <a:pt x="282" y="12"/>
                  </a:cubicBezTo>
                  <a:cubicBezTo>
                    <a:pt x="282" y="30"/>
                    <a:pt x="282" y="30"/>
                    <a:pt x="282" y="30"/>
                  </a:cubicBezTo>
                  <a:cubicBezTo>
                    <a:pt x="300" y="30"/>
                    <a:pt x="300" y="30"/>
                    <a:pt x="300" y="30"/>
                  </a:cubicBezTo>
                  <a:cubicBezTo>
                    <a:pt x="300" y="42"/>
                    <a:pt x="300" y="42"/>
                    <a:pt x="300" y="42"/>
                  </a:cubicBezTo>
                  <a:cubicBezTo>
                    <a:pt x="282" y="42"/>
                    <a:pt x="282" y="42"/>
                    <a:pt x="282" y="42"/>
                  </a:cubicBezTo>
                  <a:cubicBezTo>
                    <a:pt x="282" y="59"/>
                    <a:pt x="282" y="59"/>
                    <a:pt x="282" y="59"/>
                  </a:cubicBezTo>
                  <a:cubicBezTo>
                    <a:pt x="270" y="59"/>
                    <a:pt x="270" y="59"/>
                    <a:pt x="270" y="59"/>
                  </a:cubicBezTo>
                  <a:cubicBezTo>
                    <a:pt x="270" y="42"/>
                    <a:pt x="270" y="42"/>
                    <a:pt x="270" y="42"/>
                  </a:cubicBezTo>
                  <a:cubicBezTo>
                    <a:pt x="253" y="42"/>
                    <a:pt x="253" y="42"/>
                    <a:pt x="253" y="42"/>
                  </a:cubicBezTo>
                  <a:lnTo>
                    <a:pt x="253" y="30"/>
                  </a:lnTo>
                  <a:close/>
                  <a:moveTo>
                    <a:pt x="134" y="65"/>
                  </a:moveTo>
                  <a:cubicBezTo>
                    <a:pt x="139" y="56"/>
                    <a:pt x="139" y="56"/>
                    <a:pt x="139" y="56"/>
                  </a:cubicBezTo>
                  <a:cubicBezTo>
                    <a:pt x="159" y="25"/>
                    <a:pt x="159" y="25"/>
                    <a:pt x="159" y="25"/>
                  </a:cubicBezTo>
                  <a:cubicBezTo>
                    <a:pt x="160" y="24"/>
                    <a:pt x="161" y="24"/>
                    <a:pt x="161" y="24"/>
                  </a:cubicBezTo>
                  <a:cubicBezTo>
                    <a:pt x="183" y="42"/>
                    <a:pt x="183" y="42"/>
                    <a:pt x="183" y="42"/>
                  </a:cubicBezTo>
                  <a:cubicBezTo>
                    <a:pt x="184" y="42"/>
                    <a:pt x="184" y="43"/>
                    <a:pt x="183" y="44"/>
                  </a:cubicBezTo>
                  <a:cubicBezTo>
                    <a:pt x="165" y="63"/>
                    <a:pt x="165" y="63"/>
                    <a:pt x="165" y="63"/>
                  </a:cubicBezTo>
                  <a:cubicBezTo>
                    <a:pt x="165" y="63"/>
                    <a:pt x="165" y="64"/>
                    <a:pt x="165" y="64"/>
                  </a:cubicBezTo>
                  <a:cubicBezTo>
                    <a:pt x="176" y="77"/>
                    <a:pt x="176" y="77"/>
                    <a:pt x="176" y="77"/>
                  </a:cubicBezTo>
                  <a:cubicBezTo>
                    <a:pt x="181" y="82"/>
                    <a:pt x="181" y="82"/>
                    <a:pt x="181" y="82"/>
                  </a:cubicBezTo>
                  <a:cubicBezTo>
                    <a:pt x="181" y="83"/>
                    <a:pt x="181" y="84"/>
                    <a:pt x="181" y="85"/>
                  </a:cubicBezTo>
                  <a:cubicBezTo>
                    <a:pt x="176" y="88"/>
                    <a:pt x="176" y="88"/>
                    <a:pt x="176" y="88"/>
                  </a:cubicBezTo>
                  <a:cubicBezTo>
                    <a:pt x="141" y="114"/>
                    <a:pt x="141" y="114"/>
                    <a:pt x="141" y="114"/>
                  </a:cubicBezTo>
                  <a:cubicBezTo>
                    <a:pt x="141" y="115"/>
                    <a:pt x="140" y="115"/>
                    <a:pt x="139" y="114"/>
                  </a:cubicBezTo>
                  <a:cubicBezTo>
                    <a:pt x="139" y="114"/>
                    <a:pt x="139" y="113"/>
                    <a:pt x="139" y="112"/>
                  </a:cubicBezTo>
                  <a:cubicBezTo>
                    <a:pt x="160" y="85"/>
                    <a:pt x="160" y="85"/>
                    <a:pt x="160" y="85"/>
                  </a:cubicBezTo>
                  <a:cubicBezTo>
                    <a:pt x="160" y="85"/>
                    <a:pt x="160" y="84"/>
                    <a:pt x="159" y="84"/>
                  </a:cubicBezTo>
                  <a:cubicBezTo>
                    <a:pt x="141" y="72"/>
                    <a:pt x="141" y="72"/>
                    <a:pt x="141" y="72"/>
                  </a:cubicBezTo>
                  <a:cubicBezTo>
                    <a:pt x="134" y="67"/>
                    <a:pt x="134" y="67"/>
                    <a:pt x="134" y="67"/>
                  </a:cubicBezTo>
                  <a:cubicBezTo>
                    <a:pt x="133" y="67"/>
                    <a:pt x="133" y="66"/>
                    <a:pt x="134" y="65"/>
                  </a:cubicBezTo>
                  <a:close/>
                  <a:moveTo>
                    <a:pt x="37" y="36"/>
                  </a:moveTo>
                  <a:cubicBezTo>
                    <a:pt x="63" y="36"/>
                    <a:pt x="63" y="36"/>
                    <a:pt x="63" y="36"/>
                  </a:cubicBezTo>
                  <a:cubicBezTo>
                    <a:pt x="63" y="50"/>
                    <a:pt x="63" y="50"/>
                    <a:pt x="63" y="50"/>
                  </a:cubicBezTo>
                  <a:cubicBezTo>
                    <a:pt x="37" y="50"/>
                    <a:pt x="37" y="50"/>
                    <a:pt x="37" y="50"/>
                  </a:cubicBezTo>
                  <a:lnTo>
                    <a:pt x="37" y="36"/>
                  </a:lnTo>
                  <a:close/>
                </a:path>
              </a:pathLst>
            </a:custGeom>
            <a:grpFill/>
            <a:ln w="9525">
              <a:noFill/>
              <a:round/>
              <a:headEnd/>
              <a:tailEnd/>
            </a:ln>
          </p:spPr>
          <p:txBody>
            <a:bodyPr vert="horz" wrap="square" lIns="84406" tIns="42203" rIns="84406" bIns="4220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3C3C3B"/>
                </a:solidFill>
                <a:effectLst/>
                <a:uLnTx/>
                <a:uFillTx/>
                <a:latin typeface="Lato" panose="020F0502020204030203" pitchFamily="34" charset="0"/>
                <a:ea typeface="+mn-ea"/>
                <a:cs typeface="+mn-cs"/>
              </a:endParaRPr>
            </a:p>
          </p:txBody>
        </p:sp>
        <p:sp>
          <p:nvSpPr>
            <p:cNvPr id="205" name="Freeform 176">
              <a:extLst>
                <a:ext uri="{FF2B5EF4-FFF2-40B4-BE49-F238E27FC236}">
                  <a16:creationId xmlns:a16="http://schemas.microsoft.com/office/drawing/2014/main" id="{8D2FC30A-81E2-629B-F271-4C4831896A1D}"/>
                </a:ext>
              </a:extLst>
            </p:cNvPr>
            <p:cNvSpPr>
              <a:spLocks/>
            </p:cNvSpPr>
            <p:nvPr/>
          </p:nvSpPr>
          <p:spPr bwMode="auto">
            <a:xfrm>
              <a:off x="7907519" y="3145252"/>
              <a:ext cx="673884" cy="83030"/>
            </a:xfrm>
            <a:custGeom>
              <a:avLst/>
              <a:gdLst/>
              <a:ahLst/>
              <a:cxnLst>
                <a:cxn ang="0">
                  <a:pos x="346" y="19"/>
                </a:cxn>
                <a:cxn ang="0">
                  <a:pos x="329" y="19"/>
                </a:cxn>
                <a:cxn ang="0">
                  <a:pos x="329" y="16"/>
                </a:cxn>
                <a:cxn ang="0">
                  <a:pos x="329" y="14"/>
                </a:cxn>
                <a:cxn ang="0">
                  <a:pos x="329" y="1"/>
                </a:cxn>
                <a:cxn ang="0">
                  <a:pos x="327" y="0"/>
                </a:cxn>
                <a:cxn ang="0">
                  <a:pos x="240" y="0"/>
                </a:cxn>
                <a:cxn ang="0">
                  <a:pos x="238" y="1"/>
                </a:cxn>
                <a:cxn ang="0">
                  <a:pos x="238" y="14"/>
                </a:cxn>
                <a:cxn ang="0">
                  <a:pos x="238" y="16"/>
                </a:cxn>
                <a:cxn ang="0">
                  <a:pos x="238" y="19"/>
                </a:cxn>
                <a:cxn ang="0">
                  <a:pos x="112" y="19"/>
                </a:cxn>
                <a:cxn ang="0">
                  <a:pos x="112" y="16"/>
                </a:cxn>
                <a:cxn ang="0">
                  <a:pos x="112" y="14"/>
                </a:cxn>
                <a:cxn ang="0">
                  <a:pos x="112" y="1"/>
                </a:cxn>
                <a:cxn ang="0">
                  <a:pos x="110" y="0"/>
                </a:cxn>
                <a:cxn ang="0">
                  <a:pos x="23" y="0"/>
                </a:cxn>
                <a:cxn ang="0">
                  <a:pos x="21" y="1"/>
                </a:cxn>
                <a:cxn ang="0">
                  <a:pos x="21" y="14"/>
                </a:cxn>
                <a:cxn ang="0">
                  <a:pos x="21" y="16"/>
                </a:cxn>
                <a:cxn ang="0">
                  <a:pos x="21" y="19"/>
                </a:cxn>
                <a:cxn ang="0">
                  <a:pos x="7" y="19"/>
                </a:cxn>
                <a:cxn ang="0">
                  <a:pos x="0" y="26"/>
                </a:cxn>
                <a:cxn ang="0">
                  <a:pos x="0" y="37"/>
                </a:cxn>
                <a:cxn ang="0">
                  <a:pos x="7" y="44"/>
                </a:cxn>
                <a:cxn ang="0">
                  <a:pos x="12" y="44"/>
                </a:cxn>
                <a:cxn ang="0">
                  <a:pos x="341" y="44"/>
                </a:cxn>
                <a:cxn ang="0">
                  <a:pos x="346" y="44"/>
                </a:cxn>
                <a:cxn ang="0">
                  <a:pos x="353" y="37"/>
                </a:cxn>
                <a:cxn ang="0">
                  <a:pos x="353" y="26"/>
                </a:cxn>
                <a:cxn ang="0">
                  <a:pos x="346" y="19"/>
                </a:cxn>
              </a:cxnLst>
              <a:rect l="0" t="0" r="r" b="b"/>
              <a:pathLst>
                <a:path w="353" h="44">
                  <a:moveTo>
                    <a:pt x="346" y="19"/>
                  </a:moveTo>
                  <a:cubicBezTo>
                    <a:pt x="329" y="19"/>
                    <a:pt x="329" y="19"/>
                    <a:pt x="329" y="19"/>
                  </a:cubicBezTo>
                  <a:cubicBezTo>
                    <a:pt x="329" y="16"/>
                    <a:pt x="329" y="16"/>
                    <a:pt x="329" y="16"/>
                  </a:cubicBezTo>
                  <a:cubicBezTo>
                    <a:pt x="329" y="14"/>
                    <a:pt x="329" y="14"/>
                    <a:pt x="329" y="14"/>
                  </a:cubicBezTo>
                  <a:cubicBezTo>
                    <a:pt x="329" y="1"/>
                    <a:pt x="329" y="1"/>
                    <a:pt x="329" y="1"/>
                  </a:cubicBezTo>
                  <a:cubicBezTo>
                    <a:pt x="329" y="0"/>
                    <a:pt x="328" y="0"/>
                    <a:pt x="327" y="0"/>
                  </a:cubicBezTo>
                  <a:cubicBezTo>
                    <a:pt x="240" y="0"/>
                    <a:pt x="240" y="0"/>
                    <a:pt x="240" y="0"/>
                  </a:cubicBezTo>
                  <a:cubicBezTo>
                    <a:pt x="239" y="0"/>
                    <a:pt x="238" y="0"/>
                    <a:pt x="238" y="1"/>
                  </a:cubicBezTo>
                  <a:cubicBezTo>
                    <a:pt x="238" y="14"/>
                    <a:pt x="238" y="14"/>
                    <a:pt x="238" y="14"/>
                  </a:cubicBezTo>
                  <a:cubicBezTo>
                    <a:pt x="238" y="16"/>
                    <a:pt x="238" y="16"/>
                    <a:pt x="238" y="16"/>
                  </a:cubicBezTo>
                  <a:cubicBezTo>
                    <a:pt x="238" y="19"/>
                    <a:pt x="238" y="19"/>
                    <a:pt x="238" y="19"/>
                  </a:cubicBezTo>
                  <a:cubicBezTo>
                    <a:pt x="112" y="19"/>
                    <a:pt x="112" y="19"/>
                    <a:pt x="112" y="19"/>
                  </a:cubicBezTo>
                  <a:cubicBezTo>
                    <a:pt x="112" y="16"/>
                    <a:pt x="112" y="16"/>
                    <a:pt x="112" y="16"/>
                  </a:cubicBezTo>
                  <a:cubicBezTo>
                    <a:pt x="112" y="14"/>
                    <a:pt x="112" y="14"/>
                    <a:pt x="112" y="14"/>
                  </a:cubicBezTo>
                  <a:cubicBezTo>
                    <a:pt x="112" y="1"/>
                    <a:pt x="112" y="1"/>
                    <a:pt x="112" y="1"/>
                  </a:cubicBezTo>
                  <a:cubicBezTo>
                    <a:pt x="112" y="0"/>
                    <a:pt x="111" y="0"/>
                    <a:pt x="110" y="0"/>
                  </a:cubicBezTo>
                  <a:cubicBezTo>
                    <a:pt x="23" y="0"/>
                    <a:pt x="23" y="0"/>
                    <a:pt x="23" y="0"/>
                  </a:cubicBezTo>
                  <a:cubicBezTo>
                    <a:pt x="22" y="0"/>
                    <a:pt x="21" y="0"/>
                    <a:pt x="21" y="1"/>
                  </a:cubicBezTo>
                  <a:cubicBezTo>
                    <a:pt x="21" y="14"/>
                    <a:pt x="21" y="14"/>
                    <a:pt x="21" y="14"/>
                  </a:cubicBezTo>
                  <a:cubicBezTo>
                    <a:pt x="21" y="16"/>
                    <a:pt x="21" y="16"/>
                    <a:pt x="21" y="16"/>
                  </a:cubicBezTo>
                  <a:cubicBezTo>
                    <a:pt x="21" y="19"/>
                    <a:pt x="21" y="19"/>
                    <a:pt x="21" y="19"/>
                  </a:cubicBezTo>
                  <a:cubicBezTo>
                    <a:pt x="7" y="19"/>
                    <a:pt x="7" y="19"/>
                    <a:pt x="7" y="19"/>
                  </a:cubicBezTo>
                  <a:cubicBezTo>
                    <a:pt x="4" y="19"/>
                    <a:pt x="0" y="22"/>
                    <a:pt x="0" y="26"/>
                  </a:cubicBezTo>
                  <a:cubicBezTo>
                    <a:pt x="0" y="37"/>
                    <a:pt x="0" y="37"/>
                    <a:pt x="0" y="37"/>
                  </a:cubicBezTo>
                  <a:cubicBezTo>
                    <a:pt x="0" y="41"/>
                    <a:pt x="4" y="44"/>
                    <a:pt x="7" y="44"/>
                  </a:cubicBezTo>
                  <a:cubicBezTo>
                    <a:pt x="12" y="44"/>
                    <a:pt x="12" y="44"/>
                    <a:pt x="12" y="44"/>
                  </a:cubicBezTo>
                  <a:cubicBezTo>
                    <a:pt x="341" y="44"/>
                    <a:pt x="341" y="44"/>
                    <a:pt x="341" y="44"/>
                  </a:cubicBezTo>
                  <a:cubicBezTo>
                    <a:pt x="346" y="44"/>
                    <a:pt x="346" y="44"/>
                    <a:pt x="346" y="44"/>
                  </a:cubicBezTo>
                  <a:cubicBezTo>
                    <a:pt x="350" y="44"/>
                    <a:pt x="353" y="41"/>
                    <a:pt x="353" y="37"/>
                  </a:cubicBezTo>
                  <a:cubicBezTo>
                    <a:pt x="353" y="26"/>
                    <a:pt x="353" y="26"/>
                    <a:pt x="353" y="26"/>
                  </a:cubicBezTo>
                  <a:cubicBezTo>
                    <a:pt x="353" y="22"/>
                    <a:pt x="350" y="19"/>
                    <a:pt x="346" y="19"/>
                  </a:cubicBezTo>
                  <a:close/>
                </a:path>
              </a:pathLst>
            </a:custGeom>
            <a:grpFill/>
            <a:ln w="9525">
              <a:noFill/>
              <a:round/>
              <a:headEnd/>
              <a:tailEnd/>
            </a:ln>
          </p:spPr>
          <p:txBody>
            <a:bodyPr vert="horz" wrap="square" lIns="84406" tIns="42203" rIns="84406" bIns="4220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3C3C3B"/>
                </a:solidFill>
                <a:effectLst/>
                <a:uLnTx/>
                <a:uFillTx/>
                <a:latin typeface="Lato" panose="020F0502020204030203" pitchFamily="34" charset="0"/>
                <a:ea typeface="+mn-ea"/>
                <a:cs typeface="+mn-cs"/>
              </a:endParaRPr>
            </a:p>
          </p:txBody>
        </p:sp>
        <p:sp>
          <p:nvSpPr>
            <p:cNvPr id="206" name="Freeform 177">
              <a:extLst>
                <a:ext uri="{FF2B5EF4-FFF2-40B4-BE49-F238E27FC236}">
                  <a16:creationId xmlns:a16="http://schemas.microsoft.com/office/drawing/2014/main" id="{1BE6D2C4-D756-8850-2BB0-41014495C0E1}"/>
                </a:ext>
              </a:extLst>
            </p:cNvPr>
            <p:cNvSpPr>
              <a:spLocks/>
            </p:cNvSpPr>
            <p:nvPr/>
          </p:nvSpPr>
          <p:spPr bwMode="auto">
            <a:xfrm>
              <a:off x="7998266" y="3112473"/>
              <a:ext cx="73374" cy="23172"/>
            </a:xfrm>
            <a:custGeom>
              <a:avLst/>
              <a:gdLst/>
              <a:ahLst/>
              <a:cxnLst>
                <a:cxn ang="0">
                  <a:pos x="2" y="0"/>
                </a:cxn>
                <a:cxn ang="0">
                  <a:pos x="0" y="1"/>
                </a:cxn>
                <a:cxn ang="0">
                  <a:pos x="0" y="10"/>
                </a:cxn>
                <a:cxn ang="0">
                  <a:pos x="2" y="12"/>
                </a:cxn>
                <a:cxn ang="0">
                  <a:pos x="37" y="12"/>
                </a:cxn>
                <a:cxn ang="0">
                  <a:pos x="39" y="10"/>
                </a:cxn>
                <a:cxn ang="0">
                  <a:pos x="39" y="1"/>
                </a:cxn>
                <a:cxn ang="0">
                  <a:pos x="37" y="0"/>
                </a:cxn>
                <a:cxn ang="0">
                  <a:pos x="2" y="0"/>
                </a:cxn>
              </a:cxnLst>
              <a:rect l="0" t="0" r="r" b="b"/>
              <a:pathLst>
                <a:path w="39" h="12">
                  <a:moveTo>
                    <a:pt x="2" y="0"/>
                  </a:moveTo>
                  <a:cubicBezTo>
                    <a:pt x="1" y="0"/>
                    <a:pt x="0" y="0"/>
                    <a:pt x="0" y="1"/>
                  </a:cubicBezTo>
                  <a:cubicBezTo>
                    <a:pt x="0" y="10"/>
                    <a:pt x="0" y="10"/>
                    <a:pt x="0" y="10"/>
                  </a:cubicBezTo>
                  <a:cubicBezTo>
                    <a:pt x="0" y="11"/>
                    <a:pt x="1" y="12"/>
                    <a:pt x="2" y="12"/>
                  </a:cubicBezTo>
                  <a:cubicBezTo>
                    <a:pt x="37" y="12"/>
                    <a:pt x="37" y="12"/>
                    <a:pt x="37" y="12"/>
                  </a:cubicBezTo>
                  <a:cubicBezTo>
                    <a:pt x="38" y="12"/>
                    <a:pt x="39" y="11"/>
                    <a:pt x="39" y="10"/>
                  </a:cubicBezTo>
                  <a:cubicBezTo>
                    <a:pt x="39" y="1"/>
                    <a:pt x="39" y="1"/>
                    <a:pt x="39" y="1"/>
                  </a:cubicBezTo>
                  <a:cubicBezTo>
                    <a:pt x="39" y="0"/>
                    <a:pt x="38" y="0"/>
                    <a:pt x="37" y="0"/>
                  </a:cubicBezTo>
                  <a:lnTo>
                    <a:pt x="2" y="0"/>
                  </a:lnTo>
                  <a:close/>
                </a:path>
              </a:pathLst>
            </a:custGeom>
            <a:grpFill/>
            <a:ln w="9525">
              <a:noFill/>
              <a:round/>
              <a:headEnd/>
              <a:tailEnd/>
            </a:ln>
          </p:spPr>
          <p:txBody>
            <a:bodyPr vert="horz" wrap="square" lIns="84406" tIns="42203" rIns="84406" bIns="4220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3C3C3B"/>
                </a:solidFill>
                <a:effectLst/>
                <a:uLnTx/>
                <a:uFillTx/>
                <a:latin typeface="Lato" panose="020F0502020204030203" pitchFamily="34" charset="0"/>
                <a:ea typeface="+mn-ea"/>
                <a:cs typeface="+mn-cs"/>
              </a:endParaRPr>
            </a:p>
          </p:txBody>
        </p:sp>
        <p:sp>
          <p:nvSpPr>
            <p:cNvPr id="207" name="Freeform 178">
              <a:extLst>
                <a:ext uri="{FF2B5EF4-FFF2-40B4-BE49-F238E27FC236}">
                  <a16:creationId xmlns:a16="http://schemas.microsoft.com/office/drawing/2014/main" id="{F3A50054-2B02-8108-23B0-5660CA1CB73E}"/>
                </a:ext>
              </a:extLst>
            </p:cNvPr>
            <p:cNvSpPr>
              <a:spLocks/>
            </p:cNvSpPr>
            <p:nvPr/>
          </p:nvSpPr>
          <p:spPr bwMode="auto">
            <a:xfrm>
              <a:off x="8411486" y="3112412"/>
              <a:ext cx="73374" cy="23172"/>
            </a:xfrm>
            <a:custGeom>
              <a:avLst/>
              <a:gdLst/>
              <a:ahLst/>
              <a:cxnLst>
                <a:cxn ang="0">
                  <a:pos x="2" y="0"/>
                </a:cxn>
                <a:cxn ang="0">
                  <a:pos x="0" y="1"/>
                </a:cxn>
                <a:cxn ang="0">
                  <a:pos x="0" y="10"/>
                </a:cxn>
                <a:cxn ang="0">
                  <a:pos x="2" y="12"/>
                </a:cxn>
                <a:cxn ang="0">
                  <a:pos x="37" y="12"/>
                </a:cxn>
                <a:cxn ang="0">
                  <a:pos x="38" y="10"/>
                </a:cxn>
                <a:cxn ang="0">
                  <a:pos x="38" y="1"/>
                </a:cxn>
                <a:cxn ang="0">
                  <a:pos x="37" y="0"/>
                </a:cxn>
                <a:cxn ang="0">
                  <a:pos x="2" y="0"/>
                </a:cxn>
              </a:cxnLst>
              <a:rect l="0" t="0" r="r" b="b"/>
              <a:pathLst>
                <a:path w="38" h="12">
                  <a:moveTo>
                    <a:pt x="2" y="0"/>
                  </a:moveTo>
                  <a:cubicBezTo>
                    <a:pt x="1" y="0"/>
                    <a:pt x="0" y="0"/>
                    <a:pt x="0" y="1"/>
                  </a:cubicBezTo>
                  <a:cubicBezTo>
                    <a:pt x="0" y="10"/>
                    <a:pt x="0" y="10"/>
                    <a:pt x="0" y="10"/>
                  </a:cubicBezTo>
                  <a:cubicBezTo>
                    <a:pt x="0" y="11"/>
                    <a:pt x="1" y="12"/>
                    <a:pt x="2" y="12"/>
                  </a:cubicBezTo>
                  <a:cubicBezTo>
                    <a:pt x="37" y="12"/>
                    <a:pt x="37" y="12"/>
                    <a:pt x="37" y="12"/>
                  </a:cubicBezTo>
                  <a:cubicBezTo>
                    <a:pt x="38" y="12"/>
                    <a:pt x="38" y="11"/>
                    <a:pt x="38" y="10"/>
                  </a:cubicBezTo>
                  <a:cubicBezTo>
                    <a:pt x="38" y="1"/>
                    <a:pt x="38" y="1"/>
                    <a:pt x="38" y="1"/>
                  </a:cubicBezTo>
                  <a:cubicBezTo>
                    <a:pt x="38" y="0"/>
                    <a:pt x="38" y="0"/>
                    <a:pt x="37" y="0"/>
                  </a:cubicBezTo>
                  <a:lnTo>
                    <a:pt x="2" y="0"/>
                  </a:lnTo>
                  <a:close/>
                </a:path>
              </a:pathLst>
            </a:custGeom>
            <a:grpFill/>
            <a:ln w="9525">
              <a:noFill/>
              <a:round/>
              <a:headEnd/>
              <a:tailEnd/>
            </a:ln>
          </p:spPr>
          <p:txBody>
            <a:bodyPr vert="horz" wrap="square" lIns="84406" tIns="42203" rIns="84406" bIns="4220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3C3C3B"/>
                </a:solidFill>
                <a:effectLst/>
                <a:uLnTx/>
                <a:uFillTx/>
                <a:latin typeface="Lato" panose="020F0502020204030203" pitchFamily="34" charset="0"/>
                <a:ea typeface="+mn-ea"/>
                <a:cs typeface="+mn-cs"/>
              </a:endParaRPr>
            </a:p>
          </p:txBody>
        </p:sp>
      </p:grpSp>
      <p:grpSp>
        <p:nvGrpSpPr>
          <p:cNvPr id="30" name="Group 29">
            <a:extLst>
              <a:ext uri="{FF2B5EF4-FFF2-40B4-BE49-F238E27FC236}">
                <a16:creationId xmlns:a16="http://schemas.microsoft.com/office/drawing/2014/main" id="{32F7630A-D088-C31D-B702-34700C0B7ED7}"/>
              </a:ext>
            </a:extLst>
          </p:cNvPr>
          <p:cNvGrpSpPr>
            <a:grpSpLocks/>
          </p:cNvGrpSpPr>
          <p:nvPr/>
        </p:nvGrpSpPr>
        <p:grpSpPr>
          <a:xfrm>
            <a:off x="2066254" y="5748112"/>
            <a:ext cx="503565" cy="503565"/>
            <a:chOff x="1571788" y="5688380"/>
            <a:chExt cx="720000" cy="720000"/>
          </a:xfrm>
        </p:grpSpPr>
        <p:sp>
          <p:nvSpPr>
            <p:cNvPr id="188" name="Oval 187">
              <a:extLst>
                <a:ext uri="{FF2B5EF4-FFF2-40B4-BE49-F238E27FC236}">
                  <a16:creationId xmlns:a16="http://schemas.microsoft.com/office/drawing/2014/main" id="{9C91CAB0-C43B-6E65-568A-796BC525FA93}"/>
                </a:ext>
              </a:extLst>
            </p:cNvPr>
            <p:cNvSpPr>
              <a:spLocks/>
            </p:cNvSpPr>
            <p:nvPr/>
          </p:nvSpPr>
          <p:spPr>
            <a:xfrm>
              <a:off x="1571788" y="5688380"/>
              <a:ext cx="720000" cy="720000"/>
            </a:xfrm>
            <a:prstGeom prst="ellipse">
              <a:avLst/>
            </a:prstGeom>
            <a:solidFill>
              <a:schemeClr val="bg2"/>
            </a:solidFill>
            <a:ln w="6350" cmpd="sng">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pic>
          <p:nvPicPr>
            <p:cNvPr id="29" name="Picture 28" descr="Shape&#10;&#10;Description automatically generated with low confidence">
              <a:extLst>
                <a:ext uri="{FF2B5EF4-FFF2-40B4-BE49-F238E27FC236}">
                  <a16:creationId xmlns:a16="http://schemas.microsoft.com/office/drawing/2014/main" id="{ECF7556F-79BE-E4F9-EC71-9D47194FC5EC}"/>
                </a:ext>
              </a:extLst>
            </p:cNvPr>
            <p:cNvPicPr>
              <a:picLocks noChangeAspect="1"/>
            </p:cNvPicPr>
            <p:nvPr/>
          </p:nvPicPr>
          <p:blipFill>
            <a:blip r:embed="rId46" cstate="screen">
              <a:alphaModFix amt="70000"/>
              <a:extLst>
                <a:ext uri="{28A0092B-C50C-407E-A947-70E740481C1C}">
                  <a14:useLocalDpi xmlns:a14="http://schemas.microsoft.com/office/drawing/2010/main"/>
                </a:ext>
              </a:extLst>
            </a:blip>
            <a:stretch>
              <a:fillRect/>
            </a:stretch>
          </p:blipFill>
          <p:spPr>
            <a:xfrm>
              <a:off x="1661788" y="5778380"/>
              <a:ext cx="540000" cy="540000"/>
            </a:xfrm>
            <a:prstGeom prst="rect">
              <a:avLst/>
            </a:prstGeom>
          </p:spPr>
        </p:pic>
      </p:grpSp>
      <p:sp>
        <p:nvSpPr>
          <p:cNvPr id="197" name="Oval 196">
            <a:extLst>
              <a:ext uri="{FF2B5EF4-FFF2-40B4-BE49-F238E27FC236}">
                <a16:creationId xmlns:a16="http://schemas.microsoft.com/office/drawing/2014/main" id="{C90D07CC-42C8-67C7-6CB9-23161DB00D4D}"/>
              </a:ext>
            </a:extLst>
          </p:cNvPr>
          <p:cNvSpPr>
            <a:spLocks/>
          </p:cNvSpPr>
          <p:nvPr/>
        </p:nvSpPr>
        <p:spPr>
          <a:xfrm>
            <a:off x="2066254" y="3206521"/>
            <a:ext cx="503565" cy="503565"/>
          </a:xfrm>
          <a:prstGeom prst="ellipse">
            <a:avLst/>
          </a:prstGeom>
          <a:solidFill>
            <a:schemeClr val="bg2"/>
          </a:solidFill>
          <a:ln w="6350" cmpd="sng">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43" name="Oval 342">
            <a:extLst>
              <a:ext uri="{FF2B5EF4-FFF2-40B4-BE49-F238E27FC236}">
                <a16:creationId xmlns:a16="http://schemas.microsoft.com/office/drawing/2014/main" id="{A95A5FFD-A066-391C-BF64-EC94B9AFF356}"/>
              </a:ext>
            </a:extLst>
          </p:cNvPr>
          <p:cNvSpPr>
            <a:spLocks/>
          </p:cNvSpPr>
          <p:nvPr/>
        </p:nvSpPr>
        <p:spPr>
          <a:xfrm>
            <a:off x="2066254" y="5132150"/>
            <a:ext cx="503565" cy="503565"/>
          </a:xfrm>
          <a:prstGeom prst="ellipse">
            <a:avLst/>
          </a:prstGeom>
          <a:solidFill>
            <a:schemeClr val="bg2"/>
          </a:solidFill>
          <a:ln w="6350" cmpd="sng">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72000" tIns="72000" rIns="72000" bIns="7200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a:t>
            </a:r>
            <a:r>
              <a:rPr kumimoji="0" lang="en-GB" sz="1800" b="0" i="0" u="none" strike="noStrike" kern="1200" cap="none" spc="0" normalizeH="0" baseline="-2500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2</a:t>
            </a: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44" name="Oval 343">
            <a:extLst>
              <a:ext uri="{FF2B5EF4-FFF2-40B4-BE49-F238E27FC236}">
                <a16:creationId xmlns:a16="http://schemas.microsoft.com/office/drawing/2014/main" id="{E3C7D22F-559F-65A1-FBEA-24E6A7D7BEDB}"/>
              </a:ext>
            </a:extLst>
          </p:cNvPr>
          <p:cNvSpPr>
            <a:spLocks/>
          </p:cNvSpPr>
          <p:nvPr/>
        </p:nvSpPr>
        <p:spPr>
          <a:xfrm>
            <a:off x="2066254" y="3848565"/>
            <a:ext cx="503565" cy="503565"/>
          </a:xfrm>
          <a:prstGeom prst="ellipse">
            <a:avLst/>
          </a:prstGeom>
          <a:solidFill>
            <a:schemeClr val="bg2"/>
          </a:solidFill>
          <a:ln w="6350" cmpd="sng">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72000" tIns="72000" rIns="72000" bIns="7200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pic>
        <p:nvPicPr>
          <p:cNvPr id="1028" name="Picture 4" descr="Electric Car Icons - Download Free Vector Icons | Noun Project">
            <a:extLst>
              <a:ext uri="{FF2B5EF4-FFF2-40B4-BE49-F238E27FC236}">
                <a16:creationId xmlns:a16="http://schemas.microsoft.com/office/drawing/2014/main" id="{EC754BCA-3436-8C29-CC8E-7EC9128F2DEE}"/>
              </a:ext>
            </a:extLst>
          </p:cNvPr>
          <p:cNvPicPr>
            <a:picLocks noChangeAspect="1"/>
          </p:cNvPicPr>
          <p:nvPr/>
        </p:nvPicPr>
        <p:blipFill>
          <a:blip r:embed="rId47" cstate="screen">
            <a:alphaModFix amt="70000"/>
            <a:extLst>
              <a:ext uri="{28A0092B-C50C-407E-A947-70E740481C1C}">
                <a14:useLocalDpi xmlns:a14="http://schemas.microsoft.com/office/drawing/2010/main"/>
              </a:ext>
            </a:extLst>
          </a:blip>
          <a:srcRect/>
          <a:stretch>
            <a:fillRect/>
          </a:stretch>
        </p:blipFill>
        <p:spPr bwMode="auto">
          <a:xfrm>
            <a:off x="2113428" y="3895951"/>
            <a:ext cx="409217" cy="409217"/>
          </a:xfrm>
          <a:prstGeom prst="rect">
            <a:avLst/>
          </a:prstGeom>
          <a:noFill/>
          <a:extLst>
            <a:ext uri="{909E8E84-426E-40DD-AFC4-6F175D3DCCD1}">
              <a14:hiddenFill xmlns:a14="http://schemas.microsoft.com/office/drawing/2010/main">
                <a:solidFill>
                  <a:srgbClr val="FFFFFF"/>
                </a:solidFill>
              </a14:hiddenFill>
            </a:ext>
          </a:extLst>
        </p:spPr>
      </p:pic>
      <p:grpSp>
        <p:nvGrpSpPr>
          <p:cNvPr id="35" name="Group 34">
            <a:extLst>
              <a:ext uri="{FF2B5EF4-FFF2-40B4-BE49-F238E27FC236}">
                <a16:creationId xmlns:a16="http://schemas.microsoft.com/office/drawing/2014/main" id="{4BEAEA2F-2D23-56FC-4ECC-768AF1F4A55C}"/>
              </a:ext>
            </a:extLst>
          </p:cNvPr>
          <p:cNvGrpSpPr/>
          <p:nvPr/>
        </p:nvGrpSpPr>
        <p:grpSpPr>
          <a:xfrm>
            <a:off x="2792445" y="3832156"/>
            <a:ext cx="1392739" cy="1911099"/>
            <a:chOff x="2807158" y="4054613"/>
            <a:chExt cx="1282191" cy="1759404"/>
          </a:xfrm>
        </p:grpSpPr>
        <p:grpSp>
          <p:nvGrpSpPr>
            <p:cNvPr id="52" name="Group 51">
              <a:extLst>
                <a:ext uri="{FF2B5EF4-FFF2-40B4-BE49-F238E27FC236}">
                  <a16:creationId xmlns:a16="http://schemas.microsoft.com/office/drawing/2014/main" id="{A28FF7A2-47ED-8E20-358F-95BB4C987D66}"/>
                </a:ext>
              </a:extLst>
            </p:cNvPr>
            <p:cNvGrpSpPr>
              <a:grpSpLocks/>
            </p:cNvGrpSpPr>
            <p:nvPr/>
          </p:nvGrpSpPr>
          <p:grpSpPr>
            <a:xfrm>
              <a:off x="2807158" y="4054613"/>
              <a:ext cx="1282191" cy="1759404"/>
              <a:chOff x="2590976" y="4265281"/>
              <a:chExt cx="1282191" cy="1759404"/>
            </a:xfrm>
          </p:grpSpPr>
          <p:sp>
            <p:nvSpPr>
              <p:cNvPr id="457" name="Venezuela" descr="© INSCALE GmbH, 05.05.2010&#10;http://www.presentationload.com/">
                <a:extLst>
                  <a:ext uri="{FF2B5EF4-FFF2-40B4-BE49-F238E27FC236}">
                    <a16:creationId xmlns:a16="http://schemas.microsoft.com/office/drawing/2014/main" id="{6FB431E0-20B4-20A5-54DE-667E0CDE36BD}"/>
                  </a:ext>
                </a:extLst>
              </p:cNvPr>
              <p:cNvSpPr>
                <a:spLocks/>
              </p:cNvSpPr>
              <p:nvPr/>
            </p:nvSpPr>
            <p:spPr bwMode="gray">
              <a:xfrm>
                <a:off x="2817682" y="4272849"/>
                <a:ext cx="368773" cy="300171"/>
              </a:xfrm>
              <a:custGeom>
                <a:avLst/>
                <a:gdLst>
                  <a:gd name="T0" fmla="*/ 2147483647 w 954"/>
                  <a:gd name="T1" fmla="*/ 2147483647 h 930"/>
                  <a:gd name="T2" fmla="*/ 2147483647 w 954"/>
                  <a:gd name="T3" fmla="*/ 2147483647 h 930"/>
                  <a:gd name="T4" fmla="*/ 2147483647 w 954"/>
                  <a:gd name="T5" fmla="*/ 2147483647 h 930"/>
                  <a:gd name="T6" fmla="*/ 2147483647 w 954"/>
                  <a:gd name="T7" fmla="*/ 2147483647 h 930"/>
                  <a:gd name="T8" fmla="*/ 2147483647 w 954"/>
                  <a:gd name="T9" fmla="*/ 2147483647 h 930"/>
                  <a:gd name="T10" fmla="*/ 2147483647 w 954"/>
                  <a:gd name="T11" fmla="*/ 2147483647 h 930"/>
                  <a:gd name="T12" fmla="*/ 2147483647 w 954"/>
                  <a:gd name="T13" fmla="*/ 2147483647 h 930"/>
                  <a:gd name="T14" fmla="*/ 2147483647 w 954"/>
                  <a:gd name="T15" fmla="*/ 2147483647 h 930"/>
                  <a:gd name="T16" fmla="*/ 2147483647 w 954"/>
                  <a:gd name="T17" fmla="*/ 2147483647 h 930"/>
                  <a:gd name="T18" fmla="*/ 2147483647 w 954"/>
                  <a:gd name="T19" fmla="*/ 2147483647 h 930"/>
                  <a:gd name="T20" fmla="*/ 2147483647 w 954"/>
                  <a:gd name="T21" fmla="*/ 2147483647 h 930"/>
                  <a:gd name="T22" fmla="*/ 2147483647 w 954"/>
                  <a:gd name="T23" fmla="*/ 2147483647 h 930"/>
                  <a:gd name="T24" fmla="*/ 2147483647 w 954"/>
                  <a:gd name="T25" fmla="*/ 2147483647 h 930"/>
                  <a:gd name="T26" fmla="*/ 2147483647 w 954"/>
                  <a:gd name="T27" fmla="*/ 2147483647 h 930"/>
                  <a:gd name="T28" fmla="*/ 2147483647 w 954"/>
                  <a:gd name="T29" fmla="*/ 2147483647 h 930"/>
                  <a:gd name="T30" fmla="*/ 2147483647 w 954"/>
                  <a:gd name="T31" fmla="*/ 2147483647 h 930"/>
                  <a:gd name="T32" fmla="*/ 2147483647 w 954"/>
                  <a:gd name="T33" fmla="*/ 2147483647 h 930"/>
                  <a:gd name="T34" fmla="*/ 2147483647 w 954"/>
                  <a:gd name="T35" fmla="*/ 2147483647 h 930"/>
                  <a:gd name="T36" fmla="*/ 2147483647 w 954"/>
                  <a:gd name="T37" fmla="*/ 2147483647 h 930"/>
                  <a:gd name="T38" fmla="*/ 2147483647 w 954"/>
                  <a:gd name="T39" fmla="*/ 2147483647 h 930"/>
                  <a:gd name="T40" fmla="*/ 2147483647 w 954"/>
                  <a:gd name="T41" fmla="*/ 2147483647 h 930"/>
                  <a:gd name="T42" fmla="*/ 2147483647 w 954"/>
                  <a:gd name="T43" fmla="*/ 2147483647 h 930"/>
                  <a:gd name="T44" fmla="*/ 2147483647 w 954"/>
                  <a:gd name="T45" fmla="*/ 2147483647 h 930"/>
                  <a:gd name="T46" fmla="*/ 2147483647 w 954"/>
                  <a:gd name="T47" fmla="*/ 2147483647 h 930"/>
                  <a:gd name="T48" fmla="*/ 2147483647 w 954"/>
                  <a:gd name="T49" fmla="*/ 2147483647 h 930"/>
                  <a:gd name="T50" fmla="*/ 0 w 954"/>
                  <a:gd name="T51" fmla="*/ 2147483647 h 930"/>
                  <a:gd name="T52" fmla="*/ 2147483647 w 954"/>
                  <a:gd name="T53" fmla="*/ 2147483647 h 930"/>
                  <a:gd name="T54" fmla="*/ 2147483647 w 954"/>
                  <a:gd name="T55" fmla="*/ 2147483647 h 930"/>
                  <a:gd name="T56" fmla="*/ 2147483647 w 954"/>
                  <a:gd name="T57" fmla="*/ 2147483647 h 930"/>
                  <a:gd name="T58" fmla="*/ 2147483647 w 954"/>
                  <a:gd name="T59" fmla="*/ 2147483647 h 930"/>
                  <a:gd name="T60" fmla="*/ 2147483647 w 954"/>
                  <a:gd name="T61" fmla="*/ 2147483647 h 930"/>
                  <a:gd name="T62" fmla="*/ 2147483647 w 954"/>
                  <a:gd name="T63" fmla="*/ 2147483647 h 930"/>
                  <a:gd name="T64" fmla="*/ 2147483647 w 954"/>
                  <a:gd name="T65" fmla="*/ 2147483647 h 930"/>
                  <a:gd name="T66" fmla="*/ 2147483647 w 954"/>
                  <a:gd name="T67" fmla="*/ 2147483647 h 930"/>
                  <a:gd name="T68" fmla="*/ 2147483647 w 954"/>
                  <a:gd name="T69" fmla="*/ 2147483647 h 930"/>
                  <a:gd name="T70" fmla="*/ 2147483647 w 954"/>
                  <a:gd name="T71" fmla="*/ 2147483647 h 930"/>
                  <a:gd name="T72" fmla="*/ 2147483647 w 954"/>
                  <a:gd name="T73" fmla="*/ 2147483647 h 930"/>
                  <a:gd name="T74" fmla="*/ 2147483647 w 954"/>
                  <a:gd name="T75" fmla="*/ 2147483647 h 930"/>
                  <a:gd name="T76" fmla="*/ 2147483647 w 954"/>
                  <a:gd name="T77" fmla="*/ 2147483647 h 930"/>
                  <a:gd name="T78" fmla="*/ 2147483647 w 954"/>
                  <a:gd name="T79" fmla="*/ 2147483647 h 930"/>
                  <a:gd name="T80" fmla="*/ 2147483647 w 954"/>
                  <a:gd name="T81" fmla="*/ 2147483647 h 930"/>
                  <a:gd name="T82" fmla="*/ 2147483647 w 954"/>
                  <a:gd name="T83" fmla="*/ 2147483647 h 930"/>
                  <a:gd name="T84" fmla="*/ 2147483647 w 954"/>
                  <a:gd name="T85" fmla="*/ 2147483647 h 930"/>
                  <a:gd name="T86" fmla="*/ 2147483647 w 954"/>
                  <a:gd name="T87" fmla="*/ 2147483647 h 930"/>
                  <a:gd name="T88" fmla="*/ 2147483647 w 954"/>
                  <a:gd name="T89" fmla="*/ 2147483647 h 930"/>
                  <a:gd name="T90" fmla="*/ 2147483647 w 954"/>
                  <a:gd name="T91" fmla="*/ 2147483647 h 930"/>
                  <a:gd name="T92" fmla="*/ 2147483647 w 954"/>
                  <a:gd name="T93" fmla="*/ 2147483647 h 930"/>
                  <a:gd name="T94" fmla="*/ 2147483647 w 954"/>
                  <a:gd name="T95" fmla="*/ 2147483647 h 930"/>
                  <a:gd name="T96" fmla="*/ 2147483647 w 954"/>
                  <a:gd name="T97" fmla="*/ 2147483647 h 930"/>
                  <a:gd name="T98" fmla="*/ 2147483647 w 954"/>
                  <a:gd name="T99" fmla="*/ 2147483647 h 930"/>
                  <a:gd name="T100" fmla="*/ 2147483647 w 954"/>
                  <a:gd name="T101" fmla="*/ 2147483647 h 930"/>
                  <a:gd name="T102" fmla="*/ 2147483647 w 954"/>
                  <a:gd name="T103" fmla="*/ 2147483647 h 930"/>
                  <a:gd name="T104" fmla="*/ 2147483647 w 954"/>
                  <a:gd name="T105" fmla="*/ 2147483647 h 930"/>
                  <a:gd name="T106" fmla="*/ 2147483647 w 954"/>
                  <a:gd name="T107" fmla="*/ 2147483647 h 930"/>
                  <a:gd name="T108" fmla="*/ 2147483647 w 954"/>
                  <a:gd name="T109" fmla="*/ 2147483647 h 930"/>
                  <a:gd name="T110" fmla="*/ 2147483647 w 954"/>
                  <a:gd name="T111" fmla="*/ 2147483647 h 930"/>
                  <a:gd name="T112" fmla="*/ 2147483647 w 954"/>
                  <a:gd name="T113" fmla="*/ 2147483647 h 930"/>
                  <a:gd name="T114" fmla="*/ 2147483647 w 954"/>
                  <a:gd name="T115" fmla="*/ 2147483647 h 930"/>
                  <a:gd name="T116" fmla="*/ 2147483647 w 954"/>
                  <a:gd name="T117" fmla="*/ 2147483647 h 930"/>
                  <a:gd name="T118" fmla="*/ 2147483647 w 954"/>
                  <a:gd name="T119" fmla="*/ 2147483647 h 9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54"/>
                  <a:gd name="T181" fmla="*/ 0 h 930"/>
                  <a:gd name="T182" fmla="*/ 954 w 954"/>
                  <a:gd name="T183" fmla="*/ 930 h 93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54" h="930">
                    <a:moveTo>
                      <a:pt x="264" y="42"/>
                    </a:moveTo>
                    <a:lnTo>
                      <a:pt x="264" y="12"/>
                    </a:lnTo>
                    <a:lnTo>
                      <a:pt x="252" y="0"/>
                    </a:lnTo>
                    <a:lnTo>
                      <a:pt x="234" y="0"/>
                    </a:lnTo>
                    <a:lnTo>
                      <a:pt x="228" y="6"/>
                    </a:lnTo>
                    <a:lnTo>
                      <a:pt x="228" y="18"/>
                    </a:lnTo>
                    <a:lnTo>
                      <a:pt x="234" y="24"/>
                    </a:lnTo>
                    <a:lnTo>
                      <a:pt x="234" y="36"/>
                    </a:lnTo>
                    <a:lnTo>
                      <a:pt x="240" y="42"/>
                    </a:lnTo>
                    <a:lnTo>
                      <a:pt x="264" y="42"/>
                    </a:lnTo>
                    <a:close/>
                    <a:moveTo>
                      <a:pt x="936" y="276"/>
                    </a:moveTo>
                    <a:lnTo>
                      <a:pt x="930" y="276"/>
                    </a:lnTo>
                    <a:lnTo>
                      <a:pt x="924" y="282"/>
                    </a:lnTo>
                    <a:lnTo>
                      <a:pt x="912" y="288"/>
                    </a:lnTo>
                    <a:lnTo>
                      <a:pt x="906" y="294"/>
                    </a:lnTo>
                    <a:lnTo>
                      <a:pt x="900" y="288"/>
                    </a:lnTo>
                    <a:lnTo>
                      <a:pt x="888" y="288"/>
                    </a:lnTo>
                    <a:lnTo>
                      <a:pt x="882" y="282"/>
                    </a:lnTo>
                    <a:lnTo>
                      <a:pt x="876" y="282"/>
                    </a:lnTo>
                    <a:lnTo>
                      <a:pt x="852" y="306"/>
                    </a:lnTo>
                    <a:lnTo>
                      <a:pt x="822" y="282"/>
                    </a:lnTo>
                    <a:lnTo>
                      <a:pt x="846" y="282"/>
                    </a:lnTo>
                    <a:lnTo>
                      <a:pt x="858" y="276"/>
                    </a:lnTo>
                    <a:lnTo>
                      <a:pt x="864" y="276"/>
                    </a:lnTo>
                    <a:lnTo>
                      <a:pt x="870" y="264"/>
                    </a:lnTo>
                    <a:lnTo>
                      <a:pt x="870" y="246"/>
                    </a:lnTo>
                    <a:lnTo>
                      <a:pt x="882" y="234"/>
                    </a:lnTo>
                    <a:lnTo>
                      <a:pt x="888" y="222"/>
                    </a:lnTo>
                    <a:lnTo>
                      <a:pt x="876" y="210"/>
                    </a:lnTo>
                    <a:lnTo>
                      <a:pt x="846" y="210"/>
                    </a:lnTo>
                    <a:lnTo>
                      <a:pt x="846" y="204"/>
                    </a:lnTo>
                    <a:lnTo>
                      <a:pt x="840" y="198"/>
                    </a:lnTo>
                    <a:lnTo>
                      <a:pt x="840" y="192"/>
                    </a:lnTo>
                    <a:lnTo>
                      <a:pt x="834" y="186"/>
                    </a:lnTo>
                    <a:lnTo>
                      <a:pt x="828" y="186"/>
                    </a:lnTo>
                    <a:lnTo>
                      <a:pt x="822" y="192"/>
                    </a:lnTo>
                    <a:lnTo>
                      <a:pt x="822" y="210"/>
                    </a:lnTo>
                    <a:lnTo>
                      <a:pt x="816" y="198"/>
                    </a:lnTo>
                    <a:lnTo>
                      <a:pt x="816" y="180"/>
                    </a:lnTo>
                    <a:lnTo>
                      <a:pt x="792" y="180"/>
                    </a:lnTo>
                    <a:lnTo>
                      <a:pt x="786" y="210"/>
                    </a:lnTo>
                    <a:lnTo>
                      <a:pt x="780" y="204"/>
                    </a:lnTo>
                    <a:lnTo>
                      <a:pt x="774" y="192"/>
                    </a:lnTo>
                    <a:lnTo>
                      <a:pt x="774" y="186"/>
                    </a:lnTo>
                    <a:lnTo>
                      <a:pt x="768" y="180"/>
                    </a:lnTo>
                    <a:lnTo>
                      <a:pt x="768" y="156"/>
                    </a:lnTo>
                    <a:lnTo>
                      <a:pt x="738" y="168"/>
                    </a:lnTo>
                    <a:lnTo>
                      <a:pt x="744" y="162"/>
                    </a:lnTo>
                    <a:lnTo>
                      <a:pt x="756" y="156"/>
                    </a:lnTo>
                    <a:lnTo>
                      <a:pt x="762" y="156"/>
                    </a:lnTo>
                    <a:lnTo>
                      <a:pt x="762" y="144"/>
                    </a:lnTo>
                    <a:lnTo>
                      <a:pt x="750" y="138"/>
                    </a:lnTo>
                    <a:lnTo>
                      <a:pt x="744" y="138"/>
                    </a:lnTo>
                    <a:lnTo>
                      <a:pt x="744" y="132"/>
                    </a:lnTo>
                    <a:lnTo>
                      <a:pt x="750" y="132"/>
                    </a:lnTo>
                    <a:lnTo>
                      <a:pt x="762" y="126"/>
                    </a:lnTo>
                    <a:lnTo>
                      <a:pt x="774" y="126"/>
                    </a:lnTo>
                    <a:lnTo>
                      <a:pt x="792" y="120"/>
                    </a:lnTo>
                    <a:lnTo>
                      <a:pt x="804" y="120"/>
                    </a:lnTo>
                    <a:lnTo>
                      <a:pt x="810" y="114"/>
                    </a:lnTo>
                    <a:lnTo>
                      <a:pt x="726" y="114"/>
                    </a:lnTo>
                    <a:lnTo>
                      <a:pt x="690" y="120"/>
                    </a:lnTo>
                    <a:lnTo>
                      <a:pt x="678" y="120"/>
                    </a:lnTo>
                    <a:lnTo>
                      <a:pt x="690" y="132"/>
                    </a:lnTo>
                    <a:lnTo>
                      <a:pt x="678" y="132"/>
                    </a:lnTo>
                    <a:lnTo>
                      <a:pt x="666" y="138"/>
                    </a:lnTo>
                    <a:lnTo>
                      <a:pt x="654" y="138"/>
                    </a:lnTo>
                    <a:lnTo>
                      <a:pt x="642" y="144"/>
                    </a:lnTo>
                    <a:lnTo>
                      <a:pt x="636" y="144"/>
                    </a:lnTo>
                    <a:lnTo>
                      <a:pt x="624" y="150"/>
                    </a:lnTo>
                    <a:lnTo>
                      <a:pt x="606" y="168"/>
                    </a:lnTo>
                    <a:lnTo>
                      <a:pt x="594" y="174"/>
                    </a:lnTo>
                    <a:lnTo>
                      <a:pt x="576" y="174"/>
                    </a:lnTo>
                    <a:lnTo>
                      <a:pt x="564" y="162"/>
                    </a:lnTo>
                    <a:lnTo>
                      <a:pt x="546" y="156"/>
                    </a:lnTo>
                    <a:lnTo>
                      <a:pt x="534" y="144"/>
                    </a:lnTo>
                    <a:lnTo>
                      <a:pt x="522" y="138"/>
                    </a:lnTo>
                    <a:lnTo>
                      <a:pt x="510" y="126"/>
                    </a:lnTo>
                    <a:lnTo>
                      <a:pt x="492" y="126"/>
                    </a:lnTo>
                    <a:lnTo>
                      <a:pt x="450" y="132"/>
                    </a:lnTo>
                    <a:lnTo>
                      <a:pt x="372" y="132"/>
                    </a:lnTo>
                    <a:lnTo>
                      <a:pt x="360" y="120"/>
                    </a:lnTo>
                    <a:lnTo>
                      <a:pt x="354" y="108"/>
                    </a:lnTo>
                    <a:lnTo>
                      <a:pt x="354" y="84"/>
                    </a:lnTo>
                    <a:lnTo>
                      <a:pt x="348" y="72"/>
                    </a:lnTo>
                    <a:lnTo>
                      <a:pt x="336" y="60"/>
                    </a:lnTo>
                    <a:lnTo>
                      <a:pt x="324" y="54"/>
                    </a:lnTo>
                    <a:lnTo>
                      <a:pt x="276" y="54"/>
                    </a:lnTo>
                    <a:lnTo>
                      <a:pt x="240" y="60"/>
                    </a:lnTo>
                    <a:lnTo>
                      <a:pt x="222" y="72"/>
                    </a:lnTo>
                    <a:lnTo>
                      <a:pt x="210" y="78"/>
                    </a:lnTo>
                    <a:lnTo>
                      <a:pt x="204" y="78"/>
                    </a:lnTo>
                    <a:lnTo>
                      <a:pt x="180" y="90"/>
                    </a:lnTo>
                    <a:lnTo>
                      <a:pt x="162" y="96"/>
                    </a:lnTo>
                    <a:lnTo>
                      <a:pt x="144" y="108"/>
                    </a:lnTo>
                    <a:lnTo>
                      <a:pt x="138" y="120"/>
                    </a:lnTo>
                    <a:lnTo>
                      <a:pt x="138" y="144"/>
                    </a:lnTo>
                    <a:lnTo>
                      <a:pt x="150" y="168"/>
                    </a:lnTo>
                    <a:lnTo>
                      <a:pt x="156" y="186"/>
                    </a:lnTo>
                    <a:lnTo>
                      <a:pt x="162" y="198"/>
                    </a:lnTo>
                    <a:lnTo>
                      <a:pt x="156" y="210"/>
                    </a:lnTo>
                    <a:lnTo>
                      <a:pt x="150" y="228"/>
                    </a:lnTo>
                    <a:lnTo>
                      <a:pt x="138" y="234"/>
                    </a:lnTo>
                    <a:lnTo>
                      <a:pt x="132" y="246"/>
                    </a:lnTo>
                    <a:lnTo>
                      <a:pt x="126" y="252"/>
                    </a:lnTo>
                    <a:lnTo>
                      <a:pt x="120" y="252"/>
                    </a:lnTo>
                    <a:lnTo>
                      <a:pt x="126" y="222"/>
                    </a:lnTo>
                    <a:lnTo>
                      <a:pt x="114" y="222"/>
                    </a:lnTo>
                    <a:lnTo>
                      <a:pt x="108" y="216"/>
                    </a:lnTo>
                    <a:lnTo>
                      <a:pt x="96" y="210"/>
                    </a:lnTo>
                    <a:lnTo>
                      <a:pt x="90" y="204"/>
                    </a:lnTo>
                    <a:lnTo>
                      <a:pt x="84" y="192"/>
                    </a:lnTo>
                    <a:lnTo>
                      <a:pt x="96" y="168"/>
                    </a:lnTo>
                    <a:lnTo>
                      <a:pt x="108" y="156"/>
                    </a:lnTo>
                    <a:lnTo>
                      <a:pt x="120" y="132"/>
                    </a:lnTo>
                    <a:lnTo>
                      <a:pt x="120" y="78"/>
                    </a:lnTo>
                    <a:lnTo>
                      <a:pt x="114" y="66"/>
                    </a:lnTo>
                    <a:lnTo>
                      <a:pt x="114" y="54"/>
                    </a:lnTo>
                    <a:lnTo>
                      <a:pt x="108" y="48"/>
                    </a:lnTo>
                    <a:lnTo>
                      <a:pt x="108" y="54"/>
                    </a:lnTo>
                    <a:lnTo>
                      <a:pt x="102" y="66"/>
                    </a:lnTo>
                    <a:lnTo>
                      <a:pt x="90" y="78"/>
                    </a:lnTo>
                    <a:lnTo>
                      <a:pt x="72" y="84"/>
                    </a:lnTo>
                    <a:lnTo>
                      <a:pt x="48" y="108"/>
                    </a:lnTo>
                    <a:lnTo>
                      <a:pt x="36" y="144"/>
                    </a:lnTo>
                    <a:lnTo>
                      <a:pt x="36" y="162"/>
                    </a:lnTo>
                    <a:lnTo>
                      <a:pt x="30" y="168"/>
                    </a:lnTo>
                    <a:lnTo>
                      <a:pt x="30" y="192"/>
                    </a:lnTo>
                    <a:lnTo>
                      <a:pt x="6" y="216"/>
                    </a:lnTo>
                    <a:lnTo>
                      <a:pt x="0" y="228"/>
                    </a:lnTo>
                    <a:lnTo>
                      <a:pt x="0" y="240"/>
                    </a:lnTo>
                    <a:lnTo>
                      <a:pt x="6" y="246"/>
                    </a:lnTo>
                    <a:lnTo>
                      <a:pt x="6" y="240"/>
                    </a:lnTo>
                    <a:lnTo>
                      <a:pt x="18" y="228"/>
                    </a:lnTo>
                    <a:lnTo>
                      <a:pt x="24" y="228"/>
                    </a:lnTo>
                    <a:lnTo>
                      <a:pt x="36" y="240"/>
                    </a:lnTo>
                    <a:lnTo>
                      <a:pt x="42" y="252"/>
                    </a:lnTo>
                    <a:lnTo>
                      <a:pt x="42" y="288"/>
                    </a:lnTo>
                    <a:lnTo>
                      <a:pt x="48" y="294"/>
                    </a:lnTo>
                    <a:lnTo>
                      <a:pt x="60" y="300"/>
                    </a:lnTo>
                    <a:lnTo>
                      <a:pt x="66" y="306"/>
                    </a:lnTo>
                    <a:lnTo>
                      <a:pt x="66" y="318"/>
                    </a:lnTo>
                    <a:lnTo>
                      <a:pt x="54" y="342"/>
                    </a:lnTo>
                    <a:lnTo>
                      <a:pt x="54" y="384"/>
                    </a:lnTo>
                    <a:lnTo>
                      <a:pt x="66" y="384"/>
                    </a:lnTo>
                    <a:lnTo>
                      <a:pt x="66" y="396"/>
                    </a:lnTo>
                    <a:lnTo>
                      <a:pt x="72" y="408"/>
                    </a:lnTo>
                    <a:lnTo>
                      <a:pt x="78" y="414"/>
                    </a:lnTo>
                    <a:lnTo>
                      <a:pt x="102" y="414"/>
                    </a:lnTo>
                    <a:lnTo>
                      <a:pt x="108" y="408"/>
                    </a:lnTo>
                    <a:lnTo>
                      <a:pt x="120" y="408"/>
                    </a:lnTo>
                    <a:lnTo>
                      <a:pt x="132" y="414"/>
                    </a:lnTo>
                    <a:lnTo>
                      <a:pt x="138" y="414"/>
                    </a:lnTo>
                    <a:lnTo>
                      <a:pt x="150" y="420"/>
                    </a:lnTo>
                    <a:lnTo>
                      <a:pt x="162" y="420"/>
                    </a:lnTo>
                    <a:lnTo>
                      <a:pt x="168" y="414"/>
                    </a:lnTo>
                    <a:lnTo>
                      <a:pt x="168" y="408"/>
                    </a:lnTo>
                    <a:lnTo>
                      <a:pt x="180" y="408"/>
                    </a:lnTo>
                    <a:lnTo>
                      <a:pt x="186" y="414"/>
                    </a:lnTo>
                    <a:lnTo>
                      <a:pt x="198" y="420"/>
                    </a:lnTo>
                    <a:lnTo>
                      <a:pt x="222" y="420"/>
                    </a:lnTo>
                    <a:lnTo>
                      <a:pt x="222" y="426"/>
                    </a:lnTo>
                    <a:lnTo>
                      <a:pt x="228" y="432"/>
                    </a:lnTo>
                    <a:lnTo>
                      <a:pt x="234" y="444"/>
                    </a:lnTo>
                    <a:lnTo>
                      <a:pt x="240" y="462"/>
                    </a:lnTo>
                    <a:lnTo>
                      <a:pt x="264" y="486"/>
                    </a:lnTo>
                    <a:lnTo>
                      <a:pt x="288" y="486"/>
                    </a:lnTo>
                    <a:lnTo>
                      <a:pt x="288" y="480"/>
                    </a:lnTo>
                    <a:lnTo>
                      <a:pt x="306" y="480"/>
                    </a:lnTo>
                    <a:lnTo>
                      <a:pt x="312" y="486"/>
                    </a:lnTo>
                    <a:lnTo>
                      <a:pt x="336" y="486"/>
                    </a:lnTo>
                    <a:lnTo>
                      <a:pt x="342" y="480"/>
                    </a:lnTo>
                    <a:lnTo>
                      <a:pt x="366" y="486"/>
                    </a:lnTo>
                    <a:lnTo>
                      <a:pt x="372" y="480"/>
                    </a:lnTo>
                    <a:lnTo>
                      <a:pt x="384" y="474"/>
                    </a:lnTo>
                    <a:lnTo>
                      <a:pt x="402" y="474"/>
                    </a:lnTo>
                    <a:lnTo>
                      <a:pt x="408" y="480"/>
                    </a:lnTo>
                    <a:lnTo>
                      <a:pt x="408" y="492"/>
                    </a:lnTo>
                    <a:lnTo>
                      <a:pt x="390" y="510"/>
                    </a:lnTo>
                    <a:lnTo>
                      <a:pt x="390" y="534"/>
                    </a:lnTo>
                    <a:lnTo>
                      <a:pt x="384" y="540"/>
                    </a:lnTo>
                    <a:lnTo>
                      <a:pt x="378" y="540"/>
                    </a:lnTo>
                    <a:lnTo>
                      <a:pt x="366" y="552"/>
                    </a:lnTo>
                    <a:lnTo>
                      <a:pt x="366" y="576"/>
                    </a:lnTo>
                    <a:lnTo>
                      <a:pt x="372" y="588"/>
                    </a:lnTo>
                    <a:lnTo>
                      <a:pt x="372" y="618"/>
                    </a:lnTo>
                    <a:lnTo>
                      <a:pt x="366" y="630"/>
                    </a:lnTo>
                    <a:lnTo>
                      <a:pt x="366" y="642"/>
                    </a:lnTo>
                    <a:lnTo>
                      <a:pt x="372" y="648"/>
                    </a:lnTo>
                    <a:lnTo>
                      <a:pt x="384" y="648"/>
                    </a:lnTo>
                    <a:lnTo>
                      <a:pt x="384" y="672"/>
                    </a:lnTo>
                    <a:lnTo>
                      <a:pt x="390" y="684"/>
                    </a:lnTo>
                    <a:lnTo>
                      <a:pt x="402" y="690"/>
                    </a:lnTo>
                    <a:lnTo>
                      <a:pt x="408" y="702"/>
                    </a:lnTo>
                    <a:lnTo>
                      <a:pt x="408" y="708"/>
                    </a:lnTo>
                    <a:lnTo>
                      <a:pt x="402" y="720"/>
                    </a:lnTo>
                    <a:lnTo>
                      <a:pt x="372" y="750"/>
                    </a:lnTo>
                    <a:lnTo>
                      <a:pt x="366" y="750"/>
                    </a:lnTo>
                    <a:lnTo>
                      <a:pt x="390" y="762"/>
                    </a:lnTo>
                    <a:lnTo>
                      <a:pt x="402" y="774"/>
                    </a:lnTo>
                    <a:lnTo>
                      <a:pt x="414" y="774"/>
                    </a:lnTo>
                    <a:lnTo>
                      <a:pt x="414" y="798"/>
                    </a:lnTo>
                    <a:lnTo>
                      <a:pt x="420" y="804"/>
                    </a:lnTo>
                    <a:lnTo>
                      <a:pt x="420" y="822"/>
                    </a:lnTo>
                    <a:lnTo>
                      <a:pt x="426" y="828"/>
                    </a:lnTo>
                    <a:lnTo>
                      <a:pt x="426" y="846"/>
                    </a:lnTo>
                    <a:lnTo>
                      <a:pt x="432" y="858"/>
                    </a:lnTo>
                    <a:lnTo>
                      <a:pt x="432" y="876"/>
                    </a:lnTo>
                    <a:lnTo>
                      <a:pt x="444" y="888"/>
                    </a:lnTo>
                    <a:lnTo>
                      <a:pt x="450" y="900"/>
                    </a:lnTo>
                    <a:lnTo>
                      <a:pt x="450" y="906"/>
                    </a:lnTo>
                    <a:lnTo>
                      <a:pt x="462" y="918"/>
                    </a:lnTo>
                    <a:lnTo>
                      <a:pt x="468" y="918"/>
                    </a:lnTo>
                    <a:lnTo>
                      <a:pt x="480" y="924"/>
                    </a:lnTo>
                    <a:lnTo>
                      <a:pt x="486" y="924"/>
                    </a:lnTo>
                    <a:lnTo>
                      <a:pt x="498" y="918"/>
                    </a:lnTo>
                    <a:lnTo>
                      <a:pt x="504" y="912"/>
                    </a:lnTo>
                    <a:lnTo>
                      <a:pt x="516" y="906"/>
                    </a:lnTo>
                    <a:lnTo>
                      <a:pt x="522" y="900"/>
                    </a:lnTo>
                    <a:lnTo>
                      <a:pt x="528" y="906"/>
                    </a:lnTo>
                    <a:lnTo>
                      <a:pt x="528" y="930"/>
                    </a:lnTo>
                    <a:lnTo>
                      <a:pt x="534" y="930"/>
                    </a:lnTo>
                    <a:lnTo>
                      <a:pt x="546" y="918"/>
                    </a:lnTo>
                    <a:lnTo>
                      <a:pt x="558" y="894"/>
                    </a:lnTo>
                    <a:lnTo>
                      <a:pt x="570" y="882"/>
                    </a:lnTo>
                    <a:lnTo>
                      <a:pt x="588" y="882"/>
                    </a:lnTo>
                    <a:lnTo>
                      <a:pt x="594" y="876"/>
                    </a:lnTo>
                    <a:lnTo>
                      <a:pt x="630" y="858"/>
                    </a:lnTo>
                    <a:lnTo>
                      <a:pt x="636" y="846"/>
                    </a:lnTo>
                    <a:lnTo>
                      <a:pt x="636" y="816"/>
                    </a:lnTo>
                    <a:lnTo>
                      <a:pt x="678" y="816"/>
                    </a:lnTo>
                    <a:lnTo>
                      <a:pt x="684" y="810"/>
                    </a:lnTo>
                    <a:lnTo>
                      <a:pt x="690" y="798"/>
                    </a:lnTo>
                    <a:lnTo>
                      <a:pt x="690" y="792"/>
                    </a:lnTo>
                    <a:lnTo>
                      <a:pt x="684" y="786"/>
                    </a:lnTo>
                    <a:lnTo>
                      <a:pt x="636" y="780"/>
                    </a:lnTo>
                    <a:lnTo>
                      <a:pt x="636" y="750"/>
                    </a:lnTo>
                    <a:lnTo>
                      <a:pt x="630" y="738"/>
                    </a:lnTo>
                    <a:lnTo>
                      <a:pt x="618" y="726"/>
                    </a:lnTo>
                    <a:lnTo>
                      <a:pt x="624" y="720"/>
                    </a:lnTo>
                    <a:lnTo>
                      <a:pt x="624" y="690"/>
                    </a:lnTo>
                    <a:lnTo>
                      <a:pt x="618" y="684"/>
                    </a:lnTo>
                    <a:lnTo>
                      <a:pt x="606" y="678"/>
                    </a:lnTo>
                    <a:lnTo>
                      <a:pt x="588" y="660"/>
                    </a:lnTo>
                    <a:lnTo>
                      <a:pt x="588" y="630"/>
                    </a:lnTo>
                    <a:lnTo>
                      <a:pt x="594" y="636"/>
                    </a:lnTo>
                    <a:lnTo>
                      <a:pt x="594" y="642"/>
                    </a:lnTo>
                    <a:lnTo>
                      <a:pt x="636" y="642"/>
                    </a:lnTo>
                    <a:lnTo>
                      <a:pt x="642" y="648"/>
                    </a:lnTo>
                    <a:lnTo>
                      <a:pt x="642" y="666"/>
                    </a:lnTo>
                    <a:lnTo>
                      <a:pt x="654" y="666"/>
                    </a:lnTo>
                    <a:lnTo>
                      <a:pt x="666" y="660"/>
                    </a:lnTo>
                    <a:lnTo>
                      <a:pt x="678" y="666"/>
                    </a:lnTo>
                    <a:lnTo>
                      <a:pt x="684" y="660"/>
                    </a:lnTo>
                    <a:lnTo>
                      <a:pt x="696" y="660"/>
                    </a:lnTo>
                    <a:lnTo>
                      <a:pt x="702" y="666"/>
                    </a:lnTo>
                    <a:lnTo>
                      <a:pt x="708" y="678"/>
                    </a:lnTo>
                    <a:lnTo>
                      <a:pt x="720" y="690"/>
                    </a:lnTo>
                    <a:lnTo>
                      <a:pt x="732" y="696"/>
                    </a:lnTo>
                    <a:lnTo>
                      <a:pt x="738" y="690"/>
                    </a:lnTo>
                    <a:lnTo>
                      <a:pt x="738" y="672"/>
                    </a:lnTo>
                    <a:lnTo>
                      <a:pt x="744" y="660"/>
                    </a:lnTo>
                    <a:lnTo>
                      <a:pt x="744" y="648"/>
                    </a:lnTo>
                    <a:lnTo>
                      <a:pt x="750" y="642"/>
                    </a:lnTo>
                    <a:lnTo>
                      <a:pt x="768" y="642"/>
                    </a:lnTo>
                    <a:lnTo>
                      <a:pt x="774" y="648"/>
                    </a:lnTo>
                    <a:lnTo>
                      <a:pt x="792" y="648"/>
                    </a:lnTo>
                    <a:lnTo>
                      <a:pt x="804" y="642"/>
                    </a:lnTo>
                    <a:lnTo>
                      <a:pt x="828" y="618"/>
                    </a:lnTo>
                    <a:lnTo>
                      <a:pt x="840" y="612"/>
                    </a:lnTo>
                    <a:lnTo>
                      <a:pt x="864" y="612"/>
                    </a:lnTo>
                    <a:lnTo>
                      <a:pt x="864" y="600"/>
                    </a:lnTo>
                    <a:lnTo>
                      <a:pt x="876" y="600"/>
                    </a:lnTo>
                    <a:lnTo>
                      <a:pt x="882" y="594"/>
                    </a:lnTo>
                    <a:lnTo>
                      <a:pt x="882" y="558"/>
                    </a:lnTo>
                    <a:lnTo>
                      <a:pt x="846" y="522"/>
                    </a:lnTo>
                    <a:lnTo>
                      <a:pt x="840" y="510"/>
                    </a:lnTo>
                    <a:lnTo>
                      <a:pt x="834" y="504"/>
                    </a:lnTo>
                    <a:lnTo>
                      <a:pt x="834" y="492"/>
                    </a:lnTo>
                    <a:lnTo>
                      <a:pt x="846" y="486"/>
                    </a:lnTo>
                    <a:lnTo>
                      <a:pt x="852" y="486"/>
                    </a:lnTo>
                    <a:lnTo>
                      <a:pt x="864" y="480"/>
                    </a:lnTo>
                    <a:lnTo>
                      <a:pt x="864" y="462"/>
                    </a:lnTo>
                    <a:lnTo>
                      <a:pt x="846" y="444"/>
                    </a:lnTo>
                    <a:lnTo>
                      <a:pt x="846" y="438"/>
                    </a:lnTo>
                    <a:lnTo>
                      <a:pt x="876" y="438"/>
                    </a:lnTo>
                    <a:lnTo>
                      <a:pt x="888" y="432"/>
                    </a:lnTo>
                    <a:lnTo>
                      <a:pt x="900" y="432"/>
                    </a:lnTo>
                    <a:lnTo>
                      <a:pt x="912" y="426"/>
                    </a:lnTo>
                    <a:lnTo>
                      <a:pt x="918" y="420"/>
                    </a:lnTo>
                    <a:lnTo>
                      <a:pt x="918" y="402"/>
                    </a:lnTo>
                    <a:lnTo>
                      <a:pt x="894" y="402"/>
                    </a:lnTo>
                    <a:lnTo>
                      <a:pt x="894" y="360"/>
                    </a:lnTo>
                    <a:lnTo>
                      <a:pt x="906" y="348"/>
                    </a:lnTo>
                    <a:lnTo>
                      <a:pt x="918" y="348"/>
                    </a:lnTo>
                    <a:lnTo>
                      <a:pt x="924" y="342"/>
                    </a:lnTo>
                    <a:lnTo>
                      <a:pt x="930" y="342"/>
                    </a:lnTo>
                    <a:lnTo>
                      <a:pt x="936" y="336"/>
                    </a:lnTo>
                    <a:lnTo>
                      <a:pt x="954" y="300"/>
                    </a:lnTo>
                    <a:lnTo>
                      <a:pt x="948" y="294"/>
                    </a:lnTo>
                    <a:lnTo>
                      <a:pt x="942" y="282"/>
                    </a:lnTo>
                    <a:lnTo>
                      <a:pt x="936" y="276"/>
                    </a:lnTo>
                    <a:close/>
                  </a:path>
                </a:pathLst>
              </a:custGeom>
              <a:solidFill>
                <a:schemeClr val="accent6"/>
              </a:solidFill>
              <a:ln w="3175">
                <a:solidFill>
                  <a:schemeClr val="accent6"/>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panose="020F0502020204030203" pitchFamily="34" charset="0"/>
                  <a:ea typeface="+mn-ea"/>
                  <a:cs typeface="+mn-cs"/>
                </a:endParaRPr>
              </a:p>
            </p:txBody>
          </p:sp>
          <p:sp>
            <p:nvSpPr>
              <p:cNvPr id="458" name="Uruguay" descr="© INSCALE GmbH, 05.05.2010&#10;http://www.presentationload.com/">
                <a:extLst>
                  <a:ext uri="{FF2B5EF4-FFF2-40B4-BE49-F238E27FC236}">
                    <a16:creationId xmlns:a16="http://schemas.microsoft.com/office/drawing/2014/main" id="{A8986DF3-380A-438E-6D70-219EB18FA8C3}"/>
                  </a:ext>
                </a:extLst>
              </p:cNvPr>
              <p:cNvSpPr>
                <a:spLocks/>
              </p:cNvSpPr>
              <p:nvPr/>
            </p:nvSpPr>
            <p:spPr bwMode="gray">
              <a:xfrm>
                <a:off x="3308877" y="5372634"/>
                <a:ext cx="142069" cy="123600"/>
              </a:xfrm>
              <a:custGeom>
                <a:avLst/>
                <a:gdLst>
                  <a:gd name="T0" fmla="*/ 2147483647 w 366"/>
                  <a:gd name="T1" fmla="*/ 2147483647 h 384"/>
                  <a:gd name="T2" fmla="*/ 2147483647 w 366"/>
                  <a:gd name="T3" fmla="*/ 2147483647 h 384"/>
                  <a:gd name="T4" fmla="*/ 2147483647 w 366"/>
                  <a:gd name="T5" fmla="*/ 2147483647 h 384"/>
                  <a:gd name="T6" fmla="*/ 2147483647 w 366"/>
                  <a:gd name="T7" fmla="*/ 2147483647 h 384"/>
                  <a:gd name="T8" fmla="*/ 2147483647 w 366"/>
                  <a:gd name="T9" fmla="*/ 2147483647 h 384"/>
                  <a:gd name="T10" fmla="*/ 2147483647 w 366"/>
                  <a:gd name="T11" fmla="*/ 2147483647 h 384"/>
                  <a:gd name="T12" fmla="*/ 2147483647 w 366"/>
                  <a:gd name="T13" fmla="*/ 2147483647 h 384"/>
                  <a:gd name="T14" fmla="*/ 2147483647 w 366"/>
                  <a:gd name="T15" fmla="*/ 2147483647 h 384"/>
                  <a:gd name="T16" fmla="*/ 2147483647 w 366"/>
                  <a:gd name="T17" fmla="*/ 2147483647 h 384"/>
                  <a:gd name="T18" fmla="*/ 2147483647 w 366"/>
                  <a:gd name="T19" fmla="*/ 2147483647 h 384"/>
                  <a:gd name="T20" fmla="*/ 2147483647 w 366"/>
                  <a:gd name="T21" fmla="*/ 2147483647 h 384"/>
                  <a:gd name="T22" fmla="*/ 2147483647 w 366"/>
                  <a:gd name="T23" fmla="*/ 2147483647 h 384"/>
                  <a:gd name="T24" fmla="*/ 2147483647 w 366"/>
                  <a:gd name="T25" fmla="*/ 2147483647 h 384"/>
                  <a:gd name="T26" fmla="*/ 2147483647 w 366"/>
                  <a:gd name="T27" fmla="*/ 2147483647 h 384"/>
                  <a:gd name="T28" fmla="*/ 2147483647 w 366"/>
                  <a:gd name="T29" fmla="*/ 2147483647 h 384"/>
                  <a:gd name="T30" fmla="*/ 2147483647 w 366"/>
                  <a:gd name="T31" fmla="*/ 2147483647 h 384"/>
                  <a:gd name="T32" fmla="*/ 2147483647 w 366"/>
                  <a:gd name="T33" fmla="*/ 2147483647 h 384"/>
                  <a:gd name="T34" fmla="*/ 2147483647 w 366"/>
                  <a:gd name="T35" fmla="*/ 2147483647 h 384"/>
                  <a:gd name="T36" fmla="*/ 2147483647 w 366"/>
                  <a:gd name="T37" fmla="*/ 2147483647 h 384"/>
                  <a:gd name="T38" fmla="*/ 2147483647 w 366"/>
                  <a:gd name="T39" fmla="*/ 2147483647 h 384"/>
                  <a:gd name="T40" fmla="*/ 2147483647 w 366"/>
                  <a:gd name="T41" fmla="*/ 2147483647 h 384"/>
                  <a:gd name="T42" fmla="*/ 2147483647 w 366"/>
                  <a:gd name="T43" fmla="*/ 2147483647 h 384"/>
                  <a:gd name="T44" fmla="*/ 2147483647 w 366"/>
                  <a:gd name="T45" fmla="*/ 0 h 384"/>
                  <a:gd name="T46" fmla="*/ 2147483647 w 366"/>
                  <a:gd name="T47" fmla="*/ 2147483647 h 384"/>
                  <a:gd name="T48" fmla="*/ 2147483647 w 366"/>
                  <a:gd name="T49" fmla="*/ 2147483647 h 384"/>
                  <a:gd name="T50" fmla="*/ 0 w 366"/>
                  <a:gd name="T51" fmla="*/ 2147483647 h 384"/>
                  <a:gd name="T52" fmla="*/ 2147483647 w 366"/>
                  <a:gd name="T53" fmla="*/ 2147483647 h 384"/>
                  <a:gd name="T54" fmla="*/ 2147483647 w 366"/>
                  <a:gd name="T55" fmla="*/ 2147483647 h 384"/>
                  <a:gd name="T56" fmla="*/ 2147483647 w 366"/>
                  <a:gd name="T57" fmla="*/ 2147483647 h 384"/>
                  <a:gd name="T58" fmla="*/ 2147483647 w 366"/>
                  <a:gd name="T59" fmla="*/ 2147483647 h 384"/>
                  <a:gd name="T60" fmla="*/ 2147483647 w 366"/>
                  <a:gd name="T61" fmla="*/ 2147483647 h 384"/>
                  <a:gd name="T62" fmla="*/ 2147483647 w 366"/>
                  <a:gd name="T63" fmla="*/ 2147483647 h 384"/>
                  <a:gd name="T64" fmla="*/ 2147483647 w 366"/>
                  <a:gd name="T65" fmla="*/ 2147483647 h 384"/>
                  <a:gd name="T66" fmla="*/ 2147483647 w 366"/>
                  <a:gd name="T67" fmla="*/ 2147483647 h 384"/>
                  <a:gd name="T68" fmla="*/ 2147483647 w 366"/>
                  <a:gd name="T69" fmla="*/ 2147483647 h 384"/>
                  <a:gd name="T70" fmla="*/ 2147483647 w 366"/>
                  <a:gd name="T71" fmla="*/ 2147483647 h 384"/>
                  <a:gd name="T72" fmla="*/ 2147483647 w 366"/>
                  <a:gd name="T73" fmla="*/ 2147483647 h 384"/>
                  <a:gd name="T74" fmla="*/ 2147483647 w 366"/>
                  <a:gd name="T75" fmla="*/ 2147483647 h 384"/>
                  <a:gd name="T76" fmla="*/ 2147483647 w 366"/>
                  <a:gd name="T77" fmla="*/ 2147483647 h 3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66"/>
                  <a:gd name="T118" fmla="*/ 0 h 384"/>
                  <a:gd name="T119" fmla="*/ 366 w 366"/>
                  <a:gd name="T120" fmla="*/ 384 h 38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66" h="384">
                    <a:moveTo>
                      <a:pt x="138" y="372"/>
                    </a:moveTo>
                    <a:lnTo>
                      <a:pt x="174" y="372"/>
                    </a:lnTo>
                    <a:lnTo>
                      <a:pt x="198" y="378"/>
                    </a:lnTo>
                    <a:lnTo>
                      <a:pt x="228" y="378"/>
                    </a:lnTo>
                    <a:lnTo>
                      <a:pt x="288" y="384"/>
                    </a:lnTo>
                    <a:lnTo>
                      <a:pt x="330" y="366"/>
                    </a:lnTo>
                    <a:lnTo>
                      <a:pt x="342" y="354"/>
                    </a:lnTo>
                    <a:lnTo>
                      <a:pt x="360" y="300"/>
                    </a:lnTo>
                    <a:lnTo>
                      <a:pt x="366" y="294"/>
                    </a:lnTo>
                    <a:lnTo>
                      <a:pt x="348" y="294"/>
                    </a:lnTo>
                    <a:lnTo>
                      <a:pt x="348" y="264"/>
                    </a:lnTo>
                    <a:lnTo>
                      <a:pt x="342" y="264"/>
                    </a:lnTo>
                    <a:lnTo>
                      <a:pt x="342" y="240"/>
                    </a:lnTo>
                    <a:lnTo>
                      <a:pt x="348" y="234"/>
                    </a:lnTo>
                    <a:lnTo>
                      <a:pt x="360" y="210"/>
                    </a:lnTo>
                    <a:lnTo>
                      <a:pt x="360" y="198"/>
                    </a:lnTo>
                    <a:lnTo>
                      <a:pt x="354" y="198"/>
                    </a:lnTo>
                    <a:lnTo>
                      <a:pt x="342" y="192"/>
                    </a:lnTo>
                    <a:lnTo>
                      <a:pt x="336" y="192"/>
                    </a:lnTo>
                    <a:lnTo>
                      <a:pt x="318" y="174"/>
                    </a:lnTo>
                    <a:lnTo>
                      <a:pt x="312" y="162"/>
                    </a:lnTo>
                    <a:lnTo>
                      <a:pt x="306" y="156"/>
                    </a:lnTo>
                    <a:lnTo>
                      <a:pt x="300" y="144"/>
                    </a:lnTo>
                    <a:lnTo>
                      <a:pt x="288" y="144"/>
                    </a:lnTo>
                    <a:lnTo>
                      <a:pt x="270" y="138"/>
                    </a:lnTo>
                    <a:lnTo>
                      <a:pt x="258" y="132"/>
                    </a:lnTo>
                    <a:lnTo>
                      <a:pt x="252" y="126"/>
                    </a:lnTo>
                    <a:lnTo>
                      <a:pt x="252" y="114"/>
                    </a:lnTo>
                    <a:lnTo>
                      <a:pt x="246" y="114"/>
                    </a:lnTo>
                    <a:lnTo>
                      <a:pt x="228" y="96"/>
                    </a:lnTo>
                    <a:lnTo>
                      <a:pt x="210" y="96"/>
                    </a:lnTo>
                    <a:lnTo>
                      <a:pt x="192" y="78"/>
                    </a:lnTo>
                    <a:lnTo>
                      <a:pt x="186" y="66"/>
                    </a:lnTo>
                    <a:lnTo>
                      <a:pt x="174" y="60"/>
                    </a:lnTo>
                    <a:lnTo>
                      <a:pt x="168" y="60"/>
                    </a:lnTo>
                    <a:lnTo>
                      <a:pt x="156" y="72"/>
                    </a:lnTo>
                    <a:lnTo>
                      <a:pt x="156" y="78"/>
                    </a:lnTo>
                    <a:lnTo>
                      <a:pt x="144" y="78"/>
                    </a:lnTo>
                    <a:lnTo>
                      <a:pt x="144" y="66"/>
                    </a:lnTo>
                    <a:lnTo>
                      <a:pt x="132" y="54"/>
                    </a:lnTo>
                    <a:lnTo>
                      <a:pt x="126" y="42"/>
                    </a:lnTo>
                    <a:lnTo>
                      <a:pt x="120" y="36"/>
                    </a:lnTo>
                    <a:lnTo>
                      <a:pt x="108" y="30"/>
                    </a:lnTo>
                    <a:lnTo>
                      <a:pt x="102" y="18"/>
                    </a:lnTo>
                    <a:lnTo>
                      <a:pt x="78" y="6"/>
                    </a:lnTo>
                    <a:lnTo>
                      <a:pt x="72" y="0"/>
                    </a:lnTo>
                    <a:lnTo>
                      <a:pt x="60" y="0"/>
                    </a:lnTo>
                    <a:lnTo>
                      <a:pt x="48" y="6"/>
                    </a:lnTo>
                    <a:lnTo>
                      <a:pt x="42" y="12"/>
                    </a:lnTo>
                    <a:lnTo>
                      <a:pt x="18" y="12"/>
                    </a:lnTo>
                    <a:lnTo>
                      <a:pt x="0" y="30"/>
                    </a:lnTo>
                    <a:lnTo>
                      <a:pt x="0" y="36"/>
                    </a:lnTo>
                    <a:lnTo>
                      <a:pt x="24" y="60"/>
                    </a:lnTo>
                    <a:lnTo>
                      <a:pt x="30" y="60"/>
                    </a:lnTo>
                    <a:lnTo>
                      <a:pt x="6" y="72"/>
                    </a:lnTo>
                    <a:lnTo>
                      <a:pt x="6" y="108"/>
                    </a:lnTo>
                    <a:lnTo>
                      <a:pt x="30" y="126"/>
                    </a:lnTo>
                    <a:lnTo>
                      <a:pt x="12" y="126"/>
                    </a:lnTo>
                    <a:lnTo>
                      <a:pt x="0" y="138"/>
                    </a:lnTo>
                    <a:lnTo>
                      <a:pt x="6" y="144"/>
                    </a:lnTo>
                    <a:lnTo>
                      <a:pt x="12" y="156"/>
                    </a:lnTo>
                    <a:lnTo>
                      <a:pt x="24" y="168"/>
                    </a:lnTo>
                    <a:lnTo>
                      <a:pt x="12" y="186"/>
                    </a:lnTo>
                    <a:lnTo>
                      <a:pt x="18" y="192"/>
                    </a:lnTo>
                    <a:lnTo>
                      <a:pt x="24" y="204"/>
                    </a:lnTo>
                    <a:lnTo>
                      <a:pt x="36" y="210"/>
                    </a:lnTo>
                    <a:lnTo>
                      <a:pt x="42" y="222"/>
                    </a:lnTo>
                    <a:lnTo>
                      <a:pt x="42" y="228"/>
                    </a:lnTo>
                    <a:lnTo>
                      <a:pt x="36" y="228"/>
                    </a:lnTo>
                    <a:lnTo>
                      <a:pt x="30" y="234"/>
                    </a:lnTo>
                    <a:lnTo>
                      <a:pt x="6" y="234"/>
                    </a:lnTo>
                    <a:lnTo>
                      <a:pt x="6" y="282"/>
                    </a:lnTo>
                    <a:lnTo>
                      <a:pt x="36" y="318"/>
                    </a:lnTo>
                    <a:lnTo>
                      <a:pt x="42" y="318"/>
                    </a:lnTo>
                    <a:lnTo>
                      <a:pt x="54" y="324"/>
                    </a:lnTo>
                    <a:lnTo>
                      <a:pt x="78" y="348"/>
                    </a:lnTo>
                    <a:lnTo>
                      <a:pt x="90" y="354"/>
                    </a:lnTo>
                    <a:lnTo>
                      <a:pt x="126" y="354"/>
                    </a:lnTo>
                    <a:lnTo>
                      <a:pt x="138" y="372"/>
                    </a:lnTo>
                    <a:close/>
                  </a:path>
                </a:pathLst>
              </a:custGeom>
              <a:solidFill>
                <a:schemeClr val="accent6"/>
              </a:solidFill>
              <a:ln w="3175">
                <a:solidFill>
                  <a:schemeClr val="accent6"/>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panose="020F0502020204030203" pitchFamily="34" charset="0"/>
                  <a:ea typeface="+mn-ea"/>
                  <a:cs typeface="+mn-cs"/>
                </a:endParaRPr>
              </a:p>
            </p:txBody>
          </p:sp>
          <p:sp>
            <p:nvSpPr>
              <p:cNvPr id="459" name="Suriname" descr="© INSCALE GmbH, 05.05.2010&#10;http://www.presentationload.com/">
                <a:extLst>
                  <a:ext uri="{FF2B5EF4-FFF2-40B4-BE49-F238E27FC236}">
                    <a16:creationId xmlns:a16="http://schemas.microsoft.com/office/drawing/2014/main" id="{7E434B82-3D46-31D4-7EEA-63A3FADEE020}"/>
                  </a:ext>
                </a:extLst>
              </p:cNvPr>
              <p:cNvSpPr>
                <a:spLocks/>
              </p:cNvSpPr>
              <p:nvPr/>
            </p:nvSpPr>
            <p:spPr bwMode="gray">
              <a:xfrm>
                <a:off x="3230286" y="4434285"/>
                <a:ext cx="113354" cy="108465"/>
              </a:xfrm>
              <a:custGeom>
                <a:avLst/>
                <a:gdLst>
                  <a:gd name="T0" fmla="*/ 2147483647 w 294"/>
                  <a:gd name="T1" fmla="*/ 2147483647 h 336"/>
                  <a:gd name="T2" fmla="*/ 2147483647 w 294"/>
                  <a:gd name="T3" fmla="*/ 2147483647 h 336"/>
                  <a:gd name="T4" fmla="*/ 2147483647 w 294"/>
                  <a:gd name="T5" fmla="*/ 2147483647 h 336"/>
                  <a:gd name="T6" fmla="*/ 0 w 294"/>
                  <a:gd name="T7" fmla="*/ 2147483647 h 336"/>
                  <a:gd name="T8" fmla="*/ 2147483647 w 294"/>
                  <a:gd name="T9" fmla="*/ 2147483647 h 336"/>
                  <a:gd name="T10" fmla="*/ 2147483647 w 294"/>
                  <a:gd name="T11" fmla="*/ 2147483647 h 336"/>
                  <a:gd name="T12" fmla="*/ 2147483647 w 294"/>
                  <a:gd name="T13" fmla="*/ 2147483647 h 336"/>
                  <a:gd name="T14" fmla="*/ 2147483647 w 294"/>
                  <a:gd name="T15" fmla="*/ 2147483647 h 336"/>
                  <a:gd name="T16" fmla="*/ 2147483647 w 294"/>
                  <a:gd name="T17" fmla="*/ 2147483647 h 336"/>
                  <a:gd name="T18" fmla="*/ 2147483647 w 294"/>
                  <a:gd name="T19" fmla="*/ 2147483647 h 336"/>
                  <a:gd name="T20" fmla="*/ 2147483647 w 294"/>
                  <a:gd name="T21" fmla="*/ 2147483647 h 336"/>
                  <a:gd name="T22" fmla="*/ 2147483647 w 294"/>
                  <a:gd name="T23" fmla="*/ 2147483647 h 336"/>
                  <a:gd name="T24" fmla="*/ 2147483647 w 294"/>
                  <a:gd name="T25" fmla="*/ 2147483647 h 336"/>
                  <a:gd name="T26" fmla="*/ 2147483647 w 294"/>
                  <a:gd name="T27" fmla="*/ 2147483647 h 336"/>
                  <a:gd name="T28" fmla="*/ 2147483647 w 294"/>
                  <a:gd name="T29" fmla="*/ 2147483647 h 336"/>
                  <a:gd name="T30" fmla="*/ 2147483647 w 294"/>
                  <a:gd name="T31" fmla="*/ 2147483647 h 336"/>
                  <a:gd name="T32" fmla="*/ 2147483647 w 294"/>
                  <a:gd name="T33" fmla="*/ 2147483647 h 336"/>
                  <a:gd name="T34" fmla="*/ 2147483647 w 294"/>
                  <a:gd name="T35" fmla="*/ 2147483647 h 336"/>
                  <a:gd name="T36" fmla="*/ 2147483647 w 294"/>
                  <a:gd name="T37" fmla="*/ 2147483647 h 336"/>
                  <a:gd name="T38" fmla="*/ 2147483647 w 294"/>
                  <a:gd name="T39" fmla="*/ 2147483647 h 336"/>
                  <a:gd name="T40" fmla="*/ 2147483647 w 294"/>
                  <a:gd name="T41" fmla="*/ 2147483647 h 336"/>
                  <a:gd name="T42" fmla="*/ 2147483647 w 294"/>
                  <a:gd name="T43" fmla="*/ 2147483647 h 336"/>
                  <a:gd name="T44" fmla="*/ 2147483647 w 294"/>
                  <a:gd name="T45" fmla="*/ 2147483647 h 336"/>
                  <a:gd name="T46" fmla="*/ 2147483647 w 294"/>
                  <a:gd name="T47" fmla="*/ 2147483647 h 336"/>
                  <a:gd name="T48" fmla="*/ 2147483647 w 294"/>
                  <a:gd name="T49" fmla="*/ 2147483647 h 336"/>
                  <a:gd name="T50" fmla="*/ 2147483647 w 294"/>
                  <a:gd name="T51" fmla="*/ 2147483647 h 336"/>
                  <a:gd name="T52" fmla="*/ 2147483647 w 294"/>
                  <a:gd name="T53" fmla="*/ 2147483647 h 336"/>
                  <a:gd name="T54" fmla="*/ 2147483647 w 294"/>
                  <a:gd name="T55" fmla="*/ 2147483647 h 336"/>
                  <a:gd name="T56" fmla="*/ 2147483647 w 294"/>
                  <a:gd name="T57" fmla="*/ 2147483647 h 336"/>
                  <a:gd name="T58" fmla="*/ 2147483647 w 294"/>
                  <a:gd name="T59" fmla="*/ 2147483647 h 336"/>
                  <a:gd name="T60" fmla="*/ 2147483647 w 294"/>
                  <a:gd name="T61" fmla="*/ 2147483647 h 336"/>
                  <a:gd name="T62" fmla="*/ 2147483647 w 294"/>
                  <a:gd name="T63" fmla="*/ 2147483647 h 336"/>
                  <a:gd name="T64" fmla="*/ 2147483647 w 294"/>
                  <a:gd name="T65" fmla="*/ 2147483647 h 336"/>
                  <a:gd name="T66" fmla="*/ 2147483647 w 294"/>
                  <a:gd name="T67" fmla="*/ 2147483647 h 336"/>
                  <a:gd name="T68" fmla="*/ 2147483647 w 294"/>
                  <a:gd name="T69" fmla="*/ 2147483647 h 336"/>
                  <a:gd name="T70" fmla="*/ 2147483647 w 294"/>
                  <a:gd name="T71" fmla="*/ 0 h 336"/>
                  <a:gd name="T72" fmla="*/ 2147483647 w 294"/>
                  <a:gd name="T73" fmla="*/ 2147483647 h 336"/>
                  <a:gd name="T74" fmla="*/ 2147483647 w 294"/>
                  <a:gd name="T75" fmla="*/ 2147483647 h 336"/>
                  <a:gd name="T76" fmla="*/ 2147483647 w 294"/>
                  <a:gd name="T77" fmla="*/ 2147483647 h 336"/>
                  <a:gd name="T78" fmla="*/ 2147483647 w 294"/>
                  <a:gd name="T79" fmla="*/ 2147483647 h 336"/>
                  <a:gd name="T80" fmla="*/ 2147483647 w 294"/>
                  <a:gd name="T81" fmla="*/ 2147483647 h 336"/>
                  <a:gd name="T82" fmla="*/ 2147483647 w 294"/>
                  <a:gd name="T83" fmla="*/ 2147483647 h 3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94"/>
                  <a:gd name="T127" fmla="*/ 0 h 336"/>
                  <a:gd name="T128" fmla="*/ 294 w 294"/>
                  <a:gd name="T129" fmla="*/ 336 h 3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94" h="336">
                    <a:moveTo>
                      <a:pt x="60" y="78"/>
                    </a:moveTo>
                    <a:lnTo>
                      <a:pt x="30" y="78"/>
                    </a:lnTo>
                    <a:lnTo>
                      <a:pt x="18" y="84"/>
                    </a:lnTo>
                    <a:lnTo>
                      <a:pt x="12" y="90"/>
                    </a:lnTo>
                    <a:lnTo>
                      <a:pt x="12" y="132"/>
                    </a:lnTo>
                    <a:lnTo>
                      <a:pt x="6" y="138"/>
                    </a:lnTo>
                    <a:lnTo>
                      <a:pt x="0" y="150"/>
                    </a:lnTo>
                    <a:lnTo>
                      <a:pt x="0" y="162"/>
                    </a:lnTo>
                    <a:lnTo>
                      <a:pt x="6" y="168"/>
                    </a:lnTo>
                    <a:lnTo>
                      <a:pt x="6" y="174"/>
                    </a:lnTo>
                    <a:lnTo>
                      <a:pt x="12" y="174"/>
                    </a:lnTo>
                    <a:lnTo>
                      <a:pt x="12" y="186"/>
                    </a:lnTo>
                    <a:lnTo>
                      <a:pt x="18" y="198"/>
                    </a:lnTo>
                    <a:lnTo>
                      <a:pt x="24" y="204"/>
                    </a:lnTo>
                    <a:lnTo>
                      <a:pt x="30" y="216"/>
                    </a:lnTo>
                    <a:lnTo>
                      <a:pt x="42" y="216"/>
                    </a:lnTo>
                    <a:lnTo>
                      <a:pt x="42" y="210"/>
                    </a:lnTo>
                    <a:lnTo>
                      <a:pt x="54" y="198"/>
                    </a:lnTo>
                    <a:lnTo>
                      <a:pt x="54" y="216"/>
                    </a:lnTo>
                    <a:lnTo>
                      <a:pt x="48" y="222"/>
                    </a:lnTo>
                    <a:lnTo>
                      <a:pt x="48" y="246"/>
                    </a:lnTo>
                    <a:lnTo>
                      <a:pt x="54" y="258"/>
                    </a:lnTo>
                    <a:lnTo>
                      <a:pt x="72" y="276"/>
                    </a:lnTo>
                    <a:lnTo>
                      <a:pt x="78" y="294"/>
                    </a:lnTo>
                    <a:lnTo>
                      <a:pt x="84" y="306"/>
                    </a:lnTo>
                    <a:lnTo>
                      <a:pt x="90" y="312"/>
                    </a:lnTo>
                    <a:lnTo>
                      <a:pt x="90" y="318"/>
                    </a:lnTo>
                    <a:lnTo>
                      <a:pt x="102" y="324"/>
                    </a:lnTo>
                    <a:lnTo>
                      <a:pt x="108" y="324"/>
                    </a:lnTo>
                    <a:lnTo>
                      <a:pt x="132" y="336"/>
                    </a:lnTo>
                    <a:lnTo>
                      <a:pt x="150" y="336"/>
                    </a:lnTo>
                    <a:lnTo>
                      <a:pt x="156" y="330"/>
                    </a:lnTo>
                    <a:lnTo>
                      <a:pt x="150" y="324"/>
                    </a:lnTo>
                    <a:lnTo>
                      <a:pt x="150" y="318"/>
                    </a:lnTo>
                    <a:lnTo>
                      <a:pt x="138" y="306"/>
                    </a:lnTo>
                    <a:lnTo>
                      <a:pt x="138" y="282"/>
                    </a:lnTo>
                    <a:lnTo>
                      <a:pt x="150" y="276"/>
                    </a:lnTo>
                    <a:lnTo>
                      <a:pt x="156" y="276"/>
                    </a:lnTo>
                    <a:lnTo>
                      <a:pt x="156" y="288"/>
                    </a:lnTo>
                    <a:lnTo>
                      <a:pt x="180" y="288"/>
                    </a:lnTo>
                    <a:lnTo>
                      <a:pt x="192" y="282"/>
                    </a:lnTo>
                    <a:lnTo>
                      <a:pt x="198" y="276"/>
                    </a:lnTo>
                    <a:lnTo>
                      <a:pt x="210" y="270"/>
                    </a:lnTo>
                    <a:lnTo>
                      <a:pt x="216" y="270"/>
                    </a:lnTo>
                    <a:lnTo>
                      <a:pt x="222" y="282"/>
                    </a:lnTo>
                    <a:lnTo>
                      <a:pt x="228" y="288"/>
                    </a:lnTo>
                    <a:lnTo>
                      <a:pt x="246" y="294"/>
                    </a:lnTo>
                    <a:lnTo>
                      <a:pt x="252" y="282"/>
                    </a:lnTo>
                    <a:lnTo>
                      <a:pt x="258" y="276"/>
                    </a:lnTo>
                    <a:lnTo>
                      <a:pt x="258" y="264"/>
                    </a:lnTo>
                    <a:lnTo>
                      <a:pt x="264" y="264"/>
                    </a:lnTo>
                    <a:lnTo>
                      <a:pt x="276" y="258"/>
                    </a:lnTo>
                    <a:lnTo>
                      <a:pt x="270" y="222"/>
                    </a:lnTo>
                    <a:lnTo>
                      <a:pt x="288" y="204"/>
                    </a:lnTo>
                    <a:lnTo>
                      <a:pt x="288" y="198"/>
                    </a:lnTo>
                    <a:lnTo>
                      <a:pt x="282" y="186"/>
                    </a:lnTo>
                    <a:lnTo>
                      <a:pt x="264" y="168"/>
                    </a:lnTo>
                    <a:lnTo>
                      <a:pt x="258" y="156"/>
                    </a:lnTo>
                    <a:lnTo>
                      <a:pt x="258" y="144"/>
                    </a:lnTo>
                    <a:lnTo>
                      <a:pt x="252" y="126"/>
                    </a:lnTo>
                    <a:lnTo>
                      <a:pt x="252" y="96"/>
                    </a:lnTo>
                    <a:lnTo>
                      <a:pt x="258" y="78"/>
                    </a:lnTo>
                    <a:lnTo>
                      <a:pt x="264" y="66"/>
                    </a:lnTo>
                    <a:lnTo>
                      <a:pt x="276" y="60"/>
                    </a:lnTo>
                    <a:lnTo>
                      <a:pt x="282" y="54"/>
                    </a:lnTo>
                    <a:lnTo>
                      <a:pt x="288" y="54"/>
                    </a:lnTo>
                    <a:lnTo>
                      <a:pt x="288" y="30"/>
                    </a:lnTo>
                    <a:lnTo>
                      <a:pt x="294" y="12"/>
                    </a:lnTo>
                    <a:lnTo>
                      <a:pt x="288" y="12"/>
                    </a:lnTo>
                    <a:lnTo>
                      <a:pt x="282" y="6"/>
                    </a:lnTo>
                    <a:lnTo>
                      <a:pt x="270" y="6"/>
                    </a:lnTo>
                    <a:lnTo>
                      <a:pt x="252" y="0"/>
                    </a:lnTo>
                    <a:lnTo>
                      <a:pt x="210" y="0"/>
                    </a:lnTo>
                    <a:lnTo>
                      <a:pt x="204" y="12"/>
                    </a:lnTo>
                    <a:lnTo>
                      <a:pt x="156" y="6"/>
                    </a:lnTo>
                    <a:lnTo>
                      <a:pt x="156" y="18"/>
                    </a:lnTo>
                    <a:lnTo>
                      <a:pt x="96" y="0"/>
                    </a:lnTo>
                    <a:lnTo>
                      <a:pt x="72" y="6"/>
                    </a:lnTo>
                    <a:lnTo>
                      <a:pt x="66" y="18"/>
                    </a:lnTo>
                    <a:lnTo>
                      <a:pt x="60" y="24"/>
                    </a:lnTo>
                    <a:lnTo>
                      <a:pt x="54" y="36"/>
                    </a:lnTo>
                    <a:lnTo>
                      <a:pt x="54" y="48"/>
                    </a:lnTo>
                    <a:lnTo>
                      <a:pt x="66" y="60"/>
                    </a:lnTo>
                    <a:lnTo>
                      <a:pt x="66" y="72"/>
                    </a:lnTo>
                    <a:lnTo>
                      <a:pt x="60" y="78"/>
                    </a:lnTo>
                    <a:close/>
                  </a:path>
                </a:pathLst>
              </a:custGeom>
              <a:solidFill>
                <a:schemeClr val="accent6"/>
              </a:solidFill>
              <a:ln w="3175">
                <a:solidFill>
                  <a:schemeClr val="accent6"/>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panose="020F0502020204030203" pitchFamily="34" charset="0"/>
                  <a:ea typeface="+mn-ea"/>
                  <a:cs typeface="+mn-cs"/>
                </a:endParaRPr>
              </a:p>
            </p:txBody>
          </p:sp>
          <p:sp>
            <p:nvSpPr>
              <p:cNvPr id="460" name="Peru" descr="© INSCALE GmbH, 05.05.2010&#10;http://www.presentationload.com/">
                <a:extLst>
                  <a:ext uri="{FF2B5EF4-FFF2-40B4-BE49-F238E27FC236}">
                    <a16:creationId xmlns:a16="http://schemas.microsoft.com/office/drawing/2014/main" id="{AB89B528-8156-70D8-CA2D-E014C5999724}"/>
                  </a:ext>
                </a:extLst>
              </p:cNvPr>
              <p:cNvSpPr>
                <a:spLocks/>
              </p:cNvSpPr>
              <p:nvPr/>
            </p:nvSpPr>
            <p:spPr bwMode="gray">
              <a:xfrm>
                <a:off x="2590976" y="4588154"/>
                <a:ext cx="364241" cy="480527"/>
              </a:xfrm>
              <a:custGeom>
                <a:avLst/>
                <a:gdLst>
                  <a:gd name="T0" fmla="*/ 2147483647 w 942"/>
                  <a:gd name="T1" fmla="*/ 2147483647 h 1488"/>
                  <a:gd name="T2" fmla="*/ 2147483647 w 942"/>
                  <a:gd name="T3" fmla="*/ 2147483647 h 1488"/>
                  <a:gd name="T4" fmla="*/ 2147483647 w 942"/>
                  <a:gd name="T5" fmla="*/ 2147483647 h 1488"/>
                  <a:gd name="T6" fmla="*/ 2147483647 w 942"/>
                  <a:gd name="T7" fmla="*/ 2147483647 h 1488"/>
                  <a:gd name="T8" fmla="*/ 2147483647 w 942"/>
                  <a:gd name="T9" fmla="*/ 2147483647 h 1488"/>
                  <a:gd name="T10" fmla="*/ 2147483647 w 942"/>
                  <a:gd name="T11" fmla="*/ 2147483647 h 1488"/>
                  <a:gd name="T12" fmla="*/ 2147483647 w 942"/>
                  <a:gd name="T13" fmla="*/ 2147483647 h 1488"/>
                  <a:gd name="T14" fmla="*/ 2147483647 w 942"/>
                  <a:gd name="T15" fmla="*/ 2147483647 h 1488"/>
                  <a:gd name="T16" fmla="*/ 2147483647 w 942"/>
                  <a:gd name="T17" fmla="*/ 2147483647 h 1488"/>
                  <a:gd name="T18" fmla="*/ 2147483647 w 942"/>
                  <a:gd name="T19" fmla="*/ 2147483647 h 1488"/>
                  <a:gd name="T20" fmla="*/ 2147483647 w 942"/>
                  <a:gd name="T21" fmla="*/ 2147483647 h 1488"/>
                  <a:gd name="T22" fmla="*/ 2147483647 w 942"/>
                  <a:gd name="T23" fmla="*/ 2147483647 h 1488"/>
                  <a:gd name="T24" fmla="*/ 2147483647 w 942"/>
                  <a:gd name="T25" fmla="*/ 2147483647 h 1488"/>
                  <a:gd name="T26" fmla="*/ 2147483647 w 942"/>
                  <a:gd name="T27" fmla="*/ 2147483647 h 1488"/>
                  <a:gd name="T28" fmla="*/ 2147483647 w 942"/>
                  <a:gd name="T29" fmla="*/ 2147483647 h 1488"/>
                  <a:gd name="T30" fmla="*/ 2147483647 w 942"/>
                  <a:gd name="T31" fmla="*/ 2147483647 h 1488"/>
                  <a:gd name="T32" fmla="*/ 2147483647 w 942"/>
                  <a:gd name="T33" fmla="*/ 2147483647 h 1488"/>
                  <a:gd name="T34" fmla="*/ 2147483647 w 942"/>
                  <a:gd name="T35" fmla="*/ 2147483647 h 1488"/>
                  <a:gd name="T36" fmla="*/ 2147483647 w 942"/>
                  <a:gd name="T37" fmla="*/ 2147483647 h 1488"/>
                  <a:gd name="T38" fmla="*/ 2147483647 w 942"/>
                  <a:gd name="T39" fmla="*/ 2147483647 h 1488"/>
                  <a:gd name="T40" fmla="*/ 2147483647 w 942"/>
                  <a:gd name="T41" fmla="*/ 2147483647 h 1488"/>
                  <a:gd name="T42" fmla="*/ 2147483647 w 942"/>
                  <a:gd name="T43" fmla="*/ 2147483647 h 1488"/>
                  <a:gd name="T44" fmla="*/ 2147483647 w 942"/>
                  <a:gd name="T45" fmla="*/ 2147483647 h 1488"/>
                  <a:gd name="T46" fmla="*/ 2147483647 w 942"/>
                  <a:gd name="T47" fmla="*/ 2147483647 h 1488"/>
                  <a:gd name="T48" fmla="*/ 2147483647 w 942"/>
                  <a:gd name="T49" fmla="*/ 2147483647 h 1488"/>
                  <a:gd name="T50" fmla="*/ 2147483647 w 942"/>
                  <a:gd name="T51" fmla="*/ 2147483647 h 1488"/>
                  <a:gd name="T52" fmla="*/ 2147483647 w 942"/>
                  <a:gd name="T53" fmla="*/ 2147483647 h 1488"/>
                  <a:gd name="T54" fmla="*/ 2147483647 w 942"/>
                  <a:gd name="T55" fmla="*/ 2147483647 h 1488"/>
                  <a:gd name="T56" fmla="*/ 2147483647 w 942"/>
                  <a:gd name="T57" fmla="*/ 2147483647 h 1488"/>
                  <a:gd name="T58" fmla="*/ 2147483647 w 942"/>
                  <a:gd name="T59" fmla="*/ 2147483647 h 1488"/>
                  <a:gd name="T60" fmla="*/ 2147483647 w 942"/>
                  <a:gd name="T61" fmla="*/ 2147483647 h 1488"/>
                  <a:gd name="T62" fmla="*/ 2147483647 w 942"/>
                  <a:gd name="T63" fmla="*/ 0 h 1488"/>
                  <a:gd name="T64" fmla="*/ 2147483647 w 942"/>
                  <a:gd name="T65" fmla="*/ 2147483647 h 1488"/>
                  <a:gd name="T66" fmla="*/ 2147483647 w 942"/>
                  <a:gd name="T67" fmla="*/ 2147483647 h 1488"/>
                  <a:gd name="T68" fmla="*/ 2147483647 w 942"/>
                  <a:gd name="T69" fmla="*/ 2147483647 h 1488"/>
                  <a:gd name="T70" fmla="*/ 2147483647 w 942"/>
                  <a:gd name="T71" fmla="*/ 2147483647 h 1488"/>
                  <a:gd name="T72" fmla="*/ 2147483647 w 942"/>
                  <a:gd name="T73" fmla="*/ 2147483647 h 1488"/>
                  <a:gd name="T74" fmla="*/ 2147483647 w 942"/>
                  <a:gd name="T75" fmla="*/ 2147483647 h 1488"/>
                  <a:gd name="T76" fmla="*/ 2147483647 w 942"/>
                  <a:gd name="T77" fmla="*/ 2147483647 h 1488"/>
                  <a:gd name="T78" fmla="*/ 2147483647 w 942"/>
                  <a:gd name="T79" fmla="*/ 2147483647 h 1488"/>
                  <a:gd name="T80" fmla="*/ 2147483647 w 942"/>
                  <a:gd name="T81" fmla="*/ 2147483647 h 1488"/>
                  <a:gd name="T82" fmla="*/ 2147483647 w 942"/>
                  <a:gd name="T83" fmla="*/ 2147483647 h 1488"/>
                  <a:gd name="T84" fmla="*/ 0 w 942"/>
                  <a:gd name="T85" fmla="*/ 2147483647 h 1488"/>
                  <a:gd name="T86" fmla="*/ 2147483647 w 942"/>
                  <a:gd name="T87" fmla="*/ 2147483647 h 1488"/>
                  <a:gd name="T88" fmla="*/ 2147483647 w 942"/>
                  <a:gd name="T89" fmla="*/ 2147483647 h 1488"/>
                  <a:gd name="T90" fmla="*/ 2147483647 w 942"/>
                  <a:gd name="T91" fmla="*/ 2147483647 h 1488"/>
                  <a:gd name="T92" fmla="*/ 2147483647 w 942"/>
                  <a:gd name="T93" fmla="*/ 2147483647 h 1488"/>
                  <a:gd name="T94" fmla="*/ 2147483647 w 942"/>
                  <a:gd name="T95" fmla="*/ 2147483647 h 1488"/>
                  <a:gd name="T96" fmla="*/ 2147483647 w 942"/>
                  <a:gd name="T97" fmla="*/ 2147483647 h 1488"/>
                  <a:gd name="T98" fmla="*/ 2147483647 w 942"/>
                  <a:gd name="T99" fmla="*/ 2147483647 h 1488"/>
                  <a:gd name="T100" fmla="*/ 2147483647 w 942"/>
                  <a:gd name="T101" fmla="*/ 2147483647 h 1488"/>
                  <a:gd name="T102" fmla="*/ 2147483647 w 942"/>
                  <a:gd name="T103" fmla="*/ 2147483647 h 1488"/>
                  <a:gd name="T104" fmla="*/ 2147483647 w 942"/>
                  <a:gd name="T105" fmla="*/ 2147483647 h 1488"/>
                  <a:gd name="T106" fmla="*/ 2147483647 w 942"/>
                  <a:gd name="T107" fmla="*/ 2147483647 h 1488"/>
                  <a:gd name="T108" fmla="*/ 2147483647 w 942"/>
                  <a:gd name="T109" fmla="*/ 2147483647 h 1488"/>
                  <a:gd name="T110" fmla="*/ 2147483647 w 942"/>
                  <a:gd name="T111" fmla="*/ 2147483647 h 1488"/>
                  <a:gd name="T112" fmla="*/ 2147483647 w 942"/>
                  <a:gd name="T113" fmla="*/ 2147483647 h 1488"/>
                  <a:gd name="T114" fmla="*/ 2147483647 w 942"/>
                  <a:gd name="T115" fmla="*/ 2147483647 h 1488"/>
                  <a:gd name="T116" fmla="*/ 2147483647 w 942"/>
                  <a:gd name="T117" fmla="*/ 2147483647 h 1488"/>
                  <a:gd name="T118" fmla="*/ 2147483647 w 942"/>
                  <a:gd name="T119" fmla="*/ 2147483647 h 1488"/>
                  <a:gd name="T120" fmla="*/ 2147483647 w 942"/>
                  <a:gd name="T121" fmla="*/ 2147483647 h 14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42"/>
                  <a:gd name="T184" fmla="*/ 0 h 1488"/>
                  <a:gd name="T185" fmla="*/ 942 w 942"/>
                  <a:gd name="T186" fmla="*/ 1488 h 14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42" h="1488">
                    <a:moveTo>
                      <a:pt x="930" y="1320"/>
                    </a:moveTo>
                    <a:lnTo>
                      <a:pt x="924" y="1314"/>
                    </a:lnTo>
                    <a:lnTo>
                      <a:pt x="912" y="1308"/>
                    </a:lnTo>
                    <a:lnTo>
                      <a:pt x="888" y="1284"/>
                    </a:lnTo>
                    <a:lnTo>
                      <a:pt x="864" y="1284"/>
                    </a:lnTo>
                    <a:lnTo>
                      <a:pt x="858" y="1278"/>
                    </a:lnTo>
                    <a:lnTo>
                      <a:pt x="870" y="1260"/>
                    </a:lnTo>
                    <a:lnTo>
                      <a:pt x="870" y="1230"/>
                    </a:lnTo>
                    <a:lnTo>
                      <a:pt x="882" y="1230"/>
                    </a:lnTo>
                    <a:lnTo>
                      <a:pt x="906" y="1254"/>
                    </a:lnTo>
                    <a:lnTo>
                      <a:pt x="918" y="1236"/>
                    </a:lnTo>
                    <a:lnTo>
                      <a:pt x="918" y="1230"/>
                    </a:lnTo>
                    <a:lnTo>
                      <a:pt x="912" y="1224"/>
                    </a:lnTo>
                    <a:lnTo>
                      <a:pt x="906" y="1212"/>
                    </a:lnTo>
                    <a:lnTo>
                      <a:pt x="900" y="1194"/>
                    </a:lnTo>
                    <a:lnTo>
                      <a:pt x="912" y="1170"/>
                    </a:lnTo>
                    <a:lnTo>
                      <a:pt x="924" y="1158"/>
                    </a:lnTo>
                    <a:lnTo>
                      <a:pt x="930" y="1146"/>
                    </a:lnTo>
                    <a:lnTo>
                      <a:pt x="930" y="1140"/>
                    </a:lnTo>
                    <a:lnTo>
                      <a:pt x="924" y="1128"/>
                    </a:lnTo>
                    <a:lnTo>
                      <a:pt x="912" y="1116"/>
                    </a:lnTo>
                    <a:lnTo>
                      <a:pt x="906" y="1116"/>
                    </a:lnTo>
                    <a:lnTo>
                      <a:pt x="924" y="1086"/>
                    </a:lnTo>
                    <a:lnTo>
                      <a:pt x="912" y="1038"/>
                    </a:lnTo>
                    <a:lnTo>
                      <a:pt x="918" y="1032"/>
                    </a:lnTo>
                    <a:lnTo>
                      <a:pt x="924" y="1020"/>
                    </a:lnTo>
                    <a:lnTo>
                      <a:pt x="930" y="1014"/>
                    </a:lnTo>
                    <a:lnTo>
                      <a:pt x="930" y="1002"/>
                    </a:lnTo>
                    <a:lnTo>
                      <a:pt x="918" y="978"/>
                    </a:lnTo>
                    <a:lnTo>
                      <a:pt x="906" y="960"/>
                    </a:lnTo>
                    <a:lnTo>
                      <a:pt x="894" y="948"/>
                    </a:lnTo>
                    <a:lnTo>
                      <a:pt x="882" y="930"/>
                    </a:lnTo>
                    <a:lnTo>
                      <a:pt x="870" y="918"/>
                    </a:lnTo>
                    <a:lnTo>
                      <a:pt x="864" y="900"/>
                    </a:lnTo>
                    <a:lnTo>
                      <a:pt x="864" y="882"/>
                    </a:lnTo>
                    <a:lnTo>
                      <a:pt x="828" y="882"/>
                    </a:lnTo>
                    <a:lnTo>
                      <a:pt x="822" y="888"/>
                    </a:lnTo>
                    <a:lnTo>
                      <a:pt x="816" y="888"/>
                    </a:lnTo>
                    <a:lnTo>
                      <a:pt x="816" y="894"/>
                    </a:lnTo>
                    <a:lnTo>
                      <a:pt x="804" y="894"/>
                    </a:lnTo>
                    <a:lnTo>
                      <a:pt x="798" y="888"/>
                    </a:lnTo>
                    <a:lnTo>
                      <a:pt x="798" y="882"/>
                    </a:lnTo>
                    <a:lnTo>
                      <a:pt x="786" y="888"/>
                    </a:lnTo>
                    <a:lnTo>
                      <a:pt x="786" y="858"/>
                    </a:lnTo>
                    <a:lnTo>
                      <a:pt x="780" y="840"/>
                    </a:lnTo>
                    <a:lnTo>
                      <a:pt x="780" y="828"/>
                    </a:lnTo>
                    <a:lnTo>
                      <a:pt x="786" y="816"/>
                    </a:lnTo>
                    <a:lnTo>
                      <a:pt x="786" y="804"/>
                    </a:lnTo>
                    <a:lnTo>
                      <a:pt x="792" y="798"/>
                    </a:lnTo>
                    <a:lnTo>
                      <a:pt x="792" y="780"/>
                    </a:lnTo>
                    <a:lnTo>
                      <a:pt x="786" y="768"/>
                    </a:lnTo>
                    <a:lnTo>
                      <a:pt x="786" y="756"/>
                    </a:lnTo>
                    <a:lnTo>
                      <a:pt x="732" y="804"/>
                    </a:lnTo>
                    <a:lnTo>
                      <a:pt x="672" y="810"/>
                    </a:lnTo>
                    <a:lnTo>
                      <a:pt x="672" y="804"/>
                    </a:lnTo>
                    <a:lnTo>
                      <a:pt x="666" y="798"/>
                    </a:lnTo>
                    <a:lnTo>
                      <a:pt x="660" y="786"/>
                    </a:lnTo>
                    <a:lnTo>
                      <a:pt x="660" y="774"/>
                    </a:lnTo>
                    <a:lnTo>
                      <a:pt x="654" y="768"/>
                    </a:lnTo>
                    <a:lnTo>
                      <a:pt x="648" y="768"/>
                    </a:lnTo>
                    <a:lnTo>
                      <a:pt x="636" y="762"/>
                    </a:lnTo>
                    <a:lnTo>
                      <a:pt x="594" y="762"/>
                    </a:lnTo>
                    <a:lnTo>
                      <a:pt x="600" y="756"/>
                    </a:lnTo>
                    <a:lnTo>
                      <a:pt x="612" y="750"/>
                    </a:lnTo>
                    <a:lnTo>
                      <a:pt x="618" y="738"/>
                    </a:lnTo>
                    <a:lnTo>
                      <a:pt x="624" y="732"/>
                    </a:lnTo>
                    <a:lnTo>
                      <a:pt x="600" y="708"/>
                    </a:lnTo>
                    <a:lnTo>
                      <a:pt x="588" y="702"/>
                    </a:lnTo>
                    <a:lnTo>
                      <a:pt x="576" y="690"/>
                    </a:lnTo>
                    <a:lnTo>
                      <a:pt x="564" y="666"/>
                    </a:lnTo>
                    <a:lnTo>
                      <a:pt x="558" y="660"/>
                    </a:lnTo>
                    <a:lnTo>
                      <a:pt x="558" y="654"/>
                    </a:lnTo>
                    <a:lnTo>
                      <a:pt x="552" y="630"/>
                    </a:lnTo>
                    <a:lnTo>
                      <a:pt x="540" y="624"/>
                    </a:lnTo>
                    <a:lnTo>
                      <a:pt x="534" y="618"/>
                    </a:lnTo>
                    <a:lnTo>
                      <a:pt x="534" y="606"/>
                    </a:lnTo>
                    <a:lnTo>
                      <a:pt x="540" y="600"/>
                    </a:lnTo>
                    <a:lnTo>
                      <a:pt x="552" y="594"/>
                    </a:lnTo>
                    <a:lnTo>
                      <a:pt x="546" y="588"/>
                    </a:lnTo>
                    <a:lnTo>
                      <a:pt x="546" y="564"/>
                    </a:lnTo>
                    <a:lnTo>
                      <a:pt x="552" y="552"/>
                    </a:lnTo>
                    <a:lnTo>
                      <a:pt x="582" y="522"/>
                    </a:lnTo>
                    <a:lnTo>
                      <a:pt x="588" y="528"/>
                    </a:lnTo>
                    <a:lnTo>
                      <a:pt x="594" y="528"/>
                    </a:lnTo>
                    <a:lnTo>
                      <a:pt x="588" y="522"/>
                    </a:lnTo>
                    <a:lnTo>
                      <a:pt x="588" y="504"/>
                    </a:lnTo>
                    <a:lnTo>
                      <a:pt x="582" y="498"/>
                    </a:lnTo>
                    <a:lnTo>
                      <a:pt x="582" y="486"/>
                    </a:lnTo>
                    <a:lnTo>
                      <a:pt x="600" y="468"/>
                    </a:lnTo>
                    <a:lnTo>
                      <a:pt x="600" y="414"/>
                    </a:lnTo>
                    <a:lnTo>
                      <a:pt x="624" y="414"/>
                    </a:lnTo>
                    <a:lnTo>
                      <a:pt x="624" y="408"/>
                    </a:lnTo>
                    <a:lnTo>
                      <a:pt x="630" y="402"/>
                    </a:lnTo>
                    <a:lnTo>
                      <a:pt x="630" y="396"/>
                    </a:lnTo>
                    <a:lnTo>
                      <a:pt x="642" y="384"/>
                    </a:lnTo>
                    <a:lnTo>
                      <a:pt x="654" y="378"/>
                    </a:lnTo>
                    <a:lnTo>
                      <a:pt x="660" y="372"/>
                    </a:lnTo>
                    <a:lnTo>
                      <a:pt x="672" y="366"/>
                    </a:lnTo>
                    <a:lnTo>
                      <a:pt x="702" y="366"/>
                    </a:lnTo>
                    <a:lnTo>
                      <a:pt x="708" y="354"/>
                    </a:lnTo>
                    <a:lnTo>
                      <a:pt x="738" y="360"/>
                    </a:lnTo>
                    <a:lnTo>
                      <a:pt x="744" y="354"/>
                    </a:lnTo>
                    <a:lnTo>
                      <a:pt x="750" y="342"/>
                    </a:lnTo>
                    <a:lnTo>
                      <a:pt x="756" y="336"/>
                    </a:lnTo>
                    <a:lnTo>
                      <a:pt x="774" y="336"/>
                    </a:lnTo>
                    <a:lnTo>
                      <a:pt x="786" y="348"/>
                    </a:lnTo>
                    <a:lnTo>
                      <a:pt x="786" y="354"/>
                    </a:lnTo>
                    <a:lnTo>
                      <a:pt x="804" y="354"/>
                    </a:lnTo>
                    <a:lnTo>
                      <a:pt x="816" y="342"/>
                    </a:lnTo>
                    <a:lnTo>
                      <a:pt x="798" y="330"/>
                    </a:lnTo>
                    <a:lnTo>
                      <a:pt x="786" y="312"/>
                    </a:lnTo>
                    <a:lnTo>
                      <a:pt x="768" y="312"/>
                    </a:lnTo>
                    <a:lnTo>
                      <a:pt x="762" y="306"/>
                    </a:lnTo>
                    <a:lnTo>
                      <a:pt x="762" y="288"/>
                    </a:lnTo>
                    <a:lnTo>
                      <a:pt x="774" y="264"/>
                    </a:lnTo>
                    <a:lnTo>
                      <a:pt x="774" y="258"/>
                    </a:lnTo>
                    <a:lnTo>
                      <a:pt x="780" y="252"/>
                    </a:lnTo>
                    <a:lnTo>
                      <a:pt x="786" y="252"/>
                    </a:lnTo>
                    <a:lnTo>
                      <a:pt x="792" y="246"/>
                    </a:lnTo>
                    <a:lnTo>
                      <a:pt x="798" y="234"/>
                    </a:lnTo>
                    <a:lnTo>
                      <a:pt x="798" y="216"/>
                    </a:lnTo>
                    <a:lnTo>
                      <a:pt x="792" y="210"/>
                    </a:lnTo>
                    <a:lnTo>
                      <a:pt x="780" y="204"/>
                    </a:lnTo>
                    <a:lnTo>
                      <a:pt x="756" y="204"/>
                    </a:lnTo>
                    <a:lnTo>
                      <a:pt x="750" y="198"/>
                    </a:lnTo>
                    <a:lnTo>
                      <a:pt x="744" y="186"/>
                    </a:lnTo>
                    <a:lnTo>
                      <a:pt x="744" y="180"/>
                    </a:lnTo>
                    <a:lnTo>
                      <a:pt x="732" y="180"/>
                    </a:lnTo>
                    <a:lnTo>
                      <a:pt x="726" y="186"/>
                    </a:lnTo>
                    <a:lnTo>
                      <a:pt x="714" y="192"/>
                    </a:lnTo>
                    <a:lnTo>
                      <a:pt x="702" y="192"/>
                    </a:lnTo>
                    <a:lnTo>
                      <a:pt x="696" y="186"/>
                    </a:lnTo>
                    <a:lnTo>
                      <a:pt x="690" y="186"/>
                    </a:lnTo>
                    <a:lnTo>
                      <a:pt x="684" y="180"/>
                    </a:lnTo>
                    <a:lnTo>
                      <a:pt x="660" y="180"/>
                    </a:lnTo>
                    <a:lnTo>
                      <a:pt x="648" y="192"/>
                    </a:lnTo>
                    <a:lnTo>
                      <a:pt x="648" y="204"/>
                    </a:lnTo>
                    <a:lnTo>
                      <a:pt x="612" y="204"/>
                    </a:lnTo>
                    <a:lnTo>
                      <a:pt x="588" y="198"/>
                    </a:lnTo>
                    <a:lnTo>
                      <a:pt x="576" y="192"/>
                    </a:lnTo>
                    <a:lnTo>
                      <a:pt x="576" y="168"/>
                    </a:lnTo>
                    <a:lnTo>
                      <a:pt x="582" y="162"/>
                    </a:lnTo>
                    <a:lnTo>
                      <a:pt x="582" y="156"/>
                    </a:lnTo>
                    <a:lnTo>
                      <a:pt x="576" y="150"/>
                    </a:lnTo>
                    <a:lnTo>
                      <a:pt x="564" y="144"/>
                    </a:lnTo>
                    <a:lnTo>
                      <a:pt x="552" y="144"/>
                    </a:lnTo>
                    <a:lnTo>
                      <a:pt x="552" y="138"/>
                    </a:lnTo>
                    <a:lnTo>
                      <a:pt x="546" y="132"/>
                    </a:lnTo>
                    <a:lnTo>
                      <a:pt x="546" y="108"/>
                    </a:lnTo>
                    <a:lnTo>
                      <a:pt x="540" y="102"/>
                    </a:lnTo>
                    <a:lnTo>
                      <a:pt x="528" y="102"/>
                    </a:lnTo>
                    <a:lnTo>
                      <a:pt x="516" y="84"/>
                    </a:lnTo>
                    <a:lnTo>
                      <a:pt x="498" y="84"/>
                    </a:lnTo>
                    <a:lnTo>
                      <a:pt x="486" y="48"/>
                    </a:lnTo>
                    <a:lnTo>
                      <a:pt x="480" y="42"/>
                    </a:lnTo>
                    <a:lnTo>
                      <a:pt x="468" y="36"/>
                    </a:lnTo>
                    <a:lnTo>
                      <a:pt x="450" y="18"/>
                    </a:lnTo>
                    <a:lnTo>
                      <a:pt x="438" y="12"/>
                    </a:lnTo>
                    <a:lnTo>
                      <a:pt x="426" y="0"/>
                    </a:lnTo>
                    <a:lnTo>
                      <a:pt x="396" y="0"/>
                    </a:lnTo>
                    <a:lnTo>
                      <a:pt x="414" y="0"/>
                    </a:lnTo>
                    <a:lnTo>
                      <a:pt x="414" y="24"/>
                    </a:lnTo>
                    <a:lnTo>
                      <a:pt x="408" y="24"/>
                    </a:lnTo>
                    <a:lnTo>
                      <a:pt x="408" y="30"/>
                    </a:lnTo>
                    <a:lnTo>
                      <a:pt x="402" y="30"/>
                    </a:lnTo>
                    <a:lnTo>
                      <a:pt x="426" y="48"/>
                    </a:lnTo>
                    <a:lnTo>
                      <a:pt x="426" y="78"/>
                    </a:lnTo>
                    <a:lnTo>
                      <a:pt x="414" y="84"/>
                    </a:lnTo>
                    <a:lnTo>
                      <a:pt x="402" y="126"/>
                    </a:lnTo>
                    <a:lnTo>
                      <a:pt x="396" y="138"/>
                    </a:lnTo>
                    <a:lnTo>
                      <a:pt x="384" y="150"/>
                    </a:lnTo>
                    <a:lnTo>
                      <a:pt x="378" y="162"/>
                    </a:lnTo>
                    <a:lnTo>
                      <a:pt x="366" y="174"/>
                    </a:lnTo>
                    <a:lnTo>
                      <a:pt x="354" y="192"/>
                    </a:lnTo>
                    <a:lnTo>
                      <a:pt x="336" y="204"/>
                    </a:lnTo>
                    <a:lnTo>
                      <a:pt x="276" y="234"/>
                    </a:lnTo>
                    <a:lnTo>
                      <a:pt x="258" y="240"/>
                    </a:lnTo>
                    <a:lnTo>
                      <a:pt x="240" y="252"/>
                    </a:lnTo>
                    <a:lnTo>
                      <a:pt x="222" y="270"/>
                    </a:lnTo>
                    <a:lnTo>
                      <a:pt x="222" y="276"/>
                    </a:lnTo>
                    <a:lnTo>
                      <a:pt x="210" y="282"/>
                    </a:lnTo>
                    <a:lnTo>
                      <a:pt x="210" y="300"/>
                    </a:lnTo>
                    <a:lnTo>
                      <a:pt x="198" y="312"/>
                    </a:lnTo>
                    <a:lnTo>
                      <a:pt x="198" y="336"/>
                    </a:lnTo>
                    <a:lnTo>
                      <a:pt x="192" y="348"/>
                    </a:lnTo>
                    <a:lnTo>
                      <a:pt x="192" y="378"/>
                    </a:lnTo>
                    <a:lnTo>
                      <a:pt x="174" y="378"/>
                    </a:lnTo>
                    <a:lnTo>
                      <a:pt x="168" y="384"/>
                    </a:lnTo>
                    <a:lnTo>
                      <a:pt x="168" y="390"/>
                    </a:lnTo>
                    <a:lnTo>
                      <a:pt x="162" y="396"/>
                    </a:lnTo>
                    <a:lnTo>
                      <a:pt x="162" y="402"/>
                    </a:lnTo>
                    <a:lnTo>
                      <a:pt x="144" y="402"/>
                    </a:lnTo>
                    <a:lnTo>
                      <a:pt x="138" y="390"/>
                    </a:lnTo>
                    <a:lnTo>
                      <a:pt x="138" y="372"/>
                    </a:lnTo>
                    <a:lnTo>
                      <a:pt x="132" y="366"/>
                    </a:lnTo>
                    <a:lnTo>
                      <a:pt x="132" y="360"/>
                    </a:lnTo>
                    <a:lnTo>
                      <a:pt x="102" y="360"/>
                    </a:lnTo>
                    <a:lnTo>
                      <a:pt x="90" y="348"/>
                    </a:lnTo>
                    <a:lnTo>
                      <a:pt x="78" y="360"/>
                    </a:lnTo>
                    <a:lnTo>
                      <a:pt x="66" y="366"/>
                    </a:lnTo>
                    <a:lnTo>
                      <a:pt x="60" y="366"/>
                    </a:lnTo>
                    <a:lnTo>
                      <a:pt x="54" y="360"/>
                    </a:lnTo>
                    <a:lnTo>
                      <a:pt x="66" y="348"/>
                    </a:lnTo>
                    <a:lnTo>
                      <a:pt x="54" y="336"/>
                    </a:lnTo>
                    <a:lnTo>
                      <a:pt x="60" y="330"/>
                    </a:lnTo>
                    <a:lnTo>
                      <a:pt x="66" y="318"/>
                    </a:lnTo>
                    <a:lnTo>
                      <a:pt x="78" y="312"/>
                    </a:lnTo>
                    <a:lnTo>
                      <a:pt x="84" y="300"/>
                    </a:lnTo>
                    <a:lnTo>
                      <a:pt x="90" y="294"/>
                    </a:lnTo>
                    <a:lnTo>
                      <a:pt x="90" y="288"/>
                    </a:lnTo>
                    <a:lnTo>
                      <a:pt x="84" y="288"/>
                    </a:lnTo>
                    <a:lnTo>
                      <a:pt x="72" y="282"/>
                    </a:lnTo>
                    <a:lnTo>
                      <a:pt x="66" y="282"/>
                    </a:lnTo>
                    <a:lnTo>
                      <a:pt x="6" y="342"/>
                    </a:lnTo>
                    <a:lnTo>
                      <a:pt x="0" y="354"/>
                    </a:lnTo>
                    <a:lnTo>
                      <a:pt x="0" y="390"/>
                    </a:lnTo>
                    <a:lnTo>
                      <a:pt x="6" y="396"/>
                    </a:lnTo>
                    <a:lnTo>
                      <a:pt x="18" y="396"/>
                    </a:lnTo>
                    <a:lnTo>
                      <a:pt x="12" y="420"/>
                    </a:lnTo>
                    <a:lnTo>
                      <a:pt x="36" y="444"/>
                    </a:lnTo>
                    <a:lnTo>
                      <a:pt x="36" y="462"/>
                    </a:lnTo>
                    <a:lnTo>
                      <a:pt x="12" y="486"/>
                    </a:lnTo>
                    <a:lnTo>
                      <a:pt x="12" y="492"/>
                    </a:lnTo>
                    <a:lnTo>
                      <a:pt x="18" y="504"/>
                    </a:lnTo>
                    <a:lnTo>
                      <a:pt x="24" y="510"/>
                    </a:lnTo>
                    <a:lnTo>
                      <a:pt x="36" y="516"/>
                    </a:lnTo>
                    <a:lnTo>
                      <a:pt x="54" y="522"/>
                    </a:lnTo>
                    <a:lnTo>
                      <a:pt x="66" y="522"/>
                    </a:lnTo>
                    <a:lnTo>
                      <a:pt x="108" y="564"/>
                    </a:lnTo>
                    <a:lnTo>
                      <a:pt x="114" y="576"/>
                    </a:lnTo>
                    <a:lnTo>
                      <a:pt x="132" y="594"/>
                    </a:lnTo>
                    <a:lnTo>
                      <a:pt x="138" y="612"/>
                    </a:lnTo>
                    <a:lnTo>
                      <a:pt x="144" y="624"/>
                    </a:lnTo>
                    <a:lnTo>
                      <a:pt x="144" y="642"/>
                    </a:lnTo>
                    <a:lnTo>
                      <a:pt x="150" y="648"/>
                    </a:lnTo>
                    <a:lnTo>
                      <a:pt x="156" y="660"/>
                    </a:lnTo>
                    <a:lnTo>
                      <a:pt x="168" y="666"/>
                    </a:lnTo>
                    <a:lnTo>
                      <a:pt x="174" y="678"/>
                    </a:lnTo>
                    <a:lnTo>
                      <a:pt x="192" y="696"/>
                    </a:lnTo>
                    <a:lnTo>
                      <a:pt x="204" y="720"/>
                    </a:lnTo>
                    <a:lnTo>
                      <a:pt x="216" y="732"/>
                    </a:lnTo>
                    <a:lnTo>
                      <a:pt x="222" y="744"/>
                    </a:lnTo>
                    <a:lnTo>
                      <a:pt x="234" y="762"/>
                    </a:lnTo>
                    <a:lnTo>
                      <a:pt x="240" y="768"/>
                    </a:lnTo>
                    <a:lnTo>
                      <a:pt x="246" y="780"/>
                    </a:lnTo>
                    <a:lnTo>
                      <a:pt x="252" y="822"/>
                    </a:lnTo>
                    <a:lnTo>
                      <a:pt x="252" y="828"/>
                    </a:lnTo>
                    <a:lnTo>
                      <a:pt x="258" y="834"/>
                    </a:lnTo>
                    <a:lnTo>
                      <a:pt x="264" y="846"/>
                    </a:lnTo>
                    <a:lnTo>
                      <a:pt x="270" y="864"/>
                    </a:lnTo>
                    <a:lnTo>
                      <a:pt x="282" y="876"/>
                    </a:lnTo>
                    <a:lnTo>
                      <a:pt x="288" y="894"/>
                    </a:lnTo>
                    <a:lnTo>
                      <a:pt x="294" y="906"/>
                    </a:lnTo>
                    <a:lnTo>
                      <a:pt x="294" y="918"/>
                    </a:lnTo>
                    <a:lnTo>
                      <a:pt x="300" y="924"/>
                    </a:lnTo>
                    <a:lnTo>
                      <a:pt x="312" y="924"/>
                    </a:lnTo>
                    <a:lnTo>
                      <a:pt x="324" y="936"/>
                    </a:lnTo>
                    <a:lnTo>
                      <a:pt x="324" y="948"/>
                    </a:lnTo>
                    <a:lnTo>
                      <a:pt x="330" y="954"/>
                    </a:lnTo>
                    <a:lnTo>
                      <a:pt x="330" y="966"/>
                    </a:lnTo>
                    <a:lnTo>
                      <a:pt x="336" y="984"/>
                    </a:lnTo>
                    <a:lnTo>
                      <a:pt x="360" y="1014"/>
                    </a:lnTo>
                    <a:lnTo>
                      <a:pt x="378" y="1050"/>
                    </a:lnTo>
                    <a:lnTo>
                      <a:pt x="396" y="1074"/>
                    </a:lnTo>
                    <a:lnTo>
                      <a:pt x="402" y="1086"/>
                    </a:lnTo>
                    <a:lnTo>
                      <a:pt x="408" y="1104"/>
                    </a:lnTo>
                    <a:lnTo>
                      <a:pt x="408" y="1116"/>
                    </a:lnTo>
                    <a:lnTo>
                      <a:pt x="402" y="1128"/>
                    </a:lnTo>
                    <a:lnTo>
                      <a:pt x="402" y="1146"/>
                    </a:lnTo>
                    <a:lnTo>
                      <a:pt x="414" y="1158"/>
                    </a:lnTo>
                    <a:lnTo>
                      <a:pt x="420" y="1170"/>
                    </a:lnTo>
                    <a:lnTo>
                      <a:pt x="444" y="1194"/>
                    </a:lnTo>
                    <a:lnTo>
                      <a:pt x="456" y="1200"/>
                    </a:lnTo>
                    <a:lnTo>
                      <a:pt x="468" y="1212"/>
                    </a:lnTo>
                    <a:lnTo>
                      <a:pt x="474" y="1224"/>
                    </a:lnTo>
                    <a:lnTo>
                      <a:pt x="498" y="1248"/>
                    </a:lnTo>
                    <a:lnTo>
                      <a:pt x="516" y="1260"/>
                    </a:lnTo>
                    <a:lnTo>
                      <a:pt x="546" y="1278"/>
                    </a:lnTo>
                    <a:lnTo>
                      <a:pt x="576" y="1290"/>
                    </a:lnTo>
                    <a:lnTo>
                      <a:pt x="600" y="1302"/>
                    </a:lnTo>
                    <a:lnTo>
                      <a:pt x="642" y="1320"/>
                    </a:lnTo>
                    <a:lnTo>
                      <a:pt x="696" y="1350"/>
                    </a:lnTo>
                    <a:lnTo>
                      <a:pt x="708" y="1362"/>
                    </a:lnTo>
                    <a:lnTo>
                      <a:pt x="726" y="1374"/>
                    </a:lnTo>
                    <a:lnTo>
                      <a:pt x="738" y="1380"/>
                    </a:lnTo>
                    <a:lnTo>
                      <a:pt x="750" y="1392"/>
                    </a:lnTo>
                    <a:lnTo>
                      <a:pt x="774" y="1404"/>
                    </a:lnTo>
                    <a:lnTo>
                      <a:pt x="780" y="1428"/>
                    </a:lnTo>
                    <a:lnTo>
                      <a:pt x="792" y="1434"/>
                    </a:lnTo>
                    <a:lnTo>
                      <a:pt x="798" y="1446"/>
                    </a:lnTo>
                    <a:lnTo>
                      <a:pt x="810" y="1452"/>
                    </a:lnTo>
                    <a:lnTo>
                      <a:pt x="816" y="1458"/>
                    </a:lnTo>
                    <a:lnTo>
                      <a:pt x="840" y="1470"/>
                    </a:lnTo>
                    <a:lnTo>
                      <a:pt x="846" y="1482"/>
                    </a:lnTo>
                    <a:lnTo>
                      <a:pt x="858" y="1488"/>
                    </a:lnTo>
                    <a:lnTo>
                      <a:pt x="894" y="1464"/>
                    </a:lnTo>
                    <a:lnTo>
                      <a:pt x="900" y="1458"/>
                    </a:lnTo>
                    <a:lnTo>
                      <a:pt x="900" y="1440"/>
                    </a:lnTo>
                    <a:lnTo>
                      <a:pt x="894" y="1428"/>
                    </a:lnTo>
                    <a:lnTo>
                      <a:pt x="912" y="1416"/>
                    </a:lnTo>
                    <a:lnTo>
                      <a:pt x="900" y="1392"/>
                    </a:lnTo>
                    <a:lnTo>
                      <a:pt x="918" y="1374"/>
                    </a:lnTo>
                    <a:lnTo>
                      <a:pt x="930" y="1368"/>
                    </a:lnTo>
                    <a:lnTo>
                      <a:pt x="942" y="1344"/>
                    </a:lnTo>
                    <a:lnTo>
                      <a:pt x="942" y="1332"/>
                    </a:lnTo>
                    <a:lnTo>
                      <a:pt x="930" y="1320"/>
                    </a:lnTo>
                    <a:close/>
                  </a:path>
                </a:pathLst>
              </a:custGeom>
              <a:solidFill>
                <a:schemeClr val="accent6"/>
              </a:solidFill>
              <a:ln w="3175">
                <a:solidFill>
                  <a:schemeClr val="accent6"/>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panose="020F0502020204030203" pitchFamily="34" charset="0"/>
                  <a:ea typeface="+mn-ea"/>
                  <a:cs typeface="+mn-cs"/>
                </a:endParaRPr>
              </a:p>
            </p:txBody>
          </p:sp>
          <p:sp>
            <p:nvSpPr>
              <p:cNvPr id="461" name="Paraguay" descr="© INSCALE GmbH, 05.05.2010&#10;http://www.presentationload.com/">
                <a:extLst>
                  <a:ext uri="{FF2B5EF4-FFF2-40B4-BE49-F238E27FC236}">
                    <a16:creationId xmlns:a16="http://schemas.microsoft.com/office/drawing/2014/main" id="{CE2ABCEF-C5BB-3253-6AC0-F29E24471CF0}"/>
                  </a:ext>
                </a:extLst>
              </p:cNvPr>
              <p:cNvSpPr>
                <a:spLocks/>
              </p:cNvSpPr>
              <p:nvPr/>
            </p:nvSpPr>
            <p:spPr bwMode="gray">
              <a:xfrm>
                <a:off x="3147160" y="5090121"/>
                <a:ext cx="231240" cy="218191"/>
              </a:xfrm>
              <a:custGeom>
                <a:avLst/>
                <a:gdLst>
                  <a:gd name="T0" fmla="*/ 2147483647 w 600"/>
                  <a:gd name="T1" fmla="*/ 2147483647 h 678"/>
                  <a:gd name="T2" fmla="*/ 2147483647 w 600"/>
                  <a:gd name="T3" fmla="*/ 2147483647 h 678"/>
                  <a:gd name="T4" fmla="*/ 2147483647 w 600"/>
                  <a:gd name="T5" fmla="*/ 2147483647 h 678"/>
                  <a:gd name="T6" fmla="*/ 2147483647 w 600"/>
                  <a:gd name="T7" fmla="*/ 2147483647 h 678"/>
                  <a:gd name="T8" fmla="*/ 2147483647 w 600"/>
                  <a:gd name="T9" fmla="*/ 2147483647 h 678"/>
                  <a:gd name="T10" fmla="*/ 2147483647 w 600"/>
                  <a:gd name="T11" fmla="*/ 2147483647 h 678"/>
                  <a:gd name="T12" fmla="*/ 2147483647 w 600"/>
                  <a:gd name="T13" fmla="*/ 2147483647 h 678"/>
                  <a:gd name="T14" fmla="*/ 2147483647 w 600"/>
                  <a:gd name="T15" fmla="*/ 2147483647 h 678"/>
                  <a:gd name="T16" fmla="*/ 2147483647 w 600"/>
                  <a:gd name="T17" fmla="*/ 2147483647 h 678"/>
                  <a:gd name="T18" fmla="*/ 2147483647 w 600"/>
                  <a:gd name="T19" fmla="*/ 2147483647 h 678"/>
                  <a:gd name="T20" fmla="*/ 2147483647 w 600"/>
                  <a:gd name="T21" fmla="*/ 2147483647 h 678"/>
                  <a:gd name="T22" fmla="*/ 2147483647 w 600"/>
                  <a:gd name="T23" fmla="*/ 2147483647 h 678"/>
                  <a:gd name="T24" fmla="*/ 2147483647 w 600"/>
                  <a:gd name="T25" fmla="*/ 2147483647 h 678"/>
                  <a:gd name="T26" fmla="*/ 2147483647 w 600"/>
                  <a:gd name="T27" fmla="*/ 2147483647 h 678"/>
                  <a:gd name="T28" fmla="*/ 2147483647 w 600"/>
                  <a:gd name="T29" fmla="*/ 2147483647 h 678"/>
                  <a:gd name="T30" fmla="*/ 2147483647 w 600"/>
                  <a:gd name="T31" fmla="*/ 2147483647 h 678"/>
                  <a:gd name="T32" fmla="*/ 2147483647 w 600"/>
                  <a:gd name="T33" fmla="*/ 2147483647 h 678"/>
                  <a:gd name="T34" fmla="*/ 2147483647 w 600"/>
                  <a:gd name="T35" fmla="*/ 2147483647 h 678"/>
                  <a:gd name="T36" fmla="*/ 2147483647 w 600"/>
                  <a:gd name="T37" fmla="*/ 2147483647 h 678"/>
                  <a:gd name="T38" fmla="*/ 2147483647 w 600"/>
                  <a:gd name="T39" fmla="*/ 2147483647 h 678"/>
                  <a:gd name="T40" fmla="*/ 2147483647 w 600"/>
                  <a:gd name="T41" fmla="*/ 2147483647 h 678"/>
                  <a:gd name="T42" fmla="*/ 2147483647 w 600"/>
                  <a:gd name="T43" fmla="*/ 2147483647 h 678"/>
                  <a:gd name="T44" fmla="*/ 2147483647 w 600"/>
                  <a:gd name="T45" fmla="*/ 2147483647 h 678"/>
                  <a:gd name="T46" fmla="*/ 2147483647 w 600"/>
                  <a:gd name="T47" fmla="*/ 2147483647 h 678"/>
                  <a:gd name="T48" fmla="*/ 2147483647 w 600"/>
                  <a:gd name="T49" fmla="*/ 2147483647 h 678"/>
                  <a:gd name="T50" fmla="*/ 2147483647 w 600"/>
                  <a:gd name="T51" fmla="*/ 2147483647 h 678"/>
                  <a:gd name="T52" fmla="*/ 2147483647 w 600"/>
                  <a:gd name="T53" fmla="*/ 0 h 678"/>
                  <a:gd name="T54" fmla="*/ 2147483647 w 600"/>
                  <a:gd name="T55" fmla="*/ 2147483647 h 678"/>
                  <a:gd name="T56" fmla="*/ 2147483647 w 600"/>
                  <a:gd name="T57" fmla="*/ 2147483647 h 678"/>
                  <a:gd name="T58" fmla="*/ 0 w 600"/>
                  <a:gd name="T59" fmla="*/ 2147483647 h 678"/>
                  <a:gd name="T60" fmla="*/ 2147483647 w 600"/>
                  <a:gd name="T61" fmla="*/ 2147483647 h 678"/>
                  <a:gd name="T62" fmla="*/ 2147483647 w 600"/>
                  <a:gd name="T63" fmla="*/ 2147483647 h 678"/>
                  <a:gd name="T64" fmla="*/ 2147483647 w 600"/>
                  <a:gd name="T65" fmla="*/ 2147483647 h 678"/>
                  <a:gd name="T66" fmla="*/ 2147483647 w 600"/>
                  <a:gd name="T67" fmla="*/ 2147483647 h 678"/>
                  <a:gd name="T68" fmla="*/ 2147483647 w 600"/>
                  <a:gd name="T69" fmla="*/ 2147483647 h 678"/>
                  <a:gd name="T70" fmla="*/ 2147483647 w 600"/>
                  <a:gd name="T71" fmla="*/ 2147483647 h 678"/>
                  <a:gd name="T72" fmla="*/ 2147483647 w 600"/>
                  <a:gd name="T73" fmla="*/ 2147483647 h 678"/>
                  <a:gd name="T74" fmla="*/ 2147483647 w 600"/>
                  <a:gd name="T75" fmla="*/ 2147483647 h 678"/>
                  <a:gd name="T76" fmla="*/ 2147483647 w 600"/>
                  <a:gd name="T77" fmla="*/ 2147483647 h 678"/>
                  <a:gd name="T78" fmla="*/ 2147483647 w 600"/>
                  <a:gd name="T79" fmla="*/ 2147483647 h 678"/>
                  <a:gd name="T80" fmla="*/ 2147483647 w 600"/>
                  <a:gd name="T81" fmla="*/ 2147483647 h 678"/>
                  <a:gd name="T82" fmla="*/ 2147483647 w 600"/>
                  <a:gd name="T83" fmla="*/ 2147483647 h 678"/>
                  <a:gd name="T84" fmla="*/ 2147483647 w 600"/>
                  <a:gd name="T85" fmla="*/ 2147483647 h 678"/>
                  <a:gd name="T86" fmla="*/ 2147483647 w 600"/>
                  <a:gd name="T87" fmla="*/ 2147483647 h 678"/>
                  <a:gd name="T88" fmla="*/ 2147483647 w 600"/>
                  <a:gd name="T89" fmla="*/ 2147483647 h 678"/>
                  <a:gd name="T90" fmla="*/ 2147483647 w 600"/>
                  <a:gd name="T91" fmla="*/ 2147483647 h 678"/>
                  <a:gd name="T92" fmla="*/ 2147483647 w 600"/>
                  <a:gd name="T93" fmla="*/ 2147483647 h 678"/>
                  <a:gd name="T94" fmla="*/ 2147483647 w 600"/>
                  <a:gd name="T95" fmla="*/ 2147483647 h 678"/>
                  <a:gd name="T96" fmla="*/ 2147483647 w 600"/>
                  <a:gd name="T97" fmla="*/ 2147483647 h 678"/>
                  <a:gd name="T98" fmla="*/ 2147483647 w 600"/>
                  <a:gd name="T99" fmla="*/ 2147483647 h 678"/>
                  <a:gd name="T100" fmla="*/ 2147483647 w 600"/>
                  <a:gd name="T101" fmla="*/ 2147483647 h 678"/>
                  <a:gd name="T102" fmla="*/ 2147483647 w 600"/>
                  <a:gd name="T103" fmla="*/ 2147483647 h 678"/>
                  <a:gd name="T104" fmla="*/ 2147483647 w 600"/>
                  <a:gd name="T105" fmla="*/ 2147483647 h 678"/>
                  <a:gd name="T106" fmla="*/ 2147483647 w 600"/>
                  <a:gd name="T107" fmla="*/ 2147483647 h 678"/>
                  <a:gd name="T108" fmla="*/ 2147483647 w 600"/>
                  <a:gd name="T109" fmla="*/ 2147483647 h 678"/>
                  <a:gd name="T110" fmla="*/ 2147483647 w 600"/>
                  <a:gd name="T111" fmla="*/ 2147483647 h 678"/>
                  <a:gd name="T112" fmla="*/ 2147483647 w 600"/>
                  <a:gd name="T113" fmla="*/ 2147483647 h 678"/>
                  <a:gd name="T114" fmla="*/ 2147483647 w 600"/>
                  <a:gd name="T115" fmla="*/ 2147483647 h 678"/>
                  <a:gd name="T116" fmla="*/ 2147483647 w 600"/>
                  <a:gd name="T117" fmla="*/ 2147483647 h 678"/>
                  <a:gd name="T118" fmla="*/ 2147483647 w 600"/>
                  <a:gd name="T119" fmla="*/ 2147483647 h 67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00"/>
                  <a:gd name="T181" fmla="*/ 0 h 678"/>
                  <a:gd name="T182" fmla="*/ 600 w 600"/>
                  <a:gd name="T183" fmla="*/ 678 h 67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00" h="678">
                    <a:moveTo>
                      <a:pt x="480" y="660"/>
                    </a:moveTo>
                    <a:lnTo>
                      <a:pt x="492" y="678"/>
                    </a:lnTo>
                    <a:lnTo>
                      <a:pt x="492" y="660"/>
                    </a:lnTo>
                    <a:lnTo>
                      <a:pt x="498" y="654"/>
                    </a:lnTo>
                    <a:lnTo>
                      <a:pt x="510" y="654"/>
                    </a:lnTo>
                    <a:lnTo>
                      <a:pt x="516" y="660"/>
                    </a:lnTo>
                    <a:lnTo>
                      <a:pt x="516" y="666"/>
                    </a:lnTo>
                    <a:lnTo>
                      <a:pt x="522" y="660"/>
                    </a:lnTo>
                    <a:lnTo>
                      <a:pt x="534" y="636"/>
                    </a:lnTo>
                    <a:lnTo>
                      <a:pt x="546" y="624"/>
                    </a:lnTo>
                    <a:lnTo>
                      <a:pt x="552" y="624"/>
                    </a:lnTo>
                    <a:lnTo>
                      <a:pt x="558" y="618"/>
                    </a:lnTo>
                    <a:lnTo>
                      <a:pt x="570" y="612"/>
                    </a:lnTo>
                    <a:lnTo>
                      <a:pt x="576" y="600"/>
                    </a:lnTo>
                    <a:lnTo>
                      <a:pt x="588" y="594"/>
                    </a:lnTo>
                    <a:lnTo>
                      <a:pt x="588" y="516"/>
                    </a:lnTo>
                    <a:lnTo>
                      <a:pt x="582" y="498"/>
                    </a:lnTo>
                    <a:lnTo>
                      <a:pt x="582" y="486"/>
                    </a:lnTo>
                    <a:lnTo>
                      <a:pt x="588" y="474"/>
                    </a:lnTo>
                    <a:lnTo>
                      <a:pt x="588" y="468"/>
                    </a:lnTo>
                    <a:lnTo>
                      <a:pt x="594" y="462"/>
                    </a:lnTo>
                    <a:lnTo>
                      <a:pt x="594" y="432"/>
                    </a:lnTo>
                    <a:lnTo>
                      <a:pt x="600" y="414"/>
                    </a:lnTo>
                    <a:lnTo>
                      <a:pt x="600" y="396"/>
                    </a:lnTo>
                    <a:lnTo>
                      <a:pt x="594" y="384"/>
                    </a:lnTo>
                    <a:lnTo>
                      <a:pt x="582" y="372"/>
                    </a:lnTo>
                    <a:lnTo>
                      <a:pt x="570" y="366"/>
                    </a:lnTo>
                    <a:lnTo>
                      <a:pt x="558" y="366"/>
                    </a:lnTo>
                    <a:lnTo>
                      <a:pt x="540" y="384"/>
                    </a:lnTo>
                    <a:lnTo>
                      <a:pt x="528" y="384"/>
                    </a:lnTo>
                    <a:lnTo>
                      <a:pt x="516" y="378"/>
                    </a:lnTo>
                    <a:lnTo>
                      <a:pt x="504" y="354"/>
                    </a:lnTo>
                    <a:lnTo>
                      <a:pt x="504" y="336"/>
                    </a:lnTo>
                    <a:lnTo>
                      <a:pt x="498" y="318"/>
                    </a:lnTo>
                    <a:lnTo>
                      <a:pt x="498" y="294"/>
                    </a:lnTo>
                    <a:lnTo>
                      <a:pt x="492" y="276"/>
                    </a:lnTo>
                    <a:lnTo>
                      <a:pt x="492" y="252"/>
                    </a:lnTo>
                    <a:lnTo>
                      <a:pt x="486" y="246"/>
                    </a:lnTo>
                    <a:lnTo>
                      <a:pt x="474" y="240"/>
                    </a:lnTo>
                    <a:lnTo>
                      <a:pt x="402" y="240"/>
                    </a:lnTo>
                    <a:lnTo>
                      <a:pt x="360" y="234"/>
                    </a:lnTo>
                    <a:lnTo>
                      <a:pt x="324" y="222"/>
                    </a:lnTo>
                    <a:lnTo>
                      <a:pt x="318" y="216"/>
                    </a:lnTo>
                    <a:lnTo>
                      <a:pt x="312" y="204"/>
                    </a:lnTo>
                    <a:lnTo>
                      <a:pt x="312" y="162"/>
                    </a:lnTo>
                    <a:lnTo>
                      <a:pt x="318" y="150"/>
                    </a:lnTo>
                    <a:lnTo>
                      <a:pt x="318" y="132"/>
                    </a:lnTo>
                    <a:lnTo>
                      <a:pt x="306" y="132"/>
                    </a:lnTo>
                    <a:lnTo>
                      <a:pt x="306" y="96"/>
                    </a:lnTo>
                    <a:lnTo>
                      <a:pt x="294" y="90"/>
                    </a:lnTo>
                    <a:lnTo>
                      <a:pt x="288" y="84"/>
                    </a:lnTo>
                    <a:lnTo>
                      <a:pt x="288" y="78"/>
                    </a:lnTo>
                    <a:lnTo>
                      <a:pt x="270" y="42"/>
                    </a:lnTo>
                    <a:lnTo>
                      <a:pt x="216" y="0"/>
                    </a:lnTo>
                    <a:lnTo>
                      <a:pt x="138" y="12"/>
                    </a:lnTo>
                    <a:lnTo>
                      <a:pt x="36" y="30"/>
                    </a:lnTo>
                    <a:lnTo>
                      <a:pt x="30" y="60"/>
                    </a:lnTo>
                    <a:lnTo>
                      <a:pt x="18" y="72"/>
                    </a:lnTo>
                    <a:lnTo>
                      <a:pt x="6" y="78"/>
                    </a:lnTo>
                    <a:lnTo>
                      <a:pt x="0" y="84"/>
                    </a:lnTo>
                    <a:lnTo>
                      <a:pt x="0" y="96"/>
                    </a:lnTo>
                    <a:lnTo>
                      <a:pt x="12" y="120"/>
                    </a:lnTo>
                    <a:lnTo>
                      <a:pt x="12" y="126"/>
                    </a:lnTo>
                    <a:lnTo>
                      <a:pt x="18" y="132"/>
                    </a:lnTo>
                    <a:lnTo>
                      <a:pt x="18" y="156"/>
                    </a:lnTo>
                    <a:lnTo>
                      <a:pt x="6" y="228"/>
                    </a:lnTo>
                    <a:lnTo>
                      <a:pt x="6" y="246"/>
                    </a:lnTo>
                    <a:lnTo>
                      <a:pt x="24" y="264"/>
                    </a:lnTo>
                    <a:lnTo>
                      <a:pt x="24" y="270"/>
                    </a:lnTo>
                    <a:lnTo>
                      <a:pt x="30" y="276"/>
                    </a:lnTo>
                    <a:lnTo>
                      <a:pt x="36" y="288"/>
                    </a:lnTo>
                    <a:lnTo>
                      <a:pt x="48" y="294"/>
                    </a:lnTo>
                    <a:lnTo>
                      <a:pt x="54" y="306"/>
                    </a:lnTo>
                    <a:lnTo>
                      <a:pt x="60" y="312"/>
                    </a:lnTo>
                    <a:lnTo>
                      <a:pt x="84" y="324"/>
                    </a:lnTo>
                    <a:lnTo>
                      <a:pt x="102" y="342"/>
                    </a:lnTo>
                    <a:lnTo>
                      <a:pt x="114" y="348"/>
                    </a:lnTo>
                    <a:lnTo>
                      <a:pt x="120" y="366"/>
                    </a:lnTo>
                    <a:lnTo>
                      <a:pt x="126" y="366"/>
                    </a:lnTo>
                    <a:lnTo>
                      <a:pt x="132" y="372"/>
                    </a:lnTo>
                    <a:lnTo>
                      <a:pt x="168" y="390"/>
                    </a:lnTo>
                    <a:lnTo>
                      <a:pt x="198" y="390"/>
                    </a:lnTo>
                    <a:lnTo>
                      <a:pt x="210" y="396"/>
                    </a:lnTo>
                    <a:lnTo>
                      <a:pt x="216" y="402"/>
                    </a:lnTo>
                    <a:lnTo>
                      <a:pt x="228" y="408"/>
                    </a:lnTo>
                    <a:lnTo>
                      <a:pt x="234" y="414"/>
                    </a:lnTo>
                    <a:lnTo>
                      <a:pt x="240" y="414"/>
                    </a:lnTo>
                    <a:lnTo>
                      <a:pt x="246" y="420"/>
                    </a:lnTo>
                    <a:lnTo>
                      <a:pt x="258" y="426"/>
                    </a:lnTo>
                    <a:lnTo>
                      <a:pt x="276" y="438"/>
                    </a:lnTo>
                    <a:lnTo>
                      <a:pt x="312" y="456"/>
                    </a:lnTo>
                    <a:lnTo>
                      <a:pt x="318" y="462"/>
                    </a:lnTo>
                    <a:lnTo>
                      <a:pt x="330" y="462"/>
                    </a:lnTo>
                    <a:lnTo>
                      <a:pt x="342" y="468"/>
                    </a:lnTo>
                    <a:lnTo>
                      <a:pt x="360" y="474"/>
                    </a:lnTo>
                    <a:lnTo>
                      <a:pt x="372" y="480"/>
                    </a:lnTo>
                    <a:lnTo>
                      <a:pt x="378" y="486"/>
                    </a:lnTo>
                    <a:lnTo>
                      <a:pt x="372" y="492"/>
                    </a:lnTo>
                    <a:lnTo>
                      <a:pt x="372" y="504"/>
                    </a:lnTo>
                    <a:lnTo>
                      <a:pt x="366" y="510"/>
                    </a:lnTo>
                    <a:lnTo>
                      <a:pt x="360" y="522"/>
                    </a:lnTo>
                    <a:lnTo>
                      <a:pt x="366" y="528"/>
                    </a:lnTo>
                    <a:lnTo>
                      <a:pt x="372" y="540"/>
                    </a:lnTo>
                    <a:lnTo>
                      <a:pt x="372" y="546"/>
                    </a:lnTo>
                    <a:lnTo>
                      <a:pt x="366" y="552"/>
                    </a:lnTo>
                    <a:lnTo>
                      <a:pt x="348" y="552"/>
                    </a:lnTo>
                    <a:lnTo>
                      <a:pt x="348" y="588"/>
                    </a:lnTo>
                    <a:lnTo>
                      <a:pt x="342" y="594"/>
                    </a:lnTo>
                    <a:lnTo>
                      <a:pt x="336" y="606"/>
                    </a:lnTo>
                    <a:lnTo>
                      <a:pt x="330" y="612"/>
                    </a:lnTo>
                    <a:lnTo>
                      <a:pt x="324" y="624"/>
                    </a:lnTo>
                    <a:lnTo>
                      <a:pt x="324" y="636"/>
                    </a:lnTo>
                    <a:lnTo>
                      <a:pt x="330" y="642"/>
                    </a:lnTo>
                    <a:lnTo>
                      <a:pt x="354" y="642"/>
                    </a:lnTo>
                    <a:lnTo>
                      <a:pt x="366" y="636"/>
                    </a:lnTo>
                    <a:lnTo>
                      <a:pt x="372" y="636"/>
                    </a:lnTo>
                    <a:lnTo>
                      <a:pt x="384" y="642"/>
                    </a:lnTo>
                    <a:lnTo>
                      <a:pt x="390" y="648"/>
                    </a:lnTo>
                    <a:lnTo>
                      <a:pt x="402" y="654"/>
                    </a:lnTo>
                    <a:lnTo>
                      <a:pt x="420" y="660"/>
                    </a:lnTo>
                    <a:lnTo>
                      <a:pt x="480" y="660"/>
                    </a:lnTo>
                    <a:close/>
                  </a:path>
                </a:pathLst>
              </a:custGeom>
              <a:solidFill>
                <a:schemeClr val="accent6"/>
              </a:solidFill>
              <a:ln w="3175">
                <a:solidFill>
                  <a:schemeClr val="accent6"/>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panose="020F0502020204030203" pitchFamily="34" charset="0"/>
                  <a:ea typeface="+mn-ea"/>
                  <a:cs typeface="+mn-cs"/>
                </a:endParaRPr>
              </a:p>
            </p:txBody>
          </p:sp>
          <p:sp>
            <p:nvSpPr>
              <p:cNvPr id="463" name="Guyane (French Guiana)" descr="© INSCALE GmbH, 05.05.2010&#10;http://www.presentationload.com/">
                <a:extLst>
                  <a:ext uri="{FF2B5EF4-FFF2-40B4-BE49-F238E27FC236}">
                    <a16:creationId xmlns:a16="http://schemas.microsoft.com/office/drawing/2014/main" id="{EB209E72-0E6E-6D34-3DD6-5A386283AD16}"/>
                  </a:ext>
                </a:extLst>
              </p:cNvPr>
              <p:cNvSpPr>
                <a:spLocks/>
              </p:cNvSpPr>
              <p:nvPr/>
            </p:nvSpPr>
            <p:spPr bwMode="gray">
              <a:xfrm>
                <a:off x="3323991" y="4439329"/>
                <a:ext cx="78591" cy="95853"/>
              </a:xfrm>
              <a:custGeom>
                <a:avLst/>
                <a:gdLst>
                  <a:gd name="T0" fmla="*/ 2147483647 w 52"/>
                  <a:gd name="T1" fmla="*/ 2147483647 h 76"/>
                  <a:gd name="T2" fmla="*/ 2147483647 w 52"/>
                  <a:gd name="T3" fmla="*/ 2147483647 h 76"/>
                  <a:gd name="T4" fmla="*/ 2147483647 w 52"/>
                  <a:gd name="T5" fmla="*/ 2147483647 h 76"/>
                  <a:gd name="T6" fmla="*/ 2147483647 w 52"/>
                  <a:gd name="T7" fmla="*/ 2147483647 h 76"/>
                  <a:gd name="T8" fmla="*/ 2147483647 w 52"/>
                  <a:gd name="T9" fmla="*/ 2147483647 h 76"/>
                  <a:gd name="T10" fmla="*/ 2147483647 w 52"/>
                  <a:gd name="T11" fmla="*/ 2147483647 h 76"/>
                  <a:gd name="T12" fmla="*/ 2147483647 w 52"/>
                  <a:gd name="T13" fmla="*/ 2147483647 h 76"/>
                  <a:gd name="T14" fmla="*/ 2147483647 w 52"/>
                  <a:gd name="T15" fmla="*/ 2147483647 h 76"/>
                  <a:gd name="T16" fmla="*/ 2147483647 w 52"/>
                  <a:gd name="T17" fmla="*/ 2147483647 h 76"/>
                  <a:gd name="T18" fmla="*/ 2147483647 w 52"/>
                  <a:gd name="T19" fmla="*/ 2147483647 h 76"/>
                  <a:gd name="T20" fmla="*/ 2147483647 w 52"/>
                  <a:gd name="T21" fmla="*/ 2147483647 h 76"/>
                  <a:gd name="T22" fmla="*/ 2147483647 w 52"/>
                  <a:gd name="T23" fmla="*/ 0 h 76"/>
                  <a:gd name="T24" fmla="*/ 2147483647 w 52"/>
                  <a:gd name="T25" fmla="*/ 2147483647 h 76"/>
                  <a:gd name="T26" fmla="*/ 2147483647 w 52"/>
                  <a:gd name="T27" fmla="*/ 2147483647 h 76"/>
                  <a:gd name="T28" fmla="*/ 2147483647 w 52"/>
                  <a:gd name="T29" fmla="*/ 2147483647 h 76"/>
                  <a:gd name="T30" fmla="*/ 2147483647 w 52"/>
                  <a:gd name="T31" fmla="*/ 2147483647 h 76"/>
                  <a:gd name="T32" fmla="*/ 2147483647 w 52"/>
                  <a:gd name="T33" fmla="*/ 2147483647 h 76"/>
                  <a:gd name="T34" fmla="*/ 2147483647 w 52"/>
                  <a:gd name="T35" fmla="*/ 2147483647 h 76"/>
                  <a:gd name="T36" fmla="*/ 2147483647 w 52"/>
                  <a:gd name="T37" fmla="*/ 2147483647 h 76"/>
                  <a:gd name="T38" fmla="*/ 2147483647 w 52"/>
                  <a:gd name="T39" fmla="*/ 2147483647 h 76"/>
                  <a:gd name="T40" fmla="*/ 2147483647 w 52"/>
                  <a:gd name="T41" fmla="*/ 2147483647 h 76"/>
                  <a:gd name="T42" fmla="*/ 2147483647 w 52"/>
                  <a:gd name="T43" fmla="*/ 2147483647 h 76"/>
                  <a:gd name="T44" fmla="*/ 2147483647 w 52"/>
                  <a:gd name="T45" fmla="*/ 2147483647 h 76"/>
                  <a:gd name="T46" fmla="*/ 2147483647 w 52"/>
                  <a:gd name="T47" fmla="*/ 2147483647 h 76"/>
                  <a:gd name="T48" fmla="*/ 2147483647 w 52"/>
                  <a:gd name="T49" fmla="*/ 2147483647 h 76"/>
                  <a:gd name="T50" fmla="*/ 2147483647 w 52"/>
                  <a:gd name="T51" fmla="*/ 2147483647 h 76"/>
                  <a:gd name="T52" fmla="*/ 2147483647 w 52"/>
                  <a:gd name="T53" fmla="*/ 2147483647 h 76"/>
                  <a:gd name="T54" fmla="*/ 2147483647 w 52"/>
                  <a:gd name="T55" fmla="*/ 2147483647 h 76"/>
                  <a:gd name="T56" fmla="*/ 2147483647 w 52"/>
                  <a:gd name="T57" fmla="*/ 2147483647 h 76"/>
                  <a:gd name="T58" fmla="*/ 2147483647 w 52"/>
                  <a:gd name="T59" fmla="*/ 2147483647 h 76"/>
                  <a:gd name="T60" fmla="*/ 2147483647 w 52"/>
                  <a:gd name="T61" fmla="*/ 2147483647 h 76"/>
                  <a:gd name="T62" fmla="*/ 2147483647 w 52"/>
                  <a:gd name="T63" fmla="*/ 2147483647 h 76"/>
                  <a:gd name="T64" fmla="*/ 0 w 52"/>
                  <a:gd name="T65" fmla="*/ 2147483647 h 76"/>
                  <a:gd name="T66" fmla="*/ 0 w 52"/>
                  <a:gd name="T67" fmla="*/ 2147483647 h 76"/>
                  <a:gd name="T68" fmla="*/ 2147483647 w 52"/>
                  <a:gd name="T69" fmla="*/ 2147483647 h 76"/>
                  <a:gd name="T70" fmla="*/ 2147483647 w 52"/>
                  <a:gd name="T71" fmla="*/ 2147483647 h 76"/>
                  <a:gd name="T72" fmla="*/ 2147483647 w 52"/>
                  <a:gd name="T73" fmla="*/ 2147483647 h 76"/>
                  <a:gd name="T74" fmla="*/ 2147483647 w 52"/>
                  <a:gd name="T75" fmla="*/ 2147483647 h 76"/>
                  <a:gd name="T76" fmla="*/ 2147483647 w 52"/>
                  <a:gd name="T77" fmla="*/ 2147483647 h 76"/>
                  <a:gd name="T78" fmla="*/ 2147483647 w 52"/>
                  <a:gd name="T79" fmla="*/ 2147483647 h 76"/>
                  <a:gd name="T80" fmla="*/ 2147483647 w 52"/>
                  <a:gd name="T81" fmla="*/ 2147483647 h 76"/>
                  <a:gd name="T82" fmla="*/ 2147483647 w 52"/>
                  <a:gd name="T83" fmla="*/ 2147483647 h 76"/>
                  <a:gd name="T84" fmla="*/ 2147483647 w 52"/>
                  <a:gd name="T85" fmla="*/ 2147483647 h 76"/>
                  <a:gd name="T86" fmla="*/ 2147483647 w 52"/>
                  <a:gd name="T87" fmla="*/ 2147483647 h 76"/>
                  <a:gd name="T88" fmla="*/ 2147483647 w 52"/>
                  <a:gd name="T89" fmla="*/ 2147483647 h 76"/>
                  <a:gd name="T90" fmla="*/ 2147483647 w 52"/>
                  <a:gd name="T91" fmla="*/ 2147483647 h 76"/>
                  <a:gd name="T92" fmla="*/ 2147483647 w 52"/>
                  <a:gd name="T93" fmla="*/ 2147483647 h 76"/>
                  <a:gd name="T94" fmla="*/ 2147483647 w 52"/>
                  <a:gd name="T95" fmla="*/ 2147483647 h 76"/>
                  <a:gd name="T96" fmla="*/ 2147483647 w 52"/>
                  <a:gd name="T97" fmla="*/ 2147483647 h 76"/>
                  <a:gd name="T98" fmla="*/ 2147483647 w 52"/>
                  <a:gd name="T99" fmla="*/ 2147483647 h 76"/>
                  <a:gd name="T100" fmla="*/ 2147483647 w 52"/>
                  <a:gd name="T101" fmla="*/ 2147483647 h 76"/>
                  <a:gd name="T102" fmla="*/ 2147483647 w 52"/>
                  <a:gd name="T103" fmla="*/ 2147483647 h 76"/>
                  <a:gd name="T104" fmla="*/ 2147483647 w 52"/>
                  <a:gd name="T105" fmla="*/ 2147483647 h 76"/>
                  <a:gd name="T106" fmla="*/ 2147483647 w 52"/>
                  <a:gd name="T107" fmla="*/ 2147483647 h 76"/>
                  <a:gd name="T108" fmla="*/ 2147483647 w 52"/>
                  <a:gd name="T109" fmla="*/ 2147483647 h 76"/>
                  <a:gd name="T110" fmla="*/ 2147483647 w 52"/>
                  <a:gd name="T111" fmla="*/ 2147483647 h 76"/>
                  <a:gd name="T112" fmla="*/ 2147483647 w 52"/>
                  <a:gd name="T113" fmla="*/ 2147483647 h 76"/>
                  <a:gd name="T114" fmla="*/ 2147483647 w 52"/>
                  <a:gd name="T115" fmla="*/ 2147483647 h 7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2"/>
                  <a:gd name="T175" fmla="*/ 0 h 76"/>
                  <a:gd name="T176" fmla="*/ 52 w 52"/>
                  <a:gd name="T177" fmla="*/ 76 h 7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2" h="76">
                    <a:moveTo>
                      <a:pt x="52" y="32"/>
                    </a:moveTo>
                    <a:lnTo>
                      <a:pt x="50" y="26"/>
                    </a:lnTo>
                    <a:lnTo>
                      <a:pt x="48" y="24"/>
                    </a:lnTo>
                    <a:lnTo>
                      <a:pt x="46" y="22"/>
                    </a:lnTo>
                    <a:lnTo>
                      <a:pt x="46" y="20"/>
                    </a:lnTo>
                    <a:lnTo>
                      <a:pt x="40" y="20"/>
                    </a:lnTo>
                    <a:lnTo>
                      <a:pt x="32" y="6"/>
                    </a:lnTo>
                    <a:lnTo>
                      <a:pt x="24" y="6"/>
                    </a:lnTo>
                    <a:lnTo>
                      <a:pt x="22" y="4"/>
                    </a:lnTo>
                    <a:lnTo>
                      <a:pt x="20" y="4"/>
                    </a:lnTo>
                    <a:lnTo>
                      <a:pt x="16" y="2"/>
                    </a:lnTo>
                    <a:lnTo>
                      <a:pt x="14" y="0"/>
                    </a:lnTo>
                    <a:lnTo>
                      <a:pt x="12" y="4"/>
                    </a:lnTo>
                    <a:lnTo>
                      <a:pt x="12" y="10"/>
                    </a:lnTo>
                    <a:lnTo>
                      <a:pt x="10" y="10"/>
                    </a:lnTo>
                    <a:lnTo>
                      <a:pt x="8" y="12"/>
                    </a:lnTo>
                    <a:lnTo>
                      <a:pt x="6" y="14"/>
                    </a:lnTo>
                    <a:lnTo>
                      <a:pt x="4" y="16"/>
                    </a:lnTo>
                    <a:lnTo>
                      <a:pt x="2" y="20"/>
                    </a:lnTo>
                    <a:lnTo>
                      <a:pt x="2" y="28"/>
                    </a:lnTo>
                    <a:lnTo>
                      <a:pt x="4" y="32"/>
                    </a:lnTo>
                    <a:lnTo>
                      <a:pt x="4" y="36"/>
                    </a:lnTo>
                    <a:lnTo>
                      <a:pt x="6" y="40"/>
                    </a:lnTo>
                    <a:lnTo>
                      <a:pt x="10" y="44"/>
                    </a:lnTo>
                    <a:lnTo>
                      <a:pt x="12" y="46"/>
                    </a:lnTo>
                    <a:lnTo>
                      <a:pt x="12" y="48"/>
                    </a:lnTo>
                    <a:lnTo>
                      <a:pt x="6" y="54"/>
                    </a:lnTo>
                    <a:lnTo>
                      <a:pt x="8" y="62"/>
                    </a:lnTo>
                    <a:lnTo>
                      <a:pt x="6" y="64"/>
                    </a:lnTo>
                    <a:lnTo>
                      <a:pt x="4" y="64"/>
                    </a:lnTo>
                    <a:lnTo>
                      <a:pt x="4" y="66"/>
                    </a:lnTo>
                    <a:lnTo>
                      <a:pt x="2" y="68"/>
                    </a:lnTo>
                    <a:lnTo>
                      <a:pt x="0" y="72"/>
                    </a:lnTo>
                    <a:lnTo>
                      <a:pt x="4" y="76"/>
                    </a:lnTo>
                    <a:lnTo>
                      <a:pt x="10" y="76"/>
                    </a:lnTo>
                    <a:lnTo>
                      <a:pt x="12" y="74"/>
                    </a:lnTo>
                    <a:lnTo>
                      <a:pt x="12" y="72"/>
                    </a:lnTo>
                    <a:lnTo>
                      <a:pt x="14" y="72"/>
                    </a:lnTo>
                    <a:lnTo>
                      <a:pt x="16" y="72"/>
                    </a:lnTo>
                    <a:lnTo>
                      <a:pt x="18" y="72"/>
                    </a:lnTo>
                    <a:lnTo>
                      <a:pt x="20" y="72"/>
                    </a:lnTo>
                    <a:lnTo>
                      <a:pt x="22" y="72"/>
                    </a:lnTo>
                    <a:lnTo>
                      <a:pt x="26" y="74"/>
                    </a:lnTo>
                    <a:lnTo>
                      <a:pt x="30" y="74"/>
                    </a:lnTo>
                    <a:lnTo>
                      <a:pt x="32" y="72"/>
                    </a:lnTo>
                    <a:lnTo>
                      <a:pt x="40" y="64"/>
                    </a:lnTo>
                    <a:lnTo>
                      <a:pt x="40" y="60"/>
                    </a:lnTo>
                    <a:lnTo>
                      <a:pt x="44" y="50"/>
                    </a:lnTo>
                    <a:lnTo>
                      <a:pt x="46" y="46"/>
                    </a:lnTo>
                    <a:lnTo>
                      <a:pt x="48" y="44"/>
                    </a:lnTo>
                    <a:lnTo>
                      <a:pt x="50" y="42"/>
                    </a:lnTo>
                    <a:lnTo>
                      <a:pt x="50" y="40"/>
                    </a:lnTo>
                    <a:lnTo>
                      <a:pt x="52" y="38"/>
                    </a:lnTo>
                    <a:lnTo>
                      <a:pt x="52" y="36"/>
                    </a:lnTo>
                    <a:lnTo>
                      <a:pt x="52" y="34"/>
                    </a:lnTo>
                    <a:lnTo>
                      <a:pt x="52" y="32"/>
                    </a:lnTo>
                    <a:close/>
                  </a:path>
                </a:pathLst>
              </a:custGeom>
              <a:solidFill>
                <a:schemeClr val="accent6"/>
              </a:solidFill>
              <a:ln w="3175">
                <a:solidFill>
                  <a:schemeClr val="accent6"/>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panose="020F0502020204030203" pitchFamily="34" charset="0"/>
                  <a:ea typeface="+mn-ea"/>
                  <a:cs typeface="+mn-cs"/>
                </a:endParaRPr>
              </a:p>
            </p:txBody>
          </p:sp>
          <p:sp>
            <p:nvSpPr>
              <p:cNvPr id="464" name="Guyana" descr="© INSCALE GmbH, 05.05.2010&#10;http://www.presentationload.com/">
                <a:extLst>
                  <a:ext uri="{FF2B5EF4-FFF2-40B4-BE49-F238E27FC236}">
                    <a16:creationId xmlns:a16="http://schemas.microsoft.com/office/drawing/2014/main" id="{8AADCE2E-23CD-4B6A-AF0E-2129129A0F58}"/>
                  </a:ext>
                </a:extLst>
              </p:cNvPr>
              <p:cNvSpPr>
                <a:spLocks/>
              </p:cNvSpPr>
              <p:nvPr/>
            </p:nvSpPr>
            <p:spPr bwMode="gray">
              <a:xfrm>
                <a:off x="3139605" y="4369962"/>
                <a:ext cx="125445" cy="187921"/>
              </a:xfrm>
              <a:custGeom>
                <a:avLst/>
                <a:gdLst>
                  <a:gd name="T0" fmla="*/ 2147483647 w 324"/>
                  <a:gd name="T1" fmla="*/ 2147483647 h 582"/>
                  <a:gd name="T2" fmla="*/ 2147483647 w 324"/>
                  <a:gd name="T3" fmla="*/ 2147483647 h 582"/>
                  <a:gd name="T4" fmla="*/ 2147483647 w 324"/>
                  <a:gd name="T5" fmla="*/ 2147483647 h 582"/>
                  <a:gd name="T6" fmla="*/ 2147483647 w 324"/>
                  <a:gd name="T7" fmla="*/ 2147483647 h 582"/>
                  <a:gd name="T8" fmla="*/ 2147483647 w 324"/>
                  <a:gd name="T9" fmla="*/ 2147483647 h 582"/>
                  <a:gd name="T10" fmla="*/ 2147483647 w 324"/>
                  <a:gd name="T11" fmla="*/ 2147483647 h 582"/>
                  <a:gd name="T12" fmla="*/ 2147483647 w 324"/>
                  <a:gd name="T13" fmla="*/ 2147483647 h 582"/>
                  <a:gd name="T14" fmla="*/ 2147483647 w 324"/>
                  <a:gd name="T15" fmla="*/ 2147483647 h 582"/>
                  <a:gd name="T16" fmla="*/ 0 w 324"/>
                  <a:gd name="T17" fmla="*/ 2147483647 h 582"/>
                  <a:gd name="T18" fmla="*/ 2147483647 w 324"/>
                  <a:gd name="T19" fmla="*/ 2147483647 h 582"/>
                  <a:gd name="T20" fmla="*/ 2147483647 w 324"/>
                  <a:gd name="T21" fmla="*/ 2147483647 h 582"/>
                  <a:gd name="T22" fmla="*/ 2147483647 w 324"/>
                  <a:gd name="T23" fmla="*/ 2147483647 h 582"/>
                  <a:gd name="T24" fmla="*/ 2147483647 w 324"/>
                  <a:gd name="T25" fmla="*/ 2147483647 h 582"/>
                  <a:gd name="T26" fmla="*/ 2147483647 w 324"/>
                  <a:gd name="T27" fmla="*/ 2147483647 h 582"/>
                  <a:gd name="T28" fmla="*/ 2147483647 w 324"/>
                  <a:gd name="T29" fmla="*/ 2147483647 h 582"/>
                  <a:gd name="T30" fmla="*/ 2147483647 w 324"/>
                  <a:gd name="T31" fmla="*/ 2147483647 h 582"/>
                  <a:gd name="T32" fmla="*/ 2147483647 w 324"/>
                  <a:gd name="T33" fmla="*/ 2147483647 h 582"/>
                  <a:gd name="T34" fmla="*/ 2147483647 w 324"/>
                  <a:gd name="T35" fmla="*/ 2147483647 h 582"/>
                  <a:gd name="T36" fmla="*/ 2147483647 w 324"/>
                  <a:gd name="T37" fmla="*/ 2147483647 h 582"/>
                  <a:gd name="T38" fmla="*/ 2147483647 w 324"/>
                  <a:gd name="T39" fmla="*/ 2147483647 h 582"/>
                  <a:gd name="T40" fmla="*/ 2147483647 w 324"/>
                  <a:gd name="T41" fmla="*/ 2147483647 h 582"/>
                  <a:gd name="T42" fmla="*/ 2147483647 w 324"/>
                  <a:gd name="T43" fmla="*/ 2147483647 h 582"/>
                  <a:gd name="T44" fmla="*/ 2147483647 w 324"/>
                  <a:gd name="T45" fmla="*/ 2147483647 h 582"/>
                  <a:gd name="T46" fmla="*/ 2147483647 w 324"/>
                  <a:gd name="T47" fmla="*/ 2147483647 h 582"/>
                  <a:gd name="T48" fmla="*/ 2147483647 w 324"/>
                  <a:gd name="T49" fmla="*/ 2147483647 h 582"/>
                  <a:gd name="T50" fmla="*/ 2147483647 w 324"/>
                  <a:gd name="T51" fmla="*/ 2147483647 h 582"/>
                  <a:gd name="T52" fmla="*/ 2147483647 w 324"/>
                  <a:gd name="T53" fmla="*/ 2147483647 h 582"/>
                  <a:gd name="T54" fmla="*/ 2147483647 w 324"/>
                  <a:gd name="T55" fmla="*/ 2147483647 h 582"/>
                  <a:gd name="T56" fmla="*/ 2147483647 w 324"/>
                  <a:gd name="T57" fmla="*/ 2147483647 h 582"/>
                  <a:gd name="T58" fmla="*/ 2147483647 w 324"/>
                  <a:gd name="T59" fmla="*/ 2147483647 h 582"/>
                  <a:gd name="T60" fmla="*/ 2147483647 w 324"/>
                  <a:gd name="T61" fmla="*/ 2147483647 h 582"/>
                  <a:gd name="T62" fmla="*/ 2147483647 w 324"/>
                  <a:gd name="T63" fmla="*/ 2147483647 h 582"/>
                  <a:gd name="T64" fmla="*/ 2147483647 w 324"/>
                  <a:gd name="T65" fmla="*/ 2147483647 h 582"/>
                  <a:gd name="T66" fmla="*/ 2147483647 w 324"/>
                  <a:gd name="T67" fmla="*/ 2147483647 h 582"/>
                  <a:gd name="T68" fmla="*/ 2147483647 w 324"/>
                  <a:gd name="T69" fmla="*/ 2147483647 h 582"/>
                  <a:gd name="T70" fmla="*/ 2147483647 w 324"/>
                  <a:gd name="T71" fmla="*/ 2147483647 h 582"/>
                  <a:gd name="T72" fmla="*/ 2147483647 w 324"/>
                  <a:gd name="T73" fmla="*/ 2147483647 h 582"/>
                  <a:gd name="T74" fmla="*/ 2147483647 w 324"/>
                  <a:gd name="T75" fmla="*/ 2147483647 h 582"/>
                  <a:gd name="T76" fmla="*/ 2147483647 w 324"/>
                  <a:gd name="T77" fmla="*/ 2147483647 h 582"/>
                  <a:gd name="T78" fmla="*/ 2147483647 w 324"/>
                  <a:gd name="T79" fmla="*/ 2147483647 h 582"/>
                  <a:gd name="T80" fmla="*/ 2147483647 w 324"/>
                  <a:gd name="T81" fmla="*/ 2147483647 h 582"/>
                  <a:gd name="T82" fmla="*/ 2147483647 w 324"/>
                  <a:gd name="T83" fmla="*/ 2147483647 h 582"/>
                  <a:gd name="T84" fmla="*/ 2147483647 w 324"/>
                  <a:gd name="T85" fmla="*/ 2147483647 h 582"/>
                  <a:gd name="T86" fmla="*/ 2147483647 w 324"/>
                  <a:gd name="T87" fmla="*/ 2147483647 h 582"/>
                  <a:gd name="T88" fmla="*/ 2147483647 w 324"/>
                  <a:gd name="T89" fmla="*/ 2147483647 h 582"/>
                  <a:gd name="T90" fmla="*/ 2147483647 w 324"/>
                  <a:gd name="T91" fmla="*/ 2147483647 h 582"/>
                  <a:gd name="T92" fmla="*/ 2147483647 w 324"/>
                  <a:gd name="T93" fmla="*/ 2147483647 h 582"/>
                  <a:gd name="T94" fmla="*/ 2147483647 w 324"/>
                  <a:gd name="T95" fmla="*/ 2147483647 h 582"/>
                  <a:gd name="T96" fmla="*/ 2147483647 w 324"/>
                  <a:gd name="T97" fmla="*/ 2147483647 h 582"/>
                  <a:gd name="T98" fmla="*/ 2147483647 w 324"/>
                  <a:gd name="T99" fmla="*/ 2147483647 h 582"/>
                  <a:gd name="T100" fmla="*/ 2147483647 w 324"/>
                  <a:gd name="T101" fmla="*/ 2147483647 h 582"/>
                  <a:gd name="T102" fmla="*/ 2147483647 w 324"/>
                  <a:gd name="T103" fmla="*/ 2147483647 h 582"/>
                  <a:gd name="T104" fmla="*/ 2147483647 w 324"/>
                  <a:gd name="T105" fmla="*/ 2147483647 h 582"/>
                  <a:gd name="T106" fmla="*/ 2147483647 w 324"/>
                  <a:gd name="T107" fmla="*/ 2147483647 h 582"/>
                  <a:gd name="T108" fmla="*/ 2147483647 w 324"/>
                  <a:gd name="T109" fmla="*/ 2147483647 h 582"/>
                  <a:gd name="T110" fmla="*/ 2147483647 w 324"/>
                  <a:gd name="T111" fmla="*/ 2147483647 h 582"/>
                  <a:gd name="T112" fmla="*/ 2147483647 w 324"/>
                  <a:gd name="T113" fmla="*/ 2147483647 h 582"/>
                  <a:gd name="T114" fmla="*/ 2147483647 w 324"/>
                  <a:gd name="T115" fmla="*/ 2147483647 h 582"/>
                  <a:gd name="T116" fmla="*/ 2147483647 w 324"/>
                  <a:gd name="T117" fmla="*/ 2147483647 h 582"/>
                  <a:gd name="T118" fmla="*/ 2147483647 w 324"/>
                  <a:gd name="T119" fmla="*/ 2147483647 h 582"/>
                  <a:gd name="T120" fmla="*/ 2147483647 w 324"/>
                  <a:gd name="T121" fmla="*/ 2147483647 h 582"/>
                  <a:gd name="T122" fmla="*/ 2147483647 w 324"/>
                  <a:gd name="T123" fmla="*/ 0 h 582"/>
                  <a:gd name="T124" fmla="*/ 2147483647 w 324"/>
                  <a:gd name="T125" fmla="*/ 2147483647 h 58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24"/>
                  <a:gd name="T190" fmla="*/ 0 h 582"/>
                  <a:gd name="T191" fmla="*/ 324 w 324"/>
                  <a:gd name="T192" fmla="*/ 582 h 58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24" h="582">
                    <a:moveTo>
                      <a:pt x="90" y="42"/>
                    </a:moveTo>
                    <a:lnTo>
                      <a:pt x="84" y="48"/>
                    </a:lnTo>
                    <a:lnTo>
                      <a:pt x="72" y="48"/>
                    </a:lnTo>
                    <a:lnTo>
                      <a:pt x="60" y="60"/>
                    </a:lnTo>
                    <a:lnTo>
                      <a:pt x="60" y="102"/>
                    </a:lnTo>
                    <a:lnTo>
                      <a:pt x="84" y="102"/>
                    </a:lnTo>
                    <a:lnTo>
                      <a:pt x="84" y="120"/>
                    </a:lnTo>
                    <a:lnTo>
                      <a:pt x="78" y="126"/>
                    </a:lnTo>
                    <a:lnTo>
                      <a:pt x="66" y="132"/>
                    </a:lnTo>
                    <a:lnTo>
                      <a:pt x="54" y="132"/>
                    </a:lnTo>
                    <a:lnTo>
                      <a:pt x="42" y="138"/>
                    </a:lnTo>
                    <a:lnTo>
                      <a:pt x="12" y="138"/>
                    </a:lnTo>
                    <a:lnTo>
                      <a:pt x="12" y="144"/>
                    </a:lnTo>
                    <a:lnTo>
                      <a:pt x="30" y="162"/>
                    </a:lnTo>
                    <a:lnTo>
                      <a:pt x="30" y="180"/>
                    </a:lnTo>
                    <a:lnTo>
                      <a:pt x="18" y="186"/>
                    </a:lnTo>
                    <a:lnTo>
                      <a:pt x="12" y="186"/>
                    </a:lnTo>
                    <a:lnTo>
                      <a:pt x="0" y="192"/>
                    </a:lnTo>
                    <a:lnTo>
                      <a:pt x="0" y="204"/>
                    </a:lnTo>
                    <a:lnTo>
                      <a:pt x="6" y="210"/>
                    </a:lnTo>
                    <a:lnTo>
                      <a:pt x="12" y="222"/>
                    </a:lnTo>
                    <a:lnTo>
                      <a:pt x="48" y="258"/>
                    </a:lnTo>
                    <a:lnTo>
                      <a:pt x="72" y="264"/>
                    </a:lnTo>
                    <a:lnTo>
                      <a:pt x="78" y="252"/>
                    </a:lnTo>
                    <a:lnTo>
                      <a:pt x="90" y="264"/>
                    </a:lnTo>
                    <a:lnTo>
                      <a:pt x="96" y="276"/>
                    </a:lnTo>
                    <a:lnTo>
                      <a:pt x="96" y="294"/>
                    </a:lnTo>
                    <a:lnTo>
                      <a:pt x="90" y="306"/>
                    </a:lnTo>
                    <a:lnTo>
                      <a:pt x="84" y="312"/>
                    </a:lnTo>
                    <a:lnTo>
                      <a:pt x="84" y="318"/>
                    </a:lnTo>
                    <a:lnTo>
                      <a:pt x="90" y="324"/>
                    </a:lnTo>
                    <a:lnTo>
                      <a:pt x="96" y="324"/>
                    </a:lnTo>
                    <a:lnTo>
                      <a:pt x="108" y="318"/>
                    </a:lnTo>
                    <a:lnTo>
                      <a:pt x="114" y="318"/>
                    </a:lnTo>
                    <a:lnTo>
                      <a:pt x="114" y="348"/>
                    </a:lnTo>
                    <a:lnTo>
                      <a:pt x="120" y="354"/>
                    </a:lnTo>
                    <a:lnTo>
                      <a:pt x="126" y="354"/>
                    </a:lnTo>
                    <a:lnTo>
                      <a:pt x="126" y="366"/>
                    </a:lnTo>
                    <a:lnTo>
                      <a:pt x="120" y="378"/>
                    </a:lnTo>
                    <a:lnTo>
                      <a:pt x="108" y="390"/>
                    </a:lnTo>
                    <a:lnTo>
                      <a:pt x="96" y="432"/>
                    </a:lnTo>
                    <a:lnTo>
                      <a:pt x="90" y="444"/>
                    </a:lnTo>
                    <a:lnTo>
                      <a:pt x="90" y="450"/>
                    </a:lnTo>
                    <a:lnTo>
                      <a:pt x="84" y="462"/>
                    </a:lnTo>
                    <a:lnTo>
                      <a:pt x="84" y="468"/>
                    </a:lnTo>
                    <a:lnTo>
                      <a:pt x="90" y="480"/>
                    </a:lnTo>
                    <a:lnTo>
                      <a:pt x="114" y="504"/>
                    </a:lnTo>
                    <a:lnTo>
                      <a:pt x="114" y="534"/>
                    </a:lnTo>
                    <a:lnTo>
                      <a:pt x="144" y="570"/>
                    </a:lnTo>
                    <a:lnTo>
                      <a:pt x="156" y="570"/>
                    </a:lnTo>
                    <a:lnTo>
                      <a:pt x="162" y="582"/>
                    </a:lnTo>
                    <a:lnTo>
                      <a:pt x="198" y="582"/>
                    </a:lnTo>
                    <a:lnTo>
                      <a:pt x="204" y="576"/>
                    </a:lnTo>
                    <a:lnTo>
                      <a:pt x="204" y="564"/>
                    </a:lnTo>
                    <a:lnTo>
                      <a:pt x="216" y="552"/>
                    </a:lnTo>
                    <a:lnTo>
                      <a:pt x="234" y="552"/>
                    </a:lnTo>
                    <a:lnTo>
                      <a:pt x="240" y="540"/>
                    </a:lnTo>
                    <a:lnTo>
                      <a:pt x="270" y="540"/>
                    </a:lnTo>
                    <a:lnTo>
                      <a:pt x="270" y="534"/>
                    </a:lnTo>
                    <a:lnTo>
                      <a:pt x="288" y="516"/>
                    </a:lnTo>
                    <a:lnTo>
                      <a:pt x="300" y="516"/>
                    </a:lnTo>
                    <a:lnTo>
                      <a:pt x="312" y="528"/>
                    </a:lnTo>
                    <a:lnTo>
                      <a:pt x="318" y="528"/>
                    </a:lnTo>
                    <a:lnTo>
                      <a:pt x="324" y="522"/>
                    </a:lnTo>
                    <a:lnTo>
                      <a:pt x="324" y="510"/>
                    </a:lnTo>
                    <a:lnTo>
                      <a:pt x="318" y="504"/>
                    </a:lnTo>
                    <a:lnTo>
                      <a:pt x="312" y="492"/>
                    </a:lnTo>
                    <a:lnTo>
                      <a:pt x="306" y="474"/>
                    </a:lnTo>
                    <a:lnTo>
                      <a:pt x="288" y="456"/>
                    </a:lnTo>
                    <a:lnTo>
                      <a:pt x="282" y="444"/>
                    </a:lnTo>
                    <a:lnTo>
                      <a:pt x="282" y="420"/>
                    </a:lnTo>
                    <a:lnTo>
                      <a:pt x="288" y="414"/>
                    </a:lnTo>
                    <a:lnTo>
                      <a:pt x="288" y="396"/>
                    </a:lnTo>
                    <a:lnTo>
                      <a:pt x="276" y="408"/>
                    </a:lnTo>
                    <a:lnTo>
                      <a:pt x="276" y="414"/>
                    </a:lnTo>
                    <a:lnTo>
                      <a:pt x="264" y="414"/>
                    </a:lnTo>
                    <a:lnTo>
                      <a:pt x="258" y="402"/>
                    </a:lnTo>
                    <a:lnTo>
                      <a:pt x="252" y="396"/>
                    </a:lnTo>
                    <a:lnTo>
                      <a:pt x="246" y="384"/>
                    </a:lnTo>
                    <a:lnTo>
                      <a:pt x="246" y="372"/>
                    </a:lnTo>
                    <a:lnTo>
                      <a:pt x="240" y="372"/>
                    </a:lnTo>
                    <a:lnTo>
                      <a:pt x="240" y="366"/>
                    </a:lnTo>
                    <a:lnTo>
                      <a:pt x="234" y="360"/>
                    </a:lnTo>
                    <a:lnTo>
                      <a:pt x="234" y="348"/>
                    </a:lnTo>
                    <a:lnTo>
                      <a:pt x="240" y="336"/>
                    </a:lnTo>
                    <a:lnTo>
                      <a:pt x="246" y="330"/>
                    </a:lnTo>
                    <a:lnTo>
                      <a:pt x="246" y="288"/>
                    </a:lnTo>
                    <a:lnTo>
                      <a:pt x="252" y="282"/>
                    </a:lnTo>
                    <a:lnTo>
                      <a:pt x="264" y="276"/>
                    </a:lnTo>
                    <a:lnTo>
                      <a:pt x="294" y="276"/>
                    </a:lnTo>
                    <a:lnTo>
                      <a:pt x="300" y="270"/>
                    </a:lnTo>
                    <a:lnTo>
                      <a:pt x="300" y="258"/>
                    </a:lnTo>
                    <a:lnTo>
                      <a:pt x="288" y="246"/>
                    </a:lnTo>
                    <a:lnTo>
                      <a:pt x="288" y="234"/>
                    </a:lnTo>
                    <a:lnTo>
                      <a:pt x="294" y="222"/>
                    </a:lnTo>
                    <a:lnTo>
                      <a:pt x="300" y="216"/>
                    </a:lnTo>
                    <a:lnTo>
                      <a:pt x="306" y="204"/>
                    </a:lnTo>
                    <a:lnTo>
                      <a:pt x="306" y="192"/>
                    </a:lnTo>
                    <a:lnTo>
                      <a:pt x="300" y="180"/>
                    </a:lnTo>
                    <a:lnTo>
                      <a:pt x="294" y="174"/>
                    </a:lnTo>
                    <a:lnTo>
                      <a:pt x="276" y="174"/>
                    </a:lnTo>
                    <a:lnTo>
                      <a:pt x="270" y="180"/>
                    </a:lnTo>
                    <a:lnTo>
                      <a:pt x="270" y="156"/>
                    </a:lnTo>
                    <a:lnTo>
                      <a:pt x="258" y="150"/>
                    </a:lnTo>
                    <a:lnTo>
                      <a:pt x="252" y="138"/>
                    </a:lnTo>
                    <a:lnTo>
                      <a:pt x="234" y="132"/>
                    </a:lnTo>
                    <a:lnTo>
                      <a:pt x="216" y="132"/>
                    </a:lnTo>
                    <a:lnTo>
                      <a:pt x="204" y="138"/>
                    </a:lnTo>
                    <a:lnTo>
                      <a:pt x="198" y="150"/>
                    </a:lnTo>
                    <a:lnTo>
                      <a:pt x="198" y="156"/>
                    </a:lnTo>
                    <a:lnTo>
                      <a:pt x="192" y="162"/>
                    </a:lnTo>
                    <a:lnTo>
                      <a:pt x="192" y="168"/>
                    </a:lnTo>
                    <a:lnTo>
                      <a:pt x="192" y="162"/>
                    </a:lnTo>
                    <a:lnTo>
                      <a:pt x="198" y="156"/>
                    </a:lnTo>
                    <a:lnTo>
                      <a:pt x="198" y="144"/>
                    </a:lnTo>
                    <a:lnTo>
                      <a:pt x="204" y="132"/>
                    </a:lnTo>
                    <a:lnTo>
                      <a:pt x="204" y="114"/>
                    </a:lnTo>
                    <a:lnTo>
                      <a:pt x="210" y="102"/>
                    </a:lnTo>
                    <a:lnTo>
                      <a:pt x="210" y="78"/>
                    </a:lnTo>
                    <a:lnTo>
                      <a:pt x="192" y="42"/>
                    </a:lnTo>
                    <a:lnTo>
                      <a:pt x="180" y="30"/>
                    </a:lnTo>
                    <a:lnTo>
                      <a:pt x="132" y="6"/>
                    </a:lnTo>
                    <a:lnTo>
                      <a:pt x="126" y="0"/>
                    </a:lnTo>
                    <a:lnTo>
                      <a:pt x="120" y="0"/>
                    </a:lnTo>
                    <a:lnTo>
                      <a:pt x="102" y="36"/>
                    </a:lnTo>
                    <a:lnTo>
                      <a:pt x="96" y="42"/>
                    </a:lnTo>
                    <a:lnTo>
                      <a:pt x="90" y="42"/>
                    </a:lnTo>
                    <a:close/>
                  </a:path>
                </a:pathLst>
              </a:custGeom>
              <a:solidFill>
                <a:schemeClr val="accent6"/>
              </a:solidFill>
              <a:ln w="3175">
                <a:solidFill>
                  <a:schemeClr val="accent6"/>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panose="020F0502020204030203" pitchFamily="34" charset="0"/>
                  <a:ea typeface="+mn-ea"/>
                  <a:cs typeface="+mn-cs"/>
                </a:endParaRPr>
              </a:p>
            </p:txBody>
          </p:sp>
          <p:sp>
            <p:nvSpPr>
              <p:cNvPr id="465" name="Ecuador" descr="© INSCALE GmbH, 05.05.2010&#10;http://www.presentationload.com/">
                <a:extLst>
                  <a:ext uri="{FF2B5EF4-FFF2-40B4-BE49-F238E27FC236}">
                    <a16:creationId xmlns:a16="http://schemas.microsoft.com/office/drawing/2014/main" id="{BAD85BF2-D883-599C-4900-28CC5767D847}"/>
                  </a:ext>
                </a:extLst>
              </p:cNvPr>
              <p:cNvSpPr>
                <a:spLocks/>
              </p:cNvSpPr>
              <p:nvPr/>
            </p:nvSpPr>
            <p:spPr bwMode="gray">
              <a:xfrm>
                <a:off x="2595510" y="4547795"/>
                <a:ext cx="160206" cy="170265"/>
              </a:xfrm>
              <a:custGeom>
                <a:avLst/>
                <a:gdLst>
                  <a:gd name="T0" fmla="*/ 2147483647 w 414"/>
                  <a:gd name="T1" fmla="*/ 2147483647 h 528"/>
                  <a:gd name="T2" fmla="*/ 2147483647 w 414"/>
                  <a:gd name="T3" fmla="*/ 2147483647 h 528"/>
                  <a:gd name="T4" fmla="*/ 2147483647 w 414"/>
                  <a:gd name="T5" fmla="*/ 2147483647 h 528"/>
                  <a:gd name="T6" fmla="*/ 2147483647 w 414"/>
                  <a:gd name="T7" fmla="*/ 2147483647 h 528"/>
                  <a:gd name="T8" fmla="*/ 2147483647 w 414"/>
                  <a:gd name="T9" fmla="*/ 2147483647 h 528"/>
                  <a:gd name="T10" fmla="*/ 2147483647 w 414"/>
                  <a:gd name="T11" fmla="*/ 2147483647 h 528"/>
                  <a:gd name="T12" fmla="*/ 2147483647 w 414"/>
                  <a:gd name="T13" fmla="*/ 2147483647 h 528"/>
                  <a:gd name="T14" fmla="*/ 2147483647 w 414"/>
                  <a:gd name="T15" fmla="*/ 2147483647 h 528"/>
                  <a:gd name="T16" fmla="*/ 2147483647 w 414"/>
                  <a:gd name="T17" fmla="*/ 2147483647 h 528"/>
                  <a:gd name="T18" fmla="*/ 2147483647 w 414"/>
                  <a:gd name="T19" fmla="*/ 2147483647 h 528"/>
                  <a:gd name="T20" fmla="*/ 2147483647 w 414"/>
                  <a:gd name="T21" fmla="*/ 2147483647 h 528"/>
                  <a:gd name="T22" fmla="*/ 2147483647 w 414"/>
                  <a:gd name="T23" fmla="*/ 2147483647 h 528"/>
                  <a:gd name="T24" fmla="*/ 2147483647 w 414"/>
                  <a:gd name="T25" fmla="*/ 2147483647 h 528"/>
                  <a:gd name="T26" fmla="*/ 2147483647 w 414"/>
                  <a:gd name="T27" fmla="*/ 2147483647 h 528"/>
                  <a:gd name="T28" fmla="*/ 2147483647 w 414"/>
                  <a:gd name="T29" fmla="*/ 2147483647 h 528"/>
                  <a:gd name="T30" fmla="*/ 2147483647 w 414"/>
                  <a:gd name="T31" fmla="*/ 2147483647 h 528"/>
                  <a:gd name="T32" fmla="*/ 2147483647 w 414"/>
                  <a:gd name="T33" fmla="*/ 2147483647 h 528"/>
                  <a:gd name="T34" fmla="*/ 2147483647 w 414"/>
                  <a:gd name="T35" fmla="*/ 2147483647 h 528"/>
                  <a:gd name="T36" fmla="*/ 2147483647 w 414"/>
                  <a:gd name="T37" fmla="*/ 2147483647 h 528"/>
                  <a:gd name="T38" fmla="*/ 2147483647 w 414"/>
                  <a:gd name="T39" fmla="*/ 2147483647 h 528"/>
                  <a:gd name="T40" fmla="*/ 2147483647 w 414"/>
                  <a:gd name="T41" fmla="*/ 2147483647 h 528"/>
                  <a:gd name="T42" fmla="*/ 2147483647 w 414"/>
                  <a:gd name="T43" fmla="*/ 2147483647 h 528"/>
                  <a:gd name="T44" fmla="*/ 2147483647 w 414"/>
                  <a:gd name="T45" fmla="*/ 2147483647 h 528"/>
                  <a:gd name="T46" fmla="*/ 2147483647 w 414"/>
                  <a:gd name="T47" fmla="*/ 2147483647 h 528"/>
                  <a:gd name="T48" fmla="*/ 2147483647 w 414"/>
                  <a:gd name="T49" fmla="*/ 2147483647 h 528"/>
                  <a:gd name="T50" fmla="*/ 2147483647 w 414"/>
                  <a:gd name="T51" fmla="*/ 2147483647 h 528"/>
                  <a:gd name="T52" fmla="*/ 2147483647 w 414"/>
                  <a:gd name="T53" fmla="*/ 2147483647 h 528"/>
                  <a:gd name="T54" fmla="*/ 2147483647 w 414"/>
                  <a:gd name="T55" fmla="*/ 2147483647 h 528"/>
                  <a:gd name="T56" fmla="*/ 2147483647 w 414"/>
                  <a:gd name="T57" fmla="*/ 2147483647 h 528"/>
                  <a:gd name="T58" fmla="*/ 2147483647 w 414"/>
                  <a:gd name="T59" fmla="*/ 2147483647 h 528"/>
                  <a:gd name="T60" fmla="*/ 2147483647 w 414"/>
                  <a:gd name="T61" fmla="*/ 2147483647 h 528"/>
                  <a:gd name="T62" fmla="*/ 2147483647 w 414"/>
                  <a:gd name="T63" fmla="*/ 2147483647 h 528"/>
                  <a:gd name="T64" fmla="*/ 2147483647 w 414"/>
                  <a:gd name="T65" fmla="*/ 2147483647 h 528"/>
                  <a:gd name="T66" fmla="*/ 2147483647 w 414"/>
                  <a:gd name="T67" fmla="*/ 2147483647 h 528"/>
                  <a:gd name="T68" fmla="*/ 2147483647 w 414"/>
                  <a:gd name="T69" fmla="*/ 2147483647 h 528"/>
                  <a:gd name="T70" fmla="*/ 2147483647 w 414"/>
                  <a:gd name="T71" fmla="*/ 2147483647 h 528"/>
                  <a:gd name="T72" fmla="*/ 2147483647 w 414"/>
                  <a:gd name="T73" fmla="*/ 2147483647 h 528"/>
                  <a:gd name="T74" fmla="*/ 2147483647 w 414"/>
                  <a:gd name="T75" fmla="*/ 2147483647 h 528"/>
                  <a:gd name="T76" fmla="*/ 2147483647 w 414"/>
                  <a:gd name="T77" fmla="*/ 2147483647 h 528"/>
                  <a:gd name="T78" fmla="*/ 2147483647 w 414"/>
                  <a:gd name="T79" fmla="*/ 2147483647 h 528"/>
                  <a:gd name="T80" fmla="*/ 2147483647 w 414"/>
                  <a:gd name="T81" fmla="*/ 2147483647 h 528"/>
                  <a:gd name="T82" fmla="*/ 2147483647 w 414"/>
                  <a:gd name="T83" fmla="*/ 2147483647 h 528"/>
                  <a:gd name="T84" fmla="*/ 2147483647 w 414"/>
                  <a:gd name="T85" fmla="*/ 2147483647 h 528"/>
                  <a:gd name="T86" fmla="*/ 2147483647 w 414"/>
                  <a:gd name="T87" fmla="*/ 2147483647 h 528"/>
                  <a:gd name="T88" fmla="*/ 2147483647 w 414"/>
                  <a:gd name="T89" fmla="*/ 2147483647 h 52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14"/>
                  <a:gd name="T136" fmla="*/ 0 h 528"/>
                  <a:gd name="T137" fmla="*/ 414 w 414"/>
                  <a:gd name="T138" fmla="*/ 528 h 52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14" h="528">
                    <a:moveTo>
                      <a:pt x="60" y="372"/>
                    </a:moveTo>
                    <a:lnTo>
                      <a:pt x="72" y="366"/>
                    </a:lnTo>
                    <a:lnTo>
                      <a:pt x="78" y="360"/>
                    </a:lnTo>
                    <a:lnTo>
                      <a:pt x="78" y="342"/>
                    </a:lnTo>
                    <a:lnTo>
                      <a:pt x="72" y="342"/>
                    </a:lnTo>
                    <a:lnTo>
                      <a:pt x="54" y="360"/>
                    </a:lnTo>
                    <a:lnTo>
                      <a:pt x="54" y="372"/>
                    </a:lnTo>
                    <a:lnTo>
                      <a:pt x="60" y="372"/>
                    </a:lnTo>
                    <a:close/>
                    <a:moveTo>
                      <a:pt x="414" y="174"/>
                    </a:moveTo>
                    <a:lnTo>
                      <a:pt x="390" y="156"/>
                    </a:lnTo>
                    <a:lnTo>
                      <a:pt x="396" y="156"/>
                    </a:lnTo>
                    <a:lnTo>
                      <a:pt x="396" y="150"/>
                    </a:lnTo>
                    <a:lnTo>
                      <a:pt x="402" y="150"/>
                    </a:lnTo>
                    <a:lnTo>
                      <a:pt x="402" y="126"/>
                    </a:lnTo>
                    <a:lnTo>
                      <a:pt x="372" y="126"/>
                    </a:lnTo>
                    <a:lnTo>
                      <a:pt x="360" y="114"/>
                    </a:lnTo>
                    <a:lnTo>
                      <a:pt x="360" y="108"/>
                    </a:lnTo>
                    <a:lnTo>
                      <a:pt x="354" y="102"/>
                    </a:lnTo>
                    <a:lnTo>
                      <a:pt x="354" y="96"/>
                    </a:lnTo>
                    <a:lnTo>
                      <a:pt x="342" y="90"/>
                    </a:lnTo>
                    <a:lnTo>
                      <a:pt x="336" y="90"/>
                    </a:lnTo>
                    <a:lnTo>
                      <a:pt x="330" y="96"/>
                    </a:lnTo>
                    <a:lnTo>
                      <a:pt x="330" y="108"/>
                    </a:lnTo>
                    <a:lnTo>
                      <a:pt x="306" y="108"/>
                    </a:lnTo>
                    <a:lnTo>
                      <a:pt x="300" y="102"/>
                    </a:lnTo>
                    <a:lnTo>
                      <a:pt x="288" y="96"/>
                    </a:lnTo>
                    <a:lnTo>
                      <a:pt x="282" y="102"/>
                    </a:lnTo>
                    <a:lnTo>
                      <a:pt x="270" y="102"/>
                    </a:lnTo>
                    <a:lnTo>
                      <a:pt x="258" y="96"/>
                    </a:lnTo>
                    <a:lnTo>
                      <a:pt x="252" y="90"/>
                    </a:lnTo>
                    <a:lnTo>
                      <a:pt x="252" y="84"/>
                    </a:lnTo>
                    <a:lnTo>
                      <a:pt x="246" y="72"/>
                    </a:lnTo>
                    <a:lnTo>
                      <a:pt x="240" y="66"/>
                    </a:lnTo>
                    <a:lnTo>
                      <a:pt x="228" y="60"/>
                    </a:lnTo>
                    <a:lnTo>
                      <a:pt x="210" y="60"/>
                    </a:lnTo>
                    <a:lnTo>
                      <a:pt x="204" y="48"/>
                    </a:lnTo>
                    <a:lnTo>
                      <a:pt x="168" y="30"/>
                    </a:lnTo>
                    <a:lnTo>
                      <a:pt x="162" y="18"/>
                    </a:lnTo>
                    <a:lnTo>
                      <a:pt x="150" y="12"/>
                    </a:lnTo>
                    <a:lnTo>
                      <a:pt x="144" y="0"/>
                    </a:lnTo>
                    <a:lnTo>
                      <a:pt x="144" y="12"/>
                    </a:lnTo>
                    <a:lnTo>
                      <a:pt x="150" y="18"/>
                    </a:lnTo>
                    <a:lnTo>
                      <a:pt x="150" y="36"/>
                    </a:lnTo>
                    <a:lnTo>
                      <a:pt x="144" y="42"/>
                    </a:lnTo>
                    <a:lnTo>
                      <a:pt x="120" y="54"/>
                    </a:lnTo>
                    <a:lnTo>
                      <a:pt x="102" y="54"/>
                    </a:lnTo>
                    <a:lnTo>
                      <a:pt x="96" y="42"/>
                    </a:lnTo>
                    <a:lnTo>
                      <a:pt x="90" y="42"/>
                    </a:lnTo>
                    <a:lnTo>
                      <a:pt x="78" y="54"/>
                    </a:lnTo>
                    <a:lnTo>
                      <a:pt x="66" y="60"/>
                    </a:lnTo>
                    <a:lnTo>
                      <a:pt x="60" y="72"/>
                    </a:lnTo>
                    <a:lnTo>
                      <a:pt x="60" y="84"/>
                    </a:lnTo>
                    <a:lnTo>
                      <a:pt x="66" y="90"/>
                    </a:lnTo>
                    <a:lnTo>
                      <a:pt x="72" y="102"/>
                    </a:lnTo>
                    <a:lnTo>
                      <a:pt x="72" y="120"/>
                    </a:lnTo>
                    <a:lnTo>
                      <a:pt x="66" y="126"/>
                    </a:lnTo>
                    <a:lnTo>
                      <a:pt x="54" y="132"/>
                    </a:lnTo>
                    <a:lnTo>
                      <a:pt x="42" y="144"/>
                    </a:lnTo>
                    <a:lnTo>
                      <a:pt x="42" y="162"/>
                    </a:lnTo>
                    <a:lnTo>
                      <a:pt x="48" y="168"/>
                    </a:lnTo>
                    <a:lnTo>
                      <a:pt x="54" y="180"/>
                    </a:lnTo>
                    <a:lnTo>
                      <a:pt x="36" y="180"/>
                    </a:lnTo>
                    <a:lnTo>
                      <a:pt x="36" y="198"/>
                    </a:lnTo>
                    <a:lnTo>
                      <a:pt x="0" y="216"/>
                    </a:lnTo>
                    <a:lnTo>
                      <a:pt x="24" y="228"/>
                    </a:lnTo>
                    <a:lnTo>
                      <a:pt x="12" y="258"/>
                    </a:lnTo>
                    <a:lnTo>
                      <a:pt x="24" y="270"/>
                    </a:lnTo>
                    <a:lnTo>
                      <a:pt x="24" y="282"/>
                    </a:lnTo>
                    <a:lnTo>
                      <a:pt x="6" y="300"/>
                    </a:lnTo>
                    <a:lnTo>
                      <a:pt x="0" y="300"/>
                    </a:lnTo>
                    <a:lnTo>
                      <a:pt x="12" y="312"/>
                    </a:lnTo>
                    <a:lnTo>
                      <a:pt x="6" y="318"/>
                    </a:lnTo>
                    <a:lnTo>
                      <a:pt x="6" y="324"/>
                    </a:lnTo>
                    <a:lnTo>
                      <a:pt x="18" y="336"/>
                    </a:lnTo>
                    <a:lnTo>
                      <a:pt x="30" y="342"/>
                    </a:lnTo>
                    <a:lnTo>
                      <a:pt x="60" y="342"/>
                    </a:lnTo>
                    <a:lnTo>
                      <a:pt x="72" y="330"/>
                    </a:lnTo>
                    <a:lnTo>
                      <a:pt x="72" y="324"/>
                    </a:lnTo>
                    <a:lnTo>
                      <a:pt x="96" y="330"/>
                    </a:lnTo>
                    <a:lnTo>
                      <a:pt x="102" y="342"/>
                    </a:lnTo>
                    <a:lnTo>
                      <a:pt x="102" y="348"/>
                    </a:lnTo>
                    <a:lnTo>
                      <a:pt x="96" y="366"/>
                    </a:lnTo>
                    <a:lnTo>
                      <a:pt x="90" y="372"/>
                    </a:lnTo>
                    <a:lnTo>
                      <a:pt x="90" y="384"/>
                    </a:lnTo>
                    <a:lnTo>
                      <a:pt x="84" y="396"/>
                    </a:lnTo>
                    <a:lnTo>
                      <a:pt x="72" y="402"/>
                    </a:lnTo>
                    <a:lnTo>
                      <a:pt x="66" y="402"/>
                    </a:lnTo>
                    <a:lnTo>
                      <a:pt x="60" y="408"/>
                    </a:lnTo>
                    <a:lnTo>
                      <a:pt x="54" y="408"/>
                    </a:lnTo>
                    <a:lnTo>
                      <a:pt x="60" y="408"/>
                    </a:lnTo>
                    <a:lnTo>
                      <a:pt x="72" y="414"/>
                    </a:lnTo>
                    <a:lnTo>
                      <a:pt x="78" y="414"/>
                    </a:lnTo>
                    <a:lnTo>
                      <a:pt x="78" y="420"/>
                    </a:lnTo>
                    <a:lnTo>
                      <a:pt x="72" y="426"/>
                    </a:lnTo>
                    <a:lnTo>
                      <a:pt x="66" y="438"/>
                    </a:lnTo>
                    <a:lnTo>
                      <a:pt x="54" y="444"/>
                    </a:lnTo>
                    <a:lnTo>
                      <a:pt x="48" y="456"/>
                    </a:lnTo>
                    <a:lnTo>
                      <a:pt x="42" y="462"/>
                    </a:lnTo>
                    <a:lnTo>
                      <a:pt x="54" y="474"/>
                    </a:lnTo>
                    <a:lnTo>
                      <a:pt x="42" y="486"/>
                    </a:lnTo>
                    <a:lnTo>
                      <a:pt x="48" y="492"/>
                    </a:lnTo>
                    <a:lnTo>
                      <a:pt x="54" y="492"/>
                    </a:lnTo>
                    <a:lnTo>
                      <a:pt x="66" y="486"/>
                    </a:lnTo>
                    <a:lnTo>
                      <a:pt x="78" y="474"/>
                    </a:lnTo>
                    <a:lnTo>
                      <a:pt x="90" y="486"/>
                    </a:lnTo>
                    <a:lnTo>
                      <a:pt x="120" y="486"/>
                    </a:lnTo>
                    <a:lnTo>
                      <a:pt x="120" y="492"/>
                    </a:lnTo>
                    <a:lnTo>
                      <a:pt x="126" y="498"/>
                    </a:lnTo>
                    <a:lnTo>
                      <a:pt x="126" y="516"/>
                    </a:lnTo>
                    <a:lnTo>
                      <a:pt x="132" y="528"/>
                    </a:lnTo>
                    <a:lnTo>
                      <a:pt x="150" y="528"/>
                    </a:lnTo>
                    <a:lnTo>
                      <a:pt x="150" y="522"/>
                    </a:lnTo>
                    <a:lnTo>
                      <a:pt x="156" y="516"/>
                    </a:lnTo>
                    <a:lnTo>
                      <a:pt x="156" y="510"/>
                    </a:lnTo>
                    <a:lnTo>
                      <a:pt x="162" y="504"/>
                    </a:lnTo>
                    <a:lnTo>
                      <a:pt x="180" y="504"/>
                    </a:lnTo>
                    <a:lnTo>
                      <a:pt x="180" y="474"/>
                    </a:lnTo>
                    <a:lnTo>
                      <a:pt x="186" y="462"/>
                    </a:lnTo>
                    <a:lnTo>
                      <a:pt x="186" y="438"/>
                    </a:lnTo>
                    <a:lnTo>
                      <a:pt x="198" y="426"/>
                    </a:lnTo>
                    <a:lnTo>
                      <a:pt x="198" y="408"/>
                    </a:lnTo>
                    <a:lnTo>
                      <a:pt x="210" y="402"/>
                    </a:lnTo>
                    <a:lnTo>
                      <a:pt x="210" y="396"/>
                    </a:lnTo>
                    <a:lnTo>
                      <a:pt x="228" y="378"/>
                    </a:lnTo>
                    <a:lnTo>
                      <a:pt x="246" y="366"/>
                    </a:lnTo>
                    <a:lnTo>
                      <a:pt x="264" y="360"/>
                    </a:lnTo>
                    <a:lnTo>
                      <a:pt x="324" y="330"/>
                    </a:lnTo>
                    <a:lnTo>
                      <a:pt x="342" y="318"/>
                    </a:lnTo>
                    <a:lnTo>
                      <a:pt x="354" y="300"/>
                    </a:lnTo>
                    <a:lnTo>
                      <a:pt x="366" y="288"/>
                    </a:lnTo>
                    <a:lnTo>
                      <a:pt x="372" y="276"/>
                    </a:lnTo>
                    <a:lnTo>
                      <a:pt x="384" y="264"/>
                    </a:lnTo>
                    <a:lnTo>
                      <a:pt x="390" y="252"/>
                    </a:lnTo>
                    <a:lnTo>
                      <a:pt x="402" y="210"/>
                    </a:lnTo>
                    <a:lnTo>
                      <a:pt x="414" y="204"/>
                    </a:lnTo>
                    <a:lnTo>
                      <a:pt x="414" y="174"/>
                    </a:lnTo>
                    <a:close/>
                  </a:path>
                </a:pathLst>
              </a:custGeom>
              <a:solidFill>
                <a:schemeClr val="accent6"/>
              </a:solidFill>
              <a:ln w="3175">
                <a:solidFill>
                  <a:schemeClr val="accent6"/>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panose="020F0502020204030203" pitchFamily="34" charset="0"/>
                  <a:ea typeface="+mn-ea"/>
                  <a:cs typeface="+mn-cs"/>
                </a:endParaRPr>
              </a:p>
            </p:txBody>
          </p:sp>
          <p:sp>
            <p:nvSpPr>
              <p:cNvPr id="467" name="Colombia" descr="© INSCALE GmbH, 05.05.2010&#10;http://www.presentationload.com/">
                <a:extLst>
                  <a:ext uri="{FF2B5EF4-FFF2-40B4-BE49-F238E27FC236}">
                    <a16:creationId xmlns:a16="http://schemas.microsoft.com/office/drawing/2014/main" id="{68BF663A-5CBE-71C1-2B20-2E13C0FE00E4}"/>
                  </a:ext>
                </a:extLst>
              </p:cNvPr>
              <p:cNvSpPr>
                <a:spLocks/>
              </p:cNvSpPr>
              <p:nvPr/>
            </p:nvSpPr>
            <p:spPr bwMode="gray">
              <a:xfrm>
                <a:off x="2651432" y="4265281"/>
                <a:ext cx="335523" cy="433861"/>
              </a:xfrm>
              <a:custGeom>
                <a:avLst/>
                <a:gdLst>
                  <a:gd name="T0" fmla="*/ 2147483647 w 870"/>
                  <a:gd name="T1" fmla="*/ 2147483647 h 1344"/>
                  <a:gd name="T2" fmla="*/ 2147483647 w 870"/>
                  <a:gd name="T3" fmla="*/ 2147483647 h 1344"/>
                  <a:gd name="T4" fmla="*/ 2147483647 w 870"/>
                  <a:gd name="T5" fmla="*/ 2147483647 h 1344"/>
                  <a:gd name="T6" fmla="*/ 2147483647 w 870"/>
                  <a:gd name="T7" fmla="*/ 2147483647 h 1344"/>
                  <a:gd name="T8" fmla="*/ 2147483647 w 870"/>
                  <a:gd name="T9" fmla="*/ 2147483647 h 1344"/>
                  <a:gd name="T10" fmla="*/ 2147483647 w 870"/>
                  <a:gd name="T11" fmla="*/ 2147483647 h 1344"/>
                  <a:gd name="T12" fmla="*/ 2147483647 w 870"/>
                  <a:gd name="T13" fmla="*/ 2147483647 h 1344"/>
                  <a:gd name="T14" fmla="*/ 2147483647 w 870"/>
                  <a:gd name="T15" fmla="*/ 2147483647 h 1344"/>
                  <a:gd name="T16" fmla="*/ 2147483647 w 870"/>
                  <a:gd name="T17" fmla="*/ 2147483647 h 1344"/>
                  <a:gd name="T18" fmla="*/ 2147483647 w 870"/>
                  <a:gd name="T19" fmla="*/ 2147483647 h 1344"/>
                  <a:gd name="T20" fmla="*/ 2147483647 w 870"/>
                  <a:gd name="T21" fmla="*/ 2147483647 h 1344"/>
                  <a:gd name="T22" fmla="*/ 2147483647 w 870"/>
                  <a:gd name="T23" fmla="*/ 2147483647 h 1344"/>
                  <a:gd name="T24" fmla="*/ 2147483647 w 870"/>
                  <a:gd name="T25" fmla="*/ 2147483647 h 1344"/>
                  <a:gd name="T26" fmla="*/ 2147483647 w 870"/>
                  <a:gd name="T27" fmla="*/ 2147483647 h 1344"/>
                  <a:gd name="T28" fmla="*/ 2147483647 w 870"/>
                  <a:gd name="T29" fmla="*/ 2147483647 h 1344"/>
                  <a:gd name="T30" fmla="*/ 2147483647 w 870"/>
                  <a:gd name="T31" fmla="*/ 2147483647 h 1344"/>
                  <a:gd name="T32" fmla="*/ 2147483647 w 870"/>
                  <a:gd name="T33" fmla="*/ 2147483647 h 1344"/>
                  <a:gd name="T34" fmla="*/ 2147483647 w 870"/>
                  <a:gd name="T35" fmla="*/ 2147483647 h 1344"/>
                  <a:gd name="T36" fmla="*/ 2147483647 w 870"/>
                  <a:gd name="T37" fmla="*/ 2147483647 h 1344"/>
                  <a:gd name="T38" fmla="*/ 2147483647 w 870"/>
                  <a:gd name="T39" fmla="*/ 2147483647 h 1344"/>
                  <a:gd name="T40" fmla="*/ 2147483647 w 870"/>
                  <a:gd name="T41" fmla="*/ 2147483647 h 1344"/>
                  <a:gd name="T42" fmla="*/ 2147483647 w 870"/>
                  <a:gd name="T43" fmla="*/ 2147483647 h 1344"/>
                  <a:gd name="T44" fmla="*/ 2147483647 w 870"/>
                  <a:gd name="T45" fmla="*/ 2147483647 h 1344"/>
                  <a:gd name="T46" fmla="*/ 2147483647 w 870"/>
                  <a:gd name="T47" fmla="*/ 2147483647 h 1344"/>
                  <a:gd name="T48" fmla="*/ 2147483647 w 870"/>
                  <a:gd name="T49" fmla="*/ 2147483647 h 1344"/>
                  <a:gd name="T50" fmla="*/ 2147483647 w 870"/>
                  <a:gd name="T51" fmla="*/ 2147483647 h 1344"/>
                  <a:gd name="T52" fmla="*/ 2147483647 w 870"/>
                  <a:gd name="T53" fmla="*/ 2147483647 h 1344"/>
                  <a:gd name="T54" fmla="*/ 2147483647 w 870"/>
                  <a:gd name="T55" fmla="*/ 2147483647 h 1344"/>
                  <a:gd name="T56" fmla="*/ 2147483647 w 870"/>
                  <a:gd name="T57" fmla="*/ 2147483647 h 1344"/>
                  <a:gd name="T58" fmla="*/ 2147483647 w 870"/>
                  <a:gd name="T59" fmla="*/ 2147483647 h 1344"/>
                  <a:gd name="T60" fmla="*/ 2147483647 w 870"/>
                  <a:gd name="T61" fmla="*/ 2147483647 h 1344"/>
                  <a:gd name="T62" fmla="*/ 2147483647 w 870"/>
                  <a:gd name="T63" fmla="*/ 2147483647 h 1344"/>
                  <a:gd name="T64" fmla="*/ 2147483647 w 870"/>
                  <a:gd name="T65" fmla="*/ 2147483647 h 1344"/>
                  <a:gd name="T66" fmla="*/ 2147483647 w 870"/>
                  <a:gd name="T67" fmla="*/ 2147483647 h 1344"/>
                  <a:gd name="T68" fmla="*/ 2147483647 w 870"/>
                  <a:gd name="T69" fmla="*/ 2147483647 h 1344"/>
                  <a:gd name="T70" fmla="*/ 2147483647 w 870"/>
                  <a:gd name="T71" fmla="*/ 2147483647 h 1344"/>
                  <a:gd name="T72" fmla="*/ 2147483647 w 870"/>
                  <a:gd name="T73" fmla="*/ 0 h 1344"/>
                  <a:gd name="T74" fmla="*/ 2147483647 w 870"/>
                  <a:gd name="T75" fmla="*/ 2147483647 h 1344"/>
                  <a:gd name="T76" fmla="*/ 2147483647 w 870"/>
                  <a:gd name="T77" fmla="*/ 2147483647 h 1344"/>
                  <a:gd name="T78" fmla="*/ 2147483647 w 870"/>
                  <a:gd name="T79" fmla="*/ 2147483647 h 1344"/>
                  <a:gd name="T80" fmla="*/ 2147483647 w 870"/>
                  <a:gd name="T81" fmla="*/ 2147483647 h 1344"/>
                  <a:gd name="T82" fmla="*/ 2147483647 w 870"/>
                  <a:gd name="T83" fmla="*/ 2147483647 h 1344"/>
                  <a:gd name="T84" fmla="*/ 2147483647 w 870"/>
                  <a:gd name="T85" fmla="*/ 2147483647 h 1344"/>
                  <a:gd name="T86" fmla="*/ 2147483647 w 870"/>
                  <a:gd name="T87" fmla="*/ 2147483647 h 1344"/>
                  <a:gd name="T88" fmla="*/ 2147483647 w 870"/>
                  <a:gd name="T89" fmla="*/ 2147483647 h 1344"/>
                  <a:gd name="T90" fmla="*/ 2147483647 w 870"/>
                  <a:gd name="T91" fmla="*/ 2147483647 h 1344"/>
                  <a:gd name="T92" fmla="*/ 2147483647 w 870"/>
                  <a:gd name="T93" fmla="*/ 2147483647 h 1344"/>
                  <a:gd name="T94" fmla="*/ 2147483647 w 870"/>
                  <a:gd name="T95" fmla="*/ 2147483647 h 1344"/>
                  <a:gd name="T96" fmla="*/ 2147483647 w 870"/>
                  <a:gd name="T97" fmla="*/ 2147483647 h 1344"/>
                  <a:gd name="T98" fmla="*/ 2147483647 w 870"/>
                  <a:gd name="T99" fmla="*/ 2147483647 h 1344"/>
                  <a:gd name="T100" fmla="*/ 2147483647 w 870"/>
                  <a:gd name="T101" fmla="*/ 2147483647 h 1344"/>
                  <a:gd name="T102" fmla="*/ 2147483647 w 870"/>
                  <a:gd name="T103" fmla="*/ 2147483647 h 1344"/>
                  <a:gd name="T104" fmla="*/ 2147483647 w 870"/>
                  <a:gd name="T105" fmla="*/ 2147483647 h 1344"/>
                  <a:gd name="T106" fmla="*/ 2147483647 w 870"/>
                  <a:gd name="T107" fmla="*/ 2147483647 h 134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70"/>
                  <a:gd name="T163" fmla="*/ 0 h 1344"/>
                  <a:gd name="T164" fmla="*/ 870 w 870"/>
                  <a:gd name="T165" fmla="*/ 1344 h 134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70" h="1344">
                    <a:moveTo>
                      <a:pt x="36" y="912"/>
                    </a:moveTo>
                    <a:lnTo>
                      <a:pt x="60" y="924"/>
                    </a:lnTo>
                    <a:lnTo>
                      <a:pt x="66" y="936"/>
                    </a:lnTo>
                    <a:lnTo>
                      <a:pt x="84" y="936"/>
                    </a:lnTo>
                    <a:lnTo>
                      <a:pt x="96" y="942"/>
                    </a:lnTo>
                    <a:lnTo>
                      <a:pt x="102" y="948"/>
                    </a:lnTo>
                    <a:lnTo>
                      <a:pt x="108" y="960"/>
                    </a:lnTo>
                    <a:lnTo>
                      <a:pt x="108" y="966"/>
                    </a:lnTo>
                    <a:lnTo>
                      <a:pt x="114" y="972"/>
                    </a:lnTo>
                    <a:lnTo>
                      <a:pt x="126" y="978"/>
                    </a:lnTo>
                    <a:lnTo>
                      <a:pt x="138" y="978"/>
                    </a:lnTo>
                    <a:lnTo>
                      <a:pt x="144" y="972"/>
                    </a:lnTo>
                    <a:lnTo>
                      <a:pt x="156" y="978"/>
                    </a:lnTo>
                    <a:lnTo>
                      <a:pt x="162" y="984"/>
                    </a:lnTo>
                    <a:lnTo>
                      <a:pt x="186" y="984"/>
                    </a:lnTo>
                    <a:lnTo>
                      <a:pt x="186" y="972"/>
                    </a:lnTo>
                    <a:lnTo>
                      <a:pt x="192" y="966"/>
                    </a:lnTo>
                    <a:lnTo>
                      <a:pt x="198" y="966"/>
                    </a:lnTo>
                    <a:lnTo>
                      <a:pt x="210" y="972"/>
                    </a:lnTo>
                    <a:lnTo>
                      <a:pt x="210" y="978"/>
                    </a:lnTo>
                    <a:lnTo>
                      <a:pt x="216" y="984"/>
                    </a:lnTo>
                    <a:lnTo>
                      <a:pt x="216" y="990"/>
                    </a:lnTo>
                    <a:lnTo>
                      <a:pt x="228" y="1002"/>
                    </a:lnTo>
                    <a:lnTo>
                      <a:pt x="264" y="1002"/>
                    </a:lnTo>
                    <a:lnTo>
                      <a:pt x="276" y="1008"/>
                    </a:lnTo>
                    <a:lnTo>
                      <a:pt x="282" y="1014"/>
                    </a:lnTo>
                    <a:lnTo>
                      <a:pt x="294" y="1020"/>
                    </a:lnTo>
                    <a:lnTo>
                      <a:pt x="312" y="1038"/>
                    </a:lnTo>
                    <a:lnTo>
                      <a:pt x="324" y="1044"/>
                    </a:lnTo>
                    <a:lnTo>
                      <a:pt x="330" y="1050"/>
                    </a:lnTo>
                    <a:lnTo>
                      <a:pt x="342" y="1086"/>
                    </a:lnTo>
                    <a:lnTo>
                      <a:pt x="360" y="1086"/>
                    </a:lnTo>
                    <a:lnTo>
                      <a:pt x="372" y="1104"/>
                    </a:lnTo>
                    <a:lnTo>
                      <a:pt x="384" y="1104"/>
                    </a:lnTo>
                    <a:lnTo>
                      <a:pt x="390" y="1110"/>
                    </a:lnTo>
                    <a:lnTo>
                      <a:pt x="390" y="1134"/>
                    </a:lnTo>
                    <a:lnTo>
                      <a:pt x="396" y="1140"/>
                    </a:lnTo>
                    <a:lnTo>
                      <a:pt x="396" y="1146"/>
                    </a:lnTo>
                    <a:lnTo>
                      <a:pt x="408" y="1146"/>
                    </a:lnTo>
                    <a:lnTo>
                      <a:pt x="420" y="1152"/>
                    </a:lnTo>
                    <a:lnTo>
                      <a:pt x="426" y="1158"/>
                    </a:lnTo>
                    <a:lnTo>
                      <a:pt x="426" y="1164"/>
                    </a:lnTo>
                    <a:lnTo>
                      <a:pt x="420" y="1170"/>
                    </a:lnTo>
                    <a:lnTo>
                      <a:pt x="420" y="1194"/>
                    </a:lnTo>
                    <a:lnTo>
                      <a:pt x="432" y="1200"/>
                    </a:lnTo>
                    <a:lnTo>
                      <a:pt x="456" y="1206"/>
                    </a:lnTo>
                    <a:lnTo>
                      <a:pt x="492" y="1206"/>
                    </a:lnTo>
                    <a:lnTo>
                      <a:pt x="492" y="1194"/>
                    </a:lnTo>
                    <a:lnTo>
                      <a:pt x="504" y="1182"/>
                    </a:lnTo>
                    <a:lnTo>
                      <a:pt x="528" y="1182"/>
                    </a:lnTo>
                    <a:lnTo>
                      <a:pt x="534" y="1188"/>
                    </a:lnTo>
                    <a:lnTo>
                      <a:pt x="540" y="1188"/>
                    </a:lnTo>
                    <a:lnTo>
                      <a:pt x="546" y="1194"/>
                    </a:lnTo>
                    <a:lnTo>
                      <a:pt x="558" y="1194"/>
                    </a:lnTo>
                    <a:lnTo>
                      <a:pt x="570" y="1188"/>
                    </a:lnTo>
                    <a:lnTo>
                      <a:pt x="576" y="1182"/>
                    </a:lnTo>
                    <a:lnTo>
                      <a:pt x="588" y="1182"/>
                    </a:lnTo>
                    <a:lnTo>
                      <a:pt x="588" y="1188"/>
                    </a:lnTo>
                    <a:lnTo>
                      <a:pt x="594" y="1200"/>
                    </a:lnTo>
                    <a:lnTo>
                      <a:pt x="600" y="1206"/>
                    </a:lnTo>
                    <a:lnTo>
                      <a:pt x="624" y="1206"/>
                    </a:lnTo>
                    <a:lnTo>
                      <a:pt x="636" y="1212"/>
                    </a:lnTo>
                    <a:lnTo>
                      <a:pt x="642" y="1218"/>
                    </a:lnTo>
                    <a:lnTo>
                      <a:pt x="642" y="1236"/>
                    </a:lnTo>
                    <a:lnTo>
                      <a:pt x="636" y="1248"/>
                    </a:lnTo>
                    <a:lnTo>
                      <a:pt x="630" y="1254"/>
                    </a:lnTo>
                    <a:lnTo>
                      <a:pt x="624" y="1254"/>
                    </a:lnTo>
                    <a:lnTo>
                      <a:pt x="618" y="1260"/>
                    </a:lnTo>
                    <a:lnTo>
                      <a:pt x="618" y="1266"/>
                    </a:lnTo>
                    <a:lnTo>
                      <a:pt x="606" y="1290"/>
                    </a:lnTo>
                    <a:lnTo>
                      <a:pt x="606" y="1308"/>
                    </a:lnTo>
                    <a:lnTo>
                      <a:pt x="612" y="1314"/>
                    </a:lnTo>
                    <a:lnTo>
                      <a:pt x="630" y="1314"/>
                    </a:lnTo>
                    <a:lnTo>
                      <a:pt x="642" y="1332"/>
                    </a:lnTo>
                    <a:lnTo>
                      <a:pt x="660" y="1344"/>
                    </a:lnTo>
                    <a:lnTo>
                      <a:pt x="660" y="1308"/>
                    </a:lnTo>
                    <a:lnTo>
                      <a:pt x="666" y="1236"/>
                    </a:lnTo>
                    <a:lnTo>
                      <a:pt x="684" y="1188"/>
                    </a:lnTo>
                    <a:lnTo>
                      <a:pt x="678" y="1140"/>
                    </a:lnTo>
                    <a:lnTo>
                      <a:pt x="690" y="1128"/>
                    </a:lnTo>
                    <a:lnTo>
                      <a:pt x="696" y="1116"/>
                    </a:lnTo>
                    <a:lnTo>
                      <a:pt x="696" y="1104"/>
                    </a:lnTo>
                    <a:lnTo>
                      <a:pt x="690" y="1092"/>
                    </a:lnTo>
                    <a:lnTo>
                      <a:pt x="678" y="1080"/>
                    </a:lnTo>
                    <a:lnTo>
                      <a:pt x="678" y="1074"/>
                    </a:lnTo>
                    <a:lnTo>
                      <a:pt x="672" y="1068"/>
                    </a:lnTo>
                    <a:lnTo>
                      <a:pt x="672" y="1044"/>
                    </a:lnTo>
                    <a:lnTo>
                      <a:pt x="666" y="1038"/>
                    </a:lnTo>
                    <a:lnTo>
                      <a:pt x="654" y="1032"/>
                    </a:lnTo>
                    <a:lnTo>
                      <a:pt x="642" y="1020"/>
                    </a:lnTo>
                    <a:lnTo>
                      <a:pt x="636" y="1020"/>
                    </a:lnTo>
                    <a:lnTo>
                      <a:pt x="642" y="954"/>
                    </a:lnTo>
                    <a:lnTo>
                      <a:pt x="672" y="948"/>
                    </a:lnTo>
                    <a:lnTo>
                      <a:pt x="678" y="954"/>
                    </a:lnTo>
                    <a:lnTo>
                      <a:pt x="708" y="954"/>
                    </a:lnTo>
                    <a:lnTo>
                      <a:pt x="714" y="948"/>
                    </a:lnTo>
                    <a:lnTo>
                      <a:pt x="714" y="942"/>
                    </a:lnTo>
                    <a:lnTo>
                      <a:pt x="708" y="936"/>
                    </a:lnTo>
                    <a:lnTo>
                      <a:pt x="708" y="930"/>
                    </a:lnTo>
                    <a:lnTo>
                      <a:pt x="696" y="918"/>
                    </a:lnTo>
                    <a:lnTo>
                      <a:pt x="684" y="924"/>
                    </a:lnTo>
                    <a:lnTo>
                      <a:pt x="660" y="912"/>
                    </a:lnTo>
                    <a:lnTo>
                      <a:pt x="660" y="900"/>
                    </a:lnTo>
                    <a:lnTo>
                      <a:pt x="654" y="888"/>
                    </a:lnTo>
                    <a:lnTo>
                      <a:pt x="654" y="876"/>
                    </a:lnTo>
                    <a:lnTo>
                      <a:pt x="660" y="864"/>
                    </a:lnTo>
                    <a:lnTo>
                      <a:pt x="666" y="858"/>
                    </a:lnTo>
                    <a:lnTo>
                      <a:pt x="684" y="858"/>
                    </a:lnTo>
                    <a:lnTo>
                      <a:pt x="696" y="870"/>
                    </a:lnTo>
                    <a:lnTo>
                      <a:pt x="762" y="864"/>
                    </a:lnTo>
                    <a:lnTo>
                      <a:pt x="762" y="846"/>
                    </a:lnTo>
                    <a:lnTo>
                      <a:pt x="768" y="840"/>
                    </a:lnTo>
                    <a:lnTo>
                      <a:pt x="774" y="840"/>
                    </a:lnTo>
                    <a:lnTo>
                      <a:pt x="798" y="864"/>
                    </a:lnTo>
                    <a:lnTo>
                      <a:pt x="828" y="834"/>
                    </a:lnTo>
                    <a:lnTo>
                      <a:pt x="834" y="834"/>
                    </a:lnTo>
                    <a:lnTo>
                      <a:pt x="834" y="846"/>
                    </a:lnTo>
                    <a:lnTo>
                      <a:pt x="840" y="852"/>
                    </a:lnTo>
                    <a:lnTo>
                      <a:pt x="840" y="864"/>
                    </a:lnTo>
                    <a:lnTo>
                      <a:pt x="846" y="876"/>
                    </a:lnTo>
                    <a:lnTo>
                      <a:pt x="846" y="906"/>
                    </a:lnTo>
                    <a:lnTo>
                      <a:pt x="870" y="906"/>
                    </a:lnTo>
                    <a:lnTo>
                      <a:pt x="864" y="900"/>
                    </a:lnTo>
                    <a:lnTo>
                      <a:pt x="864" y="882"/>
                    </a:lnTo>
                    <a:lnTo>
                      <a:pt x="858" y="870"/>
                    </a:lnTo>
                    <a:lnTo>
                      <a:pt x="858" y="852"/>
                    </a:lnTo>
                    <a:lnTo>
                      <a:pt x="852" y="846"/>
                    </a:lnTo>
                    <a:lnTo>
                      <a:pt x="852" y="828"/>
                    </a:lnTo>
                    <a:lnTo>
                      <a:pt x="846" y="822"/>
                    </a:lnTo>
                    <a:lnTo>
                      <a:pt x="846" y="798"/>
                    </a:lnTo>
                    <a:lnTo>
                      <a:pt x="834" y="798"/>
                    </a:lnTo>
                    <a:lnTo>
                      <a:pt x="822" y="786"/>
                    </a:lnTo>
                    <a:lnTo>
                      <a:pt x="798" y="774"/>
                    </a:lnTo>
                    <a:lnTo>
                      <a:pt x="804" y="774"/>
                    </a:lnTo>
                    <a:lnTo>
                      <a:pt x="834" y="744"/>
                    </a:lnTo>
                    <a:lnTo>
                      <a:pt x="840" y="732"/>
                    </a:lnTo>
                    <a:lnTo>
                      <a:pt x="840" y="726"/>
                    </a:lnTo>
                    <a:lnTo>
                      <a:pt x="834" y="714"/>
                    </a:lnTo>
                    <a:lnTo>
                      <a:pt x="822" y="708"/>
                    </a:lnTo>
                    <a:lnTo>
                      <a:pt x="816" y="696"/>
                    </a:lnTo>
                    <a:lnTo>
                      <a:pt x="816" y="672"/>
                    </a:lnTo>
                    <a:lnTo>
                      <a:pt x="804" y="672"/>
                    </a:lnTo>
                    <a:lnTo>
                      <a:pt x="798" y="666"/>
                    </a:lnTo>
                    <a:lnTo>
                      <a:pt x="798" y="654"/>
                    </a:lnTo>
                    <a:lnTo>
                      <a:pt x="804" y="642"/>
                    </a:lnTo>
                    <a:lnTo>
                      <a:pt x="804" y="612"/>
                    </a:lnTo>
                    <a:lnTo>
                      <a:pt x="798" y="600"/>
                    </a:lnTo>
                    <a:lnTo>
                      <a:pt x="798" y="576"/>
                    </a:lnTo>
                    <a:lnTo>
                      <a:pt x="810" y="564"/>
                    </a:lnTo>
                    <a:lnTo>
                      <a:pt x="816" y="564"/>
                    </a:lnTo>
                    <a:lnTo>
                      <a:pt x="822" y="558"/>
                    </a:lnTo>
                    <a:lnTo>
                      <a:pt x="822" y="534"/>
                    </a:lnTo>
                    <a:lnTo>
                      <a:pt x="840" y="516"/>
                    </a:lnTo>
                    <a:lnTo>
                      <a:pt x="840" y="504"/>
                    </a:lnTo>
                    <a:lnTo>
                      <a:pt x="834" y="498"/>
                    </a:lnTo>
                    <a:lnTo>
                      <a:pt x="816" y="498"/>
                    </a:lnTo>
                    <a:lnTo>
                      <a:pt x="804" y="504"/>
                    </a:lnTo>
                    <a:lnTo>
                      <a:pt x="798" y="510"/>
                    </a:lnTo>
                    <a:lnTo>
                      <a:pt x="774" y="504"/>
                    </a:lnTo>
                    <a:lnTo>
                      <a:pt x="768" y="510"/>
                    </a:lnTo>
                    <a:lnTo>
                      <a:pt x="744" y="510"/>
                    </a:lnTo>
                    <a:lnTo>
                      <a:pt x="738" y="504"/>
                    </a:lnTo>
                    <a:lnTo>
                      <a:pt x="720" y="504"/>
                    </a:lnTo>
                    <a:lnTo>
                      <a:pt x="720" y="510"/>
                    </a:lnTo>
                    <a:lnTo>
                      <a:pt x="696" y="510"/>
                    </a:lnTo>
                    <a:lnTo>
                      <a:pt x="672" y="486"/>
                    </a:lnTo>
                    <a:lnTo>
                      <a:pt x="666" y="468"/>
                    </a:lnTo>
                    <a:lnTo>
                      <a:pt x="660" y="456"/>
                    </a:lnTo>
                    <a:lnTo>
                      <a:pt x="654" y="450"/>
                    </a:lnTo>
                    <a:lnTo>
                      <a:pt x="654" y="444"/>
                    </a:lnTo>
                    <a:lnTo>
                      <a:pt x="630" y="444"/>
                    </a:lnTo>
                    <a:lnTo>
                      <a:pt x="618" y="438"/>
                    </a:lnTo>
                    <a:lnTo>
                      <a:pt x="612" y="432"/>
                    </a:lnTo>
                    <a:lnTo>
                      <a:pt x="600" y="432"/>
                    </a:lnTo>
                    <a:lnTo>
                      <a:pt x="600" y="438"/>
                    </a:lnTo>
                    <a:lnTo>
                      <a:pt x="594" y="444"/>
                    </a:lnTo>
                    <a:lnTo>
                      <a:pt x="582" y="444"/>
                    </a:lnTo>
                    <a:lnTo>
                      <a:pt x="570" y="438"/>
                    </a:lnTo>
                    <a:lnTo>
                      <a:pt x="564" y="438"/>
                    </a:lnTo>
                    <a:lnTo>
                      <a:pt x="552" y="432"/>
                    </a:lnTo>
                    <a:lnTo>
                      <a:pt x="540" y="432"/>
                    </a:lnTo>
                    <a:lnTo>
                      <a:pt x="534" y="438"/>
                    </a:lnTo>
                    <a:lnTo>
                      <a:pt x="510" y="438"/>
                    </a:lnTo>
                    <a:lnTo>
                      <a:pt x="504" y="432"/>
                    </a:lnTo>
                    <a:lnTo>
                      <a:pt x="498" y="420"/>
                    </a:lnTo>
                    <a:lnTo>
                      <a:pt x="498" y="408"/>
                    </a:lnTo>
                    <a:lnTo>
                      <a:pt x="486" y="408"/>
                    </a:lnTo>
                    <a:lnTo>
                      <a:pt x="486" y="366"/>
                    </a:lnTo>
                    <a:lnTo>
                      <a:pt x="498" y="342"/>
                    </a:lnTo>
                    <a:lnTo>
                      <a:pt x="498" y="330"/>
                    </a:lnTo>
                    <a:lnTo>
                      <a:pt x="492" y="324"/>
                    </a:lnTo>
                    <a:lnTo>
                      <a:pt x="480" y="318"/>
                    </a:lnTo>
                    <a:lnTo>
                      <a:pt x="474" y="312"/>
                    </a:lnTo>
                    <a:lnTo>
                      <a:pt x="474" y="276"/>
                    </a:lnTo>
                    <a:lnTo>
                      <a:pt x="468" y="264"/>
                    </a:lnTo>
                    <a:lnTo>
                      <a:pt x="456" y="252"/>
                    </a:lnTo>
                    <a:lnTo>
                      <a:pt x="450" y="252"/>
                    </a:lnTo>
                    <a:lnTo>
                      <a:pt x="438" y="264"/>
                    </a:lnTo>
                    <a:lnTo>
                      <a:pt x="438" y="270"/>
                    </a:lnTo>
                    <a:lnTo>
                      <a:pt x="432" y="264"/>
                    </a:lnTo>
                    <a:lnTo>
                      <a:pt x="432" y="252"/>
                    </a:lnTo>
                    <a:lnTo>
                      <a:pt x="438" y="240"/>
                    </a:lnTo>
                    <a:lnTo>
                      <a:pt x="462" y="216"/>
                    </a:lnTo>
                    <a:lnTo>
                      <a:pt x="462" y="192"/>
                    </a:lnTo>
                    <a:lnTo>
                      <a:pt x="468" y="186"/>
                    </a:lnTo>
                    <a:lnTo>
                      <a:pt x="468" y="168"/>
                    </a:lnTo>
                    <a:lnTo>
                      <a:pt x="480" y="132"/>
                    </a:lnTo>
                    <a:lnTo>
                      <a:pt x="504" y="108"/>
                    </a:lnTo>
                    <a:lnTo>
                      <a:pt x="522" y="102"/>
                    </a:lnTo>
                    <a:lnTo>
                      <a:pt x="534" y="90"/>
                    </a:lnTo>
                    <a:lnTo>
                      <a:pt x="540" y="78"/>
                    </a:lnTo>
                    <a:lnTo>
                      <a:pt x="540" y="72"/>
                    </a:lnTo>
                    <a:lnTo>
                      <a:pt x="546" y="66"/>
                    </a:lnTo>
                    <a:lnTo>
                      <a:pt x="558" y="66"/>
                    </a:lnTo>
                    <a:lnTo>
                      <a:pt x="564" y="60"/>
                    </a:lnTo>
                    <a:lnTo>
                      <a:pt x="570" y="60"/>
                    </a:lnTo>
                    <a:lnTo>
                      <a:pt x="576" y="54"/>
                    </a:lnTo>
                    <a:lnTo>
                      <a:pt x="582" y="54"/>
                    </a:lnTo>
                    <a:lnTo>
                      <a:pt x="600" y="36"/>
                    </a:lnTo>
                    <a:lnTo>
                      <a:pt x="600" y="12"/>
                    </a:lnTo>
                    <a:lnTo>
                      <a:pt x="594" y="6"/>
                    </a:lnTo>
                    <a:lnTo>
                      <a:pt x="582" y="0"/>
                    </a:lnTo>
                    <a:lnTo>
                      <a:pt x="570" y="6"/>
                    </a:lnTo>
                    <a:lnTo>
                      <a:pt x="546" y="6"/>
                    </a:lnTo>
                    <a:lnTo>
                      <a:pt x="540" y="12"/>
                    </a:lnTo>
                    <a:lnTo>
                      <a:pt x="534" y="12"/>
                    </a:lnTo>
                    <a:lnTo>
                      <a:pt x="522" y="24"/>
                    </a:lnTo>
                    <a:lnTo>
                      <a:pt x="522" y="36"/>
                    </a:lnTo>
                    <a:lnTo>
                      <a:pt x="516" y="48"/>
                    </a:lnTo>
                    <a:lnTo>
                      <a:pt x="504" y="60"/>
                    </a:lnTo>
                    <a:lnTo>
                      <a:pt x="492" y="60"/>
                    </a:lnTo>
                    <a:lnTo>
                      <a:pt x="480" y="54"/>
                    </a:lnTo>
                    <a:lnTo>
                      <a:pt x="474" y="54"/>
                    </a:lnTo>
                    <a:lnTo>
                      <a:pt x="444" y="84"/>
                    </a:lnTo>
                    <a:lnTo>
                      <a:pt x="444" y="90"/>
                    </a:lnTo>
                    <a:lnTo>
                      <a:pt x="408" y="102"/>
                    </a:lnTo>
                    <a:lnTo>
                      <a:pt x="402" y="96"/>
                    </a:lnTo>
                    <a:lnTo>
                      <a:pt x="390" y="90"/>
                    </a:lnTo>
                    <a:lnTo>
                      <a:pt x="384" y="90"/>
                    </a:lnTo>
                    <a:lnTo>
                      <a:pt x="378" y="102"/>
                    </a:lnTo>
                    <a:lnTo>
                      <a:pt x="378" y="120"/>
                    </a:lnTo>
                    <a:lnTo>
                      <a:pt x="372" y="132"/>
                    </a:lnTo>
                    <a:lnTo>
                      <a:pt x="366" y="138"/>
                    </a:lnTo>
                    <a:lnTo>
                      <a:pt x="354" y="138"/>
                    </a:lnTo>
                    <a:lnTo>
                      <a:pt x="354" y="132"/>
                    </a:lnTo>
                    <a:lnTo>
                      <a:pt x="360" y="126"/>
                    </a:lnTo>
                    <a:lnTo>
                      <a:pt x="354" y="120"/>
                    </a:lnTo>
                    <a:lnTo>
                      <a:pt x="342" y="120"/>
                    </a:lnTo>
                    <a:lnTo>
                      <a:pt x="330" y="126"/>
                    </a:lnTo>
                    <a:lnTo>
                      <a:pt x="318" y="126"/>
                    </a:lnTo>
                    <a:lnTo>
                      <a:pt x="312" y="132"/>
                    </a:lnTo>
                    <a:lnTo>
                      <a:pt x="306" y="132"/>
                    </a:lnTo>
                    <a:lnTo>
                      <a:pt x="300" y="144"/>
                    </a:lnTo>
                    <a:lnTo>
                      <a:pt x="288" y="150"/>
                    </a:lnTo>
                    <a:lnTo>
                      <a:pt x="282" y="162"/>
                    </a:lnTo>
                    <a:lnTo>
                      <a:pt x="276" y="168"/>
                    </a:lnTo>
                    <a:lnTo>
                      <a:pt x="276" y="186"/>
                    </a:lnTo>
                    <a:lnTo>
                      <a:pt x="282" y="192"/>
                    </a:lnTo>
                    <a:lnTo>
                      <a:pt x="264" y="222"/>
                    </a:lnTo>
                    <a:lnTo>
                      <a:pt x="276" y="246"/>
                    </a:lnTo>
                    <a:lnTo>
                      <a:pt x="252" y="246"/>
                    </a:lnTo>
                    <a:lnTo>
                      <a:pt x="240" y="252"/>
                    </a:lnTo>
                    <a:lnTo>
                      <a:pt x="228" y="264"/>
                    </a:lnTo>
                    <a:lnTo>
                      <a:pt x="228" y="276"/>
                    </a:lnTo>
                    <a:lnTo>
                      <a:pt x="222" y="288"/>
                    </a:lnTo>
                    <a:lnTo>
                      <a:pt x="216" y="294"/>
                    </a:lnTo>
                    <a:lnTo>
                      <a:pt x="204" y="294"/>
                    </a:lnTo>
                    <a:lnTo>
                      <a:pt x="198" y="300"/>
                    </a:lnTo>
                    <a:lnTo>
                      <a:pt x="192" y="300"/>
                    </a:lnTo>
                    <a:lnTo>
                      <a:pt x="174" y="306"/>
                    </a:lnTo>
                    <a:lnTo>
                      <a:pt x="186" y="330"/>
                    </a:lnTo>
                    <a:lnTo>
                      <a:pt x="186" y="366"/>
                    </a:lnTo>
                    <a:lnTo>
                      <a:pt x="168" y="366"/>
                    </a:lnTo>
                    <a:lnTo>
                      <a:pt x="168" y="360"/>
                    </a:lnTo>
                    <a:lnTo>
                      <a:pt x="174" y="354"/>
                    </a:lnTo>
                    <a:lnTo>
                      <a:pt x="174" y="342"/>
                    </a:lnTo>
                    <a:lnTo>
                      <a:pt x="144" y="312"/>
                    </a:lnTo>
                    <a:lnTo>
                      <a:pt x="138" y="312"/>
                    </a:lnTo>
                    <a:lnTo>
                      <a:pt x="132" y="318"/>
                    </a:lnTo>
                    <a:lnTo>
                      <a:pt x="132" y="336"/>
                    </a:lnTo>
                    <a:lnTo>
                      <a:pt x="138" y="348"/>
                    </a:lnTo>
                    <a:lnTo>
                      <a:pt x="150" y="354"/>
                    </a:lnTo>
                    <a:lnTo>
                      <a:pt x="150" y="366"/>
                    </a:lnTo>
                    <a:lnTo>
                      <a:pt x="138" y="390"/>
                    </a:lnTo>
                    <a:lnTo>
                      <a:pt x="132" y="396"/>
                    </a:lnTo>
                    <a:lnTo>
                      <a:pt x="120" y="390"/>
                    </a:lnTo>
                    <a:lnTo>
                      <a:pt x="114" y="384"/>
                    </a:lnTo>
                    <a:lnTo>
                      <a:pt x="102" y="414"/>
                    </a:lnTo>
                    <a:lnTo>
                      <a:pt x="114" y="438"/>
                    </a:lnTo>
                    <a:lnTo>
                      <a:pt x="114" y="450"/>
                    </a:lnTo>
                    <a:lnTo>
                      <a:pt x="126" y="462"/>
                    </a:lnTo>
                    <a:lnTo>
                      <a:pt x="132" y="474"/>
                    </a:lnTo>
                    <a:lnTo>
                      <a:pt x="132" y="480"/>
                    </a:lnTo>
                    <a:lnTo>
                      <a:pt x="120" y="492"/>
                    </a:lnTo>
                    <a:lnTo>
                      <a:pt x="114" y="492"/>
                    </a:lnTo>
                    <a:lnTo>
                      <a:pt x="132" y="516"/>
                    </a:lnTo>
                    <a:lnTo>
                      <a:pt x="138" y="552"/>
                    </a:lnTo>
                    <a:lnTo>
                      <a:pt x="114" y="558"/>
                    </a:lnTo>
                    <a:lnTo>
                      <a:pt x="132" y="576"/>
                    </a:lnTo>
                    <a:lnTo>
                      <a:pt x="132" y="636"/>
                    </a:lnTo>
                    <a:lnTo>
                      <a:pt x="120" y="642"/>
                    </a:lnTo>
                    <a:lnTo>
                      <a:pt x="114" y="654"/>
                    </a:lnTo>
                    <a:lnTo>
                      <a:pt x="114" y="678"/>
                    </a:lnTo>
                    <a:lnTo>
                      <a:pt x="138" y="702"/>
                    </a:lnTo>
                    <a:lnTo>
                      <a:pt x="138" y="720"/>
                    </a:lnTo>
                    <a:lnTo>
                      <a:pt x="132" y="732"/>
                    </a:lnTo>
                    <a:lnTo>
                      <a:pt x="120" y="738"/>
                    </a:lnTo>
                    <a:lnTo>
                      <a:pt x="114" y="750"/>
                    </a:lnTo>
                    <a:lnTo>
                      <a:pt x="102" y="756"/>
                    </a:lnTo>
                    <a:lnTo>
                      <a:pt x="96" y="762"/>
                    </a:lnTo>
                    <a:lnTo>
                      <a:pt x="114" y="774"/>
                    </a:lnTo>
                    <a:lnTo>
                      <a:pt x="84" y="798"/>
                    </a:lnTo>
                    <a:lnTo>
                      <a:pt x="66" y="798"/>
                    </a:lnTo>
                    <a:lnTo>
                      <a:pt x="54" y="804"/>
                    </a:lnTo>
                    <a:lnTo>
                      <a:pt x="36" y="810"/>
                    </a:lnTo>
                    <a:lnTo>
                      <a:pt x="30" y="822"/>
                    </a:lnTo>
                    <a:lnTo>
                      <a:pt x="30" y="846"/>
                    </a:lnTo>
                    <a:lnTo>
                      <a:pt x="36" y="852"/>
                    </a:lnTo>
                    <a:lnTo>
                      <a:pt x="36" y="858"/>
                    </a:lnTo>
                    <a:lnTo>
                      <a:pt x="6" y="858"/>
                    </a:lnTo>
                    <a:lnTo>
                      <a:pt x="0" y="864"/>
                    </a:lnTo>
                    <a:lnTo>
                      <a:pt x="0" y="876"/>
                    </a:lnTo>
                    <a:lnTo>
                      <a:pt x="6" y="888"/>
                    </a:lnTo>
                    <a:lnTo>
                      <a:pt x="18" y="894"/>
                    </a:lnTo>
                    <a:lnTo>
                      <a:pt x="24" y="906"/>
                    </a:lnTo>
                    <a:lnTo>
                      <a:pt x="36" y="912"/>
                    </a:lnTo>
                    <a:close/>
                  </a:path>
                </a:pathLst>
              </a:custGeom>
              <a:solidFill>
                <a:schemeClr val="accent6"/>
              </a:solidFill>
              <a:ln w="3175">
                <a:solidFill>
                  <a:schemeClr val="accent6"/>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panose="020F0502020204030203" pitchFamily="34" charset="0"/>
                  <a:ea typeface="+mn-ea"/>
                  <a:cs typeface="+mn-cs"/>
                </a:endParaRPr>
              </a:p>
            </p:txBody>
          </p:sp>
          <p:sp>
            <p:nvSpPr>
              <p:cNvPr id="468" name="Chile" descr="© INSCALE GmbH, 05.05.2010&#10;http://www.presentationload.com/">
                <a:extLst>
                  <a:ext uri="{FF2B5EF4-FFF2-40B4-BE49-F238E27FC236}">
                    <a16:creationId xmlns:a16="http://schemas.microsoft.com/office/drawing/2014/main" id="{D16DF8B8-6660-1361-9D35-A07F058EC609}"/>
                  </a:ext>
                </a:extLst>
              </p:cNvPr>
              <p:cNvSpPr>
                <a:spLocks/>
              </p:cNvSpPr>
              <p:nvPr/>
            </p:nvSpPr>
            <p:spPr bwMode="gray">
              <a:xfrm>
                <a:off x="2921967" y="5047238"/>
                <a:ext cx="447365" cy="977447"/>
              </a:xfrm>
              <a:custGeom>
                <a:avLst/>
                <a:gdLst>
                  <a:gd name="T0" fmla="*/ 2147483647 w 1158"/>
                  <a:gd name="T1" fmla="*/ 2147483647 h 3030"/>
                  <a:gd name="T2" fmla="*/ 2147483647 w 1158"/>
                  <a:gd name="T3" fmla="*/ 2147483647 h 3030"/>
                  <a:gd name="T4" fmla="*/ 2147483647 w 1158"/>
                  <a:gd name="T5" fmla="*/ 2147483647 h 3030"/>
                  <a:gd name="T6" fmla="*/ 2147483647 w 1158"/>
                  <a:gd name="T7" fmla="*/ 2147483647 h 3030"/>
                  <a:gd name="T8" fmla="*/ 2147483647 w 1158"/>
                  <a:gd name="T9" fmla="*/ 2147483647 h 3030"/>
                  <a:gd name="T10" fmla="*/ 2147483647 w 1158"/>
                  <a:gd name="T11" fmla="*/ 2147483647 h 3030"/>
                  <a:gd name="T12" fmla="*/ 2147483647 w 1158"/>
                  <a:gd name="T13" fmla="*/ 2147483647 h 3030"/>
                  <a:gd name="T14" fmla="*/ 2147483647 w 1158"/>
                  <a:gd name="T15" fmla="*/ 2147483647 h 3030"/>
                  <a:gd name="T16" fmla="*/ 2147483647 w 1158"/>
                  <a:gd name="T17" fmla="*/ 2147483647 h 3030"/>
                  <a:gd name="T18" fmla="*/ 2147483647 w 1158"/>
                  <a:gd name="T19" fmla="*/ 2147483647 h 3030"/>
                  <a:gd name="T20" fmla="*/ 2147483647 w 1158"/>
                  <a:gd name="T21" fmla="*/ 2147483647 h 3030"/>
                  <a:gd name="T22" fmla="*/ 2147483647 w 1158"/>
                  <a:gd name="T23" fmla="*/ 2147483647 h 3030"/>
                  <a:gd name="T24" fmla="*/ 2147483647 w 1158"/>
                  <a:gd name="T25" fmla="*/ 2147483647 h 3030"/>
                  <a:gd name="T26" fmla="*/ 2147483647 w 1158"/>
                  <a:gd name="T27" fmla="*/ 2147483647 h 3030"/>
                  <a:gd name="T28" fmla="*/ 2147483647 w 1158"/>
                  <a:gd name="T29" fmla="*/ 2147483647 h 3030"/>
                  <a:gd name="T30" fmla="*/ 2147483647 w 1158"/>
                  <a:gd name="T31" fmla="*/ 2147483647 h 3030"/>
                  <a:gd name="T32" fmla="*/ 2147483647 w 1158"/>
                  <a:gd name="T33" fmla="*/ 2147483647 h 3030"/>
                  <a:gd name="T34" fmla="*/ 2147483647 w 1158"/>
                  <a:gd name="T35" fmla="*/ 2147483647 h 3030"/>
                  <a:gd name="T36" fmla="*/ 2147483647 w 1158"/>
                  <a:gd name="T37" fmla="*/ 2147483647 h 3030"/>
                  <a:gd name="T38" fmla="*/ 2147483647 w 1158"/>
                  <a:gd name="T39" fmla="*/ 2147483647 h 3030"/>
                  <a:gd name="T40" fmla="*/ 2147483647 w 1158"/>
                  <a:gd name="T41" fmla="*/ 2147483647 h 3030"/>
                  <a:gd name="T42" fmla="*/ 2147483647 w 1158"/>
                  <a:gd name="T43" fmla="*/ 2147483647 h 3030"/>
                  <a:gd name="T44" fmla="*/ 2147483647 w 1158"/>
                  <a:gd name="T45" fmla="*/ 2147483647 h 3030"/>
                  <a:gd name="T46" fmla="*/ 2147483647 w 1158"/>
                  <a:gd name="T47" fmla="*/ 2147483647 h 3030"/>
                  <a:gd name="T48" fmla="*/ 2147483647 w 1158"/>
                  <a:gd name="T49" fmla="*/ 2147483647 h 3030"/>
                  <a:gd name="T50" fmla="*/ 2147483647 w 1158"/>
                  <a:gd name="T51" fmla="*/ 2147483647 h 3030"/>
                  <a:gd name="T52" fmla="*/ 2147483647 w 1158"/>
                  <a:gd name="T53" fmla="*/ 2147483647 h 3030"/>
                  <a:gd name="T54" fmla="*/ 2147483647 w 1158"/>
                  <a:gd name="T55" fmla="*/ 2147483647 h 3030"/>
                  <a:gd name="T56" fmla="*/ 2147483647 w 1158"/>
                  <a:gd name="T57" fmla="*/ 2147483647 h 3030"/>
                  <a:gd name="T58" fmla="*/ 2147483647 w 1158"/>
                  <a:gd name="T59" fmla="*/ 2147483647 h 3030"/>
                  <a:gd name="T60" fmla="*/ 2147483647 w 1158"/>
                  <a:gd name="T61" fmla="*/ 2147483647 h 3030"/>
                  <a:gd name="T62" fmla="*/ 2147483647 w 1158"/>
                  <a:gd name="T63" fmla="*/ 2147483647 h 3030"/>
                  <a:gd name="T64" fmla="*/ 2147483647 w 1158"/>
                  <a:gd name="T65" fmla="*/ 2147483647 h 3030"/>
                  <a:gd name="T66" fmla="*/ 2147483647 w 1158"/>
                  <a:gd name="T67" fmla="*/ 2147483647 h 3030"/>
                  <a:gd name="T68" fmla="*/ 2147483647 w 1158"/>
                  <a:gd name="T69" fmla="*/ 2147483647 h 3030"/>
                  <a:gd name="T70" fmla="*/ 2147483647 w 1158"/>
                  <a:gd name="T71" fmla="*/ 2147483647 h 3030"/>
                  <a:gd name="T72" fmla="*/ 2147483647 w 1158"/>
                  <a:gd name="T73" fmla="*/ 2147483647 h 3030"/>
                  <a:gd name="T74" fmla="*/ 2147483647 w 1158"/>
                  <a:gd name="T75" fmla="*/ 2147483647 h 3030"/>
                  <a:gd name="T76" fmla="*/ 2147483647 w 1158"/>
                  <a:gd name="T77" fmla="*/ 2147483647 h 3030"/>
                  <a:gd name="T78" fmla="*/ 0 w 1158"/>
                  <a:gd name="T79" fmla="*/ 2147483647 h 3030"/>
                  <a:gd name="T80" fmla="*/ 2147483647 w 1158"/>
                  <a:gd name="T81" fmla="*/ 2147483647 h 3030"/>
                  <a:gd name="T82" fmla="*/ 2147483647 w 1158"/>
                  <a:gd name="T83" fmla="*/ 2147483647 h 3030"/>
                  <a:gd name="T84" fmla="*/ 2147483647 w 1158"/>
                  <a:gd name="T85" fmla="*/ 2147483647 h 3030"/>
                  <a:gd name="T86" fmla="*/ 2147483647 w 1158"/>
                  <a:gd name="T87" fmla="*/ 2147483647 h 3030"/>
                  <a:gd name="T88" fmla="*/ 2147483647 w 1158"/>
                  <a:gd name="T89" fmla="*/ 2147483647 h 3030"/>
                  <a:gd name="T90" fmla="*/ 2147483647 w 1158"/>
                  <a:gd name="T91" fmla="*/ 2147483647 h 3030"/>
                  <a:gd name="T92" fmla="*/ 2147483647 w 1158"/>
                  <a:gd name="T93" fmla="*/ 2147483647 h 3030"/>
                  <a:gd name="T94" fmla="*/ 2147483647 w 1158"/>
                  <a:gd name="T95" fmla="*/ 2147483647 h 3030"/>
                  <a:gd name="T96" fmla="*/ 2147483647 w 1158"/>
                  <a:gd name="T97" fmla="*/ 2147483647 h 3030"/>
                  <a:gd name="T98" fmla="*/ 2147483647 w 1158"/>
                  <a:gd name="T99" fmla="*/ 2147483647 h 3030"/>
                  <a:gd name="T100" fmla="*/ 2147483647 w 1158"/>
                  <a:gd name="T101" fmla="*/ 2147483647 h 3030"/>
                  <a:gd name="T102" fmla="*/ 2147483647 w 1158"/>
                  <a:gd name="T103" fmla="*/ 2147483647 h 3030"/>
                  <a:gd name="T104" fmla="*/ 2147483647 w 1158"/>
                  <a:gd name="T105" fmla="*/ 2147483647 h 3030"/>
                  <a:gd name="T106" fmla="*/ 2147483647 w 1158"/>
                  <a:gd name="T107" fmla="*/ 2147483647 h 3030"/>
                  <a:gd name="T108" fmla="*/ 2147483647 w 1158"/>
                  <a:gd name="T109" fmla="*/ 2147483647 h 3030"/>
                  <a:gd name="T110" fmla="*/ 2147483647 w 1158"/>
                  <a:gd name="T111" fmla="*/ 2147483647 h 3030"/>
                  <a:gd name="T112" fmla="*/ 2147483647 w 1158"/>
                  <a:gd name="T113" fmla="*/ 2147483647 h 3030"/>
                  <a:gd name="T114" fmla="*/ 2147483647 w 1158"/>
                  <a:gd name="T115" fmla="*/ 2147483647 h 3030"/>
                  <a:gd name="T116" fmla="*/ 2147483647 w 1158"/>
                  <a:gd name="T117" fmla="*/ 2147483647 h 3030"/>
                  <a:gd name="T118" fmla="*/ 2147483647 w 1158"/>
                  <a:gd name="T119" fmla="*/ 2147483647 h 3030"/>
                  <a:gd name="T120" fmla="*/ 2147483647 w 1158"/>
                  <a:gd name="T121" fmla="*/ 2147483647 h 3030"/>
                  <a:gd name="T122" fmla="*/ 2147483647 w 1158"/>
                  <a:gd name="T123" fmla="*/ 2147483647 h 303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58"/>
                  <a:gd name="T187" fmla="*/ 0 h 3030"/>
                  <a:gd name="T188" fmla="*/ 1158 w 1158"/>
                  <a:gd name="T189" fmla="*/ 3030 h 303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58" h="3030">
                    <a:moveTo>
                      <a:pt x="1014" y="2910"/>
                    </a:moveTo>
                    <a:lnTo>
                      <a:pt x="984" y="2898"/>
                    </a:lnTo>
                    <a:lnTo>
                      <a:pt x="966" y="2880"/>
                    </a:lnTo>
                    <a:lnTo>
                      <a:pt x="948" y="2874"/>
                    </a:lnTo>
                    <a:lnTo>
                      <a:pt x="942" y="2862"/>
                    </a:lnTo>
                    <a:lnTo>
                      <a:pt x="936" y="2856"/>
                    </a:lnTo>
                    <a:lnTo>
                      <a:pt x="936" y="2850"/>
                    </a:lnTo>
                    <a:lnTo>
                      <a:pt x="906" y="2850"/>
                    </a:lnTo>
                    <a:lnTo>
                      <a:pt x="912" y="2832"/>
                    </a:lnTo>
                    <a:lnTo>
                      <a:pt x="870" y="2796"/>
                    </a:lnTo>
                    <a:lnTo>
                      <a:pt x="840" y="2802"/>
                    </a:lnTo>
                    <a:lnTo>
                      <a:pt x="828" y="2796"/>
                    </a:lnTo>
                    <a:lnTo>
                      <a:pt x="816" y="2808"/>
                    </a:lnTo>
                    <a:lnTo>
                      <a:pt x="792" y="2814"/>
                    </a:lnTo>
                    <a:lnTo>
                      <a:pt x="798" y="2832"/>
                    </a:lnTo>
                    <a:lnTo>
                      <a:pt x="780" y="2832"/>
                    </a:lnTo>
                    <a:lnTo>
                      <a:pt x="780" y="2862"/>
                    </a:lnTo>
                    <a:lnTo>
                      <a:pt x="786" y="2868"/>
                    </a:lnTo>
                    <a:lnTo>
                      <a:pt x="798" y="2868"/>
                    </a:lnTo>
                    <a:lnTo>
                      <a:pt x="810" y="2862"/>
                    </a:lnTo>
                    <a:lnTo>
                      <a:pt x="816" y="2856"/>
                    </a:lnTo>
                    <a:lnTo>
                      <a:pt x="828" y="2850"/>
                    </a:lnTo>
                    <a:lnTo>
                      <a:pt x="834" y="2844"/>
                    </a:lnTo>
                    <a:lnTo>
                      <a:pt x="858" y="2856"/>
                    </a:lnTo>
                    <a:lnTo>
                      <a:pt x="858" y="2874"/>
                    </a:lnTo>
                    <a:lnTo>
                      <a:pt x="846" y="2880"/>
                    </a:lnTo>
                    <a:lnTo>
                      <a:pt x="828" y="2898"/>
                    </a:lnTo>
                    <a:lnTo>
                      <a:pt x="822" y="2898"/>
                    </a:lnTo>
                    <a:lnTo>
                      <a:pt x="828" y="2904"/>
                    </a:lnTo>
                    <a:lnTo>
                      <a:pt x="882" y="2922"/>
                    </a:lnTo>
                    <a:lnTo>
                      <a:pt x="912" y="2928"/>
                    </a:lnTo>
                    <a:lnTo>
                      <a:pt x="924" y="2934"/>
                    </a:lnTo>
                    <a:lnTo>
                      <a:pt x="906" y="2958"/>
                    </a:lnTo>
                    <a:lnTo>
                      <a:pt x="906" y="2952"/>
                    </a:lnTo>
                    <a:lnTo>
                      <a:pt x="894" y="2940"/>
                    </a:lnTo>
                    <a:lnTo>
                      <a:pt x="876" y="2940"/>
                    </a:lnTo>
                    <a:lnTo>
                      <a:pt x="870" y="2946"/>
                    </a:lnTo>
                    <a:lnTo>
                      <a:pt x="870" y="2952"/>
                    </a:lnTo>
                    <a:lnTo>
                      <a:pt x="852" y="2928"/>
                    </a:lnTo>
                    <a:lnTo>
                      <a:pt x="834" y="2934"/>
                    </a:lnTo>
                    <a:lnTo>
                      <a:pt x="846" y="2946"/>
                    </a:lnTo>
                    <a:lnTo>
                      <a:pt x="816" y="2940"/>
                    </a:lnTo>
                    <a:lnTo>
                      <a:pt x="822" y="2946"/>
                    </a:lnTo>
                    <a:lnTo>
                      <a:pt x="828" y="2958"/>
                    </a:lnTo>
                    <a:lnTo>
                      <a:pt x="834" y="2964"/>
                    </a:lnTo>
                    <a:lnTo>
                      <a:pt x="894" y="2964"/>
                    </a:lnTo>
                    <a:lnTo>
                      <a:pt x="906" y="2970"/>
                    </a:lnTo>
                    <a:lnTo>
                      <a:pt x="1050" y="2970"/>
                    </a:lnTo>
                    <a:lnTo>
                      <a:pt x="1074" y="2982"/>
                    </a:lnTo>
                    <a:lnTo>
                      <a:pt x="1080" y="2988"/>
                    </a:lnTo>
                    <a:lnTo>
                      <a:pt x="1086" y="2988"/>
                    </a:lnTo>
                    <a:lnTo>
                      <a:pt x="1122" y="2970"/>
                    </a:lnTo>
                    <a:lnTo>
                      <a:pt x="1140" y="2976"/>
                    </a:lnTo>
                    <a:lnTo>
                      <a:pt x="1152" y="2976"/>
                    </a:lnTo>
                    <a:lnTo>
                      <a:pt x="1158" y="2952"/>
                    </a:lnTo>
                    <a:lnTo>
                      <a:pt x="1140" y="2952"/>
                    </a:lnTo>
                    <a:lnTo>
                      <a:pt x="1086" y="2940"/>
                    </a:lnTo>
                    <a:lnTo>
                      <a:pt x="1014" y="2910"/>
                    </a:lnTo>
                    <a:close/>
                    <a:moveTo>
                      <a:pt x="990" y="2988"/>
                    </a:moveTo>
                    <a:lnTo>
                      <a:pt x="1014" y="3000"/>
                    </a:lnTo>
                    <a:lnTo>
                      <a:pt x="1068" y="3006"/>
                    </a:lnTo>
                    <a:lnTo>
                      <a:pt x="1038" y="2982"/>
                    </a:lnTo>
                    <a:lnTo>
                      <a:pt x="990" y="2988"/>
                    </a:lnTo>
                    <a:close/>
                    <a:moveTo>
                      <a:pt x="960" y="2994"/>
                    </a:moveTo>
                    <a:lnTo>
                      <a:pt x="966" y="2982"/>
                    </a:lnTo>
                    <a:lnTo>
                      <a:pt x="888" y="2982"/>
                    </a:lnTo>
                    <a:lnTo>
                      <a:pt x="906" y="3012"/>
                    </a:lnTo>
                    <a:lnTo>
                      <a:pt x="936" y="3018"/>
                    </a:lnTo>
                    <a:lnTo>
                      <a:pt x="930" y="3006"/>
                    </a:lnTo>
                    <a:lnTo>
                      <a:pt x="936" y="3000"/>
                    </a:lnTo>
                    <a:lnTo>
                      <a:pt x="948" y="3012"/>
                    </a:lnTo>
                    <a:lnTo>
                      <a:pt x="996" y="3012"/>
                    </a:lnTo>
                    <a:lnTo>
                      <a:pt x="1008" y="3030"/>
                    </a:lnTo>
                    <a:lnTo>
                      <a:pt x="1026" y="3030"/>
                    </a:lnTo>
                    <a:lnTo>
                      <a:pt x="996" y="3000"/>
                    </a:lnTo>
                    <a:lnTo>
                      <a:pt x="960" y="2994"/>
                    </a:lnTo>
                    <a:close/>
                    <a:moveTo>
                      <a:pt x="804" y="2946"/>
                    </a:moveTo>
                    <a:lnTo>
                      <a:pt x="744" y="2940"/>
                    </a:lnTo>
                    <a:lnTo>
                      <a:pt x="750" y="2958"/>
                    </a:lnTo>
                    <a:lnTo>
                      <a:pt x="792" y="2958"/>
                    </a:lnTo>
                    <a:lnTo>
                      <a:pt x="804" y="2976"/>
                    </a:lnTo>
                    <a:lnTo>
                      <a:pt x="864" y="3000"/>
                    </a:lnTo>
                    <a:lnTo>
                      <a:pt x="828" y="2970"/>
                    </a:lnTo>
                    <a:lnTo>
                      <a:pt x="804" y="2946"/>
                    </a:lnTo>
                    <a:close/>
                    <a:moveTo>
                      <a:pt x="804" y="2880"/>
                    </a:moveTo>
                    <a:lnTo>
                      <a:pt x="786" y="2898"/>
                    </a:lnTo>
                    <a:lnTo>
                      <a:pt x="792" y="2928"/>
                    </a:lnTo>
                    <a:lnTo>
                      <a:pt x="816" y="2922"/>
                    </a:lnTo>
                    <a:lnTo>
                      <a:pt x="804" y="2880"/>
                    </a:lnTo>
                    <a:close/>
                    <a:moveTo>
                      <a:pt x="774" y="2928"/>
                    </a:moveTo>
                    <a:lnTo>
                      <a:pt x="768" y="2910"/>
                    </a:lnTo>
                    <a:lnTo>
                      <a:pt x="720" y="2898"/>
                    </a:lnTo>
                    <a:lnTo>
                      <a:pt x="708" y="2916"/>
                    </a:lnTo>
                    <a:lnTo>
                      <a:pt x="708" y="2934"/>
                    </a:lnTo>
                    <a:lnTo>
                      <a:pt x="744" y="2922"/>
                    </a:lnTo>
                    <a:lnTo>
                      <a:pt x="774" y="2928"/>
                    </a:lnTo>
                    <a:close/>
                    <a:moveTo>
                      <a:pt x="612" y="2772"/>
                    </a:moveTo>
                    <a:lnTo>
                      <a:pt x="606" y="2766"/>
                    </a:lnTo>
                    <a:lnTo>
                      <a:pt x="594" y="2766"/>
                    </a:lnTo>
                    <a:lnTo>
                      <a:pt x="588" y="2760"/>
                    </a:lnTo>
                    <a:lnTo>
                      <a:pt x="570" y="2760"/>
                    </a:lnTo>
                    <a:lnTo>
                      <a:pt x="570" y="2766"/>
                    </a:lnTo>
                    <a:lnTo>
                      <a:pt x="564" y="2778"/>
                    </a:lnTo>
                    <a:lnTo>
                      <a:pt x="564" y="2808"/>
                    </a:lnTo>
                    <a:lnTo>
                      <a:pt x="570" y="2808"/>
                    </a:lnTo>
                    <a:lnTo>
                      <a:pt x="576" y="2802"/>
                    </a:lnTo>
                    <a:lnTo>
                      <a:pt x="588" y="2802"/>
                    </a:lnTo>
                    <a:lnTo>
                      <a:pt x="594" y="2796"/>
                    </a:lnTo>
                    <a:lnTo>
                      <a:pt x="600" y="2820"/>
                    </a:lnTo>
                    <a:lnTo>
                      <a:pt x="630" y="2808"/>
                    </a:lnTo>
                    <a:lnTo>
                      <a:pt x="612" y="2790"/>
                    </a:lnTo>
                    <a:lnTo>
                      <a:pt x="618" y="2772"/>
                    </a:lnTo>
                    <a:lnTo>
                      <a:pt x="612" y="2772"/>
                    </a:lnTo>
                    <a:close/>
                    <a:moveTo>
                      <a:pt x="552" y="2826"/>
                    </a:moveTo>
                    <a:lnTo>
                      <a:pt x="516" y="2808"/>
                    </a:lnTo>
                    <a:lnTo>
                      <a:pt x="546" y="2832"/>
                    </a:lnTo>
                    <a:lnTo>
                      <a:pt x="588" y="2844"/>
                    </a:lnTo>
                    <a:lnTo>
                      <a:pt x="606" y="2850"/>
                    </a:lnTo>
                    <a:lnTo>
                      <a:pt x="588" y="2832"/>
                    </a:lnTo>
                    <a:lnTo>
                      <a:pt x="552" y="2826"/>
                    </a:lnTo>
                    <a:close/>
                    <a:moveTo>
                      <a:pt x="552" y="2748"/>
                    </a:moveTo>
                    <a:lnTo>
                      <a:pt x="534" y="2730"/>
                    </a:lnTo>
                    <a:lnTo>
                      <a:pt x="528" y="2766"/>
                    </a:lnTo>
                    <a:lnTo>
                      <a:pt x="504" y="2772"/>
                    </a:lnTo>
                    <a:lnTo>
                      <a:pt x="546" y="2784"/>
                    </a:lnTo>
                    <a:lnTo>
                      <a:pt x="552" y="2748"/>
                    </a:lnTo>
                    <a:close/>
                    <a:moveTo>
                      <a:pt x="444" y="2736"/>
                    </a:moveTo>
                    <a:lnTo>
                      <a:pt x="480" y="2772"/>
                    </a:lnTo>
                    <a:lnTo>
                      <a:pt x="492" y="2760"/>
                    </a:lnTo>
                    <a:lnTo>
                      <a:pt x="462" y="2724"/>
                    </a:lnTo>
                    <a:lnTo>
                      <a:pt x="444" y="2736"/>
                    </a:lnTo>
                    <a:close/>
                    <a:moveTo>
                      <a:pt x="516" y="2724"/>
                    </a:moveTo>
                    <a:lnTo>
                      <a:pt x="504" y="2718"/>
                    </a:lnTo>
                    <a:lnTo>
                      <a:pt x="492" y="2730"/>
                    </a:lnTo>
                    <a:lnTo>
                      <a:pt x="504" y="2748"/>
                    </a:lnTo>
                    <a:lnTo>
                      <a:pt x="516" y="2724"/>
                    </a:lnTo>
                    <a:close/>
                    <a:moveTo>
                      <a:pt x="456" y="2706"/>
                    </a:moveTo>
                    <a:lnTo>
                      <a:pt x="462" y="2676"/>
                    </a:lnTo>
                    <a:lnTo>
                      <a:pt x="456" y="2640"/>
                    </a:lnTo>
                    <a:lnTo>
                      <a:pt x="438" y="2634"/>
                    </a:lnTo>
                    <a:lnTo>
                      <a:pt x="438" y="2652"/>
                    </a:lnTo>
                    <a:lnTo>
                      <a:pt x="408" y="2646"/>
                    </a:lnTo>
                    <a:lnTo>
                      <a:pt x="432" y="2682"/>
                    </a:lnTo>
                    <a:lnTo>
                      <a:pt x="426" y="2724"/>
                    </a:lnTo>
                    <a:lnTo>
                      <a:pt x="456" y="2706"/>
                    </a:lnTo>
                    <a:close/>
                    <a:moveTo>
                      <a:pt x="366" y="2622"/>
                    </a:moveTo>
                    <a:lnTo>
                      <a:pt x="384" y="2628"/>
                    </a:lnTo>
                    <a:lnTo>
                      <a:pt x="390" y="2658"/>
                    </a:lnTo>
                    <a:lnTo>
                      <a:pt x="396" y="2628"/>
                    </a:lnTo>
                    <a:lnTo>
                      <a:pt x="402" y="2604"/>
                    </a:lnTo>
                    <a:lnTo>
                      <a:pt x="372" y="2598"/>
                    </a:lnTo>
                    <a:lnTo>
                      <a:pt x="366" y="2622"/>
                    </a:lnTo>
                    <a:close/>
                    <a:moveTo>
                      <a:pt x="372" y="2586"/>
                    </a:moveTo>
                    <a:lnTo>
                      <a:pt x="378" y="2586"/>
                    </a:lnTo>
                    <a:lnTo>
                      <a:pt x="378" y="2580"/>
                    </a:lnTo>
                    <a:lnTo>
                      <a:pt x="384" y="2574"/>
                    </a:lnTo>
                    <a:lnTo>
                      <a:pt x="414" y="2598"/>
                    </a:lnTo>
                    <a:lnTo>
                      <a:pt x="414" y="2574"/>
                    </a:lnTo>
                    <a:lnTo>
                      <a:pt x="384" y="2544"/>
                    </a:lnTo>
                    <a:lnTo>
                      <a:pt x="378" y="2532"/>
                    </a:lnTo>
                    <a:lnTo>
                      <a:pt x="372" y="2526"/>
                    </a:lnTo>
                    <a:lnTo>
                      <a:pt x="360" y="2502"/>
                    </a:lnTo>
                    <a:lnTo>
                      <a:pt x="360" y="2490"/>
                    </a:lnTo>
                    <a:lnTo>
                      <a:pt x="342" y="2454"/>
                    </a:lnTo>
                    <a:lnTo>
                      <a:pt x="330" y="2448"/>
                    </a:lnTo>
                    <a:lnTo>
                      <a:pt x="324" y="2442"/>
                    </a:lnTo>
                    <a:lnTo>
                      <a:pt x="318" y="2442"/>
                    </a:lnTo>
                    <a:lnTo>
                      <a:pt x="312" y="2448"/>
                    </a:lnTo>
                    <a:lnTo>
                      <a:pt x="312" y="2454"/>
                    </a:lnTo>
                    <a:lnTo>
                      <a:pt x="294" y="2448"/>
                    </a:lnTo>
                    <a:lnTo>
                      <a:pt x="288" y="2454"/>
                    </a:lnTo>
                    <a:lnTo>
                      <a:pt x="288" y="2466"/>
                    </a:lnTo>
                    <a:lnTo>
                      <a:pt x="282" y="2472"/>
                    </a:lnTo>
                    <a:lnTo>
                      <a:pt x="282" y="2490"/>
                    </a:lnTo>
                    <a:lnTo>
                      <a:pt x="330" y="2490"/>
                    </a:lnTo>
                    <a:lnTo>
                      <a:pt x="312" y="2532"/>
                    </a:lnTo>
                    <a:lnTo>
                      <a:pt x="324" y="2532"/>
                    </a:lnTo>
                    <a:lnTo>
                      <a:pt x="348" y="2508"/>
                    </a:lnTo>
                    <a:lnTo>
                      <a:pt x="342" y="2532"/>
                    </a:lnTo>
                    <a:lnTo>
                      <a:pt x="342" y="2538"/>
                    </a:lnTo>
                    <a:lnTo>
                      <a:pt x="348" y="2544"/>
                    </a:lnTo>
                    <a:lnTo>
                      <a:pt x="366" y="2580"/>
                    </a:lnTo>
                    <a:lnTo>
                      <a:pt x="366" y="2586"/>
                    </a:lnTo>
                    <a:lnTo>
                      <a:pt x="372" y="2586"/>
                    </a:lnTo>
                    <a:close/>
                    <a:moveTo>
                      <a:pt x="246" y="2082"/>
                    </a:moveTo>
                    <a:lnTo>
                      <a:pt x="246" y="2034"/>
                    </a:lnTo>
                    <a:lnTo>
                      <a:pt x="216" y="2004"/>
                    </a:lnTo>
                    <a:lnTo>
                      <a:pt x="234" y="1992"/>
                    </a:lnTo>
                    <a:lnTo>
                      <a:pt x="210" y="1968"/>
                    </a:lnTo>
                    <a:lnTo>
                      <a:pt x="174" y="1956"/>
                    </a:lnTo>
                    <a:lnTo>
                      <a:pt x="174" y="1986"/>
                    </a:lnTo>
                    <a:lnTo>
                      <a:pt x="180" y="1998"/>
                    </a:lnTo>
                    <a:lnTo>
                      <a:pt x="180" y="2004"/>
                    </a:lnTo>
                    <a:lnTo>
                      <a:pt x="192" y="2016"/>
                    </a:lnTo>
                    <a:lnTo>
                      <a:pt x="198" y="2028"/>
                    </a:lnTo>
                    <a:lnTo>
                      <a:pt x="204" y="2034"/>
                    </a:lnTo>
                    <a:lnTo>
                      <a:pt x="204" y="2046"/>
                    </a:lnTo>
                    <a:lnTo>
                      <a:pt x="198" y="2064"/>
                    </a:lnTo>
                    <a:lnTo>
                      <a:pt x="246" y="2082"/>
                    </a:lnTo>
                    <a:close/>
                    <a:moveTo>
                      <a:pt x="246" y="2178"/>
                    </a:moveTo>
                    <a:lnTo>
                      <a:pt x="258" y="2190"/>
                    </a:lnTo>
                    <a:lnTo>
                      <a:pt x="282" y="2190"/>
                    </a:lnTo>
                    <a:lnTo>
                      <a:pt x="294" y="2172"/>
                    </a:lnTo>
                    <a:lnTo>
                      <a:pt x="264" y="2178"/>
                    </a:lnTo>
                    <a:lnTo>
                      <a:pt x="246" y="2178"/>
                    </a:lnTo>
                    <a:close/>
                    <a:moveTo>
                      <a:pt x="282" y="2220"/>
                    </a:moveTo>
                    <a:lnTo>
                      <a:pt x="282" y="2238"/>
                    </a:lnTo>
                    <a:lnTo>
                      <a:pt x="306" y="2256"/>
                    </a:lnTo>
                    <a:lnTo>
                      <a:pt x="306" y="2232"/>
                    </a:lnTo>
                    <a:lnTo>
                      <a:pt x="294" y="2208"/>
                    </a:lnTo>
                    <a:lnTo>
                      <a:pt x="258" y="2208"/>
                    </a:lnTo>
                    <a:lnTo>
                      <a:pt x="282" y="2220"/>
                    </a:lnTo>
                    <a:close/>
                    <a:moveTo>
                      <a:pt x="318" y="2190"/>
                    </a:moveTo>
                    <a:lnTo>
                      <a:pt x="324" y="2184"/>
                    </a:lnTo>
                    <a:lnTo>
                      <a:pt x="336" y="2178"/>
                    </a:lnTo>
                    <a:lnTo>
                      <a:pt x="348" y="2166"/>
                    </a:lnTo>
                    <a:lnTo>
                      <a:pt x="336" y="2154"/>
                    </a:lnTo>
                    <a:lnTo>
                      <a:pt x="324" y="2154"/>
                    </a:lnTo>
                    <a:lnTo>
                      <a:pt x="312" y="2160"/>
                    </a:lnTo>
                    <a:lnTo>
                      <a:pt x="306" y="2166"/>
                    </a:lnTo>
                    <a:lnTo>
                      <a:pt x="306" y="2184"/>
                    </a:lnTo>
                    <a:lnTo>
                      <a:pt x="312" y="2190"/>
                    </a:lnTo>
                    <a:lnTo>
                      <a:pt x="318" y="2190"/>
                    </a:lnTo>
                    <a:close/>
                    <a:moveTo>
                      <a:pt x="252" y="2112"/>
                    </a:moveTo>
                    <a:lnTo>
                      <a:pt x="240" y="2118"/>
                    </a:lnTo>
                    <a:lnTo>
                      <a:pt x="240" y="2136"/>
                    </a:lnTo>
                    <a:lnTo>
                      <a:pt x="252" y="2136"/>
                    </a:lnTo>
                    <a:lnTo>
                      <a:pt x="264" y="2124"/>
                    </a:lnTo>
                    <a:lnTo>
                      <a:pt x="264" y="2106"/>
                    </a:lnTo>
                    <a:lnTo>
                      <a:pt x="258" y="2106"/>
                    </a:lnTo>
                    <a:lnTo>
                      <a:pt x="252" y="2112"/>
                    </a:lnTo>
                    <a:close/>
                    <a:moveTo>
                      <a:pt x="234" y="2154"/>
                    </a:moveTo>
                    <a:lnTo>
                      <a:pt x="216" y="2154"/>
                    </a:lnTo>
                    <a:lnTo>
                      <a:pt x="228" y="2178"/>
                    </a:lnTo>
                    <a:lnTo>
                      <a:pt x="234" y="2154"/>
                    </a:lnTo>
                    <a:close/>
                    <a:moveTo>
                      <a:pt x="714" y="2874"/>
                    </a:moveTo>
                    <a:lnTo>
                      <a:pt x="726" y="2874"/>
                    </a:lnTo>
                    <a:lnTo>
                      <a:pt x="726" y="2886"/>
                    </a:lnTo>
                    <a:lnTo>
                      <a:pt x="768" y="2886"/>
                    </a:lnTo>
                    <a:lnTo>
                      <a:pt x="774" y="2880"/>
                    </a:lnTo>
                    <a:lnTo>
                      <a:pt x="774" y="2874"/>
                    </a:lnTo>
                    <a:lnTo>
                      <a:pt x="744" y="2844"/>
                    </a:lnTo>
                    <a:lnTo>
                      <a:pt x="744" y="2808"/>
                    </a:lnTo>
                    <a:lnTo>
                      <a:pt x="786" y="2802"/>
                    </a:lnTo>
                    <a:lnTo>
                      <a:pt x="780" y="2790"/>
                    </a:lnTo>
                    <a:lnTo>
                      <a:pt x="804" y="2790"/>
                    </a:lnTo>
                    <a:lnTo>
                      <a:pt x="816" y="2772"/>
                    </a:lnTo>
                    <a:lnTo>
                      <a:pt x="792" y="2754"/>
                    </a:lnTo>
                    <a:lnTo>
                      <a:pt x="696" y="2754"/>
                    </a:lnTo>
                    <a:lnTo>
                      <a:pt x="684" y="2760"/>
                    </a:lnTo>
                    <a:lnTo>
                      <a:pt x="672" y="2760"/>
                    </a:lnTo>
                    <a:lnTo>
                      <a:pt x="654" y="2742"/>
                    </a:lnTo>
                    <a:lnTo>
                      <a:pt x="618" y="2724"/>
                    </a:lnTo>
                    <a:lnTo>
                      <a:pt x="606" y="2706"/>
                    </a:lnTo>
                    <a:lnTo>
                      <a:pt x="588" y="2682"/>
                    </a:lnTo>
                    <a:lnTo>
                      <a:pt x="588" y="2658"/>
                    </a:lnTo>
                    <a:lnTo>
                      <a:pt x="576" y="2646"/>
                    </a:lnTo>
                    <a:lnTo>
                      <a:pt x="564" y="2640"/>
                    </a:lnTo>
                    <a:lnTo>
                      <a:pt x="546" y="2640"/>
                    </a:lnTo>
                    <a:lnTo>
                      <a:pt x="534" y="2652"/>
                    </a:lnTo>
                    <a:lnTo>
                      <a:pt x="528" y="2652"/>
                    </a:lnTo>
                    <a:lnTo>
                      <a:pt x="516" y="2646"/>
                    </a:lnTo>
                    <a:lnTo>
                      <a:pt x="510" y="2640"/>
                    </a:lnTo>
                    <a:lnTo>
                      <a:pt x="510" y="2628"/>
                    </a:lnTo>
                    <a:lnTo>
                      <a:pt x="504" y="2622"/>
                    </a:lnTo>
                    <a:lnTo>
                      <a:pt x="504" y="2616"/>
                    </a:lnTo>
                    <a:lnTo>
                      <a:pt x="474" y="2610"/>
                    </a:lnTo>
                    <a:lnTo>
                      <a:pt x="474" y="2574"/>
                    </a:lnTo>
                    <a:lnTo>
                      <a:pt x="468" y="2568"/>
                    </a:lnTo>
                    <a:lnTo>
                      <a:pt x="462" y="2556"/>
                    </a:lnTo>
                    <a:lnTo>
                      <a:pt x="462" y="2544"/>
                    </a:lnTo>
                    <a:lnTo>
                      <a:pt x="474" y="2538"/>
                    </a:lnTo>
                    <a:lnTo>
                      <a:pt x="474" y="2514"/>
                    </a:lnTo>
                    <a:lnTo>
                      <a:pt x="480" y="2514"/>
                    </a:lnTo>
                    <a:lnTo>
                      <a:pt x="486" y="2508"/>
                    </a:lnTo>
                    <a:lnTo>
                      <a:pt x="492" y="2508"/>
                    </a:lnTo>
                    <a:lnTo>
                      <a:pt x="498" y="2502"/>
                    </a:lnTo>
                    <a:lnTo>
                      <a:pt x="498" y="2496"/>
                    </a:lnTo>
                    <a:lnTo>
                      <a:pt x="474" y="2472"/>
                    </a:lnTo>
                    <a:lnTo>
                      <a:pt x="480" y="2466"/>
                    </a:lnTo>
                    <a:lnTo>
                      <a:pt x="492" y="2460"/>
                    </a:lnTo>
                    <a:lnTo>
                      <a:pt x="498" y="2460"/>
                    </a:lnTo>
                    <a:lnTo>
                      <a:pt x="498" y="2454"/>
                    </a:lnTo>
                    <a:lnTo>
                      <a:pt x="474" y="2430"/>
                    </a:lnTo>
                    <a:lnTo>
                      <a:pt x="468" y="2430"/>
                    </a:lnTo>
                    <a:lnTo>
                      <a:pt x="474" y="2388"/>
                    </a:lnTo>
                    <a:lnTo>
                      <a:pt x="486" y="2382"/>
                    </a:lnTo>
                    <a:lnTo>
                      <a:pt x="474" y="2358"/>
                    </a:lnTo>
                    <a:lnTo>
                      <a:pt x="480" y="2322"/>
                    </a:lnTo>
                    <a:lnTo>
                      <a:pt x="456" y="2298"/>
                    </a:lnTo>
                    <a:lnTo>
                      <a:pt x="462" y="2274"/>
                    </a:lnTo>
                    <a:lnTo>
                      <a:pt x="438" y="2256"/>
                    </a:lnTo>
                    <a:lnTo>
                      <a:pt x="450" y="2244"/>
                    </a:lnTo>
                    <a:lnTo>
                      <a:pt x="456" y="2232"/>
                    </a:lnTo>
                    <a:lnTo>
                      <a:pt x="462" y="2226"/>
                    </a:lnTo>
                    <a:lnTo>
                      <a:pt x="438" y="2202"/>
                    </a:lnTo>
                    <a:lnTo>
                      <a:pt x="426" y="2202"/>
                    </a:lnTo>
                    <a:lnTo>
                      <a:pt x="420" y="2196"/>
                    </a:lnTo>
                    <a:lnTo>
                      <a:pt x="408" y="2190"/>
                    </a:lnTo>
                    <a:lnTo>
                      <a:pt x="402" y="2190"/>
                    </a:lnTo>
                    <a:lnTo>
                      <a:pt x="396" y="2184"/>
                    </a:lnTo>
                    <a:lnTo>
                      <a:pt x="414" y="2184"/>
                    </a:lnTo>
                    <a:lnTo>
                      <a:pt x="426" y="2178"/>
                    </a:lnTo>
                    <a:lnTo>
                      <a:pt x="438" y="2178"/>
                    </a:lnTo>
                    <a:lnTo>
                      <a:pt x="444" y="2172"/>
                    </a:lnTo>
                    <a:lnTo>
                      <a:pt x="444" y="2166"/>
                    </a:lnTo>
                    <a:lnTo>
                      <a:pt x="432" y="2160"/>
                    </a:lnTo>
                    <a:lnTo>
                      <a:pt x="402" y="2160"/>
                    </a:lnTo>
                    <a:lnTo>
                      <a:pt x="390" y="2148"/>
                    </a:lnTo>
                    <a:lnTo>
                      <a:pt x="390" y="2118"/>
                    </a:lnTo>
                    <a:lnTo>
                      <a:pt x="384" y="2106"/>
                    </a:lnTo>
                    <a:lnTo>
                      <a:pt x="384" y="2100"/>
                    </a:lnTo>
                    <a:lnTo>
                      <a:pt x="378" y="2094"/>
                    </a:lnTo>
                    <a:lnTo>
                      <a:pt x="366" y="2088"/>
                    </a:lnTo>
                    <a:lnTo>
                      <a:pt x="360" y="2088"/>
                    </a:lnTo>
                    <a:lnTo>
                      <a:pt x="366" y="2058"/>
                    </a:lnTo>
                    <a:lnTo>
                      <a:pt x="342" y="2046"/>
                    </a:lnTo>
                    <a:lnTo>
                      <a:pt x="336" y="2040"/>
                    </a:lnTo>
                    <a:lnTo>
                      <a:pt x="336" y="2028"/>
                    </a:lnTo>
                    <a:lnTo>
                      <a:pt x="330" y="2016"/>
                    </a:lnTo>
                    <a:lnTo>
                      <a:pt x="330" y="1998"/>
                    </a:lnTo>
                    <a:lnTo>
                      <a:pt x="324" y="1986"/>
                    </a:lnTo>
                    <a:lnTo>
                      <a:pt x="324" y="1974"/>
                    </a:lnTo>
                    <a:lnTo>
                      <a:pt x="330" y="1968"/>
                    </a:lnTo>
                    <a:lnTo>
                      <a:pt x="342" y="1962"/>
                    </a:lnTo>
                    <a:lnTo>
                      <a:pt x="348" y="1962"/>
                    </a:lnTo>
                    <a:lnTo>
                      <a:pt x="336" y="1950"/>
                    </a:lnTo>
                    <a:lnTo>
                      <a:pt x="324" y="1944"/>
                    </a:lnTo>
                    <a:lnTo>
                      <a:pt x="306" y="1926"/>
                    </a:lnTo>
                    <a:lnTo>
                      <a:pt x="300" y="1914"/>
                    </a:lnTo>
                    <a:lnTo>
                      <a:pt x="300" y="1890"/>
                    </a:lnTo>
                    <a:lnTo>
                      <a:pt x="294" y="1878"/>
                    </a:lnTo>
                    <a:lnTo>
                      <a:pt x="288" y="1872"/>
                    </a:lnTo>
                    <a:lnTo>
                      <a:pt x="288" y="1842"/>
                    </a:lnTo>
                    <a:lnTo>
                      <a:pt x="294" y="1836"/>
                    </a:lnTo>
                    <a:lnTo>
                      <a:pt x="294" y="1824"/>
                    </a:lnTo>
                    <a:lnTo>
                      <a:pt x="276" y="1812"/>
                    </a:lnTo>
                    <a:lnTo>
                      <a:pt x="276" y="1806"/>
                    </a:lnTo>
                    <a:lnTo>
                      <a:pt x="282" y="1794"/>
                    </a:lnTo>
                    <a:lnTo>
                      <a:pt x="282" y="1788"/>
                    </a:lnTo>
                    <a:lnTo>
                      <a:pt x="264" y="1770"/>
                    </a:lnTo>
                    <a:lnTo>
                      <a:pt x="282" y="1758"/>
                    </a:lnTo>
                    <a:lnTo>
                      <a:pt x="270" y="1716"/>
                    </a:lnTo>
                    <a:lnTo>
                      <a:pt x="276" y="1716"/>
                    </a:lnTo>
                    <a:lnTo>
                      <a:pt x="282" y="1710"/>
                    </a:lnTo>
                    <a:lnTo>
                      <a:pt x="294" y="1704"/>
                    </a:lnTo>
                    <a:lnTo>
                      <a:pt x="300" y="1692"/>
                    </a:lnTo>
                    <a:lnTo>
                      <a:pt x="300" y="1686"/>
                    </a:lnTo>
                    <a:lnTo>
                      <a:pt x="282" y="1668"/>
                    </a:lnTo>
                    <a:lnTo>
                      <a:pt x="276" y="1668"/>
                    </a:lnTo>
                    <a:lnTo>
                      <a:pt x="276" y="1650"/>
                    </a:lnTo>
                    <a:lnTo>
                      <a:pt x="246" y="1626"/>
                    </a:lnTo>
                    <a:lnTo>
                      <a:pt x="246" y="1578"/>
                    </a:lnTo>
                    <a:lnTo>
                      <a:pt x="240" y="1566"/>
                    </a:lnTo>
                    <a:lnTo>
                      <a:pt x="234" y="1548"/>
                    </a:lnTo>
                    <a:lnTo>
                      <a:pt x="234" y="1536"/>
                    </a:lnTo>
                    <a:lnTo>
                      <a:pt x="228" y="1530"/>
                    </a:lnTo>
                    <a:lnTo>
                      <a:pt x="228" y="1524"/>
                    </a:lnTo>
                    <a:lnTo>
                      <a:pt x="252" y="1518"/>
                    </a:lnTo>
                    <a:lnTo>
                      <a:pt x="258" y="1500"/>
                    </a:lnTo>
                    <a:lnTo>
                      <a:pt x="258" y="1494"/>
                    </a:lnTo>
                    <a:lnTo>
                      <a:pt x="264" y="1482"/>
                    </a:lnTo>
                    <a:lnTo>
                      <a:pt x="264" y="1470"/>
                    </a:lnTo>
                    <a:lnTo>
                      <a:pt x="258" y="1464"/>
                    </a:lnTo>
                    <a:lnTo>
                      <a:pt x="252" y="1452"/>
                    </a:lnTo>
                    <a:lnTo>
                      <a:pt x="246" y="1446"/>
                    </a:lnTo>
                    <a:lnTo>
                      <a:pt x="240" y="1434"/>
                    </a:lnTo>
                    <a:lnTo>
                      <a:pt x="234" y="1428"/>
                    </a:lnTo>
                    <a:lnTo>
                      <a:pt x="246" y="1428"/>
                    </a:lnTo>
                    <a:lnTo>
                      <a:pt x="246" y="1398"/>
                    </a:lnTo>
                    <a:lnTo>
                      <a:pt x="252" y="1380"/>
                    </a:lnTo>
                    <a:lnTo>
                      <a:pt x="252" y="1356"/>
                    </a:lnTo>
                    <a:lnTo>
                      <a:pt x="270" y="1338"/>
                    </a:lnTo>
                    <a:lnTo>
                      <a:pt x="270" y="1332"/>
                    </a:lnTo>
                    <a:lnTo>
                      <a:pt x="264" y="1320"/>
                    </a:lnTo>
                    <a:lnTo>
                      <a:pt x="258" y="1314"/>
                    </a:lnTo>
                    <a:lnTo>
                      <a:pt x="252" y="1302"/>
                    </a:lnTo>
                    <a:lnTo>
                      <a:pt x="246" y="1260"/>
                    </a:lnTo>
                    <a:lnTo>
                      <a:pt x="222" y="1260"/>
                    </a:lnTo>
                    <a:lnTo>
                      <a:pt x="210" y="1248"/>
                    </a:lnTo>
                    <a:lnTo>
                      <a:pt x="210" y="1236"/>
                    </a:lnTo>
                    <a:lnTo>
                      <a:pt x="216" y="1230"/>
                    </a:lnTo>
                    <a:lnTo>
                      <a:pt x="210" y="1218"/>
                    </a:lnTo>
                    <a:lnTo>
                      <a:pt x="198" y="1188"/>
                    </a:lnTo>
                    <a:lnTo>
                      <a:pt x="180" y="1170"/>
                    </a:lnTo>
                    <a:lnTo>
                      <a:pt x="180" y="1164"/>
                    </a:lnTo>
                    <a:lnTo>
                      <a:pt x="186" y="1158"/>
                    </a:lnTo>
                    <a:lnTo>
                      <a:pt x="186" y="1146"/>
                    </a:lnTo>
                    <a:lnTo>
                      <a:pt x="168" y="1128"/>
                    </a:lnTo>
                    <a:lnTo>
                      <a:pt x="156" y="1122"/>
                    </a:lnTo>
                    <a:lnTo>
                      <a:pt x="156" y="1116"/>
                    </a:lnTo>
                    <a:lnTo>
                      <a:pt x="150" y="1110"/>
                    </a:lnTo>
                    <a:lnTo>
                      <a:pt x="150" y="1086"/>
                    </a:lnTo>
                    <a:lnTo>
                      <a:pt x="156" y="1086"/>
                    </a:lnTo>
                    <a:lnTo>
                      <a:pt x="168" y="1080"/>
                    </a:lnTo>
                    <a:lnTo>
                      <a:pt x="162" y="1026"/>
                    </a:lnTo>
                    <a:lnTo>
                      <a:pt x="186" y="1026"/>
                    </a:lnTo>
                    <a:lnTo>
                      <a:pt x="186" y="1020"/>
                    </a:lnTo>
                    <a:lnTo>
                      <a:pt x="180" y="1008"/>
                    </a:lnTo>
                    <a:lnTo>
                      <a:pt x="168" y="972"/>
                    </a:lnTo>
                    <a:lnTo>
                      <a:pt x="156" y="948"/>
                    </a:lnTo>
                    <a:lnTo>
                      <a:pt x="156" y="936"/>
                    </a:lnTo>
                    <a:lnTo>
                      <a:pt x="168" y="924"/>
                    </a:lnTo>
                    <a:lnTo>
                      <a:pt x="168" y="858"/>
                    </a:lnTo>
                    <a:lnTo>
                      <a:pt x="174" y="852"/>
                    </a:lnTo>
                    <a:lnTo>
                      <a:pt x="180" y="840"/>
                    </a:lnTo>
                    <a:lnTo>
                      <a:pt x="192" y="828"/>
                    </a:lnTo>
                    <a:lnTo>
                      <a:pt x="192" y="816"/>
                    </a:lnTo>
                    <a:lnTo>
                      <a:pt x="198" y="804"/>
                    </a:lnTo>
                    <a:lnTo>
                      <a:pt x="198" y="792"/>
                    </a:lnTo>
                    <a:lnTo>
                      <a:pt x="204" y="774"/>
                    </a:lnTo>
                    <a:lnTo>
                      <a:pt x="204" y="762"/>
                    </a:lnTo>
                    <a:lnTo>
                      <a:pt x="222" y="762"/>
                    </a:lnTo>
                    <a:lnTo>
                      <a:pt x="228" y="756"/>
                    </a:lnTo>
                    <a:lnTo>
                      <a:pt x="240" y="750"/>
                    </a:lnTo>
                    <a:lnTo>
                      <a:pt x="240" y="738"/>
                    </a:lnTo>
                    <a:lnTo>
                      <a:pt x="234" y="726"/>
                    </a:lnTo>
                    <a:lnTo>
                      <a:pt x="210" y="714"/>
                    </a:lnTo>
                    <a:lnTo>
                      <a:pt x="204" y="708"/>
                    </a:lnTo>
                    <a:lnTo>
                      <a:pt x="198" y="708"/>
                    </a:lnTo>
                    <a:lnTo>
                      <a:pt x="204" y="708"/>
                    </a:lnTo>
                    <a:lnTo>
                      <a:pt x="216" y="696"/>
                    </a:lnTo>
                    <a:lnTo>
                      <a:pt x="222" y="684"/>
                    </a:lnTo>
                    <a:lnTo>
                      <a:pt x="228" y="678"/>
                    </a:lnTo>
                    <a:lnTo>
                      <a:pt x="222" y="666"/>
                    </a:lnTo>
                    <a:lnTo>
                      <a:pt x="210" y="654"/>
                    </a:lnTo>
                    <a:lnTo>
                      <a:pt x="198" y="648"/>
                    </a:lnTo>
                    <a:lnTo>
                      <a:pt x="192" y="642"/>
                    </a:lnTo>
                    <a:lnTo>
                      <a:pt x="192" y="624"/>
                    </a:lnTo>
                    <a:lnTo>
                      <a:pt x="216" y="600"/>
                    </a:lnTo>
                    <a:lnTo>
                      <a:pt x="216" y="594"/>
                    </a:lnTo>
                    <a:lnTo>
                      <a:pt x="204" y="594"/>
                    </a:lnTo>
                    <a:lnTo>
                      <a:pt x="192" y="588"/>
                    </a:lnTo>
                    <a:lnTo>
                      <a:pt x="186" y="582"/>
                    </a:lnTo>
                    <a:lnTo>
                      <a:pt x="186" y="576"/>
                    </a:lnTo>
                    <a:lnTo>
                      <a:pt x="192" y="570"/>
                    </a:lnTo>
                    <a:lnTo>
                      <a:pt x="198" y="558"/>
                    </a:lnTo>
                    <a:lnTo>
                      <a:pt x="210" y="552"/>
                    </a:lnTo>
                    <a:lnTo>
                      <a:pt x="222" y="540"/>
                    </a:lnTo>
                    <a:lnTo>
                      <a:pt x="240" y="534"/>
                    </a:lnTo>
                    <a:lnTo>
                      <a:pt x="252" y="528"/>
                    </a:lnTo>
                    <a:lnTo>
                      <a:pt x="258" y="522"/>
                    </a:lnTo>
                    <a:lnTo>
                      <a:pt x="264" y="522"/>
                    </a:lnTo>
                    <a:lnTo>
                      <a:pt x="276" y="438"/>
                    </a:lnTo>
                    <a:lnTo>
                      <a:pt x="264" y="420"/>
                    </a:lnTo>
                    <a:lnTo>
                      <a:pt x="222" y="420"/>
                    </a:lnTo>
                    <a:lnTo>
                      <a:pt x="216" y="408"/>
                    </a:lnTo>
                    <a:lnTo>
                      <a:pt x="216" y="384"/>
                    </a:lnTo>
                    <a:lnTo>
                      <a:pt x="192" y="360"/>
                    </a:lnTo>
                    <a:lnTo>
                      <a:pt x="192" y="294"/>
                    </a:lnTo>
                    <a:lnTo>
                      <a:pt x="186" y="288"/>
                    </a:lnTo>
                    <a:lnTo>
                      <a:pt x="174" y="282"/>
                    </a:lnTo>
                    <a:lnTo>
                      <a:pt x="168" y="276"/>
                    </a:lnTo>
                    <a:lnTo>
                      <a:pt x="156" y="270"/>
                    </a:lnTo>
                    <a:lnTo>
                      <a:pt x="150" y="264"/>
                    </a:lnTo>
                    <a:lnTo>
                      <a:pt x="144" y="264"/>
                    </a:lnTo>
                    <a:lnTo>
                      <a:pt x="144" y="240"/>
                    </a:lnTo>
                    <a:lnTo>
                      <a:pt x="138" y="234"/>
                    </a:lnTo>
                    <a:lnTo>
                      <a:pt x="132" y="222"/>
                    </a:lnTo>
                    <a:lnTo>
                      <a:pt x="132" y="210"/>
                    </a:lnTo>
                    <a:lnTo>
                      <a:pt x="138" y="204"/>
                    </a:lnTo>
                    <a:lnTo>
                      <a:pt x="144" y="192"/>
                    </a:lnTo>
                    <a:lnTo>
                      <a:pt x="150" y="186"/>
                    </a:lnTo>
                    <a:lnTo>
                      <a:pt x="132" y="168"/>
                    </a:lnTo>
                    <a:lnTo>
                      <a:pt x="144" y="156"/>
                    </a:lnTo>
                    <a:lnTo>
                      <a:pt x="150" y="144"/>
                    </a:lnTo>
                    <a:lnTo>
                      <a:pt x="150" y="138"/>
                    </a:lnTo>
                    <a:lnTo>
                      <a:pt x="144" y="126"/>
                    </a:lnTo>
                    <a:lnTo>
                      <a:pt x="120" y="114"/>
                    </a:lnTo>
                    <a:lnTo>
                      <a:pt x="114" y="114"/>
                    </a:lnTo>
                    <a:lnTo>
                      <a:pt x="102" y="108"/>
                    </a:lnTo>
                    <a:lnTo>
                      <a:pt x="90" y="30"/>
                    </a:lnTo>
                    <a:lnTo>
                      <a:pt x="66" y="30"/>
                    </a:lnTo>
                    <a:lnTo>
                      <a:pt x="48" y="0"/>
                    </a:lnTo>
                    <a:lnTo>
                      <a:pt x="36" y="6"/>
                    </a:lnTo>
                    <a:lnTo>
                      <a:pt x="42" y="18"/>
                    </a:lnTo>
                    <a:lnTo>
                      <a:pt x="42" y="36"/>
                    </a:lnTo>
                    <a:lnTo>
                      <a:pt x="36" y="42"/>
                    </a:lnTo>
                    <a:lnTo>
                      <a:pt x="0" y="66"/>
                    </a:lnTo>
                    <a:lnTo>
                      <a:pt x="0" y="108"/>
                    </a:lnTo>
                    <a:lnTo>
                      <a:pt x="24" y="156"/>
                    </a:lnTo>
                    <a:lnTo>
                      <a:pt x="30" y="174"/>
                    </a:lnTo>
                    <a:lnTo>
                      <a:pt x="36" y="228"/>
                    </a:lnTo>
                    <a:lnTo>
                      <a:pt x="36" y="282"/>
                    </a:lnTo>
                    <a:lnTo>
                      <a:pt x="48" y="318"/>
                    </a:lnTo>
                    <a:lnTo>
                      <a:pt x="48" y="360"/>
                    </a:lnTo>
                    <a:lnTo>
                      <a:pt x="54" y="384"/>
                    </a:lnTo>
                    <a:lnTo>
                      <a:pt x="54" y="432"/>
                    </a:lnTo>
                    <a:lnTo>
                      <a:pt x="30" y="444"/>
                    </a:lnTo>
                    <a:lnTo>
                      <a:pt x="36" y="474"/>
                    </a:lnTo>
                    <a:lnTo>
                      <a:pt x="54" y="486"/>
                    </a:lnTo>
                    <a:lnTo>
                      <a:pt x="48" y="582"/>
                    </a:lnTo>
                    <a:lnTo>
                      <a:pt x="72" y="624"/>
                    </a:lnTo>
                    <a:lnTo>
                      <a:pt x="54" y="642"/>
                    </a:lnTo>
                    <a:lnTo>
                      <a:pt x="60" y="702"/>
                    </a:lnTo>
                    <a:lnTo>
                      <a:pt x="66" y="708"/>
                    </a:lnTo>
                    <a:lnTo>
                      <a:pt x="78" y="732"/>
                    </a:lnTo>
                    <a:lnTo>
                      <a:pt x="78" y="744"/>
                    </a:lnTo>
                    <a:lnTo>
                      <a:pt x="72" y="756"/>
                    </a:lnTo>
                    <a:lnTo>
                      <a:pt x="66" y="762"/>
                    </a:lnTo>
                    <a:lnTo>
                      <a:pt x="60" y="762"/>
                    </a:lnTo>
                    <a:lnTo>
                      <a:pt x="60" y="792"/>
                    </a:lnTo>
                    <a:lnTo>
                      <a:pt x="72" y="810"/>
                    </a:lnTo>
                    <a:lnTo>
                      <a:pt x="60" y="822"/>
                    </a:lnTo>
                    <a:lnTo>
                      <a:pt x="48" y="846"/>
                    </a:lnTo>
                    <a:lnTo>
                      <a:pt x="48" y="852"/>
                    </a:lnTo>
                    <a:lnTo>
                      <a:pt x="60" y="852"/>
                    </a:lnTo>
                    <a:lnTo>
                      <a:pt x="60" y="864"/>
                    </a:lnTo>
                    <a:lnTo>
                      <a:pt x="66" y="870"/>
                    </a:lnTo>
                    <a:lnTo>
                      <a:pt x="66" y="888"/>
                    </a:lnTo>
                    <a:lnTo>
                      <a:pt x="54" y="900"/>
                    </a:lnTo>
                    <a:lnTo>
                      <a:pt x="54" y="906"/>
                    </a:lnTo>
                    <a:lnTo>
                      <a:pt x="48" y="912"/>
                    </a:lnTo>
                    <a:lnTo>
                      <a:pt x="48" y="936"/>
                    </a:lnTo>
                    <a:lnTo>
                      <a:pt x="54" y="948"/>
                    </a:lnTo>
                    <a:lnTo>
                      <a:pt x="60" y="954"/>
                    </a:lnTo>
                    <a:lnTo>
                      <a:pt x="66" y="954"/>
                    </a:lnTo>
                    <a:lnTo>
                      <a:pt x="78" y="966"/>
                    </a:lnTo>
                    <a:lnTo>
                      <a:pt x="78" y="1020"/>
                    </a:lnTo>
                    <a:lnTo>
                      <a:pt x="60" y="1020"/>
                    </a:lnTo>
                    <a:lnTo>
                      <a:pt x="60" y="1044"/>
                    </a:lnTo>
                    <a:lnTo>
                      <a:pt x="66" y="1056"/>
                    </a:lnTo>
                    <a:lnTo>
                      <a:pt x="90" y="1128"/>
                    </a:lnTo>
                    <a:lnTo>
                      <a:pt x="96" y="1140"/>
                    </a:lnTo>
                    <a:lnTo>
                      <a:pt x="102" y="1146"/>
                    </a:lnTo>
                    <a:lnTo>
                      <a:pt x="102" y="1164"/>
                    </a:lnTo>
                    <a:lnTo>
                      <a:pt x="108" y="1170"/>
                    </a:lnTo>
                    <a:lnTo>
                      <a:pt x="114" y="1182"/>
                    </a:lnTo>
                    <a:lnTo>
                      <a:pt x="120" y="1188"/>
                    </a:lnTo>
                    <a:lnTo>
                      <a:pt x="120" y="1236"/>
                    </a:lnTo>
                    <a:lnTo>
                      <a:pt x="114" y="1266"/>
                    </a:lnTo>
                    <a:lnTo>
                      <a:pt x="138" y="1290"/>
                    </a:lnTo>
                    <a:lnTo>
                      <a:pt x="138" y="1296"/>
                    </a:lnTo>
                    <a:lnTo>
                      <a:pt x="132" y="1302"/>
                    </a:lnTo>
                    <a:lnTo>
                      <a:pt x="126" y="1314"/>
                    </a:lnTo>
                    <a:lnTo>
                      <a:pt x="126" y="1326"/>
                    </a:lnTo>
                    <a:lnTo>
                      <a:pt x="120" y="1338"/>
                    </a:lnTo>
                    <a:lnTo>
                      <a:pt x="120" y="1416"/>
                    </a:lnTo>
                    <a:lnTo>
                      <a:pt x="102" y="1452"/>
                    </a:lnTo>
                    <a:lnTo>
                      <a:pt x="114" y="1464"/>
                    </a:lnTo>
                    <a:lnTo>
                      <a:pt x="114" y="1470"/>
                    </a:lnTo>
                    <a:lnTo>
                      <a:pt x="108" y="1476"/>
                    </a:lnTo>
                    <a:lnTo>
                      <a:pt x="108" y="1536"/>
                    </a:lnTo>
                    <a:lnTo>
                      <a:pt x="102" y="1554"/>
                    </a:lnTo>
                    <a:lnTo>
                      <a:pt x="102" y="1578"/>
                    </a:lnTo>
                    <a:lnTo>
                      <a:pt x="84" y="1584"/>
                    </a:lnTo>
                    <a:lnTo>
                      <a:pt x="84" y="1608"/>
                    </a:lnTo>
                    <a:lnTo>
                      <a:pt x="108" y="1650"/>
                    </a:lnTo>
                    <a:lnTo>
                      <a:pt x="108" y="1692"/>
                    </a:lnTo>
                    <a:lnTo>
                      <a:pt x="114" y="1704"/>
                    </a:lnTo>
                    <a:lnTo>
                      <a:pt x="144" y="1734"/>
                    </a:lnTo>
                    <a:lnTo>
                      <a:pt x="156" y="1758"/>
                    </a:lnTo>
                    <a:lnTo>
                      <a:pt x="156" y="1800"/>
                    </a:lnTo>
                    <a:lnTo>
                      <a:pt x="150" y="1812"/>
                    </a:lnTo>
                    <a:lnTo>
                      <a:pt x="150" y="1824"/>
                    </a:lnTo>
                    <a:lnTo>
                      <a:pt x="162" y="1836"/>
                    </a:lnTo>
                    <a:lnTo>
                      <a:pt x="162" y="1896"/>
                    </a:lnTo>
                    <a:lnTo>
                      <a:pt x="168" y="1908"/>
                    </a:lnTo>
                    <a:lnTo>
                      <a:pt x="174" y="1914"/>
                    </a:lnTo>
                    <a:lnTo>
                      <a:pt x="186" y="1920"/>
                    </a:lnTo>
                    <a:lnTo>
                      <a:pt x="192" y="1926"/>
                    </a:lnTo>
                    <a:lnTo>
                      <a:pt x="198" y="1926"/>
                    </a:lnTo>
                    <a:lnTo>
                      <a:pt x="192" y="1944"/>
                    </a:lnTo>
                    <a:lnTo>
                      <a:pt x="234" y="1944"/>
                    </a:lnTo>
                    <a:lnTo>
                      <a:pt x="234" y="1914"/>
                    </a:lnTo>
                    <a:lnTo>
                      <a:pt x="246" y="1926"/>
                    </a:lnTo>
                    <a:lnTo>
                      <a:pt x="258" y="1932"/>
                    </a:lnTo>
                    <a:lnTo>
                      <a:pt x="270" y="1932"/>
                    </a:lnTo>
                    <a:lnTo>
                      <a:pt x="276" y="1926"/>
                    </a:lnTo>
                    <a:lnTo>
                      <a:pt x="276" y="1914"/>
                    </a:lnTo>
                    <a:lnTo>
                      <a:pt x="288" y="1932"/>
                    </a:lnTo>
                    <a:lnTo>
                      <a:pt x="282" y="1938"/>
                    </a:lnTo>
                    <a:lnTo>
                      <a:pt x="270" y="1944"/>
                    </a:lnTo>
                    <a:lnTo>
                      <a:pt x="264" y="1956"/>
                    </a:lnTo>
                    <a:lnTo>
                      <a:pt x="258" y="1962"/>
                    </a:lnTo>
                    <a:lnTo>
                      <a:pt x="258" y="1968"/>
                    </a:lnTo>
                    <a:lnTo>
                      <a:pt x="288" y="1968"/>
                    </a:lnTo>
                    <a:lnTo>
                      <a:pt x="294" y="1974"/>
                    </a:lnTo>
                    <a:lnTo>
                      <a:pt x="294" y="1992"/>
                    </a:lnTo>
                    <a:lnTo>
                      <a:pt x="270" y="1986"/>
                    </a:lnTo>
                    <a:lnTo>
                      <a:pt x="288" y="2010"/>
                    </a:lnTo>
                    <a:lnTo>
                      <a:pt x="276" y="2022"/>
                    </a:lnTo>
                    <a:lnTo>
                      <a:pt x="294" y="2046"/>
                    </a:lnTo>
                    <a:lnTo>
                      <a:pt x="276" y="2064"/>
                    </a:lnTo>
                    <a:lnTo>
                      <a:pt x="270" y="2076"/>
                    </a:lnTo>
                    <a:lnTo>
                      <a:pt x="270" y="2082"/>
                    </a:lnTo>
                    <a:lnTo>
                      <a:pt x="276" y="2088"/>
                    </a:lnTo>
                    <a:lnTo>
                      <a:pt x="282" y="2088"/>
                    </a:lnTo>
                    <a:lnTo>
                      <a:pt x="306" y="2100"/>
                    </a:lnTo>
                    <a:lnTo>
                      <a:pt x="318" y="2100"/>
                    </a:lnTo>
                    <a:lnTo>
                      <a:pt x="300" y="2118"/>
                    </a:lnTo>
                    <a:lnTo>
                      <a:pt x="300" y="2130"/>
                    </a:lnTo>
                    <a:lnTo>
                      <a:pt x="312" y="2136"/>
                    </a:lnTo>
                    <a:lnTo>
                      <a:pt x="318" y="2142"/>
                    </a:lnTo>
                    <a:lnTo>
                      <a:pt x="330" y="2148"/>
                    </a:lnTo>
                    <a:lnTo>
                      <a:pt x="354" y="2148"/>
                    </a:lnTo>
                    <a:lnTo>
                      <a:pt x="360" y="2184"/>
                    </a:lnTo>
                    <a:lnTo>
                      <a:pt x="354" y="2184"/>
                    </a:lnTo>
                    <a:lnTo>
                      <a:pt x="324" y="2214"/>
                    </a:lnTo>
                    <a:lnTo>
                      <a:pt x="324" y="2220"/>
                    </a:lnTo>
                    <a:lnTo>
                      <a:pt x="330" y="2226"/>
                    </a:lnTo>
                    <a:lnTo>
                      <a:pt x="354" y="2226"/>
                    </a:lnTo>
                    <a:lnTo>
                      <a:pt x="366" y="2232"/>
                    </a:lnTo>
                    <a:lnTo>
                      <a:pt x="378" y="2244"/>
                    </a:lnTo>
                    <a:lnTo>
                      <a:pt x="348" y="2244"/>
                    </a:lnTo>
                    <a:lnTo>
                      <a:pt x="342" y="2238"/>
                    </a:lnTo>
                    <a:lnTo>
                      <a:pt x="330" y="2238"/>
                    </a:lnTo>
                    <a:lnTo>
                      <a:pt x="324" y="2244"/>
                    </a:lnTo>
                    <a:lnTo>
                      <a:pt x="324" y="2250"/>
                    </a:lnTo>
                    <a:lnTo>
                      <a:pt x="354" y="2256"/>
                    </a:lnTo>
                    <a:lnTo>
                      <a:pt x="330" y="2268"/>
                    </a:lnTo>
                    <a:lnTo>
                      <a:pt x="336" y="2292"/>
                    </a:lnTo>
                    <a:lnTo>
                      <a:pt x="348" y="2292"/>
                    </a:lnTo>
                    <a:lnTo>
                      <a:pt x="348" y="2316"/>
                    </a:lnTo>
                    <a:lnTo>
                      <a:pt x="336" y="2328"/>
                    </a:lnTo>
                    <a:lnTo>
                      <a:pt x="336" y="2322"/>
                    </a:lnTo>
                    <a:lnTo>
                      <a:pt x="330" y="2316"/>
                    </a:lnTo>
                    <a:lnTo>
                      <a:pt x="324" y="2304"/>
                    </a:lnTo>
                    <a:lnTo>
                      <a:pt x="324" y="2298"/>
                    </a:lnTo>
                    <a:lnTo>
                      <a:pt x="288" y="2298"/>
                    </a:lnTo>
                    <a:lnTo>
                      <a:pt x="306" y="2292"/>
                    </a:lnTo>
                    <a:lnTo>
                      <a:pt x="282" y="2268"/>
                    </a:lnTo>
                    <a:lnTo>
                      <a:pt x="276" y="2268"/>
                    </a:lnTo>
                    <a:lnTo>
                      <a:pt x="276" y="2280"/>
                    </a:lnTo>
                    <a:lnTo>
                      <a:pt x="270" y="2268"/>
                    </a:lnTo>
                    <a:lnTo>
                      <a:pt x="228" y="2280"/>
                    </a:lnTo>
                    <a:lnTo>
                      <a:pt x="264" y="2286"/>
                    </a:lnTo>
                    <a:lnTo>
                      <a:pt x="258" y="2292"/>
                    </a:lnTo>
                    <a:lnTo>
                      <a:pt x="252" y="2304"/>
                    </a:lnTo>
                    <a:lnTo>
                      <a:pt x="246" y="2310"/>
                    </a:lnTo>
                    <a:lnTo>
                      <a:pt x="234" y="2316"/>
                    </a:lnTo>
                    <a:lnTo>
                      <a:pt x="228" y="2328"/>
                    </a:lnTo>
                    <a:lnTo>
                      <a:pt x="222" y="2334"/>
                    </a:lnTo>
                    <a:lnTo>
                      <a:pt x="222" y="2340"/>
                    </a:lnTo>
                    <a:lnTo>
                      <a:pt x="228" y="2346"/>
                    </a:lnTo>
                    <a:lnTo>
                      <a:pt x="240" y="2352"/>
                    </a:lnTo>
                    <a:lnTo>
                      <a:pt x="252" y="2352"/>
                    </a:lnTo>
                    <a:lnTo>
                      <a:pt x="252" y="2346"/>
                    </a:lnTo>
                    <a:lnTo>
                      <a:pt x="240" y="2334"/>
                    </a:lnTo>
                    <a:lnTo>
                      <a:pt x="264" y="2328"/>
                    </a:lnTo>
                    <a:lnTo>
                      <a:pt x="282" y="2346"/>
                    </a:lnTo>
                    <a:lnTo>
                      <a:pt x="324" y="2346"/>
                    </a:lnTo>
                    <a:lnTo>
                      <a:pt x="336" y="2352"/>
                    </a:lnTo>
                    <a:lnTo>
                      <a:pt x="342" y="2364"/>
                    </a:lnTo>
                    <a:lnTo>
                      <a:pt x="354" y="2370"/>
                    </a:lnTo>
                    <a:lnTo>
                      <a:pt x="354" y="2376"/>
                    </a:lnTo>
                    <a:lnTo>
                      <a:pt x="336" y="2394"/>
                    </a:lnTo>
                    <a:lnTo>
                      <a:pt x="342" y="2406"/>
                    </a:lnTo>
                    <a:lnTo>
                      <a:pt x="360" y="2406"/>
                    </a:lnTo>
                    <a:lnTo>
                      <a:pt x="360" y="2418"/>
                    </a:lnTo>
                    <a:lnTo>
                      <a:pt x="378" y="2424"/>
                    </a:lnTo>
                    <a:lnTo>
                      <a:pt x="384" y="2406"/>
                    </a:lnTo>
                    <a:lnTo>
                      <a:pt x="402" y="2424"/>
                    </a:lnTo>
                    <a:lnTo>
                      <a:pt x="408" y="2424"/>
                    </a:lnTo>
                    <a:lnTo>
                      <a:pt x="420" y="2430"/>
                    </a:lnTo>
                    <a:lnTo>
                      <a:pt x="426" y="2436"/>
                    </a:lnTo>
                    <a:lnTo>
                      <a:pt x="426" y="2448"/>
                    </a:lnTo>
                    <a:lnTo>
                      <a:pt x="414" y="2460"/>
                    </a:lnTo>
                    <a:lnTo>
                      <a:pt x="408" y="2454"/>
                    </a:lnTo>
                    <a:lnTo>
                      <a:pt x="396" y="2454"/>
                    </a:lnTo>
                    <a:lnTo>
                      <a:pt x="384" y="2448"/>
                    </a:lnTo>
                    <a:lnTo>
                      <a:pt x="378" y="2442"/>
                    </a:lnTo>
                    <a:lnTo>
                      <a:pt x="366" y="2442"/>
                    </a:lnTo>
                    <a:lnTo>
                      <a:pt x="366" y="2454"/>
                    </a:lnTo>
                    <a:lnTo>
                      <a:pt x="372" y="2460"/>
                    </a:lnTo>
                    <a:lnTo>
                      <a:pt x="378" y="2460"/>
                    </a:lnTo>
                    <a:lnTo>
                      <a:pt x="390" y="2472"/>
                    </a:lnTo>
                    <a:lnTo>
                      <a:pt x="402" y="2496"/>
                    </a:lnTo>
                    <a:lnTo>
                      <a:pt x="402" y="2508"/>
                    </a:lnTo>
                    <a:lnTo>
                      <a:pt x="384" y="2508"/>
                    </a:lnTo>
                    <a:lnTo>
                      <a:pt x="396" y="2526"/>
                    </a:lnTo>
                    <a:lnTo>
                      <a:pt x="414" y="2562"/>
                    </a:lnTo>
                    <a:lnTo>
                      <a:pt x="426" y="2520"/>
                    </a:lnTo>
                    <a:lnTo>
                      <a:pt x="426" y="2550"/>
                    </a:lnTo>
                    <a:lnTo>
                      <a:pt x="444" y="2574"/>
                    </a:lnTo>
                    <a:lnTo>
                      <a:pt x="420" y="2574"/>
                    </a:lnTo>
                    <a:lnTo>
                      <a:pt x="426" y="2592"/>
                    </a:lnTo>
                    <a:lnTo>
                      <a:pt x="450" y="2592"/>
                    </a:lnTo>
                    <a:lnTo>
                      <a:pt x="432" y="2604"/>
                    </a:lnTo>
                    <a:lnTo>
                      <a:pt x="462" y="2616"/>
                    </a:lnTo>
                    <a:lnTo>
                      <a:pt x="444" y="2628"/>
                    </a:lnTo>
                    <a:lnTo>
                      <a:pt x="474" y="2640"/>
                    </a:lnTo>
                    <a:lnTo>
                      <a:pt x="462" y="2652"/>
                    </a:lnTo>
                    <a:lnTo>
                      <a:pt x="480" y="2658"/>
                    </a:lnTo>
                    <a:lnTo>
                      <a:pt x="480" y="2652"/>
                    </a:lnTo>
                    <a:lnTo>
                      <a:pt x="486" y="2640"/>
                    </a:lnTo>
                    <a:lnTo>
                      <a:pt x="486" y="2634"/>
                    </a:lnTo>
                    <a:lnTo>
                      <a:pt x="492" y="2634"/>
                    </a:lnTo>
                    <a:lnTo>
                      <a:pt x="498" y="2640"/>
                    </a:lnTo>
                    <a:lnTo>
                      <a:pt x="504" y="2652"/>
                    </a:lnTo>
                    <a:lnTo>
                      <a:pt x="498" y="2658"/>
                    </a:lnTo>
                    <a:lnTo>
                      <a:pt x="498" y="2664"/>
                    </a:lnTo>
                    <a:lnTo>
                      <a:pt x="492" y="2664"/>
                    </a:lnTo>
                    <a:lnTo>
                      <a:pt x="480" y="2676"/>
                    </a:lnTo>
                    <a:lnTo>
                      <a:pt x="480" y="2682"/>
                    </a:lnTo>
                    <a:lnTo>
                      <a:pt x="486" y="2688"/>
                    </a:lnTo>
                    <a:lnTo>
                      <a:pt x="516" y="2688"/>
                    </a:lnTo>
                    <a:lnTo>
                      <a:pt x="516" y="2700"/>
                    </a:lnTo>
                    <a:lnTo>
                      <a:pt x="540" y="2724"/>
                    </a:lnTo>
                    <a:lnTo>
                      <a:pt x="552" y="2730"/>
                    </a:lnTo>
                    <a:lnTo>
                      <a:pt x="558" y="2736"/>
                    </a:lnTo>
                    <a:lnTo>
                      <a:pt x="558" y="2700"/>
                    </a:lnTo>
                    <a:lnTo>
                      <a:pt x="564" y="2700"/>
                    </a:lnTo>
                    <a:lnTo>
                      <a:pt x="570" y="2706"/>
                    </a:lnTo>
                    <a:lnTo>
                      <a:pt x="582" y="2712"/>
                    </a:lnTo>
                    <a:lnTo>
                      <a:pt x="600" y="2718"/>
                    </a:lnTo>
                    <a:lnTo>
                      <a:pt x="624" y="2742"/>
                    </a:lnTo>
                    <a:lnTo>
                      <a:pt x="618" y="2748"/>
                    </a:lnTo>
                    <a:lnTo>
                      <a:pt x="618" y="2754"/>
                    </a:lnTo>
                    <a:lnTo>
                      <a:pt x="612" y="2760"/>
                    </a:lnTo>
                    <a:lnTo>
                      <a:pt x="630" y="2766"/>
                    </a:lnTo>
                    <a:lnTo>
                      <a:pt x="630" y="2790"/>
                    </a:lnTo>
                    <a:lnTo>
                      <a:pt x="684" y="2790"/>
                    </a:lnTo>
                    <a:lnTo>
                      <a:pt x="696" y="2802"/>
                    </a:lnTo>
                    <a:lnTo>
                      <a:pt x="666" y="2802"/>
                    </a:lnTo>
                    <a:lnTo>
                      <a:pt x="654" y="2814"/>
                    </a:lnTo>
                    <a:lnTo>
                      <a:pt x="630" y="2814"/>
                    </a:lnTo>
                    <a:lnTo>
                      <a:pt x="618" y="2832"/>
                    </a:lnTo>
                    <a:lnTo>
                      <a:pt x="648" y="2832"/>
                    </a:lnTo>
                    <a:lnTo>
                      <a:pt x="636" y="2850"/>
                    </a:lnTo>
                    <a:lnTo>
                      <a:pt x="666" y="2844"/>
                    </a:lnTo>
                    <a:lnTo>
                      <a:pt x="666" y="2826"/>
                    </a:lnTo>
                    <a:lnTo>
                      <a:pt x="690" y="2838"/>
                    </a:lnTo>
                    <a:lnTo>
                      <a:pt x="696" y="2826"/>
                    </a:lnTo>
                    <a:lnTo>
                      <a:pt x="702" y="2820"/>
                    </a:lnTo>
                    <a:lnTo>
                      <a:pt x="714" y="2814"/>
                    </a:lnTo>
                    <a:lnTo>
                      <a:pt x="720" y="2808"/>
                    </a:lnTo>
                    <a:lnTo>
                      <a:pt x="732" y="2808"/>
                    </a:lnTo>
                    <a:lnTo>
                      <a:pt x="732" y="2820"/>
                    </a:lnTo>
                    <a:lnTo>
                      <a:pt x="726" y="2832"/>
                    </a:lnTo>
                    <a:lnTo>
                      <a:pt x="702" y="2856"/>
                    </a:lnTo>
                    <a:lnTo>
                      <a:pt x="696" y="2850"/>
                    </a:lnTo>
                    <a:lnTo>
                      <a:pt x="678" y="2850"/>
                    </a:lnTo>
                    <a:lnTo>
                      <a:pt x="678" y="2868"/>
                    </a:lnTo>
                    <a:lnTo>
                      <a:pt x="642" y="2868"/>
                    </a:lnTo>
                    <a:lnTo>
                      <a:pt x="630" y="2880"/>
                    </a:lnTo>
                    <a:lnTo>
                      <a:pt x="642" y="2886"/>
                    </a:lnTo>
                    <a:lnTo>
                      <a:pt x="648" y="2916"/>
                    </a:lnTo>
                    <a:lnTo>
                      <a:pt x="678" y="2898"/>
                    </a:lnTo>
                    <a:lnTo>
                      <a:pt x="684" y="2910"/>
                    </a:lnTo>
                    <a:lnTo>
                      <a:pt x="684" y="2916"/>
                    </a:lnTo>
                    <a:lnTo>
                      <a:pt x="690" y="2916"/>
                    </a:lnTo>
                    <a:lnTo>
                      <a:pt x="696" y="2910"/>
                    </a:lnTo>
                    <a:lnTo>
                      <a:pt x="702" y="2898"/>
                    </a:lnTo>
                    <a:lnTo>
                      <a:pt x="702" y="2892"/>
                    </a:lnTo>
                    <a:lnTo>
                      <a:pt x="708" y="2880"/>
                    </a:lnTo>
                    <a:lnTo>
                      <a:pt x="714" y="2874"/>
                    </a:lnTo>
                    <a:close/>
                  </a:path>
                </a:pathLst>
              </a:custGeom>
              <a:solidFill>
                <a:schemeClr val="accent2"/>
              </a:solidFill>
              <a:ln w="3175">
                <a:solidFill>
                  <a:schemeClr val="accent2"/>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panose="020F0502020204030203" pitchFamily="34" charset="0"/>
                  <a:ea typeface="+mn-ea"/>
                  <a:cs typeface="+mn-cs"/>
                </a:endParaRPr>
              </a:p>
            </p:txBody>
          </p:sp>
          <p:sp>
            <p:nvSpPr>
              <p:cNvPr id="469" name="Brazil" descr="© INSCALE GmbH, 05.05.2010&#10;http://www.presentationload.com/">
                <a:extLst>
                  <a:ext uri="{FF2B5EF4-FFF2-40B4-BE49-F238E27FC236}">
                    <a16:creationId xmlns:a16="http://schemas.microsoft.com/office/drawing/2014/main" id="{D4436E08-A6C2-3471-B382-351E4992FF02}"/>
                  </a:ext>
                </a:extLst>
              </p:cNvPr>
              <p:cNvSpPr>
                <a:spLocks/>
              </p:cNvSpPr>
              <p:nvPr/>
            </p:nvSpPr>
            <p:spPr bwMode="gray">
              <a:xfrm>
                <a:off x="2797071" y="4452134"/>
                <a:ext cx="1076096" cy="1015284"/>
              </a:xfrm>
              <a:custGeom>
                <a:avLst/>
                <a:gdLst>
                  <a:gd name="T0" fmla="*/ 2147483647 w 2784"/>
                  <a:gd name="T1" fmla="*/ 2147483647 h 3150"/>
                  <a:gd name="T2" fmla="*/ 2147483647 w 2784"/>
                  <a:gd name="T3" fmla="*/ 2147483647 h 3150"/>
                  <a:gd name="T4" fmla="*/ 2147483647 w 2784"/>
                  <a:gd name="T5" fmla="*/ 2147483647 h 3150"/>
                  <a:gd name="T6" fmla="*/ 2147483647 w 2784"/>
                  <a:gd name="T7" fmla="*/ 2147483647 h 3150"/>
                  <a:gd name="T8" fmla="*/ 2147483647 w 2784"/>
                  <a:gd name="T9" fmla="*/ 2147483647 h 3150"/>
                  <a:gd name="T10" fmla="*/ 2147483647 w 2784"/>
                  <a:gd name="T11" fmla="*/ 2147483647 h 3150"/>
                  <a:gd name="T12" fmla="*/ 2147483647 w 2784"/>
                  <a:gd name="T13" fmla="*/ 2147483647 h 3150"/>
                  <a:gd name="T14" fmla="*/ 2147483647 w 2784"/>
                  <a:gd name="T15" fmla="*/ 2147483647 h 3150"/>
                  <a:gd name="T16" fmla="*/ 2147483647 w 2784"/>
                  <a:gd name="T17" fmla="*/ 2147483647 h 3150"/>
                  <a:gd name="T18" fmla="*/ 2147483647 w 2784"/>
                  <a:gd name="T19" fmla="*/ 2147483647 h 3150"/>
                  <a:gd name="T20" fmla="*/ 2147483647 w 2784"/>
                  <a:gd name="T21" fmla="*/ 2147483647 h 3150"/>
                  <a:gd name="T22" fmla="*/ 2147483647 w 2784"/>
                  <a:gd name="T23" fmla="*/ 2147483647 h 3150"/>
                  <a:gd name="T24" fmla="*/ 2147483647 w 2784"/>
                  <a:gd name="T25" fmla="*/ 2147483647 h 3150"/>
                  <a:gd name="T26" fmla="*/ 2147483647 w 2784"/>
                  <a:gd name="T27" fmla="*/ 2147483647 h 3150"/>
                  <a:gd name="T28" fmla="*/ 2147483647 w 2784"/>
                  <a:gd name="T29" fmla="*/ 2147483647 h 3150"/>
                  <a:gd name="T30" fmla="*/ 2147483647 w 2784"/>
                  <a:gd name="T31" fmla="*/ 2147483647 h 3150"/>
                  <a:gd name="T32" fmla="*/ 2147483647 w 2784"/>
                  <a:gd name="T33" fmla="*/ 2147483647 h 3150"/>
                  <a:gd name="T34" fmla="*/ 2147483647 w 2784"/>
                  <a:gd name="T35" fmla="*/ 2147483647 h 3150"/>
                  <a:gd name="T36" fmla="*/ 2147483647 w 2784"/>
                  <a:gd name="T37" fmla="*/ 2147483647 h 3150"/>
                  <a:gd name="T38" fmla="*/ 2147483647 w 2784"/>
                  <a:gd name="T39" fmla="*/ 2147483647 h 3150"/>
                  <a:gd name="T40" fmla="*/ 2147483647 w 2784"/>
                  <a:gd name="T41" fmla="*/ 2147483647 h 3150"/>
                  <a:gd name="T42" fmla="*/ 2147483647 w 2784"/>
                  <a:gd name="T43" fmla="*/ 2147483647 h 3150"/>
                  <a:gd name="T44" fmla="*/ 2147483647 w 2784"/>
                  <a:gd name="T45" fmla="*/ 2147483647 h 3150"/>
                  <a:gd name="T46" fmla="*/ 2147483647 w 2784"/>
                  <a:gd name="T47" fmla="*/ 2147483647 h 3150"/>
                  <a:gd name="T48" fmla="*/ 2147483647 w 2784"/>
                  <a:gd name="T49" fmla="*/ 2147483647 h 3150"/>
                  <a:gd name="T50" fmla="*/ 2147483647 w 2784"/>
                  <a:gd name="T51" fmla="*/ 2147483647 h 3150"/>
                  <a:gd name="T52" fmla="*/ 2147483647 w 2784"/>
                  <a:gd name="T53" fmla="*/ 2147483647 h 3150"/>
                  <a:gd name="T54" fmla="*/ 2147483647 w 2784"/>
                  <a:gd name="T55" fmla="*/ 2147483647 h 3150"/>
                  <a:gd name="T56" fmla="*/ 2147483647 w 2784"/>
                  <a:gd name="T57" fmla="*/ 2147483647 h 3150"/>
                  <a:gd name="T58" fmla="*/ 2147483647 w 2784"/>
                  <a:gd name="T59" fmla="*/ 2147483647 h 3150"/>
                  <a:gd name="T60" fmla="*/ 2147483647 w 2784"/>
                  <a:gd name="T61" fmla="*/ 2147483647 h 3150"/>
                  <a:gd name="T62" fmla="*/ 2147483647 w 2784"/>
                  <a:gd name="T63" fmla="*/ 2147483647 h 3150"/>
                  <a:gd name="T64" fmla="*/ 2147483647 w 2784"/>
                  <a:gd name="T65" fmla="*/ 2147483647 h 3150"/>
                  <a:gd name="T66" fmla="*/ 2147483647 w 2784"/>
                  <a:gd name="T67" fmla="*/ 2147483647 h 3150"/>
                  <a:gd name="T68" fmla="*/ 2147483647 w 2784"/>
                  <a:gd name="T69" fmla="*/ 2147483647 h 3150"/>
                  <a:gd name="T70" fmla="*/ 2147483647 w 2784"/>
                  <a:gd name="T71" fmla="*/ 2147483647 h 3150"/>
                  <a:gd name="T72" fmla="*/ 2147483647 w 2784"/>
                  <a:gd name="T73" fmla="*/ 2147483647 h 3150"/>
                  <a:gd name="T74" fmla="*/ 2147483647 w 2784"/>
                  <a:gd name="T75" fmla="*/ 2147483647 h 3150"/>
                  <a:gd name="T76" fmla="*/ 2147483647 w 2784"/>
                  <a:gd name="T77" fmla="*/ 2147483647 h 3150"/>
                  <a:gd name="T78" fmla="*/ 2147483647 w 2784"/>
                  <a:gd name="T79" fmla="*/ 2147483647 h 3150"/>
                  <a:gd name="T80" fmla="*/ 2147483647 w 2784"/>
                  <a:gd name="T81" fmla="*/ 2147483647 h 3150"/>
                  <a:gd name="T82" fmla="*/ 2147483647 w 2784"/>
                  <a:gd name="T83" fmla="*/ 2147483647 h 3150"/>
                  <a:gd name="T84" fmla="*/ 2147483647 w 2784"/>
                  <a:gd name="T85" fmla="*/ 2147483647 h 3150"/>
                  <a:gd name="T86" fmla="*/ 2147483647 w 2784"/>
                  <a:gd name="T87" fmla="*/ 2147483647 h 3150"/>
                  <a:gd name="T88" fmla="*/ 2147483647 w 2784"/>
                  <a:gd name="T89" fmla="*/ 2147483647 h 3150"/>
                  <a:gd name="T90" fmla="*/ 2147483647 w 2784"/>
                  <a:gd name="T91" fmla="*/ 2147483647 h 3150"/>
                  <a:gd name="T92" fmla="*/ 2147483647 w 2784"/>
                  <a:gd name="T93" fmla="*/ 2147483647 h 3150"/>
                  <a:gd name="T94" fmla="*/ 2147483647 w 2784"/>
                  <a:gd name="T95" fmla="*/ 2147483647 h 3150"/>
                  <a:gd name="T96" fmla="*/ 2147483647 w 2784"/>
                  <a:gd name="T97" fmla="*/ 2147483647 h 3150"/>
                  <a:gd name="T98" fmla="*/ 2147483647 w 2784"/>
                  <a:gd name="T99" fmla="*/ 2147483647 h 3150"/>
                  <a:gd name="T100" fmla="*/ 2147483647 w 2784"/>
                  <a:gd name="T101" fmla="*/ 2147483647 h 3150"/>
                  <a:gd name="T102" fmla="*/ 2147483647 w 2784"/>
                  <a:gd name="T103" fmla="*/ 2147483647 h 3150"/>
                  <a:gd name="T104" fmla="*/ 2147483647 w 2784"/>
                  <a:gd name="T105" fmla="*/ 2147483647 h 3150"/>
                  <a:gd name="T106" fmla="*/ 2147483647 w 2784"/>
                  <a:gd name="T107" fmla="*/ 2147483647 h 3150"/>
                  <a:gd name="T108" fmla="*/ 2147483647 w 2784"/>
                  <a:gd name="T109" fmla="*/ 2147483647 h 3150"/>
                  <a:gd name="T110" fmla="*/ 2147483647 w 2784"/>
                  <a:gd name="T111" fmla="*/ 2147483647 h 3150"/>
                  <a:gd name="T112" fmla="*/ 2147483647 w 2784"/>
                  <a:gd name="T113" fmla="*/ 2147483647 h 3150"/>
                  <a:gd name="T114" fmla="*/ 2147483647 w 2784"/>
                  <a:gd name="T115" fmla="*/ 2147483647 h 3150"/>
                  <a:gd name="T116" fmla="*/ 2147483647 w 2784"/>
                  <a:gd name="T117" fmla="*/ 2147483647 h 3150"/>
                  <a:gd name="T118" fmla="*/ 2147483647 w 2784"/>
                  <a:gd name="T119" fmla="*/ 2147483647 h 31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784"/>
                  <a:gd name="T181" fmla="*/ 0 h 3150"/>
                  <a:gd name="T182" fmla="*/ 2784 w 2784"/>
                  <a:gd name="T183" fmla="*/ 3150 h 315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784" h="3150">
                    <a:moveTo>
                      <a:pt x="1716" y="450"/>
                    </a:moveTo>
                    <a:lnTo>
                      <a:pt x="1710" y="450"/>
                    </a:lnTo>
                    <a:lnTo>
                      <a:pt x="1698" y="444"/>
                    </a:lnTo>
                    <a:lnTo>
                      <a:pt x="1680" y="444"/>
                    </a:lnTo>
                    <a:lnTo>
                      <a:pt x="1662" y="438"/>
                    </a:lnTo>
                    <a:lnTo>
                      <a:pt x="1650" y="438"/>
                    </a:lnTo>
                    <a:lnTo>
                      <a:pt x="1644" y="444"/>
                    </a:lnTo>
                    <a:lnTo>
                      <a:pt x="1644" y="450"/>
                    </a:lnTo>
                    <a:lnTo>
                      <a:pt x="1650" y="462"/>
                    </a:lnTo>
                    <a:lnTo>
                      <a:pt x="1650" y="468"/>
                    </a:lnTo>
                    <a:lnTo>
                      <a:pt x="1656" y="480"/>
                    </a:lnTo>
                    <a:lnTo>
                      <a:pt x="1638" y="480"/>
                    </a:lnTo>
                    <a:lnTo>
                      <a:pt x="1638" y="504"/>
                    </a:lnTo>
                    <a:lnTo>
                      <a:pt x="1656" y="516"/>
                    </a:lnTo>
                    <a:lnTo>
                      <a:pt x="1644" y="528"/>
                    </a:lnTo>
                    <a:lnTo>
                      <a:pt x="1644" y="540"/>
                    </a:lnTo>
                    <a:lnTo>
                      <a:pt x="1656" y="564"/>
                    </a:lnTo>
                    <a:lnTo>
                      <a:pt x="1668" y="570"/>
                    </a:lnTo>
                    <a:lnTo>
                      <a:pt x="1674" y="576"/>
                    </a:lnTo>
                    <a:lnTo>
                      <a:pt x="1686" y="576"/>
                    </a:lnTo>
                    <a:lnTo>
                      <a:pt x="1698" y="570"/>
                    </a:lnTo>
                    <a:lnTo>
                      <a:pt x="1710" y="570"/>
                    </a:lnTo>
                    <a:lnTo>
                      <a:pt x="1716" y="564"/>
                    </a:lnTo>
                    <a:lnTo>
                      <a:pt x="1716" y="558"/>
                    </a:lnTo>
                    <a:lnTo>
                      <a:pt x="1728" y="558"/>
                    </a:lnTo>
                    <a:lnTo>
                      <a:pt x="1740" y="552"/>
                    </a:lnTo>
                    <a:lnTo>
                      <a:pt x="1758" y="552"/>
                    </a:lnTo>
                    <a:lnTo>
                      <a:pt x="1770" y="546"/>
                    </a:lnTo>
                    <a:lnTo>
                      <a:pt x="1776" y="534"/>
                    </a:lnTo>
                    <a:lnTo>
                      <a:pt x="1788" y="492"/>
                    </a:lnTo>
                    <a:lnTo>
                      <a:pt x="1794" y="480"/>
                    </a:lnTo>
                    <a:lnTo>
                      <a:pt x="1794" y="474"/>
                    </a:lnTo>
                    <a:lnTo>
                      <a:pt x="1800" y="462"/>
                    </a:lnTo>
                    <a:lnTo>
                      <a:pt x="1800" y="444"/>
                    </a:lnTo>
                    <a:lnTo>
                      <a:pt x="1794" y="438"/>
                    </a:lnTo>
                    <a:lnTo>
                      <a:pt x="1752" y="438"/>
                    </a:lnTo>
                    <a:lnTo>
                      <a:pt x="1740" y="444"/>
                    </a:lnTo>
                    <a:lnTo>
                      <a:pt x="1734" y="444"/>
                    </a:lnTo>
                    <a:lnTo>
                      <a:pt x="1722" y="450"/>
                    </a:lnTo>
                    <a:lnTo>
                      <a:pt x="1716" y="450"/>
                    </a:lnTo>
                    <a:close/>
                    <a:moveTo>
                      <a:pt x="1716" y="438"/>
                    </a:moveTo>
                    <a:lnTo>
                      <a:pt x="1740" y="432"/>
                    </a:lnTo>
                    <a:lnTo>
                      <a:pt x="1722" y="414"/>
                    </a:lnTo>
                    <a:lnTo>
                      <a:pt x="1698" y="438"/>
                    </a:lnTo>
                    <a:lnTo>
                      <a:pt x="1716" y="438"/>
                    </a:lnTo>
                    <a:close/>
                    <a:moveTo>
                      <a:pt x="1686" y="408"/>
                    </a:moveTo>
                    <a:lnTo>
                      <a:pt x="1662" y="408"/>
                    </a:lnTo>
                    <a:lnTo>
                      <a:pt x="1662" y="426"/>
                    </a:lnTo>
                    <a:lnTo>
                      <a:pt x="1698" y="426"/>
                    </a:lnTo>
                    <a:lnTo>
                      <a:pt x="1716" y="402"/>
                    </a:lnTo>
                    <a:lnTo>
                      <a:pt x="1698" y="384"/>
                    </a:lnTo>
                    <a:lnTo>
                      <a:pt x="1686" y="408"/>
                    </a:lnTo>
                    <a:close/>
                    <a:moveTo>
                      <a:pt x="1572" y="492"/>
                    </a:moveTo>
                    <a:lnTo>
                      <a:pt x="1572" y="510"/>
                    </a:lnTo>
                    <a:lnTo>
                      <a:pt x="1554" y="546"/>
                    </a:lnTo>
                    <a:lnTo>
                      <a:pt x="1584" y="528"/>
                    </a:lnTo>
                    <a:lnTo>
                      <a:pt x="1590" y="516"/>
                    </a:lnTo>
                    <a:lnTo>
                      <a:pt x="1596" y="510"/>
                    </a:lnTo>
                    <a:lnTo>
                      <a:pt x="1608" y="486"/>
                    </a:lnTo>
                    <a:lnTo>
                      <a:pt x="1608" y="480"/>
                    </a:lnTo>
                    <a:lnTo>
                      <a:pt x="1602" y="474"/>
                    </a:lnTo>
                    <a:lnTo>
                      <a:pt x="1596" y="474"/>
                    </a:lnTo>
                    <a:lnTo>
                      <a:pt x="1584" y="480"/>
                    </a:lnTo>
                    <a:lnTo>
                      <a:pt x="1572" y="492"/>
                    </a:lnTo>
                    <a:close/>
                    <a:moveTo>
                      <a:pt x="1632" y="426"/>
                    </a:moveTo>
                    <a:lnTo>
                      <a:pt x="1608" y="450"/>
                    </a:lnTo>
                    <a:lnTo>
                      <a:pt x="1626" y="456"/>
                    </a:lnTo>
                    <a:lnTo>
                      <a:pt x="1644" y="432"/>
                    </a:lnTo>
                    <a:lnTo>
                      <a:pt x="1632" y="426"/>
                    </a:lnTo>
                    <a:close/>
                    <a:moveTo>
                      <a:pt x="2778" y="1002"/>
                    </a:moveTo>
                    <a:lnTo>
                      <a:pt x="2778" y="984"/>
                    </a:lnTo>
                    <a:lnTo>
                      <a:pt x="2772" y="972"/>
                    </a:lnTo>
                    <a:lnTo>
                      <a:pt x="2760" y="954"/>
                    </a:lnTo>
                    <a:lnTo>
                      <a:pt x="2754" y="936"/>
                    </a:lnTo>
                    <a:lnTo>
                      <a:pt x="2754" y="870"/>
                    </a:lnTo>
                    <a:lnTo>
                      <a:pt x="2724" y="840"/>
                    </a:lnTo>
                    <a:lnTo>
                      <a:pt x="2694" y="834"/>
                    </a:lnTo>
                    <a:lnTo>
                      <a:pt x="2646" y="840"/>
                    </a:lnTo>
                    <a:lnTo>
                      <a:pt x="2628" y="822"/>
                    </a:lnTo>
                    <a:lnTo>
                      <a:pt x="2610" y="822"/>
                    </a:lnTo>
                    <a:lnTo>
                      <a:pt x="2592" y="798"/>
                    </a:lnTo>
                    <a:lnTo>
                      <a:pt x="2568" y="798"/>
                    </a:lnTo>
                    <a:lnTo>
                      <a:pt x="2538" y="768"/>
                    </a:lnTo>
                    <a:lnTo>
                      <a:pt x="2526" y="750"/>
                    </a:lnTo>
                    <a:lnTo>
                      <a:pt x="2490" y="714"/>
                    </a:lnTo>
                    <a:lnTo>
                      <a:pt x="2418" y="666"/>
                    </a:lnTo>
                    <a:lnTo>
                      <a:pt x="2394" y="660"/>
                    </a:lnTo>
                    <a:lnTo>
                      <a:pt x="2316" y="660"/>
                    </a:lnTo>
                    <a:lnTo>
                      <a:pt x="2316" y="672"/>
                    </a:lnTo>
                    <a:lnTo>
                      <a:pt x="2310" y="672"/>
                    </a:lnTo>
                    <a:lnTo>
                      <a:pt x="2298" y="660"/>
                    </a:lnTo>
                    <a:lnTo>
                      <a:pt x="2286" y="654"/>
                    </a:lnTo>
                    <a:lnTo>
                      <a:pt x="2274" y="654"/>
                    </a:lnTo>
                    <a:lnTo>
                      <a:pt x="2262" y="648"/>
                    </a:lnTo>
                    <a:lnTo>
                      <a:pt x="2232" y="648"/>
                    </a:lnTo>
                    <a:lnTo>
                      <a:pt x="2226" y="642"/>
                    </a:lnTo>
                    <a:lnTo>
                      <a:pt x="2214" y="636"/>
                    </a:lnTo>
                    <a:lnTo>
                      <a:pt x="2196" y="630"/>
                    </a:lnTo>
                    <a:lnTo>
                      <a:pt x="2184" y="624"/>
                    </a:lnTo>
                    <a:lnTo>
                      <a:pt x="2166" y="618"/>
                    </a:lnTo>
                    <a:lnTo>
                      <a:pt x="2154" y="618"/>
                    </a:lnTo>
                    <a:lnTo>
                      <a:pt x="2142" y="624"/>
                    </a:lnTo>
                    <a:lnTo>
                      <a:pt x="2112" y="654"/>
                    </a:lnTo>
                    <a:lnTo>
                      <a:pt x="2106" y="666"/>
                    </a:lnTo>
                    <a:lnTo>
                      <a:pt x="2088" y="642"/>
                    </a:lnTo>
                    <a:lnTo>
                      <a:pt x="2088" y="678"/>
                    </a:lnTo>
                    <a:lnTo>
                      <a:pt x="2058" y="702"/>
                    </a:lnTo>
                    <a:lnTo>
                      <a:pt x="2076" y="636"/>
                    </a:lnTo>
                    <a:lnTo>
                      <a:pt x="2082" y="636"/>
                    </a:lnTo>
                    <a:lnTo>
                      <a:pt x="2094" y="624"/>
                    </a:lnTo>
                    <a:lnTo>
                      <a:pt x="2094" y="606"/>
                    </a:lnTo>
                    <a:lnTo>
                      <a:pt x="2088" y="600"/>
                    </a:lnTo>
                    <a:lnTo>
                      <a:pt x="2082" y="600"/>
                    </a:lnTo>
                    <a:lnTo>
                      <a:pt x="2064" y="618"/>
                    </a:lnTo>
                    <a:lnTo>
                      <a:pt x="2076" y="582"/>
                    </a:lnTo>
                    <a:lnTo>
                      <a:pt x="2070" y="582"/>
                    </a:lnTo>
                    <a:lnTo>
                      <a:pt x="2064" y="576"/>
                    </a:lnTo>
                    <a:lnTo>
                      <a:pt x="2064" y="570"/>
                    </a:lnTo>
                    <a:lnTo>
                      <a:pt x="2040" y="546"/>
                    </a:lnTo>
                    <a:lnTo>
                      <a:pt x="2034" y="546"/>
                    </a:lnTo>
                    <a:lnTo>
                      <a:pt x="2022" y="564"/>
                    </a:lnTo>
                    <a:lnTo>
                      <a:pt x="2016" y="552"/>
                    </a:lnTo>
                    <a:lnTo>
                      <a:pt x="2004" y="546"/>
                    </a:lnTo>
                    <a:lnTo>
                      <a:pt x="1998" y="534"/>
                    </a:lnTo>
                    <a:lnTo>
                      <a:pt x="1986" y="528"/>
                    </a:lnTo>
                    <a:lnTo>
                      <a:pt x="1980" y="522"/>
                    </a:lnTo>
                    <a:lnTo>
                      <a:pt x="1968" y="516"/>
                    </a:lnTo>
                    <a:lnTo>
                      <a:pt x="1944" y="516"/>
                    </a:lnTo>
                    <a:lnTo>
                      <a:pt x="1932" y="510"/>
                    </a:lnTo>
                    <a:lnTo>
                      <a:pt x="1926" y="510"/>
                    </a:lnTo>
                    <a:lnTo>
                      <a:pt x="1914" y="498"/>
                    </a:lnTo>
                    <a:lnTo>
                      <a:pt x="1902" y="492"/>
                    </a:lnTo>
                    <a:lnTo>
                      <a:pt x="1896" y="480"/>
                    </a:lnTo>
                    <a:lnTo>
                      <a:pt x="1884" y="474"/>
                    </a:lnTo>
                    <a:lnTo>
                      <a:pt x="1878" y="486"/>
                    </a:lnTo>
                    <a:lnTo>
                      <a:pt x="1824" y="486"/>
                    </a:lnTo>
                    <a:lnTo>
                      <a:pt x="1812" y="498"/>
                    </a:lnTo>
                    <a:lnTo>
                      <a:pt x="1806" y="510"/>
                    </a:lnTo>
                    <a:lnTo>
                      <a:pt x="1806" y="522"/>
                    </a:lnTo>
                    <a:lnTo>
                      <a:pt x="1800" y="528"/>
                    </a:lnTo>
                    <a:lnTo>
                      <a:pt x="1800" y="534"/>
                    </a:lnTo>
                    <a:lnTo>
                      <a:pt x="1812" y="552"/>
                    </a:lnTo>
                    <a:lnTo>
                      <a:pt x="1776" y="552"/>
                    </a:lnTo>
                    <a:lnTo>
                      <a:pt x="1770" y="564"/>
                    </a:lnTo>
                    <a:lnTo>
                      <a:pt x="1758" y="576"/>
                    </a:lnTo>
                    <a:lnTo>
                      <a:pt x="1752" y="588"/>
                    </a:lnTo>
                    <a:lnTo>
                      <a:pt x="1752" y="594"/>
                    </a:lnTo>
                    <a:lnTo>
                      <a:pt x="1746" y="600"/>
                    </a:lnTo>
                    <a:lnTo>
                      <a:pt x="1746" y="612"/>
                    </a:lnTo>
                    <a:lnTo>
                      <a:pt x="1740" y="624"/>
                    </a:lnTo>
                    <a:lnTo>
                      <a:pt x="1728" y="636"/>
                    </a:lnTo>
                    <a:lnTo>
                      <a:pt x="1722" y="636"/>
                    </a:lnTo>
                    <a:lnTo>
                      <a:pt x="1728" y="630"/>
                    </a:lnTo>
                    <a:lnTo>
                      <a:pt x="1728" y="618"/>
                    </a:lnTo>
                    <a:lnTo>
                      <a:pt x="1734" y="606"/>
                    </a:lnTo>
                    <a:lnTo>
                      <a:pt x="1734" y="600"/>
                    </a:lnTo>
                    <a:lnTo>
                      <a:pt x="1740" y="588"/>
                    </a:lnTo>
                    <a:lnTo>
                      <a:pt x="1740" y="582"/>
                    </a:lnTo>
                    <a:lnTo>
                      <a:pt x="1734" y="576"/>
                    </a:lnTo>
                    <a:lnTo>
                      <a:pt x="1728" y="576"/>
                    </a:lnTo>
                    <a:lnTo>
                      <a:pt x="1722" y="582"/>
                    </a:lnTo>
                    <a:lnTo>
                      <a:pt x="1716" y="582"/>
                    </a:lnTo>
                    <a:lnTo>
                      <a:pt x="1704" y="594"/>
                    </a:lnTo>
                    <a:lnTo>
                      <a:pt x="1692" y="588"/>
                    </a:lnTo>
                    <a:lnTo>
                      <a:pt x="1656" y="588"/>
                    </a:lnTo>
                    <a:lnTo>
                      <a:pt x="1644" y="582"/>
                    </a:lnTo>
                    <a:lnTo>
                      <a:pt x="1632" y="570"/>
                    </a:lnTo>
                    <a:lnTo>
                      <a:pt x="1632" y="522"/>
                    </a:lnTo>
                    <a:lnTo>
                      <a:pt x="1626" y="516"/>
                    </a:lnTo>
                    <a:lnTo>
                      <a:pt x="1626" y="504"/>
                    </a:lnTo>
                    <a:lnTo>
                      <a:pt x="1620" y="504"/>
                    </a:lnTo>
                    <a:lnTo>
                      <a:pt x="1614" y="510"/>
                    </a:lnTo>
                    <a:lnTo>
                      <a:pt x="1602" y="516"/>
                    </a:lnTo>
                    <a:lnTo>
                      <a:pt x="1596" y="522"/>
                    </a:lnTo>
                    <a:lnTo>
                      <a:pt x="1590" y="534"/>
                    </a:lnTo>
                    <a:lnTo>
                      <a:pt x="1584" y="540"/>
                    </a:lnTo>
                    <a:lnTo>
                      <a:pt x="1560" y="552"/>
                    </a:lnTo>
                    <a:lnTo>
                      <a:pt x="1554" y="558"/>
                    </a:lnTo>
                    <a:lnTo>
                      <a:pt x="1512" y="558"/>
                    </a:lnTo>
                    <a:lnTo>
                      <a:pt x="1500" y="552"/>
                    </a:lnTo>
                    <a:lnTo>
                      <a:pt x="1542" y="540"/>
                    </a:lnTo>
                    <a:lnTo>
                      <a:pt x="1548" y="528"/>
                    </a:lnTo>
                    <a:lnTo>
                      <a:pt x="1566" y="510"/>
                    </a:lnTo>
                    <a:lnTo>
                      <a:pt x="1566" y="492"/>
                    </a:lnTo>
                    <a:lnTo>
                      <a:pt x="1572" y="486"/>
                    </a:lnTo>
                    <a:lnTo>
                      <a:pt x="1590" y="450"/>
                    </a:lnTo>
                    <a:lnTo>
                      <a:pt x="1626" y="414"/>
                    </a:lnTo>
                    <a:lnTo>
                      <a:pt x="1638" y="408"/>
                    </a:lnTo>
                    <a:lnTo>
                      <a:pt x="1656" y="390"/>
                    </a:lnTo>
                    <a:lnTo>
                      <a:pt x="1656" y="378"/>
                    </a:lnTo>
                    <a:lnTo>
                      <a:pt x="1662" y="366"/>
                    </a:lnTo>
                    <a:lnTo>
                      <a:pt x="1674" y="354"/>
                    </a:lnTo>
                    <a:lnTo>
                      <a:pt x="1686" y="348"/>
                    </a:lnTo>
                    <a:lnTo>
                      <a:pt x="1692" y="342"/>
                    </a:lnTo>
                    <a:lnTo>
                      <a:pt x="1704" y="336"/>
                    </a:lnTo>
                    <a:lnTo>
                      <a:pt x="1680" y="330"/>
                    </a:lnTo>
                    <a:lnTo>
                      <a:pt x="1698" y="312"/>
                    </a:lnTo>
                    <a:lnTo>
                      <a:pt x="1698" y="294"/>
                    </a:lnTo>
                    <a:lnTo>
                      <a:pt x="1692" y="288"/>
                    </a:lnTo>
                    <a:lnTo>
                      <a:pt x="1680" y="282"/>
                    </a:lnTo>
                    <a:lnTo>
                      <a:pt x="1662" y="282"/>
                    </a:lnTo>
                    <a:lnTo>
                      <a:pt x="1650" y="276"/>
                    </a:lnTo>
                    <a:lnTo>
                      <a:pt x="1644" y="270"/>
                    </a:lnTo>
                    <a:lnTo>
                      <a:pt x="1638" y="252"/>
                    </a:lnTo>
                    <a:lnTo>
                      <a:pt x="1632" y="216"/>
                    </a:lnTo>
                    <a:lnTo>
                      <a:pt x="1626" y="168"/>
                    </a:lnTo>
                    <a:lnTo>
                      <a:pt x="1620" y="138"/>
                    </a:lnTo>
                    <a:lnTo>
                      <a:pt x="1614" y="114"/>
                    </a:lnTo>
                    <a:lnTo>
                      <a:pt x="1608" y="96"/>
                    </a:lnTo>
                    <a:lnTo>
                      <a:pt x="1602" y="84"/>
                    </a:lnTo>
                    <a:lnTo>
                      <a:pt x="1590" y="78"/>
                    </a:lnTo>
                    <a:lnTo>
                      <a:pt x="1584" y="78"/>
                    </a:lnTo>
                    <a:lnTo>
                      <a:pt x="1584" y="90"/>
                    </a:lnTo>
                    <a:lnTo>
                      <a:pt x="1590" y="96"/>
                    </a:lnTo>
                    <a:lnTo>
                      <a:pt x="1590" y="108"/>
                    </a:lnTo>
                    <a:lnTo>
                      <a:pt x="1572" y="108"/>
                    </a:lnTo>
                    <a:lnTo>
                      <a:pt x="1572" y="102"/>
                    </a:lnTo>
                    <a:lnTo>
                      <a:pt x="1566" y="108"/>
                    </a:lnTo>
                    <a:lnTo>
                      <a:pt x="1560" y="120"/>
                    </a:lnTo>
                    <a:lnTo>
                      <a:pt x="1560" y="126"/>
                    </a:lnTo>
                    <a:lnTo>
                      <a:pt x="1554" y="132"/>
                    </a:lnTo>
                    <a:lnTo>
                      <a:pt x="1548" y="144"/>
                    </a:lnTo>
                    <a:lnTo>
                      <a:pt x="1536" y="156"/>
                    </a:lnTo>
                    <a:lnTo>
                      <a:pt x="1518" y="192"/>
                    </a:lnTo>
                    <a:lnTo>
                      <a:pt x="1518" y="210"/>
                    </a:lnTo>
                    <a:lnTo>
                      <a:pt x="1494" y="246"/>
                    </a:lnTo>
                    <a:lnTo>
                      <a:pt x="1488" y="246"/>
                    </a:lnTo>
                    <a:lnTo>
                      <a:pt x="1482" y="252"/>
                    </a:lnTo>
                    <a:lnTo>
                      <a:pt x="1464" y="252"/>
                    </a:lnTo>
                    <a:lnTo>
                      <a:pt x="1452" y="240"/>
                    </a:lnTo>
                    <a:lnTo>
                      <a:pt x="1446" y="246"/>
                    </a:lnTo>
                    <a:lnTo>
                      <a:pt x="1434" y="246"/>
                    </a:lnTo>
                    <a:lnTo>
                      <a:pt x="1428" y="240"/>
                    </a:lnTo>
                    <a:lnTo>
                      <a:pt x="1416" y="240"/>
                    </a:lnTo>
                    <a:lnTo>
                      <a:pt x="1410" y="246"/>
                    </a:lnTo>
                    <a:lnTo>
                      <a:pt x="1410" y="252"/>
                    </a:lnTo>
                    <a:lnTo>
                      <a:pt x="1404" y="258"/>
                    </a:lnTo>
                    <a:lnTo>
                      <a:pt x="1380" y="258"/>
                    </a:lnTo>
                    <a:lnTo>
                      <a:pt x="1368" y="246"/>
                    </a:lnTo>
                    <a:lnTo>
                      <a:pt x="1368" y="240"/>
                    </a:lnTo>
                    <a:lnTo>
                      <a:pt x="1350" y="234"/>
                    </a:lnTo>
                    <a:lnTo>
                      <a:pt x="1344" y="228"/>
                    </a:lnTo>
                    <a:lnTo>
                      <a:pt x="1338" y="216"/>
                    </a:lnTo>
                    <a:lnTo>
                      <a:pt x="1332" y="216"/>
                    </a:lnTo>
                    <a:lnTo>
                      <a:pt x="1320" y="222"/>
                    </a:lnTo>
                    <a:lnTo>
                      <a:pt x="1314" y="228"/>
                    </a:lnTo>
                    <a:lnTo>
                      <a:pt x="1302" y="234"/>
                    </a:lnTo>
                    <a:lnTo>
                      <a:pt x="1278" y="234"/>
                    </a:lnTo>
                    <a:lnTo>
                      <a:pt x="1278" y="222"/>
                    </a:lnTo>
                    <a:lnTo>
                      <a:pt x="1272" y="222"/>
                    </a:lnTo>
                    <a:lnTo>
                      <a:pt x="1260" y="228"/>
                    </a:lnTo>
                    <a:lnTo>
                      <a:pt x="1260" y="252"/>
                    </a:lnTo>
                    <a:lnTo>
                      <a:pt x="1272" y="264"/>
                    </a:lnTo>
                    <a:lnTo>
                      <a:pt x="1272" y="270"/>
                    </a:lnTo>
                    <a:lnTo>
                      <a:pt x="1278" y="276"/>
                    </a:lnTo>
                    <a:lnTo>
                      <a:pt x="1272" y="282"/>
                    </a:lnTo>
                    <a:lnTo>
                      <a:pt x="1254" y="282"/>
                    </a:lnTo>
                    <a:lnTo>
                      <a:pt x="1230" y="270"/>
                    </a:lnTo>
                    <a:lnTo>
                      <a:pt x="1224" y="270"/>
                    </a:lnTo>
                    <a:lnTo>
                      <a:pt x="1212" y="264"/>
                    </a:lnTo>
                    <a:lnTo>
                      <a:pt x="1212" y="270"/>
                    </a:lnTo>
                    <a:lnTo>
                      <a:pt x="1206" y="276"/>
                    </a:lnTo>
                    <a:lnTo>
                      <a:pt x="1200" y="276"/>
                    </a:lnTo>
                    <a:lnTo>
                      <a:pt x="1188" y="264"/>
                    </a:lnTo>
                    <a:lnTo>
                      <a:pt x="1176" y="264"/>
                    </a:lnTo>
                    <a:lnTo>
                      <a:pt x="1158" y="282"/>
                    </a:lnTo>
                    <a:lnTo>
                      <a:pt x="1158" y="288"/>
                    </a:lnTo>
                    <a:lnTo>
                      <a:pt x="1128" y="288"/>
                    </a:lnTo>
                    <a:lnTo>
                      <a:pt x="1122" y="300"/>
                    </a:lnTo>
                    <a:lnTo>
                      <a:pt x="1104" y="300"/>
                    </a:lnTo>
                    <a:lnTo>
                      <a:pt x="1092" y="312"/>
                    </a:lnTo>
                    <a:lnTo>
                      <a:pt x="1092" y="324"/>
                    </a:lnTo>
                    <a:lnTo>
                      <a:pt x="1086" y="330"/>
                    </a:lnTo>
                    <a:lnTo>
                      <a:pt x="1050" y="330"/>
                    </a:lnTo>
                    <a:lnTo>
                      <a:pt x="1044" y="318"/>
                    </a:lnTo>
                    <a:lnTo>
                      <a:pt x="1032" y="318"/>
                    </a:lnTo>
                    <a:lnTo>
                      <a:pt x="1002" y="282"/>
                    </a:lnTo>
                    <a:lnTo>
                      <a:pt x="1002" y="252"/>
                    </a:lnTo>
                    <a:lnTo>
                      <a:pt x="978" y="228"/>
                    </a:lnTo>
                    <a:lnTo>
                      <a:pt x="972" y="216"/>
                    </a:lnTo>
                    <a:lnTo>
                      <a:pt x="972" y="210"/>
                    </a:lnTo>
                    <a:lnTo>
                      <a:pt x="978" y="198"/>
                    </a:lnTo>
                    <a:lnTo>
                      <a:pt x="978" y="192"/>
                    </a:lnTo>
                    <a:lnTo>
                      <a:pt x="984" y="180"/>
                    </a:lnTo>
                    <a:lnTo>
                      <a:pt x="996" y="138"/>
                    </a:lnTo>
                    <a:lnTo>
                      <a:pt x="1008" y="126"/>
                    </a:lnTo>
                    <a:lnTo>
                      <a:pt x="1014" y="114"/>
                    </a:lnTo>
                    <a:lnTo>
                      <a:pt x="1014" y="102"/>
                    </a:lnTo>
                    <a:lnTo>
                      <a:pt x="1008" y="102"/>
                    </a:lnTo>
                    <a:lnTo>
                      <a:pt x="1002" y="96"/>
                    </a:lnTo>
                    <a:lnTo>
                      <a:pt x="1002" y="66"/>
                    </a:lnTo>
                    <a:lnTo>
                      <a:pt x="996" y="66"/>
                    </a:lnTo>
                    <a:lnTo>
                      <a:pt x="984" y="72"/>
                    </a:lnTo>
                    <a:lnTo>
                      <a:pt x="978" y="72"/>
                    </a:lnTo>
                    <a:lnTo>
                      <a:pt x="972" y="66"/>
                    </a:lnTo>
                    <a:lnTo>
                      <a:pt x="972" y="60"/>
                    </a:lnTo>
                    <a:lnTo>
                      <a:pt x="978" y="54"/>
                    </a:lnTo>
                    <a:lnTo>
                      <a:pt x="984" y="42"/>
                    </a:lnTo>
                    <a:lnTo>
                      <a:pt x="984" y="24"/>
                    </a:lnTo>
                    <a:lnTo>
                      <a:pt x="978" y="12"/>
                    </a:lnTo>
                    <a:lnTo>
                      <a:pt x="966" y="0"/>
                    </a:lnTo>
                    <a:lnTo>
                      <a:pt x="960" y="12"/>
                    </a:lnTo>
                    <a:lnTo>
                      <a:pt x="936" y="6"/>
                    </a:lnTo>
                    <a:lnTo>
                      <a:pt x="936" y="42"/>
                    </a:lnTo>
                    <a:lnTo>
                      <a:pt x="930" y="48"/>
                    </a:lnTo>
                    <a:lnTo>
                      <a:pt x="918" y="48"/>
                    </a:lnTo>
                    <a:lnTo>
                      <a:pt x="918" y="60"/>
                    </a:lnTo>
                    <a:lnTo>
                      <a:pt x="894" y="60"/>
                    </a:lnTo>
                    <a:lnTo>
                      <a:pt x="882" y="66"/>
                    </a:lnTo>
                    <a:lnTo>
                      <a:pt x="858" y="90"/>
                    </a:lnTo>
                    <a:lnTo>
                      <a:pt x="846" y="96"/>
                    </a:lnTo>
                    <a:lnTo>
                      <a:pt x="828" y="96"/>
                    </a:lnTo>
                    <a:lnTo>
                      <a:pt x="822" y="90"/>
                    </a:lnTo>
                    <a:lnTo>
                      <a:pt x="804" y="90"/>
                    </a:lnTo>
                    <a:lnTo>
                      <a:pt x="798" y="96"/>
                    </a:lnTo>
                    <a:lnTo>
                      <a:pt x="798" y="108"/>
                    </a:lnTo>
                    <a:lnTo>
                      <a:pt x="792" y="120"/>
                    </a:lnTo>
                    <a:lnTo>
                      <a:pt x="792" y="138"/>
                    </a:lnTo>
                    <a:lnTo>
                      <a:pt x="786" y="144"/>
                    </a:lnTo>
                    <a:lnTo>
                      <a:pt x="774" y="138"/>
                    </a:lnTo>
                    <a:lnTo>
                      <a:pt x="762" y="126"/>
                    </a:lnTo>
                    <a:lnTo>
                      <a:pt x="756" y="114"/>
                    </a:lnTo>
                    <a:lnTo>
                      <a:pt x="750" y="108"/>
                    </a:lnTo>
                    <a:lnTo>
                      <a:pt x="738" y="108"/>
                    </a:lnTo>
                    <a:lnTo>
                      <a:pt x="732" y="114"/>
                    </a:lnTo>
                    <a:lnTo>
                      <a:pt x="720" y="108"/>
                    </a:lnTo>
                    <a:lnTo>
                      <a:pt x="708" y="114"/>
                    </a:lnTo>
                    <a:lnTo>
                      <a:pt x="696" y="114"/>
                    </a:lnTo>
                    <a:lnTo>
                      <a:pt x="696" y="96"/>
                    </a:lnTo>
                    <a:lnTo>
                      <a:pt x="690" y="90"/>
                    </a:lnTo>
                    <a:lnTo>
                      <a:pt x="648" y="90"/>
                    </a:lnTo>
                    <a:lnTo>
                      <a:pt x="648" y="84"/>
                    </a:lnTo>
                    <a:lnTo>
                      <a:pt x="642" y="78"/>
                    </a:lnTo>
                    <a:lnTo>
                      <a:pt x="642" y="108"/>
                    </a:lnTo>
                    <a:lnTo>
                      <a:pt x="660" y="126"/>
                    </a:lnTo>
                    <a:lnTo>
                      <a:pt x="672" y="132"/>
                    </a:lnTo>
                    <a:lnTo>
                      <a:pt x="678" y="138"/>
                    </a:lnTo>
                    <a:lnTo>
                      <a:pt x="678" y="168"/>
                    </a:lnTo>
                    <a:lnTo>
                      <a:pt x="672" y="174"/>
                    </a:lnTo>
                    <a:lnTo>
                      <a:pt x="684" y="186"/>
                    </a:lnTo>
                    <a:lnTo>
                      <a:pt x="690" y="198"/>
                    </a:lnTo>
                    <a:lnTo>
                      <a:pt x="690" y="228"/>
                    </a:lnTo>
                    <a:lnTo>
                      <a:pt x="738" y="234"/>
                    </a:lnTo>
                    <a:lnTo>
                      <a:pt x="744" y="240"/>
                    </a:lnTo>
                    <a:lnTo>
                      <a:pt x="744" y="246"/>
                    </a:lnTo>
                    <a:lnTo>
                      <a:pt x="738" y="258"/>
                    </a:lnTo>
                    <a:lnTo>
                      <a:pt x="732" y="264"/>
                    </a:lnTo>
                    <a:lnTo>
                      <a:pt x="690" y="264"/>
                    </a:lnTo>
                    <a:lnTo>
                      <a:pt x="690" y="294"/>
                    </a:lnTo>
                    <a:lnTo>
                      <a:pt x="684" y="306"/>
                    </a:lnTo>
                    <a:lnTo>
                      <a:pt x="648" y="324"/>
                    </a:lnTo>
                    <a:lnTo>
                      <a:pt x="642" y="330"/>
                    </a:lnTo>
                    <a:lnTo>
                      <a:pt x="624" y="330"/>
                    </a:lnTo>
                    <a:lnTo>
                      <a:pt x="612" y="342"/>
                    </a:lnTo>
                    <a:lnTo>
                      <a:pt x="600" y="366"/>
                    </a:lnTo>
                    <a:lnTo>
                      <a:pt x="588" y="378"/>
                    </a:lnTo>
                    <a:lnTo>
                      <a:pt x="582" y="378"/>
                    </a:lnTo>
                    <a:lnTo>
                      <a:pt x="582" y="354"/>
                    </a:lnTo>
                    <a:lnTo>
                      <a:pt x="576" y="348"/>
                    </a:lnTo>
                    <a:lnTo>
                      <a:pt x="570" y="354"/>
                    </a:lnTo>
                    <a:lnTo>
                      <a:pt x="558" y="360"/>
                    </a:lnTo>
                    <a:lnTo>
                      <a:pt x="552" y="366"/>
                    </a:lnTo>
                    <a:lnTo>
                      <a:pt x="540" y="372"/>
                    </a:lnTo>
                    <a:lnTo>
                      <a:pt x="534" y="372"/>
                    </a:lnTo>
                    <a:lnTo>
                      <a:pt x="522" y="366"/>
                    </a:lnTo>
                    <a:lnTo>
                      <a:pt x="516" y="366"/>
                    </a:lnTo>
                    <a:lnTo>
                      <a:pt x="504" y="354"/>
                    </a:lnTo>
                    <a:lnTo>
                      <a:pt x="504" y="348"/>
                    </a:lnTo>
                    <a:lnTo>
                      <a:pt x="498" y="336"/>
                    </a:lnTo>
                    <a:lnTo>
                      <a:pt x="492" y="330"/>
                    </a:lnTo>
                    <a:lnTo>
                      <a:pt x="468" y="330"/>
                    </a:lnTo>
                    <a:lnTo>
                      <a:pt x="468" y="300"/>
                    </a:lnTo>
                    <a:lnTo>
                      <a:pt x="462" y="288"/>
                    </a:lnTo>
                    <a:lnTo>
                      <a:pt x="462" y="276"/>
                    </a:lnTo>
                    <a:lnTo>
                      <a:pt x="456" y="270"/>
                    </a:lnTo>
                    <a:lnTo>
                      <a:pt x="456" y="258"/>
                    </a:lnTo>
                    <a:lnTo>
                      <a:pt x="450" y="258"/>
                    </a:lnTo>
                    <a:lnTo>
                      <a:pt x="420" y="288"/>
                    </a:lnTo>
                    <a:lnTo>
                      <a:pt x="396" y="264"/>
                    </a:lnTo>
                    <a:lnTo>
                      <a:pt x="390" y="264"/>
                    </a:lnTo>
                    <a:lnTo>
                      <a:pt x="384" y="270"/>
                    </a:lnTo>
                    <a:lnTo>
                      <a:pt x="384" y="288"/>
                    </a:lnTo>
                    <a:lnTo>
                      <a:pt x="318" y="294"/>
                    </a:lnTo>
                    <a:lnTo>
                      <a:pt x="306" y="282"/>
                    </a:lnTo>
                    <a:lnTo>
                      <a:pt x="288" y="282"/>
                    </a:lnTo>
                    <a:lnTo>
                      <a:pt x="282" y="288"/>
                    </a:lnTo>
                    <a:lnTo>
                      <a:pt x="276" y="300"/>
                    </a:lnTo>
                    <a:lnTo>
                      <a:pt x="276" y="312"/>
                    </a:lnTo>
                    <a:lnTo>
                      <a:pt x="282" y="324"/>
                    </a:lnTo>
                    <a:lnTo>
                      <a:pt x="282" y="336"/>
                    </a:lnTo>
                    <a:lnTo>
                      <a:pt x="306" y="348"/>
                    </a:lnTo>
                    <a:lnTo>
                      <a:pt x="318" y="342"/>
                    </a:lnTo>
                    <a:lnTo>
                      <a:pt x="330" y="354"/>
                    </a:lnTo>
                    <a:lnTo>
                      <a:pt x="330" y="360"/>
                    </a:lnTo>
                    <a:lnTo>
                      <a:pt x="336" y="366"/>
                    </a:lnTo>
                    <a:lnTo>
                      <a:pt x="336" y="372"/>
                    </a:lnTo>
                    <a:lnTo>
                      <a:pt x="330" y="378"/>
                    </a:lnTo>
                    <a:lnTo>
                      <a:pt x="300" y="378"/>
                    </a:lnTo>
                    <a:lnTo>
                      <a:pt x="294" y="372"/>
                    </a:lnTo>
                    <a:lnTo>
                      <a:pt x="264" y="378"/>
                    </a:lnTo>
                    <a:lnTo>
                      <a:pt x="258" y="444"/>
                    </a:lnTo>
                    <a:lnTo>
                      <a:pt x="264" y="444"/>
                    </a:lnTo>
                    <a:lnTo>
                      <a:pt x="276" y="456"/>
                    </a:lnTo>
                    <a:lnTo>
                      <a:pt x="288" y="462"/>
                    </a:lnTo>
                    <a:lnTo>
                      <a:pt x="294" y="468"/>
                    </a:lnTo>
                    <a:lnTo>
                      <a:pt x="294" y="492"/>
                    </a:lnTo>
                    <a:lnTo>
                      <a:pt x="300" y="498"/>
                    </a:lnTo>
                    <a:lnTo>
                      <a:pt x="300" y="504"/>
                    </a:lnTo>
                    <a:lnTo>
                      <a:pt x="312" y="516"/>
                    </a:lnTo>
                    <a:lnTo>
                      <a:pt x="318" y="528"/>
                    </a:lnTo>
                    <a:lnTo>
                      <a:pt x="318" y="540"/>
                    </a:lnTo>
                    <a:lnTo>
                      <a:pt x="312" y="552"/>
                    </a:lnTo>
                    <a:lnTo>
                      <a:pt x="300" y="564"/>
                    </a:lnTo>
                    <a:lnTo>
                      <a:pt x="306" y="612"/>
                    </a:lnTo>
                    <a:lnTo>
                      <a:pt x="288" y="660"/>
                    </a:lnTo>
                    <a:lnTo>
                      <a:pt x="282" y="732"/>
                    </a:lnTo>
                    <a:lnTo>
                      <a:pt x="282" y="762"/>
                    </a:lnTo>
                    <a:lnTo>
                      <a:pt x="276" y="774"/>
                    </a:lnTo>
                    <a:lnTo>
                      <a:pt x="270" y="780"/>
                    </a:lnTo>
                    <a:lnTo>
                      <a:pt x="252" y="780"/>
                    </a:lnTo>
                    <a:lnTo>
                      <a:pt x="252" y="774"/>
                    </a:lnTo>
                    <a:lnTo>
                      <a:pt x="240" y="762"/>
                    </a:lnTo>
                    <a:lnTo>
                      <a:pt x="222" y="762"/>
                    </a:lnTo>
                    <a:lnTo>
                      <a:pt x="216" y="768"/>
                    </a:lnTo>
                    <a:lnTo>
                      <a:pt x="210" y="780"/>
                    </a:lnTo>
                    <a:lnTo>
                      <a:pt x="204" y="786"/>
                    </a:lnTo>
                    <a:lnTo>
                      <a:pt x="174" y="780"/>
                    </a:lnTo>
                    <a:lnTo>
                      <a:pt x="168" y="792"/>
                    </a:lnTo>
                    <a:lnTo>
                      <a:pt x="138" y="792"/>
                    </a:lnTo>
                    <a:lnTo>
                      <a:pt x="126" y="798"/>
                    </a:lnTo>
                    <a:lnTo>
                      <a:pt x="120" y="804"/>
                    </a:lnTo>
                    <a:lnTo>
                      <a:pt x="108" y="810"/>
                    </a:lnTo>
                    <a:lnTo>
                      <a:pt x="96" y="822"/>
                    </a:lnTo>
                    <a:lnTo>
                      <a:pt x="96" y="828"/>
                    </a:lnTo>
                    <a:lnTo>
                      <a:pt x="90" y="834"/>
                    </a:lnTo>
                    <a:lnTo>
                      <a:pt x="90" y="840"/>
                    </a:lnTo>
                    <a:lnTo>
                      <a:pt x="66" y="840"/>
                    </a:lnTo>
                    <a:lnTo>
                      <a:pt x="66" y="894"/>
                    </a:lnTo>
                    <a:lnTo>
                      <a:pt x="48" y="912"/>
                    </a:lnTo>
                    <a:lnTo>
                      <a:pt x="48" y="924"/>
                    </a:lnTo>
                    <a:lnTo>
                      <a:pt x="54" y="930"/>
                    </a:lnTo>
                    <a:lnTo>
                      <a:pt x="54" y="948"/>
                    </a:lnTo>
                    <a:lnTo>
                      <a:pt x="60" y="954"/>
                    </a:lnTo>
                    <a:lnTo>
                      <a:pt x="54" y="954"/>
                    </a:lnTo>
                    <a:lnTo>
                      <a:pt x="48" y="948"/>
                    </a:lnTo>
                    <a:lnTo>
                      <a:pt x="18" y="978"/>
                    </a:lnTo>
                    <a:lnTo>
                      <a:pt x="12" y="990"/>
                    </a:lnTo>
                    <a:lnTo>
                      <a:pt x="12" y="1014"/>
                    </a:lnTo>
                    <a:lnTo>
                      <a:pt x="18" y="1020"/>
                    </a:lnTo>
                    <a:lnTo>
                      <a:pt x="6" y="1026"/>
                    </a:lnTo>
                    <a:lnTo>
                      <a:pt x="0" y="1032"/>
                    </a:lnTo>
                    <a:lnTo>
                      <a:pt x="0" y="1044"/>
                    </a:lnTo>
                    <a:lnTo>
                      <a:pt x="6" y="1050"/>
                    </a:lnTo>
                    <a:lnTo>
                      <a:pt x="18" y="1056"/>
                    </a:lnTo>
                    <a:lnTo>
                      <a:pt x="24" y="1080"/>
                    </a:lnTo>
                    <a:lnTo>
                      <a:pt x="24" y="1086"/>
                    </a:lnTo>
                    <a:lnTo>
                      <a:pt x="30" y="1092"/>
                    </a:lnTo>
                    <a:lnTo>
                      <a:pt x="42" y="1116"/>
                    </a:lnTo>
                    <a:lnTo>
                      <a:pt x="54" y="1128"/>
                    </a:lnTo>
                    <a:lnTo>
                      <a:pt x="66" y="1134"/>
                    </a:lnTo>
                    <a:lnTo>
                      <a:pt x="90" y="1158"/>
                    </a:lnTo>
                    <a:lnTo>
                      <a:pt x="84" y="1164"/>
                    </a:lnTo>
                    <a:lnTo>
                      <a:pt x="78" y="1176"/>
                    </a:lnTo>
                    <a:lnTo>
                      <a:pt x="66" y="1182"/>
                    </a:lnTo>
                    <a:lnTo>
                      <a:pt x="60" y="1188"/>
                    </a:lnTo>
                    <a:lnTo>
                      <a:pt x="102" y="1188"/>
                    </a:lnTo>
                    <a:lnTo>
                      <a:pt x="114" y="1194"/>
                    </a:lnTo>
                    <a:lnTo>
                      <a:pt x="120" y="1194"/>
                    </a:lnTo>
                    <a:lnTo>
                      <a:pt x="126" y="1200"/>
                    </a:lnTo>
                    <a:lnTo>
                      <a:pt x="126" y="1212"/>
                    </a:lnTo>
                    <a:lnTo>
                      <a:pt x="132" y="1224"/>
                    </a:lnTo>
                    <a:lnTo>
                      <a:pt x="138" y="1230"/>
                    </a:lnTo>
                    <a:lnTo>
                      <a:pt x="138" y="1236"/>
                    </a:lnTo>
                    <a:lnTo>
                      <a:pt x="198" y="1230"/>
                    </a:lnTo>
                    <a:lnTo>
                      <a:pt x="252" y="1182"/>
                    </a:lnTo>
                    <a:lnTo>
                      <a:pt x="252" y="1194"/>
                    </a:lnTo>
                    <a:lnTo>
                      <a:pt x="258" y="1206"/>
                    </a:lnTo>
                    <a:lnTo>
                      <a:pt x="258" y="1224"/>
                    </a:lnTo>
                    <a:lnTo>
                      <a:pt x="252" y="1230"/>
                    </a:lnTo>
                    <a:lnTo>
                      <a:pt x="252" y="1242"/>
                    </a:lnTo>
                    <a:lnTo>
                      <a:pt x="246" y="1254"/>
                    </a:lnTo>
                    <a:lnTo>
                      <a:pt x="246" y="1266"/>
                    </a:lnTo>
                    <a:lnTo>
                      <a:pt x="252" y="1284"/>
                    </a:lnTo>
                    <a:lnTo>
                      <a:pt x="252" y="1314"/>
                    </a:lnTo>
                    <a:lnTo>
                      <a:pt x="264" y="1308"/>
                    </a:lnTo>
                    <a:lnTo>
                      <a:pt x="264" y="1314"/>
                    </a:lnTo>
                    <a:lnTo>
                      <a:pt x="270" y="1320"/>
                    </a:lnTo>
                    <a:lnTo>
                      <a:pt x="282" y="1320"/>
                    </a:lnTo>
                    <a:lnTo>
                      <a:pt x="282" y="1314"/>
                    </a:lnTo>
                    <a:lnTo>
                      <a:pt x="288" y="1314"/>
                    </a:lnTo>
                    <a:lnTo>
                      <a:pt x="294" y="1308"/>
                    </a:lnTo>
                    <a:lnTo>
                      <a:pt x="324" y="1308"/>
                    </a:lnTo>
                    <a:lnTo>
                      <a:pt x="336" y="1314"/>
                    </a:lnTo>
                    <a:lnTo>
                      <a:pt x="366" y="1314"/>
                    </a:lnTo>
                    <a:lnTo>
                      <a:pt x="372" y="1320"/>
                    </a:lnTo>
                    <a:lnTo>
                      <a:pt x="372" y="1326"/>
                    </a:lnTo>
                    <a:lnTo>
                      <a:pt x="390" y="1326"/>
                    </a:lnTo>
                    <a:lnTo>
                      <a:pt x="414" y="1314"/>
                    </a:lnTo>
                    <a:lnTo>
                      <a:pt x="420" y="1308"/>
                    </a:lnTo>
                    <a:lnTo>
                      <a:pt x="432" y="1290"/>
                    </a:lnTo>
                    <a:lnTo>
                      <a:pt x="468" y="1290"/>
                    </a:lnTo>
                    <a:lnTo>
                      <a:pt x="474" y="1260"/>
                    </a:lnTo>
                    <a:lnTo>
                      <a:pt x="510" y="1260"/>
                    </a:lnTo>
                    <a:lnTo>
                      <a:pt x="510" y="1254"/>
                    </a:lnTo>
                    <a:lnTo>
                      <a:pt x="516" y="1248"/>
                    </a:lnTo>
                    <a:lnTo>
                      <a:pt x="522" y="1236"/>
                    </a:lnTo>
                    <a:lnTo>
                      <a:pt x="528" y="1230"/>
                    </a:lnTo>
                    <a:lnTo>
                      <a:pt x="540" y="1224"/>
                    </a:lnTo>
                    <a:lnTo>
                      <a:pt x="576" y="1224"/>
                    </a:lnTo>
                    <a:lnTo>
                      <a:pt x="588" y="1212"/>
                    </a:lnTo>
                    <a:lnTo>
                      <a:pt x="600" y="1224"/>
                    </a:lnTo>
                    <a:lnTo>
                      <a:pt x="606" y="1224"/>
                    </a:lnTo>
                    <a:lnTo>
                      <a:pt x="606" y="1218"/>
                    </a:lnTo>
                    <a:lnTo>
                      <a:pt x="618" y="1212"/>
                    </a:lnTo>
                    <a:lnTo>
                      <a:pt x="630" y="1212"/>
                    </a:lnTo>
                    <a:lnTo>
                      <a:pt x="630" y="1242"/>
                    </a:lnTo>
                    <a:lnTo>
                      <a:pt x="624" y="1248"/>
                    </a:lnTo>
                    <a:lnTo>
                      <a:pt x="624" y="1254"/>
                    </a:lnTo>
                    <a:lnTo>
                      <a:pt x="618" y="1260"/>
                    </a:lnTo>
                    <a:lnTo>
                      <a:pt x="618" y="1290"/>
                    </a:lnTo>
                    <a:lnTo>
                      <a:pt x="624" y="1296"/>
                    </a:lnTo>
                    <a:lnTo>
                      <a:pt x="630" y="1308"/>
                    </a:lnTo>
                    <a:lnTo>
                      <a:pt x="630" y="1326"/>
                    </a:lnTo>
                    <a:lnTo>
                      <a:pt x="624" y="1332"/>
                    </a:lnTo>
                    <a:lnTo>
                      <a:pt x="624" y="1344"/>
                    </a:lnTo>
                    <a:lnTo>
                      <a:pt x="636" y="1356"/>
                    </a:lnTo>
                    <a:lnTo>
                      <a:pt x="648" y="1362"/>
                    </a:lnTo>
                    <a:lnTo>
                      <a:pt x="654" y="1368"/>
                    </a:lnTo>
                    <a:lnTo>
                      <a:pt x="660" y="1398"/>
                    </a:lnTo>
                    <a:lnTo>
                      <a:pt x="684" y="1398"/>
                    </a:lnTo>
                    <a:lnTo>
                      <a:pt x="690" y="1404"/>
                    </a:lnTo>
                    <a:lnTo>
                      <a:pt x="690" y="1410"/>
                    </a:lnTo>
                    <a:lnTo>
                      <a:pt x="696" y="1422"/>
                    </a:lnTo>
                    <a:lnTo>
                      <a:pt x="696" y="1428"/>
                    </a:lnTo>
                    <a:lnTo>
                      <a:pt x="702" y="1434"/>
                    </a:lnTo>
                    <a:lnTo>
                      <a:pt x="714" y="1440"/>
                    </a:lnTo>
                    <a:lnTo>
                      <a:pt x="744" y="1440"/>
                    </a:lnTo>
                    <a:lnTo>
                      <a:pt x="750" y="1434"/>
                    </a:lnTo>
                    <a:lnTo>
                      <a:pt x="756" y="1446"/>
                    </a:lnTo>
                    <a:lnTo>
                      <a:pt x="768" y="1452"/>
                    </a:lnTo>
                    <a:lnTo>
                      <a:pt x="780" y="1452"/>
                    </a:lnTo>
                    <a:lnTo>
                      <a:pt x="786" y="1446"/>
                    </a:lnTo>
                    <a:lnTo>
                      <a:pt x="798" y="1446"/>
                    </a:lnTo>
                    <a:lnTo>
                      <a:pt x="798" y="1452"/>
                    </a:lnTo>
                    <a:lnTo>
                      <a:pt x="804" y="1464"/>
                    </a:lnTo>
                    <a:lnTo>
                      <a:pt x="816" y="1470"/>
                    </a:lnTo>
                    <a:lnTo>
                      <a:pt x="828" y="1482"/>
                    </a:lnTo>
                    <a:lnTo>
                      <a:pt x="840" y="1488"/>
                    </a:lnTo>
                    <a:lnTo>
                      <a:pt x="864" y="1488"/>
                    </a:lnTo>
                    <a:lnTo>
                      <a:pt x="864" y="1494"/>
                    </a:lnTo>
                    <a:lnTo>
                      <a:pt x="876" y="1506"/>
                    </a:lnTo>
                    <a:lnTo>
                      <a:pt x="888" y="1512"/>
                    </a:lnTo>
                    <a:lnTo>
                      <a:pt x="894" y="1518"/>
                    </a:lnTo>
                    <a:lnTo>
                      <a:pt x="954" y="1518"/>
                    </a:lnTo>
                    <a:lnTo>
                      <a:pt x="978" y="1530"/>
                    </a:lnTo>
                    <a:lnTo>
                      <a:pt x="984" y="1542"/>
                    </a:lnTo>
                    <a:lnTo>
                      <a:pt x="990" y="1548"/>
                    </a:lnTo>
                    <a:lnTo>
                      <a:pt x="990" y="1578"/>
                    </a:lnTo>
                    <a:lnTo>
                      <a:pt x="996" y="1590"/>
                    </a:lnTo>
                    <a:lnTo>
                      <a:pt x="1002" y="1596"/>
                    </a:lnTo>
                    <a:lnTo>
                      <a:pt x="1008" y="1608"/>
                    </a:lnTo>
                    <a:lnTo>
                      <a:pt x="1008" y="1638"/>
                    </a:lnTo>
                    <a:lnTo>
                      <a:pt x="990" y="1638"/>
                    </a:lnTo>
                    <a:lnTo>
                      <a:pt x="990" y="1644"/>
                    </a:lnTo>
                    <a:lnTo>
                      <a:pt x="996" y="1650"/>
                    </a:lnTo>
                    <a:lnTo>
                      <a:pt x="1002" y="1662"/>
                    </a:lnTo>
                    <a:lnTo>
                      <a:pt x="1014" y="1668"/>
                    </a:lnTo>
                    <a:lnTo>
                      <a:pt x="1020" y="1674"/>
                    </a:lnTo>
                    <a:lnTo>
                      <a:pt x="1014" y="1686"/>
                    </a:lnTo>
                    <a:lnTo>
                      <a:pt x="1014" y="1728"/>
                    </a:lnTo>
                    <a:lnTo>
                      <a:pt x="1020" y="1734"/>
                    </a:lnTo>
                    <a:lnTo>
                      <a:pt x="1050" y="1740"/>
                    </a:lnTo>
                    <a:lnTo>
                      <a:pt x="1098" y="1746"/>
                    </a:lnTo>
                    <a:lnTo>
                      <a:pt x="1158" y="1746"/>
                    </a:lnTo>
                    <a:lnTo>
                      <a:pt x="1158" y="1752"/>
                    </a:lnTo>
                    <a:lnTo>
                      <a:pt x="1152" y="1758"/>
                    </a:lnTo>
                    <a:lnTo>
                      <a:pt x="1152" y="1770"/>
                    </a:lnTo>
                    <a:lnTo>
                      <a:pt x="1146" y="1788"/>
                    </a:lnTo>
                    <a:lnTo>
                      <a:pt x="1146" y="1800"/>
                    </a:lnTo>
                    <a:lnTo>
                      <a:pt x="1152" y="1812"/>
                    </a:lnTo>
                    <a:lnTo>
                      <a:pt x="1164" y="1818"/>
                    </a:lnTo>
                    <a:lnTo>
                      <a:pt x="1170" y="1824"/>
                    </a:lnTo>
                    <a:lnTo>
                      <a:pt x="1194" y="1836"/>
                    </a:lnTo>
                    <a:lnTo>
                      <a:pt x="1206" y="1848"/>
                    </a:lnTo>
                    <a:lnTo>
                      <a:pt x="1212" y="1860"/>
                    </a:lnTo>
                    <a:lnTo>
                      <a:pt x="1224" y="1896"/>
                    </a:lnTo>
                    <a:lnTo>
                      <a:pt x="1224" y="1908"/>
                    </a:lnTo>
                    <a:lnTo>
                      <a:pt x="1218" y="1920"/>
                    </a:lnTo>
                    <a:lnTo>
                      <a:pt x="1218" y="1944"/>
                    </a:lnTo>
                    <a:lnTo>
                      <a:pt x="1212" y="1950"/>
                    </a:lnTo>
                    <a:lnTo>
                      <a:pt x="1212" y="1956"/>
                    </a:lnTo>
                    <a:lnTo>
                      <a:pt x="1218" y="1968"/>
                    </a:lnTo>
                    <a:lnTo>
                      <a:pt x="1212" y="1980"/>
                    </a:lnTo>
                    <a:lnTo>
                      <a:pt x="1206" y="1986"/>
                    </a:lnTo>
                    <a:lnTo>
                      <a:pt x="1200" y="1998"/>
                    </a:lnTo>
                    <a:lnTo>
                      <a:pt x="1200" y="2022"/>
                    </a:lnTo>
                    <a:lnTo>
                      <a:pt x="1206" y="2028"/>
                    </a:lnTo>
                    <a:lnTo>
                      <a:pt x="1218" y="2034"/>
                    </a:lnTo>
                    <a:lnTo>
                      <a:pt x="1212" y="2040"/>
                    </a:lnTo>
                    <a:lnTo>
                      <a:pt x="1200" y="2046"/>
                    </a:lnTo>
                    <a:lnTo>
                      <a:pt x="1194" y="2052"/>
                    </a:lnTo>
                    <a:lnTo>
                      <a:pt x="1194" y="2064"/>
                    </a:lnTo>
                    <a:lnTo>
                      <a:pt x="1200" y="2070"/>
                    </a:lnTo>
                    <a:lnTo>
                      <a:pt x="1212" y="2076"/>
                    </a:lnTo>
                    <a:lnTo>
                      <a:pt x="1212" y="2112"/>
                    </a:lnTo>
                    <a:lnTo>
                      <a:pt x="1224" y="2112"/>
                    </a:lnTo>
                    <a:lnTo>
                      <a:pt x="1224" y="2130"/>
                    </a:lnTo>
                    <a:lnTo>
                      <a:pt x="1218" y="2142"/>
                    </a:lnTo>
                    <a:lnTo>
                      <a:pt x="1218" y="2184"/>
                    </a:lnTo>
                    <a:lnTo>
                      <a:pt x="1224" y="2196"/>
                    </a:lnTo>
                    <a:lnTo>
                      <a:pt x="1230" y="2202"/>
                    </a:lnTo>
                    <a:lnTo>
                      <a:pt x="1266" y="2214"/>
                    </a:lnTo>
                    <a:lnTo>
                      <a:pt x="1308" y="2220"/>
                    </a:lnTo>
                    <a:lnTo>
                      <a:pt x="1380" y="2220"/>
                    </a:lnTo>
                    <a:lnTo>
                      <a:pt x="1392" y="2226"/>
                    </a:lnTo>
                    <a:lnTo>
                      <a:pt x="1398" y="2232"/>
                    </a:lnTo>
                    <a:lnTo>
                      <a:pt x="1398" y="2256"/>
                    </a:lnTo>
                    <a:lnTo>
                      <a:pt x="1404" y="2274"/>
                    </a:lnTo>
                    <a:lnTo>
                      <a:pt x="1404" y="2298"/>
                    </a:lnTo>
                    <a:lnTo>
                      <a:pt x="1410" y="2316"/>
                    </a:lnTo>
                    <a:lnTo>
                      <a:pt x="1410" y="2334"/>
                    </a:lnTo>
                    <a:lnTo>
                      <a:pt x="1422" y="2358"/>
                    </a:lnTo>
                    <a:lnTo>
                      <a:pt x="1434" y="2364"/>
                    </a:lnTo>
                    <a:lnTo>
                      <a:pt x="1446" y="2364"/>
                    </a:lnTo>
                    <a:lnTo>
                      <a:pt x="1464" y="2346"/>
                    </a:lnTo>
                    <a:lnTo>
                      <a:pt x="1476" y="2346"/>
                    </a:lnTo>
                    <a:lnTo>
                      <a:pt x="1488" y="2352"/>
                    </a:lnTo>
                    <a:lnTo>
                      <a:pt x="1500" y="2364"/>
                    </a:lnTo>
                    <a:lnTo>
                      <a:pt x="1506" y="2376"/>
                    </a:lnTo>
                    <a:lnTo>
                      <a:pt x="1506" y="2394"/>
                    </a:lnTo>
                    <a:lnTo>
                      <a:pt x="1500" y="2412"/>
                    </a:lnTo>
                    <a:lnTo>
                      <a:pt x="1500" y="2442"/>
                    </a:lnTo>
                    <a:lnTo>
                      <a:pt x="1494" y="2448"/>
                    </a:lnTo>
                    <a:lnTo>
                      <a:pt x="1494" y="2454"/>
                    </a:lnTo>
                    <a:lnTo>
                      <a:pt x="1488" y="2466"/>
                    </a:lnTo>
                    <a:lnTo>
                      <a:pt x="1488" y="2478"/>
                    </a:lnTo>
                    <a:lnTo>
                      <a:pt x="1494" y="2496"/>
                    </a:lnTo>
                    <a:lnTo>
                      <a:pt x="1506" y="2490"/>
                    </a:lnTo>
                    <a:lnTo>
                      <a:pt x="1512" y="2484"/>
                    </a:lnTo>
                    <a:lnTo>
                      <a:pt x="1530" y="2484"/>
                    </a:lnTo>
                    <a:lnTo>
                      <a:pt x="1536" y="2490"/>
                    </a:lnTo>
                    <a:lnTo>
                      <a:pt x="1548" y="2514"/>
                    </a:lnTo>
                    <a:lnTo>
                      <a:pt x="1548" y="2526"/>
                    </a:lnTo>
                    <a:lnTo>
                      <a:pt x="1554" y="2526"/>
                    </a:lnTo>
                    <a:lnTo>
                      <a:pt x="1560" y="2532"/>
                    </a:lnTo>
                    <a:lnTo>
                      <a:pt x="1560" y="2562"/>
                    </a:lnTo>
                    <a:lnTo>
                      <a:pt x="1566" y="2580"/>
                    </a:lnTo>
                    <a:lnTo>
                      <a:pt x="1566" y="2616"/>
                    </a:lnTo>
                    <a:lnTo>
                      <a:pt x="1512" y="2634"/>
                    </a:lnTo>
                    <a:lnTo>
                      <a:pt x="1506" y="2640"/>
                    </a:lnTo>
                    <a:lnTo>
                      <a:pt x="1500" y="2652"/>
                    </a:lnTo>
                    <a:lnTo>
                      <a:pt x="1500" y="2670"/>
                    </a:lnTo>
                    <a:lnTo>
                      <a:pt x="1464" y="2670"/>
                    </a:lnTo>
                    <a:lnTo>
                      <a:pt x="1464" y="2688"/>
                    </a:lnTo>
                    <a:lnTo>
                      <a:pt x="1458" y="2694"/>
                    </a:lnTo>
                    <a:lnTo>
                      <a:pt x="1452" y="2718"/>
                    </a:lnTo>
                    <a:lnTo>
                      <a:pt x="1428" y="2724"/>
                    </a:lnTo>
                    <a:lnTo>
                      <a:pt x="1428" y="2736"/>
                    </a:lnTo>
                    <a:lnTo>
                      <a:pt x="1422" y="2748"/>
                    </a:lnTo>
                    <a:lnTo>
                      <a:pt x="1422" y="2760"/>
                    </a:lnTo>
                    <a:lnTo>
                      <a:pt x="1404" y="2778"/>
                    </a:lnTo>
                    <a:lnTo>
                      <a:pt x="1392" y="2778"/>
                    </a:lnTo>
                    <a:lnTo>
                      <a:pt x="1392" y="2802"/>
                    </a:lnTo>
                    <a:lnTo>
                      <a:pt x="1386" y="2808"/>
                    </a:lnTo>
                    <a:lnTo>
                      <a:pt x="1380" y="2820"/>
                    </a:lnTo>
                    <a:lnTo>
                      <a:pt x="1374" y="2826"/>
                    </a:lnTo>
                    <a:lnTo>
                      <a:pt x="1356" y="2826"/>
                    </a:lnTo>
                    <a:lnTo>
                      <a:pt x="1350" y="2832"/>
                    </a:lnTo>
                    <a:lnTo>
                      <a:pt x="1350" y="2844"/>
                    </a:lnTo>
                    <a:lnTo>
                      <a:pt x="1344" y="2856"/>
                    </a:lnTo>
                    <a:lnTo>
                      <a:pt x="1344" y="2868"/>
                    </a:lnTo>
                    <a:lnTo>
                      <a:pt x="1368" y="2868"/>
                    </a:lnTo>
                    <a:lnTo>
                      <a:pt x="1374" y="2862"/>
                    </a:lnTo>
                    <a:lnTo>
                      <a:pt x="1386" y="2856"/>
                    </a:lnTo>
                    <a:lnTo>
                      <a:pt x="1398" y="2856"/>
                    </a:lnTo>
                    <a:lnTo>
                      <a:pt x="1404" y="2862"/>
                    </a:lnTo>
                    <a:lnTo>
                      <a:pt x="1428" y="2874"/>
                    </a:lnTo>
                    <a:lnTo>
                      <a:pt x="1434" y="2886"/>
                    </a:lnTo>
                    <a:lnTo>
                      <a:pt x="1446" y="2892"/>
                    </a:lnTo>
                    <a:lnTo>
                      <a:pt x="1452" y="2898"/>
                    </a:lnTo>
                    <a:lnTo>
                      <a:pt x="1458" y="2910"/>
                    </a:lnTo>
                    <a:lnTo>
                      <a:pt x="1470" y="2922"/>
                    </a:lnTo>
                    <a:lnTo>
                      <a:pt x="1470" y="2934"/>
                    </a:lnTo>
                    <a:lnTo>
                      <a:pt x="1482" y="2934"/>
                    </a:lnTo>
                    <a:lnTo>
                      <a:pt x="1482" y="2928"/>
                    </a:lnTo>
                    <a:lnTo>
                      <a:pt x="1494" y="2916"/>
                    </a:lnTo>
                    <a:lnTo>
                      <a:pt x="1500" y="2916"/>
                    </a:lnTo>
                    <a:lnTo>
                      <a:pt x="1512" y="2922"/>
                    </a:lnTo>
                    <a:lnTo>
                      <a:pt x="1518" y="2934"/>
                    </a:lnTo>
                    <a:lnTo>
                      <a:pt x="1536" y="2952"/>
                    </a:lnTo>
                    <a:lnTo>
                      <a:pt x="1554" y="2952"/>
                    </a:lnTo>
                    <a:lnTo>
                      <a:pt x="1572" y="2970"/>
                    </a:lnTo>
                    <a:lnTo>
                      <a:pt x="1578" y="2970"/>
                    </a:lnTo>
                    <a:lnTo>
                      <a:pt x="1578" y="2982"/>
                    </a:lnTo>
                    <a:lnTo>
                      <a:pt x="1584" y="2988"/>
                    </a:lnTo>
                    <a:lnTo>
                      <a:pt x="1596" y="2994"/>
                    </a:lnTo>
                    <a:lnTo>
                      <a:pt x="1614" y="3000"/>
                    </a:lnTo>
                    <a:lnTo>
                      <a:pt x="1626" y="3000"/>
                    </a:lnTo>
                    <a:lnTo>
                      <a:pt x="1632" y="3012"/>
                    </a:lnTo>
                    <a:lnTo>
                      <a:pt x="1638" y="3018"/>
                    </a:lnTo>
                    <a:lnTo>
                      <a:pt x="1644" y="3030"/>
                    </a:lnTo>
                    <a:lnTo>
                      <a:pt x="1662" y="3048"/>
                    </a:lnTo>
                    <a:lnTo>
                      <a:pt x="1668" y="3048"/>
                    </a:lnTo>
                    <a:lnTo>
                      <a:pt x="1680" y="3054"/>
                    </a:lnTo>
                    <a:lnTo>
                      <a:pt x="1686" y="3054"/>
                    </a:lnTo>
                    <a:lnTo>
                      <a:pt x="1686" y="3066"/>
                    </a:lnTo>
                    <a:lnTo>
                      <a:pt x="1674" y="3090"/>
                    </a:lnTo>
                    <a:lnTo>
                      <a:pt x="1668" y="3096"/>
                    </a:lnTo>
                    <a:lnTo>
                      <a:pt x="1668" y="3120"/>
                    </a:lnTo>
                    <a:lnTo>
                      <a:pt x="1674" y="3120"/>
                    </a:lnTo>
                    <a:lnTo>
                      <a:pt x="1674" y="3150"/>
                    </a:lnTo>
                    <a:lnTo>
                      <a:pt x="1692" y="3150"/>
                    </a:lnTo>
                    <a:lnTo>
                      <a:pt x="1692" y="3144"/>
                    </a:lnTo>
                    <a:lnTo>
                      <a:pt x="1698" y="3132"/>
                    </a:lnTo>
                    <a:lnTo>
                      <a:pt x="1710" y="3126"/>
                    </a:lnTo>
                    <a:lnTo>
                      <a:pt x="1716" y="3114"/>
                    </a:lnTo>
                    <a:lnTo>
                      <a:pt x="1728" y="3102"/>
                    </a:lnTo>
                    <a:lnTo>
                      <a:pt x="1734" y="3090"/>
                    </a:lnTo>
                    <a:lnTo>
                      <a:pt x="1734" y="3060"/>
                    </a:lnTo>
                    <a:lnTo>
                      <a:pt x="1728" y="3054"/>
                    </a:lnTo>
                    <a:lnTo>
                      <a:pt x="1728" y="3048"/>
                    </a:lnTo>
                    <a:lnTo>
                      <a:pt x="1746" y="3018"/>
                    </a:lnTo>
                    <a:lnTo>
                      <a:pt x="1734" y="3012"/>
                    </a:lnTo>
                    <a:lnTo>
                      <a:pt x="1728" y="3000"/>
                    </a:lnTo>
                    <a:lnTo>
                      <a:pt x="1728" y="2988"/>
                    </a:lnTo>
                    <a:lnTo>
                      <a:pt x="1740" y="2976"/>
                    </a:lnTo>
                    <a:lnTo>
                      <a:pt x="1746" y="2976"/>
                    </a:lnTo>
                    <a:lnTo>
                      <a:pt x="1746" y="2952"/>
                    </a:lnTo>
                    <a:lnTo>
                      <a:pt x="1764" y="2952"/>
                    </a:lnTo>
                    <a:lnTo>
                      <a:pt x="1776" y="2940"/>
                    </a:lnTo>
                    <a:lnTo>
                      <a:pt x="1776" y="2904"/>
                    </a:lnTo>
                    <a:lnTo>
                      <a:pt x="1782" y="2898"/>
                    </a:lnTo>
                    <a:lnTo>
                      <a:pt x="1788" y="2886"/>
                    </a:lnTo>
                    <a:lnTo>
                      <a:pt x="1800" y="2874"/>
                    </a:lnTo>
                    <a:lnTo>
                      <a:pt x="1812" y="2868"/>
                    </a:lnTo>
                    <a:lnTo>
                      <a:pt x="1818" y="2862"/>
                    </a:lnTo>
                    <a:lnTo>
                      <a:pt x="1824" y="2862"/>
                    </a:lnTo>
                    <a:lnTo>
                      <a:pt x="1824" y="2898"/>
                    </a:lnTo>
                    <a:lnTo>
                      <a:pt x="1818" y="2904"/>
                    </a:lnTo>
                    <a:lnTo>
                      <a:pt x="1818" y="2910"/>
                    </a:lnTo>
                    <a:lnTo>
                      <a:pt x="1812" y="2916"/>
                    </a:lnTo>
                    <a:lnTo>
                      <a:pt x="1812" y="2934"/>
                    </a:lnTo>
                    <a:lnTo>
                      <a:pt x="1800" y="2940"/>
                    </a:lnTo>
                    <a:lnTo>
                      <a:pt x="1800" y="2952"/>
                    </a:lnTo>
                    <a:lnTo>
                      <a:pt x="1776" y="2982"/>
                    </a:lnTo>
                    <a:lnTo>
                      <a:pt x="1746" y="3006"/>
                    </a:lnTo>
                    <a:lnTo>
                      <a:pt x="1752" y="3012"/>
                    </a:lnTo>
                    <a:lnTo>
                      <a:pt x="1770" y="3012"/>
                    </a:lnTo>
                    <a:lnTo>
                      <a:pt x="1770" y="2994"/>
                    </a:lnTo>
                    <a:lnTo>
                      <a:pt x="1776" y="2988"/>
                    </a:lnTo>
                    <a:lnTo>
                      <a:pt x="1788" y="2988"/>
                    </a:lnTo>
                    <a:lnTo>
                      <a:pt x="1794" y="2982"/>
                    </a:lnTo>
                    <a:lnTo>
                      <a:pt x="1800" y="2982"/>
                    </a:lnTo>
                    <a:lnTo>
                      <a:pt x="1812" y="2964"/>
                    </a:lnTo>
                    <a:lnTo>
                      <a:pt x="1824" y="2940"/>
                    </a:lnTo>
                    <a:lnTo>
                      <a:pt x="1848" y="2880"/>
                    </a:lnTo>
                    <a:lnTo>
                      <a:pt x="1860" y="2832"/>
                    </a:lnTo>
                    <a:lnTo>
                      <a:pt x="1872" y="2808"/>
                    </a:lnTo>
                    <a:lnTo>
                      <a:pt x="1878" y="2790"/>
                    </a:lnTo>
                    <a:lnTo>
                      <a:pt x="1884" y="2778"/>
                    </a:lnTo>
                    <a:lnTo>
                      <a:pt x="1896" y="2772"/>
                    </a:lnTo>
                    <a:lnTo>
                      <a:pt x="1902" y="2760"/>
                    </a:lnTo>
                    <a:lnTo>
                      <a:pt x="1926" y="2736"/>
                    </a:lnTo>
                    <a:lnTo>
                      <a:pt x="1926" y="2724"/>
                    </a:lnTo>
                    <a:lnTo>
                      <a:pt x="1920" y="2718"/>
                    </a:lnTo>
                    <a:lnTo>
                      <a:pt x="1938" y="2706"/>
                    </a:lnTo>
                    <a:lnTo>
                      <a:pt x="1932" y="2670"/>
                    </a:lnTo>
                    <a:lnTo>
                      <a:pt x="1938" y="2646"/>
                    </a:lnTo>
                    <a:lnTo>
                      <a:pt x="1926" y="2640"/>
                    </a:lnTo>
                    <a:lnTo>
                      <a:pt x="1932" y="2634"/>
                    </a:lnTo>
                    <a:lnTo>
                      <a:pt x="1938" y="2622"/>
                    </a:lnTo>
                    <a:lnTo>
                      <a:pt x="1938" y="2610"/>
                    </a:lnTo>
                    <a:lnTo>
                      <a:pt x="1932" y="2604"/>
                    </a:lnTo>
                    <a:lnTo>
                      <a:pt x="1920" y="2598"/>
                    </a:lnTo>
                    <a:lnTo>
                      <a:pt x="1914" y="2592"/>
                    </a:lnTo>
                    <a:lnTo>
                      <a:pt x="1914" y="2556"/>
                    </a:lnTo>
                    <a:lnTo>
                      <a:pt x="1896" y="2544"/>
                    </a:lnTo>
                    <a:lnTo>
                      <a:pt x="1920" y="2544"/>
                    </a:lnTo>
                    <a:lnTo>
                      <a:pt x="1914" y="2520"/>
                    </a:lnTo>
                    <a:lnTo>
                      <a:pt x="1902" y="2508"/>
                    </a:lnTo>
                    <a:lnTo>
                      <a:pt x="1908" y="2508"/>
                    </a:lnTo>
                    <a:lnTo>
                      <a:pt x="1920" y="2502"/>
                    </a:lnTo>
                    <a:lnTo>
                      <a:pt x="1920" y="2490"/>
                    </a:lnTo>
                    <a:lnTo>
                      <a:pt x="1914" y="2490"/>
                    </a:lnTo>
                    <a:lnTo>
                      <a:pt x="1902" y="2484"/>
                    </a:lnTo>
                    <a:lnTo>
                      <a:pt x="1896" y="2478"/>
                    </a:lnTo>
                    <a:lnTo>
                      <a:pt x="1920" y="2460"/>
                    </a:lnTo>
                    <a:lnTo>
                      <a:pt x="1932" y="2472"/>
                    </a:lnTo>
                    <a:lnTo>
                      <a:pt x="1944" y="2478"/>
                    </a:lnTo>
                    <a:lnTo>
                      <a:pt x="1950" y="2478"/>
                    </a:lnTo>
                    <a:lnTo>
                      <a:pt x="1950" y="2448"/>
                    </a:lnTo>
                    <a:lnTo>
                      <a:pt x="1962" y="2424"/>
                    </a:lnTo>
                    <a:lnTo>
                      <a:pt x="1974" y="2418"/>
                    </a:lnTo>
                    <a:lnTo>
                      <a:pt x="1980" y="2418"/>
                    </a:lnTo>
                    <a:lnTo>
                      <a:pt x="2004" y="2406"/>
                    </a:lnTo>
                    <a:lnTo>
                      <a:pt x="2010" y="2394"/>
                    </a:lnTo>
                    <a:lnTo>
                      <a:pt x="2010" y="2382"/>
                    </a:lnTo>
                    <a:lnTo>
                      <a:pt x="2016" y="2376"/>
                    </a:lnTo>
                    <a:lnTo>
                      <a:pt x="2028" y="2376"/>
                    </a:lnTo>
                    <a:lnTo>
                      <a:pt x="2034" y="2370"/>
                    </a:lnTo>
                    <a:lnTo>
                      <a:pt x="2046" y="2370"/>
                    </a:lnTo>
                    <a:lnTo>
                      <a:pt x="2046" y="2358"/>
                    </a:lnTo>
                    <a:lnTo>
                      <a:pt x="2070" y="2358"/>
                    </a:lnTo>
                    <a:lnTo>
                      <a:pt x="2070" y="2340"/>
                    </a:lnTo>
                    <a:lnTo>
                      <a:pt x="2118" y="2340"/>
                    </a:lnTo>
                    <a:lnTo>
                      <a:pt x="2124" y="2358"/>
                    </a:lnTo>
                    <a:lnTo>
                      <a:pt x="2136" y="2352"/>
                    </a:lnTo>
                    <a:lnTo>
                      <a:pt x="2118" y="2334"/>
                    </a:lnTo>
                    <a:lnTo>
                      <a:pt x="2136" y="2316"/>
                    </a:lnTo>
                    <a:lnTo>
                      <a:pt x="2142" y="2316"/>
                    </a:lnTo>
                    <a:lnTo>
                      <a:pt x="2154" y="2310"/>
                    </a:lnTo>
                    <a:lnTo>
                      <a:pt x="2178" y="2310"/>
                    </a:lnTo>
                    <a:lnTo>
                      <a:pt x="2160" y="2292"/>
                    </a:lnTo>
                    <a:lnTo>
                      <a:pt x="2172" y="2286"/>
                    </a:lnTo>
                    <a:lnTo>
                      <a:pt x="2178" y="2280"/>
                    </a:lnTo>
                    <a:lnTo>
                      <a:pt x="2190" y="2280"/>
                    </a:lnTo>
                    <a:lnTo>
                      <a:pt x="2190" y="2304"/>
                    </a:lnTo>
                    <a:lnTo>
                      <a:pt x="2196" y="2304"/>
                    </a:lnTo>
                    <a:lnTo>
                      <a:pt x="2196" y="2298"/>
                    </a:lnTo>
                    <a:lnTo>
                      <a:pt x="2202" y="2286"/>
                    </a:lnTo>
                    <a:lnTo>
                      <a:pt x="2208" y="2280"/>
                    </a:lnTo>
                    <a:lnTo>
                      <a:pt x="2244" y="2286"/>
                    </a:lnTo>
                    <a:lnTo>
                      <a:pt x="2244" y="2280"/>
                    </a:lnTo>
                    <a:lnTo>
                      <a:pt x="2250" y="2274"/>
                    </a:lnTo>
                    <a:lnTo>
                      <a:pt x="2250" y="2268"/>
                    </a:lnTo>
                    <a:lnTo>
                      <a:pt x="2256" y="2262"/>
                    </a:lnTo>
                    <a:lnTo>
                      <a:pt x="2268" y="2256"/>
                    </a:lnTo>
                    <a:lnTo>
                      <a:pt x="2274" y="2256"/>
                    </a:lnTo>
                    <a:lnTo>
                      <a:pt x="2280" y="2262"/>
                    </a:lnTo>
                    <a:lnTo>
                      <a:pt x="2280" y="2286"/>
                    </a:lnTo>
                    <a:lnTo>
                      <a:pt x="2346" y="2280"/>
                    </a:lnTo>
                    <a:lnTo>
                      <a:pt x="2352" y="2262"/>
                    </a:lnTo>
                    <a:lnTo>
                      <a:pt x="2346" y="2250"/>
                    </a:lnTo>
                    <a:lnTo>
                      <a:pt x="2352" y="2244"/>
                    </a:lnTo>
                    <a:lnTo>
                      <a:pt x="2358" y="2232"/>
                    </a:lnTo>
                    <a:lnTo>
                      <a:pt x="2370" y="2220"/>
                    </a:lnTo>
                    <a:lnTo>
                      <a:pt x="2406" y="2202"/>
                    </a:lnTo>
                    <a:lnTo>
                      <a:pt x="2418" y="2202"/>
                    </a:lnTo>
                    <a:lnTo>
                      <a:pt x="2412" y="2190"/>
                    </a:lnTo>
                    <a:lnTo>
                      <a:pt x="2412" y="2112"/>
                    </a:lnTo>
                    <a:lnTo>
                      <a:pt x="2442" y="2082"/>
                    </a:lnTo>
                    <a:lnTo>
                      <a:pt x="2442" y="2058"/>
                    </a:lnTo>
                    <a:lnTo>
                      <a:pt x="2460" y="2052"/>
                    </a:lnTo>
                    <a:lnTo>
                      <a:pt x="2460" y="2022"/>
                    </a:lnTo>
                    <a:lnTo>
                      <a:pt x="2466" y="2022"/>
                    </a:lnTo>
                    <a:lnTo>
                      <a:pt x="2472" y="2016"/>
                    </a:lnTo>
                    <a:lnTo>
                      <a:pt x="2478" y="2016"/>
                    </a:lnTo>
                    <a:lnTo>
                      <a:pt x="2478" y="2010"/>
                    </a:lnTo>
                    <a:lnTo>
                      <a:pt x="2484" y="2004"/>
                    </a:lnTo>
                    <a:lnTo>
                      <a:pt x="2484" y="1956"/>
                    </a:lnTo>
                    <a:lnTo>
                      <a:pt x="2478" y="1944"/>
                    </a:lnTo>
                    <a:lnTo>
                      <a:pt x="2478" y="1926"/>
                    </a:lnTo>
                    <a:lnTo>
                      <a:pt x="2472" y="1908"/>
                    </a:lnTo>
                    <a:lnTo>
                      <a:pt x="2484" y="1884"/>
                    </a:lnTo>
                    <a:lnTo>
                      <a:pt x="2514" y="1854"/>
                    </a:lnTo>
                    <a:lnTo>
                      <a:pt x="2514" y="1848"/>
                    </a:lnTo>
                    <a:lnTo>
                      <a:pt x="2508" y="1836"/>
                    </a:lnTo>
                    <a:lnTo>
                      <a:pt x="2508" y="1830"/>
                    </a:lnTo>
                    <a:lnTo>
                      <a:pt x="2502" y="1818"/>
                    </a:lnTo>
                    <a:lnTo>
                      <a:pt x="2508" y="1764"/>
                    </a:lnTo>
                    <a:lnTo>
                      <a:pt x="2508" y="1758"/>
                    </a:lnTo>
                    <a:lnTo>
                      <a:pt x="2514" y="1752"/>
                    </a:lnTo>
                    <a:lnTo>
                      <a:pt x="2514" y="1722"/>
                    </a:lnTo>
                    <a:lnTo>
                      <a:pt x="2520" y="1710"/>
                    </a:lnTo>
                    <a:lnTo>
                      <a:pt x="2520" y="1680"/>
                    </a:lnTo>
                    <a:lnTo>
                      <a:pt x="2508" y="1644"/>
                    </a:lnTo>
                    <a:lnTo>
                      <a:pt x="2502" y="1608"/>
                    </a:lnTo>
                    <a:lnTo>
                      <a:pt x="2502" y="1596"/>
                    </a:lnTo>
                    <a:lnTo>
                      <a:pt x="2508" y="1560"/>
                    </a:lnTo>
                    <a:lnTo>
                      <a:pt x="2508" y="1548"/>
                    </a:lnTo>
                    <a:lnTo>
                      <a:pt x="2502" y="1536"/>
                    </a:lnTo>
                    <a:lnTo>
                      <a:pt x="2502" y="1500"/>
                    </a:lnTo>
                    <a:lnTo>
                      <a:pt x="2508" y="1488"/>
                    </a:lnTo>
                    <a:lnTo>
                      <a:pt x="2520" y="1476"/>
                    </a:lnTo>
                    <a:lnTo>
                      <a:pt x="2508" y="1458"/>
                    </a:lnTo>
                    <a:lnTo>
                      <a:pt x="2520" y="1446"/>
                    </a:lnTo>
                    <a:lnTo>
                      <a:pt x="2532" y="1446"/>
                    </a:lnTo>
                    <a:lnTo>
                      <a:pt x="2532" y="1452"/>
                    </a:lnTo>
                    <a:lnTo>
                      <a:pt x="2538" y="1464"/>
                    </a:lnTo>
                    <a:lnTo>
                      <a:pt x="2544" y="1470"/>
                    </a:lnTo>
                    <a:lnTo>
                      <a:pt x="2556" y="1464"/>
                    </a:lnTo>
                    <a:lnTo>
                      <a:pt x="2562" y="1452"/>
                    </a:lnTo>
                    <a:lnTo>
                      <a:pt x="2574" y="1446"/>
                    </a:lnTo>
                    <a:lnTo>
                      <a:pt x="2580" y="1434"/>
                    </a:lnTo>
                    <a:lnTo>
                      <a:pt x="2586" y="1428"/>
                    </a:lnTo>
                    <a:lnTo>
                      <a:pt x="2592" y="1416"/>
                    </a:lnTo>
                    <a:lnTo>
                      <a:pt x="2592" y="1404"/>
                    </a:lnTo>
                    <a:lnTo>
                      <a:pt x="2598" y="1386"/>
                    </a:lnTo>
                    <a:lnTo>
                      <a:pt x="2598" y="1374"/>
                    </a:lnTo>
                    <a:lnTo>
                      <a:pt x="2604" y="1356"/>
                    </a:lnTo>
                    <a:lnTo>
                      <a:pt x="2604" y="1344"/>
                    </a:lnTo>
                    <a:lnTo>
                      <a:pt x="2610" y="1338"/>
                    </a:lnTo>
                    <a:lnTo>
                      <a:pt x="2616" y="1338"/>
                    </a:lnTo>
                    <a:lnTo>
                      <a:pt x="2628" y="1326"/>
                    </a:lnTo>
                    <a:lnTo>
                      <a:pt x="2634" y="1314"/>
                    </a:lnTo>
                    <a:lnTo>
                      <a:pt x="2640" y="1308"/>
                    </a:lnTo>
                    <a:lnTo>
                      <a:pt x="2640" y="1296"/>
                    </a:lnTo>
                    <a:lnTo>
                      <a:pt x="2652" y="1290"/>
                    </a:lnTo>
                    <a:lnTo>
                      <a:pt x="2658" y="1284"/>
                    </a:lnTo>
                    <a:lnTo>
                      <a:pt x="2670" y="1284"/>
                    </a:lnTo>
                    <a:lnTo>
                      <a:pt x="2682" y="1272"/>
                    </a:lnTo>
                    <a:lnTo>
                      <a:pt x="2682" y="1254"/>
                    </a:lnTo>
                    <a:lnTo>
                      <a:pt x="2688" y="1254"/>
                    </a:lnTo>
                    <a:lnTo>
                      <a:pt x="2724" y="1218"/>
                    </a:lnTo>
                    <a:lnTo>
                      <a:pt x="2736" y="1188"/>
                    </a:lnTo>
                    <a:lnTo>
                      <a:pt x="2754" y="1158"/>
                    </a:lnTo>
                    <a:lnTo>
                      <a:pt x="2760" y="1134"/>
                    </a:lnTo>
                    <a:lnTo>
                      <a:pt x="2766" y="1122"/>
                    </a:lnTo>
                    <a:lnTo>
                      <a:pt x="2772" y="1116"/>
                    </a:lnTo>
                    <a:lnTo>
                      <a:pt x="2778" y="1104"/>
                    </a:lnTo>
                    <a:lnTo>
                      <a:pt x="2784" y="1098"/>
                    </a:lnTo>
                    <a:lnTo>
                      <a:pt x="2784" y="1080"/>
                    </a:lnTo>
                    <a:lnTo>
                      <a:pt x="2778" y="1068"/>
                    </a:lnTo>
                    <a:lnTo>
                      <a:pt x="2778" y="1002"/>
                    </a:ln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highlight>
                    <a:srgbClr val="FFCC00"/>
                  </a:highlight>
                  <a:uLnTx/>
                  <a:uFillTx/>
                  <a:latin typeface="Lato" panose="020F0502020204030203" pitchFamily="34" charset="0"/>
                  <a:ea typeface="+mn-ea"/>
                  <a:cs typeface="+mn-cs"/>
                </a:endParaRPr>
              </a:p>
            </p:txBody>
          </p:sp>
          <p:sp>
            <p:nvSpPr>
              <p:cNvPr id="470" name="Bolivia" descr="© INSCALE GmbH, 05.05.2010&#10;http://www.presentationload.com/">
                <a:extLst>
                  <a:ext uri="{FF2B5EF4-FFF2-40B4-BE49-F238E27FC236}">
                    <a16:creationId xmlns:a16="http://schemas.microsoft.com/office/drawing/2014/main" id="{F8A04463-C47E-AA34-C6DA-F6701C73392B}"/>
                  </a:ext>
                </a:extLst>
              </p:cNvPr>
              <p:cNvSpPr>
                <a:spLocks/>
              </p:cNvSpPr>
              <p:nvPr/>
            </p:nvSpPr>
            <p:spPr bwMode="gray">
              <a:xfrm>
                <a:off x="2924990" y="4841660"/>
                <a:ext cx="344591" cy="341791"/>
              </a:xfrm>
              <a:custGeom>
                <a:avLst/>
                <a:gdLst>
                  <a:gd name="T0" fmla="*/ 2147483647 w 894"/>
                  <a:gd name="T1" fmla="*/ 2147483647 h 1056"/>
                  <a:gd name="T2" fmla="*/ 2147483647 w 894"/>
                  <a:gd name="T3" fmla="*/ 2147483647 h 1056"/>
                  <a:gd name="T4" fmla="*/ 2147483647 w 894"/>
                  <a:gd name="T5" fmla="*/ 2147483647 h 1056"/>
                  <a:gd name="T6" fmla="*/ 2147483647 w 894"/>
                  <a:gd name="T7" fmla="*/ 2147483647 h 1056"/>
                  <a:gd name="T8" fmla="*/ 2147483647 w 894"/>
                  <a:gd name="T9" fmla="*/ 2147483647 h 1056"/>
                  <a:gd name="T10" fmla="*/ 2147483647 w 894"/>
                  <a:gd name="T11" fmla="*/ 2147483647 h 1056"/>
                  <a:gd name="T12" fmla="*/ 2147483647 w 894"/>
                  <a:gd name="T13" fmla="*/ 2147483647 h 1056"/>
                  <a:gd name="T14" fmla="*/ 2147483647 w 894"/>
                  <a:gd name="T15" fmla="*/ 2147483647 h 1056"/>
                  <a:gd name="T16" fmla="*/ 2147483647 w 894"/>
                  <a:gd name="T17" fmla="*/ 2147483647 h 1056"/>
                  <a:gd name="T18" fmla="*/ 2147483647 w 894"/>
                  <a:gd name="T19" fmla="*/ 2147483647 h 1056"/>
                  <a:gd name="T20" fmla="*/ 2147483647 w 894"/>
                  <a:gd name="T21" fmla="*/ 2147483647 h 1056"/>
                  <a:gd name="T22" fmla="*/ 2147483647 w 894"/>
                  <a:gd name="T23" fmla="*/ 2147483647 h 1056"/>
                  <a:gd name="T24" fmla="*/ 2147483647 w 894"/>
                  <a:gd name="T25" fmla="*/ 2147483647 h 1056"/>
                  <a:gd name="T26" fmla="*/ 2147483647 w 894"/>
                  <a:gd name="T27" fmla="*/ 2147483647 h 1056"/>
                  <a:gd name="T28" fmla="*/ 2147483647 w 894"/>
                  <a:gd name="T29" fmla="*/ 2147483647 h 1056"/>
                  <a:gd name="T30" fmla="*/ 2147483647 w 894"/>
                  <a:gd name="T31" fmla="*/ 2147483647 h 1056"/>
                  <a:gd name="T32" fmla="*/ 2147483647 w 894"/>
                  <a:gd name="T33" fmla="*/ 2147483647 h 1056"/>
                  <a:gd name="T34" fmla="*/ 2147483647 w 894"/>
                  <a:gd name="T35" fmla="*/ 2147483647 h 1056"/>
                  <a:gd name="T36" fmla="*/ 2147483647 w 894"/>
                  <a:gd name="T37" fmla="*/ 2147483647 h 1056"/>
                  <a:gd name="T38" fmla="*/ 2147483647 w 894"/>
                  <a:gd name="T39" fmla="*/ 2147483647 h 1056"/>
                  <a:gd name="T40" fmla="*/ 2147483647 w 894"/>
                  <a:gd name="T41" fmla="*/ 2147483647 h 1056"/>
                  <a:gd name="T42" fmla="*/ 2147483647 w 894"/>
                  <a:gd name="T43" fmla="*/ 2147483647 h 1056"/>
                  <a:gd name="T44" fmla="*/ 2147483647 w 894"/>
                  <a:gd name="T45" fmla="*/ 2147483647 h 1056"/>
                  <a:gd name="T46" fmla="*/ 2147483647 w 894"/>
                  <a:gd name="T47" fmla="*/ 2147483647 h 1056"/>
                  <a:gd name="T48" fmla="*/ 0 w 894"/>
                  <a:gd name="T49" fmla="*/ 2147483647 h 1056"/>
                  <a:gd name="T50" fmla="*/ 2147483647 w 894"/>
                  <a:gd name="T51" fmla="*/ 2147483647 h 1056"/>
                  <a:gd name="T52" fmla="*/ 2147483647 w 894"/>
                  <a:gd name="T53" fmla="*/ 2147483647 h 1056"/>
                  <a:gd name="T54" fmla="*/ 2147483647 w 894"/>
                  <a:gd name="T55" fmla="*/ 2147483647 h 1056"/>
                  <a:gd name="T56" fmla="*/ 2147483647 w 894"/>
                  <a:gd name="T57" fmla="*/ 2147483647 h 1056"/>
                  <a:gd name="T58" fmla="*/ 2147483647 w 894"/>
                  <a:gd name="T59" fmla="*/ 2147483647 h 1056"/>
                  <a:gd name="T60" fmla="*/ 2147483647 w 894"/>
                  <a:gd name="T61" fmla="*/ 2147483647 h 1056"/>
                  <a:gd name="T62" fmla="*/ 2147483647 w 894"/>
                  <a:gd name="T63" fmla="*/ 2147483647 h 1056"/>
                  <a:gd name="T64" fmla="*/ 2147483647 w 894"/>
                  <a:gd name="T65" fmla="*/ 2147483647 h 1056"/>
                  <a:gd name="T66" fmla="*/ 2147483647 w 894"/>
                  <a:gd name="T67" fmla="*/ 2147483647 h 1056"/>
                  <a:gd name="T68" fmla="*/ 2147483647 w 894"/>
                  <a:gd name="T69" fmla="*/ 2147483647 h 1056"/>
                  <a:gd name="T70" fmla="*/ 2147483647 w 894"/>
                  <a:gd name="T71" fmla="*/ 2147483647 h 1056"/>
                  <a:gd name="T72" fmla="*/ 2147483647 w 894"/>
                  <a:gd name="T73" fmla="*/ 2147483647 h 1056"/>
                  <a:gd name="T74" fmla="*/ 2147483647 w 894"/>
                  <a:gd name="T75" fmla="*/ 2147483647 h 1056"/>
                  <a:gd name="T76" fmla="*/ 2147483647 w 894"/>
                  <a:gd name="T77" fmla="*/ 2147483647 h 1056"/>
                  <a:gd name="T78" fmla="*/ 2147483647 w 894"/>
                  <a:gd name="T79" fmla="*/ 2147483647 h 1056"/>
                  <a:gd name="T80" fmla="*/ 2147483647 w 894"/>
                  <a:gd name="T81" fmla="*/ 2147483647 h 1056"/>
                  <a:gd name="T82" fmla="*/ 2147483647 w 894"/>
                  <a:gd name="T83" fmla="*/ 2147483647 h 1056"/>
                  <a:gd name="T84" fmla="*/ 2147483647 w 894"/>
                  <a:gd name="T85" fmla="*/ 2147483647 h 1056"/>
                  <a:gd name="T86" fmla="*/ 2147483647 w 894"/>
                  <a:gd name="T87" fmla="*/ 2147483647 h 1056"/>
                  <a:gd name="T88" fmla="*/ 2147483647 w 894"/>
                  <a:gd name="T89" fmla="*/ 2147483647 h 1056"/>
                  <a:gd name="T90" fmla="*/ 2147483647 w 894"/>
                  <a:gd name="T91" fmla="*/ 2147483647 h 1056"/>
                  <a:gd name="T92" fmla="*/ 2147483647 w 894"/>
                  <a:gd name="T93" fmla="*/ 2147483647 h 1056"/>
                  <a:gd name="T94" fmla="*/ 2147483647 w 894"/>
                  <a:gd name="T95" fmla="*/ 2147483647 h 1056"/>
                  <a:gd name="T96" fmla="*/ 2147483647 w 894"/>
                  <a:gd name="T97" fmla="*/ 2147483647 h 1056"/>
                  <a:gd name="T98" fmla="*/ 2147483647 w 894"/>
                  <a:gd name="T99" fmla="*/ 2147483647 h 1056"/>
                  <a:gd name="T100" fmla="*/ 2147483647 w 894"/>
                  <a:gd name="T101" fmla="*/ 2147483647 h 10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94"/>
                  <a:gd name="T154" fmla="*/ 0 h 1056"/>
                  <a:gd name="T155" fmla="*/ 894 w 894"/>
                  <a:gd name="T156" fmla="*/ 1056 h 10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94" h="1056">
                    <a:moveTo>
                      <a:pt x="882" y="744"/>
                    </a:moveTo>
                    <a:lnTo>
                      <a:pt x="882" y="738"/>
                    </a:lnTo>
                    <a:lnTo>
                      <a:pt x="888" y="732"/>
                    </a:lnTo>
                    <a:lnTo>
                      <a:pt x="888" y="708"/>
                    </a:lnTo>
                    <a:lnTo>
                      <a:pt x="894" y="696"/>
                    </a:lnTo>
                    <a:lnTo>
                      <a:pt x="894" y="684"/>
                    </a:lnTo>
                    <a:lnTo>
                      <a:pt x="882" y="648"/>
                    </a:lnTo>
                    <a:lnTo>
                      <a:pt x="876" y="636"/>
                    </a:lnTo>
                    <a:lnTo>
                      <a:pt x="864" y="624"/>
                    </a:lnTo>
                    <a:lnTo>
                      <a:pt x="840" y="612"/>
                    </a:lnTo>
                    <a:lnTo>
                      <a:pt x="834" y="606"/>
                    </a:lnTo>
                    <a:lnTo>
                      <a:pt x="822" y="600"/>
                    </a:lnTo>
                    <a:lnTo>
                      <a:pt x="816" y="588"/>
                    </a:lnTo>
                    <a:lnTo>
                      <a:pt x="816" y="576"/>
                    </a:lnTo>
                    <a:lnTo>
                      <a:pt x="822" y="558"/>
                    </a:lnTo>
                    <a:lnTo>
                      <a:pt x="822" y="546"/>
                    </a:lnTo>
                    <a:lnTo>
                      <a:pt x="828" y="540"/>
                    </a:lnTo>
                    <a:lnTo>
                      <a:pt x="828" y="534"/>
                    </a:lnTo>
                    <a:lnTo>
                      <a:pt x="768" y="534"/>
                    </a:lnTo>
                    <a:lnTo>
                      <a:pt x="720" y="528"/>
                    </a:lnTo>
                    <a:lnTo>
                      <a:pt x="690" y="522"/>
                    </a:lnTo>
                    <a:lnTo>
                      <a:pt x="684" y="516"/>
                    </a:lnTo>
                    <a:lnTo>
                      <a:pt x="684" y="474"/>
                    </a:lnTo>
                    <a:lnTo>
                      <a:pt x="690" y="462"/>
                    </a:lnTo>
                    <a:lnTo>
                      <a:pt x="684" y="456"/>
                    </a:lnTo>
                    <a:lnTo>
                      <a:pt x="672" y="450"/>
                    </a:lnTo>
                    <a:lnTo>
                      <a:pt x="666" y="438"/>
                    </a:lnTo>
                    <a:lnTo>
                      <a:pt x="660" y="432"/>
                    </a:lnTo>
                    <a:lnTo>
                      <a:pt x="660" y="426"/>
                    </a:lnTo>
                    <a:lnTo>
                      <a:pt x="678" y="426"/>
                    </a:lnTo>
                    <a:lnTo>
                      <a:pt x="678" y="396"/>
                    </a:lnTo>
                    <a:lnTo>
                      <a:pt x="672" y="384"/>
                    </a:lnTo>
                    <a:lnTo>
                      <a:pt x="666" y="378"/>
                    </a:lnTo>
                    <a:lnTo>
                      <a:pt x="660" y="366"/>
                    </a:lnTo>
                    <a:lnTo>
                      <a:pt x="660" y="336"/>
                    </a:lnTo>
                    <a:lnTo>
                      <a:pt x="654" y="330"/>
                    </a:lnTo>
                    <a:lnTo>
                      <a:pt x="648" y="318"/>
                    </a:lnTo>
                    <a:lnTo>
                      <a:pt x="624" y="306"/>
                    </a:lnTo>
                    <a:lnTo>
                      <a:pt x="564" y="306"/>
                    </a:lnTo>
                    <a:lnTo>
                      <a:pt x="558" y="300"/>
                    </a:lnTo>
                    <a:lnTo>
                      <a:pt x="546" y="294"/>
                    </a:lnTo>
                    <a:lnTo>
                      <a:pt x="534" y="282"/>
                    </a:lnTo>
                    <a:lnTo>
                      <a:pt x="534" y="276"/>
                    </a:lnTo>
                    <a:lnTo>
                      <a:pt x="510" y="276"/>
                    </a:lnTo>
                    <a:lnTo>
                      <a:pt x="498" y="270"/>
                    </a:lnTo>
                    <a:lnTo>
                      <a:pt x="486" y="258"/>
                    </a:lnTo>
                    <a:lnTo>
                      <a:pt x="474" y="252"/>
                    </a:lnTo>
                    <a:lnTo>
                      <a:pt x="468" y="240"/>
                    </a:lnTo>
                    <a:lnTo>
                      <a:pt x="468" y="234"/>
                    </a:lnTo>
                    <a:lnTo>
                      <a:pt x="456" y="234"/>
                    </a:lnTo>
                    <a:lnTo>
                      <a:pt x="450" y="240"/>
                    </a:lnTo>
                    <a:lnTo>
                      <a:pt x="438" y="240"/>
                    </a:lnTo>
                    <a:lnTo>
                      <a:pt x="426" y="234"/>
                    </a:lnTo>
                    <a:lnTo>
                      <a:pt x="420" y="222"/>
                    </a:lnTo>
                    <a:lnTo>
                      <a:pt x="414" y="228"/>
                    </a:lnTo>
                    <a:lnTo>
                      <a:pt x="384" y="228"/>
                    </a:lnTo>
                    <a:lnTo>
                      <a:pt x="372" y="222"/>
                    </a:lnTo>
                    <a:lnTo>
                      <a:pt x="366" y="216"/>
                    </a:lnTo>
                    <a:lnTo>
                      <a:pt x="366" y="210"/>
                    </a:lnTo>
                    <a:lnTo>
                      <a:pt x="360" y="198"/>
                    </a:lnTo>
                    <a:lnTo>
                      <a:pt x="360" y="192"/>
                    </a:lnTo>
                    <a:lnTo>
                      <a:pt x="354" y="186"/>
                    </a:lnTo>
                    <a:lnTo>
                      <a:pt x="330" y="186"/>
                    </a:lnTo>
                    <a:lnTo>
                      <a:pt x="324" y="156"/>
                    </a:lnTo>
                    <a:lnTo>
                      <a:pt x="318" y="150"/>
                    </a:lnTo>
                    <a:lnTo>
                      <a:pt x="306" y="144"/>
                    </a:lnTo>
                    <a:lnTo>
                      <a:pt x="294" y="132"/>
                    </a:lnTo>
                    <a:lnTo>
                      <a:pt x="294" y="120"/>
                    </a:lnTo>
                    <a:lnTo>
                      <a:pt x="300" y="114"/>
                    </a:lnTo>
                    <a:lnTo>
                      <a:pt x="300" y="96"/>
                    </a:lnTo>
                    <a:lnTo>
                      <a:pt x="294" y="84"/>
                    </a:lnTo>
                    <a:lnTo>
                      <a:pt x="288" y="78"/>
                    </a:lnTo>
                    <a:lnTo>
                      <a:pt x="288" y="48"/>
                    </a:lnTo>
                    <a:lnTo>
                      <a:pt x="294" y="42"/>
                    </a:lnTo>
                    <a:lnTo>
                      <a:pt x="294" y="36"/>
                    </a:lnTo>
                    <a:lnTo>
                      <a:pt x="300" y="30"/>
                    </a:lnTo>
                    <a:lnTo>
                      <a:pt x="300" y="0"/>
                    </a:lnTo>
                    <a:lnTo>
                      <a:pt x="288" y="0"/>
                    </a:lnTo>
                    <a:lnTo>
                      <a:pt x="276" y="6"/>
                    </a:lnTo>
                    <a:lnTo>
                      <a:pt x="276" y="12"/>
                    </a:lnTo>
                    <a:lnTo>
                      <a:pt x="270" y="12"/>
                    </a:lnTo>
                    <a:lnTo>
                      <a:pt x="258" y="0"/>
                    </a:lnTo>
                    <a:lnTo>
                      <a:pt x="246" y="12"/>
                    </a:lnTo>
                    <a:lnTo>
                      <a:pt x="210" y="12"/>
                    </a:lnTo>
                    <a:lnTo>
                      <a:pt x="198" y="18"/>
                    </a:lnTo>
                    <a:lnTo>
                      <a:pt x="192" y="24"/>
                    </a:lnTo>
                    <a:lnTo>
                      <a:pt x="186" y="36"/>
                    </a:lnTo>
                    <a:lnTo>
                      <a:pt x="180" y="42"/>
                    </a:lnTo>
                    <a:lnTo>
                      <a:pt x="180" y="48"/>
                    </a:lnTo>
                    <a:lnTo>
                      <a:pt x="144" y="48"/>
                    </a:lnTo>
                    <a:lnTo>
                      <a:pt x="138" y="78"/>
                    </a:lnTo>
                    <a:lnTo>
                      <a:pt x="102" y="78"/>
                    </a:lnTo>
                    <a:lnTo>
                      <a:pt x="90" y="96"/>
                    </a:lnTo>
                    <a:lnTo>
                      <a:pt x="84" y="102"/>
                    </a:lnTo>
                    <a:lnTo>
                      <a:pt x="60" y="114"/>
                    </a:lnTo>
                    <a:lnTo>
                      <a:pt x="42" y="114"/>
                    </a:lnTo>
                    <a:lnTo>
                      <a:pt x="42" y="108"/>
                    </a:lnTo>
                    <a:lnTo>
                      <a:pt x="36" y="102"/>
                    </a:lnTo>
                    <a:lnTo>
                      <a:pt x="12" y="102"/>
                    </a:lnTo>
                    <a:lnTo>
                      <a:pt x="0" y="96"/>
                    </a:lnTo>
                    <a:lnTo>
                      <a:pt x="0" y="114"/>
                    </a:lnTo>
                    <a:lnTo>
                      <a:pt x="6" y="132"/>
                    </a:lnTo>
                    <a:lnTo>
                      <a:pt x="18" y="144"/>
                    </a:lnTo>
                    <a:lnTo>
                      <a:pt x="30" y="162"/>
                    </a:lnTo>
                    <a:lnTo>
                      <a:pt x="42" y="174"/>
                    </a:lnTo>
                    <a:lnTo>
                      <a:pt x="54" y="192"/>
                    </a:lnTo>
                    <a:lnTo>
                      <a:pt x="66" y="216"/>
                    </a:lnTo>
                    <a:lnTo>
                      <a:pt x="66" y="228"/>
                    </a:lnTo>
                    <a:lnTo>
                      <a:pt x="60" y="234"/>
                    </a:lnTo>
                    <a:lnTo>
                      <a:pt x="54" y="246"/>
                    </a:lnTo>
                    <a:lnTo>
                      <a:pt x="48" y="252"/>
                    </a:lnTo>
                    <a:lnTo>
                      <a:pt x="60" y="300"/>
                    </a:lnTo>
                    <a:lnTo>
                      <a:pt x="42" y="330"/>
                    </a:lnTo>
                    <a:lnTo>
                      <a:pt x="48" y="330"/>
                    </a:lnTo>
                    <a:lnTo>
                      <a:pt x="60" y="342"/>
                    </a:lnTo>
                    <a:lnTo>
                      <a:pt x="66" y="354"/>
                    </a:lnTo>
                    <a:lnTo>
                      <a:pt x="66" y="360"/>
                    </a:lnTo>
                    <a:lnTo>
                      <a:pt x="60" y="372"/>
                    </a:lnTo>
                    <a:lnTo>
                      <a:pt x="48" y="384"/>
                    </a:lnTo>
                    <a:lnTo>
                      <a:pt x="36" y="408"/>
                    </a:lnTo>
                    <a:lnTo>
                      <a:pt x="42" y="426"/>
                    </a:lnTo>
                    <a:lnTo>
                      <a:pt x="48" y="438"/>
                    </a:lnTo>
                    <a:lnTo>
                      <a:pt x="54" y="444"/>
                    </a:lnTo>
                    <a:lnTo>
                      <a:pt x="54" y="450"/>
                    </a:lnTo>
                    <a:lnTo>
                      <a:pt x="42" y="468"/>
                    </a:lnTo>
                    <a:lnTo>
                      <a:pt x="54" y="480"/>
                    </a:lnTo>
                    <a:lnTo>
                      <a:pt x="78" y="498"/>
                    </a:lnTo>
                    <a:lnTo>
                      <a:pt x="78" y="516"/>
                    </a:lnTo>
                    <a:lnTo>
                      <a:pt x="102" y="528"/>
                    </a:lnTo>
                    <a:lnTo>
                      <a:pt x="90" y="558"/>
                    </a:lnTo>
                    <a:lnTo>
                      <a:pt x="78" y="546"/>
                    </a:lnTo>
                    <a:lnTo>
                      <a:pt x="78" y="558"/>
                    </a:lnTo>
                    <a:lnTo>
                      <a:pt x="66" y="582"/>
                    </a:lnTo>
                    <a:lnTo>
                      <a:pt x="54" y="588"/>
                    </a:lnTo>
                    <a:lnTo>
                      <a:pt x="36" y="606"/>
                    </a:lnTo>
                    <a:lnTo>
                      <a:pt x="48" y="630"/>
                    </a:lnTo>
                    <a:lnTo>
                      <a:pt x="42" y="636"/>
                    </a:lnTo>
                    <a:lnTo>
                      <a:pt x="60" y="666"/>
                    </a:lnTo>
                    <a:lnTo>
                      <a:pt x="84" y="666"/>
                    </a:lnTo>
                    <a:lnTo>
                      <a:pt x="96" y="744"/>
                    </a:lnTo>
                    <a:lnTo>
                      <a:pt x="108" y="750"/>
                    </a:lnTo>
                    <a:lnTo>
                      <a:pt x="114" y="750"/>
                    </a:lnTo>
                    <a:lnTo>
                      <a:pt x="138" y="762"/>
                    </a:lnTo>
                    <a:lnTo>
                      <a:pt x="144" y="774"/>
                    </a:lnTo>
                    <a:lnTo>
                      <a:pt x="144" y="780"/>
                    </a:lnTo>
                    <a:lnTo>
                      <a:pt x="138" y="792"/>
                    </a:lnTo>
                    <a:lnTo>
                      <a:pt x="126" y="804"/>
                    </a:lnTo>
                    <a:lnTo>
                      <a:pt x="144" y="822"/>
                    </a:lnTo>
                    <a:lnTo>
                      <a:pt x="138" y="828"/>
                    </a:lnTo>
                    <a:lnTo>
                      <a:pt x="132" y="840"/>
                    </a:lnTo>
                    <a:lnTo>
                      <a:pt x="126" y="846"/>
                    </a:lnTo>
                    <a:lnTo>
                      <a:pt x="126" y="858"/>
                    </a:lnTo>
                    <a:lnTo>
                      <a:pt x="132" y="870"/>
                    </a:lnTo>
                    <a:lnTo>
                      <a:pt x="138" y="876"/>
                    </a:lnTo>
                    <a:lnTo>
                      <a:pt x="138" y="900"/>
                    </a:lnTo>
                    <a:lnTo>
                      <a:pt x="144" y="900"/>
                    </a:lnTo>
                    <a:lnTo>
                      <a:pt x="150" y="906"/>
                    </a:lnTo>
                    <a:lnTo>
                      <a:pt x="162" y="912"/>
                    </a:lnTo>
                    <a:lnTo>
                      <a:pt x="168" y="918"/>
                    </a:lnTo>
                    <a:lnTo>
                      <a:pt x="180" y="924"/>
                    </a:lnTo>
                    <a:lnTo>
                      <a:pt x="186" y="930"/>
                    </a:lnTo>
                    <a:lnTo>
                      <a:pt x="186" y="996"/>
                    </a:lnTo>
                    <a:lnTo>
                      <a:pt x="210" y="1020"/>
                    </a:lnTo>
                    <a:lnTo>
                      <a:pt x="210" y="1044"/>
                    </a:lnTo>
                    <a:lnTo>
                      <a:pt x="216" y="1056"/>
                    </a:lnTo>
                    <a:lnTo>
                      <a:pt x="270" y="1056"/>
                    </a:lnTo>
                    <a:lnTo>
                      <a:pt x="270" y="1026"/>
                    </a:lnTo>
                    <a:lnTo>
                      <a:pt x="282" y="1026"/>
                    </a:lnTo>
                    <a:lnTo>
                      <a:pt x="282" y="1008"/>
                    </a:lnTo>
                    <a:lnTo>
                      <a:pt x="306" y="1002"/>
                    </a:lnTo>
                    <a:lnTo>
                      <a:pt x="318" y="978"/>
                    </a:lnTo>
                    <a:lnTo>
                      <a:pt x="324" y="984"/>
                    </a:lnTo>
                    <a:lnTo>
                      <a:pt x="348" y="996"/>
                    </a:lnTo>
                    <a:lnTo>
                      <a:pt x="360" y="996"/>
                    </a:lnTo>
                    <a:lnTo>
                      <a:pt x="378" y="1002"/>
                    </a:lnTo>
                    <a:lnTo>
                      <a:pt x="432" y="1002"/>
                    </a:lnTo>
                    <a:lnTo>
                      <a:pt x="462" y="1050"/>
                    </a:lnTo>
                    <a:lnTo>
                      <a:pt x="474" y="996"/>
                    </a:lnTo>
                    <a:lnTo>
                      <a:pt x="546" y="990"/>
                    </a:lnTo>
                    <a:lnTo>
                      <a:pt x="582" y="1014"/>
                    </a:lnTo>
                    <a:lnTo>
                      <a:pt x="582" y="996"/>
                    </a:lnTo>
                    <a:lnTo>
                      <a:pt x="594" y="924"/>
                    </a:lnTo>
                    <a:lnTo>
                      <a:pt x="594" y="900"/>
                    </a:lnTo>
                    <a:lnTo>
                      <a:pt x="588" y="894"/>
                    </a:lnTo>
                    <a:lnTo>
                      <a:pt x="588" y="888"/>
                    </a:lnTo>
                    <a:lnTo>
                      <a:pt x="576" y="864"/>
                    </a:lnTo>
                    <a:lnTo>
                      <a:pt x="576" y="852"/>
                    </a:lnTo>
                    <a:lnTo>
                      <a:pt x="582" y="846"/>
                    </a:lnTo>
                    <a:lnTo>
                      <a:pt x="594" y="840"/>
                    </a:lnTo>
                    <a:lnTo>
                      <a:pt x="606" y="828"/>
                    </a:lnTo>
                    <a:lnTo>
                      <a:pt x="612" y="798"/>
                    </a:lnTo>
                    <a:lnTo>
                      <a:pt x="714" y="780"/>
                    </a:lnTo>
                    <a:lnTo>
                      <a:pt x="792" y="768"/>
                    </a:lnTo>
                    <a:lnTo>
                      <a:pt x="846" y="810"/>
                    </a:lnTo>
                    <a:lnTo>
                      <a:pt x="864" y="846"/>
                    </a:lnTo>
                    <a:lnTo>
                      <a:pt x="864" y="840"/>
                    </a:lnTo>
                    <a:lnTo>
                      <a:pt x="870" y="834"/>
                    </a:lnTo>
                    <a:lnTo>
                      <a:pt x="882" y="828"/>
                    </a:lnTo>
                    <a:lnTo>
                      <a:pt x="888" y="822"/>
                    </a:lnTo>
                    <a:lnTo>
                      <a:pt x="876" y="816"/>
                    </a:lnTo>
                    <a:lnTo>
                      <a:pt x="870" y="810"/>
                    </a:lnTo>
                    <a:lnTo>
                      <a:pt x="870" y="786"/>
                    </a:lnTo>
                    <a:lnTo>
                      <a:pt x="876" y="774"/>
                    </a:lnTo>
                    <a:lnTo>
                      <a:pt x="882" y="768"/>
                    </a:lnTo>
                    <a:lnTo>
                      <a:pt x="888" y="756"/>
                    </a:lnTo>
                    <a:lnTo>
                      <a:pt x="882" y="744"/>
                    </a:lnTo>
                    <a:close/>
                  </a:path>
                </a:pathLst>
              </a:custGeom>
              <a:solidFill>
                <a:schemeClr val="accent6"/>
              </a:solidFill>
              <a:ln w="3175">
                <a:solidFill>
                  <a:schemeClr val="accent6"/>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panose="020F0502020204030203" pitchFamily="34" charset="0"/>
                  <a:ea typeface="+mn-ea"/>
                  <a:cs typeface="+mn-cs"/>
                </a:endParaRPr>
              </a:p>
            </p:txBody>
          </p:sp>
          <p:sp>
            <p:nvSpPr>
              <p:cNvPr id="471" name="Argentina" descr="© INSCALE GmbH, 05.05.2010&#10;http://www.presentationload.com/">
                <a:extLst>
                  <a:ext uri="{FF2B5EF4-FFF2-40B4-BE49-F238E27FC236}">
                    <a16:creationId xmlns:a16="http://schemas.microsoft.com/office/drawing/2014/main" id="{0E1FDD9E-F949-9F63-8C90-BB39324486C7}"/>
                  </a:ext>
                </a:extLst>
              </p:cNvPr>
              <p:cNvSpPr>
                <a:spLocks/>
              </p:cNvSpPr>
              <p:nvPr/>
            </p:nvSpPr>
            <p:spPr bwMode="gray">
              <a:xfrm>
                <a:off x="2980911" y="5158225"/>
                <a:ext cx="421672" cy="787003"/>
              </a:xfrm>
              <a:custGeom>
                <a:avLst/>
                <a:gdLst>
                  <a:gd name="T0" fmla="*/ 2147483647 w 1092"/>
                  <a:gd name="T1" fmla="*/ 2147483647 h 2442"/>
                  <a:gd name="T2" fmla="*/ 2147483647 w 1092"/>
                  <a:gd name="T3" fmla="*/ 2147483647 h 2442"/>
                  <a:gd name="T4" fmla="*/ 2147483647 w 1092"/>
                  <a:gd name="T5" fmla="*/ 2147483647 h 2442"/>
                  <a:gd name="T6" fmla="*/ 2147483647 w 1092"/>
                  <a:gd name="T7" fmla="*/ 2147483647 h 2442"/>
                  <a:gd name="T8" fmla="*/ 2147483647 w 1092"/>
                  <a:gd name="T9" fmla="*/ 2147483647 h 2442"/>
                  <a:gd name="T10" fmla="*/ 2147483647 w 1092"/>
                  <a:gd name="T11" fmla="*/ 2147483647 h 2442"/>
                  <a:gd name="T12" fmla="*/ 2147483647 w 1092"/>
                  <a:gd name="T13" fmla="*/ 2147483647 h 2442"/>
                  <a:gd name="T14" fmla="*/ 2147483647 w 1092"/>
                  <a:gd name="T15" fmla="*/ 2147483647 h 2442"/>
                  <a:gd name="T16" fmla="*/ 2147483647 w 1092"/>
                  <a:gd name="T17" fmla="*/ 2147483647 h 2442"/>
                  <a:gd name="T18" fmla="*/ 2147483647 w 1092"/>
                  <a:gd name="T19" fmla="*/ 2147483647 h 2442"/>
                  <a:gd name="T20" fmla="*/ 2147483647 w 1092"/>
                  <a:gd name="T21" fmla="*/ 0 h 2442"/>
                  <a:gd name="T22" fmla="*/ 2147483647 w 1092"/>
                  <a:gd name="T23" fmla="*/ 2147483647 h 2442"/>
                  <a:gd name="T24" fmla="*/ 2147483647 w 1092"/>
                  <a:gd name="T25" fmla="*/ 2147483647 h 2442"/>
                  <a:gd name="T26" fmla="*/ 2147483647 w 1092"/>
                  <a:gd name="T27" fmla="*/ 2147483647 h 2442"/>
                  <a:gd name="T28" fmla="*/ 2147483647 w 1092"/>
                  <a:gd name="T29" fmla="*/ 2147483647 h 2442"/>
                  <a:gd name="T30" fmla="*/ 2147483647 w 1092"/>
                  <a:gd name="T31" fmla="*/ 2147483647 h 2442"/>
                  <a:gd name="T32" fmla="*/ 2147483647 w 1092"/>
                  <a:gd name="T33" fmla="*/ 2147483647 h 2442"/>
                  <a:gd name="T34" fmla="*/ 2147483647 w 1092"/>
                  <a:gd name="T35" fmla="*/ 2147483647 h 2442"/>
                  <a:gd name="T36" fmla="*/ 2147483647 w 1092"/>
                  <a:gd name="T37" fmla="*/ 2147483647 h 2442"/>
                  <a:gd name="T38" fmla="*/ 2147483647 w 1092"/>
                  <a:gd name="T39" fmla="*/ 2147483647 h 2442"/>
                  <a:gd name="T40" fmla="*/ 2147483647 w 1092"/>
                  <a:gd name="T41" fmla="*/ 2147483647 h 2442"/>
                  <a:gd name="T42" fmla="*/ 2147483647 w 1092"/>
                  <a:gd name="T43" fmla="*/ 2147483647 h 2442"/>
                  <a:gd name="T44" fmla="*/ 2147483647 w 1092"/>
                  <a:gd name="T45" fmla="*/ 2147483647 h 2442"/>
                  <a:gd name="T46" fmla="*/ 2147483647 w 1092"/>
                  <a:gd name="T47" fmla="*/ 2147483647 h 2442"/>
                  <a:gd name="T48" fmla="*/ 2147483647 w 1092"/>
                  <a:gd name="T49" fmla="*/ 2147483647 h 2442"/>
                  <a:gd name="T50" fmla="*/ 2147483647 w 1092"/>
                  <a:gd name="T51" fmla="*/ 2147483647 h 2442"/>
                  <a:gd name="T52" fmla="*/ 2147483647 w 1092"/>
                  <a:gd name="T53" fmla="*/ 2147483647 h 2442"/>
                  <a:gd name="T54" fmla="*/ 2147483647 w 1092"/>
                  <a:gd name="T55" fmla="*/ 2147483647 h 2442"/>
                  <a:gd name="T56" fmla="*/ 2147483647 w 1092"/>
                  <a:gd name="T57" fmla="*/ 2147483647 h 2442"/>
                  <a:gd name="T58" fmla="*/ 2147483647 w 1092"/>
                  <a:gd name="T59" fmla="*/ 2147483647 h 2442"/>
                  <a:gd name="T60" fmla="*/ 2147483647 w 1092"/>
                  <a:gd name="T61" fmla="*/ 2147483647 h 2442"/>
                  <a:gd name="T62" fmla="*/ 2147483647 w 1092"/>
                  <a:gd name="T63" fmla="*/ 2147483647 h 2442"/>
                  <a:gd name="T64" fmla="*/ 2147483647 w 1092"/>
                  <a:gd name="T65" fmla="*/ 2147483647 h 2442"/>
                  <a:gd name="T66" fmla="*/ 2147483647 w 1092"/>
                  <a:gd name="T67" fmla="*/ 2147483647 h 2442"/>
                  <a:gd name="T68" fmla="*/ 2147483647 w 1092"/>
                  <a:gd name="T69" fmla="*/ 2147483647 h 2442"/>
                  <a:gd name="T70" fmla="*/ 2147483647 w 1092"/>
                  <a:gd name="T71" fmla="*/ 2147483647 h 2442"/>
                  <a:gd name="T72" fmla="*/ 2147483647 w 1092"/>
                  <a:gd name="T73" fmla="*/ 2147483647 h 2442"/>
                  <a:gd name="T74" fmla="*/ 2147483647 w 1092"/>
                  <a:gd name="T75" fmla="*/ 2147483647 h 2442"/>
                  <a:gd name="T76" fmla="*/ 2147483647 w 1092"/>
                  <a:gd name="T77" fmla="*/ 2147483647 h 2442"/>
                  <a:gd name="T78" fmla="*/ 2147483647 w 1092"/>
                  <a:gd name="T79" fmla="*/ 2147483647 h 2442"/>
                  <a:gd name="T80" fmla="*/ 2147483647 w 1092"/>
                  <a:gd name="T81" fmla="*/ 2147483647 h 2442"/>
                  <a:gd name="T82" fmla="*/ 2147483647 w 1092"/>
                  <a:gd name="T83" fmla="*/ 2147483647 h 2442"/>
                  <a:gd name="T84" fmla="*/ 2147483647 w 1092"/>
                  <a:gd name="T85" fmla="*/ 2147483647 h 2442"/>
                  <a:gd name="T86" fmla="*/ 2147483647 w 1092"/>
                  <a:gd name="T87" fmla="*/ 2147483647 h 2442"/>
                  <a:gd name="T88" fmla="*/ 2147483647 w 1092"/>
                  <a:gd name="T89" fmla="*/ 2147483647 h 2442"/>
                  <a:gd name="T90" fmla="*/ 2147483647 w 1092"/>
                  <a:gd name="T91" fmla="*/ 2147483647 h 2442"/>
                  <a:gd name="T92" fmla="*/ 2147483647 w 1092"/>
                  <a:gd name="T93" fmla="*/ 2147483647 h 2442"/>
                  <a:gd name="T94" fmla="*/ 2147483647 w 1092"/>
                  <a:gd name="T95" fmla="*/ 2147483647 h 2442"/>
                  <a:gd name="T96" fmla="*/ 2147483647 w 1092"/>
                  <a:gd name="T97" fmla="*/ 2147483647 h 2442"/>
                  <a:gd name="T98" fmla="*/ 2147483647 w 1092"/>
                  <a:gd name="T99" fmla="*/ 2147483647 h 2442"/>
                  <a:gd name="T100" fmla="*/ 2147483647 w 1092"/>
                  <a:gd name="T101" fmla="*/ 2147483647 h 2442"/>
                  <a:gd name="T102" fmla="*/ 2147483647 w 1092"/>
                  <a:gd name="T103" fmla="*/ 2147483647 h 2442"/>
                  <a:gd name="T104" fmla="*/ 2147483647 w 1092"/>
                  <a:gd name="T105" fmla="*/ 2147483647 h 2442"/>
                  <a:gd name="T106" fmla="*/ 2147483647 w 1092"/>
                  <a:gd name="T107" fmla="*/ 2147483647 h 2442"/>
                  <a:gd name="T108" fmla="*/ 2147483647 w 1092"/>
                  <a:gd name="T109" fmla="*/ 2147483647 h 2442"/>
                  <a:gd name="T110" fmla="*/ 2147483647 w 1092"/>
                  <a:gd name="T111" fmla="*/ 2147483647 h 2442"/>
                  <a:gd name="T112" fmla="*/ 2147483647 w 1092"/>
                  <a:gd name="T113" fmla="*/ 2147483647 h 244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92"/>
                  <a:gd name="T172" fmla="*/ 0 h 2442"/>
                  <a:gd name="T173" fmla="*/ 1092 w 1092"/>
                  <a:gd name="T174" fmla="*/ 2442 h 244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92" h="2442">
                    <a:moveTo>
                      <a:pt x="954" y="534"/>
                    </a:moveTo>
                    <a:lnTo>
                      <a:pt x="978" y="528"/>
                    </a:lnTo>
                    <a:lnTo>
                      <a:pt x="984" y="504"/>
                    </a:lnTo>
                    <a:lnTo>
                      <a:pt x="990" y="498"/>
                    </a:lnTo>
                    <a:lnTo>
                      <a:pt x="990" y="480"/>
                    </a:lnTo>
                    <a:lnTo>
                      <a:pt x="1026" y="480"/>
                    </a:lnTo>
                    <a:lnTo>
                      <a:pt x="1026" y="462"/>
                    </a:lnTo>
                    <a:lnTo>
                      <a:pt x="1032" y="450"/>
                    </a:lnTo>
                    <a:lnTo>
                      <a:pt x="1038" y="444"/>
                    </a:lnTo>
                    <a:lnTo>
                      <a:pt x="1092" y="426"/>
                    </a:lnTo>
                    <a:lnTo>
                      <a:pt x="1092" y="390"/>
                    </a:lnTo>
                    <a:lnTo>
                      <a:pt x="1086" y="372"/>
                    </a:lnTo>
                    <a:lnTo>
                      <a:pt x="1086" y="342"/>
                    </a:lnTo>
                    <a:lnTo>
                      <a:pt x="1080" y="336"/>
                    </a:lnTo>
                    <a:lnTo>
                      <a:pt x="1074" y="336"/>
                    </a:lnTo>
                    <a:lnTo>
                      <a:pt x="1074" y="324"/>
                    </a:lnTo>
                    <a:lnTo>
                      <a:pt x="1062" y="300"/>
                    </a:lnTo>
                    <a:lnTo>
                      <a:pt x="1056" y="294"/>
                    </a:lnTo>
                    <a:lnTo>
                      <a:pt x="1038" y="294"/>
                    </a:lnTo>
                    <a:lnTo>
                      <a:pt x="1032" y="300"/>
                    </a:lnTo>
                    <a:lnTo>
                      <a:pt x="1020" y="306"/>
                    </a:lnTo>
                    <a:lnTo>
                      <a:pt x="1020" y="384"/>
                    </a:lnTo>
                    <a:lnTo>
                      <a:pt x="1008" y="390"/>
                    </a:lnTo>
                    <a:lnTo>
                      <a:pt x="1002" y="402"/>
                    </a:lnTo>
                    <a:lnTo>
                      <a:pt x="990" y="408"/>
                    </a:lnTo>
                    <a:lnTo>
                      <a:pt x="984" y="414"/>
                    </a:lnTo>
                    <a:lnTo>
                      <a:pt x="978" y="414"/>
                    </a:lnTo>
                    <a:lnTo>
                      <a:pt x="966" y="426"/>
                    </a:lnTo>
                    <a:lnTo>
                      <a:pt x="954" y="450"/>
                    </a:lnTo>
                    <a:lnTo>
                      <a:pt x="948" y="456"/>
                    </a:lnTo>
                    <a:lnTo>
                      <a:pt x="948" y="450"/>
                    </a:lnTo>
                    <a:lnTo>
                      <a:pt x="942" y="444"/>
                    </a:lnTo>
                    <a:lnTo>
                      <a:pt x="930" y="444"/>
                    </a:lnTo>
                    <a:lnTo>
                      <a:pt x="924" y="450"/>
                    </a:lnTo>
                    <a:lnTo>
                      <a:pt x="924" y="468"/>
                    </a:lnTo>
                    <a:lnTo>
                      <a:pt x="912" y="450"/>
                    </a:lnTo>
                    <a:lnTo>
                      <a:pt x="852" y="450"/>
                    </a:lnTo>
                    <a:lnTo>
                      <a:pt x="834" y="444"/>
                    </a:lnTo>
                    <a:lnTo>
                      <a:pt x="822" y="438"/>
                    </a:lnTo>
                    <a:lnTo>
                      <a:pt x="816" y="432"/>
                    </a:lnTo>
                    <a:lnTo>
                      <a:pt x="804" y="426"/>
                    </a:lnTo>
                    <a:lnTo>
                      <a:pt x="798" y="426"/>
                    </a:lnTo>
                    <a:lnTo>
                      <a:pt x="786" y="432"/>
                    </a:lnTo>
                    <a:lnTo>
                      <a:pt x="762" y="432"/>
                    </a:lnTo>
                    <a:lnTo>
                      <a:pt x="756" y="426"/>
                    </a:lnTo>
                    <a:lnTo>
                      <a:pt x="756" y="414"/>
                    </a:lnTo>
                    <a:lnTo>
                      <a:pt x="762" y="402"/>
                    </a:lnTo>
                    <a:lnTo>
                      <a:pt x="768" y="396"/>
                    </a:lnTo>
                    <a:lnTo>
                      <a:pt x="774" y="384"/>
                    </a:lnTo>
                    <a:lnTo>
                      <a:pt x="780" y="378"/>
                    </a:lnTo>
                    <a:lnTo>
                      <a:pt x="780" y="342"/>
                    </a:lnTo>
                    <a:lnTo>
                      <a:pt x="798" y="342"/>
                    </a:lnTo>
                    <a:lnTo>
                      <a:pt x="804" y="336"/>
                    </a:lnTo>
                    <a:lnTo>
                      <a:pt x="804" y="330"/>
                    </a:lnTo>
                    <a:lnTo>
                      <a:pt x="798" y="318"/>
                    </a:lnTo>
                    <a:lnTo>
                      <a:pt x="792" y="312"/>
                    </a:lnTo>
                    <a:lnTo>
                      <a:pt x="798" y="300"/>
                    </a:lnTo>
                    <a:lnTo>
                      <a:pt x="804" y="294"/>
                    </a:lnTo>
                    <a:lnTo>
                      <a:pt x="804" y="282"/>
                    </a:lnTo>
                    <a:lnTo>
                      <a:pt x="810" y="276"/>
                    </a:lnTo>
                    <a:lnTo>
                      <a:pt x="804" y="270"/>
                    </a:lnTo>
                    <a:lnTo>
                      <a:pt x="792" y="264"/>
                    </a:lnTo>
                    <a:lnTo>
                      <a:pt x="774" y="258"/>
                    </a:lnTo>
                    <a:lnTo>
                      <a:pt x="762" y="252"/>
                    </a:lnTo>
                    <a:lnTo>
                      <a:pt x="750" y="252"/>
                    </a:lnTo>
                    <a:lnTo>
                      <a:pt x="744" y="246"/>
                    </a:lnTo>
                    <a:lnTo>
                      <a:pt x="708" y="228"/>
                    </a:lnTo>
                    <a:lnTo>
                      <a:pt x="690" y="216"/>
                    </a:lnTo>
                    <a:lnTo>
                      <a:pt x="678" y="210"/>
                    </a:lnTo>
                    <a:lnTo>
                      <a:pt x="672" y="204"/>
                    </a:lnTo>
                    <a:lnTo>
                      <a:pt x="666" y="204"/>
                    </a:lnTo>
                    <a:lnTo>
                      <a:pt x="660" y="198"/>
                    </a:lnTo>
                    <a:lnTo>
                      <a:pt x="648" y="192"/>
                    </a:lnTo>
                    <a:lnTo>
                      <a:pt x="642" y="186"/>
                    </a:lnTo>
                    <a:lnTo>
                      <a:pt x="630" y="180"/>
                    </a:lnTo>
                    <a:lnTo>
                      <a:pt x="600" y="180"/>
                    </a:lnTo>
                    <a:lnTo>
                      <a:pt x="564" y="162"/>
                    </a:lnTo>
                    <a:lnTo>
                      <a:pt x="558" y="156"/>
                    </a:lnTo>
                    <a:lnTo>
                      <a:pt x="552" y="156"/>
                    </a:lnTo>
                    <a:lnTo>
                      <a:pt x="546" y="138"/>
                    </a:lnTo>
                    <a:lnTo>
                      <a:pt x="534" y="132"/>
                    </a:lnTo>
                    <a:lnTo>
                      <a:pt x="516" y="114"/>
                    </a:lnTo>
                    <a:lnTo>
                      <a:pt x="492" y="102"/>
                    </a:lnTo>
                    <a:lnTo>
                      <a:pt x="486" y="96"/>
                    </a:lnTo>
                    <a:lnTo>
                      <a:pt x="480" y="84"/>
                    </a:lnTo>
                    <a:lnTo>
                      <a:pt x="468" y="78"/>
                    </a:lnTo>
                    <a:lnTo>
                      <a:pt x="462" y="66"/>
                    </a:lnTo>
                    <a:lnTo>
                      <a:pt x="456" y="60"/>
                    </a:lnTo>
                    <a:lnTo>
                      <a:pt x="456" y="54"/>
                    </a:lnTo>
                    <a:lnTo>
                      <a:pt x="438" y="36"/>
                    </a:lnTo>
                    <a:lnTo>
                      <a:pt x="402" y="12"/>
                    </a:lnTo>
                    <a:lnTo>
                      <a:pt x="330" y="18"/>
                    </a:lnTo>
                    <a:lnTo>
                      <a:pt x="318" y="72"/>
                    </a:lnTo>
                    <a:lnTo>
                      <a:pt x="288" y="24"/>
                    </a:lnTo>
                    <a:lnTo>
                      <a:pt x="234" y="24"/>
                    </a:lnTo>
                    <a:lnTo>
                      <a:pt x="216" y="18"/>
                    </a:lnTo>
                    <a:lnTo>
                      <a:pt x="204" y="18"/>
                    </a:lnTo>
                    <a:lnTo>
                      <a:pt x="180" y="6"/>
                    </a:lnTo>
                    <a:lnTo>
                      <a:pt x="174" y="0"/>
                    </a:lnTo>
                    <a:lnTo>
                      <a:pt x="162" y="24"/>
                    </a:lnTo>
                    <a:lnTo>
                      <a:pt x="138" y="30"/>
                    </a:lnTo>
                    <a:lnTo>
                      <a:pt x="138" y="48"/>
                    </a:lnTo>
                    <a:lnTo>
                      <a:pt x="126" y="48"/>
                    </a:lnTo>
                    <a:lnTo>
                      <a:pt x="126" y="78"/>
                    </a:lnTo>
                    <a:lnTo>
                      <a:pt x="114" y="78"/>
                    </a:lnTo>
                    <a:lnTo>
                      <a:pt x="126" y="96"/>
                    </a:lnTo>
                    <a:lnTo>
                      <a:pt x="114" y="180"/>
                    </a:lnTo>
                    <a:lnTo>
                      <a:pt x="108" y="180"/>
                    </a:lnTo>
                    <a:lnTo>
                      <a:pt x="102" y="186"/>
                    </a:lnTo>
                    <a:lnTo>
                      <a:pt x="90" y="192"/>
                    </a:lnTo>
                    <a:lnTo>
                      <a:pt x="72" y="198"/>
                    </a:lnTo>
                    <a:lnTo>
                      <a:pt x="60" y="210"/>
                    </a:lnTo>
                    <a:lnTo>
                      <a:pt x="48" y="216"/>
                    </a:lnTo>
                    <a:lnTo>
                      <a:pt x="42" y="228"/>
                    </a:lnTo>
                    <a:lnTo>
                      <a:pt x="36" y="234"/>
                    </a:lnTo>
                    <a:lnTo>
                      <a:pt x="36" y="240"/>
                    </a:lnTo>
                    <a:lnTo>
                      <a:pt x="42" y="246"/>
                    </a:lnTo>
                    <a:lnTo>
                      <a:pt x="54" y="252"/>
                    </a:lnTo>
                    <a:lnTo>
                      <a:pt x="66" y="252"/>
                    </a:lnTo>
                    <a:lnTo>
                      <a:pt x="66" y="258"/>
                    </a:lnTo>
                    <a:lnTo>
                      <a:pt x="42" y="282"/>
                    </a:lnTo>
                    <a:lnTo>
                      <a:pt x="42" y="300"/>
                    </a:lnTo>
                    <a:lnTo>
                      <a:pt x="48" y="306"/>
                    </a:lnTo>
                    <a:lnTo>
                      <a:pt x="60" y="312"/>
                    </a:lnTo>
                    <a:lnTo>
                      <a:pt x="72" y="324"/>
                    </a:lnTo>
                    <a:lnTo>
                      <a:pt x="78" y="336"/>
                    </a:lnTo>
                    <a:lnTo>
                      <a:pt x="72" y="342"/>
                    </a:lnTo>
                    <a:lnTo>
                      <a:pt x="66" y="354"/>
                    </a:lnTo>
                    <a:lnTo>
                      <a:pt x="54" y="366"/>
                    </a:lnTo>
                    <a:lnTo>
                      <a:pt x="48" y="366"/>
                    </a:lnTo>
                    <a:lnTo>
                      <a:pt x="54" y="366"/>
                    </a:lnTo>
                    <a:lnTo>
                      <a:pt x="60" y="372"/>
                    </a:lnTo>
                    <a:lnTo>
                      <a:pt x="84" y="384"/>
                    </a:lnTo>
                    <a:lnTo>
                      <a:pt x="90" y="396"/>
                    </a:lnTo>
                    <a:lnTo>
                      <a:pt x="90" y="408"/>
                    </a:lnTo>
                    <a:lnTo>
                      <a:pt x="78" y="414"/>
                    </a:lnTo>
                    <a:lnTo>
                      <a:pt x="72" y="420"/>
                    </a:lnTo>
                    <a:lnTo>
                      <a:pt x="54" y="420"/>
                    </a:lnTo>
                    <a:lnTo>
                      <a:pt x="54" y="432"/>
                    </a:lnTo>
                    <a:lnTo>
                      <a:pt x="48" y="450"/>
                    </a:lnTo>
                    <a:lnTo>
                      <a:pt x="48" y="462"/>
                    </a:lnTo>
                    <a:lnTo>
                      <a:pt x="42" y="474"/>
                    </a:lnTo>
                    <a:lnTo>
                      <a:pt x="42" y="486"/>
                    </a:lnTo>
                    <a:lnTo>
                      <a:pt x="30" y="498"/>
                    </a:lnTo>
                    <a:lnTo>
                      <a:pt x="24" y="510"/>
                    </a:lnTo>
                    <a:lnTo>
                      <a:pt x="18" y="516"/>
                    </a:lnTo>
                    <a:lnTo>
                      <a:pt x="18" y="582"/>
                    </a:lnTo>
                    <a:lnTo>
                      <a:pt x="6" y="594"/>
                    </a:lnTo>
                    <a:lnTo>
                      <a:pt x="6" y="606"/>
                    </a:lnTo>
                    <a:lnTo>
                      <a:pt x="18" y="630"/>
                    </a:lnTo>
                    <a:lnTo>
                      <a:pt x="30" y="666"/>
                    </a:lnTo>
                    <a:lnTo>
                      <a:pt x="36" y="678"/>
                    </a:lnTo>
                    <a:lnTo>
                      <a:pt x="36" y="684"/>
                    </a:lnTo>
                    <a:lnTo>
                      <a:pt x="12" y="684"/>
                    </a:lnTo>
                    <a:lnTo>
                      <a:pt x="18" y="738"/>
                    </a:lnTo>
                    <a:lnTo>
                      <a:pt x="6" y="744"/>
                    </a:lnTo>
                    <a:lnTo>
                      <a:pt x="0" y="744"/>
                    </a:lnTo>
                    <a:lnTo>
                      <a:pt x="0" y="768"/>
                    </a:lnTo>
                    <a:lnTo>
                      <a:pt x="6" y="774"/>
                    </a:lnTo>
                    <a:lnTo>
                      <a:pt x="6" y="780"/>
                    </a:lnTo>
                    <a:lnTo>
                      <a:pt x="18" y="786"/>
                    </a:lnTo>
                    <a:lnTo>
                      <a:pt x="36" y="804"/>
                    </a:lnTo>
                    <a:lnTo>
                      <a:pt x="36" y="816"/>
                    </a:lnTo>
                    <a:lnTo>
                      <a:pt x="30" y="822"/>
                    </a:lnTo>
                    <a:lnTo>
                      <a:pt x="30" y="828"/>
                    </a:lnTo>
                    <a:lnTo>
                      <a:pt x="48" y="846"/>
                    </a:lnTo>
                    <a:lnTo>
                      <a:pt x="60" y="876"/>
                    </a:lnTo>
                    <a:lnTo>
                      <a:pt x="66" y="888"/>
                    </a:lnTo>
                    <a:lnTo>
                      <a:pt x="60" y="894"/>
                    </a:lnTo>
                    <a:lnTo>
                      <a:pt x="60" y="906"/>
                    </a:lnTo>
                    <a:lnTo>
                      <a:pt x="72" y="918"/>
                    </a:lnTo>
                    <a:lnTo>
                      <a:pt x="96" y="918"/>
                    </a:lnTo>
                    <a:lnTo>
                      <a:pt x="102" y="960"/>
                    </a:lnTo>
                    <a:lnTo>
                      <a:pt x="108" y="972"/>
                    </a:lnTo>
                    <a:lnTo>
                      <a:pt x="114" y="978"/>
                    </a:lnTo>
                    <a:lnTo>
                      <a:pt x="120" y="990"/>
                    </a:lnTo>
                    <a:lnTo>
                      <a:pt x="120" y="996"/>
                    </a:lnTo>
                    <a:lnTo>
                      <a:pt x="102" y="1014"/>
                    </a:lnTo>
                    <a:lnTo>
                      <a:pt x="102" y="1038"/>
                    </a:lnTo>
                    <a:lnTo>
                      <a:pt x="96" y="1056"/>
                    </a:lnTo>
                    <a:lnTo>
                      <a:pt x="96" y="1086"/>
                    </a:lnTo>
                    <a:lnTo>
                      <a:pt x="84" y="1086"/>
                    </a:lnTo>
                    <a:lnTo>
                      <a:pt x="90" y="1092"/>
                    </a:lnTo>
                    <a:lnTo>
                      <a:pt x="96" y="1104"/>
                    </a:lnTo>
                    <a:lnTo>
                      <a:pt x="102" y="1110"/>
                    </a:lnTo>
                    <a:lnTo>
                      <a:pt x="108" y="1122"/>
                    </a:lnTo>
                    <a:lnTo>
                      <a:pt x="114" y="1128"/>
                    </a:lnTo>
                    <a:lnTo>
                      <a:pt x="114" y="1140"/>
                    </a:lnTo>
                    <a:lnTo>
                      <a:pt x="108" y="1152"/>
                    </a:lnTo>
                    <a:lnTo>
                      <a:pt x="108" y="1158"/>
                    </a:lnTo>
                    <a:lnTo>
                      <a:pt x="102" y="1176"/>
                    </a:lnTo>
                    <a:lnTo>
                      <a:pt x="78" y="1182"/>
                    </a:lnTo>
                    <a:lnTo>
                      <a:pt x="78" y="1188"/>
                    </a:lnTo>
                    <a:lnTo>
                      <a:pt x="84" y="1194"/>
                    </a:lnTo>
                    <a:lnTo>
                      <a:pt x="84" y="1206"/>
                    </a:lnTo>
                    <a:lnTo>
                      <a:pt x="90" y="1224"/>
                    </a:lnTo>
                    <a:lnTo>
                      <a:pt x="96" y="1236"/>
                    </a:lnTo>
                    <a:lnTo>
                      <a:pt x="96" y="1284"/>
                    </a:lnTo>
                    <a:lnTo>
                      <a:pt x="126" y="1308"/>
                    </a:lnTo>
                    <a:lnTo>
                      <a:pt x="126" y="1326"/>
                    </a:lnTo>
                    <a:lnTo>
                      <a:pt x="132" y="1326"/>
                    </a:lnTo>
                    <a:lnTo>
                      <a:pt x="150" y="1344"/>
                    </a:lnTo>
                    <a:lnTo>
                      <a:pt x="150" y="1350"/>
                    </a:lnTo>
                    <a:lnTo>
                      <a:pt x="144" y="1362"/>
                    </a:lnTo>
                    <a:lnTo>
                      <a:pt x="132" y="1368"/>
                    </a:lnTo>
                    <a:lnTo>
                      <a:pt x="126" y="1374"/>
                    </a:lnTo>
                    <a:lnTo>
                      <a:pt x="120" y="1374"/>
                    </a:lnTo>
                    <a:lnTo>
                      <a:pt x="132" y="1416"/>
                    </a:lnTo>
                    <a:lnTo>
                      <a:pt x="114" y="1428"/>
                    </a:lnTo>
                    <a:lnTo>
                      <a:pt x="132" y="1446"/>
                    </a:lnTo>
                    <a:lnTo>
                      <a:pt x="132" y="1452"/>
                    </a:lnTo>
                    <a:lnTo>
                      <a:pt x="126" y="1464"/>
                    </a:lnTo>
                    <a:lnTo>
                      <a:pt x="126" y="1470"/>
                    </a:lnTo>
                    <a:lnTo>
                      <a:pt x="144" y="1482"/>
                    </a:lnTo>
                    <a:lnTo>
                      <a:pt x="144" y="1494"/>
                    </a:lnTo>
                    <a:lnTo>
                      <a:pt x="138" y="1500"/>
                    </a:lnTo>
                    <a:lnTo>
                      <a:pt x="138" y="1530"/>
                    </a:lnTo>
                    <a:lnTo>
                      <a:pt x="144" y="1536"/>
                    </a:lnTo>
                    <a:lnTo>
                      <a:pt x="150" y="1548"/>
                    </a:lnTo>
                    <a:lnTo>
                      <a:pt x="150" y="1572"/>
                    </a:lnTo>
                    <a:lnTo>
                      <a:pt x="156" y="1584"/>
                    </a:lnTo>
                    <a:lnTo>
                      <a:pt x="174" y="1602"/>
                    </a:lnTo>
                    <a:lnTo>
                      <a:pt x="186" y="1608"/>
                    </a:lnTo>
                    <a:lnTo>
                      <a:pt x="198" y="1620"/>
                    </a:lnTo>
                    <a:lnTo>
                      <a:pt x="192" y="1620"/>
                    </a:lnTo>
                    <a:lnTo>
                      <a:pt x="180" y="1626"/>
                    </a:lnTo>
                    <a:lnTo>
                      <a:pt x="174" y="1632"/>
                    </a:lnTo>
                    <a:lnTo>
                      <a:pt x="174" y="1644"/>
                    </a:lnTo>
                    <a:lnTo>
                      <a:pt x="180" y="1656"/>
                    </a:lnTo>
                    <a:lnTo>
                      <a:pt x="180" y="1674"/>
                    </a:lnTo>
                    <a:lnTo>
                      <a:pt x="186" y="1686"/>
                    </a:lnTo>
                    <a:lnTo>
                      <a:pt x="186" y="1698"/>
                    </a:lnTo>
                    <a:lnTo>
                      <a:pt x="192" y="1704"/>
                    </a:lnTo>
                    <a:lnTo>
                      <a:pt x="216" y="1716"/>
                    </a:lnTo>
                    <a:lnTo>
                      <a:pt x="210" y="1746"/>
                    </a:lnTo>
                    <a:lnTo>
                      <a:pt x="216" y="1746"/>
                    </a:lnTo>
                    <a:lnTo>
                      <a:pt x="228" y="1752"/>
                    </a:lnTo>
                    <a:lnTo>
                      <a:pt x="234" y="1758"/>
                    </a:lnTo>
                    <a:lnTo>
                      <a:pt x="234" y="1764"/>
                    </a:lnTo>
                    <a:lnTo>
                      <a:pt x="240" y="1776"/>
                    </a:lnTo>
                    <a:lnTo>
                      <a:pt x="240" y="1806"/>
                    </a:lnTo>
                    <a:lnTo>
                      <a:pt x="252" y="1818"/>
                    </a:lnTo>
                    <a:lnTo>
                      <a:pt x="282" y="1818"/>
                    </a:lnTo>
                    <a:lnTo>
                      <a:pt x="294" y="1824"/>
                    </a:lnTo>
                    <a:lnTo>
                      <a:pt x="294" y="1830"/>
                    </a:lnTo>
                    <a:lnTo>
                      <a:pt x="288" y="1836"/>
                    </a:lnTo>
                    <a:lnTo>
                      <a:pt x="276" y="1836"/>
                    </a:lnTo>
                    <a:lnTo>
                      <a:pt x="264" y="1842"/>
                    </a:lnTo>
                    <a:lnTo>
                      <a:pt x="246" y="1842"/>
                    </a:lnTo>
                    <a:lnTo>
                      <a:pt x="252" y="1848"/>
                    </a:lnTo>
                    <a:lnTo>
                      <a:pt x="258" y="1848"/>
                    </a:lnTo>
                    <a:lnTo>
                      <a:pt x="270" y="1854"/>
                    </a:lnTo>
                    <a:lnTo>
                      <a:pt x="276" y="1860"/>
                    </a:lnTo>
                    <a:lnTo>
                      <a:pt x="288" y="1860"/>
                    </a:lnTo>
                    <a:lnTo>
                      <a:pt x="312" y="1884"/>
                    </a:lnTo>
                    <a:lnTo>
                      <a:pt x="306" y="1890"/>
                    </a:lnTo>
                    <a:lnTo>
                      <a:pt x="300" y="1902"/>
                    </a:lnTo>
                    <a:lnTo>
                      <a:pt x="288" y="1914"/>
                    </a:lnTo>
                    <a:lnTo>
                      <a:pt x="312" y="1932"/>
                    </a:lnTo>
                    <a:lnTo>
                      <a:pt x="306" y="1956"/>
                    </a:lnTo>
                    <a:lnTo>
                      <a:pt x="330" y="1980"/>
                    </a:lnTo>
                    <a:lnTo>
                      <a:pt x="324" y="2016"/>
                    </a:lnTo>
                    <a:lnTo>
                      <a:pt x="336" y="2040"/>
                    </a:lnTo>
                    <a:lnTo>
                      <a:pt x="324" y="2046"/>
                    </a:lnTo>
                    <a:lnTo>
                      <a:pt x="318" y="2088"/>
                    </a:lnTo>
                    <a:lnTo>
                      <a:pt x="324" y="2088"/>
                    </a:lnTo>
                    <a:lnTo>
                      <a:pt x="348" y="2112"/>
                    </a:lnTo>
                    <a:lnTo>
                      <a:pt x="348" y="2118"/>
                    </a:lnTo>
                    <a:lnTo>
                      <a:pt x="342" y="2118"/>
                    </a:lnTo>
                    <a:lnTo>
                      <a:pt x="330" y="2124"/>
                    </a:lnTo>
                    <a:lnTo>
                      <a:pt x="324" y="2130"/>
                    </a:lnTo>
                    <a:lnTo>
                      <a:pt x="348" y="2154"/>
                    </a:lnTo>
                    <a:lnTo>
                      <a:pt x="348" y="2160"/>
                    </a:lnTo>
                    <a:lnTo>
                      <a:pt x="342" y="2166"/>
                    </a:lnTo>
                    <a:lnTo>
                      <a:pt x="336" y="2166"/>
                    </a:lnTo>
                    <a:lnTo>
                      <a:pt x="330" y="2172"/>
                    </a:lnTo>
                    <a:lnTo>
                      <a:pt x="324" y="2172"/>
                    </a:lnTo>
                    <a:lnTo>
                      <a:pt x="324" y="2196"/>
                    </a:lnTo>
                    <a:lnTo>
                      <a:pt x="312" y="2202"/>
                    </a:lnTo>
                    <a:lnTo>
                      <a:pt x="312" y="2214"/>
                    </a:lnTo>
                    <a:lnTo>
                      <a:pt x="318" y="2226"/>
                    </a:lnTo>
                    <a:lnTo>
                      <a:pt x="324" y="2232"/>
                    </a:lnTo>
                    <a:lnTo>
                      <a:pt x="324" y="2268"/>
                    </a:lnTo>
                    <a:lnTo>
                      <a:pt x="354" y="2274"/>
                    </a:lnTo>
                    <a:lnTo>
                      <a:pt x="354" y="2280"/>
                    </a:lnTo>
                    <a:lnTo>
                      <a:pt x="360" y="2286"/>
                    </a:lnTo>
                    <a:lnTo>
                      <a:pt x="360" y="2298"/>
                    </a:lnTo>
                    <a:lnTo>
                      <a:pt x="366" y="2304"/>
                    </a:lnTo>
                    <a:lnTo>
                      <a:pt x="378" y="2310"/>
                    </a:lnTo>
                    <a:lnTo>
                      <a:pt x="384" y="2310"/>
                    </a:lnTo>
                    <a:lnTo>
                      <a:pt x="396" y="2298"/>
                    </a:lnTo>
                    <a:lnTo>
                      <a:pt x="414" y="2298"/>
                    </a:lnTo>
                    <a:lnTo>
                      <a:pt x="426" y="2304"/>
                    </a:lnTo>
                    <a:lnTo>
                      <a:pt x="438" y="2316"/>
                    </a:lnTo>
                    <a:lnTo>
                      <a:pt x="438" y="2340"/>
                    </a:lnTo>
                    <a:lnTo>
                      <a:pt x="456" y="2364"/>
                    </a:lnTo>
                    <a:lnTo>
                      <a:pt x="468" y="2382"/>
                    </a:lnTo>
                    <a:lnTo>
                      <a:pt x="504" y="2400"/>
                    </a:lnTo>
                    <a:lnTo>
                      <a:pt x="522" y="2418"/>
                    </a:lnTo>
                    <a:lnTo>
                      <a:pt x="534" y="2418"/>
                    </a:lnTo>
                    <a:lnTo>
                      <a:pt x="546" y="2412"/>
                    </a:lnTo>
                    <a:lnTo>
                      <a:pt x="642" y="2412"/>
                    </a:lnTo>
                    <a:lnTo>
                      <a:pt x="666" y="2430"/>
                    </a:lnTo>
                    <a:lnTo>
                      <a:pt x="660" y="2442"/>
                    </a:lnTo>
                    <a:lnTo>
                      <a:pt x="666" y="2424"/>
                    </a:lnTo>
                    <a:lnTo>
                      <a:pt x="672" y="2418"/>
                    </a:lnTo>
                    <a:lnTo>
                      <a:pt x="684" y="2418"/>
                    </a:lnTo>
                    <a:lnTo>
                      <a:pt x="690" y="2424"/>
                    </a:lnTo>
                    <a:lnTo>
                      <a:pt x="702" y="2424"/>
                    </a:lnTo>
                    <a:lnTo>
                      <a:pt x="714" y="2430"/>
                    </a:lnTo>
                    <a:lnTo>
                      <a:pt x="720" y="2436"/>
                    </a:lnTo>
                    <a:lnTo>
                      <a:pt x="678" y="2382"/>
                    </a:lnTo>
                    <a:lnTo>
                      <a:pt x="660" y="2382"/>
                    </a:lnTo>
                    <a:lnTo>
                      <a:pt x="666" y="2370"/>
                    </a:lnTo>
                    <a:lnTo>
                      <a:pt x="630" y="2340"/>
                    </a:lnTo>
                    <a:lnTo>
                      <a:pt x="630" y="2310"/>
                    </a:lnTo>
                    <a:lnTo>
                      <a:pt x="618" y="2298"/>
                    </a:lnTo>
                    <a:lnTo>
                      <a:pt x="624" y="2286"/>
                    </a:lnTo>
                    <a:lnTo>
                      <a:pt x="630" y="2286"/>
                    </a:lnTo>
                    <a:lnTo>
                      <a:pt x="642" y="2274"/>
                    </a:lnTo>
                    <a:lnTo>
                      <a:pt x="642" y="2268"/>
                    </a:lnTo>
                    <a:lnTo>
                      <a:pt x="636" y="2268"/>
                    </a:lnTo>
                    <a:lnTo>
                      <a:pt x="624" y="2262"/>
                    </a:lnTo>
                    <a:lnTo>
                      <a:pt x="606" y="2262"/>
                    </a:lnTo>
                    <a:lnTo>
                      <a:pt x="618" y="2250"/>
                    </a:lnTo>
                    <a:lnTo>
                      <a:pt x="618" y="2232"/>
                    </a:lnTo>
                    <a:lnTo>
                      <a:pt x="636" y="2256"/>
                    </a:lnTo>
                    <a:lnTo>
                      <a:pt x="648" y="2262"/>
                    </a:lnTo>
                    <a:lnTo>
                      <a:pt x="666" y="2262"/>
                    </a:lnTo>
                    <a:lnTo>
                      <a:pt x="672" y="2256"/>
                    </a:lnTo>
                    <a:lnTo>
                      <a:pt x="678" y="2244"/>
                    </a:lnTo>
                    <a:lnTo>
                      <a:pt x="678" y="2226"/>
                    </a:lnTo>
                    <a:lnTo>
                      <a:pt x="672" y="2208"/>
                    </a:lnTo>
                    <a:lnTo>
                      <a:pt x="666" y="2196"/>
                    </a:lnTo>
                    <a:lnTo>
                      <a:pt x="666" y="2178"/>
                    </a:lnTo>
                    <a:lnTo>
                      <a:pt x="678" y="2154"/>
                    </a:lnTo>
                    <a:lnTo>
                      <a:pt x="690" y="2142"/>
                    </a:lnTo>
                    <a:lnTo>
                      <a:pt x="708" y="2130"/>
                    </a:lnTo>
                    <a:lnTo>
                      <a:pt x="738" y="2100"/>
                    </a:lnTo>
                    <a:lnTo>
                      <a:pt x="726" y="2088"/>
                    </a:lnTo>
                    <a:lnTo>
                      <a:pt x="702" y="2088"/>
                    </a:lnTo>
                    <a:lnTo>
                      <a:pt x="726" y="2082"/>
                    </a:lnTo>
                    <a:lnTo>
                      <a:pt x="726" y="2064"/>
                    </a:lnTo>
                    <a:lnTo>
                      <a:pt x="714" y="2040"/>
                    </a:lnTo>
                    <a:lnTo>
                      <a:pt x="708" y="2034"/>
                    </a:lnTo>
                    <a:lnTo>
                      <a:pt x="696" y="2028"/>
                    </a:lnTo>
                    <a:lnTo>
                      <a:pt x="690" y="2028"/>
                    </a:lnTo>
                    <a:lnTo>
                      <a:pt x="684" y="2034"/>
                    </a:lnTo>
                    <a:lnTo>
                      <a:pt x="672" y="2016"/>
                    </a:lnTo>
                    <a:lnTo>
                      <a:pt x="642" y="2016"/>
                    </a:lnTo>
                    <a:lnTo>
                      <a:pt x="636" y="2010"/>
                    </a:lnTo>
                    <a:lnTo>
                      <a:pt x="624" y="2004"/>
                    </a:lnTo>
                    <a:lnTo>
                      <a:pt x="606" y="1992"/>
                    </a:lnTo>
                    <a:lnTo>
                      <a:pt x="582" y="1968"/>
                    </a:lnTo>
                    <a:lnTo>
                      <a:pt x="570" y="1950"/>
                    </a:lnTo>
                    <a:lnTo>
                      <a:pt x="564" y="1938"/>
                    </a:lnTo>
                    <a:lnTo>
                      <a:pt x="564" y="1926"/>
                    </a:lnTo>
                    <a:lnTo>
                      <a:pt x="570" y="1914"/>
                    </a:lnTo>
                    <a:lnTo>
                      <a:pt x="570" y="1908"/>
                    </a:lnTo>
                    <a:lnTo>
                      <a:pt x="576" y="1908"/>
                    </a:lnTo>
                    <a:lnTo>
                      <a:pt x="582" y="1902"/>
                    </a:lnTo>
                    <a:lnTo>
                      <a:pt x="594" y="1878"/>
                    </a:lnTo>
                    <a:lnTo>
                      <a:pt x="606" y="1878"/>
                    </a:lnTo>
                    <a:lnTo>
                      <a:pt x="612" y="1860"/>
                    </a:lnTo>
                    <a:lnTo>
                      <a:pt x="666" y="1860"/>
                    </a:lnTo>
                    <a:lnTo>
                      <a:pt x="654" y="1848"/>
                    </a:lnTo>
                    <a:lnTo>
                      <a:pt x="654" y="1824"/>
                    </a:lnTo>
                    <a:lnTo>
                      <a:pt x="666" y="1824"/>
                    </a:lnTo>
                    <a:lnTo>
                      <a:pt x="666" y="1794"/>
                    </a:lnTo>
                    <a:lnTo>
                      <a:pt x="660" y="1788"/>
                    </a:lnTo>
                    <a:lnTo>
                      <a:pt x="654" y="1776"/>
                    </a:lnTo>
                    <a:lnTo>
                      <a:pt x="642" y="1764"/>
                    </a:lnTo>
                    <a:lnTo>
                      <a:pt x="642" y="1746"/>
                    </a:lnTo>
                    <a:lnTo>
                      <a:pt x="648" y="1728"/>
                    </a:lnTo>
                    <a:lnTo>
                      <a:pt x="654" y="1716"/>
                    </a:lnTo>
                    <a:lnTo>
                      <a:pt x="666" y="1710"/>
                    </a:lnTo>
                    <a:lnTo>
                      <a:pt x="672" y="1704"/>
                    </a:lnTo>
                    <a:lnTo>
                      <a:pt x="684" y="1704"/>
                    </a:lnTo>
                    <a:lnTo>
                      <a:pt x="684" y="1692"/>
                    </a:lnTo>
                    <a:lnTo>
                      <a:pt x="660" y="1692"/>
                    </a:lnTo>
                    <a:lnTo>
                      <a:pt x="648" y="1686"/>
                    </a:lnTo>
                    <a:lnTo>
                      <a:pt x="642" y="1680"/>
                    </a:lnTo>
                    <a:lnTo>
                      <a:pt x="642" y="1674"/>
                    </a:lnTo>
                    <a:lnTo>
                      <a:pt x="654" y="1668"/>
                    </a:lnTo>
                    <a:lnTo>
                      <a:pt x="666" y="1668"/>
                    </a:lnTo>
                    <a:lnTo>
                      <a:pt x="702" y="1686"/>
                    </a:lnTo>
                    <a:lnTo>
                      <a:pt x="708" y="1692"/>
                    </a:lnTo>
                    <a:lnTo>
                      <a:pt x="714" y="1692"/>
                    </a:lnTo>
                    <a:lnTo>
                      <a:pt x="720" y="1686"/>
                    </a:lnTo>
                    <a:lnTo>
                      <a:pt x="732" y="1680"/>
                    </a:lnTo>
                    <a:lnTo>
                      <a:pt x="732" y="1656"/>
                    </a:lnTo>
                    <a:lnTo>
                      <a:pt x="726" y="1644"/>
                    </a:lnTo>
                    <a:lnTo>
                      <a:pt x="708" y="1626"/>
                    </a:lnTo>
                    <a:lnTo>
                      <a:pt x="696" y="1626"/>
                    </a:lnTo>
                    <a:lnTo>
                      <a:pt x="690" y="1632"/>
                    </a:lnTo>
                    <a:lnTo>
                      <a:pt x="690" y="1650"/>
                    </a:lnTo>
                    <a:lnTo>
                      <a:pt x="684" y="1656"/>
                    </a:lnTo>
                    <a:lnTo>
                      <a:pt x="666" y="1656"/>
                    </a:lnTo>
                    <a:lnTo>
                      <a:pt x="654" y="1650"/>
                    </a:lnTo>
                    <a:lnTo>
                      <a:pt x="648" y="1644"/>
                    </a:lnTo>
                    <a:lnTo>
                      <a:pt x="648" y="1638"/>
                    </a:lnTo>
                    <a:lnTo>
                      <a:pt x="612" y="1638"/>
                    </a:lnTo>
                    <a:lnTo>
                      <a:pt x="606" y="1632"/>
                    </a:lnTo>
                    <a:lnTo>
                      <a:pt x="606" y="1572"/>
                    </a:lnTo>
                    <a:lnTo>
                      <a:pt x="600" y="1566"/>
                    </a:lnTo>
                    <a:lnTo>
                      <a:pt x="594" y="1554"/>
                    </a:lnTo>
                    <a:lnTo>
                      <a:pt x="588" y="1536"/>
                    </a:lnTo>
                    <a:lnTo>
                      <a:pt x="588" y="1524"/>
                    </a:lnTo>
                    <a:lnTo>
                      <a:pt x="594" y="1518"/>
                    </a:lnTo>
                    <a:lnTo>
                      <a:pt x="600" y="1518"/>
                    </a:lnTo>
                    <a:lnTo>
                      <a:pt x="606" y="1524"/>
                    </a:lnTo>
                    <a:lnTo>
                      <a:pt x="618" y="1524"/>
                    </a:lnTo>
                    <a:lnTo>
                      <a:pt x="624" y="1530"/>
                    </a:lnTo>
                    <a:lnTo>
                      <a:pt x="636" y="1536"/>
                    </a:lnTo>
                    <a:lnTo>
                      <a:pt x="672" y="1548"/>
                    </a:lnTo>
                    <a:lnTo>
                      <a:pt x="690" y="1560"/>
                    </a:lnTo>
                    <a:lnTo>
                      <a:pt x="708" y="1560"/>
                    </a:lnTo>
                    <a:lnTo>
                      <a:pt x="726" y="1554"/>
                    </a:lnTo>
                    <a:lnTo>
                      <a:pt x="738" y="1542"/>
                    </a:lnTo>
                    <a:lnTo>
                      <a:pt x="750" y="1536"/>
                    </a:lnTo>
                    <a:lnTo>
                      <a:pt x="768" y="1530"/>
                    </a:lnTo>
                    <a:lnTo>
                      <a:pt x="774" y="1524"/>
                    </a:lnTo>
                    <a:lnTo>
                      <a:pt x="774" y="1512"/>
                    </a:lnTo>
                    <a:lnTo>
                      <a:pt x="762" y="1506"/>
                    </a:lnTo>
                    <a:lnTo>
                      <a:pt x="750" y="1494"/>
                    </a:lnTo>
                    <a:lnTo>
                      <a:pt x="738" y="1488"/>
                    </a:lnTo>
                    <a:lnTo>
                      <a:pt x="738" y="1464"/>
                    </a:lnTo>
                    <a:lnTo>
                      <a:pt x="744" y="1452"/>
                    </a:lnTo>
                    <a:lnTo>
                      <a:pt x="750" y="1446"/>
                    </a:lnTo>
                    <a:lnTo>
                      <a:pt x="750" y="1434"/>
                    </a:lnTo>
                    <a:lnTo>
                      <a:pt x="756" y="1422"/>
                    </a:lnTo>
                    <a:lnTo>
                      <a:pt x="744" y="1410"/>
                    </a:lnTo>
                    <a:lnTo>
                      <a:pt x="726" y="1410"/>
                    </a:lnTo>
                    <a:lnTo>
                      <a:pt x="720" y="1386"/>
                    </a:lnTo>
                    <a:lnTo>
                      <a:pt x="714" y="1380"/>
                    </a:lnTo>
                    <a:lnTo>
                      <a:pt x="714" y="1368"/>
                    </a:lnTo>
                    <a:lnTo>
                      <a:pt x="720" y="1362"/>
                    </a:lnTo>
                    <a:lnTo>
                      <a:pt x="726" y="1362"/>
                    </a:lnTo>
                    <a:lnTo>
                      <a:pt x="732" y="1374"/>
                    </a:lnTo>
                    <a:lnTo>
                      <a:pt x="738" y="1380"/>
                    </a:lnTo>
                    <a:lnTo>
                      <a:pt x="738" y="1386"/>
                    </a:lnTo>
                    <a:lnTo>
                      <a:pt x="744" y="1398"/>
                    </a:lnTo>
                    <a:lnTo>
                      <a:pt x="756" y="1398"/>
                    </a:lnTo>
                    <a:lnTo>
                      <a:pt x="750" y="1380"/>
                    </a:lnTo>
                    <a:lnTo>
                      <a:pt x="828" y="1386"/>
                    </a:lnTo>
                    <a:lnTo>
                      <a:pt x="834" y="1380"/>
                    </a:lnTo>
                    <a:lnTo>
                      <a:pt x="840" y="1380"/>
                    </a:lnTo>
                    <a:lnTo>
                      <a:pt x="846" y="1374"/>
                    </a:lnTo>
                    <a:lnTo>
                      <a:pt x="864" y="1368"/>
                    </a:lnTo>
                    <a:lnTo>
                      <a:pt x="894" y="1362"/>
                    </a:lnTo>
                    <a:lnTo>
                      <a:pt x="930" y="1350"/>
                    </a:lnTo>
                    <a:lnTo>
                      <a:pt x="972" y="1338"/>
                    </a:lnTo>
                    <a:lnTo>
                      <a:pt x="1002" y="1326"/>
                    </a:lnTo>
                    <a:lnTo>
                      <a:pt x="1014" y="1320"/>
                    </a:lnTo>
                    <a:lnTo>
                      <a:pt x="1014" y="1284"/>
                    </a:lnTo>
                    <a:lnTo>
                      <a:pt x="1032" y="1272"/>
                    </a:lnTo>
                    <a:lnTo>
                      <a:pt x="1044" y="1218"/>
                    </a:lnTo>
                    <a:lnTo>
                      <a:pt x="1038" y="1194"/>
                    </a:lnTo>
                    <a:lnTo>
                      <a:pt x="1038" y="1170"/>
                    </a:lnTo>
                    <a:lnTo>
                      <a:pt x="1032" y="1170"/>
                    </a:lnTo>
                    <a:lnTo>
                      <a:pt x="1026" y="1164"/>
                    </a:lnTo>
                    <a:lnTo>
                      <a:pt x="1002" y="1152"/>
                    </a:lnTo>
                    <a:lnTo>
                      <a:pt x="990" y="1152"/>
                    </a:lnTo>
                    <a:lnTo>
                      <a:pt x="984" y="1146"/>
                    </a:lnTo>
                    <a:lnTo>
                      <a:pt x="978" y="1146"/>
                    </a:lnTo>
                    <a:lnTo>
                      <a:pt x="972" y="1140"/>
                    </a:lnTo>
                    <a:lnTo>
                      <a:pt x="990" y="1122"/>
                    </a:lnTo>
                    <a:lnTo>
                      <a:pt x="990" y="1092"/>
                    </a:lnTo>
                    <a:lnTo>
                      <a:pt x="984" y="1080"/>
                    </a:lnTo>
                    <a:lnTo>
                      <a:pt x="978" y="1074"/>
                    </a:lnTo>
                    <a:lnTo>
                      <a:pt x="954" y="1062"/>
                    </a:lnTo>
                    <a:lnTo>
                      <a:pt x="918" y="1050"/>
                    </a:lnTo>
                    <a:lnTo>
                      <a:pt x="906" y="1044"/>
                    </a:lnTo>
                    <a:lnTo>
                      <a:pt x="888" y="1032"/>
                    </a:lnTo>
                    <a:lnTo>
                      <a:pt x="876" y="1020"/>
                    </a:lnTo>
                    <a:lnTo>
                      <a:pt x="876" y="1002"/>
                    </a:lnTo>
                    <a:lnTo>
                      <a:pt x="882" y="990"/>
                    </a:lnTo>
                    <a:lnTo>
                      <a:pt x="888" y="990"/>
                    </a:lnTo>
                    <a:lnTo>
                      <a:pt x="888" y="984"/>
                    </a:lnTo>
                    <a:lnTo>
                      <a:pt x="858" y="948"/>
                    </a:lnTo>
                    <a:lnTo>
                      <a:pt x="858" y="900"/>
                    </a:lnTo>
                    <a:lnTo>
                      <a:pt x="882" y="900"/>
                    </a:lnTo>
                    <a:lnTo>
                      <a:pt x="888" y="894"/>
                    </a:lnTo>
                    <a:lnTo>
                      <a:pt x="894" y="894"/>
                    </a:lnTo>
                    <a:lnTo>
                      <a:pt x="894" y="888"/>
                    </a:lnTo>
                    <a:lnTo>
                      <a:pt x="888" y="876"/>
                    </a:lnTo>
                    <a:lnTo>
                      <a:pt x="876" y="870"/>
                    </a:lnTo>
                    <a:lnTo>
                      <a:pt x="870" y="858"/>
                    </a:lnTo>
                    <a:lnTo>
                      <a:pt x="864" y="852"/>
                    </a:lnTo>
                    <a:lnTo>
                      <a:pt x="876" y="834"/>
                    </a:lnTo>
                    <a:lnTo>
                      <a:pt x="864" y="822"/>
                    </a:lnTo>
                    <a:lnTo>
                      <a:pt x="858" y="810"/>
                    </a:lnTo>
                    <a:lnTo>
                      <a:pt x="852" y="804"/>
                    </a:lnTo>
                    <a:lnTo>
                      <a:pt x="864" y="792"/>
                    </a:lnTo>
                    <a:lnTo>
                      <a:pt x="882" y="792"/>
                    </a:lnTo>
                    <a:lnTo>
                      <a:pt x="858" y="774"/>
                    </a:lnTo>
                    <a:lnTo>
                      <a:pt x="858" y="738"/>
                    </a:lnTo>
                    <a:lnTo>
                      <a:pt x="882" y="726"/>
                    </a:lnTo>
                    <a:lnTo>
                      <a:pt x="876" y="726"/>
                    </a:lnTo>
                    <a:lnTo>
                      <a:pt x="852" y="702"/>
                    </a:lnTo>
                    <a:lnTo>
                      <a:pt x="852" y="696"/>
                    </a:lnTo>
                    <a:lnTo>
                      <a:pt x="870" y="678"/>
                    </a:lnTo>
                    <a:lnTo>
                      <a:pt x="870" y="666"/>
                    </a:lnTo>
                    <a:lnTo>
                      <a:pt x="876" y="654"/>
                    </a:lnTo>
                    <a:lnTo>
                      <a:pt x="876" y="642"/>
                    </a:lnTo>
                    <a:lnTo>
                      <a:pt x="882" y="636"/>
                    </a:lnTo>
                    <a:lnTo>
                      <a:pt x="900" y="636"/>
                    </a:lnTo>
                    <a:lnTo>
                      <a:pt x="906" y="630"/>
                    </a:lnTo>
                    <a:lnTo>
                      <a:pt x="912" y="618"/>
                    </a:lnTo>
                    <a:lnTo>
                      <a:pt x="918" y="612"/>
                    </a:lnTo>
                    <a:lnTo>
                      <a:pt x="918" y="588"/>
                    </a:lnTo>
                    <a:lnTo>
                      <a:pt x="930" y="588"/>
                    </a:lnTo>
                    <a:lnTo>
                      <a:pt x="948" y="570"/>
                    </a:lnTo>
                    <a:lnTo>
                      <a:pt x="948" y="558"/>
                    </a:lnTo>
                    <a:lnTo>
                      <a:pt x="954" y="546"/>
                    </a:lnTo>
                    <a:lnTo>
                      <a:pt x="954" y="534"/>
                    </a:lnTo>
                    <a:close/>
                    <a:moveTo>
                      <a:pt x="930" y="1020"/>
                    </a:moveTo>
                    <a:lnTo>
                      <a:pt x="942" y="1020"/>
                    </a:lnTo>
                    <a:lnTo>
                      <a:pt x="930" y="1014"/>
                    </a:lnTo>
                    <a:lnTo>
                      <a:pt x="930" y="1020"/>
                    </a:lnTo>
                    <a:close/>
                  </a:path>
                </a:pathLst>
              </a:custGeom>
              <a:solidFill>
                <a:schemeClr val="accent6"/>
              </a:solidFill>
              <a:ln w="3175">
                <a:solidFill>
                  <a:schemeClr val="accent6"/>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panose="020F0502020204030203" pitchFamily="34" charset="0"/>
                  <a:ea typeface="+mn-ea"/>
                  <a:cs typeface="+mn-cs"/>
                </a:endParaRPr>
              </a:p>
            </p:txBody>
          </p:sp>
        </p:grpSp>
        <p:sp>
          <p:nvSpPr>
            <p:cNvPr id="1079" name="TextBox 1078">
              <a:extLst>
                <a:ext uri="{FF2B5EF4-FFF2-40B4-BE49-F238E27FC236}">
                  <a16:creationId xmlns:a16="http://schemas.microsoft.com/office/drawing/2014/main" id="{1C4E56AF-39EA-A6A5-304A-BB2BAA02B359}"/>
                </a:ext>
              </a:extLst>
            </p:cNvPr>
            <p:cNvSpPr txBox="1"/>
            <p:nvPr/>
          </p:nvSpPr>
          <p:spPr>
            <a:xfrm>
              <a:off x="3311497" y="5013288"/>
              <a:ext cx="745397"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C3C3B"/>
                  </a:solidFill>
                  <a:effectLst/>
                  <a:uLnTx/>
                  <a:uFillTx/>
                  <a:latin typeface="Lato"/>
                  <a:ea typeface="Lato"/>
                  <a:cs typeface="Lato"/>
                  <a:sym typeface="Lato" panose="020F0502020204030203" pitchFamily="34" charset="0"/>
                </a:rPr>
                <a:t>São Paulo</a:t>
              </a:r>
              <a:r>
                <a:rPr kumimoji="0" lang="en-GB" sz="1200" b="1" i="1" u="none" strike="noStrike" kern="1200" cap="none" spc="0" normalizeH="0" baseline="0" noProof="0">
                  <a:ln>
                    <a:noFill/>
                  </a:ln>
                  <a:solidFill>
                    <a:srgbClr val="3C3C3B"/>
                  </a:solidFill>
                  <a:effectLst/>
                  <a:uLnTx/>
                  <a:uFillTx/>
                  <a:latin typeface="Lato"/>
                  <a:ea typeface="Lato"/>
                  <a:cs typeface="Lato"/>
                  <a:sym typeface="Lato" panose="020F0502020204030203" pitchFamily="34" charset="0"/>
                </a:rPr>
                <a:t> </a:t>
              </a:r>
              <a:r>
                <a:rPr kumimoji="0" lang="en-GB" sz="1200" b="1" i="0" u="none" strike="noStrike" kern="1200" cap="none" spc="0" normalizeH="0" baseline="0" noProof="0">
                  <a:ln>
                    <a:noFill/>
                  </a:ln>
                  <a:solidFill>
                    <a:srgbClr val="3C3C3B"/>
                  </a:solidFill>
                  <a:effectLst/>
                  <a:uLnTx/>
                  <a:uFillTx/>
                  <a:latin typeface="Lato"/>
                  <a:ea typeface="Lato"/>
                  <a:cs typeface="Lato"/>
                  <a:sym typeface="Lato" panose="020F0502020204030203" pitchFamily="34" charset="0"/>
                </a:rPr>
                <a:t> </a:t>
              </a:r>
              <a:endParaRPr kumimoji="0" lang="en-GB" sz="12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endParaRPr>
            </a:p>
          </p:txBody>
        </p:sp>
      </p:grpSp>
      <p:grpSp>
        <p:nvGrpSpPr>
          <p:cNvPr id="473" name="Group 472">
            <a:extLst>
              <a:ext uri="{FF2B5EF4-FFF2-40B4-BE49-F238E27FC236}">
                <a16:creationId xmlns:a16="http://schemas.microsoft.com/office/drawing/2014/main" id="{EEB8DE35-B707-FFE5-2A15-7F3BD4CBA1F7}"/>
              </a:ext>
            </a:extLst>
          </p:cNvPr>
          <p:cNvGrpSpPr>
            <a:grpSpLocks noChangeAspect="1"/>
          </p:cNvGrpSpPr>
          <p:nvPr/>
        </p:nvGrpSpPr>
        <p:grpSpPr>
          <a:xfrm>
            <a:off x="2820861" y="1335635"/>
            <a:ext cx="2353282" cy="1854948"/>
            <a:chOff x="388938" y="1790700"/>
            <a:chExt cx="5345112" cy="4213226"/>
          </a:xfrm>
        </p:grpSpPr>
        <p:sp>
          <p:nvSpPr>
            <p:cNvPr id="538" name="Freeform 5">
              <a:extLst>
                <a:ext uri="{FF2B5EF4-FFF2-40B4-BE49-F238E27FC236}">
                  <a16:creationId xmlns:a16="http://schemas.microsoft.com/office/drawing/2014/main" id="{B5AB8654-BD0A-6C9F-F396-6960345B56EA}"/>
                </a:ext>
              </a:extLst>
            </p:cNvPr>
            <p:cNvSpPr>
              <a:spLocks/>
            </p:cNvSpPr>
            <p:nvPr/>
          </p:nvSpPr>
          <p:spPr bwMode="gray">
            <a:xfrm>
              <a:off x="5248275" y="3235325"/>
              <a:ext cx="485775" cy="490538"/>
            </a:xfrm>
            <a:custGeom>
              <a:avLst/>
              <a:gdLst>
                <a:gd name="T0" fmla="*/ 59 w 91"/>
                <a:gd name="T1" fmla="*/ 35 h 92"/>
                <a:gd name="T2" fmla="*/ 54 w 91"/>
                <a:gd name="T3" fmla="*/ 32 h 92"/>
                <a:gd name="T4" fmla="*/ 47 w 91"/>
                <a:gd name="T5" fmla="*/ 31 h 92"/>
                <a:gd name="T6" fmla="*/ 40 w 91"/>
                <a:gd name="T7" fmla="*/ 37 h 92"/>
                <a:gd name="T8" fmla="*/ 39 w 91"/>
                <a:gd name="T9" fmla="*/ 34 h 92"/>
                <a:gd name="T10" fmla="*/ 32 w 91"/>
                <a:gd name="T11" fmla="*/ 38 h 92"/>
                <a:gd name="T12" fmla="*/ 28 w 91"/>
                <a:gd name="T13" fmla="*/ 37 h 92"/>
                <a:gd name="T14" fmla="*/ 25 w 91"/>
                <a:gd name="T15" fmla="*/ 38 h 92"/>
                <a:gd name="T16" fmla="*/ 18 w 91"/>
                <a:gd name="T17" fmla="*/ 40 h 92"/>
                <a:gd name="T18" fmla="*/ 16 w 91"/>
                <a:gd name="T19" fmla="*/ 43 h 92"/>
                <a:gd name="T20" fmla="*/ 13 w 91"/>
                <a:gd name="T21" fmla="*/ 52 h 92"/>
                <a:gd name="T22" fmla="*/ 20 w 91"/>
                <a:gd name="T23" fmla="*/ 49 h 92"/>
                <a:gd name="T24" fmla="*/ 32 w 91"/>
                <a:gd name="T25" fmla="*/ 46 h 92"/>
                <a:gd name="T26" fmla="*/ 23 w 91"/>
                <a:gd name="T27" fmla="*/ 52 h 92"/>
                <a:gd name="T28" fmla="*/ 21 w 91"/>
                <a:gd name="T29" fmla="*/ 54 h 92"/>
                <a:gd name="T30" fmla="*/ 10 w 91"/>
                <a:gd name="T31" fmla="*/ 62 h 92"/>
                <a:gd name="T32" fmla="*/ 5 w 91"/>
                <a:gd name="T33" fmla="*/ 70 h 92"/>
                <a:gd name="T34" fmla="*/ 2 w 91"/>
                <a:gd name="T35" fmla="*/ 77 h 92"/>
                <a:gd name="T36" fmla="*/ 5 w 91"/>
                <a:gd name="T37" fmla="*/ 87 h 92"/>
                <a:gd name="T38" fmla="*/ 8 w 91"/>
                <a:gd name="T39" fmla="*/ 89 h 92"/>
                <a:gd name="T40" fmla="*/ 9 w 91"/>
                <a:gd name="T41" fmla="*/ 87 h 92"/>
                <a:gd name="T42" fmla="*/ 12 w 91"/>
                <a:gd name="T43" fmla="*/ 90 h 92"/>
                <a:gd name="T44" fmla="*/ 16 w 91"/>
                <a:gd name="T45" fmla="*/ 90 h 92"/>
                <a:gd name="T46" fmla="*/ 17 w 91"/>
                <a:gd name="T47" fmla="*/ 87 h 92"/>
                <a:gd name="T48" fmla="*/ 18 w 91"/>
                <a:gd name="T49" fmla="*/ 84 h 92"/>
                <a:gd name="T50" fmla="*/ 21 w 91"/>
                <a:gd name="T51" fmla="*/ 83 h 92"/>
                <a:gd name="T52" fmla="*/ 23 w 91"/>
                <a:gd name="T53" fmla="*/ 80 h 92"/>
                <a:gd name="T54" fmla="*/ 24 w 91"/>
                <a:gd name="T55" fmla="*/ 74 h 92"/>
                <a:gd name="T56" fmla="*/ 26 w 91"/>
                <a:gd name="T57" fmla="*/ 70 h 92"/>
                <a:gd name="T58" fmla="*/ 26 w 91"/>
                <a:gd name="T59" fmla="*/ 69 h 92"/>
                <a:gd name="T60" fmla="*/ 26 w 91"/>
                <a:gd name="T61" fmla="*/ 65 h 92"/>
                <a:gd name="T62" fmla="*/ 29 w 91"/>
                <a:gd name="T63" fmla="*/ 62 h 92"/>
                <a:gd name="T64" fmla="*/ 33 w 91"/>
                <a:gd name="T65" fmla="*/ 63 h 92"/>
                <a:gd name="T66" fmla="*/ 35 w 91"/>
                <a:gd name="T67" fmla="*/ 63 h 92"/>
                <a:gd name="T68" fmla="*/ 36 w 91"/>
                <a:gd name="T69" fmla="*/ 60 h 92"/>
                <a:gd name="T70" fmla="*/ 40 w 91"/>
                <a:gd name="T71" fmla="*/ 56 h 92"/>
                <a:gd name="T72" fmla="*/ 42 w 91"/>
                <a:gd name="T73" fmla="*/ 56 h 92"/>
                <a:gd name="T74" fmla="*/ 47 w 91"/>
                <a:gd name="T75" fmla="*/ 52 h 92"/>
                <a:gd name="T76" fmla="*/ 50 w 91"/>
                <a:gd name="T77" fmla="*/ 49 h 92"/>
                <a:gd name="T78" fmla="*/ 53 w 91"/>
                <a:gd name="T79" fmla="*/ 45 h 92"/>
                <a:gd name="T80" fmla="*/ 57 w 91"/>
                <a:gd name="T81" fmla="*/ 42 h 92"/>
                <a:gd name="T82" fmla="*/ 62 w 91"/>
                <a:gd name="T83" fmla="*/ 37 h 92"/>
                <a:gd name="T84" fmla="*/ 65 w 91"/>
                <a:gd name="T85" fmla="*/ 36 h 92"/>
                <a:gd name="T86" fmla="*/ 41 w 91"/>
                <a:gd name="T87" fmla="*/ 33 h 92"/>
                <a:gd name="T88" fmla="*/ 74 w 91"/>
                <a:gd name="T89" fmla="*/ 14 h 92"/>
                <a:gd name="T90" fmla="*/ 69 w 91"/>
                <a:gd name="T91" fmla="*/ 15 h 92"/>
                <a:gd name="T92" fmla="*/ 67 w 91"/>
                <a:gd name="T93" fmla="*/ 15 h 92"/>
                <a:gd name="T94" fmla="*/ 68 w 91"/>
                <a:gd name="T95" fmla="*/ 19 h 92"/>
                <a:gd name="T96" fmla="*/ 65 w 91"/>
                <a:gd name="T97" fmla="*/ 27 h 92"/>
                <a:gd name="T98" fmla="*/ 60 w 91"/>
                <a:gd name="T99" fmla="*/ 27 h 92"/>
                <a:gd name="T100" fmla="*/ 60 w 91"/>
                <a:gd name="T101" fmla="*/ 24 h 92"/>
                <a:gd name="T102" fmla="*/ 60 w 91"/>
                <a:gd name="T103" fmla="*/ 23 h 92"/>
                <a:gd name="T104" fmla="*/ 65 w 91"/>
                <a:gd name="T105" fmla="*/ 13 h 92"/>
                <a:gd name="T106" fmla="*/ 64 w 91"/>
                <a:gd name="T107" fmla="*/ 6 h 92"/>
                <a:gd name="T108" fmla="*/ 59 w 91"/>
                <a:gd name="T109" fmla="*/ 0 h 92"/>
                <a:gd name="T110" fmla="*/ 56 w 91"/>
                <a:gd name="T111" fmla="*/ 11 h 92"/>
                <a:gd name="T112" fmla="*/ 54 w 91"/>
                <a:gd name="T113" fmla="*/ 26 h 92"/>
                <a:gd name="T114" fmla="*/ 61 w 91"/>
                <a:gd name="T115" fmla="*/ 31 h 92"/>
                <a:gd name="T116" fmla="*/ 67 w 91"/>
                <a:gd name="T117" fmla="*/ 29 h 92"/>
                <a:gd name="T118" fmla="*/ 72 w 91"/>
                <a:gd name="T119" fmla="*/ 20 h 92"/>
                <a:gd name="T120" fmla="*/ 90 w 91"/>
                <a:gd name="T121" fmla="*/ 55 h 92"/>
                <a:gd name="T122" fmla="*/ 63 w 91"/>
                <a:gd name="T123" fmla="*/ 3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1" h="92">
                  <a:moveTo>
                    <a:pt x="15" y="90"/>
                  </a:moveTo>
                  <a:cubicBezTo>
                    <a:pt x="14" y="91"/>
                    <a:pt x="14" y="91"/>
                    <a:pt x="14" y="91"/>
                  </a:cubicBezTo>
                  <a:cubicBezTo>
                    <a:pt x="14" y="91"/>
                    <a:pt x="14" y="91"/>
                    <a:pt x="14" y="91"/>
                  </a:cubicBezTo>
                  <a:cubicBezTo>
                    <a:pt x="14" y="91"/>
                    <a:pt x="14" y="91"/>
                    <a:pt x="14" y="91"/>
                  </a:cubicBezTo>
                  <a:cubicBezTo>
                    <a:pt x="14" y="91"/>
                    <a:pt x="14" y="91"/>
                    <a:pt x="14" y="91"/>
                  </a:cubicBezTo>
                  <a:cubicBezTo>
                    <a:pt x="14" y="92"/>
                    <a:pt x="14" y="92"/>
                    <a:pt x="14" y="92"/>
                  </a:cubicBezTo>
                  <a:cubicBezTo>
                    <a:pt x="14" y="92"/>
                    <a:pt x="14" y="92"/>
                    <a:pt x="14" y="92"/>
                  </a:cubicBezTo>
                  <a:cubicBezTo>
                    <a:pt x="14" y="92"/>
                    <a:pt x="14" y="92"/>
                    <a:pt x="14" y="92"/>
                  </a:cubicBezTo>
                  <a:cubicBezTo>
                    <a:pt x="14" y="92"/>
                    <a:pt x="14" y="92"/>
                    <a:pt x="14" y="92"/>
                  </a:cubicBezTo>
                  <a:cubicBezTo>
                    <a:pt x="14" y="92"/>
                    <a:pt x="14" y="92"/>
                    <a:pt x="14" y="92"/>
                  </a:cubicBezTo>
                  <a:cubicBezTo>
                    <a:pt x="14" y="92"/>
                    <a:pt x="14" y="92"/>
                    <a:pt x="14" y="92"/>
                  </a:cubicBezTo>
                  <a:cubicBezTo>
                    <a:pt x="14" y="92"/>
                    <a:pt x="14" y="92"/>
                    <a:pt x="14" y="92"/>
                  </a:cubicBezTo>
                  <a:cubicBezTo>
                    <a:pt x="15" y="92"/>
                    <a:pt x="15" y="92"/>
                    <a:pt x="15" y="92"/>
                  </a:cubicBezTo>
                  <a:cubicBezTo>
                    <a:pt x="15" y="92"/>
                    <a:pt x="15" y="92"/>
                    <a:pt x="15" y="92"/>
                  </a:cubicBezTo>
                  <a:cubicBezTo>
                    <a:pt x="15" y="91"/>
                    <a:pt x="15" y="91"/>
                    <a:pt x="15" y="91"/>
                  </a:cubicBezTo>
                  <a:cubicBezTo>
                    <a:pt x="15" y="91"/>
                    <a:pt x="15" y="91"/>
                    <a:pt x="15" y="91"/>
                  </a:cubicBezTo>
                  <a:cubicBezTo>
                    <a:pt x="15" y="91"/>
                    <a:pt x="15" y="91"/>
                    <a:pt x="15" y="91"/>
                  </a:cubicBezTo>
                  <a:lnTo>
                    <a:pt x="15" y="90"/>
                  </a:lnTo>
                  <a:close/>
                  <a:moveTo>
                    <a:pt x="65" y="35"/>
                  </a:moveTo>
                  <a:cubicBezTo>
                    <a:pt x="65" y="35"/>
                    <a:pt x="65" y="35"/>
                    <a:pt x="65" y="35"/>
                  </a:cubicBezTo>
                  <a:cubicBezTo>
                    <a:pt x="65" y="35"/>
                    <a:pt x="65" y="35"/>
                    <a:pt x="65" y="35"/>
                  </a:cubicBezTo>
                  <a:cubicBezTo>
                    <a:pt x="65" y="35"/>
                    <a:pt x="65" y="35"/>
                    <a:pt x="65" y="35"/>
                  </a:cubicBezTo>
                  <a:cubicBezTo>
                    <a:pt x="64" y="35"/>
                    <a:pt x="64" y="35"/>
                    <a:pt x="64" y="35"/>
                  </a:cubicBezTo>
                  <a:cubicBezTo>
                    <a:pt x="63" y="35"/>
                    <a:pt x="63" y="35"/>
                    <a:pt x="63" y="35"/>
                  </a:cubicBezTo>
                  <a:cubicBezTo>
                    <a:pt x="63" y="35"/>
                    <a:pt x="63" y="35"/>
                    <a:pt x="63" y="35"/>
                  </a:cubicBezTo>
                  <a:cubicBezTo>
                    <a:pt x="59" y="36"/>
                    <a:pt x="59" y="36"/>
                    <a:pt x="59" y="36"/>
                  </a:cubicBezTo>
                  <a:cubicBezTo>
                    <a:pt x="58" y="36"/>
                    <a:pt x="58" y="36"/>
                    <a:pt x="58" y="36"/>
                  </a:cubicBezTo>
                  <a:cubicBezTo>
                    <a:pt x="58" y="36"/>
                    <a:pt x="58" y="36"/>
                    <a:pt x="58" y="36"/>
                  </a:cubicBezTo>
                  <a:cubicBezTo>
                    <a:pt x="59" y="36"/>
                    <a:pt x="59" y="36"/>
                    <a:pt x="59" y="36"/>
                  </a:cubicBezTo>
                  <a:cubicBezTo>
                    <a:pt x="59" y="35"/>
                    <a:pt x="59" y="35"/>
                    <a:pt x="59" y="35"/>
                  </a:cubicBezTo>
                  <a:cubicBezTo>
                    <a:pt x="59" y="35"/>
                    <a:pt x="59" y="35"/>
                    <a:pt x="59" y="35"/>
                  </a:cubicBezTo>
                  <a:cubicBezTo>
                    <a:pt x="59" y="35"/>
                    <a:pt x="59" y="35"/>
                    <a:pt x="59" y="35"/>
                  </a:cubicBezTo>
                  <a:cubicBezTo>
                    <a:pt x="59" y="35"/>
                    <a:pt x="59" y="35"/>
                    <a:pt x="59" y="35"/>
                  </a:cubicBezTo>
                  <a:cubicBezTo>
                    <a:pt x="59" y="35"/>
                    <a:pt x="59" y="35"/>
                    <a:pt x="59" y="35"/>
                  </a:cubicBezTo>
                  <a:cubicBezTo>
                    <a:pt x="59" y="35"/>
                    <a:pt x="59" y="35"/>
                    <a:pt x="59" y="35"/>
                  </a:cubicBezTo>
                  <a:cubicBezTo>
                    <a:pt x="60" y="34"/>
                    <a:pt x="60" y="34"/>
                    <a:pt x="60" y="34"/>
                  </a:cubicBezTo>
                  <a:cubicBezTo>
                    <a:pt x="61" y="34"/>
                    <a:pt x="61" y="34"/>
                    <a:pt x="61" y="34"/>
                  </a:cubicBezTo>
                  <a:cubicBezTo>
                    <a:pt x="61" y="33"/>
                    <a:pt x="61" y="33"/>
                    <a:pt x="61" y="33"/>
                  </a:cubicBezTo>
                  <a:cubicBezTo>
                    <a:pt x="60" y="33"/>
                    <a:pt x="60" y="33"/>
                    <a:pt x="60" y="33"/>
                  </a:cubicBezTo>
                  <a:cubicBezTo>
                    <a:pt x="60" y="32"/>
                    <a:pt x="60" y="32"/>
                    <a:pt x="60" y="32"/>
                  </a:cubicBezTo>
                  <a:cubicBezTo>
                    <a:pt x="60" y="32"/>
                    <a:pt x="60" y="32"/>
                    <a:pt x="60" y="32"/>
                  </a:cubicBezTo>
                  <a:cubicBezTo>
                    <a:pt x="60" y="33"/>
                    <a:pt x="60" y="33"/>
                    <a:pt x="60" y="33"/>
                  </a:cubicBezTo>
                  <a:cubicBezTo>
                    <a:pt x="60" y="33"/>
                    <a:pt x="60" y="33"/>
                    <a:pt x="60" y="33"/>
                  </a:cubicBezTo>
                  <a:cubicBezTo>
                    <a:pt x="59" y="32"/>
                    <a:pt x="59" y="32"/>
                    <a:pt x="59" y="32"/>
                  </a:cubicBezTo>
                  <a:cubicBezTo>
                    <a:pt x="59" y="32"/>
                    <a:pt x="59" y="32"/>
                    <a:pt x="59" y="32"/>
                  </a:cubicBezTo>
                  <a:cubicBezTo>
                    <a:pt x="58" y="32"/>
                    <a:pt x="58" y="32"/>
                    <a:pt x="58" y="32"/>
                  </a:cubicBezTo>
                  <a:cubicBezTo>
                    <a:pt x="58" y="32"/>
                    <a:pt x="58" y="32"/>
                    <a:pt x="58" y="32"/>
                  </a:cubicBezTo>
                  <a:cubicBezTo>
                    <a:pt x="58" y="32"/>
                    <a:pt x="58" y="32"/>
                    <a:pt x="58" y="32"/>
                  </a:cubicBezTo>
                  <a:cubicBezTo>
                    <a:pt x="58" y="31"/>
                    <a:pt x="58" y="31"/>
                    <a:pt x="58" y="31"/>
                  </a:cubicBezTo>
                  <a:cubicBezTo>
                    <a:pt x="57" y="31"/>
                    <a:pt x="57" y="31"/>
                    <a:pt x="57" y="31"/>
                  </a:cubicBezTo>
                  <a:cubicBezTo>
                    <a:pt x="57" y="31"/>
                    <a:pt x="57" y="31"/>
                    <a:pt x="57" y="31"/>
                  </a:cubicBezTo>
                  <a:cubicBezTo>
                    <a:pt x="57" y="31"/>
                    <a:pt x="57" y="31"/>
                    <a:pt x="57" y="31"/>
                  </a:cubicBezTo>
                  <a:cubicBezTo>
                    <a:pt x="56" y="30"/>
                    <a:pt x="56" y="30"/>
                    <a:pt x="56" y="30"/>
                  </a:cubicBezTo>
                  <a:cubicBezTo>
                    <a:pt x="56" y="30"/>
                    <a:pt x="56" y="30"/>
                    <a:pt x="56" y="30"/>
                  </a:cubicBezTo>
                  <a:cubicBezTo>
                    <a:pt x="55" y="30"/>
                    <a:pt x="55" y="30"/>
                    <a:pt x="55" y="30"/>
                  </a:cubicBezTo>
                  <a:cubicBezTo>
                    <a:pt x="55" y="31"/>
                    <a:pt x="55" y="31"/>
                    <a:pt x="55" y="31"/>
                  </a:cubicBezTo>
                  <a:cubicBezTo>
                    <a:pt x="55" y="31"/>
                    <a:pt x="55" y="31"/>
                    <a:pt x="55" y="31"/>
                  </a:cubicBezTo>
                  <a:cubicBezTo>
                    <a:pt x="55" y="31"/>
                    <a:pt x="55" y="31"/>
                    <a:pt x="55" y="31"/>
                  </a:cubicBezTo>
                  <a:cubicBezTo>
                    <a:pt x="55" y="31"/>
                    <a:pt x="55" y="31"/>
                    <a:pt x="55" y="31"/>
                  </a:cubicBezTo>
                  <a:cubicBezTo>
                    <a:pt x="55" y="32"/>
                    <a:pt x="55" y="32"/>
                    <a:pt x="55" y="32"/>
                  </a:cubicBezTo>
                  <a:cubicBezTo>
                    <a:pt x="55" y="32"/>
                    <a:pt x="55" y="32"/>
                    <a:pt x="55" y="32"/>
                  </a:cubicBezTo>
                  <a:cubicBezTo>
                    <a:pt x="54" y="32"/>
                    <a:pt x="54" y="32"/>
                    <a:pt x="54" y="32"/>
                  </a:cubicBezTo>
                  <a:cubicBezTo>
                    <a:pt x="54" y="32"/>
                    <a:pt x="54" y="32"/>
                    <a:pt x="54" y="32"/>
                  </a:cubicBezTo>
                  <a:cubicBezTo>
                    <a:pt x="54" y="32"/>
                    <a:pt x="54" y="32"/>
                    <a:pt x="54" y="32"/>
                  </a:cubicBezTo>
                  <a:cubicBezTo>
                    <a:pt x="54" y="32"/>
                    <a:pt x="54" y="32"/>
                    <a:pt x="54" y="32"/>
                  </a:cubicBezTo>
                  <a:cubicBezTo>
                    <a:pt x="54" y="32"/>
                    <a:pt x="54" y="32"/>
                    <a:pt x="54" y="32"/>
                  </a:cubicBezTo>
                  <a:cubicBezTo>
                    <a:pt x="54" y="32"/>
                    <a:pt x="54" y="32"/>
                    <a:pt x="54" y="32"/>
                  </a:cubicBezTo>
                  <a:cubicBezTo>
                    <a:pt x="54" y="32"/>
                    <a:pt x="54" y="32"/>
                    <a:pt x="54" y="32"/>
                  </a:cubicBezTo>
                  <a:cubicBezTo>
                    <a:pt x="54" y="32"/>
                    <a:pt x="54" y="32"/>
                    <a:pt x="54" y="32"/>
                  </a:cubicBezTo>
                  <a:cubicBezTo>
                    <a:pt x="54" y="32"/>
                    <a:pt x="54" y="32"/>
                    <a:pt x="54" y="32"/>
                  </a:cubicBezTo>
                  <a:cubicBezTo>
                    <a:pt x="54" y="32"/>
                    <a:pt x="54" y="32"/>
                    <a:pt x="54" y="32"/>
                  </a:cubicBezTo>
                  <a:cubicBezTo>
                    <a:pt x="54" y="32"/>
                    <a:pt x="54" y="32"/>
                    <a:pt x="54" y="32"/>
                  </a:cubicBezTo>
                  <a:cubicBezTo>
                    <a:pt x="54" y="32"/>
                    <a:pt x="54" y="32"/>
                    <a:pt x="54" y="32"/>
                  </a:cubicBezTo>
                  <a:cubicBezTo>
                    <a:pt x="54" y="32"/>
                    <a:pt x="54" y="32"/>
                    <a:pt x="54" y="32"/>
                  </a:cubicBezTo>
                  <a:cubicBezTo>
                    <a:pt x="53" y="33"/>
                    <a:pt x="53" y="33"/>
                    <a:pt x="53" y="33"/>
                  </a:cubicBezTo>
                  <a:cubicBezTo>
                    <a:pt x="53" y="33"/>
                    <a:pt x="53" y="33"/>
                    <a:pt x="53" y="33"/>
                  </a:cubicBezTo>
                  <a:cubicBezTo>
                    <a:pt x="52" y="32"/>
                    <a:pt x="52" y="32"/>
                    <a:pt x="52" y="32"/>
                  </a:cubicBezTo>
                  <a:cubicBezTo>
                    <a:pt x="52" y="32"/>
                    <a:pt x="52" y="32"/>
                    <a:pt x="52" y="32"/>
                  </a:cubicBezTo>
                  <a:cubicBezTo>
                    <a:pt x="51" y="32"/>
                    <a:pt x="51" y="32"/>
                    <a:pt x="51" y="32"/>
                  </a:cubicBezTo>
                  <a:cubicBezTo>
                    <a:pt x="51" y="32"/>
                    <a:pt x="51" y="32"/>
                    <a:pt x="51" y="32"/>
                  </a:cubicBezTo>
                  <a:cubicBezTo>
                    <a:pt x="51" y="32"/>
                    <a:pt x="51" y="32"/>
                    <a:pt x="51" y="32"/>
                  </a:cubicBezTo>
                  <a:cubicBezTo>
                    <a:pt x="50" y="32"/>
                    <a:pt x="50" y="32"/>
                    <a:pt x="50" y="32"/>
                  </a:cubicBezTo>
                  <a:cubicBezTo>
                    <a:pt x="50" y="32"/>
                    <a:pt x="50" y="32"/>
                    <a:pt x="50" y="32"/>
                  </a:cubicBezTo>
                  <a:cubicBezTo>
                    <a:pt x="50" y="31"/>
                    <a:pt x="50" y="31"/>
                    <a:pt x="50" y="31"/>
                  </a:cubicBezTo>
                  <a:cubicBezTo>
                    <a:pt x="49" y="30"/>
                    <a:pt x="49" y="30"/>
                    <a:pt x="49" y="30"/>
                  </a:cubicBezTo>
                  <a:cubicBezTo>
                    <a:pt x="49" y="30"/>
                    <a:pt x="49" y="30"/>
                    <a:pt x="49" y="30"/>
                  </a:cubicBezTo>
                  <a:cubicBezTo>
                    <a:pt x="49" y="29"/>
                    <a:pt x="49" y="29"/>
                    <a:pt x="49" y="29"/>
                  </a:cubicBezTo>
                  <a:cubicBezTo>
                    <a:pt x="49" y="29"/>
                    <a:pt x="49" y="29"/>
                    <a:pt x="49" y="29"/>
                  </a:cubicBezTo>
                  <a:cubicBezTo>
                    <a:pt x="49" y="29"/>
                    <a:pt x="49" y="29"/>
                    <a:pt x="49" y="29"/>
                  </a:cubicBezTo>
                  <a:cubicBezTo>
                    <a:pt x="49" y="29"/>
                    <a:pt x="49" y="29"/>
                    <a:pt x="49" y="29"/>
                  </a:cubicBezTo>
                  <a:cubicBezTo>
                    <a:pt x="49" y="29"/>
                    <a:pt x="49" y="29"/>
                    <a:pt x="49" y="29"/>
                  </a:cubicBezTo>
                  <a:cubicBezTo>
                    <a:pt x="49" y="28"/>
                    <a:pt x="49" y="28"/>
                    <a:pt x="49" y="28"/>
                  </a:cubicBezTo>
                  <a:cubicBezTo>
                    <a:pt x="49" y="29"/>
                    <a:pt x="49" y="29"/>
                    <a:pt x="49" y="29"/>
                  </a:cubicBezTo>
                  <a:cubicBezTo>
                    <a:pt x="48" y="29"/>
                    <a:pt x="48" y="29"/>
                    <a:pt x="48" y="29"/>
                  </a:cubicBezTo>
                  <a:cubicBezTo>
                    <a:pt x="48" y="29"/>
                    <a:pt x="48" y="29"/>
                    <a:pt x="48" y="29"/>
                  </a:cubicBezTo>
                  <a:cubicBezTo>
                    <a:pt x="47" y="31"/>
                    <a:pt x="47" y="31"/>
                    <a:pt x="47" y="31"/>
                  </a:cubicBezTo>
                  <a:cubicBezTo>
                    <a:pt x="45" y="34"/>
                    <a:pt x="45" y="34"/>
                    <a:pt x="45" y="34"/>
                  </a:cubicBezTo>
                  <a:cubicBezTo>
                    <a:pt x="43" y="35"/>
                    <a:pt x="43" y="35"/>
                    <a:pt x="43" y="35"/>
                  </a:cubicBezTo>
                  <a:cubicBezTo>
                    <a:pt x="43" y="35"/>
                    <a:pt x="43" y="35"/>
                    <a:pt x="43" y="35"/>
                  </a:cubicBezTo>
                  <a:cubicBezTo>
                    <a:pt x="44" y="35"/>
                    <a:pt x="44" y="35"/>
                    <a:pt x="44" y="35"/>
                  </a:cubicBezTo>
                  <a:cubicBezTo>
                    <a:pt x="44" y="35"/>
                    <a:pt x="44" y="35"/>
                    <a:pt x="44" y="35"/>
                  </a:cubicBezTo>
                  <a:cubicBezTo>
                    <a:pt x="44" y="35"/>
                    <a:pt x="44" y="35"/>
                    <a:pt x="44" y="35"/>
                  </a:cubicBezTo>
                  <a:cubicBezTo>
                    <a:pt x="44" y="35"/>
                    <a:pt x="44" y="35"/>
                    <a:pt x="44" y="35"/>
                  </a:cubicBezTo>
                  <a:cubicBezTo>
                    <a:pt x="44" y="35"/>
                    <a:pt x="44" y="35"/>
                    <a:pt x="44" y="35"/>
                  </a:cubicBezTo>
                  <a:cubicBezTo>
                    <a:pt x="44" y="35"/>
                    <a:pt x="44" y="35"/>
                    <a:pt x="44" y="35"/>
                  </a:cubicBezTo>
                  <a:cubicBezTo>
                    <a:pt x="44" y="35"/>
                    <a:pt x="44" y="35"/>
                    <a:pt x="44" y="35"/>
                  </a:cubicBezTo>
                  <a:cubicBezTo>
                    <a:pt x="43" y="36"/>
                    <a:pt x="43" y="36"/>
                    <a:pt x="43" y="36"/>
                  </a:cubicBezTo>
                  <a:cubicBezTo>
                    <a:pt x="43" y="36"/>
                    <a:pt x="43" y="36"/>
                    <a:pt x="43" y="36"/>
                  </a:cubicBezTo>
                  <a:cubicBezTo>
                    <a:pt x="43" y="37"/>
                    <a:pt x="43" y="37"/>
                    <a:pt x="43" y="37"/>
                  </a:cubicBezTo>
                  <a:cubicBezTo>
                    <a:pt x="43" y="37"/>
                    <a:pt x="43" y="37"/>
                    <a:pt x="43" y="37"/>
                  </a:cubicBezTo>
                  <a:cubicBezTo>
                    <a:pt x="43" y="36"/>
                    <a:pt x="43" y="36"/>
                    <a:pt x="43" y="36"/>
                  </a:cubicBezTo>
                  <a:cubicBezTo>
                    <a:pt x="43" y="35"/>
                    <a:pt x="43" y="35"/>
                    <a:pt x="43" y="35"/>
                  </a:cubicBezTo>
                  <a:cubicBezTo>
                    <a:pt x="43" y="36"/>
                    <a:pt x="43" y="36"/>
                    <a:pt x="43" y="36"/>
                  </a:cubicBezTo>
                  <a:cubicBezTo>
                    <a:pt x="42" y="36"/>
                    <a:pt x="42" y="36"/>
                    <a:pt x="42" y="36"/>
                  </a:cubicBezTo>
                  <a:cubicBezTo>
                    <a:pt x="42" y="36"/>
                    <a:pt x="42" y="36"/>
                    <a:pt x="42" y="36"/>
                  </a:cubicBezTo>
                  <a:cubicBezTo>
                    <a:pt x="42" y="36"/>
                    <a:pt x="42" y="36"/>
                    <a:pt x="42" y="36"/>
                  </a:cubicBezTo>
                  <a:cubicBezTo>
                    <a:pt x="42" y="36"/>
                    <a:pt x="42" y="36"/>
                    <a:pt x="42" y="36"/>
                  </a:cubicBezTo>
                  <a:cubicBezTo>
                    <a:pt x="42" y="36"/>
                    <a:pt x="42" y="36"/>
                    <a:pt x="42" y="36"/>
                  </a:cubicBezTo>
                  <a:cubicBezTo>
                    <a:pt x="41" y="35"/>
                    <a:pt x="41" y="35"/>
                    <a:pt x="41" y="35"/>
                  </a:cubicBezTo>
                  <a:cubicBezTo>
                    <a:pt x="41" y="35"/>
                    <a:pt x="41" y="35"/>
                    <a:pt x="41" y="35"/>
                  </a:cubicBezTo>
                  <a:cubicBezTo>
                    <a:pt x="41" y="36"/>
                    <a:pt x="41" y="36"/>
                    <a:pt x="41" y="36"/>
                  </a:cubicBezTo>
                  <a:cubicBezTo>
                    <a:pt x="41" y="36"/>
                    <a:pt x="41" y="36"/>
                    <a:pt x="41" y="36"/>
                  </a:cubicBezTo>
                  <a:cubicBezTo>
                    <a:pt x="41" y="36"/>
                    <a:pt x="41" y="36"/>
                    <a:pt x="41" y="36"/>
                  </a:cubicBezTo>
                  <a:cubicBezTo>
                    <a:pt x="40" y="36"/>
                    <a:pt x="40" y="36"/>
                    <a:pt x="40" y="36"/>
                  </a:cubicBezTo>
                  <a:cubicBezTo>
                    <a:pt x="40" y="36"/>
                    <a:pt x="40" y="36"/>
                    <a:pt x="40" y="36"/>
                  </a:cubicBezTo>
                  <a:cubicBezTo>
                    <a:pt x="40" y="36"/>
                    <a:pt x="40" y="36"/>
                    <a:pt x="40" y="36"/>
                  </a:cubicBezTo>
                  <a:cubicBezTo>
                    <a:pt x="40" y="36"/>
                    <a:pt x="40" y="36"/>
                    <a:pt x="40" y="36"/>
                  </a:cubicBezTo>
                  <a:cubicBezTo>
                    <a:pt x="40" y="37"/>
                    <a:pt x="40" y="37"/>
                    <a:pt x="40" y="37"/>
                  </a:cubicBezTo>
                  <a:cubicBezTo>
                    <a:pt x="40" y="37"/>
                    <a:pt x="40" y="37"/>
                    <a:pt x="40" y="37"/>
                  </a:cubicBezTo>
                  <a:cubicBezTo>
                    <a:pt x="41" y="37"/>
                    <a:pt x="41" y="37"/>
                    <a:pt x="41" y="37"/>
                  </a:cubicBezTo>
                  <a:cubicBezTo>
                    <a:pt x="41" y="37"/>
                    <a:pt x="41" y="37"/>
                    <a:pt x="41" y="37"/>
                  </a:cubicBezTo>
                  <a:cubicBezTo>
                    <a:pt x="40" y="37"/>
                    <a:pt x="40" y="37"/>
                    <a:pt x="40" y="37"/>
                  </a:cubicBezTo>
                  <a:cubicBezTo>
                    <a:pt x="40" y="37"/>
                    <a:pt x="40" y="37"/>
                    <a:pt x="40" y="37"/>
                  </a:cubicBezTo>
                  <a:cubicBezTo>
                    <a:pt x="40" y="37"/>
                    <a:pt x="40" y="37"/>
                    <a:pt x="40" y="37"/>
                  </a:cubicBezTo>
                  <a:cubicBezTo>
                    <a:pt x="40" y="37"/>
                    <a:pt x="40" y="37"/>
                    <a:pt x="40" y="37"/>
                  </a:cubicBezTo>
                  <a:cubicBezTo>
                    <a:pt x="40" y="38"/>
                    <a:pt x="40" y="38"/>
                    <a:pt x="40" y="38"/>
                  </a:cubicBezTo>
                  <a:cubicBezTo>
                    <a:pt x="39" y="38"/>
                    <a:pt x="39" y="38"/>
                    <a:pt x="39" y="38"/>
                  </a:cubicBezTo>
                  <a:cubicBezTo>
                    <a:pt x="39" y="37"/>
                    <a:pt x="39" y="37"/>
                    <a:pt x="39" y="37"/>
                  </a:cubicBezTo>
                  <a:cubicBezTo>
                    <a:pt x="39" y="37"/>
                    <a:pt x="39" y="37"/>
                    <a:pt x="39" y="37"/>
                  </a:cubicBezTo>
                  <a:cubicBezTo>
                    <a:pt x="39" y="37"/>
                    <a:pt x="39" y="37"/>
                    <a:pt x="39" y="37"/>
                  </a:cubicBezTo>
                  <a:cubicBezTo>
                    <a:pt x="39" y="37"/>
                    <a:pt x="39" y="37"/>
                    <a:pt x="39" y="37"/>
                  </a:cubicBezTo>
                  <a:cubicBezTo>
                    <a:pt x="39" y="37"/>
                    <a:pt x="39" y="37"/>
                    <a:pt x="39" y="37"/>
                  </a:cubicBezTo>
                  <a:cubicBezTo>
                    <a:pt x="39" y="37"/>
                    <a:pt x="39" y="37"/>
                    <a:pt x="39" y="37"/>
                  </a:cubicBezTo>
                  <a:cubicBezTo>
                    <a:pt x="39" y="37"/>
                    <a:pt x="39" y="37"/>
                    <a:pt x="39" y="37"/>
                  </a:cubicBezTo>
                  <a:cubicBezTo>
                    <a:pt x="39" y="37"/>
                    <a:pt x="39" y="37"/>
                    <a:pt x="39" y="37"/>
                  </a:cubicBezTo>
                  <a:cubicBezTo>
                    <a:pt x="39" y="36"/>
                    <a:pt x="39" y="36"/>
                    <a:pt x="39" y="36"/>
                  </a:cubicBezTo>
                  <a:cubicBezTo>
                    <a:pt x="40" y="36"/>
                    <a:pt x="40" y="36"/>
                    <a:pt x="40" y="36"/>
                  </a:cubicBezTo>
                  <a:cubicBezTo>
                    <a:pt x="40" y="35"/>
                    <a:pt x="40" y="35"/>
                    <a:pt x="40" y="35"/>
                  </a:cubicBezTo>
                  <a:cubicBezTo>
                    <a:pt x="40" y="35"/>
                    <a:pt x="40" y="35"/>
                    <a:pt x="40" y="35"/>
                  </a:cubicBezTo>
                  <a:cubicBezTo>
                    <a:pt x="40" y="35"/>
                    <a:pt x="40" y="35"/>
                    <a:pt x="40" y="35"/>
                  </a:cubicBezTo>
                  <a:cubicBezTo>
                    <a:pt x="39" y="35"/>
                    <a:pt x="39" y="35"/>
                    <a:pt x="39" y="35"/>
                  </a:cubicBezTo>
                  <a:cubicBezTo>
                    <a:pt x="39" y="35"/>
                    <a:pt x="39" y="35"/>
                    <a:pt x="39" y="35"/>
                  </a:cubicBezTo>
                  <a:cubicBezTo>
                    <a:pt x="39" y="35"/>
                    <a:pt x="39" y="35"/>
                    <a:pt x="39" y="35"/>
                  </a:cubicBezTo>
                  <a:cubicBezTo>
                    <a:pt x="39" y="35"/>
                    <a:pt x="39" y="35"/>
                    <a:pt x="39" y="35"/>
                  </a:cubicBezTo>
                  <a:cubicBezTo>
                    <a:pt x="38" y="35"/>
                    <a:pt x="38" y="35"/>
                    <a:pt x="38" y="35"/>
                  </a:cubicBezTo>
                  <a:cubicBezTo>
                    <a:pt x="39" y="35"/>
                    <a:pt x="39" y="35"/>
                    <a:pt x="39" y="35"/>
                  </a:cubicBezTo>
                  <a:cubicBezTo>
                    <a:pt x="39" y="35"/>
                    <a:pt x="39" y="35"/>
                    <a:pt x="39" y="35"/>
                  </a:cubicBezTo>
                  <a:cubicBezTo>
                    <a:pt x="39" y="35"/>
                    <a:pt x="39" y="35"/>
                    <a:pt x="39" y="35"/>
                  </a:cubicBezTo>
                  <a:cubicBezTo>
                    <a:pt x="39" y="34"/>
                    <a:pt x="39" y="34"/>
                    <a:pt x="39" y="34"/>
                  </a:cubicBezTo>
                  <a:cubicBezTo>
                    <a:pt x="39" y="34"/>
                    <a:pt x="39" y="34"/>
                    <a:pt x="39" y="34"/>
                  </a:cubicBezTo>
                  <a:cubicBezTo>
                    <a:pt x="38" y="35"/>
                    <a:pt x="38" y="35"/>
                    <a:pt x="38" y="35"/>
                  </a:cubicBezTo>
                  <a:cubicBezTo>
                    <a:pt x="38" y="35"/>
                    <a:pt x="38" y="35"/>
                    <a:pt x="38" y="35"/>
                  </a:cubicBezTo>
                  <a:cubicBezTo>
                    <a:pt x="36" y="35"/>
                    <a:pt x="36" y="35"/>
                    <a:pt x="36" y="35"/>
                  </a:cubicBezTo>
                  <a:cubicBezTo>
                    <a:pt x="35" y="35"/>
                    <a:pt x="35" y="35"/>
                    <a:pt x="35" y="35"/>
                  </a:cubicBezTo>
                  <a:cubicBezTo>
                    <a:pt x="33" y="36"/>
                    <a:pt x="33" y="36"/>
                    <a:pt x="33" y="36"/>
                  </a:cubicBezTo>
                  <a:cubicBezTo>
                    <a:pt x="33" y="36"/>
                    <a:pt x="33" y="36"/>
                    <a:pt x="33" y="36"/>
                  </a:cubicBezTo>
                  <a:cubicBezTo>
                    <a:pt x="34" y="36"/>
                    <a:pt x="34" y="36"/>
                    <a:pt x="34" y="36"/>
                  </a:cubicBezTo>
                  <a:cubicBezTo>
                    <a:pt x="34" y="36"/>
                    <a:pt x="34" y="36"/>
                    <a:pt x="34" y="36"/>
                  </a:cubicBezTo>
                  <a:cubicBezTo>
                    <a:pt x="34" y="36"/>
                    <a:pt x="34" y="36"/>
                    <a:pt x="34" y="36"/>
                  </a:cubicBezTo>
                  <a:cubicBezTo>
                    <a:pt x="34" y="36"/>
                    <a:pt x="34" y="36"/>
                    <a:pt x="34" y="36"/>
                  </a:cubicBezTo>
                  <a:cubicBezTo>
                    <a:pt x="34" y="36"/>
                    <a:pt x="34" y="36"/>
                    <a:pt x="34" y="36"/>
                  </a:cubicBezTo>
                  <a:cubicBezTo>
                    <a:pt x="34" y="37"/>
                    <a:pt x="34" y="37"/>
                    <a:pt x="34" y="37"/>
                  </a:cubicBezTo>
                  <a:cubicBezTo>
                    <a:pt x="33" y="37"/>
                    <a:pt x="33" y="37"/>
                    <a:pt x="33" y="37"/>
                  </a:cubicBezTo>
                  <a:cubicBezTo>
                    <a:pt x="33" y="37"/>
                    <a:pt x="33" y="37"/>
                    <a:pt x="33" y="37"/>
                  </a:cubicBezTo>
                  <a:cubicBezTo>
                    <a:pt x="33" y="37"/>
                    <a:pt x="33" y="37"/>
                    <a:pt x="33" y="37"/>
                  </a:cubicBezTo>
                  <a:cubicBezTo>
                    <a:pt x="32" y="37"/>
                    <a:pt x="32" y="37"/>
                    <a:pt x="32" y="37"/>
                  </a:cubicBezTo>
                  <a:cubicBezTo>
                    <a:pt x="33" y="37"/>
                    <a:pt x="33" y="37"/>
                    <a:pt x="33" y="37"/>
                  </a:cubicBezTo>
                  <a:cubicBezTo>
                    <a:pt x="33" y="37"/>
                    <a:pt x="33" y="37"/>
                    <a:pt x="33" y="37"/>
                  </a:cubicBezTo>
                  <a:cubicBezTo>
                    <a:pt x="33" y="37"/>
                    <a:pt x="33" y="37"/>
                    <a:pt x="33" y="37"/>
                  </a:cubicBezTo>
                  <a:cubicBezTo>
                    <a:pt x="33" y="37"/>
                    <a:pt x="33" y="37"/>
                    <a:pt x="33" y="37"/>
                  </a:cubicBezTo>
                  <a:cubicBezTo>
                    <a:pt x="33" y="37"/>
                    <a:pt x="33" y="37"/>
                    <a:pt x="33" y="37"/>
                  </a:cubicBezTo>
                  <a:cubicBezTo>
                    <a:pt x="32" y="37"/>
                    <a:pt x="32" y="37"/>
                    <a:pt x="32" y="37"/>
                  </a:cubicBezTo>
                  <a:cubicBezTo>
                    <a:pt x="32" y="37"/>
                    <a:pt x="32" y="37"/>
                    <a:pt x="32" y="37"/>
                  </a:cubicBezTo>
                  <a:cubicBezTo>
                    <a:pt x="32" y="37"/>
                    <a:pt x="32" y="37"/>
                    <a:pt x="32" y="37"/>
                  </a:cubicBezTo>
                  <a:cubicBezTo>
                    <a:pt x="32" y="37"/>
                    <a:pt x="32" y="37"/>
                    <a:pt x="32" y="37"/>
                  </a:cubicBezTo>
                  <a:cubicBezTo>
                    <a:pt x="32" y="37"/>
                    <a:pt x="32" y="37"/>
                    <a:pt x="32" y="37"/>
                  </a:cubicBezTo>
                  <a:cubicBezTo>
                    <a:pt x="32" y="37"/>
                    <a:pt x="32" y="37"/>
                    <a:pt x="32" y="37"/>
                  </a:cubicBezTo>
                  <a:cubicBezTo>
                    <a:pt x="32" y="38"/>
                    <a:pt x="32" y="38"/>
                    <a:pt x="32" y="38"/>
                  </a:cubicBezTo>
                  <a:cubicBezTo>
                    <a:pt x="32" y="38"/>
                    <a:pt x="32" y="38"/>
                    <a:pt x="32" y="38"/>
                  </a:cubicBezTo>
                  <a:cubicBezTo>
                    <a:pt x="32" y="37"/>
                    <a:pt x="32" y="37"/>
                    <a:pt x="32" y="37"/>
                  </a:cubicBezTo>
                  <a:cubicBezTo>
                    <a:pt x="32" y="37"/>
                    <a:pt x="32" y="37"/>
                    <a:pt x="32" y="37"/>
                  </a:cubicBezTo>
                  <a:cubicBezTo>
                    <a:pt x="32" y="38"/>
                    <a:pt x="32" y="38"/>
                    <a:pt x="32" y="38"/>
                  </a:cubicBezTo>
                  <a:cubicBezTo>
                    <a:pt x="32" y="38"/>
                    <a:pt x="32" y="38"/>
                    <a:pt x="32" y="38"/>
                  </a:cubicBezTo>
                  <a:cubicBezTo>
                    <a:pt x="31" y="38"/>
                    <a:pt x="31" y="38"/>
                    <a:pt x="31" y="38"/>
                  </a:cubicBezTo>
                  <a:cubicBezTo>
                    <a:pt x="32" y="38"/>
                    <a:pt x="32" y="38"/>
                    <a:pt x="32" y="38"/>
                  </a:cubicBezTo>
                  <a:cubicBezTo>
                    <a:pt x="31" y="38"/>
                    <a:pt x="31" y="38"/>
                    <a:pt x="31" y="38"/>
                  </a:cubicBezTo>
                  <a:cubicBezTo>
                    <a:pt x="31" y="38"/>
                    <a:pt x="31" y="38"/>
                    <a:pt x="31" y="38"/>
                  </a:cubicBezTo>
                  <a:cubicBezTo>
                    <a:pt x="31" y="38"/>
                    <a:pt x="31" y="38"/>
                    <a:pt x="31" y="38"/>
                  </a:cubicBezTo>
                  <a:cubicBezTo>
                    <a:pt x="30" y="38"/>
                    <a:pt x="30" y="38"/>
                    <a:pt x="30" y="38"/>
                  </a:cubicBezTo>
                  <a:cubicBezTo>
                    <a:pt x="30" y="38"/>
                    <a:pt x="30" y="38"/>
                    <a:pt x="30" y="38"/>
                  </a:cubicBezTo>
                  <a:cubicBezTo>
                    <a:pt x="30" y="38"/>
                    <a:pt x="30" y="38"/>
                    <a:pt x="30" y="38"/>
                  </a:cubicBezTo>
                  <a:cubicBezTo>
                    <a:pt x="30" y="38"/>
                    <a:pt x="30" y="38"/>
                    <a:pt x="30" y="38"/>
                  </a:cubicBezTo>
                  <a:cubicBezTo>
                    <a:pt x="31" y="37"/>
                    <a:pt x="31" y="37"/>
                    <a:pt x="31" y="37"/>
                  </a:cubicBezTo>
                  <a:cubicBezTo>
                    <a:pt x="31" y="37"/>
                    <a:pt x="31" y="37"/>
                    <a:pt x="31" y="37"/>
                  </a:cubicBezTo>
                  <a:cubicBezTo>
                    <a:pt x="32" y="36"/>
                    <a:pt x="32" y="36"/>
                    <a:pt x="32" y="36"/>
                  </a:cubicBezTo>
                  <a:cubicBezTo>
                    <a:pt x="31" y="36"/>
                    <a:pt x="31" y="36"/>
                    <a:pt x="31" y="36"/>
                  </a:cubicBezTo>
                  <a:cubicBezTo>
                    <a:pt x="31" y="36"/>
                    <a:pt x="31" y="36"/>
                    <a:pt x="31" y="36"/>
                  </a:cubicBezTo>
                  <a:cubicBezTo>
                    <a:pt x="31" y="37"/>
                    <a:pt x="31" y="37"/>
                    <a:pt x="31" y="37"/>
                  </a:cubicBezTo>
                  <a:cubicBezTo>
                    <a:pt x="30" y="37"/>
                    <a:pt x="30" y="37"/>
                    <a:pt x="30" y="37"/>
                  </a:cubicBezTo>
                  <a:cubicBezTo>
                    <a:pt x="30" y="37"/>
                    <a:pt x="30" y="37"/>
                    <a:pt x="30" y="37"/>
                  </a:cubicBezTo>
                  <a:cubicBezTo>
                    <a:pt x="29" y="37"/>
                    <a:pt x="29" y="37"/>
                    <a:pt x="29" y="37"/>
                  </a:cubicBezTo>
                  <a:cubicBezTo>
                    <a:pt x="29" y="37"/>
                    <a:pt x="29" y="37"/>
                    <a:pt x="29" y="37"/>
                  </a:cubicBezTo>
                  <a:cubicBezTo>
                    <a:pt x="29" y="37"/>
                    <a:pt x="29" y="37"/>
                    <a:pt x="29" y="37"/>
                  </a:cubicBezTo>
                  <a:cubicBezTo>
                    <a:pt x="29" y="37"/>
                    <a:pt x="29" y="37"/>
                    <a:pt x="29" y="37"/>
                  </a:cubicBezTo>
                  <a:cubicBezTo>
                    <a:pt x="29" y="37"/>
                    <a:pt x="29" y="37"/>
                    <a:pt x="29" y="37"/>
                  </a:cubicBezTo>
                  <a:cubicBezTo>
                    <a:pt x="29" y="37"/>
                    <a:pt x="29" y="37"/>
                    <a:pt x="29" y="37"/>
                  </a:cubicBezTo>
                  <a:cubicBezTo>
                    <a:pt x="29" y="37"/>
                    <a:pt x="29" y="37"/>
                    <a:pt x="29" y="37"/>
                  </a:cubicBezTo>
                  <a:cubicBezTo>
                    <a:pt x="29" y="37"/>
                    <a:pt x="29" y="37"/>
                    <a:pt x="29" y="37"/>
                  </a:cubicBezTo>
                  <a:cubicBezTo>
                    <a:pt x="29" y="37"/>
                    <a:pt x="29" y="37"/>
                    <a:pt x="29" y="37"/>
                  </a:cubicBezTo>
                  <a:cubicBezTo>
                    <a:pt x="29" y="37"/>
                    <a:pt x="29" y="37"/>
                    <a:pt x="29" y="37"/>
                  </a:cubicBezTo>
                  <a:cubicBezTo>
                    <a:pt x="29" y="37"/>
                    <a:pt x="29" y="37"/>
                    <a:pt x="29"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8" y="37"/>
                    <a:pt x="28" y="37"/>
                    <a:pt x="28" y="37"/>
                  </a:cubicBezTo>
                  <a:cubicBezTo>
                    <a:pt x="29" y="37"/>
                    <a:pt x="29" y="37"/>
                    <a:pt x="29" y="37"/>
                  </a:cubicBezTo>
                  <a:cubicBezTo>
                    <a:pt x="29" y="37"/>
                    <a:pt x="29" y="37"/>
                    <a:pt x="29" y="37"/>
                  </a:cubicBezTo>
                  <a:cubicBezTo>
                    <a:pt x="29" y="37"/>
                    <a:pt x="29" y="37"/>
                    <a:pt x="29" y="37"/>
                  </a:cubicBezTo>
                  <a:cubicBezTo>
                    <a:pt x="28" y="36"/>
                    <a:pt x="28" y="36"/>
                    <a:pt x="28" y="36"/>
                  </a:cubicBezTo>
                  <a:cubicBezTo>
                    <a:pt x="28" y="36"/>
                    <a:pt x="28" y="36"/>
                    <a:pt x="28" y="36"/>
                  </a:cubicBezTo>
                  <a:cubicBezTo>
                    <a:pt x="28" y="36"/>
                    <a:pt x="28" y="36"/>
                    <a:pt x="28" y="36"/>
                  </a:cubicBezTo>
                  <a:cubicBezTo>
                    <a:pt x="29" y="36"/>
                    <a:pt x="29" y="36"/>
                    <a:pt x="29" y="36"/>
                  </a:cubicBezTo>
                  <a:cubicBezTo>
                    <a:pt x="29" y="36"/>
                    <a:pt x="29" y="36"/>
                    <a:pt x="29" y="36"/>
                  </a:cubicBezTo>
                  <a:cubicBezTo>
                    <a:pt x="29" y="36"/>
                    <a:pt x="29" y="36"/>
                    <a:pt x="29" y="36"/>
                  </a:cubicBezTo>
                  <a:cubicBezTo>
                    <a:pt x="28" y="36"/>
                    <a:pt x="28" y="36"/>
                    <a:pt x="28" y="36"/>
                  </a:cubicBezTo>
                  <a:cubicBezTo>
                    <a:pt x="26" y="37"/>
                    <a:pt x="26" y="37"/>
                    <a:pt x="26" y="37"/>
                  </a:cubicBezTo>
                  <a:cubicBezTo>
                    <a:pt x="26" y="37"/>
                    <a:pt x="26" y="37"/>
                    <a:pt x="26" y="37"/>
                  </a:cubicBezTo>
                  <a:cubicBezTo>
                    <a:pt x="26" y="37"/>
                    <a:pt x="26" y="37"/>
                    <a:pt x="26" y="37"/>
                  </a:cubicBezTo>
                  <a:cubicBezTo>
                    <a:pt x="26" y="37"/>
                    <a:pt x="26" y="37"/>
                    <a:pt x="26" y="37"/>
                  </a:cubicBezTo>
                  <a:cubicBezTo>
                    <a:pt x="26" y="37"/>
                    <a:pt x="26" y="37"/>
                    <a:pt x="26" y="37"/>
                  </a:cubicBezTo>
                  <a:cubicBezTo>
                    <a:pt x="26" y="37"/>
                    <a:pt x="26" y="37"/>
                    <a:pt x="26" y="37"/>
                  </a:cubicBezTo>
                  <a:cubicBezTo>
                    <a:pt x="26" y="37"/>
                    <a:pt x="26" y="37"/>
                    <a:pt x="26" y="37"/>
                  </a:cubicBezTo>
                  <a:cubicBezTo>
                    <a:pt x="26" y="37"/>
                    <a:pt x="26" y="37"/>
                    <a:pt x="26" y="37"/>
                  </a:cubicBezTo>
                  <a:cubicBezTo>
                    <a:pt x="26" y="37"/>
                    <a:pt x="26" y="37"/>
                    <a:pt x="26" y="37"/>
                  </a:cubicBezTo>
                  <a:cubicBezTo>
                    <a:pt x="26" y="38"/>
                    <a:pt x="26" y="38"/>
                    <a:pt x="26" y="38"/>
                  </a:cubicBezTo>
                  <a:cubicBezTo>
                    <a:pt x="26" y="38"/>
                    <a:pt x="26" y="38"/>
                    <a:pt x="26" y="38"/>
                  </a:cubicBezTo>
                  <a:cubicBezTo>
                    <a:pt x="26" y="38"/>
                    <a:pt x="26" y="38"/>
                    <a:pt x="26" y="38"/>
                  </a:cubicBezTo>
                  <a:cubicBezTo>
                    <a:pt x="26" y="38"/>
                    <a:pt x="26" y="38"/>
                    <a:pt x="26" y="38"/>
                  </a:cubicBezTo>
                  <a:cubicBezTo>
                    <a:pt x="26" y="38"/>
                    <a:pt x="26" y="38"/>
                    <a:pt x="26" y="38"/>
                  </a:cubicBezTo>
                  <a:cubicBezTo>
                    <a:pt x="26" y="37"/>
                    <a:pt x="26" y="37"/>
                    <a:pt x="26" y="37"/>
                  </a:cubicBezTo>
                  <a:cubicBezTo>
                    <a:pt x="25" y="37"/>
                    <a:pt x="25" y="37"/>
                    <a:pt x="25" y="37"/>
                  </a:cubicBezTo>
                  <a:cubicBezTo>
                    <a:pt x="25" y="38"/>
                    <a:pt x="25" y="38"/>
                    <a:pt x="25" y="38"/>
                  </a:cubicBezTo>
                  <a:cubicBezTo>
                    <a:pt x="24" y="38"/>
                    <a:pt x="24" y="38"/>
                    <a:pt x="24" y="38"/>
                  </a:cubicBezTo>
                  <a:cubicBezTo>
                    <a:pt x="25" y="38"/>
                    <a:pt x="25" y="38"/>
                    <a:pt x="25" y="38"/>
                  </a:cubicBezTo>
                  <a:cubicBezTo>
                    <a:pt x="25" y="37"/>
                    <a:pt x="25" y="37"/>
                    <a:pt x="25" y="37"/>
                  </a:cubicBezTo>
                  <a:cubicBezTo>
                    <a:pt x="25" y="37"/>
                    <a:pt x="25" y="37"/>
                    <a:pt x="25" y="37"/>
                  </a:cubicBezTo>
                  <a:cubicBezTo>
                    <a:pt x="25" y="37"/>
                    <a:pt x="25" y="37"/>
                    <a:pt x="25" y="37"/>
                  </a:cubicBezTo>
                  <a:cubicBezTo>
                    <a:pt x="24" y="37"/>
                    <a:pt x="24" y="37"/>
                    <a:pt x="24" y="37"/>
                  </a:cubicBezTo>
                  <a:cubicBezTo>
                    <a:pt x="24" y="37"/>
                    <a:pt x="24" y="37"/>
                    <a:pt x="24" y="37"/>
                  </a:cubicBezTo>
                  <a:cubicBezTo>
                    <a:pt x="24" y="37"/>
                    <a:pt x="24" y="37"/>
                    <a:pt x="24" y="37"/>
                  </a:cubicBezTo>
                  <a:cubicBezTo>
                    <a:pt x="23" y="37"/>
                    <a:pt x="23" y="37"/>
                    <a:pt x="23" y="37"/>
                  </a:cubicBezTo>
                  <a:cubicBezTo>
                    <a:pt x="23" y="37"/>
                    <a:pt x="23" y="37"/>
                    <a:pt x="23" y="37"/>
                  </a:cubicBezTo>
                  <a:cubicBezTo>
                    <a:pt x="23" y="37"/>
                    <a:pt x="23" y="37"/>
                    <a:pt x="23" y="37"/>
                  </a:cubicBezTo>
                  <a:cubicBezTo>
                    <a:pt x="22" y="37"/>
                    <a:pt x="22" y="37"/>
                    <a:pt x="22" y="37"/>
                  </a:cubicBezTo>
                  <a:cubicBezTo>
                    <a:pt x="22" y="36"/>
                    <a:pt x="22" y="36"/>
                    <a:pt x="22" y="36"/>
                  </a:cubicBezTo>
                  <a:cubicBezTo>
                    <a:pt x="22" y="36"/>
                    <a:pt x="22" y="36"/>
                    <a:pt x="22" y="36"/>
                  </a:cubicBezTo>
                  <a:cubicBezTo>
                    <a:pt x="20" y="36"/>
                    <a:pt x="20" y="36"/>
                    <a:pt x="20" y="36"/>
                  </a:cubicBezTo>
                  <a:cubicBezTo>
                    <a:pt x="20" y="36"/>
                    <a:pt x="20" y="36"/>
                    <a:pt x="20" y="36"/>
                  </a:cubicBezTo>
                  <a:cubicBezTo>
                    <a:pt x="20" y="36"/>
                    <a:pt x="20" y="36"/>
                    <a:pt x="20" y="36"/>
                  </a:cubicBezTo>
                  <a:cubicBezTo>
                    <a:pt x="20" y="36"/>
                    <a:pt x="20" y="36"/>
                    <a:pt x="20" y="36"/>
                  </a:cubicBezTo>
                  <a:cubicBezTo>
                    <a:pt x="20" y="36"/>
                    <a:pt x="20" y="36"/>
                    <a:pt x="20" y="36"/>
                  </a:cubicBezTo>
                  <a:cubicBezTo>
                    <a:pt x="20" y="36"/>
                    <a:pt x="20" y="36"/>
                    <a:pt x="20" y="36"/>
                  </a:cubicBezTo>
                  <a:cubicBezTo>
                    <a:pt x="20" y="37"/>
                    <a:pt x="20" y="37"/>
                    <a:pt x="20" y="37"/>
                  </a:cubicBezTo>
                  <a:cubicBezTo>
                    <a:pt x="19" y="37"/>
                    <a:pt x="19" y="37"/>
                    <a:pt x="19" y="37"/>
                  </a:cubicBezTo>
                  <a:cubicBezTo>
                    <a:pt x="19" y="37"/>
                    <a:pt x="19" y="37"/>
                    <a:pt x="19" y="37"/>
                  </a:cubicBezTo>
                  <a:cubicBezTo>
                    <a:pt x="19" y="37"/>
                    <a:pt x="19" y="37"/>
                    <a:pt x="19" y="37"/>
                  </a:cubicBezTo>
                  <a:cubicBezTo>
                    <a:pt x="18" y="37"/>
                    <a:pt x="18" y="37"/>
                    <a:pt x="18" y="37"/>
                  </a:cubicBezTo>
                  <a:cubicBezTo>
                    <a:pt x="18" y="38"/>
                    <a:pt x="18" y="38"/>
                    <a:pt x="18" y="38"/>
                  </a:cubicBezTo>
                  <a:cubicBezTo>
                    <a:pt x="18" y="38"/>
                    <a:pt x="18" y="38"/>
                    <a:pt x="18" y="38"/>
                  </a:cubicBezTo>
                  <a:cubicBezTo>
                    <a:pt x="18" y="39"/>
                    <a:pt x="18" y="39"/>
                    <a:pt x="18" y="39"/>
                  </a:cubicBezTo>
                  <a:cubicBezTo>
                    <a:pt x="18" y="39"/>
                    <a:pt x="18" y="39"/>
                    <a:pt x="18" y="39"/>
                  </a:cubicBezTo>
                  <a:cubicBezTo>
                    <a:pt x="18" y="39"/>
                    <a:pt x="18" y="39"/>
                    <a:pt x="18" y="39"/>
                  </a:cubicBezTo>
                  <a:cubicBezTo>
                    <a:pt x="18" y="39"/>
                    <a:pt x="18" y="39"/>
                    <a:pt x="18" y="39"/>
                  </a:cubicBezTo>
                  <a:cubicBezTo>
                    <a:pt x="18" y="40"/>
                    <a:pt x="18" y="40"/>
                    <a:pt x="18" y="40"/>
                  </a:cubicBezTo>
                  <a:cubicBezTo>
                    <a:pt x="18" y="40"/>
                    <a:pt x="18" y="40"/>
                    <a:pt x="18" y="40"/>
                  </a:cubicBezTo>
                  <a:cubicBezTo>
                    <a:pt x="18" y="40"/>
                    <a:pt x="18" y="40"/>
                    <a:pt x="18" y="40"/>
                  </a:cubicBezTo>
                  <a:cubicBezTo>
                    <a:pt x="18" y="40"/>
                    <a:pt x="18" y="40"/>
                    <a:pt x="18" y="40"/>
                  </a:cubicBezTo>
                  <a:cubicBezTo>
                    <a:pt x="18" y="40"/>
                    <a:pt x="18" y="40"/>
                    <a:pt x="18" y="40"/>
                  </a:cubicBezTo>
                  <a:cubicBezTo>
                    <a:pt x="18" y="40"/>
                    <a:pt x="18" y="40"/>
                    <a:pt x="18" y="40"/>
                  </a:cubicBezTo>
                  <a:cubicBezTo>
                    <a:pt x="18" y="41"/>
                    <a:pt x="18" y="41"/>
                    <a:pt x="18" y="41"/>
                  </a:cubicBezTo>
                  <a:cubicBezTo>
                    <a:pt x="18" y="41"/>
                    <a:pt x="18" y="41"/>
                    <a:pt x="18" y="41"/>
                  </a:cubicBezTo>
                  <a:cubicBezTo>
                    <a:pt x="18" y="41"/>
                    <a:pt x="18" y="41"/>
                    <a:pt x="18" y="41"/>
                  </a:cubicBezTo>
                  <a:cubicBezTo>
                    <a:pt x="18" y="41"/>
                    <a:pt x="18" y="41"/>
                    <a:pt x="18" y="41"/>
                  </a:cubicBezTo>
                  <a:cubicBezTo>
                    <a:pt x="18" y="42"/>
                    <a:pt x="18" y="42"/>
                    <a:pt x="18" y="42"/>
                  </a:cubicBezTo>
                  <a:cubicBezTo>
                    <a:pt x="18" y="42"/>
                    <a:pt x="18" y="42"/>
                    <a:pt x="18" y="42"/>
                  </a:cubicBezTo>
                  <a:cubicBezTo>
                    <a:pt x="18" y="42"/>
                    <a:pt x="18" y="42"/>
                    <a:pt x="18" y="42"/>
                  </a:cubicBezTo>
                  <a:cubicBezTo>
                    <a:pt x="18" y="42"/>
                    <a:pt x="18" y="42"/>
                    <a:pt x="18" y="42"/>
                  </a:cubicBezTo>
                  <a:cubicBezTo>
                    <a:pt x="18" y="42"/>
                    <a:pt x="18" y="42"/>
                    <a:pt x="18" y="42"/>
                  </a:cubicBezTo>
                  <a:cubicBezTo>
                    <a:pt x="18" y="42"/>
                    <a:pt x="18" y="42"/>
                    <a:pt x="18" y="42"/>
                  </a:cubicBezTo>
                  <a:cubicBezTo>
                    <a:pt x="18" y="42"/>
                    <a:pt x="18" y="42"/>
                    <a:pt x="18" y="42"/>
                  </a:cubicBezTo>
                  <a:cubicBezTo>
                    <a:pt x="18" y="42"/>
                    <a:pt x="18" y="42"/>
                    <a:pt x="18" y="42"/>
                  </a:cubicBezTo>
                  <a:cubicBezTo>
                    <a:pt x="18" y="42"/>
                    <a:pt x="18" y="42"/>
                    <a:pt x="18" y="42"/>
                  </a:cubicBezTo>
                  <a:cubicBezTo>
                    <a:pt x="17" y="42"/>
                    <a:pt x="17" y="42"/>
                    <a:pt x="17" y="42"/>
                  </a:cubicBezTo>
                  <a:cubicBezTo>
                    <a:pt x="17" y="42"/>
                    <a:pt x="17" y="42"/>
                    <a:pt x="17" y="42"/>
                  </a:cubicBezTo>
                  <a:cubicBezTo>
                    <a:pt x="17" y="42"/>
                    <a:pt x="17" y="42"/>
                    <a:pt x="17" y="42"/>
                  </a:cubicBezTo>
                  <a:cubicBezTo>
                    <a:pt x="17" y="42"/>
                    <a:pt x="17" y="42"/>
                    <a:pt x="17" y="42"/>
                  </a:cubicBezTo>
                  <a:cubicBezTo>
                    <a:pt x="17" y="42"/>
                    <a:pt x="17" y="42"/>
                    <a:pt x="17" y="42"/>
                  </a:cubicBezTo>
                  <a:cubicBezTo>
                    <a:pt x="17" y="42"/>
                    <a:pt x="17" y="42"/>
                    <a:pt x="17" y="42"/>
                  </a:cubicBezTo>
                  <a:cubicBezTo>
                    <a:pt x="17" y="42"/>
                    <a:pt x="17" y="42"/>
                    <a:pt x="17" y="42"/>
                  </a:cubicBezTo>
                  <a:cubicBezTo>
                    <a:pt x="17" y="42"/>
                    <a:pt x="17" y="42"/>
                    <a:pt x="17" y="42"/>
                  </a:cubicBezTo>
                  <a:cubicBezTo>
                    <a:pt x="17" y="42"/>
                    <a:pt x="17" y="42"/>
                    <a:pt x="17" y="42"/>
                  </a:cubicBezTo>
                  <a:cubicBezTo>
                    <a:pt x="18" y="41"/>
                    <a:pt x="18" y="41"/>
                    <a:pt x="18" y="41"/>
                  </a:cubicBezTo>
                  <a:cubicBezTo>
                    <a:pt x="18" y="41"/>
                    <a:pt x="18" y="41"/>
                    <a:pt x="18" y="41"/>
                  </a:cubicBezTo>
                  <a:cubicBezTo>
                    <a:pt x="17" y="41"/>
                    <a:pt x="17" y="41"/>
                    <a:pt x="17" y="41"/>
                  </a:cubicBezTo>
                  <a:cubicBezTo>
                    <a:pt x="16" y="42"/>
                    <a:pt x="16" y="42"/>
                    <a:pt x="16" y="42"/>
                  </a:cubicBezTo>
                  <a:cubicBezTo>
                    <a:pt x="17" y="42"/>
                    <a:pt x="17" y="42"/>
                    <a:pt x="17" y="42"/>
                  </a:cubicBezTo>
                  <a:cubicBezTo>
                    <a:pt x="17" y="42"/>
                    <a:pt x="17" y="42"/>
                    <a:pt x="17" y="42"/>
                  </a:cubicBezTo>
                  <a:cubicBezTo>
                    <a:pt x="16" y="43"/>
                    <a:pt x="16" y="43"/>
                    <a:pt x="16" y="43"/>
                  </a:cubicBezTo>
                  <a:cubicBezTo>
                    <a:pt x="16" y="43"/>
                    <a:pt x="16" y="43"/>
                    <a:pt x="16" y="43"/>
                  </a:cubicBezTo>
                  <a:cubicBezTo>
                    <a:pt x="16" y="43"/>
                    <a:pt x="16" y="43"/>
                    <a:pt x="16" y="43"/>
                  </a:cubicBezTo>
                  <a:cubicBezTo>
                    <a:pt x="16" y="43"/>
                    <a:pt x="16" y="43"/>
                    <a:pt x="16" y="43"/>
                  </a:cubicBezTo>
                  <a:cubicBezTo>
                    <a:pt x="16" y="43"/>
                    <a:pt x="16" y="43"/>
                    <a:pt x="16" y="43"/>
                  </a:cubicBezTo>
                  <a:cubicBezTo>
                    <a:pt x="16" y="44"/>
                    <a:pt x="16" y="44"/>
                    <a:pt x="16" y="44"/>
                  </a:cubicBezTo>
                  <a:cubicBezTo>
                    <a:pt x="16" y="44"/>
                    <a:pt x="16" y="44"/>
                    <a:pt x="16" y="44"/>
                  </a:cubicBezTo>
                  <a:cubicBezTo>
                    <a:pt x="16" y="44"/>
                    <a:pt x="16" y="44"/>
                    <a:pt x="16" y="44"/>
                  </a:cubicBezTo>
                  <a:cubicBezTo>
                    <a:pt x="16" y="44"/>
                    <a:pt x="16" y="44"/>
                    <a:pt x="16" y="44"/>
                  </a:cubicBezTo>
                  <a:cubicBezTo>
                    <a:pt x="16" y="44"/>
                    <a:pt x="16" y="44"/>
                    <a:pt x="16" y="44"/>
                  </a:cubicBezTo>
                  <a:cubicBezTo>
                    <a:pt x="16" y="44"/>
                    <a:pt x="16" y="44"/>
                    <a:pt x="16" y="44"/>
                  </a:cubicBezTo>
                  <a:cubicBezTo>
                    <a:pt x="16" y="44"/>
                    <a:pt x="16" y="44"/>
                    <a:pt x="16" y="44"/>
                  </a:cubicBezTo>
                  <a:cubicBezTo>
                    <a:pt x="16" y="45"/>
                    <a:pt x="16" y="45"/>
                    <a:pt x="16" y="45"/>
                  </a:cubicBezTo>
                  <a:cubicBezTo>
                    <a:pt x="15" y="46"/>
                    <a:pt x="15" y="46"/>
                    <a:pt x="15" y="46"/>
                  </a:cubicBezTo>
                  <a:cubicBezTo>
                    <a:pt x="15" y="46"/>
                    <a:pt x="15" y="46"/>
                    <a:pt x="15" y="46"/>
                  </a:cubicBezTo>
                  <a:cubicBezTo>
                    <a:pt x="15" y="46"/>
                    <a:pt x="15" y="46"/>
                    <a:pt x="15" y="46"/>
                  </a:cubicBezTo>
                  <a:cubicBezTo>
                    <a:pt x="14" y="47"/>
                    <a:pt x="14" y="47"/>
                    <a:pt x="14" y="47"/>
                  </a:cubicBezTo>
                  <a:cubicBezTo>
                    <a:pt x="14" y="47"/>
                    <a:pt x="14" y="47"/>
                    <a:pt x="14" y="47"/>
                  </a:cubicBezTo>
                  <a:cubicBezTo>
                    <a:pt x="14" y="48"/>
                    <a:pt x="14" y="48"/>
                    <a:pt x="14" y="48"/>
                  </a:cubicBezTo>
                  <a:cubicBezTo>
                    <a:pt x="14" y="48"/>
                    <a:pt x="14" y="48"/>
                    <a:pt x="14" y="48"/>
                  </a:cubicBezTo>
                  <a:cubicBezTo>
                    <a:pt x="14" y="48"/>
                    <a:pt x="14" y="48"/>
                    <a:pt x="14" y="48"/>
                  </a:cubicBezTo>
                  <a:cubicBezTo>
                    <a:pt x="12" y="50"/>
                    <a:pt x="12" y="50"/>
                    <a:pt x="12" y="50"/>
                  </a:cubicBezTo>
                  <a:cubicBezTo>
                    <a:pt x="13" y="50"/>
                    <a:pt x="13" y="50"/>
                    <a:pt x="13" y="50"/>
                  </a:cubicBezTo>
                  <a:cubicBezTo>
                    <a:pt x="13" y="50"/>
                    <a:pt x="13" y="50"/>
                    <a:pt x="13" y="50"/>
                  </a:cubicBezTo>
                  <a:cubicBezTo>
                    <a:pt x="12" y="50"/>
                    <a:pt x="12" y="50"/>
                    <a:pt x="12" y="50"/>
                  </a:cubicBezTo>
                  <a:cubicBezTo>
                    <a:pt x="12" y="50"/>
                    <a:pt x="12" y="50"/>
                    <a:pt x="12" y="50"/>
                  </a:cubicBezTo>
                  <a:cubicBezTo>
                    <a:pt x="12" y="51"/>
                    <a:pt x="12" y="51"/>
                    <a:pt x="12" y="51"/>
                  </a:cubicBezTo>
                  <a:cubicBezTo>
                    <a:pt x="12" y="51"/>
                    <a:pt x="12" y="51"/>
                    <a:pt x="12" y="51"/>
                  </a:cubicBezTo>
                  <a:cubicBezTo>
                    <a:pt x="12" y="52"/>
                    <a:pt x="12" y="52"/>
                    <a:pt x="12" y="52"/>
                  </a:cubicBezTo>
                  <a:cubicBezTo>
                    <a:pt x="12" y="53"/>
                    <a:pt x="12" y="53"/>
                    <a:pt x="12" y="53"/>
                  </a:cubicBezTo>
                  <a:cubicBezTo>
                    <a:pt x="12" y="53"/>
                    <a:pt x="12" y="53"/>
                    <a:pt x="12" y="53"/>
                  </a:cubicBezTo>
                  <a:cubicBezTo>
                    <a:pt x="12" y="53"/>
                    <a:pt x="12" y="53"/>
                    <a:pt x="12" y="53"/>
                  </a:cubicBezTo>
                  <a:cubicBezTo>
                    <a:pt x="13" y="52"/>
                    <a:pt x="13" y="52"/>
                    <a:pt x="13" y="52"/>
                  </a:cubicBezTo>
                  <a:cubicBezTo>
                    <a:pt x="13" y="52"/>
                    <a:pt x="13" y="52"/>
                    <a:pt x="13" y="52"/>
                  </a:cubicBezTo>
                  <a:cubicBezTo>
                    <a:pt x="14" y="52"/>
                    <a:pt x="14" y="52"/>
                    <a:pt x="14" y="52"/>
                  </a:cubicBezTo>
                  <a:cubicBezTo>
                    <a:pt x="14" y="52"/>
                    <a:pt x="14" y="52"/>
                    <a:pt x="14" y="52"/>
                  </a:cubicBezTo>
                  <a:cubicBezTo>
                    <a:pt x="14" y="52"/>
                    <a:pt x="14" y="52"/>
                    <a:pt x="14" y="52"/>
                  </a:cubicBezTo>
                  <a:cubicBezTo>
                    <a:pt x="14" y="52"/>
                    <a:pt x="14" y="52"/>
                    <a:pt x="14" y="52"/>
                  </a:cubicBezTo>
                  <a:cubicBezTo>
                    <a:pt x="14" y="52"/>
                    <a:pt x="14" y="52"/>
                    <a:pt x="14" y="52"/>
                  </a:cubicBezTo>
                  <a:cubicBezTo>
                    <a:pt x="14" y="53"/>
                    <a:pt x="14" y="53"/>
                    <a:pt x="14" y="53"/>
                  </a:cubicBezTo>
                  <a:cubicBezTo>
                    <a:pt x="14" y="53"/>
                    <a:pt x="14" y="53"/>
                    <a:pt x="14" y="53"/>
                  </a:cubicBezTo>
                  <a:cubicBezTo>
                    <a:pt x="14" y="53"/>
                    <a:pt x="14" y="53"/>
                    <a:pt x="14" y="53"/>
                  </a:cubicBezTo>
                  <a:cubicBezTo>
                    <a:pt x="14" y="53"/>
                    <a:pt x="14" y="53"/>
                    <a:pt x="14" y="53"/>
                  </a:cubicBezTo>
                  <a:cubicBezTo>
                    <a:pt x="14" y="53"/>
                    <a:pt x="14" y="53"/>
                    <a:pt x="14" y="53"/>
                  </a:cubicBezTo>
                  <a:cubicBezTo>
                    <a:pt x="15" y="53"/>
                    <a:pt x="15" y="53"/>
                    <a:pt x="15" y="53"/>
                  </a:cubicBezTo>
                  <a:cubicBezTo>
                    <a:pt x="15" y="53"/>
                    <a:pt x="15" y="53"/>
                    <a:pt x="15" y="53"/>
                  </a:cubicBezTo>
                  <a:cubicBezTo>
                    <a:pt x="15" y="52"/>
                    <a:pt x="15" y="52"/>
                    <a:pt x="15" y="52"/>
                  </a:cubicBezTo>
                  <a:cubicBezTo>
                    <a:pt x="15" y="52"/>
                    <a:pt x="15" y="52"/>
                    <a:pt x="15" y="52"/>
                  </a:cubicBezTo>
                  <a:cubicBezTo>
                    <a:pt x="15" y="52"/>
                    <a:pt x="15" y="52"/>
                    <a:pt x="15" y="52"/>
                  </a:cubicBezTo>
                  <a:cubicBezTo>
                    <a:pt x="15" y="51"/>
                    <a:pt x="15" y="51"/>
                    <a:pt x="15" y="51"/>
                  </a:cubicBezTo>
                  <a:cubicBezTo>
                    <a:pt x="15" y="51"/>
                    <a:pt x="15" y="51"/>
                    <a:pt x="15" y="51"/>
                  </a:cubicBezTo>
                  <a:cubicBezTo>
                    <a:pt x="16" y="50"/>
                    <a:pt x="16" y="50"/>
                    <a:pt x="16" y="50"/>
                  </a:cubicBezTo>
                  <a:cubicBezTo>
                    <a:pt x="16" y="50"/>
                    <a:pt x="16" y="50"/>
                    <a:pt x="16" y="50"/>
                  </a:cubicBezTo>
                  <a:cubicBezTo>
                    <a:pt x="18" y="50"/>
                    <a:pt x="18" y="50"/>
                    <a:pt x="18" y="50"/>
                  </a:cubicBezTo>
                  <a:cubicBezTo>
                    <a:pt x="18" y="50"/>
                    <a:pt x="18" y="50"/>
                    <a:pt x="18" y="50"/>
                  </a:cubicBezTo>
                  <a:cubicBezTo>
                    <a:pt x="18" y="50"/>
                    <a:pt x="18" y="50"/>
                    <a:pt x="18" y="50"/>
                  </a:cubicBezTo>
                  <a:cubicBezTo>
                    <a:pt x="18" y="50"/>
                    <a:pt x="18" y="50"/>
                    <a:pt x="18" y="50"/>
                  </a:cubicBezTo>
                  <a:cubicBezTo>
                    <a:pt x="19" y="50"/>
                    <a:pt x="19" y="50"/>
                    <a:pt x="19" y="50"/>
                  </a:cubicBezTo>
                  <a:cubicBezTo>
                    <a:pt x="19" y="50"/>
                    <a:pt x="19" y="50"/>
                    <a:pt x="19" y="50"/>
                  </a:cubicBezTo>
                  <a:cubicBezTo>
                    <a:pt x="19" y="50"/>
                    <a:pt x="19" y="50"/>
                    <a:pt x="19" y="50"/>
                  </a:cubicBezTo>
                  <a:cubicBezTo>
                    <a:pt x="19" y="50"/>
                    <a:pt x="19" y="50"/>
                    <a:pt x="19" y="50"/>
                  </a:cubicBezTo>
                  <a:cubicBezTo>
                    <a:pt x="19" y="49"/>
                    <a:pt x="19" y="49"/>
                    <a:pt x="19" y="49"/>
                  </a:cubicBezTo>
                  <a:cubicBezTo>
                    <a:pt x="20" y="49"/>
                    <a:pt x="20" y="49"/>
                    <a:pt x="20" y="49"/>
                  </a:cubicBezTo>
                  <a:cubicBezTo>
                    <a:pt x="20" y="49"/>
                    <a:pt x="20" y="49"/>
                    <a:pt x="20" y="49"/>
                  </a:cubicBezTo>
                  <a:cubicBezTo>
                    <a:pt x="20" y="49"/>
                    <a:pt x="20" y="49"/>
                    <a:pt x="20" y="49"/>
                  </a:cubicBezTo>
                  <a:cubicBezTo>
                    <a:pt x="20" y="49"/>
                    <a:pt x="20" y="49"/>
                    <a:pt x="20" y="49"/>
                  </a:cubicBezTo>
                  <a:cubicBezTo>
                    <a:pt x="20" y="49"/>
                    <a:pt x="20" y="49"/>
                    <a:pt x="20" y="49"/>
                  </a:cubicBezTo>
                  <a:cubicBezTo>
                    <a:pt x="20" y="49"/>
                    <a:pt x="20" y="49"/>
                    <a:pt x="20" y="49"/>
                  </a:cubicBezTo>
                  <a:cubicBezTo>
                    <a:pt x="21" y="49"/>
                    <a:pt x="21" y="49"/>
                    <a:pt x="21" y="49"/>
                  </a:cubicBezTo>
                  <a:cubicBezTo>
                    <a:pt x="22" y="48"/>
                    <a:pt x="22" y="48"/>
                    <a:pt x="22" y="48"/>
                  </a:cubicBezTo>
                  <a:cubicBezTo>
                    <a:pt x="23" y="48"/>
                    <a:pt x="23" y="48"/>
                    <a:pt x="23" y="48"/>
                  </a:cubicBezTo>
                  <a:cubicBezTo>
                    <a:pt x="23" y="48"/>
                    <a:pt x="23" y="48"/>
                    <a:pt x="23" y="48"/>
                  </a:cubicBezTo>
                  <a:cubicBezTo>
                    <a:pt x="24" y="48"/>
                    <a:pt x="24" y="48"/>
                    <a:pt x="24" y="48"/>
                  </a:cubicBezTo>
                  <a:cubicBezTo>
                    <a:pt x="24" y="48"/>
                    <a:pt x="24" y="48"/>
                    <a:pt x="24" y="48"/>
                  </a:cubicBezTo>
                  <a:cubicBezTo>
                    <a:pt x="23" y="48"/>
                    <a:pt x="23" y="48"/>
                    <a:pt x="23" y="48"/>
                  </a:cubicBezTo>
                  <a:cubicBezTo>
                    <a:pt x="24" y="48"/>
                    <a:pt x="24" y="48"/>
                    <a:pt x="24" y="48"/>
                  </a:cubicBezTo>
                  <a:cubicBezTo>
                    <a:pt x="25" y="47"/>
                    <a:pt x="25" y="47"/>
                    <a:pt x="25" y="47"/>
                  </a:cubicBezTo>
                  <a:cubicBezTo>
                    <a:pt x="25" y="47"/>
                    <a:pt x="25" y="47"/>
                    <a:pt x="25" y="47"/>
                  </a:cubicBezTo>
                  <a:cubicBezTo>
                    <a:pt x="25" y="48"/>
                    <a:pt x="25" y="48"/>
                    <a:pt x="25" y="48"/>
                  </a:cubicBezTo>
                  <a:cubicBezTo>
                    <a:pt x="25" y="48"/>
                    <a:pt x="25" y="48"/>
                    <a:pt x="25" y="48"/>
                  </a:cubicBezTo>
                  <a:cubicBezTo>
                    <a:pt x="26" y="48"/>
                    <a:pt x="26" y="48"/>
                    <a:pt x="26" y="48"/>
                  </a:cubicBezTo>
                  <a:cubicBezTo>
                    <a:pt x="26" y="48"/>
                    <a:pt x="26" y="48"/>
                    <a:pt x="26" y="48"/>
                  </a:cubicBezTo>
                  <a:cubicBezTo>
                    <a:pt x="26" y="48"/>
                    <a:pt x="26" y="48"/>
                    <a:pt x="26" y="48"/>
                  </a:cubicBezTo>
                  <a:cubicBezTo>
                    <a:pt x="26" y="48"/>
                    <a:pt x="26" y="48"/>
                    <a:pt x="26" y="48"/>
                  </a:cubicBezTo>
                  <a:cubicBezTo>
                    <a:pt x="26" y="48"/>
                    <a:pt x="26" y="48"/>
                    <a:pt x="26" y="48"/>
                  </a:cubicBezTo>
                  <a:cubicBezTo>
                    <a:pt x="26" y="48"/>
                    <a:pt x="26" y="48"/>
                    <a:pt x="26" y="48"/>
                  </a:cubicBezTo>
                  <a:cubicBezTo>
                    <a:pt x="26" y="47"/>
                    <a:pt x="26" y="47"/>
                    <a:pt x="26" y="47"/>
                  </a:cubicBezTo>
                  <a:cubicBezTo>
                    <a:pt x="26" y="47"/>
                    <a:pt x="26" y="47"/>
                    <a:pt x="26" y="47"/>
                  </a:cubicBezTo>
                  <a:cubicBezTo>
                    <a:pt x="27" y="47"/>
                    <a:pt x="27" y="47"/>
                    <a:pt x="27" y="47"/>
                  </a:cubicBezTo>
                  <a:cubicBezTo>
                    <a:pt x="30" y="46"/>
                    <a:pt x="30" y="46"/>
                    <a:pt x="30" y="46"/>
                  </a:cubicBezTo>
                  <a:cubicBezTo>
                    <a:pt x="30" y="46"/>
                    <a:pt x="30" y="46"/>
                    <a:pt x="30" y="46"/>
                  </a:cubicBezTo>
                  <a:cubicBezTo>
                    <a:pt x="31" y="46"/>
                    <a:pt x="31" y="46"/>
                    <a:pt x="31" y="46"/>
                  </a:cubicBezTo>
                  <a:cubicBezTo>
                    <a:pt x="31" y="46"/>
                    <a:pt x="31" y="46"/>
                    <a:pt x="31" y="46"/>
                  </a:cubicBezTo>
                  <a:cubicBezTo>
                    <a:pt x="32" y="45"/>
                    <a:pt x="32" y="45"/>
                    <a:pt x="32" y="45"/>
                  </a:cubicBezTo>
                  <a:cubicBezTo>
                    <a:pt x="33" y="45"/>
                    <a:pt x="33" y="45"/>
                    <a:pt x="33" y="45"/>
                  </a:cubicBezTo>
                  <a:cubicBezTo>
                    <a:pt x="33" y="46"/>
                    <a:pt x="33" y="46"/>
                    <a:pt x="33" y="46"/>
                  </a:cubicBezTo>
                  <a:cubicBezTo>
                    <a:pt x="32" y="46"/>
                    <a:pt x="32" y="46"/>
                    <a:pt x="32" y="46"/>
                  </a:cubicBezTo>
                  <a:cubicBezTo>
                    <a:pt x="32" y="46"/>
                    <a:pt x="32" y="46"/>
                    <a:pt x="32" y="46"/>
                  </a:cubicBezTo>
                  <a:cubicBezTo>
                    <a:pt x="32" y="47"/>
                    <a:pt x="32" y="47"/>
                    <a:pt x="32" y="47"/>
                  </a:cubicBezTo>
                  <a:cubicBezTo>
                    <a:pt x="32" y="47"/>
                    <a:pt x="32" y="47"/>
                    <a:pt x="32" y="47"/>
                  </a:cubicBezTo>
                  <a:cubicBezTo>
                    <a:pt x="31" y="47"/>
                    <a:pt x="31" y="47"/>
                    <a:pt x="31" y="47"/>
                  </a:cubicBezTo>
                  <a:cubicBezTo>
                    <a:pt x="31" y="47"/>
                    <a:pt x="31" y="47"/>
                    <a:pt x="31" y="47"/>
                  </a:cubicBezTo>
                  <a:cubicBezTo>
                    <a:pt x="31" y="47"/>
                    <a:pt x="31" y="47"/>
                    <a:pt x="31" y="47"/>
                  </a:cubicBezTo>
                  <a:cubicBezTo>
                    <a:pt x="31" y="47"/>
                    <a:pt x="31" y="47"/>
                    <a:pt x="31" y="47"/>
                  </a:cubicBezTo>
                  <a:cubicBezTo>
                    <a:pt x="30" y="47"/>
                    <a:pt x="30" y="47"/>
                    <a:pt x="30" y="47"/>
                  </a:cubicBezTo>
                  <a:cubicBezTo>
                    <a:pt x="29" y="48"/>
                    <a:pt x="29" y="48"/>
                    <a:pt x="29" y="48"/>
                  </a:cubicBezTo>
                  <a:cubicBezTo>
                    <a:pt x="29" y="48"/>
                    <a:pt x="29" y="48"/>
                    <a:pt x="29"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8" y="48"/>
                    <a:pt x="28" y="48"/>
                    <a:pt x="28" y="48"/>
                  </a:cubicBezTo>
                  <a:cubicBezTo>
                    <a:pt x="27" y="48"/>
                    <a:pt x="27" y="48"/>
                    <a:pt x="27" y="48"/>
                  </a:cubicBezTo>
                  <a:cubicBezTo>
                    <a:pt x="27" y="48"/>
                    <a:pt x="27" y="48"/>
                    <a:pt x="27" y="48"/>
                  </a:cubicBezTo>
                  <a:cubicBezTo>
                    <a:pt x="27" y="49"/>
                    <a:pt x="27" y="49"/>
                    <a:pt x="27" y="49"/>
                  </a:cubicBezTo>
                  <a:cubicBezTo>
                    <a:pt x="27" y="49"/>
                    <a:pt x="27" y="49"/>
                    <a:pt x="27" y="49"/>
                  </a:cubicBezTo>
                  <a:cubicBezTo>
                    <a:pt x="27" y="49"/>
                    <a:pt x="27" y="49"/>
                    <a:pt x="27" y="49"/>
                  </a:cubicBezTo>
                  <a:cubicBezTo>
                    <a:pt x="27" y="49"/>
                    <a:pt x="27" y="49"/>
                    <a:pt x="27" y="49"/>
                  </a:cubicBezTo>
                  <a:cubicBezTo>
                    <a:pt x="26" y="49"/>
                    <a:pt x="26" y="49"/>
                    <a:pt x="26" y="49"/>
                  </a:cubicBezTo>
                  <a:cubicBezTo>
                    <a:pt x="26" y="49"/>
                    <a:pt x="26" y="49"/>
                    <a:pt x="26" y="49"/>
                  </a:cubicBezTo>
                  <a:cubicBezTo>
                    <a:pt x="26" y="50"/>
                    <a:pt x="26" y="50"/>
                    <a:pt x="26" y="50"/>
                  </a:cubicBezTo>
                  <a:cubicBezTo>
                    <a:pt x="25" y="51"/>
                    <a:pt x="25" y="51"/>
                    <a:pt x="25" y="51"/>
                  </a:cubicBezTo>
                  <a:cubicBezTo>
                    <a:pt x="24" y="52"/>
                    <a:pt x="24" y="52"/>
                    <a:pt x="24" y="52"/>
                  </a:cubicBezTo>
                  <a:cubicBezTo>
                    <a:pt x="24" y="52"/>
                    <a:pt x="24" y="52"/>
                    <a:pt x="24" y="52"/>
                  </a:cubicBezTo>
                  <a:cubicBezTo>
                    <a:pt x="24" y="52"/>
                    <a:pt x="24" y="52"/>
                    <a:pt x="24" y="52"/>
                  </a:cubicBezTo>
                  <a:cubicBezTo>
                    <a:pt x="23" y="52"/>
                    <a:pt x="23" y="52"/>
                    <a:pt x="23" y="52"/>
                  </a:cubicBezTo>
                  <a:cubicBezTo>
                    <a:pt x="23" y="52"/>
                    <a:pt x="23" y="52"/>
                    <a:pt x="23" y="52"/>
                  </a:cubicBezTo>
                  <a:cubicBezTo>
                    <a:pt x="23" y="52"/>
                    <a:pt x="23" y="52"/>
                    <a:pt x="23" y="52"/>
                  </a:cubicBezTo>
                  <a:cubicBezTo>
                    <a:pt x="23" y="53"/>
                    <a:pt x="23" y="53"/>
                    <a:pt x="23" y="53"/>
                  </a:cubicBezTo>
                  <a:cubicBezTo>
                    <a:pt x="23" y="53"/>
                    <a:pt x="23" y="53"/>
                    <a:pt x="23" y="53"/>
                  </a:cubicBezTo>
                  <a:cubicBezTo>
                    <a:pt x="23" y="53"/>
                    <a:pt x="23" y="53"/>
                    <a:pt x="23" y="53"/>
                  </a:cubicBezTo>
                  <a:cubicBezTo>
                    <a:pt x="23" y="54"/>
                    <a:pt x="23" y="54"/>
                    <a:pt x="23" y="54"/>
                  </a:cubicBezTo>
                  <a:cubicBezTo>
                    <a:pt x="23" y="54"/>
                    <a:pt x="23" y="54"/>
                    <a:pt x="23" y="54"/>
                  </a:cubicBezTo>
                  <a:cubicBezTo>
                    <a:pt x="24" y="54"/>
                    <a:pt x="24" y="54"/>
                    <a:pt x="24" y="54"/>
                  </a:cubicBezTo>
                  <a:cubicBezTo>
                    <a:pt x="25" y="54"/>
                    <a:pt x="25" y="54"/>
                    <a:pt x="25" y="54"/>
                  </a:cubicBezTo>
                  <a:cubicBezTo>
                    <a:pt x="25" y="54"/>
                    <a:pt x="25" y="54"/>
                    <a:pt x="25" y="54"/>
                  </a:cubicBezTo>
                  <a:cubicBezTo>
                    <a:pt x="25" y="55"/>
                    <a:pt x="25" y="55"/>
                    <a:pt x="25" y="55"/>
                  </a:cubicBezTo>
                  <a:cubicBezTo>
                    <a:pt x="25" y="55"/>
                    <a:pt x="25" y="55"/>
                    <a:pt x="25" y="55"/>
                  </a:cubicBezTo>
                  <a:cubicBezTo>
                    <a:pt x="25" y="55"/>
                    <a:pt x="25" y="55"/>
                    <a:pt x="25" y="55"/>
                  </a:cubicBezTo>
                  <a:cubicBezTo>
                    <a:pt x="25" y="55"/>
                    <a:pt x="25" y="55"/>
                    <a:pt x="25" y="55"/>
                  </a:cubicBezTo>
                  <a:cubicBezTo>
                    <a:pt x="25" y="56"/>
                    <a:pt x="25" y="56"/>
                    <a:pt x="25" y="56"/>
                  </a:cubicBezTo>
                  <a:cubicBezTo>
                    <a:pt x="25" y="56"/>
                    <a:pt x="25" y="56"/>
                    <a:pt x="25" y="56"/>
                  </a:cubicBezTo>
                  <a:cubicBezTo>
                    <a:pt x="25" y="56"/>
                    <a:pt x="25" y="56"/>
                    <a:pt x="25" y="56"/>
                  </a:cubicBezTo>
                  <a:cubicBezTo>
                    <a:pt x="25" y="56"/>
                    <a:pt x="25" y="56"/>
                    <a:pt x="25" y="56"/>
                  </a:cubicBezTo>
                  <a:cubicBezTo>
                    <a:pt x="25" y="56"/>
                    <a:pt x="25" y="56"/>
                    <a:pt x="25" y="56"/>
                  </a:cubicBezTo>
                  <a:cubicBezTo>
                    <a:pt x="24" y="55"/>
                    <a:pt x="24" y="55"/>
                    <a:pt x="24" y="55"/>
                  </a:cubicBezTo>
                  <a:cubicBezTo>
                    <a:pt x="24" y="55"/>
                    <a:pt x="24" y="55"/>
                    <a:pt x="24" y="55"/>
                  </a:cubicBezTo>
                  <a:cubicBezTo>
                    <a:pt x="23" y="54"/>
                    <a:pt x="23" y="54"/>
                    <a:pt x="23" y="54"/>
                  </a:cubicBezTo>
                  <a:cubicBezTo>
                    <a:pt x="22" y="54"/>
                    <a:pt x="22" y="54"/>
                    <a:pt x="22" y="54"/>
                  </a:cubicBezTo>
                  <a:cubicBezTo>
                    <a:pt x="21" y="54"/>
                    <a:pt x="21" y="54"/>
                    <a:pt x="21" y="54"/>
                  </a:cubicBezTo>
                  <a:cubicBezTo>
                    <a:pt x="21" y="54"/>
                    <a:pt x="21" y="54"/>
                    <a:pt x="21" y="54"/>
                  </a:cubicBezTo>
                  <a:cubicBezTo>
                    <a:pt x="21" y="54"/>
                    <a:pt x="21" y="54"/>
                    <a:pt x="21" y="54"/>
                  </a:cubicBezTo>
                  <a:cubicBezTo>
                    <a:pt x="21" y="54"/>
                    <a:pt x="21" y="54"/>
                    <a:pt x="21" y="54"/>
                  </a:cubicBezTo>
                  <a:cubicBezTo>
                    <a:pt x="21" y="55"/>
                    <a:pt x="21" y="55"/>
                    <a:pt x="21" y="55"/>
                  </a:cubicBezTo>
                  <a:cubicBezTo>
                    <a:pt x="21" y="55"/>
                    <a:pt x="21" y="55"/>
                    <a:pt x="21" y="55"/>
                  </a:cubicBezTo>
                  <a:cubicBezTo>
                    <a:pt x="21" y="55"/>
                    <a:pt x="21" y="55"/>
                    <a:pt x="21" y="55"/>
                  </a:cubicBezTo>
                  <a:cubicBezTo>
                    <a:pt x="21" y="55"/>
                    <a:pt x="21" y="55"/>
                    <a:pt x="21" y="55"/>
                  </a:cubicBezTo>
                  <a:cubicBezTo>
                    <a:pt x="21" y="55"/>
                    <a:pt x="21" y="55"/>
                    <a:pt x="21" y="55"/>
                  </a:cubicBezTo>
                  <a:cubicBezTo>
                    <a:pt x="21" y="54"/>
                    <a:pt x="21" y="54"/>
                    <a:pt x="21" y="54"/>
                  </a:cubicBezTo>
                  <a:cubicBezTo>
                    <a:pt x="20" y="54"/>
                    <a:pt x="20" y="54"/>
                    <a:pt x="20" y="54"/>
                  </a:cubicBezTo>
                  <a:cubicBezTo>
                    <a:pt x="21" y="54"/>
                    <a:pt x="21" y="54"/>
                    <a:pt x="21" y="54"/>
                  </a:cubicBezTo>
                  <a:cubicBezTo>
                    <a:pt x="21" y="53"/>
                    <a:pt x="21" y="53"/>
                    <a:pt x="21" y="53"/>
                  </a:cubicBezTo>
                  <a:cubicBezTo>
                    <a:pt x="21" y="53"/>
                    <a:pt x="21" y="53"/>
                    <a:pt x="21" y="53"/>
                  </a:cubicBezTo>
                  <a:cubicBezTo>
                    <a:pt x="20" y="53"/>
                    <a:pt x="20" y="53"/>
                    <a:pt x="20" y="53"/>
                  </a:cubicBezTo>
                  <a:cubicBezTo>
                    <a:pt x="20" y="53"/>
                    <a:pt x="20" y="53"/>
                    <a:pt x="20" y="53"/>
                  </a:cubicBezTo>
                  <a:cubicBezTo>
                    <a:pt x="20" y="52"/>
                    <a:pt x="20" y="52"/>
                    <a:pt x="20" y="52"/>
                  </a:cubicBezTo>
                  <a:cubicBezTo>
                    <a:pt x="20" y="52"/>
                    <a:pt x="20" y="52"/>
                    <a:pt x="20" y="52"/>
                  </a:cubicBezTo>
                  <a:cubicBezTo>
                    <a:pt x="20" y="51"/>
                    <a:pt x="20" y="51"/>
                    <a:pt x="20" y="51"/>
                  </a:cubicBezTo>
                  <a:cubicBezTo>
                    <a:pt x="21" y="51"/>
                    <a:pt x="21" y="51"/>
                    <a:pt x="21" y="51"/>
                  </a:cubicBezTo>
                  <a:cubicBezTo>
                    <a:pt x="21" y="51"/>
                    <a:pt x="21" y="51"/>
                    <a:pt x="21" y="51"/>
                  </a:cubicBezTo>
                  <a:cubicBezTo>
                    <a:pt x="20" y="51"/>
                    <a:pt x="20" y="51"/>
                    <a:pt x="20" y="51"/>
                  </a:cubicBezTo>
                  <a:cubicBezTo>
                    <a:pt x="20" y="51"/>
                    <a:pt x="20" y="51"/>
                    <a:pt x="20" y="51"/>
                  </a:cubicBezTo>
                  <a:cubicBezTo>
                    <a:pt x="19" y="51"/>
                    <a:pt x="19" y="51"/>
                    <a:pt x="19" y="51"/>
                  </a:cubicBezTo>
                  <a:cubicBezTo>
                    <a:pt x="18" y="51"/>
                    <a:pt x="18" y="51"/>
                    <a:pt x="18" y="51"/>
                  </a:cubicBezTo>
                  <a:cubicBezTo>
                    <a:pt x="18" y="51"/>
                    <a:pt x="18" y="51"/>
                    <a:pt x="18" y="51"/>
                  </a:cubicBezTo>
                  <a:cubicBezTo>
                    <a:pt x="18" y="51"/>
                    <a:pt x="18" y="51"/>
                    <a:pt x="18" y="51"/>
                  </a:cubicBezTo>
                  <a:cubicBezTo>
                    <a:pt x="18" y="51"/>
                    <a:pt x="18" y="51"/>
                    <a:pt x="18" y="51"/>
                  </a:cubicBezTo>
                  <a:cubicBezTo>
                    <a:pt x="19" y="51"/>
                    <a:pt x="19" y="51"/>
                    <a:pt x="19" y="51"/>
                  </a:cubicBezTo>
                  <a:cubicBezTo>
                    <a:pt x="19" y="51"/>
                    <a:pt x="19" y="51"/>
                    <a:pt x="19" y="51"/>
                  </a:cubicBezTo>
                  <a:cubicBezTo>
                    <a:pt x="19" y="52"/>
                    <a:pt x="19" y="52"/>
                    <a:pt x="19" y="52"/>
                  </a:cubicBezTo>
                  <a:cubicBezTo>
                    <a:pt x="19" y="52"/>
                    <a:pt x="19" y="52"/>
                    <a:pt x="19" y="52"/>
                  </a:cubicBezTo>
                  <a:cubicBezTo>
                    <a:pt x="19" y="53"/>
                    <a:pt x="19" y="53"/>
                    <a:pt x="19" y="53"/>
                  </a:cubicBezTo>
                  <a:cubicBezTo>
                    <a:pt x="18" y="53"/>
                    <a:pt x="18" y="53"/>
                    <a:pt x="18" y="53"/>
                  </a:cubicBezTo>
                  <a:cubicBezTo>
                    <a:pt x="18" y="54"/>
                    <a:pt x="18" y="54"/>
                    <a:pt x="18" y="54"/>
                  </a:cubicBezTo>
                  <a:cubicBezTo>
                    <a:pt x="17" y="54"/>
                    <a:pt x="17" y="54"/>
                    <a:pt x="17" y="54"/>
                  </a:cubicBezTo>
                  <a:cubicBezTo>
                    <a:pt x="16" y="55"/>
                    <a:pt x="16" y="55"/>
                    <a:pt x="16" y="55"/>
                  </a:cubicBezTo>
                  <a:cubicBezTo>
                    <a:pt x="14" y="56"/>
                    <a:pt x="14" y="56"/>
                    <a:pt x="14" y="56"/>
                  </a:cubicBezTo>
                  <a:cubicBezTo>
                    <a:pt x="12" y="59"/>
                    <a:pt x="12" y="59"/>
                    <a:pt x="12" y="59"/>
                  </a:cubicBezTo>
                  <a:cubicBezTo>
                    <a:pt x="11" y="61"/>
                    <a:pt x="11" y="61"/>
                    <a:pt x="11" y="61"/>
                  </a:cubicBezTo>
                  <a:cubicBezTo>
                    <a:pt x="10" y="61"/>
                    <a:pt x="10" y="61"/>
                    <a:pt x="10" y="61"/>
                  </a:cubicBezTo>
                  <a:cubicBezTo>
                    <a:pt x="10" y="62"/>
                    <a:pt x="10" y="62"/>
                    <a:pt x="10" y="62"/>
                  </a:cubicBezTo>
                  <a:cubicBezTo>
                    <a:pt x="9" y="63"/>
                    <a:pt x="9" y="63"/>
                    <a:pt x="9" y="63"/>
                  </a:cubicBezTo>
                  <a:cubicBezTo>
                    <a:pt x="9" y="63"/>
                    <a:pt x="9" y="63"/>
                    <a:pt x="9" y="63"/>
                  </a:cubicBezTo>
                  <a:cubicBezTo>
                    <a:pt x="8" y="63"/>
                    <a:pt x="8" y="63"/>
                    <a:pt x="8" y="63"/>
                  </a:cubicBezTo>
                  <a:cubicBezTo>
                    <a:pt x="8" y="64"/>
                    <a:pt x="8" y="64"/>
                    <a:pt x="8" y="64"/>
                  </a:cubicBezTo>
                  <a:cubicBezTo>
                    <a:pt x="6" y="67"/>
                    <a:pt x="6" y="67"/>
                    <a:pt x="6" y="67"/>
                  </a:cubicBezTo>
                  <a:cubicBezTo>
                    <a:pt x="5" y="68"/>
                    <a:pt x="5" y="68"/>
                    <a:pt x="5" y="68"/>
                  </a:cubicBezTo>
                  <a:cubicBezTo>
                    <a:pt x="5" y="69"/>
                    <a:pt x="5" y="69"/>
                    <a:pt x="5" y="69"/>
                  </a:cubicBezTo>
                  <a:cubicBezTo>
                    <a:pt x="5" y="69"/>
                    <a:pt x="5" y="69"/>
                    <a:pt x="5" y="69"/>
                  </a:cubicBezTo>
                  <a:cubicBezTo>
                    <a:pt x="5" y="69"/>
                    <a:pt x="5" y="69"/>
                    <a:pt x="5" y="69"/>
                  </a:cubicBezTo>
                  <a:cubicBezTo>
                    <a:pt x="6" y="68"/>
                    <a:pt x="6" y="68"/>
                    <a:pt x="6" y="68"/>
                  </a:cubicBezTo>
                  <a:cubicBezTo>
                    <a:pt x="6" y="68"/>
                    <a:pt x="6" y="68"/>
                    <a:pt x="6" y="68"/>
                  </a:cubicBezTo>
                  <a:cubicBezTo>
                    <a:pt x="7" y="68"/>
                    <a:pt x="7" y="68"/>
                    <a:pt x="7" y="68"/>
                  </a:cubicBezTo>
                  <a:cubicBezTo>
                    <a:pt x="7" y="67"/>
                    <a:pt x="7" y="67"/>
                    <a:pt x="7" y="67"/>
                  </a:cubicBezTo>
                  <a:cubicBezTo>
                    <a:pt x="8" y="66"/>
                    <a:pt x="8" y="66"/>
                    <a:pt x="8" y="66"/>
                  </a:cubicBezTo>
                  <a:cubicBezTo>
                    <a:pt x="8" y="66"/>
                    <a:pt x="8" y="66"/>
                    <a:pt x="8" y="66"/>
                  </a:cubicBezTo>
                  <a:cubicBezTo>
                    <a:pt x="9" y="66"/>
                    <a:pt x="9" y="66"/>
                    <a:pt x="9" y="66"/>
                  </a:cubicBezTo>
                  <a:cubicBezTo>
                    <a:pt x="8" y="66"/>
                    <a:pt x="8" y="66"/>
                    <a:pt x="8" y="66"/>
                  </a:cubicBezTo>
                  <a:cubicBezTo>
                    <a:pt x="8" y="67"/>
                    <a:pt x="8" y="67"/>
                    <a:pt x="8" y="67"/>
                  </a:cubicBezTo>
                  <a:cubicBezTo>
                    <a:pt x="8" y="67"/>
                    <a:pt x="8" y="67"/>
                    <a:pt x="8" y="67"/>
                  </a:cubicBezTo>
                  <a:cubicBezTo>
                    <a:pt x="8" y="67"/>
                    <a:pt x="8" y="67"/>
                    <a:pt x="8" y="67"/>
                  </a:cubicBezTo>
                  <a:cubicBezTo>
                    <a:pt x="7" y="68"/>
                    <a:pt x="7" y="68"/>
                    <a:pt x="7" y="68"/>
                  </a:cubicBezTo>
                  <a:cubicBezTo>
                    <a:pt x="7" y="68"/>
                    <a:pt x="7" y="68"/>
                    <a:pt x="7" y="68"/>
                  </a:cubicBezTo>
                  <a:cubicBezTo>
                    <a:pt x="7" y="68"/>
                    <a:pt x="7" y="68"/>
                    <a:pt x="7" y="68"/>
                  </a:cubicBezTo>
                  <a:cubicBezTo>
                    <a:pt x="7" y="69"/>
                    <a:pt x="7" y="69"/>
                    <a:pt x="7" y="69"/>
                  </a:cubicBezTo>
                  <a:cubicBezTo>
                    <a:pt x="6" y="69"/>
                    <a:pt x="6" y="69"/>
                    <a:pt x="6" y="69"/>
                  </a:cubicBezTo>
                  <a:cubicBezTo>
                    <a:pt x="6" y="70"/>
                    <a:pt x="6" y="70"/>
                    <a:pt x="6" y="70"/>
                  </a:cubicBezTo>
                  <a:cubicBezTo>
                    <a:pt x="6" y="70"/>
                    <a:pt x="6" y="70"/>
                    <a:pt x="6" y="70"/>
                  </a:cubicBezTo>
                  <a:cubicBezTo>
                    <a:pt x="6" y="70"/>
                    <a:pt x="6" y="70"/>
                    <a:pt x="6" y="70"/>
                  </a:cubicBezTo>
                  <a:cubicBezTo>
                    <a:pt x="6" y="70"/>
                    <a:pt x="6" y="70"/>
                    <a:pt x="6" y="70"/>
                  </a:cubicBezTo>
                  <a:cubicBezTo>
                    <a:pt x="5" y="70"/>
                    <a:pt x="5" y="70"/>
                    <a:pt x="5" y="70"/>
                  </a:cubicBezTo>
                  <a:cubicBezTo>
                    <a:pt x="5" y="70"/>
                    <a:pt x="5" y="70"/>
                    <a:pt x="5" y="70"/>
                  </a:cubicBezTo>
                  <a:cubicBezTo>
                    <a:pt x="5" y="70"/>
                    <a:pt x="5" y="70"/>
                    <a:pt x="5" y="70"/>
                  </a:cubicBezTo>
                  <a:cubicBezTo>
                    <a:pt x="5" y="70"/>
                    <a:pt x="5" y="70"/>
                    <a:pt x="5" y="70"/>
                  </a:cubicBezTo>
                  <a:cubicBezTo>
                    <a:pt x="5" y="70"/>
                    <a:pt x="5" y="70"/>
                    <a:pt x="5" y="70"/>
                  </a:cubicBezTo>
                  <a:cubicBezTo>
                    <a:pt x="5" y="70"/>
                    <a:pt x="5" y="70"/>
                    <a:pt x="5" y="70"/>
                  </a:cubicBezTo>
                  <a:cubicBezTo>
                    <a:pt x="5" y="69"/>
                    <a:pt x="5" y="69"/>
                    <a:pt x="5" y="69"/>
                  </a:cubicBezTo>
                  <a:cubicBezTo>
                    <a:pt x="5" y="69"/>
                    <a:pt x="5" y="69"/>
                    <a:pt x="5" y="69"/>
                  </a:cubicBezTo>
                  <a:cubicBezTo>
                    <a:pt x="4" y="69"/>
                    <a:pt x="4" y="69"/>
                    <a:pt x="4" y="69"/>
                  </a:cubicBezTo>
                  <a:cubicBezTo>
                    <a:pt x="3" y="70"/>
                    <a:pt x="3" y="70"/>
                    <a:pt x="3" y="70"/>
                  </a:cubicBezTo>
                  <a:cubicBezTo>
                    <a:pt x="3" y="71"/>
                    <a:pt x="3" y="71"/>
                    <a:pt x="3" y="71"/>
                  </a:cubicBezTo>
                  <a:cubicBezTo>
                    <a:pt x="2" y="72"/>
                    <a:pt x="2" y="72"/>
                    <a:pt x="2" y="72"/>
                  </a:cubicBezTo>
                  <a:cubicBezTo>
                    <a:pt x="1" y="76"/>
                    <a:pt x="1" y="76"/>
                    <a:pt x="1" y="76"/>
                  </a:cubicBezTo>
                  <a:cubicBezTo>
                    <a:pt x="1" y="76"/>
                    <a:pt x="1" y="76"/>
                    <a:pt x="1" y="76"/>
                  </a:cubicBezTo>
                  <a:cubicBezTo>
                    <a:pt x="1" y="77"/>
                    <a:pt x="1" y="77"/>
                    <a:pt x="1" y="77"/>
                  </a:cubicBezTo>
                  <a:cubicBezTo>
                    <a:pt x="1" y="76"/>
                    <a:pt x="1" y="76"/>
                    <a:pt x="1" y="76"/>
                  </a:cubicBezTo>
                  <a:cubicBezTo>
                    <a:pt x="2" y="73"/>
                    <a:pt x="2" y="73"/>
                    <a:pt x="2" y="73"/>
                  </a:cubicBezTo>
                  <a:cubicBezTo>
                    <a:pt x="3" y="72"/>
                    <a:pt x="3" y="72"/>
                    <a:pt x="3" y="72"/>
                  </a:cubicBezTo>
                  <a:cubicBezTo>
                    <a:pt x="3" y="72"/>
                    <a:pt x="3" y="72"/>
                    <a:pt x="3" y="72"/>
                  </a:cubicBezTo>
                  <a:cubicBezTo>
                    <a:pt x="3" y="72"/>
                    <a:pt x="3" y="72"/>
                    <a:pt x="3" y="72"/>
                  </a:cubicBezTo>
                  <a:cubicBezTo>
                    <a:pt x="3" y="72"/>
                    <a:pt x="3" y="72"/>
                    <a:pt x="3" y="72"/>
                  </a:cubicBezTo>
                  <a:cubicBezTo>
                    <a:pt x="4" y="71"/>
                    <a:pt x="4" y="71"/>
                    <a:pt x="4" y="71"/>
                  </a:cubicBezTo>
                  <a:cubicBezTo>
                    <a:pt x="4" y="71"/>
                    <a:pt x="4" y="71"/>
                    <a:pt x="4" y="71"/>
                  </a:cubicBezTo>
                  <a:cubicBezTo>
                    <a:pt x="4" y="71"/>
                    <a:pt x="4" y="71"/>
                    <a:pt x="4" y="71"/>
                  </a:cubicBezTo>
                  <a:cubicBezTo>
                    <a:pt x="4" y="72"/>
                    <a:pt x="4" y="72"/>
                    <a:pt x="4" y="72"/>
                  </a:cubicBezTo>
                  <a:cubicBezTo>
                    <a:pt x="4" y="72"/>
                    <a:pt x="4" y="72"/>
                    <a:pt x="4" y="72"/>
                  </a:cubicBezTo>
                  <a:cubicBezTo>
                    <a:pt x="4" y="72"/>
                    <a:pt x="4" y="72"/>
                    <a:pt x="4" y="72"/>
                  </a:cubicBezTo>
                  <a:cubicBezTo>
                    <a:pt x="4" y="73"/>
                    <a:pt x="4" y="73"/>
                    <a:pt x="4" y="73"/>
                  </a:cubicBezTo>
                  <a:cubicBezTo>
                    <a:pt x="3" y="74"/>
                    <a:pt x="3" y="74"/>
                    <a:pt x="3" y="74"/>
                  </a:cubicBezTo>
                  <a:cubicBezTo>
                    <a:pt x="3" y="75"/>
                    <a:pt x="3" y="75"/>
                    <a:pt x="3" y="75"/>
                  </a:cubicBezTo>
                  <a:cubicBezTo>
                    <a:pt x="3" y="75"/>
                    <a:pt x="3" y="75"/>
                    <a:pt x="3" y="75"/>
                  </a:cubicBezTo>
                  <a:cubicBezTo>
                    <a:pt x="3" y="76"/>
                    <a:pt x="3" y="76"/>
                    <a:pt x="3" y="76"/>
                  </a:cubicBezTo>
                  <a:cubicBezTo>
                    <a:pt x="2" y="76"/>
                    <a:pt x="2" y="76"/>
                    <a:pt x="2" y="76"/>
                  </a:cubicBezTo>
                  <a:cubicBezTo>
                    <a:pt x="2" y="76"/>
                    <a:pt x="2" y="76"/>
                    <a:pt x="2" y="76"/>
                  </a:cubicBezTo>
                  <a:cubicBezTo>
                    <a:pt x="2" y="77"/>
                    <a:pt x="2" y="77"/>
                    <a:pt x="2" y="77"/>
                  </a:cubicBezTo>
                  <a:cubicBezTo>
                    <a:pt x="2" y="79"/>
                    <a:pt x="2" y="79"/>
                    <a:pt x="2" y="79"/>
                  </a:cubicBezTo>
                  <a:cubicBezTo>
                    <a:pt x="2" y="80"/>
                    <a:pt x="2" y="80"/>
                    <a:pt x="2" y="80"/>
                  </a:cubicBezTo>
                  <a:cubicBezTo>
                    <a:pt x="2" y="80"/>
                    <a:pt x="2" y="80"/>
                    <a:pt x="2" y="80"/>
                  </a:cubicBezTo>
                  <a:cubicBezTo>
                    <a:pt x="2" y="81"/>
                    <a:pt x="2" y="81"/>
                    <a:pt x="2" y="81"/>
                  </a:cubicBezTo>
                  <a:cubicBezTo>
                    <a:pt x="2" y="81"/>
                    <a:pt x="2" y="81"/>
                    <a:pt x="2" y="81"/>
                  </a:cubicBezTo>
                  <a:cubicBezTo>
                    <a:pt x="2" y="81"/>
                    <a:pt x="2" y="81"/>
                    <a:pt x="2" y="81"/>
                  </a:cubicBezTo>
                  <a:cubicBezTo>
                    <a:pt x="2" y="82"/>
                    <a:pt x="2" y="82"/>
                    <a:pt x="2" y="82"/>
                  </a:cubicBezTo>
                  <a:cubicBezTo>
                    <a:pt x="2" y="82"/>
                    <a:pt x="2" y="82"/>
                    <a:pt x="2" y="82"/>
                  </a:cubicBezTo>
                  <a:cubicBezTo>
                    <a:pt x="2" y="82"/>
                    <a:pt x="2" y="82"/>
                    <a:pt x="2" y="82"/>
                  </a:cubicBezTo>
                  <a:cubicBezTo>
                    <a:pt x="3" y="82"/>
                    <a:pt x="3" y="82"/>
                    <a:pt x="3" y="82"/>
                  </a:cubicBezTo>
                  <a:cubicBezTo>
                    <a:pt x="3" y="83"/>
                    <a:pt x="3" y="83"/>
                    <a:pt x="3" y="83"/>
                  </a:cubicBezTo>
                  <a:cubicBezTo>
                    <a:pt x="3" y="83"/>
                    <a:pt x="3" y="83"/>
                    <a:pt x="3" y="83"/>
                  </a:cubicBezTo>
                  <a:cubicBezTo>
                    <a:pt x="4" y="84"/>
                    <a:pt x="4" y="84"/>
                    <a:pt x="4" y="84"/>
                  </a:cubicBezTo>
                  <a:cubicBezTo>
                    <a:pt x="4" y="84"/>
                    <a:pt x="4" y="84"/>
                    <a:pt x="4" y="84"/>
                  </a:cubicBezTo>
                  <a:cubicBezTo>
                    <a:pt x="4" y="84"/>
                    <a:pt x="4" y="84"/>
                    <a:pt x="4" y="84"/>
                  </a:cubicBezTo>
                  <a:cubicBezTo>
                    <a:pt x="4" y="85"/>
                    <a:pt x="4" y="85"/>
                    <a:pt x="4" y="85"/>
                  </a:cubicBezTo>
                  <a:cubicBezTo>
                    <a:pt x="4" y="85"/>
                    <a:pt x="4" y="85"/>
                    <a:pt x="4" y="85"/>
                  </a:cubicBezTo>
                  <a:cubicBezTo>
                    <a:pt x="4" y="85"/>
                    <a:pt x="4" y="85"/>
                    <a:pt x="4" y="85"/>
                  </a:cubicBezTo>
                  <a:cubicBezTo>
                    <a:pt x="4" y="85"/>
                    <a:pt x="4" y="85"/>
                    <a:pt x="4" y="85"/>
                  </a:cubicBezTo>
                  <a:cubicBezTo>
                    <a:pt x="4" y="86"/>
                    <a:pt x="4" y="86"/>
                    <a:pt x="4" y="86"/>
                  </a:cubicBezTo>
                  <a:cubicBezTo>
                    <a:pt x="4" y="86"/>
                    <a:pt x="4" y="86"/>
                    <a:pt x="4" y="86"/>
                  </a:cubicBezTo>
                  <a:cubicBezTo>
                    <a:pt x="4" y="86"/>
                    <a:pt x="4" y="86"/>
                    <a:pt x="4" y="86"/>
                  </a:cubicBezTo>
                  <a:cubicBezTo>
                    <a:pt x="4" y="86"/>
                    <a:pt x="4" y="86"/>
                    <a:pt x="4" y="86"/>
                  </a:cubicBezTo>
                  <a:cubicBezTo>
                    <a:pt x="4" y="86"/>
                    <a:pt x="4" y="86"/>
                    <a:pt x="4" y="86"/>
                  </a:cubicBezTo>
                  <a:cubicBezTo>
                    <a:pt x="4" y="87"/>
                    <a:pt x="4" y="87"/>
                    <a:pt x="4" y="87"/>
                  </a:cubicBezTo>
                  <a:cubicBezTo>
                    <a:pt x="4" y="86"/>
                    <a:pt x="4" y="86"/>
                    <a:pt x="4" y="86"/>
                  </a:cubicBezTo>
                  <a:cubicBezTo>
                    <a:pt x="5" y="87"/>
                    <a:pt x="5" y="87"/>
                    <a:pt x="5" y="87"/>
                  </a:cubicBezTo>
                  <a:cubicBezTo>
                    <a:pt x="5" y="87"/>
                    <a:pt x="5" y="87"/>
                    <a:pt x="5" y="87"/>
                  </a:cubicBezTo>
                  <a:cubicBezTo>
                    <a:pt x="5" y="87"/>
                    <a:pt x="5" y="87"/>
                    <a:pt x="5" y="87"/>
                  </a:cubicBezTo>
                  <a:cubicBezTo>
                    <a:pt x="5" y="87"/>
                    <a:pt x="5" y="87"/>
                    <a:pt x="5" y="87"/>
                  </a:cubicBezTo>
                  <a:cubicBezTo>
                    <a:pt x="5" y="87"/>
                    <a:pt x="5" y="87"/>
                    <a:pt x="5" y="87"/>
                  </a:cubicBezTo>
                  <a:cubicBezTo>
                    <a:pt x="5" y="87"/>
                    <a:pt x="5" y="87"/>
                    <a:pt x="5" y="87"/>
                  </a:cubicBezTo>
                  <a:cubicBezTo>
                    <a:pt x="5" y="86"/>
                    <a:pt x="5" y="86"/>
                    <a:pt x="5" y="86"/>
                  </a:cubicBezTo>
                  <a:cubicBezTo>
                    <a:pt x="5" y="86"/>
                    <a:pt x="5" y="86"/>
                    <a:pt x="5" y="86"/>
                  </a:cubicBezTo>
                  <a:cubicBezTo>
                    <a:pt x="5" y="87"/>
                    <a:pt x="5" y="87"/>
                    <a:pt x="5" y="87"/>
                  </a:cubicBezTo>
                  <a:cubicBezTo>
                    <a:pt x="5" y="87"/>
                    <a:pt x="5" y="87"/>
                    <a:pt x="5" y="87"/>
                  </a:cubicBezTo>
                  <a:cubicBezTo>
                    <a:pt x="5" y="87"/>
                    <a:pt x="5" y="87"/>
                    <a:pt x="5" y="87"/>
                  </a:cubicBezTo>
                  <a:cubicBezTo>
                    <a:pt x="6" y="89"/>
                    <a:pt x="6" y="89"/>
                    <a:pt x="6" y="89"/>
                  </a:cubicBezTo>
                  <a:cubicBezTo>
                    <a:pt x="6" y="88"/>
                    <a:pt x="6" y="88"/>
                    <a:pt x="6" y="88"/>
                  </a:cubicBezTo>
                  <a:cubicBezTo>
                    <a:pt x="6" y="88"/>
                    <a:pt x="6" y="88"/>
                    <a:pt x="6" y="88"/>
                  </a:cubicBezTo>
                  <a:cubicBezTo>
                    <a:pt x="6" y="88"/>
                    <a:pt x="6" y="88"/>
                    <a:pt x="6" y="88"/>
                  </a:cubicBezTo>
                  <a:cubicBezTo>
                    <a:pt x="6" y="88"/>
                    <a:pt x="6" y="88"/>
                    <a:pt x="6" y="88"/>
                  </a:cubicBezTo>
                  <a:cubicBezTo>
                    <a:pt x="6" y="88"/>
                    <a:pt x="6" y="88"/>
                    <a:pt x="6" y="88"/>
                  </a:cubicBezTo>
                  <a:cubicBezTo>
                    <a:pt x="6" y="88"/>
                    <a:pt x="6" y="88"/>
                    <a:pt x="6" y="88"/>
                  </a:cubicBezTo>
                  <a:cubicBezTo>
                    <a:pt x="6" y="89"/>
                    <a:pt x="6" y="89"/>
                    <a:pt x="6" y="89"/>
                  </a:cubicBezTo>
                  <a:cubicBezTo>
                    <a:pt x="7" y="89"/>
                    <a:pt x="7" y="89"/>
                    <a:pt x="7" y="89"/>
                  </a:cubicBezTo>
                  <a:cubicBezTo>
                    <a:pt x="6" y="88"/>
                    <a:pt x="6" y="88"/>
                    <a:pt x="6" y="88"/>
                  </a:cubicBezTo>
                  <a:cubicBezTo>
                    <a:pt x="7" y="88"/>
                    <a:pt x="7" y="88"/>
                    <a:pt x="7" y="88"/>
                  </a:cubicBezTo>
                  <a:cubicBezTo>
                    <a:pt x="7" y="88"/>
                    <a:pt x="7" y="88"/>
                    <a:pt x="7" y="88"/>
                  </a:cubicBezTo>
                  <a:cubicBezTo>
                    <a:pt x="7" y="89"/>
                    <a:pt x="7" y="89"/>
                    <a:pt x="7" y="89"/>
                  </a:cubicBezTo>
                  <a:cubicBezTo>
                    <a:pt x="7" y="89"/>
                    <a:pt x="7" y="89"/>
                    <a:pt x="7" y="89"/>
                  </a:cubicBezTo>
                  <a:cubicBezTo>
                    <a:pt x="7" y="89"/>
                    <a:pt x="7" y="89"/>
                    <a:pt x="7" y="89"/>
                  </a:cubicBezTo>
                  <a:cubicBezTo>
                    <a:pt x="7" y="89"/>
                    <a:pt x="7" y="89"/>
                    <a:pt x="7" y="89"/>
                  </a:cubicBezTo>
                  <a:cubicBezTo>
                    <a:pt x="7" y="89"/>
                    <a:pt x="7" y="89"/>
                    <a:pt x="7" y="89"/>
                  </a:cubicBezTo>
                  <a:cubicBezTo>
                    <a:pt x="7" y="89"/>
                    <a:pt x="7" y="89"/>
                    <a:pt x="7" y="89"/>
                  </a:cubicBezTo>
                  <a:cubicBezTo>
                    <a:pt x="7" y="89"/>
                    <a:pt x="7" y="89"/>
                    <a:pt x="7" y="89"/>
                  </a:cubicBezTo>
                  <a:cubicBezTo>
                    <a:pt x="7" y="89"/>
                    <a:pt x="7" y="89"/>
                    <a:pt x="7" y="89"/>
                  </a:cubicBezTo>
                  <a:cubicBezTo>
                    <a:pt x="7" y="89"/>
                    <a:pt x="7" y="89"/>
                    <a:pt x="7" y="89"/>
                  </a:cubicBezTo>
                  <a:cubicBezTo>
                    <a:pt x="7" y="88"/>
                    <a:pt x="7" y="88"/>
                    <a:pt x="7" y="88"/>
                  </a:cubicBezTo>
                  <a:cubicBezTo>
                    <a:pt x="7" y="88"/>
                    <a:pt x="7" y="88"/>
                    <a:pt x="7" y="88"/>
                  </a:cubicBezTo>
                  <a:cubicBezTo>
                    <a:pt x="8" y="88"/>
                    <a:pt x="8" y="88"/>
                    <a:pt x="8" y="88"/>
                  </a:cubicBezTo>
                  <a:cubicBezTo>
                    <a:pt x="8" y="88"/>
                    <a:pt x="8" y="88"/>
                    <a:pt x="8" y="88"/>
                  </a:cubicBezTo>
                  <a:cubicBezTo>
                    <a:pt x="8" y="89"/>
                    <a:pt x="8" y="89"/>
                    <a:pt x="8" y="89"/>
                  </a:cubicBezTo>
                  <a:cubicBezTo>
                    <a:pt x="8" y="89"/>
                    <a:pt x="8" y="89"/>
                    <a:pt x="8" y="89"/>
                  </a:cubicBezTo>
                  <a:cubicBezTo>
                    <a:pt x="8" y="88"/>
                    <a:pt x="8" y="88"/>
                    <a:pt x="8" y="88"/>
                  </a:cubicBezTo>
                  <a:cubicBezTo>
                    <a:pt x="8" y="88"/>
                    <a:pt x="8" y="88"/>
                    <a:pt x="8" y="88"/>
                  </a:cubicBezTo>
                  <a:cubicBezTo>
                    <a:pt x="8" y="88"/>
                    <a:pt x="8" y="88"/>
                    <a:pt x="8" y="88"/>
                  </a:cubicBezTo>
                  <a:cubicBezTo>
                    <a:pt x="7" y="87"/>
                    <a:pt x="7" y="87"/>
                    <a:pt x="7" y="87"/>
                  </a:cubicBezTo>
                  <a:cubicBezTo>
                    <a:pt x="7" y="87"/>
                    <a:pt x="7" y="87"/>
                    <a:pt x="7" y="87"/>
                  </a:cubicBezTo>
                  <a:cubicBezTo>
                    <a:pt x="7" y="87"/>
                    <a:pt x="7" y="87"/>
                    <a:pt x="7" y="87"/>
                  </a:cubicBezTo>
                  <a:cubicBezTo>
                    <a:pt x="7" y="86"/>
                    <a:pt x="7" y="86"/>
                    <a:pt x="7" y="86"/>
                  </a:cubicBezTo>
                  <a:cubicBezTo>
                    <a:pt x="7" y="86"/>
                    <a:pt x="7" y="86"/>
                    <a:pt x="7" y="86"/>
                  </a:cubicBezTo>
                  <a:cubicBezTo>
                    <a:pt x="7" y="86"/>
                    <a:pt x="7" y="86"/>
                    <a:pt x="7" y="86"/>
                  </a:cubicBezTo>
                  <a:cubicBezTo>
                    <a:pt x="7" y="86"/>
                    <a:pt x="7" y="86"/>
                    <a:pt x="7" y="86"/>
                  </a:cubicBezTo>
                  <a:cubicBezTo>
                    <a:pt x="7" y="86"/>
                    <a:pt x="7" y="86"/>
                    <a:pt x="7" y="86"/>
                  </a:cubicBezTo>
                  <a:cubicBezTo>
                    <a:pt x="7" y="86"/>
                    <a:pt x="7" y="86"/>
                    <a:pt x="7" y="86"/>
                  </a:cubicBezTo>
                  <a:cubicBezTo>
                    <a:pt x="7" y="86"/>
                    <a:pt x="7" y="86"/>
                    <a:pt x="7" y="86"/>
                  </a:cubicBezTo>
                  <a:cubicBezTo>
                    <a:pt x="7" y="87"/>
                    <a:pt x="7" y="87"/>
                    <a:pt x="7" y="87"/>
                  </a:cubicBezTo>
                  <a:cubicBezTo>
                    <a:pt x="7" y="87"/>
                    <a:pt x="7" y="87"/>
                    <a:pt x="7" y="87"/>
                  </a:cubicBezTo>
                  <a:cubicBezTo>
                    <a:pt x="7" y="87"/>
                    <a:pt x="7" y="87"/>
                    <a:pt x="7" y="87"/>
                  </a:cubicBezTo>
                  <a:cubicBezTo>
                    <a:pt x="8" y="87"/>
                    <a:pt x="8" y="87"/>
                    <a:pt x="8" y="87"/>
                  </a:cubicBezTo>
                  <a:cubicBezTo>
                    <a:pt x="8" y="87"/>
                    <a:pt x="8" y="87"/>
                    <a:pt x="8" y="87"/>
                  </a:cubicBezTo>
                  <a:cubicBezTo>
                    <a:pt x="8" y="86"/>
                    <a:pt x="8" y="86"/>
                    <a:pt x="8" y="86"/>
                  </a:cubicBezTo>
                  <a:cubicBezTo>
                    <a:pt x="8" y="86"/>
                    <a:pt x="8" y="86"/>
                    <a:pt x="8" y="86"/>
                  </a:cubicBezTo>
                  <a:cubicBezTo>
                    <a:pt x="8" y="86"/>
                    <a:pt x="8" y="86"/>
                    <a:pt x="8" y="86"/>
                  </a:cubicBezTo>
                  <a:cubicBezTo>
                    <a:pt x="8" y="86"/>
                    <a:pt x="8" y="86"/>
                    <a:pt x="8" y="86"/>
                  </a:cubicBezTo>
                  <a:cubicBezTo>
                    <a:pt x="8" y="86"/>
                    <a:pt x="8" y="86"/>
                    <a:pt x="8" y="86"/>
                  </a:cubicBezTo>
                  <a:cubicBezTo>
                    <a:pt x="8" y="86"/>
                    <a:pt x="8" y="86"/>
                    <a:pt x="8" y="86"/>
                  </a:cubicBezTo>
                  <a:cubicBezTo>
                    <a:pt x="9" y="87"/>
                    <a:pt x="9" y="87"/>
                    <a:pt x="9" y="87"/>
                  </a:cubicBezTo>
                  <a:cubicBezTo>
                    <a:pt x="9" y="87"/>
                    <a:pt x="9" y="87"/>
                    <a:pt x="9" y="87"/>
                  </a:cubicBezTo>
                  <a:cubicBezTo>
                    <a:pt x="9" y="87"/>
                    <a:pt x="9" y="87"/>
                    <a:pt x="9" y="87"/>
                  </a:cubicBezTo>
                  <a:cubicBezTo>
                    <a:pt x="9" y="87"/>
                    <a:pt x="9" y="87"/>
                    <a:pt x="9" y="87"/>
                  </a:cubicBezTo>
                  <a:cubicBezTo>
                    <a:pt x="9" y="87"/>
                    <a:pt x="9" y="87"/>
                    <a:pt x="9" y="87"/>
                  </a:cubicBezTo>
                  <a:cubicBezTo>
                    <a:pt x="9" y="86"/>
                    <a:pt x="9" y="86"/>
                    <a:pt x="9" y="86"/>
                  </a:cubicBezTo>
                  <a:cubicBezTo>
                    <a:pt x="9" y="86"/>
                    <a:pt x="9" y="86"/>
                    <a:pt x="9" y="86"/>
                  </a:cubicBezTo>
                  <a:cubicBezTo>
                    <a:pt x="9" y="87"/>
                    <a:pt x="9" y="87"/>
                    <a:pt x="9" y="87"/>
                  </a:cubicBezTo>
                  <a:cubicBezTo>
                    <a:pt x="9" y="87"/>
                    <a:pt x="9" y="87"/>
                    <a:pt x="9" y="87"/>
                  </a:cubicBezTo>
                  <a:cubicBezTo>
                    <a:pt x="9" y="87"/>
                    <a:pt x="9" y="87"/>
                    <a:pt x="9" y="87"/>
                  </a:cubicBezTo>
                  <a:cubicBezTo>
                    <a:pt x="10" y="88"/>
                    <a:pt x="10" y="88"/>
                    <a:pt x="10" y="88"/>
                  </a:cubicBezTo>
                  <a:cubicBezTo>
                    <a:pt x="10" y="88"/>
                    <a:pt x="10" y="88"/>
                    <a:pt x="10" y="88"/>
                  </a:cubicBezTo>
                  <a:cubicBezTo>
                    <a:pt x="10" y="88"/>
                    <a:pt x="10" y="88"/>
                    <a:pt x="10" y="88"/>
                  </a:cubicBezTo>
                  <a:cubicBezTo>
                    <a:pt x="10" y="89"/>
                    <a:pt x="10" y="89"/>
                    <a:pt x="10" y="89"/>
                  </a:cubicBezTo>
                  <a:cubicBezTo>
                    <a:pt x="10" y="89"/>
                    <a:pt x="10" y="89"/>
                    <a:pt x="10" y="89"/>
                  </a:cubicBezTo>
                  <a:cubicBezTo>
                    <a:pt x="11" y="90"/>
                    <a:pt x="11" y="90"/>
                    <a:pt x="11" y="90"/>
                  </a:cubicBezTo>
                  <a:cubicBezTo>
                    <a:pt x="11" y="89"/>
                    <a:pt x="11" y="89"/>
                    <a:pt x="11" y="89"/>
                  </a:cubicBezTo>
                  <a:cubicBezTo>
                    <a:pt x="11" y="89"/>
                    <a:pt x="11" y="89"/>
                    <a:pt x="11" y="89"/>
                  </a:cubicBezTo>
                  <a:cubicBezTo>
                    <a:pt x="11" y="89"/>
                    <a:pt x="11" y="89"/>
                    <a:pt x="11" y="89"/>
                  </a:cubicBezTo>
                  <a:cubicBezTo>
                    <a:pt x="10" y="89"/>
                    <a:pt x="10" y="89"/>
                    <a:pt x="10" y="89"/>
                  </a:cubicBezTo>
                  <a:cubicBezTo>
                    <a:pt x="10" y="89"/>
                    <a:pt x="10" y="89"/>
                    <a:pt x="10" y="89"/>
                  </a:cubicBezTo>
                  <a:cubicBezTo>
                    <a:pt x="10" y="88"/>
                    <a:pt x="10" y="88"/>
                    <a:pt x="10" y="88"/>
                  </a:cubicBezTo>
                  <a:cubicBezTo>
                    <a:pt x="10" y="88"/>
                    <a:pt x="10" y="88"/>
                    <a:pt x="10" y="88"/>
                  </a:cubicBezTo>
                  <a:cubicBezTo>
                    <a:pt x="11" y="88"/>
                    <a:pt x="11" y="88"/>
                    <a:pt x="11" y="88"/>
                  </a:cubicBezTo>
                  <a:cubicBezTo>
                    <a:pt x="11" y="88"/>
                    <a:pt x="11" y="88"/>
                    <a:pt x="11" y="88"/>
                  </a:cubicBezTo>
                  <a:cubicBezTo>
                    <a:pt x="11" y="88"/>
                    <a:pt x="11" y="88"/>
                    <a:pt x="11" y="88"/>
                  </a:cubicBezTo>
                  <a:cubicBezTo>
                    <a:pt x="11" y="89"/>
                    <a:pt x="11" y="89"/>
                    <a:pt x="11" y="89"/>
                  </a:cubicBezTo>
                  <a:cubicBezTo>
                    <a:pt x="11" y="90"/>
                    <a:pt x="11" y="90"/>
                    <a:pt x="11" y="90"/>
                  </a:cubicBezTo>
                  <a:cubicBezTo>
                    <a:pt x="11" y="90"/>
                    <a:pt x="11" y="90"/>
                    <a:pt x="11" y="90"/>
                  </a:cubicBezTo>
                  <a:cubicBezTo>
                    <a:pt x="12" y="91"/>
                    <a:pt x="12" y="91"/>
                    <a:pt x="12" y="91"/>
                  </a:cubicBezTo>
                  <a:cubicBezTo>
                    <a:pt x="12" y="91"/>
                    <a:pt x="12" y="91"/>
                    <a:pt x="12" y="91"/>
                  </a:cubicBezTo>
                  <a:cubicBezTo>
                    <a:pt x="12" y="91"/>
                    <a:pt x="12" y="91"/>
                    <a:pt x="12" y="91"/>
                  </a:cubicBezTo>
                  <a:cubicBezTo>
                    <a:pt x="12" y="90"/>
                    <a:pt x="12" y="90"/>
                    <a:pt x="12" y="90"/>
                  </a:cubicBezTo>
                  <a:cubicBezTo>
                    <a:pt x="12" y="90"/>
                    <a:pt x="12" y="90"/>
                    <a:pt x="12" y="90"/>
                  </a:cubicBezTo>
                  <a:cubicBezTo>
                    <a:pt x="12" y="90"/>
                    <a:pt x="12" y="90"/>
                    <a:pt x="12" y="90"/>
                  </a:cubicBezTo>
                  <a:cubicBezTo>
                    <a:pt x="12" y="90"/>
                    <a:pt x="12" y="90"/>
                    <a:pt x="12" y="90"/>
                  </a:cubicBezTo>
                  <a:cubicBezTo>
                    <a:pt x="12" y="90"/>
                    <a:pt x="12" y="90"/>
                    <a:pt x="12" y="90"/>
                  </a:cubicBezTo>
                  <a:cubicBezTo>
                    <a:pt x="12" y="90"/>
                    <a:pt x="12" y="90"/>
                    <a:pt x="12" y="90"/>
                  </a:cubicBezTo>
                  <a:cubicBezTo>
                    <a:pt x="12" y="90"/>
                    <a:pt x="12" y="90"/>
                    <a:pt x="12" y="90"/>
                  </a:cubicBezTo>
                  <a:cubicBezTo>
                    <a:pt x="12" y="90"/>
                    <a:pt x="12" y="90"/>
                    <a:pt x="12" y="90"/>
                  </a:cubicBezTo>
                  <a:cubicBezTo>
                    <a:pt x="12" y="91"/>
                    <a:pt x="12" y="91"/>
                    <a:pt x="12" y="91"/>
                  </a:cubicBezTo>
                  <a:cubicBezTo>
                    <a:pt x="12" y="91"/>
                    <a:pt x="12" y="91"/>
                    <a:pt x="12" y="91"/>
                  </a:cubicBezTo>
                  <a:cubicBezTo>
                    <a:pt x="12" y="91"/>
                    <a:pt x="12" y="91"/>
                    <a:pt x="12" y="91"/>
                  </a:cubicBezTo>
                  <a:cubicBezTo>
                    <a:pt x="13" y="91"/>
                    <a:pt x="13" y="91"/>
                    <a:pt x="13" y="91"/>
                  </a:cubicBezTo>
                  <a:cubicBezTo>
                    <a:pt x="13" y="91"/>
                    <a:pt x="13" y="91"/>
                    <a:pt x="13" y="91"/>
                  </a:cubicBezTo>
                  <a:cubicBezTo>
                    <a:pt x="13" y="91"/>
                    <a:pt x="13" y="91"/>
                    <a:pt x="13" y="91"/>
                  </a:cubicBezTo>
                  <a:cubicBezTo>
                    <a:pt x="13" y="91"/>
                    <a:pt x="13" y="91"/>
                    <a:pt x="13" y="91"/>
                  </a:cubicBezTo>
                  <a:cubicBezTo>
                    <a:pt x="13" y="91"/>
                    <a:pt x="13" y="91"/>
                    <a:pt x="13" y="91"/>
                  </a:cubicBezTo>
                  <a:cubicBezTo>
                    <a:pt x="13" y="91"/>
                    <a:pt x="13" y="91"/>
                    <a:pt x="13" y="91"/>
                  </a:cubicBezTo>
                  <a:cubicBezTo>
                    <a:pt x="13" y="91"/>
                    <a:pt x="13" y="91"/>
                    <a:pt x="13" y="91"/>
                  </a:cubicBezTo>
                  <a:cubicBezTo>
                    <a:pt x="13" y="91"/>
                    <a:pt x="13" y="91"/>
                    <a:pt x="13" y="91"/>
                  </a:cubicBezTo>
                  <a:cubicBezTo>
                    <a:pt x="13" y="91"/>
                    <a:pt x="13" y="91"/>
                    <a:pt x="13" y="91"/>
                  </a:cubicBezTo>
                  <a:cubicBezTo>
                    <a:pt x="14" y="90"/>
                    <a:pt x="14" y="90"/>
                    <a:pt x="14" y="90"/>
                  </a:cubicBezTo>
                  <a:cubicBezTo>
                    <a:pt x="14" y="90"/>
                    <a:pt x="14" y="90"/>
                    <a:pt x="14" y="90"/>
                  </a:cubicBezTo>
                  <a:cubicBezTo>
                    <a:pt x="14" y="89"/>
                    <a:pt x="14" y="89"/>
                    <a:pt x="14" y="89"/>
                  </a:cubicBezTo>
                  <a:cubicBezTo>
                    <a:pt x="14" y="89"/>
                    <a:pt x="14" y="89"/>
                    <a:pt x="14" y="89"/>
                  </a:cubicBezTo>
                  <a:cubicBezTo>
                    <a:pt x="14" y="89"/>
                    <a:pt x="14" y="89"/>
                    <a:pt x="14" y="89"/>
                  </a:cubicBezTo>
                  <a:cubicBezTo>
                    <a:pt x="15" y="89"/>
                    <a:pt x="15" y="89"/>
                    <a:pt x="15" y="89"/>
                  </a:cubicBezTo>
                  <a:cubicBezTo>
                    <a:pt x="15" y="90"/>
                    <a:pt x="15" y="90"/>
                    <a:pt x="15" y="90"/>
                  </a:cubicBezTo>
                  <a:cubicBezTo>
                    <a:pt x="15" y="90"/>
                    <a:pt x="15" y="90"/>
                    <a:pt x="15" y="90"/>
                  </a:cubicBezTo>
                  <a:cubicBezTo>
                    <a:pt x="15" y="90"/>
                    <a:pt x="15" y="90"/>
                    <a:pt x="15" y="90"/>
                  </a:cubicBezTo>
                  <a:cubicBezTo>
                    <a:pt x="15" y="90"/>
                    <a:pt x="15" y="90"/>
                    <a:pt x="15" y="90"/>
                  </a:cubicBezTo>
                  <a:cubicBezTo>
                    <a:pt x="15" y="90"/>
                    <a:pt x="15" y="90"/>
                    <a:pt x="15" y="90"/>
                  </a:cubicBezTo>
                  <a:cubicBezTo>
                    <a:pt x="16" y="90"/>
                    <a:pt x="16" y="90"/>
                    <a:pt x="16" y="90"/>
                  </a:cubicBezTo>
                  <a:cubicBezTo>
                    <a:pt x="16" y="91"/>
                    <a:pt x="16" y="91"/>
                    <a:pt x="16" y="91"/>
                  </a:cubicBezTo>
                  <a:cubicBezTo>
                    <a:pt x="16" y="91"/>
                    <a:pt x="16" y="91"/>
                    <a:pt x="16" y="91"/>
                  </a:cubicBezTo>
                  <a:cubicBezTo>
                    <a:pt x="16" y="91"/>
                    <a:pt x="16" y="91"/>
                    <a:pt x="16" y="91"/>
                  </a:cubicBezTo>
                  <a:cubicBezTo>
                    <a:pt x="16" y="91"/>
                    <a:pt x="16" y="91"/>
                    <a:pt x="16" y="91"/>
                  </a:cubicBezTo>
                  <a:cubicBezTo>
                    <a:pt x="16" y="91"/>
                    <a:pt x="16" y="91"/>
                    <a:pt x="16" y="91"/>
                  </a:cubicBezTo>
                  <a:cubicBezTo>
                    <a:pt x="16" y="90"/>
                    <a:pt x="16" y="90"/>
                    <a:pt x="16" y="90"/>
                  </a:cubicBezTo>
                  <a:cubicBezTo>
                    <a:pt x="16" y="90"/>
                    <a:pt x="16" y="90"/>
                    <a:pt x="16" y="90"/>
                  </a:cubicBezTo>
                  <a:cubicBezTo>
                    <a:pt x="16" y="90"/>
                    <a:pt x="16" y="90"/>
                    <a:pt x="16" y="90"/>
                  </a:cubicBezTo>
                  <a:cubicBezTo>
                    <a:pt x="16" y="90"/>
                    <a:pt x="16" y="90"/>
                    <a:pt x="16" y="90"/>
                  </a:cubicBezTo>
                  <a:cubicBezTo>
                    <a:pt x="16" y="90"/>
                    <a:pt x="16" y="90"/>
                    <a:pt x="16" y="90"/>
                  </a:cubicBezTo>
                  <a:cubicBezTo>
                    <a:pt x="16" y="90"/>
                    <a:pt x="16" y="90"/>
                    <a:pt x="16" y="90"/>
                  </a:cubicBezTo>
                  <a:cubicBezTo>
                    <a:pt x="16" y="89"/>
                    <a:pt x="16" y="89"/>
                    <a:pt x="16" y="89"/>
                  </a:cubicBezTo>
                  <a:cubicBezTo>
                    <a:pt x="16" y="89"/>
                    <a:pt x="16" y="89"/>
                    <a:pt x="16" y="89"/>
                  </a:cubicBezTo>
                  <a:cubicBezTo>
                    <a:pt x="16" y="89"/>
                    <a:pt x="16" y="89"/>
                    <a:pt x="16" y="89"/>
                  </a:cubicBezTo>
                  <a:cubicBezTo>
                    <a:pt x="16" y="89"/>
                    <a:pt x="16" y="89"/>
                    <a:pt x="16" y="89"/>
                  </a:cubicBezTo>
                  <a:cubicBezTo>
                    <a:pt x="16" y="89"/>
                    <a:pt x="16" y="89"/>
                    <a:pt x="16" y="89"/>
                  </a:cubicBezTo>
                  <a:cubicBezTo>
                    <a:pt x="17" y="90"/>
                    <a:pt x="17" y="90"/>
                    <a:pt x="17" y="90"/>
                  </a:cubicBezTo>
                  <a:cubicBezTo>
                    <a:pt x="17" y="90"/>
                    <a:pt x="17" y="90"/>
                    <a:pt x="17" y="90"/>
                  </a:cubicBezTo>
                  <a:cubicBezTo>
                    <a:pt x="17" y="90"/>
                    <a:pt x="17" y="90"/>
                    <a:pt x="17" y="90"/>
                  </a:cubicBezTo>
                  <a:cubicBezTo>
                    <a:pt x="17" y="90"/>
                    <a:pt x="17" y="90"/>
                    <a:pt x="17" y="90"/>
                  </a:cubicBezTo>
                  <a:cubicBezTo>
                    <a:pt x="17" y="89"/>
                    <a:pt x="17" y="89"/>
                    <a:pt x="17" y="89"/>
                  </a:cubicBezTo>
                  <a:cubicBezTo>
                    <a:pt x="17" y="89"/>
                    <a:pt x="17" y="89"/>
                    <a:pt x="17" y="89"/>
                  </a:cubicBezTo>
                  <a:cubicBezTo>
                    <a:pt x="16" y="88"/>
                    <a:pt x="16" y="88"/>
                    <a:pt x="16" y="88"/>
                  </a:cubicBezTo>
                  <a:cubicBezTo>
                    <a:pt x="16" y="88"/>
                    <a:pt x="16" y="88"/>
                    <a:pt x="16" y="88"/>
                  </a:cubicBezTo>
                  <a:cubicBezTo>
                    <a:pt x="16" y="88"/>
                    <a:pt x="16" y="88"/>
                    <a:pt x="16" y="88"/>
                  </a:cubicBezTo>
                  <a:cubicBezTo>
                    <a:pt x="16" y="89"/>
                    <a:pt x="16" y="89"/>
                    <a:pt x="16" y="89"/>
                  </a:cubicBezTo>
                  <a:cubicBezTo>
                    <a:pt x="17" y="89"/>
                    <a:pt x="17" y="89"/>
                    <a:pt x="17" y="89"/>
                  </a:cubicBezTo>
                  <a:cubicBezTo>
                    <a:pt x="17" y="89"/>
                    <a:pt x="17" y="89"/>
                    <a:pt x="17" y="89"/>
                  </a:cubicBezTo>
                  <a:cubicBezTo>
                    <a:pt x="17" y="88"/>
                    <a:pt x="17" y="88"/>
                    <a:pt x="17" y="88"/>
                  </a:cubicBezTo>
                  <a:cubicBezTo>
                    <a:pt x="17" y="88"/>
                    <a:pt x="17" y="88"/>
                    <a:pt x="17" y="88"/>
                  </a:cubicBezTo>
                  <a:cubicBezTo>
                    <a:pt x="17" y="88"/>
                    <a:pt x="17" y="88"/>
                    <a:pt x="17" y="88"/>
                  </a:cubicBezTo>
                  <a:cubicBezTo>
                    <a:pt x="18" y="89"/>
                    <a:pt x="18" y="89"/>
                    <a:pt x="18" y="89"/>
                  </a:cubicBezTo>
                  <a:cubicBezTo>
                    <a:pt x="17" y="88"/>
                    <a:pt x="17" y="88"/>
                    <a:pt x="17" y="88"/>
                  </a:cubicBezTo>
                  <a:cubicBezTo>
                    <a:pt x="17" y="88"/>
                    <a:pt x="17" y="88"/>
                    <a:pt x="17" y="88"/>
                  </a:cubicBezTo>
                  <a:cubicBezTo>
                    <a:pt x="17" y="88"/>
                    <a:pt x="17" y="88"/>
                    <a:pt x="17" y="88"/>
                  </a:cubicBezTo>
                  <a:cubicBezTo>
                    <a:pt x="17" y="88"/>
                    <a:pt x="17" y="88"/>
                    <a:pt x="17" y="88"/>
                  </a:cubicBezTo>
                  <a:cubicBezTo>
                    <a:pt x="17" y="88"/>
                    <a:pt x="17" y="88"/>
                    <a:pt x="17" y="88"/>
                  </a:cubicBezTo>
                  <a:cubicBezTo>
                    <a:pt x="17" y="88"/>
                    <a:pt x="17" y="88"/>
                    <a:pt x="17" y="88"/>
                  </a:cubicBezTo>
                  <a:cubicBezTo>
                    <a:pt x="17" y="87"/>
                    <a:pt x="17" y="87"/>
                    <a:pt x="17" y="87"/>
                  </a:cubicBezTo>
                  <a:cubicBezTo>
                    <a:pt x="17" y="87"/>
                    <a:pt x="17" y="87"/>
                    <a:pt x="17" y="87"/>
                  </a:cubicBezTo>
                  <a:cubicBezTo>
                    <a:pt x="17" y="87"/>
                    <a:pt x="17" y="87"/>
                    <a:pt x="17" y="87"/>
                  </a:cubicBezTo>
                  <a:cubicBezTo>
                    <a:pt x="17" y="87"/>
                    <a:pt x="17" y="87"/>
                    <a:pt x="17" y="87"/>
                  </a:cubicBezTo>
                  <a:cubicBezTo>
                    <a:pt x="17" y="86"/>
                    <a:pt x="17" y="86"/>
                    <a:pt x="17" y="86"/>
                  </a:cubicBezTo>
                  <a:cubicBezTo>
                    <a:pt x="17" y="86"/>
                    <a:pt x="17" y="86"/>
                    <a:pt x="17" y="86"/>
                  </a:cubicBezTo>
                  <a:cubicBezTo>
                    <a:pt x="16" y="86"/>
                    <a:pt x="16" y="86"/>
                    <a:pt x="16" y="86"/>
                  </a:cubicBezTo>
                  <a:cubicBezTo>
                    <a:pt x="16" y="85"/>
                    <a:pt x="16" y="85"/>
                    <a:pt x="16" y="85"/>
                  </a:cubicBezTo>
                  <a:cubicBezTo>
                    <a:pt x="16" y="85"/>
                    <a:pt x="16" y="85"/>
                    <a:pt x="16" y="85"/>
                  </a:cubicBezTo>
                  <a:cubicBezTo>
                    <a:pt x="16" y="85"/>
                    <a:pt x="16" y="85"/>
                    <a:pt x="16" y="85"/>
                  </a:cubicBezTo>
                  <a:cubicBezTo>
                    <a:pt x="16" y="85"/>
                    <a:pt x="16" y="85"/>
                    <a:pt x="16" y="85"/>
                  </a:cubicBezTo>
                  <a:cubicBezTo>
                    <a:pt x="16" y="85"/>
                    <a:pt x="16" y="85"/>
                    <a:pt x="16" y="85"/>
                  </a:cubicBezTo>
                  <a:cubicBezTo>
                    <a:pt x="16" y="85"/>
                    <a:pt x="16" y="85"/>
                    <a:pt x="16" y="85"/>
                  </a:cubicBezTo>
                  <a:cubicBezTo>
                    <a:pt x="16" y="85"/>
                    <a:pt x="16" y="85"/>
                    <a:pt x="16" y="85"/>
                  </a:cubicBezTo>
                  <a:cubicBezTo>
                    <a:pt x="17" y="85"/>
                    <a:pt x="17" y="85"/>
                    <a:pt x="17" y="85"/>
                  </a:cubicBezTo>
                  <a:cubicBezTo>
                    <a:pt x="17" y="85"/>
                    <a:pt x="17" y="85"/>
                    <a:pt x="17" y="85"/>
                  </a:cubicBezTo>
                  <a:cubicBezTo>
                    <a:pt x="17" y="85"/>
                    <a:pt x="17" y="85"/>
                    <a:pt x="17" y="85"/>
                  </a:cubicBezTo>
                  <a:cubicBezTo>
                    <a:pt x="17" y="86"/>
                    <a:pt x="17" y="86"/>
                    <a:pt x="17" y="86"/>
                  </a:cubicBezTo>
                  <a:cubicBezTo>
                    <a:pt x="17" y="86"/>
                    <a:pt x="17" y="86"/>
                    <a:pt x="17" y="86"/>
                  </a:cubicBezTo>
                  <a:cubicBezTo>
                    <a:pt x="17" y="86"/>
                    <a:pt x="17" y="86"/>
                    <a:pt x="17" y="86"/>
                  </a:cubicBezTo>
                  <a:cubicBezTo>
                    <a:pt x="18" y="86"/>
                    <a:pt x="18" y="86"/>
                    <a:pt x="18" y="86"/>
                  </a:cubicBezTo>
                  <a:cubicBezTo>
                    <a:pt x="18" y="86"/>
                    <a:pt x="18" y="86"/>
                    <a:pt x="18" y="86"/>
                  </a:cubicBezTo>
                  <a:cubicBezTo>
                    <a:pt x="18" y="86"/>
                    <a:pt x="18" y="86"/>
                    <a:pt x="18" y="86"/>
                  </a:cubicBezTo>
                  <a:cubicBezTo>
                    <a:pt x="18" y="85"/>
                    <a:pt x="18" y="85"/>
                    <a:pt x="18" y="85"/>
                  </a:cubicBezTo>
                  <a:cubicBezTo>
                    <a:pt x="18" y="84"/>
                    <a:pt x="18" y="84"/>
                    <a:pt x="18" y="84"/>
                  </a:cubicBezTo>
                  <a:cubicBezTo>
                    <a:pt x="17" y="84"/>
                    <a:pt x="17" y="84"/>
                    <a:pt x="17" y="84"/>
                  </a:cubicBezTo>
                  <a:cubicBezTo>
                    <a:pt x="17" y="84"/>
                    <a:pt x="17" y="84"/>
                    <a:pt x="17" y="84"/>
                  </a:cubicBezTo>
                  <a:cubicBezTo>
                    <a:pt x="17" y="84"/>
                    <a:pt x="17" y="84"/>
                    <a:pt x="17" y="84"/>
                  </a:cubicBezTo>
                  <a:cubicBezTo>
                    <a:pt x="17" y="84"/>
                    <a:pt x="17" y="84"/>
                    <a:pt x="17" y="84"/>
                  </a:cubicBezTo>
                  <a:cubicBezTo>
                    <a:pt x="17" y="84"/>
                    <a:pt x="17" y="84"/>
                    <a:pt x="17" y="84"/>
                  </a:cubicBezTo>
                  <a:cubicBezTo>
                    <a:pt x="17" y="83"/>
                    <a:pt x="17" y="83"/>
                    <a:pt x="17" y="83"/>
                  </a:cubicBezTo>
                  <a:cubicBezTo>
                    <a:pt x="18" y="84"/>
                    <a:pt x="18" y="84"/>
                    <a:pt x="18" y="84"/>
                  </a:cubicBezTo>
                  <a:cubicBezTo>
                    <a:pt x="18" y="84"/>
                    <a:pt x="18" y="84"/>
                    <a:pt x="18" y="84"/>
                  </a:cubicBezTo>
                  <a:cubicBezTo>
                    <a:pt x="18" y="84"/>
                    <a:pt x="18" y="84"/>
                    <a:pt x="18" y="84"/>
                  </a:cubicBezTo>
                  <a:cubicBezTo>
                    <a:pt x="18" y="85"/>
                    <a:pt x="18" y="85"/>
                    <a:pt x="18" y="85"/>
                  </a:cubicBezTo>
                  <a:cubicBezTo>
                    <a:pt x="19" y="85"/>
                    <a:pt x="19" y="85"/>
                    <a:pt x="19" y="85"/>
                  </a:cubicBezTo>
                  <a:cubicBezTo>
                    <a:pt x="19" y="85"/>
                    <a:pt x="19" y="85"/>
                    <a:pt x="19" y="85"/>
                  </a:cubicBezTo>
                  <a:cubicBezTo>
                    <a:pt x="19" y="85"/>
                    <a:pt x="19" y="85"/>
                    <a:pt x="19" y="85"/>
                  </a:cubicBezTo>
                  <a:cubicBezTo>
                    <a:pt x="19" y="85"/>
                    <a:pt x="19" y="85"/>
                    <a:pt x="19" y="85"/>
                  </a:cubicBezTo>
                  <a:cubicBezTo>
                    <a:pt x="19" y="84"/>
                    <a:pt x="19" y="84"/>
                    <a:pt x="19" y="84"/>
                  </a:cubicBezTo>
                  <a:cubicBezTo>
                    <a:pt x="19" y="84"/>
                    <a:pt x="19" y="84"/>
                    <a:pt x="19" y="84"/>
                  </a:cubicBezTo>
                  <a:cubicBezTo>
                    <a:pt x="19" y="85"/>
                    <a:pt x="19" y="85"/>
                    <a:pt x="19" y="85"/>
                  </a:cubicBezTo>
                  <a:cubicBezTo>
                    <a:pt x="19" y="85"/>
                    <a:pt x="19" y="85"/>
                    <a:pt x="19" y="85"/>
                  </a:cubicBezTo>
                  <a:cubicBezTo>
                    <a:pt x="20" y="85"/>
                    <a:pt x="20" y="85"/>
                    <a:pt x="20" y="85"/>
                  </a:cubicBezTo>
                  <a:cubicBezTo>
                    <a:pt x="20" y="85"/>
                    <a:pt x="20" y="85"/>
                    <a:pt x="20" y="85"/>
                  </a:cubicBezTo>
                  <a:cubicBezTo>
                    <a:pt x="20" y="84"/>
                    <a:pt x="20" y="84"/>
                    <a:pt x="20" y="84"/>
                  </a:cubicBezTo>
                  <a:cubicBezTo>
                    <a:pt x="20" y="84"/>
                    <a:pt x="20" y="84"/>
                    <a:pt x="20" y="84"/>
                  </a:cubicBezTo>
                  <a:cubicBezTo>
                    <a:pt x="20" y="84"/>
                    <a:pt x="20" y="84"/>
                    <a:pt x="20" y="84"/>
                  </a:cubicBezTo>
                  <a:cubicBezTo>
                    <a:pt x="20" y="85"/>
                    <a:pt x="20" y="85"/>
                    <a:pt x="20" y="85"/>
                  </a:cubicBezTo>
                  <a:cubicBezTo>
                    <a:pt x="20" y="85"/>
                    <a:pt x="20" y="85"/>
                    <a:pt x="20" y="85"/>
                  </a:cubicBezTo>
                  <a:cubicBezTo>
                    <a:pt x="20" y="85"/>
                    <a:pt x="20" y="85"/>
                    <a:pt x="20" y="85"/>
                  </a:cubicBezTo>
                  <a:cubicBezTo>
                    <a:pt x="20" y="84"/>
                    <a:pt x="20" y="84"/>
                    <a:pt x="20" y="84"/>
                  </a:cubicBezTo>
                  <a:cubicBezTo>
                    <a:pt x="20" y="84"/>
                    <a:pt x="20" y="84"/>
                    <a:pt x="20" y="84"/>
                  </a:cubicBezTo>
                  <a:cubicBezTo>
                    <a:pt x="21" y="84"/>
                    <a:pt x="21" y="84"/>
                    <a:pt x="21" y="84"/>
                  </a:cubicBezTo>
                  <a:cubicBezTo>
                    <a:pt x="21" y="84"/>
                    <a:pt x="21" y="84"/>
                    <a:pt x="21" y="84"/>
                  </a:cubicBezTo>
                  <a:cubicBezTo>
                    <a:pt x="21" y="84"/>
                    <a:pt x="21" y="84"/>
                    <a:pt x="21" y="84"/>
                  </a:cubicBezTo>
                  <a:cubicBezTo>
                    <a:pt x="21" y="84"/>
                    <a:pt x="21" y="84"/>
                    <a:pt x="21" y="84"/>
                  </a:cubicBezTo>
                  <a:cubicBezTo>
                    <a:pt x="21" y="84"/>
                    <a:pt x="21" y="84"/>
                    <a:pt x="21" y="84"/>
                  </a:cubicBezTo>
                  <a:cubicBezTo>
                    <a:pt x="21" y="84"/>
                    <a:pt x="21" y="84"/>
                    <a:pt x="21" y="84"/>
                  </a:cubicBezTo>
                  <a:cubicBezTo>
                    <a:pt x="21" y="84"/>
                    <a:pt x="21" y="84"/>
                    <a:pt x="21" y="84"/>
                  </a:cubicBezTo>
                  <a:cubicBezTo>
                    <a:pt x="21" y="83"/>
                    <a:pt x="21" y="83"/>
                    <a:pt x="21" y="83"/>
                  </a:cubicBezTo>
                  <a:cubicBezTo>
                    <a:pt x="21" y="83"/>
                    <a:pt x="21" y="83"/>
                    <a:pt x="21" y="83"/>
                  </a:cubicBezTo>
                  <a:cubicBezTo>
                    <a:pt x="20" y="82"/>
                    <a:pt x="20" y="82"/>
                    <a:pt x="20" y="82"/>
                  </a:cubicBezTo>
                  <a:cubicBezTo>
                    <a:pt x="20" y="82"/>
                    <a:pt x="20" y="82"/>
                    <a:pt x="20" y="82"/>
                  </a:cubicBezTo>
                  <a:cubicBezTo>
                    <a:pt x="20" y="82"/>
                    <a:pt x="20" y="82"/>
                    <a:pt x="20" y="82"/>
                  </a:cubicBezTo>
                  <a:cubicBezTo>
                    <a:pt x="21" y="83"/>
                    <a:pt x="21" y="83"/>
                    <a:pt x="21" y="83"/>
                  </a:cubicBezTo>
                  <a:cubicBezTo>
                    <a:pt x="21" y="83"/>
                    <a:pt x="21" y="83"/>
                    <a:pt x="21" y="83"/>
                  </a:cubicBezTo>
                  <a:cubicBezTo>
                    <a:pt x="21" y="83"/>
                    <a:pt x="21" y="83"/>
                    <a:pt x="21" y="83"/>
                  </a:cubicBezTo>
                  <a:cubicBezTo>
                    <a:pt x="21" y="83"/>
                    <a:pt x="21" y="83"/>
                    <a:pt x="21" y="83"/>
                  </a:cubicBezTo>
                  <a:cubicBezTo>
                    <a:pt x="22" y="83"/>
                    <a:pt x="22" y="83"/>
                    <a:pt x="22" y="83"/>
                  </a:cubicBezTo>
                  <a:cubicBezTo>
                    <a:pt x="22" y="82"/>
                    <a:pt x="22" y="82"/>
                    <a:pt x="22" y="82"/>
                  </a:cubicBezTo>
                  <a:cubicBezTo>
                    <a:pt x="22" y="82"/>
                    <a:pt x="22" y="82"/>
                    <a:pt x="22" y="82"/>
                  </a:cubicBezTo>
                  <a:cubicBezTo>
                    <a:pt x="21" y="82"/>
                    <a:pt x="21" y="82"/>
                    <a:pt x="21" y="82"/>
                  </a:cubicBezTo>
                  <a:cubicBezTo>
                    <a:pt x="21" y="81"/>
                    <a:pt x="21" y="81"/>
                    <a:pt x="21" y="81"/>
                  </a:cubicBezTo>
                  <a:cubicBezTo>
                    <a:pt x="21" y="81"/>
                    <a:pt x="21" y="81"/>
                    <a:pt x="21" y="81"/>
                  </a:cubicBezTo>
                  <a:cubicBezTo>
                    <a:pt x="21" y="81"/>
                    <a:pt x="21" y="81"/>
                    <a:pt x="21" y="81"/>
                  </a:cubicBezTo>
                  <a:cubicBezTo>
                    <a:pt x="21" y="81"/>
                    <a:pt x="21" y="81"/>
                    <a:pt x="21" y="81"/>
                  </a:cubicBezTo>
                  <a:cubicBezTo>
                    <a:pt x="22" y="82"/>
                    <a:pt x="22" y="82"/>
                    <a:pt x="22" y="82"/>
                  </a:cubicBezTo>
                  <a:cubicBezTo>
                    <a:pt x="22" y="82"/>
                    <a:pt x="22" y="82"/>
                    <a:pt x="22" y="82"/>
                  </a:cubicBezTo>
                  <a:cubicBezTo>
                    <a:pt x="22" y="82"/>
                    <a:pt x="22" y="82"/>
                    <a:pt x="22" y="82"/>
                  </a:cubicBezTo>
                  <a:cubicBezTo>
                    <a:pt x="22" y="82"/>
                    <a:pt x="22" y="82"/>
                    <a:pt x="22" y="82"/>
                  </a:cubicBezTo>
                  <a:cubicBezTo>
                    <a:pt x="22" y="81"/>
                    <a:pt x="22" y="81"/>
                    <a:pt x="22" y="81"/>
                  </a:cubicBezTo>
                  <a:cubicBezTo>
                    <a:pt x="22" y="81"/>
                    <a:pt x="22" y="81"/>
                    <a:pt x="22" y="81"/>
                  </a:cubicBezTo>
                  <a:cubicBezTo>
                    <a:pt x="22" y="81"/>
                    <a:pt x="22" y="81"/>
                    <a:pt x="22" y="81"/>
                  </a:cubicBezTo>
                  <a:cubicBezTo>
                    <a:pt x="21" y="81"/>
                    <a:pt x="21" y="81"/>
                    <a:pt x="21" y="81"/>
                  </a:cubicBezTo>
                  <a:cubicBezTo>
                    <a:pt x="21" y="81"/>
                    <a:pt x="21" y="81"/>
                    <a:pt x="21" y="81"/>
                  </a:cubicBezTo>
                  <a:cubicBezTo>
                    <a:pt x="21" y="81"/>
                    <a:pt x="21" y="81"/>
                    <a:pt x="21" y="81"/>
                  </a:cubicBezTo>
                  <a:cubicBezTo>
                    <a:pt x="22" y="81"/>
                    <a:pt x="22" y="81"/>
                    <a:pt x="22" y="81"/>
                  </a:cubicBezTo>
                  <a:cubicBezTo>
                    <a:pt x="22" y="81"/>
                    <a:pt x="22" y="81"/>
                    <a:pt x="22" y="81"/>
                  </a:cubicBezTo>
                  <a:cubicBezTo>
                    <a:pt x="22" y="81"/>
                    <a:pt x="22" y="81"/>
                    <a:pt x="22" y="81"/>
                  </a:cubicBezTo>
                  <a:cubicBezTo>
                    <a:pt x="22" y="81"/>
                    <a:pt x="22" y="81"/>
                    <a:pt x="22" y="81"/>
                  </a:cubicBezTo>
                  <a:cubicBezTo>
                    <a:pt x="22" y="81"/>
                    <a:pt x="22" y="81"/>
                    <a:pt x="22" y="81"/>
                  </a:cubicBezTo>
                  <a:cubicBezTo>
                    <a:pt x="22" y="81"/>
                    <a:pt x="22" y="81"/>
                    <a:pt x="22" y="81"/>
                  </a:cubicBezTo>
                  <a:cubicBezTo>
                    <a:pt x="23" y="81"/>
                    <a:pt x="23" y="81"/>
                    <a:pt x="23" y="81"/>
                  </a:cubicBezTo>
                  <a:cubicBezTo>
                    <a:pt x="23" y="81"/>
                    <a:pt x="23" y="81"/>
                    <a:pt x="23" y="81"/>
                  </a:cubicBezTo>
                  <a:cubicBezTo>
                    <a:pt x="23" y="81"/>
                    <a:pt x="23" y="81"/>
                    <a:pt x="23" y="81"/>
                  </a:cubicBezTo>
                  <a:cubicBezTo>
                    <a:pt x="23" y="81"/>
                    <a:pt x="23" y="81"/>
                    <a:pt x="23" y="81"/>
                  </a:cubicBezTo>
                  <a:cubicBezTo>
                    <a:pt x="23" y="80"/>
                    <a:pt x="23" y="80"/>
                    <a:pt x="23" y="80"/>
                  </a:cubicBezTo>
                  <a:cubicBezTo>
                    <a:pt x="23" y="80"/>
                    <a:pt x="23" y="80"/>
                    <a:pt x="23" y="80"/>
                  </a:cubicBezTo>
                  <a:cubicBezTo>
                    <a:pt x="23" y="80"/>
                    <a:pt x="23" y="80"/>
                    <a:pt x="23" y="80"/>
                  </a:cubicBezTo>
                  <a:cubicBezTo>
                    <a:pt x="23" y="80"/>
                    <a:pt x="23" y="80"/>
                    <a:pt x="23" y="80"/>
                  </a:cubicBezTo>
                  <a:cubicBezTo>
                    <a:pt x="23" y="80"/>
                    <a:pt x="23" y="80"/>
                    <a:pt x="23" y="80"/>
                  </a:cubicBezTo>
                  <a:cubicBezTo>
                    <a:pt x="22" y="80"/>
                    <a:pt x="22" y="80"/>
                    <a:pt x="22" y="80"/>
                  </a:cubicBezTo>
                  <a:cubicBezTo>
                    <a:pt x="22" y="79"/>
                    <a:pt x="22" y="79"/>
                    <a:pt x="22" y="79"/>
                  </a:cubicBezTo>
                  <a:cubicBezTo>
                    <a:pt x="22" y="79"/>
                    <a:pt x="22" y="79"/>
                    <a:pt x="22" y="79"/>
                  </a:cubicBezTo>
                  <a:cubicBezTo>
                    <a:pt x="22" y="79"/>
                    <a:pt x="22" y="79"/>
                    <a:pt x="22" y="79"/>
                  </a:cubicBezTo>
                  <a:cubicBezTo>
                    <a:pt x="22" y="79"/>
                    <a:pt x="22" y="79"/>
                    <a:pt x="22" y="79"/>
                  </a:cubicBezTo>
                  <a:cubicBezTo>
                    <a:pt x="22" y="79"/>
                    <a:pt x="22" y="79"/>
                    <a:pt x="22" y="79"/>
                  </a:cubicBezTo>
                  <a:cubicBezTo>
                    <a:pt x="22" y="79"/>
                    <a:pt x="22" y="79"/>
                    <a:pt x="22" y="79"/>
                  </a:cubicBezTo>
                  <a:cubicBezTo>
                    <a:pt x="22" y="79"/>
                    <a:pt x="22" y="79"/>
                    <a:pt x="22" y="79"/>
                  </a:cubicBezTo>
                  <a:cubicBezTo>
                    <a:pt x="23" y="78"/>
                    <a:pt x="23" y="78"/>
                    <a:pt x="23" y="78"/>
                  </a:cubicBezTo>
                  <a:cubicBezTo>
                    <a:pt x="23" y="78"/>
                    <a:pt x="23" y="78"/>
                    <a:pt x="23" y="78"/>
                  </a:cubicBezTo>
                  <a:cubicBezTo>
                    <a:pt x="23" y="78"/>
                    <a:pt x="23" y="78"/>
                    <a:pt x="23" y="78"/>
                  </a:cubicBezTo>
                  <a:cubicBezTo>
                    <a:pt x="24" y="77"/>
                    <a:pt x="24" y="77"/>
                    <a:pt x="24" y="77"/>
                  </a:cubicBezTo>
                  <a:cubicBezTo>
                    <a:pt x="24" y="77"/>
                    <a:pt x="24" y="77"/>
                    <a:pt x="24" y="77"/>
                  </a:cubicBezTo>
                  <a:cubicBezTo>
                    <a:pt x="24" y="77"/>
                    <a:pt x="24" y="77"/>
                    <a:pt x="24" y="77"/>
                  </a:cubicBezTo>
                  <a:cubicBezTo>
                    <a:pt x="24" y="77"/>
                    <a:pt x="24" y="77"/>
                    <a:pt x="24" y="77"/>
                  </a:cubicBezTo>
                  <a:cubicBezTo>
                    <a:pt x="24" y="77"/>
                    <a:pt x="24" y="77"/>
                    <a:pt x="24" y="77"/>
                  </a:cubicBezTo>
                  <a:cubicBezTo>
                    <a:pt x="23" y="76"/>
                    <a:pt x="23" y="76"/>
                    <a:pt x="23" y="76"/>
                  </a:cubicBezTo>
                  <a:cubicBezTo>
                    <a:pt x="23" y="76"/>
                    <a:pt x="23" y="76"/>
                    <a:pt x="23" y="76"/>
                  </a:cubicBezTo>
                  <a:cubicBezTo>
                    <a:pt x="23" y="76"/>
                    <a:pt x="23" y="76"/>
                    <a:pt x="23" y="76"/>
                  </a:cubicBezTo>
                  <a:cubicBezTo>
                    <a:pt x="24" y="76"/>
                    <a:pt x="24" y="76"/>
                    <a:pt x="24" y="76"/>
                  </a:cubicBezTo>
                  <a:cubicBezTo>
                    <a:pt x="24" y="76"/>
                    <a:pt x="24" y="76"/>
                    <a:pt x="24" y="76"/>
                  </a:cubicBezTo>
                  <a:cubicBezTo>
                    <a:pt x="24" y="75"/>
                    <a:pt x="24" y="75"/>
                    <a:pt x="24" y="75"/>
                  </a:cubicBezTo>
                  <a:cubicBezTo>
                    <a:pt x="25" y="75"/>
                    <a:pt x="25" y="75"/>
                    <a:pt x="25" y="75"/>
                  </a:cubicBezTo>
                  <a:cubicBezTo>
                    <a:pt x="25" y="75"/>
                    <a:pt x="25" y="75"/>
                    <a:pt x="25" y="75"/>
                  </a:cubicBezTo>
                  <a:cubicBezTo>
                    <a:pt x="25" y="75"/>
                    <a:pt x="25" y="75"/>
                    <a:pt x="25" y="75"/>
                  </a:cubicBezTo>
                  <a:cubicBezTo>
                    <a:pt x="25" y="74"/>
                    <a:pt x="25" y="74"/>
                    <a:pt x="25" y="74"/>
                  </a:cubicBezTo>
                  <a:cubicBezTo>
                    <a:pt x="25" y="74"/>
                    <a:pt x="25" y="74"/>
                    <a:pt x="25" y="74"/>
                  </a:cubicBezTo>
                  <a:cubicBezTo>
                    <a:pt x="24" y="74"/>
                    <a:pt x="24" y="74"/>
                    <a:pt x="24" y="74"/>
                  </a:cubicBezTo>
                  <a:cubicBezTo>
                    <a:pt x="24" y="74"/>
                    <a:pt x="24" y="74"/>
                    <a:pt x="24" y="74"/>
                  </a:cubicBezTo>
                  <a:cubicBezTo>
                    <a:pt x="24" y="74"/>
                    <a:pt x="24" y="74"/>
                    <a:pt x="24" y="74"/>
                  </a:cubicBezTo>
                  <a:cubicBezTo>
                    <a:pt x="24" y="74"/>
                    <a:pt x="24" y="74"/>
                    <a:pt x="24" y="74"/>
                  </a:cubicBezTo>
                  <a:cubicBezTo>
                    <a:pt x="24" y="74"/>
                    <a:pt x="24" y="74"/>
                    <a:pt x="24" y="74"/>
                  </a:cubicBezTo>
                  <a:cubicBezTo>
                    <a:pt x="24" y="74"/>
                    <a:pt x="24" y="74"/>
                    <a:pt x="24" y="74"/>
                  </a:cubicBezTo>
                  <a:cubicBezTo>
                    <a:pt x="24" y="74"/>
                    <a:pt x="24" y="74"/>
                    <a:pt x="24" y="74"/>
                  </a:cubicBezTo>
                  <a:cubicBezTo>
                    <a:pt x="24" y="74"/>
                    <a:pt x="24" y="74"/>
                    <a:pt x="24" y="74"/>
                  </a:cubicBezTo>
                  <a:cubicBezTo>
                    <a:pt x="24" y="74"/>
                    <a:pt x="24" y="74"/>
                    <a:pt x="24" y="74"/>
                  </a:cubicBezTo>
                  <a:cubicBezTo>
                    <a:pt x="25" y="74"/>
                    <a:pt x="25" y="74"/>
                    <a:pt x="25" y="74"/>
                  </a:cubicBezTo>
                  <a:cubicBezTo>
                    <a:pt x="25" y="74"/>
                    <a:pt x="25" y="74"/>
                    <a:pt x="25" y="74"/>
                  </a:cubicBezTo>
                  <a:cubicBezTo>
                    <a:pt x="25" y="74"/>
                    <a:pt x="25" y="74"/>
                    <a:pt x="25" y="74"/>
                  </a:cubicBezTo>
                  <a:cubicBezTo>
                    <a:pt x="25" y="74"/>
                    <a:pt x="25" y="74"/>
                    <a:pt x="25" y="74"/>
                  </a:cubicBezTo>
                  <a:cubicBezTo>
                    <a:pt x="25" y="74"/>
                    <a:pt x="25" y="74"/>
                    <a:pt x="25" y="74"/>
                  </a:cubicBezTo>
                  <a:cubicBezTo>
                    <a:pt x="25" y="74"/>
                    <a:pt x="25" y="74"/>
                    <a:pt x="25" y="74"/>
                  </a:cubicBezTo>
                  <a:cubicBezTo>
                    <a:pt x="25" y="74"/>
                    <a:pt x="25" y="74"/>
                    <a:pt x="25" y="74"/>
                  </a:cubicBezTo>
                  <a:cubicBezTo>
                    <a:pt x="25" y="74"/>
                    <a:pt x="25" y="74"/>
                    <a:pt x="25" y="74"/>
                  </a:cubicBezTo>
                  <a:cubicBezTo>
                    <a:pt x="25" y="74"/>
                    <a:pt x="25" y="74"/>
                    <a:pt x="25" y="74"/>
                  </a:cubicBezTo>
                  <a:cubicBezTo>
                    <a:pt x="25" y="74"/>
                    <a:pt x="25" y="74"/>
                    <a:pt x="25" y="74"/>
                  </a:cubicBezTo>
                  <a:cubicBezTo>
                    <a:pt x="25" y="73"/>
                    <a:pt x="25" y="73"/>
                    <a:pt x="25" y="73"/>
                  </a:cubicBezTo>
                  <a:cubicBezTo>
                    <a:pt x="25" y="73"/>
                    <a:pt x="25" y="73"/>
                    <a:pt x="25" y="73"/>
                  </a:cubicBezTo>
                  <a:cubicBezTo>
                    <a:pt x="26" y="73"/>
                    <a:pt x="26" y="73"/>
                    <a:pt x="26" y="73"/>
                  </a:cubicBezTo>
                  <a:cubicBezTo>
                    <a:pt x="26" y="73"/>
                    <a:pt x="26" y="73"/>
                    <a:pt x="26" y="73"/>
                  </a:cubicBezTo>
                  <a:cubicBezTo>
                    <a:pt x="26" y="72"/>
                    <a:pt x="26" y="72"/>
                    <a:pt x="26" y="72"/>
                  </a:cubicBezTo>
                  <a:cubicBezTo>
                    <a:pt x="26" y="72"/>
                    <a:pt x="26" y="72"/>
                    <a:pt x="26" y="72"/>
                  </a:cubicBezTo>
                  <a:cubicBezTo>
                    <a:pt x="26" y="72"/>
                    <a:pt x="26" y="72"/>
                    <a:pt x="26" y="72"/>
                  </a:cubicBezTo>
                  <a:cubicBezTo>
                    <a:pt x="26" y="72"/>
                    <a:pt x="26" y="72"/>
                    <a:pt x="26" y="72"/>
                  </a:cubicBezTo>
                  <a:cubicBezTo>
                    <a:pt x="26" y="71"/>
                    <a:pt x="26" y="71"/>
                    <a:pt x="26" y="71"/>
                  </a:cubicBezTo>
                  <a:cubicBezTo>
                    <a:pt x="26" y="71"/>
                    <a:pt x="26" y="71"/>
                    <a:pt x="26" y="71"/>
                  </a:cubicBezTo>
                  <a:cubicBezTo>
                    <a:pt x="26" y="70"/>
                    <a:pt x="26" y="70"/>
                    <a:pt x="26" y="70"/>
                  </a:cubicBezTo>
                  <a:cubicBezTo>
                    <a:pt x="26" y="70"/>
                    <a:pt x="26" y="70"/>
                    <a:pt x="26" y="70"/>
                  </a:cubicBezTo>
                  <a:cubicBezTo>
                    <a:pt x="26" y="70"/>
                    <a:pt x="26" y="70"/>
                    <a:pt x="26" y="70"/>
                  </a:cubicBezTo>
                  <a:cubicBezTo>
                    <a:pt x="26" y="70"/>
                    <a:pt x="26" y="70"/>
                    <a:pt x="26" y="70"/>
                  </a:cubicBezTo>
                  <a:cubicBezTo>
                    <a:pt x="26" y="70"/>
                    <a:pt x="26" y="70"/>
                    <a:pt x="26" y="70"/>
                  </a:cubicBezTo>
                  <a:cubicBezTo>
                    <a:pt x="26" y="70"/>
                    <a:pt x="26" y="70"/>
                    <a:pt x="26" y="70"/>
                  </a:cubicBezTo>
                  <a:cubicBezTo>
                    <a:pt x="25" y="70"/>
                    <a:pt x="25" y="70"/>
                    <a:pt x="25" y="70"/>
                  </a:cubicBezTo>
                  <a:cubicBezTo>
                    <a:pt x="25" y="70"/>
                    <a:pt x="25" y="70"/>
                    <a:pt x="25" y="70"/>
                  </a:cubicBezTo>
                  <a:cubicBezTo>
                    <a:pt x="25" y="70"/>
                    <a:pt x="25" y="70"/>
                    <a:pt x="25" y="70"/>
                  </a:cubicBezTo>
                  <a:cubicBezTo>
                    <a:pt x="27" y="70"/>
                    <a:pt x="27" y="70"/>
                    <a:pt x="27" y="70"/>
                  </a:cubicBezTo>
                  <a:cubicBezTo>
                    <a:pt x="27" y="70"/>
                    <a:pt x="27" y="70"/>
                    <a:pt x="27" y="70"/>
                  </a:cubicBezTo>
                  <a:cubicBezTo>
                    <a:pt x="27" y="70"/>
                    <a:pt x="27" y="70"/>
                    <a:pt x="27" y="70"/>
                  </a:cubicBezTo>
                  <a:cubicBezTo>
                    <a:pt x="27" y="70"/>
                    <a:pt x="27" y="70"/>
                    <a:pt x="27" y="70"/>
                  </a:cubicBezTo>
                  <a:cubicBezTo>
                    <a:pt x="27" y="70"/>
                    <a:pt x="27" y="70"/>
                    <a:pt x="27" y="70"/>
                  </a:cubicBezTo>
                  <a:cubicBezTo>
                    <a:pt x="27" y="71"/>
                    <a:pt x="27" y="71"/>
                    <a:pt x="27" y="71"/>
                  </a:cubicBezTo>
                  <a:cubicBezTo>
                    <a:pt x="27" y="70"/>
                    <a:pt x="27" y="70"/>
                    <a:pt x="27" y="70"/>
                  </a:cubicBezTo>
                  <a:cubicBezTo>
                    <a:pt x="28" y="71"/>
                    <a:pt x="28" y="71"/>
                    <a:pt x="28" y="71"/>
                  </a:cubicBezTo>
                  <a:cubicBezTo>
                    <a:pt x="28" y="70"/>
                    <a:pt x="28" y="70"/>
                    <a:pt x="28" y="70"/>
                  </a:cubicBezTo>
                  <a:cubicBezTo>
                    <a:pt x="28" y="70"/>
                    <a:pt x="28" y="70"/>
                    <a:pt x="28" y="70"/>
                  </a:cubicBezTo>
                  <a:cubicBezTo>
                    <a:pt x="27" y="70"/>
                    <a:pt x="27" y="70"/>
                    <a:pt x="27" y="70"/>
                  </a:cubicBezTo>
                  <a:cubicBezTo>
                    <a:pt x="27" y="70"/>
                    <a:pt x="27" y="70"/>
                    <a:pt x="27" y="70"/>
                  </a:cubicBezTo>
                  <a:cubicBezTo>
                    <a:pt x="27" y="69"/>
                    <a:pt x="27" y="69"/>
                    <a:pt x="27" y="69"/>
                  </a:cubicBezTo>
                  <a:cubicBezTo>
                    <a:pt x="27" y="69"/>
                    <a:pt x="27" y="69"/>
                    <a:pt x="27" y="69"/>
                  </a:cubicBezTo>
                  <a:cubicBezTo>
                    <a:pt x="27" y="69"/>
                    <a:pt x="27" y="69"/>
                    <a:pt x="27" y="69"/>
                  </a:cubicBezTo>
                  <a:cubicBezTo>
                    <a:pt x="27" y="69"/>
                    <a:pt x="27" y="69"/>
                    <a:pt x="27" y="69"/>
                  </a:cubicBezTo>
                  <a:cubicBezTo>
                    <a:pt x="27" y="69"/>
                    <a:pt x="27" y="69"/>
                    <a:pt x="27" y="69"/>
                  </a:cubicBezTo>
                  <a:cubicBezTo>
                    <a:pt x="27" y="69"/>
                    <a:pt x="27" y="69"/>
                    <a:pt x="27" y="69"/>
                  </a:cubicBezTo>
                  <a:cubicBezTo>
                    <a:pt x="27" y="69"/>
                    <a:pt x="27" y="69"/>
                    <a:pt x="27" y="69"/>
                  </a:cubicBezTo>
                  <a:cubicBezTo>
                    <a:pt x="27" y="69"/>
                    <a:pt x="27" y="69"/>
                    <a:pt x="27" y="69"/>
                  </a:cubicBezTo>
                  <a:cubicBezTo>
                    <a:pt x="27" y="69"/>
                    <a:pt x="27" y="69"/>
                    <a:pt x="27" y="69"/>
                  </a:cubicBezTo>
                  <a:cubicBezTo>
                    <a:pt x="27" y="69"/>
                    <a:pt x="27" y="69"/>
                    <a:pt x="27" y="69"/>
                  </a:cubicBezTo>
                  <a:cubicBezTo>
                    <a:pt x="26" y="69"/>
                    <a:pt x="26" y="69"/>
                    <a:pt x="26" y="69"/>
                  </a:cubicBezTo>
                  <a:cubicBezTo>
                    <a:pt x="26" y="69"/>
                    <a:pt x="26" y="69"/>
                    <a:pt x="26" y="69"/>
                  </a:cubicBezTo>
                  <a:cubicBezTo>
                    <a:pt x="26" y="69"/>
                    <a:pt x="26" y="69"/>
                    <a:pt x="26" y="69"/>
                  </a:cubicBezTo>
                  <a:cubicBezTo>
                    <a:pt x="26" y="69"/>
                    <a:pt x="26" y="69"/>
                    <a:pt x="26" y="69"/>
                  </a:cubicBezTo>
                  <a:cubicBezTo>
                    <a:pt x="26" y="69"/>
                    <a:pt x="26" y="69"/>
                    <a:pt x="26" y="69"/>
                  </a:cubicBezTo>
                  <a:cubicBezTo>
                    <a:pt x="26" y="69"/>
                    <a:pt x="26" y="69"/>
                    <a:pt x="26" y="69"/>
                  </a:cubicBezTo>
                  <a:cubicBezTo>
                    <a:pt x="27" y="68"/>
                    <a:pt x="27" y="68"/>
                    <a:pt x="27" y="68"/>
                  </a:cubicBezTo>
                  <a:cubicBezTo>
                    <a:pt x="27" y="68"/>
                    <a:pt x="27" y="68"/>
                    <a:pt x="27" y="68"/>
                  </a:cubicBezTo>
                  <a:cubicBezTo>
                    <a:pt x="28" y="68"/>
                    <a:pt x="28" y="68"/>
                    <a:pt x="28" y="68"/>
                  </a:cubicBezTo>
                  <a:cubicBezTo>
                    <a:pt x="28" y="68"/>
                    <a:pt x="28" y="68"/>
                    <a:pt x="28" y="68"/>
                  </a:cubicBezTo>
                  <a:cubicBezTo>
                    <a:pt x="27" y="68"/>
                    <a:pt x="27" y="68"/>
                    <a:pt x="27" y="68"/>
                  </a:cubicBezTo>
                  <a:cubicBezTo>
                    <a:pt x="27" y="68"/>
                    <a:pt x="27" y="68"/>
                    <a:pt x="27" y="68"/>
                  </a:cubicBezTo>
                  <a:cubicBezTo>
                    <a:pt x="26" y="68"/>
                    <a:pt x="26" y="68"/>
                    <a:pt x="26" y="68"/>
                  </a:cubicBezTo>
                  <a:cubicBezTo>
                    <a:pt x="26" y="68"/>
                    <a:pt x="26" y="68"/>
                    <a:pt x="26" y="68"/>
                  </a:cubicBezTo>
                  <a:cubicBezTo>
                    <a:pt x="27" y="68"/>
                    <a:pt x="27" y="68"/>
                    <a:pt x="27" y="68"/>
                  </a:cubicBezTo>
                  <a:cubicBezTo>
                    <a:pt x="27" y="68"/>
                    <a:pt x="27" y="68"/>
                    <a:pt x="27" y="68"/>
                  </a:cubicBezTo>
                  <a:cubicBezTo>
                    <a:pt x="27" y="68"/>
                    <a:pt x="27" y="68"/>
                    <a:pt x="27" y="68"/>
                  </a:cubicBezTo>
                  <a:cubicBezTo>
                    <a:pt x="27" y="68"/>
                    <a:pt x="27" y="68"/>
                    <a:pt x="27" y="68"/>
                  </a:cubicBezTo>
                  <a:cubicBezTo>
                    <a:pt x="27" y="67"/>
                    <a:pt x="27" y="67"/>
                    <a:pt x="27" y="67"/>
                  </a:cubicBezTo>
                  <a:cubicBezTo>
                    <a:pt x="26" y="68"/>
                    <a:pt x="26" y="68"/>
                    <a:pt x="26" y="68"/>
                  </a:cubicBezTo>
                  <a:cubicBezTo>
                    <a:pt x="26" y="68"/>
                    <a:pt x="26" y="68"/>
                    <a:pt x="26" y="68"/>
                  </a:cubicBezTo>
                  <a:cubicBezTo>
                    <a:pt x="26" y="68"/>
                    <a:pt x="26" y="68"/>
                    <a:pt x="26" y="68"/>
                  </a:cubicBezTo>
                  <a:cubicBezTo>
                    <a:pt x="26" y="67"/>
                    <a:pt x="26" y="67"/>
                    <a:pt x="26" y="67"/>
                  </a:cubicBezTo>
                  <a:cubicBezTo>
                    <a:pt x="25" y="67"/>
                    <a:pt x="25" y="67"/>
                    <a:pt x="25" y="67"/>
                  </a:cubicBezTo>
                  <a:cubicBezTo>
                    <a:pt x="25" y="67"/>
                    <a:pt x="25" y="67"/>
                    <a:pt x="25" y="67"/>
                  </a:cubicBezTo>
                  <a:cubicBezTo>
                    <a:pt x="26" y="67"/>
                    <a:pt x="26" y="67"/>
                    <a:pt x="26" y="67"/>
                  </a:cubicBezTo>
                  <a:cubicBezTo>
                    <a:pt x="26" y="67"/>
                    <a:pt x="26" y="67"/>
                    <a:pt x="26" y="67"/>
                  </a:cubicBezTo>
                  <a:cubicBezTo>
                    <a:pt x="26" y="67"/>
                    <a:pt x="26" y="67"/>
                    <a:pt x="26" y="67"/>
                  </a:cubicBezTo>
                  <a:cubicBezTo>
                    <a:pt x="26" y="67"/>
                    <a:pt x="26" y="67"/>
                    <a:pt x="26" y="67"/>
                  </a:cubicBezTo>
                  <a:cubicBezTo>
                    <a:pt x="26" y="66"/>
                    <a:pt x="26" y="66"/>
                    <a:pt x="26" y="66"/>
                  </a:cubicBezTo>
                  <a:cubicBezTo>
                    <a:pt x="26" y="66"/>
                    <a:pt x="26" y="66"/>
                    <a:pt x="26" y="66"/>
                  </a:cubicBezTo>
                  <a:cubicBezTo>
                    <a:pt x="26" y="66"/>
                    <a:pt x="26" y="66"/>
                    <a:pt x="26" y="66"/>
                  </a:cubicBezTo>
                  <a:cubicBezTo>
                    <a:pt x="26" y="66"/>
                    <a:pt x="26" y="66"/>
                    <a:pt x="26" y="66"/>
                  </a:cubicBezTo>
                  <a:cubicBezTo>
                    <a:pt x="26" y="66"/>
                    <a:pt x="26" y="66"/>
                    <a:pt x="26" y="66"/>
                  </a:cubicBezTo>
                  <a:cubicBezTo>
                    <a:pt x="26" y="65"/>
                    <a:pt x="26" y="65"/>
                    <a:pt x="26" y="65"/>
                  </a:cubicBezTo>
                  <a:cubicBezTo>
                    <a:pt x="25" y="65"/>
                    <a:pt x="25" y="65"/>
                    <a:pt x="25" y="65"/>
                  </a:cubicBezTo>
                  <a:cubicBezTo>
                    <a:pt x="26" y="65"/>
                    <a:pt x="26" y="65"/>
                    <a:pt x="26" y="65"/>
                  </a:cubicBezTo>
                  <a:cubicBezTo>
                    <a:pt x="25" y="65"/>
                    <a:pt x="25" y="65"/>
                    <a:pt x="25" y="65"/>
                  </a:cubicBezTo>
                  <a:cubicBezTo>
                    <a:pt x="25" y="65"/>
                    <a:pt x="25" y="65"/>
                    <a:pt x="25" y="65"/>
                  </a:cubicBezTo>
                  <a:cubicBezTo>
                    <a:pt x="26" y="65"/>
                    <a:pt x="26" y="65"/>
                    <a:pt x="26" y="65"/>
                  </a:cubicBezTo>
                  <a:cubicBezTo>
                    <a:pt x="26" y="65"/>
                    <a:pt x="26" y="65"/>
                    <a:pt x="26" y="65"/>
                  </a:cubicBezTo>
                  <a:cubicBezTo>
                    <a:pt x="27" y="65"/>
                    <a:pt x="27" y="65"/>
                    <a:pt x="27" y="65"/>
                  </a:cubicBezTo>
                  <a:cubicBezTo>
                    <a:pt x="27" y="65"/>
                    <a:pt x="27" y="65"/>
                    <a:pt x="27" y="65"/>
                  </a:cubicBezTo>
                  <a:cubicBezTo>
                    <a:pt x="27" y="64"/>
                    <a:pt x="27" y="64"/>
                    <a:pt x="27" y="64"/>
                  </a:cubicBezTo>
                  <a:cubicBezTo>
                    <a:pt x="27" y="64"/>
                    <a:pt x="27" y="64"/>
                    <a:pt x="27" y="64"/>
                  </a:cubicBezTo>
                  <a:cubicBezTo>
                    <a:pt x="27" y="64"/>
                    <a:pt x="27" y="64"/>
                    <a:pt x="27" y="64"/>
                  </a:cubicBezTo>
                  <a:cubicBezTo>
                    <a:pt x="27" y="64"/>
                    <a:pt x="27" y="64"/>
                    <a:pt x="27" y="64"/>
                  </a:cubicBezTo>
                  <a:cubicBezTo>
                    <a:pt x="27" y="64"/>
                    <a:pt x="27" y="64"/>
                    <a:pt x="27" y="64"/>
                  </a:cubicBezTo>
                  <a:cubicBezTo>
                    <a:pt x="28" y="64"/>
                    <a:pt x="28" y="64"/>
                    <a:pt x="28" y="64"/>
                  </a:cubicBezTo>
                  <a:cubicBezTo>
                    <a:pt x="28" y="64"/>
                    <a:pt x="28" y="64"/>
                    <a:pt x="28" y="64"/>
                  </a:cubicBezTo>
                  <a:cubicBezTo>
                    <a:pt x="28" y="65"/>
                    <a:pt x="28" y="65"/>
                    <a:pt x="28" y="65"/>
                  </a:cubicBezTo>
                  <a:cubicBezTo>
                    <a:pt x="28" y="65"/>
                    <a:pt x="28" y="65"/>
                    <a:pt x="28" y="65"/>
                  </a:cubicBezTo>
                  <a:cubicBezTo>
                    <a:pt x="28" y="65"/>
                    <a:pt x="28" y="65"/>
                    <a:pt x="28" y="65"/>
                  </a:cubicBezTo>
                  <a:cubicBezTo>
                    <a:pt x="29" y="66"/>
                    <a:pt x="29" y="66"/>
                    <a:pt x="29" y="66"/>
                  </a:cubicBezTo>
                  <a:cubicBezTo>
                    <a:pt x="29" y="66"/>
                    <a:pt x="29" y="66"/>
                    <a:pt x="29" y="66"/>
                  </a:cubicBezTo>
                  <a:cubicBezTo>
                    <a:pt x="29" y="65"/>
                    <a:pt x="29" y="65"/>
                    <a:pt x="29" y="65"/>
                  </a:cubicBezTo>
                  <a:cubicBezTo>
                    <a:pt x="29" y="65"/>
                    <a:pt x="29" y="65"/>
                    <a:pt x="29" y="65"/>
                  </a:cubicBezTo>
                  <a:cubicBezTo>
                    <a:pt x="29" y="65"/>
                    <a:pt x="29" y="65"/>
                    <a:pt x="29" y="65"/>
                  </a:cubicBezTo>
                  <a:cubicBezTo>
                    <a:pt x="29" y="64"/>
                    <a:pt x="29" y="64"/>
                    <a:pt x="29" y="64"/>
                  </a:cubicBezTo>
                  <a:cubicBezTo>
                    <a:pt x="30" y="64"/>
                    <a:pt x="30" y="64"/>
                    <a:pt x="30" y="64"/>
                  </a:cubicBezTo>
                  <a:cubicBezTo>
                    <a:pt x="29" y="64"/>
                    <a:pt x="29" y="64"/>
                    <a:pt x="29" y="64"/>
                  </a:cubicBezTo>
                  <a:cubicBezTo>
                    <a:pt x="29" y="63"/>
                    <a:pt x="29" y="63"/>
                    <a:pt x="29" y="63"/>
                  </a:cubicBezTo>
                  <a:cubicBezTo>
                    <a:pt x="29" y="63"/>
                    <a:pt x="29" y="63"/>
                    <a:pt x="29" y="63"/>
                  </a:cubicBezTo>
                  <a:cubicBezTo>
                    <a:pt x="29" y="63"/>
                    <a:pt x="29" y="63"/>
                    <a:pt x="29" y="63"/>
                  </a:cubicBezTo>
                  <a:cubicBezTo>
                    <a:pt x="28" y="63"/>
                    <a:pt x="28" y="63"/>
                    <a:pt x="28" y="63"/>
                  </a:cubicBezTo>
                  <a:cubicBezTo>
                    <a:pt x="28" y="62"/>
                    <a:pt x="28" y="62"/>
                    <a:pt x="28" y="62"/>
                  </a:cubicBezTo>
                  <a:cubicBezTo>
                    <a:pt x="28" y="62"/>
                    <a:pt x="28" y="62"/>
                    <a:pt x="28" y="62"/>
                  </a:cubicBezTo>
                  <a:cubicBezTo>
                    <a:pt x="29" y="62"/>
                    <a:pt x="29" y="62"/>
                    <a:pt x="29" y="62"/>
                  </a:cubicBezTo>
                  <a:cubicBezTo>
                    <a:pt x="29" y="62"/>
                    <a:pt x="29" y="62"/>
                    <a:pt x="29" y="62"/>
                  </a:cubicBezTo>
                  <a:cubicBezTo>
                    <a:pt x="30" y="61"/>
                    <a:pt x="30" y="61"/>
                    <a:pt x="30" y="61"/>
                  </a:cubicBezTo>
                  <a:cubicBezTo>
                    <a:pt x="30" y="61"/>
                    <a:pt x="30" y="61"/>
                    <a:pt x="30" y="61"/>
                  </a:cubicBezTo>
                  <a:cubicBezTo>
                    <a:pt x="30" y="60"/>
                    <a:pt x="30" y="60"/>
                    <a:pt x="30" y="60"/>
                  </a:cubicBezTo>
                  <a:cubicBezTo>
                    <a:pt x="30" y="61"/>
                    <a:pt x="30" y="61"/>
                    <a:pt x="30" y="61"/>
                  </a:cubicBezTo>
                  <a:cubicBezTo>
                    <a:pt x="30" y="61"/>
                    <a:pt x="30" y="61"/>
                    <a:pt x="30" y="61"/>
                  </a:cubicBezTo>
                  <a:cubicBezTo>
                    <a:pt x="30" y="61"/>
                    <a:pt x="30" y="61"/>
                    <a:pt x="30" y="61"/>
                  </a:cubicBezTo>
                  <a:cubicBezTo>
                    <a:pt x="30" y="62"/>
                    <a:pt x="30" y="62"/>
                    <a:pt x="30" y="62"/>
                  </a:cubicBezTo>
                  <a:cubicBezTo>
                    <a:pt x="30" y="62"/>
                    <a:pt x="30" y="62"/>
                    <a:pt x="30" y="62"/>
                  </a:cubicBezTo>
                  <a:cubicBezTo>
                    <a:pt x="30" y="62"/>
                    <a:pt x="30" y="62"/>
                    <a:pt x="30" y="62"/>
                  </a:cubicBezTo>
                  <a:cubicBezTo>
                    <a:pt x="30" y="62"/>
                    <a:pt x="30" y="62"/>
                    <a:pt x="30" y="62"/>
                  </a:cubicBezTo>
                  <a:cubicBezTo>
                    <a:pt x="30" y="62"/>
                    <a:pt x="30" y="62"/>
                    <a:pt x="30" y="62"/>
                  </a:cubicBezTo>
                  <a:cubicBezTo>
                    <a:pt x="30" y="62"/>
                    <a:pt x="30" y="62"/>
                    <a:pt x="30" y="62"/>
                  </a:cubicBezTo>
                  <a:cubicBezTo>
                    <a:pt x="30" y="62"/>
                    <a:pt x="30" y="62"/>
                    <a:pt x="30" y="62"/>
                  </a:cubicBezTo>
                  <a:cubicBezTo>
                    <a:pt x="30" y="63"/>
                    <a:pt x="30" y="63"/>
                    <a:pt x="30" y="63"/>
                  </a:cubicBezTo>
                  <a:cubicBezTo>
                    <a:pt x="30" y="64"/>
                    <a:pt x="30" y="64"/>
                    <a:pt x="30" y="64"/>
                  </a:cubicBezTo>
                  <a:cubicBezTo>
                    <a:pt x="31" y="64"/>
                    <a:pt x="31" y="64"/>
                    <a:pt x="31" y="64"/>
                  </a:cubicBezTo>
                  <a:cubicBezTo>
                    <a:pt x="31" y="64"/>
                    <a:pt x="31" y="64"/>
                    <a:pt x="31" y="64"/>
                  </a:cubicBezTo>
                  <a:cubicBezTo>
                    <a:pt x="31" y="64"/>
                    <a:pt x="31" y="64"/>
                    <a:pt x="31" y="64"/>
                  </a:cubicBezTo>
                  <a:cubicBezTo>
                    <a:pt x="31" y="64"/>
                    <a:pt x="31" y="64"/>
                    <a:pt x="31" y="64"/>
                  </a:cubicBezTo>
                  <a:cubicBezTo>
                    <a:pt x="31" y="64"/>
                    <a:pt x="31" y="64"/>
                    <a:pt x="31" y="64"/>
                  </a:cubicBezTo>
                  <a:cubicBezTo>
                    <a:pt x="32" y="64"/>
                    <a:pt x="32" y="64"/>
                    <a:pt x="32" y="64"/>
                  </a:cubicBezTo>
                  <a:cubicBezTo>
                    <a:pt x="32" y="64"/>
                    <a:pt x="32" y="64"/>
                    <a:pt x="32" y="64"/>
                  </a:cubicBezTo>
                  <a:cubicBezTo>
                    <a:pt x="32" y="64"/>
                    <a:pt x="32" y="64"/>
                    <a:pt x="32" y="64"/>
                  </a:cubicBezTo>
                  <a:cubicBezTo>
                    <a:pt x="32" y="64"/>
                    <a:pt x="32" y="64"/>
                    <a:pt x="32" y="64"/>
                  </a:cubicBezTo>
                  <a:cubicBezTo>
                    <a:pt x="32" y="64"/>
                    <a:pt x="32" y="64"/>
                    <a:pt x="32" y="64"/>
                  </a:cubicBezTo>
                  <a:cubicBezTo>
                    <a:pt x="32" y="63"/>
                    <a:pt x="32" y="63"/>
                    <a:pt x="32" y="63"/>
                  </a:cubicBezTo>
                  <a:cubicBezTo>
                    <a:pt x="32" y="63"/>
                    <a:pt x="32" y="63"/>
                    <a:pt x="32" y="63"/>
                  </a:cubicBezTo>
                  <a:cubicBezTo>
                    <a:pt x="32" y="64"/>
                    <a:pt x="32" y="64"/>
                    <a:pt x="32" y="64"/>
                  </a:cubicBezTo>
                  <a:cubicBezTo>
                    <a:pt x="32" y="64"/>
                    <a:pt x="32" y="64"/>
                    <a:pt x="32" y="64"/>
                  </a:cubicBezTo>
                  <a:cubicBezTo>
                    <a:pt x="32" y="63"/>
                    <a:pt x="32" y="63"/>
                    <a:pt x="32" y="63"/>
                  </a:cubicBezTo>
                  <a:cubicBezTo>
                    <a:pt x="33" y="63"/>
                    <a:pt x="33" y="63"/>
                    <a:pt x="33" y="63"/>
                  </a:cubicBezTo>
                  <a:cubicBezTo>
                    <a:pt x="33" y="63"/>
                    <a:pt x="33" y="63"/>
                    <a:pt x="33" y="63"/>
                  </a:cubicBezTo>
                  <a:cubicBezTo>
                    <a:pt x="33" y="64"/>
                    <a:pt x="33" y="64"/>
                    <a:pt x="33" y="64"/>
                  </a:cubicBezTo>
                  <a:cubicBezTo>
                    <a:pt x="33" y="64"/>
                    <a:pt x="33" y="64"/>
                    <a:pt x="33" y="64"/>
                  </a:cubicBezTo>
                  <a:cubicBezTo>
                    <a:pt x="33" y="64"/>
                    <a:pt x="33" y="64"/>
                    <a:pt x="33" y="64"/>
                  </a:cubicBezTo>
                  <a:cubicBezTo>
                    <a:pt x="33" y="64"/>
                    <a:pt x="33" y="64"/>
                    <a:pt x="33" y="64"/>
                  </a:cubicBezTo>
                  <a:cubicBezTo>
                    <a:pt x="33" y="64"/>
                    <a:pt x="33" y="64"/>
                    <a:pt x="33" y="64"/>
                  </a:cubicBezTo>
                  <a:cubicBezTo>
                    <a:pt x="33" y="64"/>
                    <a:pt x="33" y="64"/>
                    <a:pt x="33" y="64"/>
                  </a:cubicBezTo>
                  <a:cubicBezTo>
                    <a:pt x="33" y="63"/>
                    <a:pt x="33" y="63"/>
                    <a:pt x="33" y="63"/>
                  </a:cubicBezTo>
                  <a:cubicBezTo>
                    <a:pt x="33" y="64"/>
                    <a:pt x="33" y="64"/>
                    <a:pt x="33" y="64"/>
                  </a:cubicBezTo>
                  <a:cubicBezTo>
                    <a:pt x="33" y="64"/>
                    <a:pt x="33" y="64"/>
                    <a:pt x="33" y="64"/>
                  </a:cubicBezTo>
                  <a:cubicBezTo>
                    <a:pt x="33" y="64"/>
                    <a:pt x="33" y="64"/>
                    <a:pt x="33" y="64"/>
                  </a:cubicBezTo>
                  <a:cubicBezTo>
                    <a:pt x="34" y="64"/>
                    <a:pt x="34" y="64"/>
                    <a:pt x="34" y="64"/>
                  </a:cubicBezTo>
                  <a:cubicBezTo>
                    <a:pt x="34" y="64"/>
                    <a:pt x="34" y="64"/>
                    <a:pt x="34" y="64"/>
                  </a:cubicBezTo>
                  <a:cubicBezTo>
                    <a:pt x="34" y="64"/>
                    <a:pt x="34" y="64"/>
                    <a:pt x="34" y="64"/>
                  </a:cubicBezTo>
                  <a:cubicBezTo>
                    <a:pt x="34" y="64"/>
                    <a:pt x="34" y="64"/>
                    <a:pt x="34" y="64"/>
                  </a:cubicBezTo>
                  <a:cubicBezTo>
                    <a:pt x="34" y="64"/>
                    <a:pt x="34" y="64"/>
                    <a:pt x="34" y="64"/>
                  </a:cubicBezTo>
                  <a:cubicBezTo>
                    <a:pt x="34" y="64"/>
                    <a:pt x="34" y="64"/>
                    <a:pt x="34" y="64"/>
                  </a:cubicBezTo>
                  <a:cubicBezTo>
                    <a:pt x="34" y="64"/>
                    <a:pt x="34" y="64"/>
                    <a:pt x="34" y="64"/>
                  </a:cubicBezTo>
                  <a:cubicBezTo>
                    <a:pt x="34" y="64"/>
                    <a:pt x="34" y="64"/>
                    <a:pt x="34" y="64"/>
                  </a:cubicBezTo>
                  <a:cubicBezTo>
                    <a:pt x="34" y="64"/>
                    <a:pt x="34" y="64"/>
                    <a:pt x="34" y="64"/>
                  </a:cubicBezTo>
                  <a:cubicBezTo>
                    <a:pt x="35" y="64"/>
                    <a:pt x="35" y="64"/>
                    <a:pt x="35" y="64"/>
                  </a:cubicBezTo>
                  <a:cubicBezTo>
                    <a:pt x="35" y="63"/>
                    <a:pt x="35" y="63"/>
                    <a:pt x="35" y="63"/>
                  </a:cubicBezTo>
                  <a:cubicBezTo>
                    <a:pt x="35" y="63"/>
                    <a:pt x="35" y="63"/>
                    <a:pt x="35" y="63"/>
                  </a:cubicBezTo>
                  <a:cubicBezTo>
                    <a:pt x="35" y="64"/>
                    <a:pt x="35" y="64"/>
                    <a:pt x="35" y="64"/>
                  </a:cubicBezTo>
                  <a:cubicBezTo>
                    <a:pt x="35" y="64"/>
                    <a:pt x="35" y="64"/>
                    <a:pt x="35" y="64"/>
                  </a:cubicBezTo>
                  <a:cubicBezTo>
                    <a:pt x="35" y="64"/>
                    <a:pt x="35" y="64"/>
                    <a:pt x="35" y="64"/>
                  </a:cubicBezTo>
                  <a:cubicBezTo>
                    <a:pt x="35" y="64"/>
                    <a:pt x="35" y="64"/>
                    <a:pt x="35" y="64"/>
                  </a:cubicBezTo>
                  <a:cubicBezTo>
                    <a:pt x="35" y="64"/>
                    <a:pt x="35" y="64"/>
                    <a:pt x="35" y="64"/>
                  </a:cubicBezTo>
                  <a:cubicBezTo>
                    <a:pt x="35" y="64"/>
                    <a:pt x="35" y="64"/>
                    <a:pt x="35" y="64"/>
                  </a:cubicBezTo>
                  <a:cubicBezTo>
                    <a:pt x="35" y="64"/>
                    <a:pt x="35" y="64"/>
                    <a:pt x="35" y="64"/>
                  </a:cubicBezTo>
                  <a:cubicBezTo>
                    <a:pt x="35" y="64"/>
                    <a:pt x="35" y="64"/>
                    <a:pt x="35" y="64"/>
                  </a:cubicBezTo>
                  <a:cubicBezTo>
                    <a:pt x="35" y="63"/>
                    <a:pt x="35" y="63"/>
                    <a:pt x="35" y="63"/>
                  </a:cubicBezTo>
                  <a:cubicBezTo>
                    <a:pt x="35" y="63"/>
                    <a:pt x="35" y="63"/>
                    <a:pt x="35" y="63"/>
                  </a:cubicBezTo>
                  <a:cubicBezTo>
                    <a:pt x="36" y="63"/>
                    <a:pt x="36" y="63"/>
                    <a:pt x="36" y="63"/>
                  </a:cubicBezTo>
                  <a:cubicBezTo>
                    <a:pt x="36" y="63"/>
                    <a:pt x="36" y="63"/>
                    <a:pt x="36" y="63"/>
                  </a:cubicBezTo>
                  <a:cubicBezTo>
                    <a:pt x="36" y="63"/>
                    <a:pt x="36" y="63"/>
                    <a:pt x="36" y="63"/>
                  </a:cubicBezTo>
                  <a:cubicBezTo>
                    <a:pt x="36" y="63"/>
                    <a:pt x="36" y="63"/>
                    <a:pt x="36" y="63"/>
                  </a:cubicBezTo>
                  <a:cubicBezTo>
                    <a:pt x="36" y="63"/>
                    <a:pt x="36" y="63"/>
                    <a:pt x="36" y="63"/>
                  </a:cubicBezTo>
                  <a:cubicBezTo>
                    <a:pt x="36" y="63"/>
                    <a:pt x="36" y="63"/>
                    <a:pt x="36" y="63"/>
                  </a:cubicBezTo>
                  <a:cubicBezTo>
                    <a:pt x="36" y="63"/>
                    <a:pt x="36" y="63"/>
                    <a:pt x="36" y="63"/>
                  </a:cubicBezTo>
                  <a:cubicBezTo>
                    <a:pt x="36" y="63"/>
                    <a:pt x="36" y="63"/>
                    <a:pt x="36" y="63"/>
                  </a:cubicBezTo>
                  <a:cubicBezTo>
                    <a:pt x="36" y="63"/>
                    <a:pt x="36" y="63"/>
                    <a:pt x="36" y="63"/>
                  </a:cubicBezTo>
                  <a:cubicBezTo>
                    <a:pt x="36" y="62"/>
                    <a:pt x="36" y="62"/>
                    <a:pt x="36" y="62"/>
                  </a:cubicBezTo>
                  <a:cubicBezTo>
                    <a:pt x="36" y="62"/>
                    <a:pt x="36" y="62"/>
                    <a:pt x="36" y="62"/>
                  </a:cubicBezTo>
                  <a:cubicBezTo>
                    <a:pt x="36" y="62"/>
                    <a:pt x="36" y="62"/>
                    <a:pt x="36" y="62"/>
                  </a:cubicBezTo>
                  <a:cubicBezTo>
                    <a:pt x="36" y="61"/>
                    <a:pt x="36" y="61"/>
                    <a:pt x="36" y="61"/>
                  </a:cubicBezTo>
                  <a:cubicBezTo>
                    <a:pt x="36" y="61"/>
                    <a:pt x="36" y="61"/>
                    <a:pt x="36" y="61"/>
                  </a:cubicBezTo>
                  <a:cubicBezTo>
                    <a:pt x="35" y="61"/>
                    <a:pt x="35" y="61"/>
                    <a:pt x="35" y="61"/>
                  </a:cubicBezTo>
                  <a:cubicBezTo>
                    <a:pt x="35" y="61"/>
                    <a:pt x="35" y="61"/>
                    <a:pt x="35" y="61"/>
                  </a:cubicBezTo>
                  <a:cubicBezTo>
                    <a:pt x="35" y="60"/>
                    <a:pt x="35" y="60"/>
                    <a:pt x="35" y="60"/>
                  </a:cubicBezTo>
                  <a:cubicBezTo>
                    <a:pt x="35" y="60"/>
                    <a:pt x="35" y="60"/>
                    <a:pt x="35" y="60"/>
                  </a:cubicBezTo>
                  <a:cubicBezTo>
                    <a:pt x="35" y="60"/>
                    <a:pt x="35" y="60"/>
                    <a:pt x="35" y="60"/>
                  </a:cubicBezTo>
                  <a:cubicBezTo>
                    <a:pt x="34" y="60"/>
                    <a:pt x="34" y="60"/>
                    <a:pt x="34" y="60"/>
                  </a:cubicBezTo>
                  <a:cubicBezTo>
                    <a:pt x="34" y="60"/>
                    <a:pt x="34" y="60"/>
                    <a:pt x="34" y="60"/>
                  </a:cubicBezTo>
                  <a:cubicBezTo>
                    <a:pt x="34" y="60"/>
                    <a:pt x="34" y="60"/>
                    <a:pt x="34" y="60"/>
                  </a:cubicBezTo>
                  <a:cubicBezTo>
                    <a:pt x="34" y="60"/>
                    <a:pt x="34" y="60"/>
                    <a:pt x="34" y="60"/>
                  </a:cubicBezTo>
                  <a:cubicBezTo>
                    <a:pt x="34" y="60"/>
                    <a:pt x="34" y="60"/>
                    <a:pt x="34" y="60"/>
                  </a:cubicBezTo>
                  <a:cubicBezTo>
                    <a:pt x="33" y="59"/>
                    <a:pt x="33" y="59"/>
                    <a:pt x="33" y="59"/>
                  </a:cubicBezTo>
                  <a:cubicBezTo>
                    <a:pt x="33" y="59"/>
                    <a:pt x="33" y="59"/>
                    <a:pt x="33" y="59"/>
                  </a:cubicBezTo>
                  <a:cubicBezTo>
                    <a:pt x="33" y="59"/>
                    <a:pt x="33" y="59"/>
                    <a:pt x="33" y="59"/>
                  </a:cubicBezTo>
                  <a:cubicBezTo>
                    <a:pt x="34" y="59"/>
                    <a:pt x="34" y="59"/>
                    <a:pt x="34" y="59"/>
                  </a:cubicBezTo>
                  <a:cubicBezTo>
                    <a:pt x="35" y="60"/>
                    <a:pt x="35" y="60"/>
                    <a:pt x="35" y="60"/>
                  </a:cubicBezTo>
                  <a:cubicBezTo>
                    <a:pt x="35" y="60"/>
                    <a:pt x="35" y="60"/>
                    <a:pt x="35" y="60"/>
                  </a:cubicBezTo>
                  <a:cubicBezTo>
                    <a:pt x="36" y="60"/>
                    <a:pt x="36" y="60"/>
                    <a:pt x="36" y="60"/>
                  </a:cubicBezTo>
                  <a:cubicBezTo>
                    <a:pt x="36" y="60"/>
                    <a:pt x="36" y="60"/>
                    <a:pt x="36" y="60"/>
                  </a:cubicBezTo>
                  <a:cubicBezTo>
                    <a:pt x="37" y="60"/>
                    <a:pt x="37" y="60"/>
                    <a:pt x="37" y="60"/>
                  </a:cubicBezTo>
                  <a:cubicBezTo>
                    <a:pt x="37" y="60"/>
                    <a:pt x="37" y="60"/>
                    <a:pt x="37" y="60"/>
                  </a:cubicBezTo>
                  <a:cubicBezTo>
                    <a:pt x="37" y="60"/>
                    <a:pt x="37" y="60"/>
                    <a:pt x="37" y="60"/>
                  </a:cubicBezTo>
                  <a:cubicBezTo>
                    <a:pt x="37" y="59"/>
                    <a:pt x="37" y="59"/>
                    <a:pt x="37" y="59"/>
                  </a:cubicBezTo>
                  <a:cubicBezTo>
                    <a:pt x="37" y="59"/>
                    <a:pt x="37" y="59"/>
                    <a:pt x="37" y="59"/>
                  </a:cubicBezTo>
                  <a:cubicBezTo>
                    <a:pt x="37" y="59"/>
                    <a:pt x="37" y="59"/>
                    <a:pt x="37" y="59"/>
                  </a:cubicBezTo>
                  <a:cubicBezTo>
                    <a:pt x="36" y="59"/>
                    <a:pt x="36" y="59"/>
                    <a:pt x="36" y="59"/>
                  </a:cubicBezTo>
                  <a:cubicBezTo>
                    <a:pt x="37" y="58"/>
                    <a:pt x="37" y="58"/>
                    <a:pt x="37" y="58"/>
                  </a:cubicBezTo>
                  <a:cubicBezTo>
                    <a:pt x="37" y="58"/>
                    <a:pt x="37" y="58"/>
                    <a:pt x="37" y="58"/>
                  </a:cubicBezTo>
                  <a:cubicBezTo>
                    <a:pt x="37" y="59"/>
                    <a:pt x="37" y="59"/>
                    <a:pt x="37" y="59"/>
                  </a:cubicBezTo>
                  <a:cubicBezTo>
                    <a:pt x="37" y="59"/>
                    <a:pt x="37" y="59"/>
                    <a:pt x="37" y="59"/>
                  </a:cubicBezTo>
                  <a:cubicBezTo>
                    <a:pt x="37" y="59"/>
                    <a:pt x="37" y="59"/>
                    <a:pt x="37" y="59"/>
                  </a:cubicBezTo>
                  <a:cubicBezTo>
                    <a:pt x="37" y="59"/>
                    <a:pt x="37" y="59"/>
                    <a:pt x="37" y="59"/>
                  </a:cubicBezTo>
                  <a:cubicBezTo>
                    <a:pt x="37" y="59"/>
                    <a:pt x="37" y="59"/>
                    <a:pt x="37" y="59"/>
                  </a:cubicBezTo>
                  <a:cubicBezTo>
                    <a:pt x="38" y="59"/>
                    <a:pt x="38" y="59"/>
                    <a:pt x="38" y="59"/>
                  </a:cubicBezTo>
                  <a:cubicBezTo>
                    <a:pt x="39" y="59"/>
                    <a:pt x="39" y="59"/>
                    <a:pt x="39" y="59"/>
                  </a:cubicBezTo>
                  <a:cubicBezTo>
                    <a:pt x="39" y="59"/>
                    <a:pt x="39" y="59"/>
                    <a:pt x="39" y="59"/>
                  </a:cubicBezTo>
                  <a:cubicBezTo>
                    <a:pt x="39" y="58"/>
                    <a:pt x="39" y="58"/>
                    <a:pt x="39" y="58"/>
                  </a:cubicBezTo>
                  <a:cubicBezTo>
                    <a:pt x="39" y="58"/>
                    <a:pt x="39" y="58"/>
                    <a:pt x="39" y="58"/>
                  </a:cubicBezTo>
                  <a:cubicBezTo>
                    <a:pt x="39" y="57"/>
                    <a:pt x="39" y="57"/>
                    <a:pt x="39" y="57"/>
                  </a:cubicBezTo>
                  <a:cubicBezTo>
                    <a:pt x="39" y="57"/>
                    <a:pt x="39" y="57"/>
                    <a:pt x="39" y="57"/>
                  </a:cubicBezTo>
                  <a:cubicBezTo>
                    <a:pt x="39" y="57"/>
                    <a:pt x="39" y="57"/>
                    <a:pt x="39" y="57"/>
                  </a:cubicBezTo>
                  <a:cubicBezTo>
                    <a:pt x="39" y="57"/>
                    <a:pt x="39" y="57"/>
                    <a:pt x="39" y="57"/>
                  </a:cubicBezTo>
                  <a:cubicBezTo>
                    <a:pt x="39" y="57"/>
                    <a:pt x="39" y="57"/>
                    <a:pt x="39" y="57"/>
                  </a:cubicBezTo>
                  <a:cubicBezTo>
                    <a:pt x="39" y="57"/>
                    <a:pt x="39" y="57"/>
                    <a:pt x="39" y="57"/>
                  </a:cubicBezTo>
                  <a:cubicBezTo>
                    <a:pt x="39" y="57"/>
                    <a:pt x="39" y="57"/>
                    <a:pt x="39" y="57"/>
                  </a:cubicBezTo>
                  <a:cubicBezTo>
                    <a:pt x="39" y="58"/>
                    <a:pt x="39" y="58"/>
                    <a:pt x="39" y="58"/>
                  </a:cubicBezTo>
                  <a:cubicBezTo>
                    <a:pt x="39" y="58"/>
                    <a:pt x="39" y="58"/>
                    <a:pt x="39" y="58"/>
                  </a:cubicBezTo>
                  <a:cubicBezTo>
                    <a:pt x="40" y="57"/>
                    <a:pt x="40" y="57"/>
                    <a:pt x="40" y="57"/>
                  </a:cubicBezTo>
                  <a:cubicBezTo>
                    <a:pt x="40" y="57"/>
                    <a:pt x="40" y="57"/>
                    <a:pt x="40" y="57"/>
                  </a:cubicBezTo>
                  <a:cubicBezTo>
                    <a:pt x="40" y="57"/>
                    <a:pt x="40" y="57"/>
                    <a:pt x="40" y="57"/>
                  </a:cubicBezTo>
                  <a:cubicBezTo>
                    <a:pt x="40" y="56"/>
                    <a:pt x="40" y="56"/>
                    <a:pt x="40" y="56"/>
                  </a:cubicBezTo>
                  <a:cubicBezTo>
                    <a:pt x="40" y="57"/>
                    <a:pt x="40" y="57"/>
                    <a:pt x="40" y="57"/>
                  </a:cubicBezTo>
                  <a:cubicBezTo>
                    <a:pt x="40" y="57"/>
                    <a:pt x="40" y="57"/>
                    <a:pt x="40" y="57"/>
                  </a:cubicBezTo>
                  <a:cubicBezTo>
                    <a:pt x="40" y="57"/>
                    <a:pt x="40" y="57"/>
                    <a:pt x="40" y="57"/>
                  </a:cubicBezTo>
                  <a:cubicBezTo>
                    <a:pt x="40" y="57"/>
                    <a:pt x="40" y="57"/>
                    <a:pt x="40" y="57"/>
                  </a:cubicBezTo>
                  <a:cubicBezTo>
                    <a:pt x="40" y="57"/>
                    <a:pt x="40" y="57"/>
                    <a:pt x="40" y="57"/>
                  </a:cubicBezTo>
                  <a:cubicBezTo>
                    <a:pt x="40" y="56"/>
                    <a:pt x="40" y="56"/>
                    <a:pt x="40" y="56"/>
                  </a:cubicBezTo>
                  <a:cubicBezTo>
                    <a:pt x="40" y="56"/>
                    <a:pt x="40" y="56"/>
                    <a:pt x="40" y="56"/>
                  </a:cubicBezTo>
                  <a:cubicBezTo>
                    <a:pt x="40" y="55"/>
                    <a:pt x="40" y="55"/>
                    <a:pt x="40" y="55"/>
                  </a:cubicBezTo>
                  <a:cubicBezTo>
                    <a:pt x="40" y="55"/>
                    <a:pt x="40" y="55"/>
                    <a:pt x="40" y="55"/>
                  </a:cubicBezTo>
                  <a:cubicBezTo>
                    <a:pt x="40" y="55"/>
                    <a:pt x="40" y="55"/>
                    <a:pt x="40" y="55"/>
                  </a:cubicBezTo>
                  <a:cubicBezTo>
                    <a:pt x="40" y="55"/>
                    <a:pt x="40" y="55"/>
                    <a:pt x="40" y="55"/>
                  </a:cubicBezTo>
                  <a:cubicBezTo>
                    <a:pt x="40" y="55"/>
                    <a:pt x="40" y="55"/>
                    <a:pt x="40" y="55"/>
                  </a:cubicBezTo>
                  <a:cubicBezTo>
                    <a:pt x="40" y="55"/>
                    <a:pt x="40" y="55"/>
                    <a:pt x="40" y="55"/>
                  </a:cubicBezTo>
                  <a:cubicBezTo>
                    <a:pt x="40" y="56"/>
                    <a:pt x="40" y="56"/>
                    <a:pt x="40" y="56"/>
                  </a:cubicBezTo>
                  <a:cubicBezTo>
                    <a:pt x="41" y="56"/>
                    <a:pt x="41" y="56"/>
                    <a:pt x="41" y="56"/>
                  </a:cubicBezTo>
                  <a:cubicBezTo>
                    <a:pt x="41" y="56"/>
                    <a:pt x="41" y="56"/>
                    <a:pt x="41" y="56"/>
                  </a:cubicBezTo>
                  <a:cubicBezTo>
                    <a:pt x="41" y="56"/>
                    <a:pt x="41" y="56"/>
                    <a:pt x="41" y="56"/>
                  </a:cubicBezTo>
                  <a:cubicBezTo>
                    <a:pt x="41" y="56"/>
                    <a:pt x="41" y="56"/>
                    <a:pt x="41" y="56"/>
                  </a:cubicBezTo>
                  <a:cubicBezTo>
                    <a:pt x="41" y="57"/>
                    <a:pt x="41" y="57"/>
                    <a:pt x="41" y="57"/>
                  </a:cubicBezTo>
                  <a:cubicBezTo>
                    <a:pt x="42" y="57"/>
                    <a:pt x="42" y="57"/>
                    <a:pt x="42" y="57"/>
                  </a:cubicBezTo>
                  <a:cubicBezTo>
                    <a:pt x="42" y="56"/>
                    <a:pt x="42" y="56"/>
                    <a:pt x="42" y="56"/>
                  </a:cubicBezTo>
                  <a:cubicBezTo>
                    <a:pt x="42" y="56"/>
                    <a:pt x="42" y="56"/>
                    <a:pt x="42" y="56"/>
                  </a:cubicBezTo>
                  <a:cubicBezTo>
                    <a:pt x="42" y="56"/>
                    <a:pt x="42" y="56"/>
                    <a:pt x="42" y="56"/>
                  </a:cubicBezTo>
                  <a:cubicBezTo>
                    <a:pt x="41" y="55"/>
                    <a:pt x="41" y="55"/>
                    <a:pt x="41" y="55"/>
                  </a:cubicBezTo>
                  <a:cubicBezTo>
                    <a:pt x="41" y="55"/>
                    <a:pt x="41" y="55"/>
                    <a:pt x="41" y="55"/>
                  </a:cubicBezTo>
                  <a:cubicBezTo>
                    <a:pt x="41" y="55"/>
                    <a:pt x="41" y="55"/>
                    <a:pt x="41" y="55"/>
                  </a:cubicBezTo>
                  <a:cubicBezTo>
                    <a:pt x="41" y="55"/>
                    <a:pt x="41" y="55"/>
                    <a:pt x="41" y="55"/>
                  </a:cubicBezTo>
                  <a:cubicBezTo>
                    <a:pt x="41" y="55"/>
                    <a:pt x="41" y="55"/>
                    <a:pt x="41" y="55"/>
                  </a:cubicBezTo>
                  <a:cubicBezTo>
                    <a:pt x="42" y="55"/>
                    <a:pt x="42" y="55"/>
                    <a:pt x="42" y="55"/>
                  </a:cubicBezTo>
                  <a:cubicBezTo>
                    <a:pt x="42" y="55"/>
                    <a:pt x="42" y="55"/>
                    <a:pt x="42" y="55"/>
                  </a:cubicBezTo>
                  <a:cubicBezTo>
                    <a:pt x="42" y="55"/>
                    <a:pt x="42" y="55"/>
                    <a:pt x="42" y="55"/>
                  </a:cubicBezTo>
                  <a:cubicBezTo>
                    <a:pt x="42" y="56"/>
                    <a:pt x="42" y="56"/>
                    <a:pt x="42" y="56"/>
                  </a:cubicBezTo>
                  <a:cubicBezTo>
                    <a:pt x="42" y="56"/>
                    <a:pt x="42" y="56"/>
                    <a:pt x="42" y="56"/>
                  </a:cubicBezTo>
                  <a:cubicBezTo>
                    <a:pt x="42" y="56"/>
                    <a:pt x="42" y="56"/>
                    <a:pt x="42" y="56"/>
                  </a:cubicBezTo>
                  <a:cubicBezTo>
                    <a:pt x="42" y="56"/>
                    <a:pt x="42" y="56"/>
                    <a:pt x="42" y="56"/>
                  </a:cubicBezTo>
                  <a:cubicBezTo>
                    <a:pt x="42" y="56"/>
                    <a:pt x="42" y="56"/>
                    <a:pt x="42" y="56"/>
                  </a:cubicBezTo>
                  <a:cubicBezTo>
                    <a:pt x="42" y="56"/>
                    <a:pt x="42" y="56"/>
                    <a:pt x="42" y="56"/>
                  </a:cubicBezTo>
                  <a:cubicBezTo>
                    <a:pt x="43" y="55"/>
                    <a:pt x="43" y="55"/>
                    <a:pt x="43" y="55"/>
                  </a:cubicBezTo>
                  <a:cubicBezTo>
                    <a:pt x="43" y="55"/>
                    <a:pt x="43" y="55"/>
                    <a:pt x="43" y="55"/>
                  </a:cubicBezTo>
                  <a:cubicBezTo>
                    <a:pt x="43" y="55"/>
                    <a:pt x="43" y="55"/>
                    <a:pt x="43" y="55"/>
                  </a:cubicBezTo>
                  <a:cubicBezTo>
                    <a:pt x="43" y="55"/>
                    <a:pt x="43" y="55"/>
                    <a:pt x="43" y="55"/>
                  </a:cubicBezTo>
                  <a:cubicBezTo>
                    <a:pt x="44" y="55"/>
                    <a:pt x="44" y="55"/>
                    <a:pt x="44" y="55"/>
                  </a:cubicBezTo>
                  <a:cubicBezTo>
                    <a:pt x="44" y="55"/>
                    <a:pt x="44" y="55"/>
                    <a:pt x="44" y="55"/>
                  </a:cubicBezTo>
                  <a:cubicBezTo>
                    <a:pt x="44" y="55"/>
                    <a:pt x="44" y="55"/>
                    <a:pt x="44" y="55"/>
                  </a:cubicBezTo>
                  <a:cubicBezTo>
                    <a:pt x="44" y="55"/>
                    <a:pt x="44" y="55"/>
                    <a:pt x="44" y="55"/>
                  </a:cubicBezTo>
                  <a:cubicBezTo>
                    <a:pt x="44" y="55"/>
                    <a:pt x="44" y="55"/>
                    <a:pt x="44" y="55"/>
                  </a:cubicBezTo>
                  <a:cubicBezTo>
                    <a:pt x="44" y="55"/>
                    <a:pt x="44" y="55"/>
                    <a:pt x="44" y="55"/>
                  </a:cubicBezTo>
                  <a:cubicBezTo>
                    <a:pt x="44" y="55"/>
                    <a:pt x="44" y="55"/>
                    <a:pt x="44" y="55"/>
                  </a:cubicBezTo>
                  <a:cubicBezTo>
                    <a:pt x="45" y="55"/>
                    <a:pt x="45" y="55"/>
                    <a:pt x="45" y="55"/>
                  </a:cubicBezTo>
                  <a:cubicBezTo>
                    <a:pt x="45" y="55"/>
                    <a:pt x="45" y="55"/>
                    <a:pt x="45" y="55"/>
                  </a:cubicBezTo>
                  <a:cubicBezTo>
                    <a:pt x="44" y="55"/>
                    <a:pt x="44" y="55"/>
                    <a:pt x="44" y="55"/>
                  </a:cubicBezTo>
                  <a:cubicBezTo>
                    <a:pt x="44" y="55"/>
                    <a:pt x="44" y="55"/>
                    <a:pt x="44" y="55"/>
                  </a:cubicBezTo>
                  <a:cubicBezTo>
                    <a:pt x="44" y="54"/>
                    <a:pt x="44" y="54"/>
                    <a:pt x="44" y="54"/>
                  </a:cubicBezTo>
                  <a:cubicBezTo>
                    <a:pt x="44" y="54"/>
                    <a:pt x="44" y="54"/>
                    <a:pt x="44" y="54"/>
                  </a:cubicBezTo>
                  <a:cubicBezTo>
                    <a:pt x="44" y="54"/>
                    <a:pt x="44" y="54"/>
                    <a:pt x="44" y="54"/>
                  </a:cubicBezTo>
                  <a:cubicBezTo>
                    <a:pt x="44" y="54"/>
                    <a:pt x="44" y="54"/>
                    <a:pt x="44" y="54"/>
                  </a:cubicBezTo>
                  <a:cubicBezTo>
                    <a:pt x="44" y="54"/>
                    <a:pt x="44" y="54"/>
                    <a:pt x="44" y="54"/>
                  </a:cubicBezTo>
                  <a:cubicBezTo>
                    <a:pt x="46" y="53"/>
                    <a:pt x="46" y="53"/>
                    <a:pt x="46" y="53"/>
                  </a:cubicBezTo>
                  <a:cubicBezTo>
                    <a:pt x="46" y="53"/>
                    <a:pt x="46" y="53"/>
                    <a:pt x="46" y="53"/>
                  </a:cubicBezTo>
                  <a:cubicBezTo>
                    <a:pt x="46" y="53"/>
                    <a:pt x="46" y="53"/>
                    <a:pt x="46" y="53"/>
                  </a:cubicBezTo>
                  <a:cubicBezTo>
                    <a:pt x="46" y="52"/>
                    <a:pt x="46" y="52"/>
                    <a:pt x="46" y="52"/>
                  </a:cubicBezTo>
                  <a:cubicBezTo>
                    <a:pt x="47" y="52"/>
                    <a:pt x="47" y="52"/>
                    <a:pt x="47" y="52"/>
                  </a:cubicBezTo>
                  <a:cubicBezTo>
                    <a:pt x="47" y="52"/>
                    <a:pt x="47" y="52"/>
                    <a:pt x="47" y="52"/>
                  </a:cubicBezTo>
                  <a:cubicBezTo>
                    <a:pt x="47" y="52"/>
                    <a:pt x="47" y="52"/>
                    <a:pt x="47" y="52"/>
                  </a:cubicBezTo>
                  <a:cubicBezTo>
                    <a:pt x="48" y="52"/>
                    <a:pt x="48" y="52"/>
                    <a:pt x="48" y="52"/>
                  </a:cubicBezTo>
                  <a:cubicBezTo>
                    <a:pt x="48" y="52"/>
                    <a:pt x="48" y="52"/>
                    <a:pt x="48" y="52"/>
                  </a:cubicBezTo>
                  <a:cubicBezTo>
                    <a:pt x="47" y="52"/>
                    <a:pt x="47" y="52"/>
                    <a:pt x="47" y="52"/>
                  </a:cubicBezTo>
                  <a:cubicBezTo>
                    <a:pt x="47" y="52"/>
                    <a:pt x="47" y="52"/>
                    <a:pt x="47" y="52"/>
                  </a:cubicBezTo>
                  <a:cubicBezTo>
                    <a:pt x="47" y="51"/>
                    <a:pt x="47" y="51"/>
                    <a:pt x="47" y="51"/>
                  </a:cubicBezTo>
                  <a:cubicBezTo>
                    <a:pt x="47" y="51"/>
                    <a:pt x="47" y="51"/>
                    <a:pt x="47" y="51"/>
                  </a:cubicBezTo>
                  <a:cubicBezTo>
                    <a:pt x="47" y="51"/>
                    <a:pt x="47" y="51"/>
                    <a:pt x="47" y="51"/>
                  </a:cubicBezTo>
                  <a:cubicBezTo>
                    <a:pt x="48" y="51"/>
                    <a:pt x="48" y="51"/>
                    <a:pt x="48" y="51"/>
                  </a:cubicBezTo>
                  <a:cubicBezTo>
                    <a:pt x="48" y="50"/>
                    <a:pt x="48" y="50"/>
                    <a:pt x="48" y="50"/>
                  </a:cubicBezTo>
                  <a:cubicBezTo>
                    <a:pt x="48" y="50"/>
                    <a:pt x="48" y="50"/>
                    <a:pt x="48" y="50"/>
                  </a:cubicBezTo>
                  <a:cubicBezTo>
                    <a:pt x="48" y="50"/>
                    <a:pt x="48" y="50"/>
                    <a:pt x="48" y="50"/>
                  </a:cubicBezTo>
                  <a:cubicBezTo>
                    <a:pt x="48" y="51"/>
                    <a:pt x="48" y="51"/>
                    <a:pt x="48" y="51"/>
                  </a:cubicBezTo>
                  <a:cubicBezTo>
                    <a:pt x="48" y="51"/>
                    <a:pt x="48" y="51"/>
                    <a:pt x="48" y="51"/>
                  </a:cubicBezTo>
                  <a:cubicBezTo>
                    <a:pt x="49" y="51"/>
                    <a:pt x="49" y="51"/>
                    <a:pt x="49" y="51"/>
                  </a:cubicBezTo>
                  <a:cubicBezTo>
                    <a:pt x="49" y="51"/>
                    <a:pt x="49" y="51"/>
                    <a:pt x="49" y="51"/>
                  </a:cubicBezTo>
                  <a:cubicBezTo>
                    <a:pt x="49" y="50"/>
                    <a:pt x="49" y="50"/>
                    <a:pt x="49" y="50"/>
                  </a:cubicBezTo>
                  <a:cubicBezTo>
                    <a:pt x="49" y="50"/>
                    <a:pt x="49" y="50"/>
                    <a:pt x="49" y="50"/>
                  </a:cubicBezTo>
                  <a:cubicBezTo>
                    <a:pt x="49" y="50"/>
                    <a:pt x="49" y="50"/>
                    <a:pt x="49" y="50"/>
                  </a:cubicBezTo>
                  <a:cubicBezTo>
                    <a:pt x="49" y="50"/>
                    <a:pt x="49" y="50"/>
                    <a:pt x="49" y="50"/>
                  </a:cubicBezTo>
                  <a:cubicBezTo>
                    <a:pt x="49" y="50"/>
                    <a:pt x="49" y="50"/>
                    <a:pt x="49" y="50"/>
                  </a:cubicBezTo>
                  <a:cubicBezTo>
                    <a:pt x="49" y="50"/>
                    <a:pt x="49" y="50"/>
                    <a:pt x="49" y="50"/>
                  </a:cubicBezTo>
                  <a:cubicBezTo>
                    <a:pt x="49" y="49"/>
                    <a:pt x="49" y="49"/>
                    <a:pt x="49" y="49"/>
                  </a:cubicBezTo>
                  <a:cubicBezTo>
                    <a:pt x="49" y="49"/>
                    <a:pt x="49" y="49"/>
                    <a:pt x="49" y="49"/>
                  </a:cubicBezTo>
                  <a:cubicBezTo>
                    <a:pt x="49" y="49"/>
                    <a:pt x="49" y="49"/>
                    <a:pt x="49" y="49"/>
                  </a:cubicBezTo>
                  <a:cubicBezTo>
                    <a:pt x="50" y="49"/>
                    <a:pt x="50" y="49"/>
                    <a:pt x="50" y="49"/>
                  </a:cubicBezTo>
                  <a:cubicBezTo>
                    <a:pt x="50" y="49"/>
                    <a:pt x="50" y="49"/>
                    <a:pt x="50" y="49"/>
                  </a:cubicBezTo>
                  <a:cubicBezTo>
                    <a:pt x="50" y="49"/>
                    <a:pt x="50" y="49"/>
                    <a:pt x="50" y="49"/>
                  </a:cubicBezTo>
                  <a:cubicBezTo>
                    <a:pt x="50" y="49"/>
                    <a:pt x="50" y="49"/>
                    <a:pt x="50" y="49"/>
                  </a:cubicBezTo>
                  <a:cubicBezTo>
                    <a:pt x="50" y="49"/>
                    <a:pt x="50" y="49"/>
                    <a:pt x="50" y="49"/>
                  </a:cubicBezTo>
                  <a:cubicBezTo>
                    <a:pt x="50" y="49"/>
                    <a:pt x="50" y="49"/>
                    <a:pt x="50" y="49"/>
                  </a:cubicBezTo>
                  <a:cubicBezTo>
                    <a:pt x="50" y="49"/>
                    <a:pt x="50" y="49"/>
                    <a:pt x="50" y="49"/>
                  </a:cubicBezTo>
                  <a:cubicBezTo>
                    <a:pt x="50" y="49"/>
                    <a:pt x="50" y="49"/>
                    <a:pt x="50" y="49"/>
                  </a:cubicBezTo>
                  <a:cubicBezTo>
                    <a:pt x="50" y="49"/>
                    <a:pt x="50" y="49"/>
                    <a:pt x="50" y="49"/>
                  </a:cubicBezTo>
                  <a:cubicBezTo>
                    <a:pt x="50" y="49"/>
                    <a:pt x="50" y="49"/>
                    <a:pt x="50" y="49"/>
                  </a:cubicBezTo>
                  <a:cubicBezTo>
                    <a:pt x="50" y="49"/>
                    <a:pt x="50" y="49"/>
                    <a:pt x="50" y="49"/>
                  </a:cubicBezTo>
                  <a:cubicBezTo>
                    <a:pt x="50" y="49"/>
                    <a:pt x="50" y="49"/>
                    <a:pt x="50" y="49"/>
                  </a:cubicBezTo>
                  <a:cubicBezTo>
                    <a:pt x="50" y="48"/>
                    <a:pt x="50" y="48"/>
                    <a:pt x="50" y="48"/>
                  </a:cubicBezTo>
                  <a:cubicBezTo>
                    <a:pt x="50" y="48"/>
                    <a:pt x="50" y="48"/>
                    <a:pt x="50" y="48"/>
                  </a:cubicBezTo>
                  <a:cubicBezTo>
                    <a:pt x="51" y="48"/>
                    <a:pt x="51" y="48"/>
                    <a:pt x="51" y="48"/>
                  </a:cubicBezTo>
                  <a:cubicBezTo>
                    <a:pt x="51" y="48"/>
                    <a:pt x="51" y="48"/>
                    <a:pt x="51" y="48"/>
                  </a:cubicBezTo>
                  <a:cubicBezTo>
                    <a:pt x="51" y="47"/>
                    <a:pt x="51" y="47"/>
                    <a:pt x="51" y="47"/>
                  </a:cubicBezTo>
                  <a:cubicBezTo>
                    <a:pt x="52" y="47"/>
                    <a:pt x="52" y="47"/>
                    <a:pt x="52" y="47"/>
                  </a:cubicBezTo>
                  <a:cubicBezTo>
                    <a:pt x="52" y="47"/>
                    <a:pt x="52" y="47"/>
                    <a:pt x="52" y="47"/>
                  </a:cubicBezTo>
                  <a:cubicBezTo>
                    <a:pt x="52" y="47"/>
                    <a:pt x="52" y="47"/>
                    <a:pt x="52" y="47"/>
                  </a:cubicBezTo>
                  <a:cubicBezTo>
                    <a:pt x="52" y="47"/>
                    <a:pt x="52" y="47"/>
                    <a:pt x="52" y="47"/>
                  </a:cubicBezTo>
                  <a:cubicBezTo>
                    <a:pt x="52" y="47"/>
                    <a:pt x="52" y="47"/>
                    <a:pt x="52" y="47"/>
                  </a:cubicBezTo>
                  <a:cubicBezTo>
                    <a:pt x="52" y="47"/>
                    <a:pt x="52" y="47"/>
                    <a:pt x="52" y="47"/>
                  </a:cubicBezTo>
                  <a:cubicBezTo>
                    <a:pt x="53" y="47"/>
                    <a:pt x="53" y="47"/>
                    <a:pt x="53" y="47"/>
                  </a:cubicBezTo>
                  <a:cubicBezTo>
                    <a:pt x="53" y="47"/>
                    <a:pt x="53" y="47"/>
                    <a:pt x="53" y="47"/>
                  </a:cubicBezTo>
                  <a:cubicBezTo>
                    <a:pt x="53" y="46"/>
                    <a:pt x="53" y="46"/>
                    <a:pt x="53" y="46"/>
                  </a:cubicBezTo>
                  <a:cubicBezTo>
                    <a:pt x="53" y="46"/>
                    <a:pt x="53" y="46"/>
                    <a:pt x="53" y="46"/>
                  </a:cubicBezTo>
                  <a:cubicBezTo>
                    <a:pt x="53" y="46"/>
                    <a:pt x="53" y="46"/>
                    <a:pt x="53" y="46"/>
                  </a:cubicBezTo>
                  <a:cubicBezTo>
                    <a:pt x="53" y="46"/>
                    <a:pt x="53" y="46"/>
                    <a:pt x="53" y="46"/>
                  </a:cubicBezTo>
                  <a:cubicBezTo>
                    <a:pt x="54" y="46"/>
                    <a:pt x="54" y="46"/>
                    <a:pt x="54" y="46"/>
                  </a:cubicBezTo>
                  <a:cubicBezTo>
                    <a:pt x="54" y="46"/>
                    <a:pt x="54" y="46"/>
                    <a:pt x="54" y="46"/>
                  </a:cubicBezTo>
                  <a:cubicBezTo>
                    <a:pt x="54" y="46"/>
                    <a:pt x="54" y="46"/>
                    <a:pt x="54" y="46"/>
                  </a:cubicBezTo>
                  <a:cubicBezTo>
                    <a:pt x="53" y="46"/>
                    <a:pt x="53" y="46"/>
                    <a:pt x="53" y="46"/>
                  </a:cubicBezTo>
                  <a:cubicBezTo>
                    <a:pt x="53" y="46"/>
                    <a:pt x="53" y="46"/>
                    <a:pt x="53" y="46"/>
                  </a:cubicBezTo>
                  <a:cubicBezTo>
                    <a:pt x="53" y="46"/>
                    <a:pt x="53" y="46"/>
                    <a:pt x="53" y="46"/>
                  </a:cubicBezTo>
                  <a:cubicBezTo>
                    <a:pt x="53" y="46"/>
                    <a:pt x="53" y="46"/>
                    <a:pt x="53" y="46"/>
                  </a:cubicBezTo>
                  <a:cubicBezTo>
                    <a:pt x="53" y="45"/>
                    <a:pt x="53" y="45"/>
                    <a:pt x="53" y="45"/>
                  </a:cubicBezTo>
                  <a:cubicBezTo>
                    <a:pt x="53" y="45"/>
                    <a:pt x="53" y="45"/>
                    <a:pt x="53" y="45"/>
                  </a:cubicBezTo>
                  <a:cubicBezTo>
                    <a:pt x="53" y="45"/>
                    <a:pt x="53" y="45"/>
                    <a:pt x="53" y="45"/>
                  </a:cubicBezTo>
                  <a:cubicBezTo>
                    <a:pt x="53" y="45"/>
                    <a:pt x="53" y="45"/>
                    <a:pt x="53" y="45"/>
                  </a:cubicBezTo>
                  <a:cubicBezTo>
                    <a:pt x="53" y="45"/>
                    <a:pt x="53" y="45"/>
                    <a:pt x="53" y="45"/>
                  </a:cubicBezTo>
                  <a:cubicBezTo>
                    <a:pt x="53" y="46"/>
                    <a:pt x="53" y="46"/>
                    <a:pt x="53" y="46"/>
                  </a:cubicBezTo>
                  <a:cubicBezTo>
                    <a:pt x="54" y="45"/>
                    <a:pt x="54" y="45"/>
                    <a:pt x="54" y="45"/>
                  </a:cubicBezTo>
                  <a:cubicBezTo>
                    <a:pt x="54" y="45"/>
                    <a:pt x="54" y="45"/>
                    <a:pt x="54" y="45"/>
                  </a:cubicBezTo>
                  <a:cubicBezTo>
                    <a:pt x="54" y="45"/>
                    <a:pt x="54" y="45"/>
                    <a:pt x="54" y="45"/>
                  </a:cubicBezTo>
                  <a:cubicBezTo>
                    <a:pt x="54" y="45"/>
                    <a:pt x="54" y="45"/>
                    <a:pt x="54" y="45"/>
                  </a:cubicBezTo>
                  <a:cubicBezTo>
                    <a:pt x="54" y="45"/>
                    <a:pt x="54" y="45"/>
                    <a:pt x="54" y="45"/>
                  </a:cubicBezTo>
                  <a:cubicBezTo>
                    <a:pt x="54" y="44"/>
                    <a:pt x="54" y="44"/>
                    <a:pt x="54" y="44"/>
                  </a:cubicBezTo>
                  <a:cubicBezTo>
                    <a:pt x="54" y="45"/>
                    <a:pt x="54" y="45"/>
                    <a:pt x="54" y="45"/>
                  </a:cubicBezTo>
                  <a:cubicBezTo>
                    <a:pt x="55" y="45"/>
                    <a:pt x="55" y="45"/>
                    <a:pt x="55" y="45"/>
                  </a:cubicBezTo>
                  <a:cubicBezTo>
                    <a:pt x="55" y="45"/>
                    <a:pt x="55" y="45"/>
                    <a:pt x="55" y="45"/>
                  </a:cubicBezTo>
                  <a:cubicBezTo>
                    <a:pt x="55" y="44"/>
                    <a:pt x="55" y="44"/>
                    <a:pt x="55" y="44"/>
                  </a:cubicBezTo>
                  <a:cubicBezTo>
                    <a:pt x="55" y="44"/>
                    <a:pt x="55" y="44"/>
                    <a:pt x="55" y="44"/>
                  </a:cubicBezTo>
                  <a:cubicBezTo>
                    <a:pt x="55" y="44"/>
                    <a:pt x="55" y="44"/>
                    <a:pt x="55" y="44"/>
                  </a:cubicBezTo>
                  <a:cubicBezTo>
                    <a:pt x="55" y="44"/>
                    <a:pt x="55" y="44"/>
                    <a:pt x="55" y="44"/>
                  </a:cubicBezTo>
                  <a:cubicBezTo>
                    <a:pt x="55" y="44"/>
                    <a:pt x="55" y="44"/>
                    <a:pt x="55" y="44"/>
                  </a:cubicBezTo>
                  <a:cubicBezTo>
                    <a:pt x="55" y="44"/>
                    <a:pt x="55" y="44"/>
                    <a:pt x="55" y="44"/>
                  </a:cubicBezTo>
                  <a:cubicBezTo>
                    <a:pt x="55" y="44"/>
                    <a:pt x="55" y="44"/>
                    <a:pt x="55" y="44"/>
                  </a:cubicBezTo>
                  <a:cubicBezTo>
                    <a:pt x="55" y="44"/>
                    <a:pt x="55" y="44"/>
                    <a:pt x="55" y="44"/>
                  </a:cubicBezTo>
                  <a:cubicBezTo>
                    <a:pt x="55" y="44"/>
                    <a:pt x="55" y="44"/>
                    <a:pt x="55" y="44"/>
                  </a:cubicBezTo>
                  <a:cubicBezTo>
                    <a:pt x="55" y="43"/>
                    <a:pt x="55" y="43"/>
                    <a:pt x="55" y="43"/>
                  </a:cubicBezTo>
                  <a:cubicBezTo>
                    <a:pt x="55" y="43"/>
                    <a:pt x="55" y="43"/>
                    <a:pt x="55" y="43"/>
                  </a:cubicBezTo>
                  <a:cubicBezTo>
                    <a:pt x="56" y="43"/>
                    <a:pt x="56" y="43"/>
                    <a:pt x="56" y="43"/>
                  </a:cubicBezTo>
                  <a:cubicBezTo>
                    <a:pt x="55" y="43"/>
                    <a:pt x="55" y="43"/>
                    <a:pt x="55" y="43"/>
                  </a:cubicBezTo>
                  <a:cubicBezTo>
                    <a:pt x="55" y="43"/>
                    <a:pt x="55" y="43"/>
                    <a:pt x="55" y="43"/>
                  </a:cubicBezTo>
                  <a:cubicBezTo>
                    <a:pt x="56" y="43"/>
                    <a:pt x="56" y="43"/>
                    <a:pt x="56" y="43"/>
                  </a:cubicBezTo>
                  <a:cubicBezTo>
                    <a:pt x="56" y="43"/>
                    <a:pt x="56" y="43"/>
                    <a:pt x="56" y="43"/>
                  </a:cubicBezTo>
                  <a:cubicBezTo>
                    <a:pt x="56" y="43"/>
                    <a:pt x="56" y="43"/>
                    <a:pt x="56" y="43"/>
                  </a:cubicBezTo>
                  <a:cubicBezTo>
                    <a:pt x="56" y="43"/>
                    <a:pt x="56" y="43"/>
                    <a:pt x="56" y="43"/>
                  </a:cubicBezTo>
                  <a:cubicBezTo>
                    <a:pt x="56" y="43"/>
                    <a:pt x="56" y="43"/>
                    <a:pt x="56" y="43"/>
                  </a:cubicBezTo>
                  <a:cubicBezTo>
                    <a:pt x="56" y="43"/>
                    <a:pt x="56" y="43"/>
                    <a:pt x="56" y="43"/>
                  </a:cubicBezTo>
                  <a:cubicBezTo>
                    <a:pt x="57" y="42"/>
                    <a:pt x="57" y="42"/>
                    <a:pt x="57" y="42"/>
                  </a:cubicBezTo>
                  <a:cubicBezTo>
                    <a:pt x="57" y="42"/>
                    <a:pt x="57" y="42"/>
                    <a:pt x="57" y="42"/>
                  </a:cubicBezTo>
                  <a:cubicBezTo>
                    <a:pt x="57" y="42"/>
                    <a:pt x="57" y="42"/>
                    <a:pt x="57" y="42"/>
                  </a:cubicBezTo>
                  <a:cubicBezTo>
                    <a:pt x="57" y="42"/>
                    <a:pt x="57" y="42"/>
                    <a:pt x="57" y="42"/>
                  </a:cubicBezTo>
                  <a:cubicBezTo>
                    <a:pt x="57" y="43"/>
                    <a:pt x="57" y="43"/>
                    <a:pt x="57" y="43"/>
                  </a:cubicBezTo>
                  <a:cubicBezTo>
                    <a:pt x="57" y="43"/>
                    <a:pt x="57" y="43"/>
                    <a:pt x="57" y="43"/>
                  </a:cubicBezTo>
                  <a:cubicBezTo>
                    <a:pt x="58" y="42"/>
                    <a:pt x="58" y="42"/>
                    <a:pt x="58" y="42"/>
                  </a:cubicBezTo>
                  <a:cubicBezTo>
                    <a:pt x="58" y="42"/>
                    <a:pt x="58" y="42"/>
                    <a:pt x="58" y="42"/>
                  </a:cubicBezTo>
                  <a:cubicBezTo>
                    <a:pt x="57" y="42"/>
                    <a:pt x="57" y="42"/>
                    <a:pt x="57" y="42"/>
                  </a:cubicBezTo>
                  <a:cubicBezTo>
                    <a:pt x="57" y="42"/>
                    <a:pt x="57" y="42"/>
                    <a:pt x="57" y="42"/>
                  </a:cubicBezTo>
                  <a:cubicBezTo>
                    <a:pt x="57" y="42"/>
                    <a:pt x="57" y="42"/>
                    <a:pt x="57" y="42"/>
                  </a:cubicBezTo>
                  <a:cubicBezTo>
                    <a:pt x="58" y="42"/>
                    <a:pt x="58" y="42"/>
                    <a:pt x="58" y="42"/>
                  </a:cubicBezTo>
                  <a:cubicBezTo>
                    <a:pt x="57" y="42"/>
                    <a:pt x="57" y="42"/>
                    <a:pt x="57" y="42"/>
                  </a:cubicBezTo>
                  <a:cubicBezTo>
                    <a:pt x="57" y="41"/>
                    <a:pt x="57" y="41"/>
                    <a:pt x="57" y="41"/>
                  </a:cubicBezTo>
                  <a:cubicBezTo>
                    <a:pt x="57" y="41"/>
                    <a:pt x="57" y="41"/>
                    <a:pt x="57" y="41"/>
                  </a:cubicBezTo>
                  <a:cubicBezTo>
                    <a:pt x="56" y="41"/>
                    <a:pt x="56" y="41"/>
                    <a:pt x="56" y="41"/>
                  </a:cubicBezTo>
                  <a:cubicBezTo>
                    <a:pt x="57" y="41"/>
                    <a:pt x="57" y="41"/>
                    <a:pt x="57" y="41"/>
                  </a:cubicBezTo>
                  <a:cubicBezTo>
                    <a:pt x="57" y="41"/>
                    <a:pt x="57" y="41"/>
                    <a:pt x="57" y="41"/>
                  </a:cubicBezTo>
                  <a:cubicBezTo>
                    <a:pt x="57" y="41"/>
                    <a:pt x="57" y="41"/>
                    <a:pt x="57" y="41"/>
                  </a:cubicBezTo>
                  <a:cubicBezTo>
                    <a:pt x="57" y="41"/>
                    <a:pt x="57" y="41"/>
                    <a:pt x="57" y="41"/>
                  </a:cubicBezTo>
                  <a:cubicBezTo>
                    <a:pt x="58" y="41"/>
                    <a:pt x="58" y="41"/>
                    <a:pt x="58" y="41"/>
                  </a:cubicBezTo>
                  <a:cubicBezTo>
                    <a:pt x="58" y="41"/>
                    <a:pt x="58" y="41"/>
                    <a:pt x="58" y="41"/>
                  </a:cubicBezTo>
                  <a:cubicBezTo>
                    <a:pt x="61" y="40"/>
                    <a:pt x="61" y="40"/>
                    <a:pt x="61" y="40"/>
                  </a:cubicBezTo>
                  <a:cubicBezTo>
                    <a:pt x="61" y="40"/>
                    <a:pt x="61" y="40"/>
                    <a:pt x="61" y="40"/>
                  </a:cubicBezTo>
                  <a:cubicBezTo>
                    <a:pt x="61" y="39"/>
                    <a:pt x="61" y="39"/>
                    <a:pt x="61" y="39"/>
                  </a:cubicBezTo>
                  <a:cubicBezTo>
                    <a:pt x="61" y="39"/>
                    <a:pt x="61" y="39"/>
                    <a:pt x="61" y="39"/>
                  </a:cubicBezTo>
                  <a:cubicBezTo>
                    <a:pt x="61" y="39"/>
                    <a:pt x="61" y="39"/>
                    <a:pt x="61" y="39"/>
                  </a:cubicBezTo>
                  <a:cubicBezTo>
                    <a:pt x="61" y="39"/>
                    <a:pt x="61" y="39"/>
                    <a:pt x="61" y="39"/>
                  </a:cubicBezTo>
                  <a:cubicBezTo>
                    <a:pt x="61" y="38"/>
                    <a:pt x="61" y="38"/>
                    <a:pt x="61" y="38"/>
                  </a:cubicBezTo>
                  <a:cubicBezTo>
                    <a:pt x="61" y="38"/>
                    <a:pt x="61" y="38"/>
                    <a:pt x="61" y="38"/>
                  </a:cubicBezTo>
                  <a:cubicBezTo>
                    <a:pt x="61" y="38"/>
                    <a:pt x="61" y="38"/>
                    <a:pt x="61" y="38"/>
                  </a:cubicBezTo>
                  <a:cubicBezTo>
                    <a:pt x="62" y="37"/>
                    <a:pt x="62" y="37"/>
                    <a:pt x="62" y="37"/>
                  </a:cubicBezTo>
                  <a:cubicBezTo>
                    <a:pt x="62" y="37"/>
                    <a:pt x="62" y="37"/>
                    <a:pt x="62" y="37"/>
                  </a:cubicBezTo>
                  <a:cubicBezTo>
                    <a:pt x="62" y="38"/>
                    <a:pt x="62" y="38"/>
                    <a:pt x="62" y="38"/>
                  </a:cubicBezTo>
                  <a:cubicBezTo>
                    <a:pt x="62" y="38"/>
                    <a:pt x="62" y="38"/>
                    <a:pt x="62" y="38"/>
                  </a:cubicBezTo>
                  <a:cubicBezTo>
                    <a:pt x="62" y="37"/>
                    <a:pt x="62" y="37"/>
                    <a:pt x="62" y="37"/>
                  </a:cubicBezTo>
                  <a:cubicBezTo>
                    <a:pt x="62" y="37"/>
                    <a:pt x="62" y="37"/>
                    <a:pt x="62" y="37"/>
                  </a:cubicBezTo>
                  <a:cubicBezTo>
                    <a:pt x="63" y="37"/>
                    <a:pt x="63" y="37"/>
                    <a:pt x="63" y="37"/>
                  </a:cubicBezTo>
                  <a:cubicBezTo>
                    <a:pt x="63" y="37"/>
                    <a:pt x="63" y="37"/>
                    <a:pt x="63" y="37"/>
                  </a:cubicBezTo>
                  <a:cubicBezTo>
                    <a:pt x="63" y="38"/>
                    <a:pt x="63" y="38"/>
                    <a:pt x="63" y="38"/>
                  </a:cubicBezTo>
                  <a:cubicBezTo>
                    <a:pt x="63" y="38"/>
                    <a:pt x="63" y="38"/>
                    <a:pt x="63" y="38"/>
                  </a:cubicBezTo>
                  <a:cubicBezTo>
                    <a:pt x="63" y="38"/>
                    <a:pt x="63" y="38"/>
                    <a:pt x="63" y="38"/>
                  </a:cubicBezTo>
                  <a:cubicBezTo>
                    <a:pt x="63" y="38"/>
                    <a:pt x="63" y="38"/>
                    <a:pt x="63" y="38"/>
                  </a:cubicBezTo>
                  <a:cubicBezTo>
                    <a:pt x="63" y="38"/>
                    <a:pt x="63" y="38"/>
                    <a:pt x="63" y="38"/>
                  </a:cubicBezTo>
                  <a:cubicBezTo>
                    <a:pt x="63" y="37"/>
                    <a:pt x="63" y="37"/>
                    <a:pt x="63" y="37"/>
                  </a:cubicBezTo>
                  <a:cubicBezTo>
                    <a:pt x="63" y="37"/>
                    <a:pt x="63" y="37"/>
                    <a:pt x="63" y="37"/>
                  </a:cubicBezTo>
                  <a:cubicBezTo>
                    <a:pt x="63" y="37"/>
                    <a:pt x="63" y="37"/>
                    <a:pt x="63" y="37"/>
                  </a:cubicBezTo>
                  <a:cubicBezTo>
                    <a:pt x="64" y="36"/>
                    <a:pt x="64" y="36"/>
                    <a:pt x="64" y="36"/>
                  </a:cubicBezTo>
                  <a:cubicBezTo>
                    <a:pt x="63" y="37"/>
                    <a:pt x="63" y="37"/>
                    <a:pt x="63" y="37"/>
                  </a:cubicBezTo>
                  <a:cubicBezTo>
                    <a:pt x="63" y="37"/>
                    <a:pt x="63" y="37"/>
                    <a:pt x="63" y="37"/>
                  </a:cubicBezTo>
                  <a:cubicBezTo>
                    <a:pt x="63" y="37"/>
                    <a:pt x="63" y="37"/>
                    <a:pt x="63" y="37"/>
                  </a:cubicBezTo>
                  <a:cubicBezTo>
                    <a:pt x="63" y="37"/>
                    <a:pt x="63" y="37"/>
                    <a:pt x="63" y="37"/>
                  </a:cubicBezTo>
                  <a:cubicBezTo>
                    <a:pt x="64" y="37"/>
                    <a:pt x="64" y="37"/>
                    <a:pt x="64" y="37"/>
                  </a:cubicBezTo>
                  <a:cubicBezTo>
                    <a:pt x="64" y="37"/>
                    <a:pt x="64" y="37"/>
                    <a:pt x="64" y="37"/>
                  </a:cubicBezTo>
                  <a:cubicBezTo>
                    <a:pt x="64" y="37"/>
                    <a:pt x="64" y="37"/>
                    <a:pt x="64" y="37"/>
                  </a:cubicBezTo>
                  <a:cubicBezTo>
                    <a:pt x="64" y="37"/>
                    <a:pt x="64" y="37"/>
                    <a:pt x="64" y="37"/>
                  </a:cubicBezTo>
                  <a:cubicBezTo>
                    <a:pt x="65" y="37"/>
                    <a:pt x="65" y="37"/>
                    <a:pt x="65" y="37"/>
                  </a:cubicBezTo>
                  <a:cubicBezTo>
                    <a:pt x="65" y="37"/>
                    <a:pt x="65" y="37"/>
                    <a:pt x="65" y="37"/>
                  </a:cubicBezTo>
                  <a:cubicBezTo>
                    <a:pt x="65" y="37"/>
                    <a:pt x="65" y="37"/>
                    <a:pt x="65" y="37"/>
                  </a:cubicBezTo>
                  <a:cubicBezTo>
                    <a:pt x="65" y="36"/>
                    <a:pt x="65" y="36"/>
                    <a:pt x="65" y="36"/>
                  </a:cubicBezTo>
                  <a:cubicBezTo>
                    <a:pt x="65" y="36"/>
                    <a:pt x="65" y="36"/>
                    <a:pt x="65" y="36"/>
                  </a:cubicBezTo>
                  <a:cubicBezTo>
                    <a:pt x="65" y="36"/>
                    <a:pt x="65" y="36"/>
                    <a:pt x="65" y="36"/>
                  </a:cubicBezTo>
                  <a:cubicBezTo>
                    <a:pt x="65" y="36"/>
                    <a:pt x="65" y="36"/>
                    <a:pt x="65" y="36"/>
                  </a:cubicBezTo>
                  <a:cubicBezTo>
                    <a:pt x="65" y="36"/>
                    <a:pt x="65" y="36"/>
                    <a:pt x="65" y="36"/>
                  </a:cubicBezTo>
                  <a:cubicBezTo>
                    <a:pt x="65" y="36"/>
                    <a:pt x="65" y="36"/>
                    <a:pt x="65" y="36"/>
                  </a:cubicBezTo>
                  <a:cubicBezTo>
                    <a:pt x="65" y="36"/>
                    <a:pt x="65" y="36"/>
                    <a:pt x="65" y="36"/>
                  </a:cubicBezTo>
                  <a:cubicBezTo>
                    <a:pt x="64" y="35"/>
                    <a:pt x="64" y="35"/>
                    <a:pt x="64" y="35"/>
                  </a:cubicBezTo>
                  <a:cubicBezTo>
                    <a:pt x="65" y="35"/>
                    <a:pt x="65" y="35"/>
                    <a:pt x="65" y="35"/>
                  </a:cubicBezTo>
                  <a:cubicBezTo>
                    <a:pt x="65" y="35"/>
                    <a:pt x="65" y="35"/>
                    <a:pt x="65" y="35"/>
                  </a:cubicBezTo>
                  <a:cubicBezTo>
                    <a:pt x="65" y="35"/>
                    <a:pt x="65" y="35"/>
                    <a:pt x="65" y="35"/>
                  </a:cubicBezTo>
                  <a:cubicBezTo>
                    <a:pt x="65" y="35"/>
                    <a:pt x="65" y="35"/>
                    <a:pt x="65" y="35"/>
                  </a:cubicBezTo>
                  <a:cubicBezTo>
                    <a:pt x="65" y="35"/>
                    <a:pt x="65" y="35"/>
                    <a:pt x="65" y="35"/>
                  </a:cubicBezTo>
                  <a:cubicBezTo>
                    <a:pt x="65" y="36"/>
                    <a:pt x="65" y="36"/>
                    <a:pt x="65" y="36"/>
                  </a:cubicBezTo>
                  <a:cubicBezTo>
                    <a:pt x="65" y="36"/>
                    <a:pt x="65" y="36"/>
                    <a:pt x="65" y="36"/>
                  </a:cubicBezTo>
                  <a:cubicBezTo>
                    <a:pt x="66" y="36"/>
                    <a:pt x="66" y="36"/>
                    <a:pt x="66" y="36"/>
                  </a:cubicBezTo>
                  <a:cubicBezTo>
                    <a:pt x="65" y="35"/>
                    <a:pt x="65" y="35"/>
                    <a:pt x="65" y="35"/>
                  </a:cubicBezTo>
                  <a:close/>
                  <a:moveTo>
                    <a:pt x="0" y="76"/>
                  </a:moveTo>
                  <a:cubicBezTo>
                    <a:pt x="0" y="77"/>
                    <a:pt x="0" y="77"/>
                    <a:pt x="0" y="77"/>
                  </a:cubicBezTo>
                  <a:cubicBezTo>
                    <a:pt x="0" y="77"/>
                    <a:pt x="0" y="77"/>
                    <a:pt x="0" y="77"/>
                  </a:cubicBezTo>
                  <a:cubicBezTo>
                    <a:pt x="0" y="77"/>
                    <a:pt x="0" y="77"/>
                    <a:pt x="0" y="77"/>
                  </a:cubicBezTo>
                  <a:cubicBezTo>
                    <a:pt x="0" y="78"/>
                    <a:pt x="0" y="78"/>
                    <a:pt x="0" y="78"/>
                  </a:cubicBezTo>
                  <a:cubicBezTo>
                    <a:pt x="0" y="80"/>
                    <a:pt x="0" y="80"/>
                    <a:pt x="0" y="80"/>
                  </a:cubicBezTo>
                  <a:cubicBezTo>
                    <a:pt x="0" y="80"/>
                    <a:pt x="0" y="80"/>
                    <a:pt x="0" y="80"/>
                  </a:cubicBezTo>
                  <a:cubicBezTo>
                    <a:pt x="0" y="79"/>
                    <a:pt x="0" y="79"/>
                    <a:pt x="0" y="79"/>
                  </a:cubicBezTo>
                  <a:cubicBezTo>
                    <a:pt x="0" y="78"/>
                    <a:pt x="0" y="78"/>
                    <a:pt x="0" y="78"/>
                  </a:cubicBezTo>
                  <a:cubicBezTo>
                    <a:pt x="0" y="77"/>
                    <a:pt x="0" y="77"/>
                    <a:pt x="0" y="77"/>
                  </a:cubicBezTo>
                  <a:cubicBezTo>
                    <a:pt x="1" y="77"/>
                    <a:pt x="1" y="77"/>
                    <a:pt x="1" y="77"/>
                  </a:cubicBezTo>
                  <a:cubicBezTo>
                    <a:pt x="1" y="77"/>
                    <a:pt x="1" y="77"/>
                    <a:pt x="1" y="77"/>
                  </a:cubicBezTo>
                  <a:lnTo>
                    <a:pt x="0" y="76"/>
                  </a:lnTo>
                  <a:close/>
                  <a:moveTo>
                    <a:pt x="40" y="33"/>
                  </a:moveTo>
                  <a:cubicBezTo>
                    <a:pt x="40" y="33"/>
                    <a:pt x="40" y="33"/>
                    <a:pt x="40" y="33"/>
                  </a:cubicBezTo>
                  <a:cubicBezTo>
                    <a:pt x="41" y="33"/>
                    <a:pt x="41" y="33"/>
                    <a:pt x="41" y="33"/>
                  </a:cubicBezTo>
                  <a:cubicBezTo>
                    <a:pt x="41" y="33"/>
                    <a:pt x="41" y="33"/>
                    <a:pt x="41" y="33"/>
                  </a:cubicBezTo>
                  <a:cubicBezTo>
                    <a:pt x="41" y="33"/>
                    <a:pt x="41" y="33"/>
                    <a:pt x="41" y="33"/>
                  </a:cubicBezTo>
                  <a:cubicBezTo>
                    <a:pt x="41" y="33"/>
                    <a:pt x="41" y="33"/>
                    <a:pt x="41" y="33"/>
                  </a:cubicBezTo>
                  <a:cubicBezTo>
                    <a:pt x="41" y="33"/>
                    <a:pt x="41" y="33"/>
                    <a:pt x="41" y="33"/>
                  </a:cubicBezTo>
                  <a:cubicBezTo>
                    <a:pt x="41" y="33"/>
                    <a:pt x="41" y="33"/>
                    <a:pt x="41" y="33"/>
                  </a:cubicBezTo>
                  <a:cubicBezTo>
                    <a:pt x="41" y="32"/>
                    <a:pt x="41" y="32"/>
                    <a:pt x="41" y="32"/>
                  </a:cubicBezTo>
                  <a:cubicBezTo>
                    <a:pt x="41" y="33"/>
                    <a:pt x="41" y="33"/>
                    <a:pt x="41" y="33"/>
                  </a:cubicBezTo>
                  <a:cubicBezTo>
                    <a:pt x="41" y="33"/>
                    <a:pt x="41" y="33"/>
                    <a:pt x="41" y="33"/>
                  </a:cubicBezTo>
                  <a:cubicBezTo>
                    <a:pt x="41" y="33"/>
                    <a:pt x="41" y="33"/>
                    <a:pt x="41" y="33"/>
                  </a:cubicBezTo>
                  <a:cubicBezTo>
                    <a:pt x="41" y="33"/>
                    <a:pt x="41" y="33"/>
                    <a:pt x="41" y="33"/>
                  </a:cubicBezTo>
                  <a:cubicBezTo>
                    <a:pt x="41" y="33"/>
                    <a:pt x="40" y="33"/>
                    <a:pt x="40" y="33"/>
                  </a:cubicBezTo>
                  <a:cubicBezTo>
                    <a:pt x="40" y="33"/>
                    <a:pt x="40" y="33"/>
                    <a:pt x="40" y="33"/>
                  </a:cubicBezTo>
                  <a:cubicBezTo>
                    <a:pt x="40" y="33"/>
                    <a:pt x="40" y="33"/>
                    <a:pt x="40" y="33"/>
                  </a:cubicBezTo>
                  <a:cubicBezTo>
                    <a:pt x="40" y="33"/>
                    <a:pt x="40" y="33"/>
                    <a:pt x="40" y="33"/>
                  </a:cubicBezTo>
                  <a:close/>
                  <a:moveTo>
                    <a:pt x="76" y="17"/>
                  </a:moveTo>
                  <a:cubicBezTo>
                    <a:pt x="76" y="17"/>
                    <a:pt x="76" y="17"/>
                    <a:pt x="76" y="17"/>
                  </a:cubicBezTo>
                  <a:cubicBezTo>
                    <a:pt x="76" y="17"/>
                    <a:pt x="76" y="17"/>
                    <a:pt x="76" y="17"/>
                  </a:cubicBezTo>
                  <a:cubicBezTo>
                    <a:pt x="76" y="17"/>
                    <a:pt x="76" y="17"/>
                    <a:pt x="76" y="17"/>
                  </a:cubicBezTo>
                  <a:cubicBezTo>
                    <a:pt x="75" y="16"/>
                    <a:pt x="75" y="16"/>
                    <a:pt x="75" y="16"/>
                  </a:cubicBezTo>
                  <a:cubicBezTo>
                    <a:pt x="75" y="16"/>
                    <a:pt x="75" y="16"/>
                    <a:pt x="75" y="16"/>
                  </a:cubicBezTo>
                  <a:cubicBezTo>
                    <a:pt x="76" y="16"/>
                    <a:pt x="76" y="16"/>
                    <a:pt x="76" y="16"/>
                  </a:cubicBezTo>
                  <a:cubicBezTo>
                    <a:pt x="75" y="16"/>
                    <a:pt x="75" y="16"/>
                    <a:pt x="75" y="16"/>
                  </a:cubicBezTo>
                  <a:cubicBezTo>
                    <a:pt x="75" y="16"/>
                    <a:pt x="75" y="16"/>
                    <a:pt x="75" y="16"/>
                  </a:cubicBezTo>
                  <a:cubicBezTo>
                    <a:pt x="75" y="16"/>
                    <a:pt x="75" y="16"/>
                    <a:pt x="75" y="16"/>
                  </a:cubicBezTo>
                  <a:cubicBezTo>
                    <a:pt x="75" y="17"/>
                    <a:pt x="75" y="17"/>
                    <a:pt x="75" y="17"/>
                  </a:cubicBezTo>
                  <a:cubicBezTo>
                    <a:pt x="74" y="17"/>
                    <a:pt x="74" y="17"/>
                    <a:pt x="74" y="17"/>
                  </a:cubicBezTo>
                  <a:cubicBezTo>
                    <a:pt x="74" y="17"/>
                    <a:pt x="74" y="17"/>
                    <a:pt x="74" y="17"/>
                  </a:cubicBezTo>
                  <a:cubicBezTo>
                    <a:pt x="74" y="17"/>
                    <a:pt x="74" y="17"/>
                    <a:pt x="74" y="17"/>
                  </a:cubicBezTo>
                  <a:cubicBezTo>
                    <a:pt x="74" y="16"/>
                    <a:pt x="74" y="16"/>
                    <a:pt x="74" y="16"/>
                  </a:cubicBezTo>
                  <a:cubicBezTo>
                    <a:pt x="74" y="16"/>
                    <a:pt x="74" y="16"/>
                    <a:pt x="74" y="16"/>
                  </a:cubicBezTo>
                  <a:cubicBezTo>
                    <a:pt x="74" y="16"/>
                    <a:pt x="74" y="16"/>
                    <a:pt x="74" y="16"/>
                  </a:cubicBezTo>
                  <a:cubicBezTo>
                    <a:pt x="74" y="16"/>
                    <a:pt x="74" y="16"/>
                    <a:pt x="74" y="16"/>
                  </a:cubicBezTo>
                  <a:cubicBezTo>
                    <a:pt x="74" y="15"/>
                    <a:pt x="74" y="15"/>
                    <a:pt x="74" y="15"/>
                  </a:cubicBezTo>
                  <a:cubicBezTo>
                    <a:pt x="75" y="14"/>
                    <a:pt x="75" y="14"/>
                    <a:pt x="75" y="14"/>
                  </a:cubicBezTo>
                  <a:cubicBezTo>
                    <a:pt x="75" y="14"/>
                    <a:pt x="75" y="14"/>
                    <a:pt x="75" y="14"/>
                  </a:cubicBezTo>
                  <a:cubicBezTo>
                    <a:pt x="75" y="14"/>
                    <a:pt x="75" y="14"/>
                    <a:pt x="75" y="14"/>
                  </a:cubicBezTo>
                  <a:cubicBezTo>
                    <a:pt x="74" y="14"/>
                    <a:pt x="74" y="14"/>
                    <a:pt x="74" y="14"/>
                  </a:cubicBezTo>
                  <a:cubicBezTo>
                    <a:pt x="74" y="15"/>
                    <a:pt x="74" y="15"/>
                    <a:pt x="74" y="15"/>
                  </a:cubicBezTo>
                  <a:cubicBezTo>
                    <a:pt x="74" y="15"/>
                    <a:pt x="74" y="15"/>
                    <a:pt x="74" y="15"/>
                  </a:cubicBezTo>
                  <a:cubicBezTo>
                    <a:pt x="74" y="14"/>
                    <a:pt x="74" y="14"/>
                    <a:pt x="74" y="14"/>
                  </a:cubicBezTo>
                  <a:cubicBezTo>
                    <a:pt x="74" y="14"/>
                    <a:pt x="74" y="14"/>
                    <a:pt x="74" y="14"/>
                  </a:cubicBezTo>
                  <a:cubicBezTo>
                    <a:pt x="74" y="13"/>
                    <a:pt x="74" y="13"/>
                    <a:pt x="74" y="13"/>
                  </a:cubicBezTo>
                  <a:cubicBezTo>
                    <a:pt x="74" y="13"/>
                    <a:pt x="74" y="13"/>
                    <a:pt x="74" y="13"/>
                  </a:cubicBezTo>
                  <a:cubicBezTo>
                    <a:pt x="73" y="13"/>
                    <a:pt x="73" y="13"/>
                    <a:pt x="73" y="13"/>
                  </a:cubicBezTo>
                  <a:cubicBezTo>
                    <a:pt x="73" y="13"/>
                    <a:pt x="73" y="13"/>
                    <a:pt x="73" y="13"/>
                  </a:cubicBezTo>
                  <a:cubicBezTo>
                    <a:pt x="73" y="14"/>
                    <a:pt x="73" y="14"/>
                    <a:pt x="73" y="14"/>
                  </a:cubicBezTo>
                  <a:cubicBezTo>
                    <a:pt x="73" y="14"/>
                    <a:pt x="73" y="14"/>
                    <a:pt x="73" y="14"/>
                  </a:cubicBezTo>
                  <a:cubicBezTo>
                    <a:pt x="73" y="13"/>
                    <a:pt x="73" y="13"/>
                    <a:pt x="73" y="13"/>
                  </a:cubicBezTo>
                  <a:cubicBezTo>
                    <a:pt x="72" y="13"/>
                    <a:pt x="72" y="13"/>
                    <a:pt x="72" y="13"/>
                  </a:cubicBezTo>
                  <a:cubicBezTo>
                    <a:pt x="70" y="14"/>
                    <a:pt x="70" y="14"/>
                    <a:pt x="70" y="14"/>
                  </a:cubicBezTo>
                  <a:cubicBezTo>
                    <a:pt x="71" y="13"/>
                    <a:pt x="71" y="13"/>
                    <a:pt x="71" y="13"/>
                  </a:cubicBezTo>
                  <a:cubicBezTo>
                    <a:pt x="71" y="13"/>
                    <a:pt x="71" y="13"/>
                    <a:pt x="71" y="13"/>
                  </a:cubicBezTo>
                  <a:cubicBezTo>
                    <a:pt x="70" y="13"/>
                    <a:pt x="70" y="13"/>
                    <a:pt x="70" y="13"/>
                  </a:cubicBezTo>
                  <a:cubicBezTo>
                    <a:pt x="70" y="13"/>
                    <a:pt x="70" y="13"/>
                    <a:pt x="70" y="13"/>
                  </a:cubicBezTo>
                  <a:cubicBezTo>
                    <a:pt x="70" y="13"/>
                    <a:pt x="70" y="13"/>
                    <a:pt x="70" y="13"/>
                  </a:cubicBezTo>
                  <a:cubicBezTo>
                    <a:pt x="69" y="13"/>
                    <a:pt x="69" y="13"/>
                    <a:pt x="69" y="13"/>
                  </a:cubicBezTo>
                  <a:cubicBezTo>
                    <a:pt x="69" y="14"/>
                    <a:pt x="69" y="14"/>
                    <a:pt x="69" y="14"/>
                  </a:cubicBezTo>
                  <a:cubicBezTo>
                    <a:pt x="69" y="14"/>
                    <a:pt x="69" y="14"/>
                    <a:pt x="69" y="14"/>
                  </a:cubicBezTo>
                  <a:cubicBezTo>
                    <a:pt x="69" y="14"/>
                    <a:pt x="69" y="14"/>
                    <a:pt x="69" y="14"/>
                  </a:cubicBezTo>
                  <a:cubicBezTo>
                    <a:pt x="69" y="15"/>
                    <a:pt x="69" y="15"/>
                    <a:pt x="69" y="15"/>
                  </a:cubicBezTo>
                  <a:cubicBezTo>
                    <a:pt x="69" y="15"/>
                    <a:pt x="69" y="15"/>
                    <a:pt x="69" y="15"/>
                  </a:cubicBezTo>
                  <a:cubicBezTo>
                    <a:pt x="69" y="15"/>
                    <a:pt x="69" y="15"/>
                    <a:pt x="69" y="15"/>
                  </a:cubicBezTo>
                  <a:cubicBezTo>
                    <a:pt x="70" y="15"/>
                    <a:pt x="70" y="15"/>
                    <a:pt x="70" y="15"/>
                  </a:cubicBezTo>
                  <a:cubicBezTo>
                    <a:pt x="69" y="15"/>
                    <a:pt x="69" y="15"/>
                    <a:pt x="69" y="15"/>
                  </a:cubicBezTo>
                  <a:cubicBezTo>
                    <a:pt x="69" y="15"/>
                    <a:pt x="69" y="15"/>
                    <a:pt x="69" y="15"/>
                  </a:cubicBezTo>
                  <a:cubicBezTo>
                    <a:pt x="69" y="15"/>
                    <a:pt x="69" y="15"/>
                    <a:pt x="69" y="15"/>
                  </a:cubicBezTo>
                  <a:cubicBezTo>
                    <a:pt x="69" y="15"/>
                    <a:pt x="69" y="15"/>
                    <a:pt x="69" y="15"/>
                  </a:cubicBezTo>
                  <a:cubicBezTo>
                    <a:pt x="69" y="15"/>
                    <a:pt x="69" y="15"/>
                    <a:pt x="69" y="15"/>
                  </a:cubicBezTo>
                  <a:cubicBezTo>
                    <a:pt x="69" y="15"/>
                    <a:pt x="69" y="15"/>
                    <a:pt x="69" y="15"/>
                  </a:cubicBezTo>
                  <a:cubicBezTo>
                    <a:pt x="69" y="15"/>
                    <a:pt x="69" y="15"/>
                    <a:pt x="69" y="15"/>
                  </a:cubicBezTo>
                  <a:cubicBezTo>
                    <a:pt x="68" y="15"/>
                    <a:pt x="68" y="15"/>
                    <a:pt x="68" y="15"/>
                  </a:cubicBezTo>
                  <a:cubicBezTo>
                    <a:pt x="68" y="15"/>
                    <a:pt x="68" y="15"/>
                    <a:pt x="68" y="15"/>
                  </a:cubicBezTo>
                  <a:cubicBezTo>
                    <a:pt x="68" y="16"/>
                    <a:pt x="68" y="16"/>
                    <a:pt x="68" y="16"/>
                  </a:cubicBezTo>
                  <a:cubicBezTo>
                    <a:pt x="69" y="14"/>
                    <a:pt x="69" y="14"/>
                    <a:pt x="69" y="14"/>
                  </a:cubicBezTo>
                  <a:cubicBezTo>
                    <a:pt x="69" y="14"/>
                    <a:pt x="69" y="14"/>
                    <a:pt x="69" y="14"/>
                  </a:cubicBezTo>
                  <a:cubicBezTo>
                    <a:pt x="68" y="13"/>
                    <a:pt x="68" y="13"/>
                    <a:pt x="68" y="13"/>
                  </a:cubicBezTo>
                  <a:cubicBezTo>
                    <a:pt x="67" y="12"/>
                    <a:pt x="67" y="12"/>
                    <a:pt x="67" y="12"/>
                  </a:cubicBezTo>
                  <a:cubicBezTo>
                    <a:pt x="67" y="12"/>
                    <a:pt x="67" y="12"/>
                    <a:pt x="67" y="12"/>
                  </a:cubicBezTo>
                  <a:cubicBezTo>
                    <a:pt x="66" y="13"/>
                    <a:pt x="66" y="13"/>
                    <a:pt x="66" y="13"/>
                  </a:cubicBezTo>
                  <a:cubicBezTo>
                    <a:pt x="65" y="15"/>
                    <a:pt x="65" y="15"/>
                    <a:pt x="65" y="15"/>
                  </a:cubicBezTo>
                  <a:cubicBezTo>
                    <a:pt x="65" y="15"/>
                    <a:pt x="65" y="15"/>
                    <a:pt x="65" y="15"/>
                  </a:cubicBezTo>
                  <a:cubicBezTo>
                    <a:pt x="65" y="16"/>
                    <a:pt x="65" y="16"/>
                    <a:pt x="65" y="16"/>
                  </a:cubicBezTo>
                  <a:cubicBezTo>
                    <a:pt x="65" y="17"/>
                    <a:pt x="65" y="17"/>
                    <a:pt x="65" y="17"/>
                  </a:cubicBezTo>
                  <a:cubicBezTo>
                    <a:pt x="64" y="18"/>
                    <a:pt x="64" y="18"/>
                    <a:pt x="64" y="18"/>
                  </a:cubicBezTo>
                  <a:cubicBezTo>
                    <a:pt x="64" y="18"/>
                    <a:pt x="64" y="18"/>
                    <a:pt x="64" y="18"/>
                  </a:cubicBezTo>
                  <a:cubicBezTo>
                    <a:pt x="64" y="18"/>
                    <a:pt x="64" y="18"/>
                    <a:pt x="64" y="18"/>
                  </a:cubicBezTo>
                  <a:cubicBezTo>
                    <a:pt x="64" y="19"/>
                    <a:pt x="64" y="19"/>
                    <a:pt x="64" y="19"/>
                  </a:cubicBezTo>
                  <a:cubicBezTo>
                    <a:pt x="64" y="19"/>
                    <a:pt x="64" y="19"/>
                    <a:pt x="64" y="19"/>
                  </a:cubicBezTo>
                  <a:cubicBezTo>
                    <a:pt x="64" y="19"/>
                    <a:pt x="64" y="19"/>
                    <a:pt x="64" y="19"/>
                  </a:cubicBezTo>
                  <a:cubicBezTo>
                    <a:pt x="64" y="19"/>
                    <a:pt x="64" y="19"/>
                    <a:pt x="64" y="19"/>
                  </a:cubicBezTo>
                  <a:cubicBezTo>
                    <a:pt x="64" y="19"/>
                    <a:pt x="64" y="19"/>
                    <a:pt x="64" y="19"/>
                  </a:cubicBezTo>
                  <a:cubicBezTo>
                    <a:pt x="65" y="19"/>
                    <a:pt x="65" y="19"/>
                    <a:pt x="65" y="19"/>
                  </a:cubicBezTo>
                  <a:cubicBezTo>
                    <a:pt x="66" y="16"/>
                    <a:pt x="66" y="16"/>
                    <a:pt x="66" y="16"/>
                  </a:cubicBezTo>
                  <a:cubicBezTo>
                    <a:pt x="66" y="15"/>
                    <a:pt x="66" y="15"/>
                    <a:pt x="66" y="15"/>
                  </a:cubicBezTo>
                  <a:cubicBezTo>
                    <a:pt x="67" y="15"/>
                    <a:pt x="67" y="15"/>
                    <a:pt x="67" y="15"/>
                  </a:cubicBezTo>
                  <a:cubicBezTo>
                    <a:pt x="67" y="14"/>
                    <a:pt x="67" y="14"/>
                    <a:pt x="67" y="14"/>
                  </a:cubicBezTo>
                  <a:cubicBezTo>
                    <a:pt x="67" y="14"/>
                    <a:pt x="67" y="14"/>
                    <a:pt x="67" y="14"/>
                  </a:cubicBezTo>
                  <a:cubicBezTo>
                    <a:pt x="68" y="14"/>
                    <a:pt x="68" y="14"/>
                    <a:pt x="68" y="14"/>
                  </a:cubicBezTo>
                  <a:cubicBezTo>
                    <a:pt x="68" y="14"/>
                    <a:pt x="68" y="14"/>
                    <a:pt x="68" y="14"/>
                  </a:cubicBezTo>
                  <a:cubicBezTo>
                    <a:pt x="68" y="15"/>
                    <a:pt x="68" y="15"/>
                    <a:pt x="68" y="15"/>
                  </a:cubicBezTo>
                  <a:cubicBezTo>
                    <a:pt x="67" y="15"/>
                    <a:pt x="67" y="15"/>
                    <a:pt x="67" y="15"/>
                  </a:cubicBezTo>
                  <a:cubicBezTo>
                    <a:pt x="67" y="15"/>
                    <a:pt x="67" y="15"/>
                    <a:pt x="67" y="15"/>
                  </a:cubicBezTo>
                  <a:cubicBezTo>
                    <a:pt x="67" y="15"/>
                    <a:pt x="67" y="15"/>
                    <a:pt x="67" y="15"/>
                  </a:cubicBezTo>
                  <a:cubicBezTo>
                    <a:pt x="67" y="16"/>
                    <a:pt x="67" y="16"/>
                    <a:pt x="67" y="16"/>
                  </a:cubicBezTo>
                  <a:cubicBezTo>
                    <a:pt x="67" y="16"/>
                    <a:pt x="67" y="16"/>
                    <a:pt x="67" y="16"/>
                  </a:cubicBezTo>
                  <a:cubicBezTo>
                    <a:pt x="66" y="16"/>
                    <a:pt x="66" y="16"/>
                    <a:pt x="66" y="16"/>
                  </a:cubicBezTo>
                  <a:cubicBezTo>
                    <a:pt x="66" y="18"/>
                    <a:pt x="66" y="18"/>
                    <a:pt x="66" y="18"/>
                  </a:cubicBezTo>
                  <a:cubicBezTo>
                    <a:pt x="66" y="18"/>
                    <a:pt x="66" y="18"/>
                    <a:pt x="66" y="18"/>
                  </a:cubicBezTo>
                  <a:cubicBezTo>
                    <a:pt x="65" y="19"/>
                    <a:pt x="65" y="19"/>
                    <a:pt x="65" y="19"/>
                  </a:cubicBezTo>
                  <a:cubicBezTo>
                    <a:pt x="65" y="20"/>
                    <a:pt x="65" y="20"/>
                    <a:pt x="65" y="20"/>
                  </a:cubicBezTo>
                  <a:cubicBezTo>
                    <a:pt x="65" y="20"/>
                    <a:pt x="65" y="20"/>
                    <a:pt x="65" y="20"/>
                  </a:cubicBezTo>
                  <a:cubicBezTo>
                    <a:pt x="64" y="20"/>
                    <a:pt x="64" y="20"/>
                    <a:pt x="64" y="20"/>
                  </a:cubicBezTo>
                  <a:cubicBezTo>
                    <a:pt x="64" y="20"/>
                    <a:pt x="64" y="20"/>
                    <a:pt x="64" y="20"/>
                  </a:cubicBezTo>
                  <a:cubicBezTo>
                    <a:pt x="64" y="21"/>
                    <a:pt x="64" y="21"/>
                    <a:pt x="64" y="21"/>
                  </a:cubicBezTo>
                  <a:cubicBezTo>
                    <a:pt x="63" y="22"/>
                    <a:pt x="63" y="22"/>
                    <a:pt x="63" y="22"/>
                  </a:cubicBezTo>
                  <a:cubicBezTo>
                    <a:pt x="63" y="22"/>
                    <a:pt x="63" y="22"/>
                    <a:pt x="63" y="22"/>
                  </a:cubicBezTo>
                  <a:cubicBezTo>
                    <a:pt x="63" y="22"/>
                    <a:pt x="63" y="22"/>
                    <a:pt x="63" y="22"/>
                  </a:cubicBezTo>
                  <a:cubicBezTo>
                    <a:pt x="63" y="22"/>
                    <a:pt x="63" y="22"/>
                    <a:pt x="63" y="22"/>
                  </a:cubicBezTo>
                  <a:cubicBezTo>
                    <a:pt x="64" y="22"/>
                    <a:pt x="64" y="22"/>
                    <a:pt x="64" y="22"/>
                  </a:cubicBezTo>
                  <a:cubicBezTo>
                    <a:pt x="64" y="22"/>
                    <a:pt x="64" y="22"/>
                    <a:pt x="64" y="22"/>
                  </a:cubicBezTo>
                  <a:cubicBezTo>
                    <a:pt x="64" y="22"/>
                    <a:pt x="64" y="22"/>
                    <a:pt x="64" y="22"/>
                  </a:cubicBezTo>
                  <a:cubicBezTo>
                    <a:pt x="64" y="22"/>
                    <a:pt x="64" y="22"/>
                    <a:pt x="64" y="22"/>
                  </a:cubicBezTo>
                  <a:cubicBezTo>
                    <a:pt x="64" y="23"/>
                    <a:pt x="64" y="23"/>
                    <a:pt x="64" y="23"/>
                  </a:cubicBezTo>
                  <a:cubicBezTo>
                    <a:pt x="65" y="23"/>
                    <a:pt x="65" y="23"/>
                    <a:pt x="65" y="23"/>
                  </a:cubicBezTo>
                  <a:cubicBezTo>
                    <a:pt x="65" y="23"/>
                    <a:pt x="65" y="23"/>
                    <a:pt x="65" y="23"/>
                  </a:cubicBezTo>
                  <a:cubicBezTo>
                    <a:pt x="65" y="22"/>
                    <a:pt x="65" y="22"/>
                    <a:pt x="65" y="22"/>
                  </a:cubicBezTo>
                  <a:cubicBezTo>
                    <a:pt x="65" y="22"/>
                    <a:pt x="65" y="22"/>
                    <a:pt x="65" y="22"/>
                  </a:cubicBezTo>
                  <a:cubicBezTo>
                    <a:pt x="66" y="22"/>
                    <a:pt x="66" y="22"/>
                    <a:pt x="66" y="22"/>
                  </a:cubicBezTo>
                  <a:cubicBezTo>
                    <a:pt x="66" y="21"/>
                    <a:pt x="66" y="21"/>
                    <a:pt x="66" y="21"/>
                  </a:cubicBezTo>
                  <a:cubicBezTo>
                    <a:pt x="67" y="20"/>
                    <a:pt x="67" y="20"/>
                    <a:pt x="67" y="20"/>
                  </a:cubicBezTo>
                  <a:cubicBezTo>
                    <a:pt x="67" y="20"/>
                    <a:pt x="67" y="20"/>
                    <a:pt x="67" y="20"/>
                  </a:cubicBezTo>
                  <a:cubicBezTo>
                    <a:pt x="68" y="19"/>
                    <a:pt x="68" y="19"/>
                    <a:pt x="68" y="19"/>
                  </a:cubicBezTo>
                  <a:cubicBezTo>
                    <a:pt x="68" y="19"/>
                    <a:pt x="68" y="19"/>
                    <a:pt x="68" y="19"/>
                  </a:cubicBezTo>
                  <a:cubicBezTo>
                    <a:pt x="68" y="20"/>
                    <a:pt x="68" y="20"/>
                    <a:pt x="68" y="20"/>
                  </a:cubicBezTo>
                  <a:cubicBezTo>
                    <a:pt x="68" y="20"/>
                    <a:pt x="68" y="20"/>
                    <a:pt x="68" y="20"/>
                  </a:cubicBezTo>
                  <a:cubicBezTo>
                    <a:pt x="67" y="21"/>
                    <a:pt x="67" y="21"/>
                    <a:pt x="67" y="21"/>
                  </a:cubicBezTo>
                  <a:cubicBezTo>
                    <a:pt x="67" y="21"/>
                    <a:pt x="67" y="21"/>
                    <a:pt x="67" y="21"/>
                  </a:cubicBezTo>
                  <a:cubicBezTo>
                    <a:pt x="67" y="22"/>
                    <a:pt x="67" y="22"/>
                    <a:pt x="67" y="22"/>
                  </a:cubicBezTo>
                  <a:cubicBezTo>
                    <a:pt x="66" y="22"/>
                    <a:pt x="66" y="22"/>
                    <a:pt x="66" y="22"/>
                  </a:cubicBezTo>
                  <a:cubicBezTo>
                    <a:pt x="66" y="23"/>
                    <a:pt x="66" y="23"/>
                    <a:pt x="66" y="23"/>
                  </a:cubicBezTo>
                  <a:cubicBezTo>
                    <a:pt x="66" y="23"/>
                    <a:pt x="66" y="23"/>
                    <a:pt x="66" y="23"/>
                  </a:cubicBezTo>
                  <a:cubicBezTo>
                    <a:pt x="66" y="23"/>
                    <a:pt x="66" y="23"/>
                    <a:pt x="66" y="23"/>
                  </a:cubicBezTo>
                  <a:cubicBezTo>
                    <a:pt x="66" y="23"/>
                    <a:pt x="66" y="23"/>
                    <a:pt x="66" y="23"/>
                  </a:cubicBezTo>
                  <a:cubicBezTo>
                    <a:pt x="66" y="23"/>
                    <a:pt x="66" y="23"/>
                    <a:pt x="66" y="23"/>
                  </a:cubicBezTo>
                  <a:cubicBezTo>
                    <a:pt x="66" y="24"/>
                    <a:pt x="66" y="24"/>
                    <a:pt x="66" y="24"/>
                  </a:cubicBezTo>
                  <a:cubicBezTo>
                    <a:pt x="66" y="24"/>
                    <a:pt x="66" y="24"/>
                    <a:pt x="66" y="24"/>
                  </a:cubicBezTo>
                  <a:cubicBezTo>
                    <a:pt x="65" y="24"/>
                    <a:pt x="65" y="24"/>
                    <a:pt x="65" y="24"/>
                  </a:cubicBezTo>
                  <a:cubicBezTo>
                    <a:pt x="65" y="25"/>
                    <a:pt x="65" y="25"/>
                    <a:pt x="65" y="25"/>
                  </a:cubicBezTo>
                  <a:cubicBezTo>
                    <a:pt x="65" y="25"/>
                    <a:pt x="65" y="25"/>
                    <a:pt x="65" y="25"/>
                  </a:cubicBezTo>
                  <a:cubicBezTo>
                    <a:pt x="65" y="25"/>
                    <a:pt x="65" y="25"/>
                    <a:pt x="65" y="25"/>
                  </a:cubicBezTo>
                  <a:cubicBezTo>
                    <a:pt x="65" y="25"/>
                    <a:pt x="65" y="25"/>
                    <a:pt x="65" y="25"/>
                  </a:cubicBezTo>
                  <a:cubicBezTo>
                    <a:pt x="65" y="26"/>
                    <a:pt x="65" y="26"/>
                    <a:pt x="65" y="26"/>
                  </a:cubicBezTo>
                  <a:cubicBezTo>
                    <a:pt x="65" y="26"/>
                    <a:pt x="65" y="26"/>
                    <a:pt x="65" y="26"/>
                  </a:cubicBezTo>
                  <a:cubicBezTo>
                    <a:pt x="65" y="26"/>
                    <a:pt x="65" y="26"/>
                    <a:pt x="65" y="26"/>
                  </a:cubicBezTo>
                  <a:cubicBezTo>
                    <a:pt x="66" y="26"/>
                    <a:pt x="66" y="26"/>
                    <a:pt x="66" y="26"/>
                  </a:cubicBezTo>
                  <a:cubicBezTo>
                    <a:pt x="66" y="26"/>
                    <a:pt x="66" y="26"/>
                    <a:pt x="66" y="26"/>
                  </a:cubicBezTo>
                  <a:cubicBezTo>
                    <a:pt x="66" y="27"/>
                    <a:pt x="66" y="27"/>
                    <a:pt x="66" y="27"/>
                  </a:cubicBezTo>
                  <a:cubicBezTo>
                    <a:pt x="66" y="27"/>
                    <a:pt x="66" y="27"/>
                    <a:pt x="66" y="27"/>
                  </a:cubicBezTo>
                  <a:cubicBezTo>
                    <a:pt x="66" y="27"/>
                    <a:pt x="66" y="27"/>
                    <a:pt x="66" y="27"/>
                  </a:cubicBezTo>
                  <a:cubicBezTo>
                    <a:pt x="65" y="27"/>
                    <a:pt x="65" y="27"/>
                    <a:pt x="65" y="27"/>
                  </a:cubicBezTo>
                  <a:cubicBezTo>
                    <a:pt x="65" y="27"/>
                    <a:pt x="65" y="27"/>
                    <a:pt x="65" y="27"/>
                  </a:cubicBezTo>
                  <a:cubicBezTo>
                    <a:pt x="65" y="27"/>
                    <a:pt x="65" y="27"/>
                    <a:pt x="65" y="27"/>
                  </a:cubicBezTo>
                  <a:cubicBezTo>
                    <a:pt x="65" y="27"/>
                    <a:pt x="65" y="27"/>
                    <a:pt x="65" y="27"/>
                  </a:cubicBezTo>
                  <a:cubicBezTo>
                    <a:pt x="65" y="27"/>
                    <a:pt x="65" y="27"/>
                    <a:pt x="65" y="27"/>
                  </a:cubicBezTo>
                  <a:cubicBezTo>
                    <a:pt x="65" y="27"/>
                    <a:pt x="65" y="27"/>
                    <a:pt x="65" y="27"/>
                  </a:cubicBezTo>
                  <a:cubicBezTo>
                    <a:pt x="65" y="28"/>
                    <a:pt x="65" y="28"/>
                    <a:pt x="65" y="28"/>
                  </a:cubicBezTo>
                  <a:cubicBezTo>
                    <a:pt x="65" y="28"/>
                    <a:pt x="65" y="28"/>
                    <a:pt x="65" y="28"/>
                  </a:cubicBezTo>
                  <a:cubicBezTo>
                    <a:pt x="65" y="28"/>
                    <a:pt x="65" y="28"/>
                    <a:pt x="65" y="28"/>
                  </a:cubicBezTo>
                  <a:cubicBezTo>
                    <a:pt x="65" y="28"/>
                    <a:pt x="65" y="28"/>
                    <a:pt x="65" y="28"/>
                  </a:cubicBezTo>
                  <a:cubicBezTo>
                    <a:pt x="65" y="28"/>
                    <a:pt x="65" y="28"/>
                    <a:pt x="65" y="28"/>
                  </a:cubicBezTo>
                  <a:cubicBezTo>
                    <a:pt x="64" y="28"/>
                    <a:pt x="64" y="28"/>
                    <a:pt x="64" y="28"/>
                  </a:cubicBezTo>
                  <a:cubicBezTo>
                    <a:pt x="64" y="28"/>
                    <a:pt x="64" y="28"/>
                    <a:pt x="64" y="28"/>
                  </a:cubicBezTo>
                  <a:cubicBezTo>
                    <a:pt x="64" y="28"/>
                    <a:pt x="64" y="28"/>
                    <a:pt x="64" y="28"/>
                  </a:cubicBezTo>
                  <a:cubicBezTo>
                    <a:pt x="65" y="27"/>
                    <a:pt x="65" y="27"/>
                    <a:pt x="65" y="27"/>
                  </a:cubicBezTo>
                  <a:cubicBezTo>
                    <a:pt x="65" y="27"/>
                    <a:pt x="65" y="27"/>
                    <a:pt x="65" y="27"/>
                  </a:cubicBezTo>
                  <a:cubicBezTo>
                    <a:pt x="65" y="27"/>
                    <a:pt x="65" y="27"/>
                    <a:pt x="65" y="27"/>
                  </a:cubicBezTo>
                  <a:cubicBezTo>
                    <a:pt x="65" y="26"/>
                    <a:pt x="65" y="26"/>
                    <a:pt x="65" y="26"/>
                  </a:cubicBezTo>
                  <a:cubicBezTo>
                    <a:pt x="64" y="26"/>
                    <a:pt x="64" y="26"/>
                    <a:pt x="64" y="26"/>
                  </a:cubicBezTo>
                  <a:cubicBezTo>
                    <a:pt x="63" y="26"/>
                    <a:pt x="63" y="26"/>
                    <a:pt x="63" y="26"/>
                  </a:cubicBezTo>
                  <a:cubicBezTo>
                    <a:pt x="63" y="26"/>
                    <a:pt x="63" y="26"/>
                    <a:pt x="63" y="26"/>
                  </a:cubicBezTo>
                  <a:cubicBezTo>
                    <a:pt x="62" y="26"/>
                    <a:pt x="62" y="26"/>
                    <a:pt x="62" y="26"/>
                  </a:cubicBezTo>
                  <a:cubicBezTo>
                    <a:pt x="61" y="28"/>
                    <a:pt x="61" y="28"/>
                    <a:pt x="61" y="28"/>
                  </a:cubicBezTo>
                  <a:cubicBezTo>
                    <a:pt x="61" y="28"/>
                    <a:pt x="61" y="28"/>
                    <a:pt x="61" y="28"/>
                  </a:cubicBezTo>
                  <a:cubicBezTo>
                    <a:pt x="60" y="28"/>
                    <a:pt x="60" y="28"/>
                    <a:pt x="60" y="28"/>
                  </a:cubicBezTo>
                  <a:cubicBezTo>
                    <a:pt x="60" y="28"/>
                    <a:pt x="60" y="28"/>
                    <a:pt x="60" y="28"/>
                  </a:cubicBezTo>
                  <a:cubicBezTo>
                    <a:pt x="60" y="28"/>
                    <a:pt x="60" y="28"/>
                    <a:pt x="60" y="28"/>
                  </a:cubicBezTo>
                  <a:cubicBezTo>
                    <a:pt x="60" y="28"/>
                    <a:pt x="60" y="28"/>
                    <a:pt x="60" y="28"/>
                  </a:cubicBezTo>
                  <a:cubicBezTo>
                    <a:pt x="60" y="28"/>
                    <a:pt x="60" y="28"/>
                    <a:pt x="60" y="28"/>
                  </a:cubicBezTo>
                  <a:cubicBezTo>
                    <a:pt x="60" y="28"/>
                    <a:pt x="60" y="28"/>
                    <a:pt x="60" y="28"/>
                  </a:cubicBezTo>
                  <a:cubicBezTo>
                    <a:pt x="60" y="28"/>
                    <a:pt x="60" y="28"/>
                    <a:pt x="60" y="28"/>
                  </a:cubicBezTo>
                  <a:cubicBezTo>
                    <a:pt x="60" y="28"/>
                    <a:pt x="60" y="28"/>
                    <a:pt x="60" y="28"/>
                  </a:cubicBezTo>
                  <a:cubicBezTo>
                    <a:pt x="60" y="28"/>
                    <a:pt x="60" y="28"/>
                    <a:pt x="60" y="28"/>
                  </a:cubicBezTo>
                  <a:cubicBezTo>
                    <a:pt x="60" y="27"/>
                    <a:pt x="60" y="27"/>
                    <a:pt x="60" y="27"/>
                  </a:cubicBezTo>
                  <a:cubicBezTo>
                    <a:pt x="60" y="27"/>
                    <a:pt x="60" y="27"/>
                    <a:pt x="60" y="27"/>
                  </a:cubicBezTo>
                  <a:cubicBezTo>
                    <a:pt x="60" y="27"/>
                    <a:pt x="60" y="27"/>
                    <a:pt x="60" y="27"/>
                  </a:cubicBezTo>
                  <a:cubicBezTo>
                    <a:pt x="60" y="27"/>
                    <a:pt x="60" y="27"/>
                    <a:pt x="60" y="27"/>
                  </a:cubicBezTo>
                  <a:cubicBezTo>
                    <a:pt x="60" y="27"/>
                    <a:pt x="60" y="27"/>
                    <a:pt x="60" y="27"/>
                  </a:cubicBezTo>
                  <a:cubicBezTo>
                    <a:pt x="60" y="27"/>
                    <a:pt x="60" y="27"/>
                    <a:pt x="60" y="27"/>
                  </a:cubicBezTo>
                  <a:cubicBezTo>
                    <a:pt x="61" y="26"/>
                    <a:pt x="61" y="26"/>
                    <a:pt x="61" y="26"/>
                  </a:cubicBezTo>
                  <a:cubicBezTo>
                    <a:pt x="61" y="25"/>
                    <a:pt x="61" y="25"/>
                    <a:pt x="61" y="25"/>
                  </a:cubicBezTo>
                  <a:cubicBezTo>
                    <a:pt x="61" y="25"/>
                    <a:pt x="61" y="25"/>
                    <a:pt x="61" y="25"/>
                  </a:cubicBezTo>
                  <a:cubicBezTo>
                    <a:pt x="61" y="25"/>
                    <a:pt x="61" y="25"/>
                    <a:pt x="61" y="25"/>
                  </a:cubicBezTo>
                  <a:cubicBezTo>
                    <a:pt x="62" y="25"/>
                    <a:pt x="62" y="25"/>
                    <a:pt x="62" y="25"/>
                  </a:cubicBezTo>
                  <a:cubicBezTo>
                    <a:pt x="62" y="25"/>
                    <a:pt x="62" y="25"/>
                    <a:pt x="62" y="25"/>
                  </a:cubicBezTo>
                  <a:cubicBezTo>
                    <a:pt x="62" y="25"/>
                    <a:pt x="62" y="25"/>
                    <a:pt x="62" y="25"/>
                  </a:cubicBezTo>
                  <a:cubicBezTo>
                    <a:pt x="62" y="25"/>
                    <a:pt x="62" y="25"/>
                    <a:pt x="62" y="25"/>
                  </a:cubicBezTo>
                  <a:cubicBezTo>
                    <a:pt x="62" y="25"/>
                    <a:pt x="62" y="25"/>
                    <a:pt x="62" y="25"/>
                  </a:cubicBezTo>
                  <a:cubicBezTo>
                    <a:pt x="62" y="25"/>
                    <a:pt x="62" y="25"/>
                    <a:pt x="62" y="25"/>
                  </a:cubicBezTo>
                  <a:cubicBezTo>
                    <a:pt x="61" y="25"/>
                    <a:pt x="61" y="25"/>
                    <a:pt x="61" y="25"/>
                  </a:cubicBezTo>
                  <a:cubicBezTo>
                    <a:pt x="61" y="24"/>
                    <a:pt x="61" y="24"/>
                    <a:pt x="61" y="24"/>
                  </a:cubicBezTo>
                  <a:cubicBezTo>
                    <a:pt x="62" y="24"/>
                    <a:pt x="62" y="24"/>
                    <a:pt x="62" y="24"/>
                  </a:cubicBezTo>
                  <a:cubicBezTo>
                    <a:pt x="62" y="25"/>
                    <a:pt x="62" y="25"/>
                    <a:pt x="62" y="25"/>
                  </a:cubicBezTo>
                  <a:cubicBezTo>
                    <a:pt x="62" y="25"/>
                    <a:pt x="62" y="25"/>
                    <a:pt x="62" y="25"/>
                  </a:cubicBezTo>
                  <a:cubicBezTo>
                    <a:pt x="62" y="24"/>
                    <a:pt x="62" y="24"/>
                    <a:pt x="62" y="24"/>
                  </a:cubicBezTo>
                  <a:cubicBezTo>
                    <a:pt x="61" y="24"/>
                    <a:pt x="61" y="24"/>
                    <a:pt x="61" y="24"/>
                  </a:cubicBezTo>
                  <a:cubicBezTo>
                    <a:pt x="61" y="24"/>
                    <a:pt x="61" y="24"/>
                    <a:pt x="61" y="24"/>
                  </a:cubicBezTo>
                  <a:cubicBezTo>
                    <a:pt x="61" y="24"/>
                    <a:pt x="61" y="24"/>
                    <a:pt x="61" y="24"/>
                  </a:cubicBezTo>
                  <a:cubicBezTo>
                    <a:pt x="61" y="24"/>
                    <a:pt x="61" y="24"/>
                    <a:pt x="61" y="24"/>
                  </a:cubicBezTo>
                  <a:cubicBezTo>
                    <a:pt x="61" y="24"/>
                    <a:pt x="61" y="24"/>
                    <a:pt x="61" y="24"/>
                  </a:cubicBezTo>
                  <a:cubicBezTo>
                    <a:pt x="61" y="25"/>
                    <a:pt x="61" y="25"/>
                    <a:pt x="61" y="25"/>
                  </a:cubicBezTo>
                  <a:cubicBezTo>
                    <a:pt x="60" y="25"/>
                    <a:pt x="60" y="25"/>
                    <a:pt x="60" y="25"/>
                  </a:cubicBezTo>
                  <a:cubicBezTo>
                    <a:pt x="60" y="25"/>
                    <a:pt x="60" y="25"/>
                    <a:pt x="60" y="25"/>
                  </a:cubicBezTo>
                  <a:cubicBezTo>
                    <a:pt x="60" y="25"/>
                    <a:pt x="60" y="25"/>
                    <a:pt x="60" y="25"/>
                  </a:cubicBezTo>
                  <a:cubicBezTo>
                    <a:pt x="60" y="25"/>
                    <a:pt x="60" y="25"/>
                    <a:pt x="60" y="25"/>
                  </a:cubicBezTo>
                  <a:cubicBezTo>
                    <a:pt x="60" y="25"/>
                    <a:pt x="60" y="25"/>
                    <a:pt x="60" y="25"/>
                  </a:cubicBezTo>
                  <a:cubicBezTo>
                    <a:pt x="60" y="25"/>
                    <a:pt x="60" y="25"/>
                    <a:pt x="60" y="25"/>
                  </a:cubicBezTo>
                  <a:cubicBezTo>
                    <a:pt x="60" y="25"/>
                    <a:pt x="60" y="25"/>
                    <a:pt x="60" y="25"/>
                  </a:cubicBezTo>
                  <a:cubicBezTo>
                    <a:pt x="60" y="24"/>
                    <a:pt x="60" y="24"/>
                    <a:pt x="60" y="24"/>
                  </a:cubicBezTo>
                  <a:cubicBezTo>
                    <a:pt x="60" y="24"/>
                    <a:pt x="60" y="24"/>
                    <a:pt x="60" y="24"/>
                  </a:cubicBezTo>
                  <a:cubicBezTo>
                    <a:pt x="60" y="24"/>
                    <a:pt x="60" y="24"/>
                    <a:pt x="60" y="24"/>
                  </a:cubicBezTo>
                  <a:cubicBezTo>
                    <a:pt x="60" y="24"/>
                    <a:pt x="60" y="24"/>
                    <a:pt x="60" y="24"/>
                  </a:cubicBezTo>
                  <a:cubicBezTo>
                    <a:pt x="61" y="24"/>
                    <a:pt x="61" y="24"/>
                    <a:pt x="61" y="24"/>
                  </a:cubicBezTo>
                  <a:cubicBezTo>
                    <a:pt x="61" y="24"/>
                    <a:pt x="61" y="24"/>
                    <a:pt x="61" y="24"/>
                  </a:cubicBezTo>
                  <a:cubicBezTo>
                    <a:pt x="61" y="24"/>
                    <a:pt x="61" y="24"/>
                    <a:pt x="61" y="24"/>
                  </a:cubicBezTo>
                  <a:cubicBezTo>
                    <a:pt x="61" y="23"/>
                    <a:pt x="61" y="23"/>
                    <a:pt x="61" y="23"/>
                  </a:cubicBezTo>
                  <a:cubicBezTo>
                    <a:pt x="62" y="23"/>
                    <a:pt x="62" y="23"/>
                    <a:pt x="62" y="23"/>
                  </a:cubicBezTo>
                  <a:cubicBezTo>
                    <a:pt x="62" y="23"/>
                    <a:pt x="62" y="23"/>
                    <a:pt x="62" y="23"/>
                  </a:cubicBezTo>
                  <a:cubicBezTo>
                    <a:pt x="62" y="23"/>
                    <a:pt x="62" y="23"/>
                    <a:pt x="62" y="23"/>
                  </a:cubicBezTo>
                  <a:cubicBezTo>
                    <a:pt x="62" y="23"/>
                    <a:pt x="62" y="23"/>
                    <a:pt x="62" y="23"/>
                  </a:cubicBezTo>
                  <a:cubicBezTo>
                    <a:pt x="62" y="23"/>
                    <a:pt x="62" y="23"/>
                    <a:pt x="62" y="23"/>
                  </a:cubicBezTo>
                  <a:cubicBezTo>
                    <a:pt x="62" y="23"/>
                    <a:pt x="62" y="23"/>
                    <a:pt x="62" y="23"/>
                  </a:cubicBezTo>
                  <a:cubicBezTo>
                    <a:pt x="63" y="23"/>
                    <a:pt x="63" y="23"/>
                    <a:pt x="63" y="23"/>
                  </a:cubicBezTo>
                  <a:cubicBezTo>
                    <a:pt x="63" y="23"/>
                    <a:pt x="63" y="23"/>
                    <a:pt x="63" y="23"/>
                  </a:cubicBezTo>
                  <a:cubicBezTo>
                    <a:pt x="63" y="22"/>
                    <a:pt x="63" y="22"/>
                    <a:pt x="63" y="22"/>
                  </a:cubicBezTo>
                  <a:cubicBezTo>
                    <a:pt x="63" y="22"/>
                    <a:pt x="63" y="22"/>
                    <a:pt x="63" y="22"/>
                  </a:cubicBezTo>
                  <a:cubicBezTo>
                    <a:pt x="63" y="22"/>
                    <a:pt x="63" y="22"/>
                    <a:pt x="63" y="22"/>
                  </a:cubicBezTo>
                  <a:cubicBezTo>
                    <a:pt x="63" y="21"/>
                    <a:pt x="63" y="21"/>
                    <a:pt x="63" y="21"/>
                  </a:cubicBezTo>
                  <a:cubicBezTo>
                    <a:pt x="63" y="21"/>
                    <a:pt x="63" y="21"/>
                    <a:pt x="63" y="21"/>
                  </a:cubicBezTo>
                  <a:cubicBezTo>
                    <a:pt x="63" y="20"/>
                    <a:pt x="63" y="20"/>
                    <a:pt x="63" y="20"/>
                  </a:cubicBezTo>
                  <a:cubicBezTo>
                    <a:pt x="63" y="20"/>
                    <a:pt x="63" y="20"/>
                    <a:pt x="63" y="20"/>
                  </a:cubicBezTo>
                  <a:cubicBezTo>
                    <a:pt x="63" y="20"/>
                    <a:pt x="63" y="20"/>
                    <a:pt x="63" y="20"/>
                  </a:cubicBezTo>
                  <a:cubicBezTo>
                    <a:pt x="63" y="20"/>
                    <a:pt x="63" y="20"/>
                    <a:pt x="63" y="20"/>
                  </a:cubicBezTo>
                  <a:cubicBezTo>
                    <a:pt x="63" y="20"/>
                    <a:pt x="63" y="20"/>
                    <a:pt x="63" y="20"/>
                  </a:cubicBezTo>
                  <a:cubicBezTo>
                    <a:pt x="62" y="20"/>
                    <a:pt x="62" y="20"/>
                    <a:pt x="62" y="20"/>
                  </a:cubicBezTo>
                  <a:cubicBezTo>
                    <a:pt x="62" y="21"/>
                    <a:pt x="62" y="21"/>
                    <a:pt x="62" y="21"/>
                  </a:cubicBezTo>
                  <a:cubicBezTo>
                    <a:pt x="61" y="21"/>
                    <a:pt x="61" y="21"/>
                    <a:pt x="61" y="21"/>
                  </a:cubicBezTo>
                  <a:cubicBezTo>
                    <a:pt x="61" y="21"/>
                    <a:pt x="61" y="21"/>
                    <a:pt x="61" y="21"/>
                  </a:cubicBezTo>
                  <a:cubicBezTo>
                    <a:pt x="61" y="22"/>
                    <a:pt x="61" y="22"/>
                    <a:pt x="61" y="22"/>
                  </a:cubicBezTo>
                  <a:cubicBezTo>
                    <a:pt x="60" y="22"/>
                    <a:pt x="60" y="22"/>
                    <a:pt x="60" y="22"/>
                  </a:cubicBezTo>
                  <a:cubicBezTo>
                    <a:pt x="60" y="23"/>
                    <a:pt x="60" y="23"/>
                    <a:pt x="60" y="23"/>
                  </a:cubicBezTo>
                  <a:cubicBezTo>
                    <a:pt x="60" y="23"/>
                    <a:pt x="60" y="23"/>
                    <a:pt x="60" y="23"/>
                  </a:cubicBezTo>
                  <a:cubicBezTo>
                    <a:pt x="60" y="23"/>
                    <a:pt x="60" y="23"/>
                    <a:pt x="60" y="23"/>
                  </a:cubicBezTo>
                  <a:cubicBezTo>
                    <a:pt x="59" y="24"/>
                    <a:pt x="59" y="24"/>
                    <a:pt x="59" y="24"/>
                  </a:cubicBezTo>
                  <a:cubicBezTo>
                    <a:pt x="59" y="24"/>
                    <a:pt x="59" y="24"/>
                    <a:pt x="59" y="24"/>
                  </a:cubicBezTo>
                  <a:cubicBezTo>
                    <a:pt x="59" y="23"/>
                    <a:pt x="59" y="23"/>
                    <a:pt x="59" y="23"/>
                  </a:cubicBezTo>
                  <a:cubicBezTo>
                    <a:pt x="60" y="23"/>
                    <a:pt x="60" y="23"/>
                    <a:pt x="60" y="23"/>
                  </a:cubicBezTo>
                  <a:cubicBezTo>
                    <a:pt x="60" y="22"/>
                    <a:pt x="60" y="22"/>
                    <a:pt x="60" y="22"/>
                  </a:cubicBezTo>
                  <a:cubicBezTo>
                    <a:pt x="60" y="22"/>
                    <a:pt x="60" y="22"/>
                    <a:pt x="60" y="22"/>
                  </a:cubicBezTo>
                  <a:cubicBezTo>
                    <a:pt x="61" y="21"/>
                    <a:pt x="61" y="21"/>
                    <a:pt x="61" y="21"/>
                  </a:cubicBezTo>
                  <a:cubicBezTo>
                    <a:pt x="61" y="20"/>
                    <a:pt x="61" y="20"/>
                    <a:pt x="61" y="20"/>
                  </a:cubicBezTo>
                  <a:cubicBezTo>
                    <a:pt x="61" y="20"/>
                    <a:pt x="61" y="20"/>
                    <a:pt x="61" y="20"/>
                  </a:cubicBezTo>
                  <a:cubicBezTo>
                    <a:pt x="61" y="20"/>
                    <a:pt x="61" y="20"/>
                    <a:pt x="61" y="20"/>
                  </a:cubicBezTo>
                  <a:cubicBezTo>
                    <a:pt x="61" y="20"/>
                    <a:pt x="61" y="20"/>
                    <a:pt x="61" y="20"/>
                  </a:cubicBezTo>
                  <a:cubicBezTo>
                    <a:pt x="61" y="20"/>
                    <a:pt x="61" y="20"/>
                    <a:pt x="61" y="20"/>
                  </a:cubicBezTo>
                  <a:cubicBezTo>
                    <a:pt x="61" y="20"/>
                    <a:pt x="61" y="20"/>
                    <a:pt x="61" y="20"/>
                  </a:cubicBezTo>
                  <a:cubicBezTo>
                    <a:pt x="62" y="20"/>
                    <a:pt x="62" y="20"/>
                    <a:pt x="62" y="20"/>
                  </a:cubicBezTo>
                  <a:cubicBezTo>
                    <a:pt x="62" y="19"/>
                    <a:pt x="62" y="19"/>
                    <a:pt x="62" y="19"/>
                  </a:cubicBezTo>
                  <a:cubicBezTo>
                    <a:pt x="63" y="19"/>
                    <a:pt x="63" y="19"/>
                    <a:pt x="63" y="19"/>
                  </a:cubicBezTo>
                  <a:cubicBezTo>
                    <a:pt x="63" y="19"/>
                    <a:pt x="63" y="19"/>
                    <a:pt x="63" y="19"/>
                  </a:cubicBezTo>
                  <a:cubicBezTo>
                    <a:pt x="63" y="19"/>
                    <a:pt x="63" y="19"/>
                    <a:pt x="63" y="19"/>
                  </a:cubicBezTo>
                  <a:cubicBezTo>
                    <a:pt x="63" y="19"/>
                    <a:pt x="63" y="19"/>
                    <a:pt x="63" y="19"/>
                  </a:cubicBezTo>
                  <a:cubicBezTo>
                    <a:pt x="63" y="19"/>
                    <a:pt x="63" y="19"/>
                    <a:pt x="63" y="19"/>
                  </a:cubicBezTo>
                  <a:cubicBezTo>
                    <a:pt x="63" y="19"/>
                    <a:pt x="63" y="19"/>
                    <a:pt x="63" y="19"/>
                  </a:cubicBezTo>
                  <a:cubicBezTo>
                    <a:pt x="64" y="18"/>
                    <a:pt x="64" y="18"/>
                    <a:pt x="64" y="18"/>
                  </a:cubicBezTo>
                  <a:cubicBezTo>
                    <a:pt x="64" y="18"/>
                    <a:pt x="64" y="18"/>
                    <a:pt x="64" y="18"/>
                  </a:cubicBezTo>
                  <a:cubicBezTo>
                    <a:pt x="64" y="18"/>
                    <a:pt x="64" y="18"/>
                    <a:pt x="64" y="18"/>
                  </a:cubicBezTo>
                  <a:cubicBezTo>
                    <a:pt x="65" y="15"/>
                    <a:pt x="65" y="15"/>
                    <a:pt x="65" y="15"/>
                  </a:cubicBezTo>
                  <a:cubicBezTo>
                    <a:pt x="65" y="14"/>
                    <a:pt x="65" y="14"/>
                    <a:pt x="65" y="14"/>
                  </a:cubicBezTo>
                  <a:cubicBezTo>
                    <a:pt x="66" y="14"/>
                    <a:pt x="66" y="14"/>
                    <a:pt x="66" y="14"/>
                  </a:cubicBezTo>
                  <a:cubicBezTo>
                    <a:pt x="66" y="13"/>
                    <a:pt x="66" y="13"/>
                    <a:pt x="66" y="13"/>
                  </a:cubicBezTo>
                  <a:cubicBezTo>
                    <a:pt x="65" y="13"/>
                    <a:pt x="65" y="13"/>
                    <a:pt x="65" y="13"/>
                  </a:cubicBezTo>
                  <a:cubicBezTo>
                    <a:pt x="65" y="13"/>
                    <a:pt x="65" y="13"/>
                    <a:pt x="65" y="13"/>
                  </a:cubicBezTo>
                  <a:cubicBezTo>
                    <a:pt x="65" y="13"/>
                    <a:pt x="65" y="13"/>
                    <a:pt x="65" y="13"/>
                  </a:cubicBezTo>
                  <a:cubicBezTo>
                    <a:pt x="65" y="13"/>
                    <a:pt x="65" y="13"/>
                    <a:pt x="65" y="13"/>
                  </a:cubicBezTo>
                  <a:cubicBezTo>
                    <a:pt x="65" y="13"/>
                    <a:pt x="65" y="13"/>
                    <a:pt x="65" y="13"/>
                  </a:cubicBezTo>
                  <a:cubicBezTo>
                    <a:pt x="65" y="13"/>
                    <a:pt x="65" y="13"/>
                    <a:pt x="65" y="13"/>
                  </a:cubicBezTo>
                  <a:cubicBezTo>
                    <a:pt x="64" y="14"/>
                    <a:pt x="64" y="14"/>
                    <a:pt x="64" y="14"/>
                  </a:cubicBezTo>
                  <a:cubicBezTo>
                    <a:pt x="64" y="15"/>
                    <a:pt x="64" y="15"/>
                    <a:pt x="64" y="15"/>
                  </a:cubicBezTo>
                  <a:cubicBezTo>
                    <a:pt x="64" y="15"/>
                    <a:pt x="64" y="15"/>
                    <a:pt x="64" y="15"/>
                  </a:cubicBezTo>
                  <a:cubicBezTo>
                    <a:pt x="64" y="16"/>
                    <a:pt x="64" y="16"/>
                    <a:pt x="64" y="16"/>
                  </a:cubicBezTo>
                  <a:cubicBezTo>
                    <a:pt x="64" y="16"/>
                    <a:pt x="64" y="16"/>
                    <a:pt x="64" y="16"/>
                  </a:cubicBezTo>
                  <a:cubicBezTo>
                    <a:pt x="64" y="16"/>
                    <a:pt x="64" y="16"/>
                    <a:pt x="64" y="16"/>
                  </a:cubicBezTo>
                  <a:cubicBezTo>
                    <a:pt x="64" y="15"/>
                    <a:pt x="64" y="15"/>
                    <a:pt x="64" y="15"/>
                  </a:cubicBezTo>
                  <a:cubicBezTo>
                    <a:pt x="64" y="14"/>
                    <a:pt x="64" y="14"/>
                    <a:pt x="64" y="14"/>
                  </a:cubicBezTo>
                  <a:cubicBezTo>
                    <a:pt x="64" y="13"/>
                    <a:pt x="64" y="13"/>
                    <a:pt x="64" y="13"/>
                  </a:cubicBezTo>
                  <a:cubicBezTo>
                    <a:pt x="64" y="13"/>
                    <a:pt x="64" y="13"/>
                    <a:pt x="64" y="13"/>
                  </a:cubicBezTo>
                  <a:cubicBezTo>
                    <a:pt x="64" y="12"/>
                    <a:pt x="64" y="12"/>
                    <a:pt x="64" y="12"/>
                  </a:cubicBezTo>
                  <a:cubicBezTo>
                    <a:pt x="64" y="11"/>
                    <a:pt x="64" y="11"/>
                    <a:pt x="64" y="11"/>
                  </a:cubicBezTo>
                  <a:cubicBezTo>
                    <a:pt x="64" y="9"/>
                    <a:pt x="64" y="9"/>
                    <a:pt x="64" y="9"/>
                  </a:cubicBezTo>
                  <a:cubicBezTo>
                    <a:pt x="64" y="8"/>
                    <a:pt x="64" y="8"/>
                    <a:pt x="64" y="8"/>
                  </a:cubicBezTo>
                  <a:cubicBezTo>
                    <a:pt x="64" y="8"/>
                    <a:pt x="64" y="8"/>
                    <a:pt x="64" y="8"/>
                  </a:cubicBezTo>
                  <a:cubicBezTo>
                    <a:pt x="64" y="7"/>
                    <a:pt x="64" y="7"/>
                    <a:pt x="64" y="7"/>
                  </a:cubicBezTo>
                  <a:cubicBezTo>
                    <a:pt x="64" y="7"/>
                    <a:pt x="64" y="7"/>
                    <a:pt x="64" y="7"/>
                  </a:cubicBezTo>
                  <a:cubicBezTo>
                    <a:pt x="64" y="7"/>
                    <a:pt x="64" y="7"/>
                    <a:pt x="64" y="7"/>
                  </a:cubicBezTo>
                  <a:cubicBezTo>
                    <a:pt x="64" y="7"/>
                    <a:pt x="64" y="7"/>
                    <a:pt x="64" y="7"/>
                  </a:cubicBezTo>
                  <a:cubicBezTo>
                    <a:pt x="64" y="7"/>
                    <a:pt x="64" y="7"/>
                    <a:pt x="64" y="7"/>
                  </a:cubicBezTo>
                  <a:cubicBezTo>
                    <a:pt x="64" y="7"/>
                    <a:pt x="64" y="7"/>
                    <a:pt x="64" y="7"/>
                  </a:cubicBezTo>
                  <a:cubicBezTo>
                    <a:pt x="64" y="7"/>
                    <a:pt x="64" y="7"/>
                    <a:pt x="64" y="7"/>
                  </a:cubicBezTo>
                  <a:cubicBezTo>
                    <a:pt x="64" y="7"/>
                    <a:pt x="64" y="7"/>
                    <a:pt x="64" y="7"/>
                  </a:cubicBezTo>
                  <a:cubicBezTo>
                    <a:pt x="64" y="6"/>
                    <a:pt x="64" y="6"/>
                    <a:pt x="64" y="6"/>
                  </a:cubicBezTo>
                  <a:cubicBezTo>
                    <a:pt x="64" y="7"/>
                    <a:pt x="64" y="7"/>
                    <a:pt x="64" y="7"/>
                  </a:cubicBezTo>
                  <a:cubicBezTo>
                    <a:pt x="64" y="7"/>
                    <a:pt x="64" y="7"/>
                    <a:pt x="64" y="7"/>
                  </a:cubicBezTo>
                  <a:cubicBezTo>
                    <a:pt x="63" y="6"/>
                    <a:pt x="63" y="6"/>
                    <a:pt x="63" y="6"/>
                  </a:cubicBezTo>
                  <a:cubicBezTo>
                    <a:pt x="63" y="6"/>
                    <a:pt x="63" y="6"/>
                    <a:pt x="63" y="6"/>
                  </a:cubicBezTo>
                  <a:cubicBezTo>
                    <a:pt x="64" y="6"/>
                    <a:pt x="64" y="6"/>
                    <a:pt x="64" y="6"/>
                  </a:cubicBezTo>
                  <a:cubicBezTo>
                    <a:pt x="64" y="6"/>
                    <a:pt x="64" y="6"/>
                    <a:pt x="64" y="6"/>
                  </a:cubicBezTo>
                  <a:cubicBezTo>
                    <a:pt x="64" y="5"/>
                    <a:pt x="64" y="5"/>
                    <a:pt x="64" y="5"/>
                  </a:cubicBezTo>
                  <a:cubicBezTo>
                    <a:pt x="64" y="5"/>
                    <a:pt x="64" y="5"/>
                    <a:pt x="64" y="5"/>
                  </a:cubicBezTo>
                  <a:cubicBezTo>
                    <a:pt x="63" y="3"/>
                    <a:pt x="63" y="3"/>
                    <a:pt x="63" y="3"/>
                  </a:cubicBezTo>
                  <a:cubicBezTo>
                    <a:pt x="63" y="3"/>
                    <a:pt x="63" y="3"/>
                    <a:pt x="63" y="3"/>
                  </a:cubicBezTo>
                  <a:cubicBezTo>
                    <a:pt x="63" y="2"/>
                    <a:pt x="63" y="2"/>
                    <a:pt x="63" y="2"/>
                  </a:cubicBezTo>
                  <a:cubicBezTo>
                    <a:pt x="63" y="2"/>
                    <a:pt x="63" y="2"/>
                    <a:pt x="63" y="2"/>
                  </a:cubicBezTo>
                  <a:cubicBezTo>
                    <a:pt x="63" y="2"/>
                    <a:pt x="63" y="2"/>
                    <a:pt x="63" y="2"/>
                  </a:cubicBezTo>
                  <a:cubicBezTo>
                    <a:pt x="63" y="2"/>
                    <a:pt x="63" y="2"/>
                    <a:pt x="63" y="2"/>
                  </a:cubicBezTo>
                  <a:cubicBezTo>
                    <a:pt x="63" y="2"/>
                    <a:pt x="63" y="2"/>
                    <a:pt x="63" y="2"/>
                  </a:cubicBezTo>
                  <a:cubicBezTo>
                    <a:pt x="62" y="2"/>
                    <a:pt x="62" y="2"/>
                    <a:pt x="62" y="2"/>
                  </a:cubicBezTo>
                  <a:cubicBezTo>
                    <a:pt x="62" y="3"/>
                    <a:pt x="62" y="3"/>
                    <a:pt x="62" y="3"/>
                  </a:cubicBezTo>
                  <a:cubicBezTo>
                    <a:pt x="61" y="3"/>
                    <a:pt x="61" y="3"/>
                    <a:pt x="61" y="3"/>
                  </a:cubicBezTo>
                  <a:cubicBezTo>
                    <a:pt x="61" y="3"/>
                    <a:pt x="61" y="3"/>
                    <a:pt x="61" y="3"/>
                  </a:cubicBezTo>
                  <a:cubicBezTo>
                    <a:pt x="61" y="3"/>
                    <a:pt x="61" y="3"/>
                    <a:pt x="61" y="3"/>
                  </a:cubicBezTo>
                  <a:cubicBezTo>
                    <a:pt x="61" y="3"/>
                    <a:pt x="61" y="3"/>
                    <a:pt x="61" y="3"/>
                  </a:cubicBezTo>
                  <a:cubicBezTo>
                    <a:pt x="61" y="2"/>
                    <a:pt x="61" y="2"/>
                    <a:pt x="61" y="2"/>
                  </a:cubicBezTo>
                  <a:cubicBezTo>
                    <a:pt x="61" y="2"/>
                    <a:pt x="61" y="2"/>
                    <a:pt x="61" y="2"/>
                  </a:cubicBezTo>
                  <a:cubicBezTo>
                    <a:pt x="60" y="3"/>
                    <a:pt x="60" y="3"/>
                    <a:pt x="60" y="3"/>
                  </a:cubicBezTo>
                  <a:cubicBezTo>
                    <a:pt x="60" y="2"/>
                    <a:pt x="60" y="2"/>
                    <a:pt x="60" y="2"/>
                  </a:cubicBezTo>
                  <a:cubicBezTo>
                    <a:pt x="61" y="2"/>
                    <a:pt x="61" y="2"/>
                    <a:pt x="61" y="2"/>
                  </a:cubicBezTo>
                  <a:cubicBezTo>
                    <a:pt x="61" y="1"/>
                    <a:pt x="61" y="1"/>
                    <a:pt x="61" y="1"/>
                  </a:cubicBezTo>
                  <a:cubicBezTo>
                    <a:pt x="61" y="0"/>
                    <a:pt x="61" y="0"/>
                    <a:pt x="61" y="0"/>
                  </a:cubicBezTo>
                  <a:cubicBezTo>
                    <a:pt x="61" y="0"/>
                    <a:pt x="61" y="0"/>
                    <a:pt x="61" y="0"/>
                  </a:cubicBezTo>
                  <a:cubicBezTo>
                    <a:pt x="61" y="0"/>
                    <a:pt x="61" y="0"/>
                    <a:pt x="61" y="0"/>
                  </a:cubicBezTo>
                  <a:cubicBezTo>
                    <a:pt x="60" y="0"/>
                    <a:pt x="60" y="0"/>
                    <a:pt x="60" y="0"/>
                  </a:cubicBezTo>
                  <a:cubicBezTo>
                    <a:pt x="60" y="0"/>
                    <a:pt x="60" y="0"/>
                    <a:pt x="60" y="0"/>
                  </a:cubicBezTo>
                  <a:cubicBezTo>
                    <a:pt x="60" y="1"/>
                    <a:pt x="60" y="1"/>
                    <a:pt x="60" y="1"/>
                  </a:cubicBezTo>
                  <a:cubicBezTo>
                    <a:pt x="60" y="1"/>
                    <a:pt x="60" y="1"/>
                    <a:pt x="60" y="1"/>
                  </a:cubicBezTo>
                  <a:cubicBezTo>
                    <a:pt x="59" y="1"/>
                    <a:pt x="59" y="1"/>
                    <a:pt x="59" y="1"/>
                  </a:cubicBezTo>
                  <a:cubicBezTo>
                    <a:pt x="59" y="0"/>
                    <a:pt x="59" y="0"/>
                    <a:pt x="59" y="0"/>
                  </a:cubicBezTo>
                  <a:cubicBezTo>
                    <a:pt x="59" y="0"/>
                    <a:pt x="59" y="0"/>
                    <a:pt x="59" y="0"/>
                  </a:cubicBezTo>
                  <a:cubicBezTo>
                    <a:pt x="59" y="0"/>
                    <a:pt x="59" y="0"/>
                    <a:pt x="59" y="0"/>
                  </a:cubicBezTo>
                  <a:cubicBezTo>
                    <a:pt x="58" y="0"/>
                    <a:pt x="58" y="0"/>
                    <a:pt x="58" y="0"/>
                  </a:cubicBezTo>
                  <a:cubicBezTo>
                    <a:pt x="58" y="0"/>
                    <a:pt x="58" y="0"/>
                    <a:pt x="58" y="0"/>
                  </a:cubicBezTo>
                  <a:cubicBezTo>
                    <a:pt x="58" y="0"/>
                    <a:pt x="58" y="0"/>
                    <a:pt x="58" y="0"/>
                  </a:cubicBezTo>
                  <a:cubicBezTo>
                    <a:pt x="58" y="1"/>
                    <a:pt x="58" y="1"/>
                    <a:pt x="58" y="1"/>
                  </a:cubicBezTo>
                  <a:cubicBezTo>
                    <a:pt x="58" y="1"/>
                    <a:pt x="58" y="1"/>
                    <a:pt x="58" y="1"/>
                  </a:cubicBezTo>
                  <a:cubicBezTo>
                    <a:pt x="58" y="1"/>
                    <a:pt x="58" y="1"/>
                    <a:pt x="58" y="1"/>
                  </a:cubicBezTo>
                  <a:cubicBezTo>
                    <a:pt x="58" y="2"/>
                    <a:pt x="58" y="2"/>
                    <a:pt x="58" y="2"/>
                  </a:cubicBezTo>
                  <a:cubicBezTo>
                    <a:pt x="58" y="3"/>
                    <a:pt x="58" y="3"/>
                    <a:pt x="58" y="3"/>
                  </a:cubicBezTo>
                  <a:cubicBezTo>
                    <a:pt x="57" y="5"/>
                    <a:pt x="57" y="5"/>
                    <a:pt x="57" y="5"/>
                  </a:cubicBezTo>
                  <a:cubicBezTo>
                    <a:pt x="57" y="5"/>
                    <a:pt x="57" y="5"/>
                    <a:pt x="57" y="5"/>
                  </a:cubicBezTo>
                  <a:cubicBezTo>
                    <a:pt x="56" y="6"/>
                    <a:pt x="56" y="6"/>
                    <a:pt x="56" y="6"/>
                  </a:cubicBezTo>
                  <a:cubicBezTo>
                    <a:pt x="56" y="6"/>
                    <a:pt x="56" y="6"/>
                    <a:pt x="56" y="6"/>
                  </a:cubicBezTo>
                  <a:cubicBezTo>
                    <a:pt x="56" y="7"/>
                    <a:pt x="56" y="7"/>
                    <a:pt x="56" y="7"/>
                  </a:cubicBezTo>
                  <a:cubicBezTo>
                    <a:pt x="56" y="9"/>
                    <a:pt x="56" y="9"/>
                    <a:pt x="56" y="9"/>
                  </a:cubicBezTo>
                  <a:cubicBezTo>
                    <a:pt x="56" y="9"/>
                    <a:pt x="56" y="9"/>
                    <a:pt x="56" y="9"/>
                  </a:cubicBezTo>
                  <a:cubicBezTo>
                    <a:pt x="56" y="9"/>
                    <a:pt x="56" y="9"/>
                    <a:pt x="56" y="9"/>
                  </a:cubicBezTo>
                  <a:cubicBezTo>
                    <a:pt x="56" y="10"/>
                    <a:pt x="56" y="10"/>
                    <a:pt x="56" y="10"/>
                  </a:cubicBezTo>
                  <a:cubicBezTo>
                    <a:pt x="56" y="10"/>
                    <a:pt x="56" y="10"/>
                    <a:pt x="56" y="10"/>
                  </a:cubicBezTo>
                  <a:cubicBezTo>
                    <a:pt x="56" y="10"/>
                    <a:pt x="56" y="10"/>
                    <a:pt x="56" y="10"/>
                  </a:cubicBezTo>
                  <a:cubicBezTo>
                    <a:pt x="56" y="11"/>
                    <a:pt x="56" y="11"/>
                    <a:pt x="56" y="11"/>
                  </a:cubicBezTo>
                  <a:cubicBezTo>
                    <a:pt x="56" y="11"/>
                    <a:pt x="56" y="11"/>
                    <a:pt x="56" y="11"/>
                  </a:cubicBezTo>
                  <a:cubicBezTo>
                    <a:pt x="55" y="11"/>
                    <a:pt x="55" y="11"/>
                    <a:pt x="55" y="11"/>
                  </a:cubicBezTo>
                  <a:cubicBezTo>
                    <a:pt x="55" y="11"/>
                    <a:pt x="55" y="11"/>
                    <a:pt x="55" y="11"/>
                  </a:cubicBezTo>
                  <a:cubicBezTo>
                    <a:pt x="55" y="10"/>
                    <a:pt x="55" y="10"/>
                    <a:pt x="55" y="10"/>
                  </a:cubicBezTo>
                  <a:cubicBezTo>
                    <a:pt x="55" y="10"/>
                    <a:pt x="55" y="10"/>
                    <a:pt x="55" y="10"/>
                  </a:cubicBezTo>
                  <a:cubicBezTo>
                    <a:pt x="55" y="10"/>
                    <a:pt x="55" y="10"/>
                    <a:pt x="55" y="10"/>
                  </a:cubicBezTo>
                  <a:cubicBezTo>
                    <a:pt x="55" y="11"/>
                    <a:pt x="55" y="11"/>
                    <a:pt x="55" y="11"/>
                  </a:cubicBezTo>
                  <a:cubicBezTo>
                    <a:pt x="55" y="11"/>
                    <a:pt x="55" y="11"/>
                    <a:pt x="55" y="11"/>
                  </a:cubicBezTo>
                  <a:cubicBezTo>
                    <a:pt x="55" y="11"/>
                    <a:pt x="55" y="11"/>
                    <a:pt x="55" y="11"/>
                  </a:cubicBezTo>
                  <a:cubicBezTo>
                    <a:pt x="55" y="11"/>
                    <a:pt x="55" y="11"/>
                    <a:pt x="55" y="11"/>
                  </a:cubicBezTo>
                  <a:cubicBezTo>
                    <a:pt x="56" y="11"/>
                    <a:pt x="56" y="11"/>
                    <a:pt x="56" y="11"/>
                  </a:cubicBezTo>
                  <a:cubicBezTo>
                    <a:pt x="56" y="12"/>
                    <a:pt x="56" y="12"/>
                    <a:pt x="56" y="12"/>
                  </a:cubicBezTo>
                  <a:cubicBezTo>
                    <a:pt x="55" y="12"/>
                    <a:pt x="55" y="12"/>
                    <a:pt x="55" y="12"/>
                  </a:cubicBezTo>
                  <a:cubicBezTo>
                    <a:pt x="55" y="13"/>
                    <a:pt x="55" y="13"/>
                    <a:pt x="55" y="13"/>
                  </a:cubicBezTo>
                  <a:cubicBezTo>
                    <a:pt x="56" y="13"/>
                    <a:pt x="56" y="13"/>
                    <a:pt x="56" y="13"/>
                  </a:cubicBezTo>
                  <a:cubicBezTo>
                    <a:pt x="56" y="14"/>
                    <a:pt x="56" y="14"/>
                    <a:pt x="56" y="14"/>
                  </a:cubicBezTo>
                  <a:cubicBezTo>
                    <a:pt x="56" y="14"/>
                    <a:pt x="56" y="14"/>
                    <a:pt x="56" y="14"/>
                  </a:cubicBezTo>
                  <a:cubicBezTo>
                    <a:pt x="55" y="16"/>
                    <a:pt x="55" y="16"/>
                    <a:pt x="55" y="16"/>
                  </a:cubicBezTo>
                  <a:cubicBezTo>
                    <a:pt x="55" y="16"/>
                    <a:pt x="55" y="16"/>
                    <a:pt x="55" y="16"/>
                  </a:cubicBezTo>
                  <a:cubicBezTo>
                    <a:pt x="55" y="17"/>
                    <a:pt x="55" y="17"/>
                    <a:pt x="55" y="17"/>
                  </a:cubicBezTo>
                  <a:cubicBezTo>
                    <a:pt x="55" y="18"/>
                    <a:pt x="55" y="18"/>
                    <a:pt x="55" y="18"/>
                  </a:cubicBezTo>
                  <a:cubicBezTo>
                    <a:pt x="55" y="19"/>
                    <a:pt x="55" y="19"/>
                    <a:pt x="55" y="19"/>
                  </a:cubicBezTo>
                  <a:cubicBezTo>
                    <a:pt x="55" y="19"/>
                    <a:pt x="55" y="19"/>
                    <a:pt x="55" y="19"/>
                  </a:cubicBezTo>
                  <a:cubicBezTo>
                    <a:pt x="54" y="20"/>
                    <a:pt x="54" y="20"/>
                    <a:pt x="54" y="20"/>
                  </a:cubicBezTo>
                  <a:cubicBezTo>
                    <a:pt x="53" y="21"/>
                    <a:pt x="53" y="21"/>
                    <a:pt x="53" y="21"/>
                  </a:cubicBezTo>
                  <a:cubicBezTo>
                    <a:pt x="53" y="21"/>
                    <a:pt x="53" y="21"/>
                    <a:pt x="53" y="21"/>
                  </a:cubicBezTo>
                  <a:cubicBezTo>
                    <a:pt x="53" y="21"/>
                    <a:pt x="53" y="21"/>
                    <a:pt x="53" y="21"/>
                  </a:cubicBezTo>
                  <a:cubicBezTo>
                    <a:pt x="53" y="22"/>
                    <a:pt x="53" y="22"/>
                    <a:pt x="53" y="22"/>
                  </a:cubicBezTo>
                  <a:cubicBezTo>
                    <a:pt x="53" y="23"/>
                    <a:pt x="53" y="23"/>
                    <a:pt x="53" y="23"/>
                  </a:cubicBezTo>
                  <a:cubicBezTo>
                    <a:pt x="53" y="23"/>
                    <a:pt x="53" y="23"/>
                    <a:pt x="53" y="23"/>
                  </a:cubicBezTo>
                  <a:cubicBezTo>
                    <a:pt x="53" y="23"/>
                    <a:pt x="53" y="23"/>
                    <a:pt x="53" y="23"/>
                  </a:cubicBezTo>
                  <a:cubicBezTo>
                    <a:pt x="53" y="23"/>
                    <a:pt x="53" y="23"/>
                    <a:pt x="53" y="23"/>
                  </a:cubicBezTo>
                  <a:cubicBezTo>
                    <a:pt x="53" y="24"/>
                    <a:pt x="53" y="24"/>
                    <a:pt x="53" y="24"/>
                  </a:cubicBezTo>
                  <a:cubicBezTo>
                    <a:pt x="53" y="24"/>
                    <a:pt x="53" y="24"/>
                    <a:pt x="53" y="24"/>
                  </a:cubicBezTo>
                  <a:cubicBezTo>
                    <a:pt x="53" y="24"/>
                    <a:pt x="53" y="24"/>
                    <a:pt x="53" y="24"/>
                  </a:cubicBezTo>
                  <a:cubicBezTo>
                    <a:pt x="53" y="25"/>
                    <a:pt x="53" y="25"/>
                    <a:pt x="53" y="25"/>
                  </a:cubicBezTo>
                  <a:cubicBezTo>
                    <a:pt x="53" y="25"/>
                    <a:pt x="53" y="25"/>
                    <a:pt x="53" y="25"/>
                  </a:cubicBezTo>
                  <a:cubicBezTo>
                    <a:pt x="53" y="25"/>
                    <a:pt x="53" y="25"/>
                    <a:pt x="53" y="25"/>
                  </a:cubicBezTo>
                  <a:cubicBezTo>
                    <a:pt x="53" y="25"/>
                    <a:pt x="53" y="25"/>
                    <a:pt x="53" y="25"/>
                  </a:cubicBezTo>
                  <a:cubicBezTo>
                    <a:pt x="53" y="25"/>
                    <a:pt x="53" y="25"/>
                    <a:pt x="53" y="25"/>
                  </a:cubicBezTo>
                  <a:cubicBezTo>
                    <a:pt x="54" y="25"/>
                    <a:pt x="54" y="25"/>
                    <a:pt x="54" y="25"/>
                  </a:cubicBezTo>
                  <a:cubicBezTo>
                    <a:pt x="54" y="26"/>
                    <a:pt x="54" y="26"/>
                    <a:pt x="54" y="26"/>
                  </a:cubicBezTo>
                  <a:cubicBezTo>
                    <a:pt x="54" y="26"/>
                    <a:pt x="54" y="26"/>
                    <a:pt x="54" y="26"/>
                  </a:cubicBezTo>
                  <a:cubicBezTo>
                    <a:pt x="54" y="26"/>
                    <a:pt x="54" y="26"/>
                    <a:pt x="54" y="26"/>
                  </a:cubicBezTo>
                  <a:cubicBezTo>
                    <a:pt x="54" y="26"/>
                    <a:pt x="54" y="26"/>
                    <a:pt x="54" y="26"/>
                  </a:cubicBezTo>
                  <a:cubicBezTo>
                    <a:pt x="55" y="28"/>
                    <a:pt x="55" y="28"/>
                    <a:pt x="55" y="28"/>
                  </a:cubicBezTo>
                  <a:cubicBezTo>
                    <a:pt x="55" y="28"/>
                    <a:pt x="55" y="28"/>
                    <a:pt x="55" y="28"/>
                  </a:cubicBezTo>
                  <a:cubicBezTo>
                    <a:pt x="55" y="28"/>
                    <a:pt x="55" y="28"/>
                    <a:pt x="55" y="28"/>
                  </a:cubicBezTo>
                  <a:cubicBezTo>
                    <a:pt x="55" y="28"/>
                    <a:pt x="55" y="28"/>
                    <a:pt x="55" y="28"/>
                  </a:cubicBezTo>
                  <a:cubicBezTo>
                    <a:pt x="56" y="30"/>
                    <a:pt x="56" y="30"/>
                    <a:pt x="56" y="30"/>
                  </a:cubicBezTo>
                  <a:cubicBezTo>
                    <a:pt x="56" y="30"/>
                    <a:pt x="56" y="30"/>
                    <a:pt x="56" y="30"/>
                  </a:cubicBezTo>
                  <a:cubicBezTo>
                    <a:pt x="57" y="31"/>
                    <a:pt x="57" y="31"/>
                    <a:pt x="57" y="31"/>
                  </a:cubicBezTo>
                  <a:cubicBezTo>
                    <a:pt x="58" y="31"/>
                    <a:pt x="58" y="31"/>
                    <a:pt x="58" y="31"/>
                  </a:cubicBezTo>
                  <a:cubicBezTo>
                    <a:pt x="59" y="32"/>
                    <a:pt x="59" y="32"/>
                    <a:pt x="59" y="32"/>
                  </a:cubicBezTo>
                  <a:cubicBezTo>
                    <a:pt x="59" y="32"/>
                    <a:pt x="59" y="32"/>
                    <a:pt x="59" y="32"/>
                  </a:cubicBezTo>
                  <a:cubicBezTo>
                    <a:pt x="59" y="32"/>
                    <a:pt x="59" y="32"/>
                    <a:pt x="59" y="32"/>
                  </a:cubicBezTo>
                  <a:cubicBezTo>
                    <a:pt x="60" y="32"/>
                    <a:pt x="60" y="32"/>
                    <a:pt x="60" y="32"/>
                  </a:cubicBezTo>
                  <a:cubicBezTo>
                    <a:pt x="59" y="32"/>
                    <a:pt x="59" y="32"/>
                    <a:pt x="59" y="32"/>
                  </a:cubicBezTo>
                  <a:cubicBezTo>
                    <a:pt x="59" y="31"/>
                    <a:pt x="59" y="31"/>
                    <a:pt x="59" y="31"/>
                  </a:cubicBezTo>
                  <a:cubicBezTo>
                    <a:pt x="60" y="31"/>
                    <a:pt x="60" y="31"/>
                    <a:pt x="60" y="31"/>
                  </a:cubicBezTo>
                  <a:cubicBezTo>
                    <a:pt x="60" y="31"/>
                    <a:pt x="60" y="31"/>
                    <a:pt x="60" y="31"/>
                  </a:cubicBezTo>
                  <a:cubicBezTo>
                    <a:pt x="60" y="31"/>
                    <a:pt x="60" y="31"/>
                    <a:pt x="60" y="31"/>
                  </a:cubicBezTo>
                  <a:cubicBezTo>
                    <a:pt x="60" y="31"/>
                    <a:pt x="60" y="31"/>
                    <a:pt x="60" y="31"/>
                  </a:cubicBezTo>
                  <a:cubicBezTo>
                    <a:pt x="60" y="31"/>
                    <a:pt x="60" y="31"/>
                    <a:pt x="60" y="31"/>
                  </a:cubicBezTo>
                  <a:cubicBezTo>
                    <a:pt x="60" y="31"/>
                    <a:pt x="60" y="31"/>
                    <a:pt x="60" y="31"/>
                  </a:cubicBezTo>
                  <a:cubicBezTo>
                    <a:pt x="60" y="30"/>
                    <a:pt x="60" y="30"/>
                    <a:pt x="60" y="30"/>
                  </a:cubicBezTo>
                  <a:cubicBezTo>
                    <a:pt x="60" y="31"/>
                    <a:pt x="60" y="31"/>
                    <a:pt x="60" y="31"/>
                  </a:cubicBezTo>
                  <a:cubicBezTo>
                    <a:pt x="60" y="31"/>
                    <a:pt x="60" y="31"/>
                    <a:pt x="60" y="31"/>
                  </a:cubicBezTo>
                  <a:cubicBezTo>
                    <a:pt x="60" y="31"/>
                    <a:pt x="60" y="31"/>
                    <a:pt x="60" y="31"/>
                  </a:cubicBezTo>
                  <a:cubicBezTo>
                    <a:pt x="61" y="31"/>
                    <a:pt x="61" y="31"/>
                    <a:pt x="61" y="31"/>
                  </a:cubicBezTo>
                  <a:cubicBezTo>
                    <a:pt x="61" y="31"/>
                    <a:pt x="61" y="31"/>
                    <a:pt x="61" y="31"/>
                  </a:cubicBezTo>
                  <a:cubicBezTo>
                    <a:pt x="61" y="31"/>
                    <a:pt x="61" y="31"/>
                    <a:pt x="61" y="31"/>
                  </a:cubicBezTo>
                  <a:cubicBezTo>
                    <a:pt x="61" y="31"/>
                    <a:pt x="61" y="31"/>
                    <a:pt x="61" y="31"/>
                  </a:cubicBezTo>
                  <a:cubicBezTo>
                    <a:pt x="61" y="31"/>
                    <a:pt x="61" y="31"/>
                    <a:pt x="61" y="31"/>
                  </a:cubicBezTo>
                  <a:cubicBezTo>
                    <a:pt x="61" y="31"/>
                    <a:pt x="61" y="31"/>
                    <a:pt x="61" y="31"/>
                  </a:cubicBezTo>
                  <a:cubicBezTo>
                    <a:pt x="61" y="31"/>
                    <a:pt x="61" y="31"/>
                    <a:pt x="61" y="31"/>
                  </a:cubicBezTo>
                  <a:cubicBezTo>
                    <a:pt x="62" y="30"/>
                    <a:pt x="62" y="30"/>
                    <a:pt x="62" y="30"/>
                  </a:cubicBezTo>
                  <a:cubicBezTo>
                    <a:pt x="62" y="30"/>
                    <a:pt x="62" y="30"/>
                    <a:pt x="62" y="30"/>
                  </a:cubicBezTo>
                  <a:cubicBezTo>
                    <a:pt x="62" y="30"/>
                    <a:pt x="62" y="30"/>
                    <a:pt x="62" y="30"/>
                  </a:cubicBezTo>
                  <a:cubicBezTo>
                    <a:pt x="63" y="30"/>
                    <a:pt x="63" y="30"/>
                    <a:pt x="63" y="30"/>
                  </a:cubicBezTo>
                  <a:cubicBezTo>
                    <a:pt x="63" y="30"/>
                    <a:pt x="63" y="30"/>
                    <a:pt x="63" y="30"/>
                  </a:cubicBezTo>
                  <a:cubicBezTo>
                    <a:pt x="63" y="29"/>
                    <a:pt x="63" y="29"/>
                    <a:pt x="63" y="29"/>
                  </a:cubicBezTo>
                  <a:cubicBezTo>
                    <a:pt x="62" y="29"/>
                    <a:pt x="62" y="29"/>
                    <a:pt x="62" y="29"/>
                  </a:cubicBezTo>
                  <a:cubicBezTo>
                    <a:pt x="63" y="29"/>
                    <a:pt x="63" y="29"/>
                    <a:pt x="63" y="29"/>
                  </a:cubicBezTo>
                  <a:cubicBezTo>
                    <a:pt x="63" y="29"/>
                    <a:pt x="63" y="29"/>
                    <a:pt x="63" y="29"/>
                  </a:cubicBezTo>
                  <a:cubicBezTo>
                    <a:pt x="63" y="29"/>
                    <a:pt x="63" y="29"/>
                    <a:pt x="63" y="29"/>
                  </a:cubicBezTo>
                  <a:cubicBezTo>
                    <a:pt x="63" y="29"/>
                    <a:pt x="63" y="29"/>
                    <a:pt x="63" y="29"/>
                  </a:cubicBezTo>
                  <a:cubicBezTo>
                    <a:pt x="64" y="29"/>
                    <a:pt x="64" y="29"/>
                    <a:pt x="64" y="29"/>
                  </a:cubicBezTo>
                  <a:cubicBezTo>
                    <a:pt x="64" y="29"/>
                    <a:pt x="64" y="29"/>
                    <a:pt x="64" y="29"/>
                  </a:cubicBezTo>
                  <a:cubicBezTo>
                    <a:pt x="64" y="29"/>
                    <a:pt x="64" y="29"/>
                    <a:pt x="64" y="29"/>
                  </a:cubicBezTo>
                  <a:cubicBezTo>
                    <a:pt x="64" y="29"/>
                    <a:pt x="64" y="29"/>
                    <a:pt x="64" y="29"/>
                  </a:cubicBezTo>
                  <a:cubicBezTo>
                    <a:pt x="64" y="28"/>
                    <a:pt x="64" y="28"/>
                    <a:pt x="64" y="28"/>
                  </a:cubicBezTo>
                  <a:cubicBezTo>
                    <a:pt x="64" y="28"/>
                    <a:pt x="64" y="28"/>
                    <a:pt x="64" y="28"/>
                  </a:cubicBezTo>
                  <a:cubicBezTo>
                    <a:pt x="64" y="28"/>
                    <a:pt x="64" y="28"/>
                    <a:pt x="64" y="28"/>
                  </a:cubicBezTo>
                  <a:cubicBezTo>
                    <a:pt x="65" y="28"/>
                    <a:pt x="65" y="28"/>
                    <a:pt x="65" y="28"/>
                  </a:cubicBezTo>
                  <a:cubicBezTo>
                    <a:pt x="65" y="29"/>
                    <a:pt x="65" y="29"/>
                    <a:pt x="65" y="29"/>
                  </a:cubicBezTo>
                  <a:cubicBezTo>
                    <a:pt x="65" y="29"/>
                    <a:pt x="65" y="29"/>
                    <a:pt x="65" y="29"/>
                  </a:cubicBezTo>
                  <a:cubicBezTo>
                    <a:pt x="65" y="29"/>
                    <a:pt x="65" y="29"/>
                    <a:pt x="65" y="29"/>
                  </a:cubicBezTo>
                  <a:cubicBezTo>
                    <a:pt x="66" y="28"/>
                    <a:pt x="66" y="28"/>
                    <a:pt x="66" y="28"/>
                  </a:cubicBezTo>
                  <a:cubicBezTo>
                    <a:pt x="66" y="28"/>
                    <a:pt x="66" y="28"/>
                    <a:pt x="66" y="28"/>
                  </a:cubicBezTo>
                  <a:cubicBezTo>
                    <a:pt x="66" y="29"/>
                    <a:pt x="66" y="29"/>
                    <a:pt x="66" y="29"/>
                  </a:cubicBezTo>
                  <a:cubicBezTo>
                    <a:pt x="66" y="29"/>
                    <a:pt x="66" y="29"/>
                    <a:pt x="66" y="29"/>
                  </a:cubicBezTo>
                  <a:cubicBezTo>
                    <a:pt x="67" y="29"/>
                    <a:pt x="67" y="29"/>
                    <a:pt x="67" y="29"/>
                  </a:cubicBezTo>
                  <a:cubicBezTo>
                    <a:pt x="67" y="29"/>
                    <a:pt x="67" y="29"/>
                    <a:pt x="67" y="29"/>
                  </a:cubicBezTo>
                  <a:cubicBezTo>
                    <a:pt x="67" y="29"/>
                    <a:pt x="67" y="29"/>
                    <a:pt x="67" y="29"/>
                  </a:cubicBezTo>
                  <a:cubicBezTo>
                    <a:pt x="67" y="29"/>
                    <a:pt x="67" y="29"/>
                    <a:pt x="67" y="29"/>
                  </a:cubicBezTo>
                  <a:cubicBezTo>
                    <a:pt x="67" y="29"/>
                    <a:pt x="67" y="29"/>
                    <a:pt x="67" y="29"/>
                  </a:cubicBezTo>
                  <a:cubicBezTo>
                    <a:pt x="67" y="28"/>
                    <a:pt x="67" y="28"/>
                    <a:pt x="67" y="28"/>
                  </a:cubicBezTo>
                  <a:cubicBezTo>
                    <a:pt x="67" y="28"/>
                    <a:pt x="67" y="28"/>
                    <a:pt x="67" y="28"/>
                  </a:cubicBezTo>
                  <a:cubicBezTo>
                    <a:pt x="68" y="28"/>
                    <a:pt x="68" y="28"/>
                    <a:pt x="68" y="28"/>
                  </a:cubicBezTo>
                  <a:cubicBezTo>
                    <a:pt x="69" y="27"/>
                    <a:pt x="69" y="27"/>
                    <a:pt x="69" y="27"/>
                  </a:cubicBezTo>
                  <a:cubicBezTo>
                    <a:pt x="69" y="26"/>
                    <a:pt x="69" y="26"/>
                    <a:pt x="69" y="26"/>
                  </a:cubicBezTo>
                  <a:cubicBezTo>
                    <a:pt x="69" y="26"/>
                    <a:pt x="69" y="26"/>
                    <a:pt x="69" y="26"/>
                  </a:cubicBezTo>
                  <a:cubicBezTo>
                    <a:pt x="70" y="26"/>
                    <a:pt x="70" y="26"/>
                    <a:pt x="70" y="26"/>
                  </a:cubicBezTo>
                  <a:cubicBezTo>
                    <a:pt x="70" y="26"/>
                    <a:pt x="70" y="26"/>
                    <a:pt x="70" y="26"/>
                  </a:cubicBezTo>
                  <a:cubicBezTo>
                    <a:pt x="70" y="26"/>
                    <a:pt x="70" y="26"/>
                    <a:pt x="70" y="26"/>
                  </a:cubicBezTo>
                  <a:cubicBezTo>
                    <a:pt x="71" y="26"/>
                    <a:pt x="71" y="26"/>
                    <a:pt x="71" y="26"/>
                  </a:cubicBezTo>
                  <a:cubicBezTo>
                    <a:pt x="71" y="25"/>
                    <a:pt x="71" y="25"/>
                    <a:pt x="71" y="25"/>
                  </a:cubicBezTo>
                  <a:cubicBezTo>
                    <a:pt x="72" y="24"/>
                    <a:pt x="72" y="24"/>
                    <a:pt x="72" y="24"/>
                  </a:cubicBezTo>
                  <a:cubicBezTo>
                    <a:pt x="72" y="24"/>
                    <a:pt x="72" y="24"/>
                    <a:pt x="72" y="24"/>
                  </a:cubicBezTo>
                  <a:cubicBezTo>
                    <a:pt x="72" y="24"/>
                    <a:pt x="72" y="24"/>
                    <a:pt x="72" y="24"/>
                  </a:cubicBezTo>
                  <a:cubicBezTo>
                    <a:pt x="72" y="23"/>
                    <a:pt x="72" y="23"/>
                    <a:pt x="72" y="23"/>
                  </a:cubicBezTo>
                  <a:cubicBezTo>
                    <a:pt x="72" y="23"/>
                    <a:pt x="72" y="23"/>
                    <a:pt x="72" y="23"/>
                  </a:cubicBezTo>
                  <a:cubicBezTo>
                    <a:pt x="72" y="23"/>
                    <a:pt x="72" y="23"/>
                    <a:pt x="72" y="23"/>
                  </a:cubicBezTo>
                  <a:cubicBezTo>
                    <a:pt x="73" y="22"/>
                    <a:pt x="73" y="22"/>
                    <a:pt x="73" y="22"/>
                  </a:cubicBezTo>
                  <a:cubicBezTo>
                    <a:pt x="73" y="21"/>
                    <a:pt x="73" y="21"/>
                    <a:pt x="73" y="21"/>
                  </a:cubicBezTo>
                  <a:cubicBezTo>
                    <a:pt x="74" y="21"/>
                    <a:pt x="74" y="21"/>
                    <a:pt x="74" y="21"/>
                  </a:cubicBezTo>
                  <a:cubicBezTo>
                    <a:pt x="74" y="21"/>
                    <a:pt x="74" y="21"/>
                    <a:pt x="74" y="21"/>
                  </a:cubicBezTo>
                  <a:cubicBezTo>
                    <a:pt x="74" y="21"/>
                    <a:pt x="74" y="21"/>
                    <a:pt x="74" y="21"/>
                  </a:cubicBezTo>
                  <a:cubicBezTo>
                    <a:pt x="74" y="21"/>
                    <a:pt x="74" y="21"/>
                    <a:pt x="74" y="21"/>
                  </a:cubicBezTo>
                  <a:cubicBezTo>
                    <a:pt x="73" y="21"/>
                    <a:pt x="73" y="21"/>
                    <a:pt x="73" y="21"/>
                  </a:cubicBezTo>
                  <a:cubicBezTo>
                    <a:pt x="73" y="21"/>
                    <a:pt x="73" y="21"/>
                    <a:pt x="73" y="21"/>
                  </a:cubicBezTo>
                  <a:cubicBezTo>
                    <a:pt x="73" y="21"/>
                    <a:pt x="73" y="21"/>
                    <a:pt x="73" y="21"/>
                  </a:cubicBezTo>
                  <a:cubicBezTo>
                    <a:pt x="73" y="21"/>
                    <a:pt x="73" y="21"/>
                    <a:pt x="73" y="21"/>
                  </a:cubicBezTo>
                  <a:cubicBezTo>
                    <a:pt x="72" y="21"/>
                    <a:pt x="72" y="21"/>
                    <a:pt x="72" y="21"/>
                  </a:cubicBezTo>
                  <a:cubicBezTo>
                    <a:pt x="72" y="21"/>
                    <a:pt x="72" y="21"/>
                    <a:pt x="72" y="21"/>
                  </a:cubicBezTo>
                  <a:cubicBezTo>
                    <a:pt x="72" y="21"/>
                    <a:pt x="72" y="21"/>
                    <a:pt x="72" y="21"/>
                  </a:cubicBezTo>
                  <a:cubicBezTo>
                    <a:pt x="72" y="21"/>
                    <a:pt x="72" y="21"/>
                    <a:pt x="72" y="21"/>
                  </a:cubicBezTo>
                  <a:cubicBezTo>
                    <a:pt x="72" y="20"/>
                    <a:pt x="72" y="20"/>
                    <a:pt x="72" y="20"/>
                  </a:cubicBezTo>
                  <a:cubicBezTo>
                    <a:pt x="74" y="19"/>
                    <a:pt x="74" y="19"/>
                    <a:pt x="74" y="19"/>
                  </a:cubicBezTo>
                  <a:cubicBezTo>
                    <a:pt x="74" y="19"/>
                    <a:pt x="74" y="19"/>
                    <a:pt x="74" y="19"/>
                  </a:cubicBezTo>
                  <a:cubicBezTo>
                    <a:pt x="74" y="19"/>
                    <a:pt x="74" y="19"/>
                    <a:pt x="74" y="19"/>
                  </a:cubicBezTo>
                  <a:cubicBezTo>
                    <a:pt x="74" y="19"/>
                    <a:pt x="74" y="19"/>
                    <a:pt x="74" y="19"/>
                  </a:cubicBezTo>
                  <a:cubicBezTo>
                    <a:pt x="74" y="19"/>
                    <a:pt x="74" y="19"/>
                    <a:pt x="74" y="19"/>
                  </a:cubicBezTo>
                  <a:cubicBezTo>
                    <a:pt x="74" y="19"/>
                    <a:pt x="74" y="19"/>
                    <a:pt x="74" y="19"/>
                  </a:cubicBezTo>
                  <a:cubicBezTo>
                    <a:pt x="74" y="19"/>
                    <a:pt x="74" y="19"/>
                    <a:pt x="74" y="19"/>
                  </a:cubicBezTo>
                  <a:cubicBezTo>
                    <a:pt x="74" y="19"/>
                    <a:pt x="74" y="19"/>
                    <a:pt x="74" y="19"/>
                  </a:cubicBezTo>
                  <a:cubicBezTo>
                    <a:pt x="75" y="19"/>
                    <a:pt x="75" y="19"/>
                    <a:pt x="75" y="19"/>
                  </a:cubicBezTo>
                  <a:cubicBezTo>
                    <a:pt x="75" y="18"/>
                    <a:pt x="75" y="18"/>
                    <a:pt x="75" y="18"/>
                  </a:cubicBezTo>
                  <a:cubicBezTo>
                    <a:pt x="76" y="17"/>
                    <a:pt x="76" y="17"/>
                    <a:pt x="76" y="17"/>
                  </a:cubicBezTo>
                  <a:cubicBezTo>
                    <a:pt x="76" y="17"/>
                    <a:pt x="76" y="17"/>
                    <a:pt x="76" y="17"/>
                  </a:cubicBezTo>
                  <a:cubicBezTo>
                    <a:pt x="76" y="17"/>
                    <a:pt x="76" y="17"/>
                    <a:pt x="76" y="17"/>
                  </a:cubicBezTo>
                  <a:cubicBezTo>
                    <a:pt x="76" y="17"/>
                    <a:pt x="76" y="17"/>
                    <a:pt x="76" y="17"/>
                  </a:cubicBezTo>
                  <a:close/>
                  <a:moveTo>
                    <a:pt x="91" y="53"/>
                  </a:moveTo>
                  <a:cubicBezTo>
                    <a:pt x="90" y="54"/>
                    <a:pt x="90" y="54"/>
                    <a:pt x="90" y="54"/>
                  </a:cubicBezTo>
                  <a:cubicBezTo>
                    <a:pt x="90" y="55"/>
                    <a:pt x="90" y="55"/>
                    <a:pt x="90" y="55"/>
                  </a:cubicBezTo>
                  <a:cubicBezTo>
                    <a:pt x="90" y="55"/>
                    <a:pt x="90" y="55"/>
                    <a:pt x="90" y="55"/>
                  </a:cubicBezTo>
                  <a:cubicBezTo>
                    <a:pt x="90" y="55"/>
                    <a:pt x="90" y="55"/>
                    <a:pt x="90" y="55"/>
                  </a:cubicBezTo>
                  <a:cubicBezTo>
                    <a:pt x="88" y="56"/>
                    <a:pt x="88" y="56"/>
                    <a:pt x="88" y="56"/>
                  </a:cubicBezTo>
                  <a:cubicBezTo>
                    <a:pt x="87" y="56"/>
                    <a:pt x="87" y="56"/>
                    <a:pt x="87" y="56"/>
                  </a:cubicBezTo>
                  <a:cubicBezTo>
                    <a:pt x="87" y="56"/>
                    <a:pt x="87" y="56"/>
                    <a:pt x="87" y="56"/>
                  </a:cubicBezTo>
                  <a:cubicBezTo>
                    <a:pt x="86" y="56"/>
                    <a:pt x="86" y="56"/>
                    <a:pt x="86" y="56"/>
                  </a:cubicBezTo>
                  <a:cubicBezTo>
                    <a:pt x="86" y="56"/>
                    <a:pt x="86" y="56"/>
                    <a:pt x="86" y="56"/>
                  </a:cubicBezTo>
                  <a:cubicBezTo>
                    <a:pt x="86" y="56"/>
                    <a:pt x="86" y="56"/>
                    <a:pt x="86" y="56"/>
                  </a:cubicBezTo>
                  <a:cubicBezTo>
                    <a:pt x="86" y="56"/>
                    <a:pt x="86" y="56"/>
                    <a:pt x="86" y="56"/>
                  </a:cubicBezTo>
                  <a:cubicBezTo>
                    <a:pt x="87" y="56"/>
                    <a:pt x="87" y="56"/>
                    <a:pt x="87" y="56"/>
                  </a:cubicBezTo>
                  <a:cubicBezTo>
                    <a:pt x="88" y="56"/>
                    <a:pt x="88" y="56"/>
                    <a:pt x="88" y="56"/>
                  </a:cubicBezTo>
                  <a:cubicBezTo>
                    <a:pt x="89" y="56"/>
                    <a:pt x="89" y="56"/>
                    <a:pt x="89" y="56"/>
                  </a:cubicBezTo>
                  <a:cubicBezTo>
                    <a:pt x="89" y="56"/>
                    <a:pt x="89" y="56"/>
                    <a:pt x="89" y="56"/>
                  </a:cubicBezTo>
                  <a:cubicBezTo>
                    <a:pt x="90" y="55"/>
                    <a:pt x="90" y="55"/>
                    <a:pt x="90" y="55"/>
                  </a:cubicBezTo>
                  <a:cubicBezTo>
                    <a:pt x="90" y="55"/>
                    <a:pt x="90" y="55"/>
                    <a:pt x="90" y="55"/>
                  </a:cubicBezTo>
                  <a:cubicBezTo>
                    <a:pt x="91" y="54"/>
                    <a:pt x="91" y="54"/>
                    <a:pt x="91" y="54"/>
                  </a:cubicBezTo>
                  <a:cubicBezTo>
                    <a:pt x="91" y="53"/>
                    <a:pt x="91" y="53"/>
                    <a:pt x="91" y="53"/>
                  </a:cubicBezTo>
                  <a:close/>
                  <a:moveTo>
                    <a:pt x="64" y="30"/>
                  </a:moveTo>
                  <a:cubicBezTo>
                    <a:pt x="64" y="30"/>
                    <a:pt x="64" y="30"/>
                    <a:pt x="64" y="30"/>
                  </a:cubicBezTo>
                  <a:cubicBezTo>
                    <a:pt x="65" y="30"/>
                    <a:pt x="65" y="30"/>
                    <a:pt x="65" y="30"/>
                  </a:cubicBezTo>
                  <a:cubicBezTo>
                    <a:pt x="65" y="30"/>
                    <a:pt x="65" y="30"/>
                    <a:pt x="65" y="30"/>
                  </a:cubicBezTo>
                  <a:cubicBezTo>
                    <a:pt x="65" y="30"/>
                    <a:pt x="65" y="30"/>
                    <a:pt x="65" y="30"/>
                  </a:cubicBezTo>
                  <a:cubicBezTo>
                    <a:pt x="64" y="30"/>
                    <a:pt x="64" y="30"/>
                    <a:pt x="64" y="30"/>
                  </a:cubicBezTo>
                  <a:cubicBezTo>
                    <a:pt x="64" y="29"/>
                    <a:pt x="64" y="29"/>
                    <a:pt x="64" y="29"/>
                  </a:cubicBezTo>
                  <a:cubicBezTo>
                    <a:pt x="64" y="30"/>
                    <a:pt x="64" y="30"/>
                    <a:pt x="64" y="30"/>
                  </a:cubicBezTo>
                  <a:cubicBezTo>
                    <a:pt x="64" y="30"/>
                    <a:pt x="64" y="30"/>
                    <a:pt x="64" y="30"/>
                  </a:cubicBezTo>
                  <a:cubicBezTo>
                    <a:pt x="64" y="30"/>
                    <a:pt x="64" y="30"/>
                    <a:pt x="64" y="30"/>
                  </a:cubicBezTo>
                  <a:cubicBezTo>
                    <a:pt x="63" y="30"/>
                    <a:pt x="63" y="30"/>
                    <a:pt x="63" y="30"/>
                  </a:cubicBezTo>
                  <a:cubicBezTo>
                    <a:pt x="63" y="30"/>
                    <a:pt x="63" y="30"/>
                    <a:pt x="63" y="30"/>
                  </a:cubicBezTo>
                  <a:cubicBezTo>
                    <a:pt x="63" y="30"/>
                    <a:pt x="63" y="30"/>
                    <a:pt x="63" y="30"/>
                  </a:cubicBezTo>
                  <a:cubicBezTo>
                    <a:pt x="62" y="30"/>
                    <a:pt x="62" y="30"/>
                    <a:pt x="62" y="30"/>
                  </a:cubicBezTo>
                  <a:cubicBezTo>
                    <a:pt x="62" y="31"/>
                    <a:pt x="62" y="31"/>
                    <a:pt x="62" y="31"/>
                  </a:cubicBezTo>
                  <a:cubicBezTo>
                    <a:pt x="62" y="31"/>
                    <a:pt x="62" y="31"/>
                    <a:pt x="62" y="31"/>
                  </a:cubicBezTo>
                  <a:cubicBezTo>
                    <a:pt x="62" y="31"/>
                    <a:pt x="62" y="31"/>
                    <a:pt x="62" y="31"/>
                  </a:cubicBezTo>
                  <a:cubicBezTo>
                    <a:pt x="62" y="31"/>
                    <a:pt x="62" y="31"/>
                    <a:pt x="62" y="31"/>
                  </a:cubicBezTo>
                  <a:cubicBezTo>
                    <a:pt x="62" y="31"/>
                    <a:pt x="62" y="31"/>
                    <a:pt x="62" y="31"/>
                  </a:cubicBezTo>
                  <a:cubicBezTo>
                    <a:pt x="62" y="31"/>
                    <a:pt x="62" y="31"/>
                    <a:pt x="62" y="31"/>
                  </a:cubicBezTo>
                  <a:cubicBezTo>
                    <a:pt x="62" y="31"/>
                    <a:pt x="62" y="31"/>
                    <a:pt x="62" y="31"/>
                  </a:cubicBezTo>
                  <a:cubicBezTo>
                    <a:pt x="62" y="31"/>
                    <a:pt x="62" y="31"/>
                    <a:pt x="62" y="31"/>
                  </a:cubicBezTo>
                  <a:cubicBezTo>
                    <a:pt x="62" y="32"/>
                    <a:pt x="62" y="32"/>
                    <a:pt x="62" y="32"/>
                  </a:cubicBezTo>
                  <a:cubicBezTo>
                    <a:pt x="63" y="32"/>
                    <a:pt x="63" y="32"/>
                    <a:pt x="63" y="32"/>
                  </a:cubicBezTo>
                  <a:cubicBezTo>
                    <a:pt x="63" y="32"/>
                    <a:pt x="63" y="32"/>
                    <a:pt x="63" y="32"/>
                  </a:cubicBezTo>
                  <a:cubicBezTo>
                    <a:pt x="63" y="32"/>
                    <a:pt x="63" y="32"/>
                    <a:pt x="63" y="32"/>
                  </a:cubicBezTo>
                  <a:cubicBezTo>
                    <a:pt x="63" y="32"/>
                    <a:pt x="63" y="32"/>
                    <a:pt x="63" y="32"/>
                  </a:cubicBezTo>
                  <a:cubicBezTo>
                    <a:pt x="64" y="32"/>
                    <a:pt x="64" y="32"/>
                    <a:pt x="64" y="32"/>
                  </a:cubicBezTo>
                  <a:cubicBezTo>
                    <a:pt x="64" y="32"/>
                    <a:pt x="64" y="32"/>
                    <a:pt x="64" y="32"/>
                  </a:cubicBezTo>
                  <a:cubicBezTo>
                    <a:pt x="63" y="32"/>
                    <a:pt x="63" y="32"/>
                    <a:pt x="63" y="32"/>
                  </a:cubicBezTo>
                  <a:cubicBezTo>
                    <a:pt x="63" y="32"/>
                    <a:pt x="63" y="32"/>
                    <a:pt x="63" y="32"/>
                  </a:cubicBezTo>
                  <a:cubicBezTo>
                    <a:pt x="64" y="32"/>
                    <a:pt x="64" y="32"/>
                    <a:pt x="64" y="32"/>
                  </a:cubicBezTo>
                  <a:cubicBezTo>
                    <a:pt x="64" y="32"/>
                    <a:pt x="64" y="32"/>
                    <a:pt x="64" y="32"/>
                  </a:cubicBezTo>
                  <a:cubicBezTo>
                    <a:pt x="64" y="32"/>
                    <a:pt x="64" y="32"/>
                    <a:pt x="64" y="32"/>
                  </a:cubicBezTo>
                  <a:cubicBezTo>
                    <a:pt x="64" y="31"/>
                    <a:pt x="64" y="31"/>
                    <a:pt x="64" y="31"/>
                  </a:cubicBezTo>
                  <a:cubicBezTo>
                    <a:pt x="64" y="31"/>
                    <a:pt x="64" y="31"/>
                    <a:pt x="64" y="31"/>
                  </a:cubicBezTo>
                  <a:cubicBezTo>
                    <a:pt x="64" y="31"/>
                    <a:pt x="64" y="31"/>
                    <a:pt x="64" y="31"/>
                  </a:cubicBezTo>
                  <a:lnTo>
                    <a:pt x="64" y="30"/>
                  </a:lnTo>
                  <a:close/>
                  <a:moveTo>
                    <a:pt x="77" y="15"/>
                  </a:moveTo>
                  <a:cubicBezTo>
                    <a:pt x="77" y="15"/>
                    <a:pt x="77" y="15"/>
                    <a:pt x="77" y="15"/>
                  </a:cubicBezTo>
                  <a:cubicBezTo>
                    <a:pt x="77" y="15"/>
                    <a:pt x="77" y="15"/>
                    <a:pt x="77" y="15"/>
                  </a:cubicBezTo>
                  <a:cubicBezTo>
                    <a:pt x="77" y="15"/>
                    <a:pt x="77" y="15"/>
                    <a:pt x="77" y="15"/>
                  </a:cubicBezTo>
                  <a:cubicBezTo>
                    <a:pt x="77" y="15"/>
                    <a:pt x="77" y="15"/>
                    <a:pt x="77" y="15"/>
                  </a:cubicBezTo>
                  <a:cubicBezTo>
                    <a:pt x="76" y="16"/>
                    <a:pt x="76" y="16"/>
                    <a:pt x="76" y="16"/>
                  </a:cubicBezTo>
                  <a:cubicBezTo>
                    <a:pt x="76" y="16"/>
                    <a:pt x="76" y="16"/>
                    <a:pt x="76" y="16"/>
                  </a:cubicBezTo>
                  <a:cubicBezTo>
                    <a:pt x="76" y="16"/>
                    <a:pt x="76" y="16"/>
                    <a:pt x="76" y="16"/>
                  </a:cubicBezTo>
                  <a:cubicBezTo>
                    <a:pt x="77" y="16"/>
                    <a:pt x="77" y="16"/>
                    <a:pt x="77" y="16"/>
                  </a:cubicBezTo>
                  <a:cubicBezTo>
                    <a:pt x="77" y="16"/>
                    <a:pt x="77" y="16"/>
                    <a:pt x="77" y="16"/>
                  </a:cubicBezTo>
                  <a:cubicBezTo>
                    <a:pt x="77" y="16"/>
                    <a:pt x="77" y="16"/>
                    <a:pt x="77" y="16"/>
                  </a:cubicBezTo>
                  <a:cubicBezTo>
                    <a:pt x="77" y="16"/>
                    <a:pt x="77" y="16"/>
                    <a:pt x="77" y="16"/>
                  </a:cubicBezTo>
                  <a:lnTo>
                    <a:pt x="77" y="15"/>
                  </a:lnTo>
                  <a:close/>
                </a:path>
              </a:pathLst>
            </a:custGeom>
            <a:solidFill>
              <a:srgbClr val="B1B1B0"/>
            </a:solidFill>
            <a:ln w="635"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539" name="Freeform 6">
              <a:extLst>
                <a:ext uri="{FF2B5EF4-FFF2-40B4-BE49-F238E27FC236}">
                  <a16:creationId xmlns:a16="http://schemas.microsoft.com/office/drawing/2014/main" id="{1B4CE0F2-16AD-BD9E-674B-4A529179E863}"/>
                </a:ext>
              </a:extLst>
            </p:cNvPr>
            <p:cNvSpPr>
              <a:spLocks/>
            </p:cNvSpPr>
            <p:nvPr/>
          </p:nvSpPr>
          <p:spPr bwMode="gray">
            <a:xfrm>
              <a:off x="2573338" y="2270125"/>
              <a:ext cx="836613" cy="1270000"/>
            </a:xfrm>
            <a:custGeom>
              <a:avLst/>
              <a:gdLst>
                <a:gd name="T0" fmla="*/ 155 w 157"/>
                <a:gd name="T1" fmla="*/ 65 h 238"/>
                <a:gd name="T2" fmla="*/ 150 w 157"/>
                <a:gd name="T3" fmla="*/ 64 h 238"/>
                <a:gd name="T4" fmla="*/ 143 w 157"/>
                <a:gd name="T5" fmla="*/ 62 h 238"/>
                <a:gd name="T6" fmla="*/ 139 w 157"/>
                <a:gd name="T7" fmla="*/ 60 h 238"/>
                <a:gd name="T8" fmla="*/ 136 w 157"/>
                <a:gd name="T9" fmla="*/ 59 h 238"/>
                <a:gd name="T10" fmla="*/ 119 w 157"/>
                <a:gd name="T11" fmla="*/ 64 h 238"/>
                <a:gd name="T12" fmla="*/ 115 w 157"/>
                <a:gd name="T13" fmla="*/ 66 h 238"/>
                <a:gd name="T14" fmla="*/ 117 w 157"/>
                <a:gd name="T15" fmla="*/ 64 h 238"/>
                <a:gd name="T16" fmla="*/ 115 w 157"/>
                <a:gd name="T17" fmla="*/ 65 h 238"/>
                <a:gd name="T18" fmla="*/ 111 w 157"/>
                <a:gd name="T19" fmla="*/ 67 h 238"/>
                <a:gd name="T20" fmla="*/ 115 w 157"/>
                <a:gd name="T21" fmla="*/ 60 h 238"/>
                <a:gd name="T22" fmla="*/ 114 w 157"/>
                <a:gd name="T23" fmla="*/ 55 h 238"/>
                <a:gd name="T24" fmla="*/ 114 w 157"/>
                <a:gd name="T25" fmla="*/ 54 h 238"/>
                <a:gd name="T26" fmla="*/ 112 w 157"/>
                <a:gd name="T27" fmla="*/ 51 h 238"/>
                <a:gd name="T28" fmla="*/ 111 w 157"/>
                <a:gd name="T29" fmla="*/ 47 h 238"/>
                <a:gd name="T30" fmla="*/ 109 w 157"/>
                <a:gd name="T31" fmla="*/ 42 h 238"/>
                <a:gd name="T32" fmla="*/ 109 w 157"/>
                <a:gd name="T33" fmla="*/ 40 h 238"/>
                <a:gd name="T34" fmla="*/ 108 w 157"/>
                <a:gd name="T35" fmla="*/ 39 h 238"/>
                <a:gd name="T36" fmla="*/ 106 w 157"/>
                <a:gd name="T37" fmla="*/ 36 h 238"/>
                <a:gd name="T38" fmla="*/ 105 w 157"/>
                <a:gd name="T39" fmla="*/ 32 h 238"/>
                <a:gd name="T40" fmla="*/ 105 w 157"/>
                <a:gd name="T41" fmla="*/ 29 h 238"/>
                <a:gd name="T42" fmla="*/ 103 w 157"/>
                <a:gd name="T43" fmla="*/ 27 h 238"/>
                <a:gd name="T44" fmla="*/ 101 w 157"/>
                <a:gd name="T45" fmla="*/ 28 h 238"/>
                <a:gd name="T46" fmla="*/ 100 w 157"/>
                <a:gd name="T47" fmla="*/ 27 h 238"/>
                <a:gd name="T48" fmla="*/ 97 w 157"/>
                <a:gd name="T49" fmla="*/ 27 h 238"/>
                <a:gd name="T50" fmla="*/ 96 w 157"/>
                <a:gd name="T51" fmla="*/ 28 h 238"/>
                <a:gd name="T52" fmla="*/ 93 w 157"/>
                <a:gd name="T53" fmla="*/ 28 h 238"/>
                <a:gd name="T54" fmla="*/ 92 w 157"/>
                <a:gd name="T55" fmla="*/ 31 h 238"/>
                <a:gd name="T56" fmla="*/ 92 w 157"/>
                <a:gd name="T57" fmla="*/ 33 h 238"/>
                <a:gd name="T58" fmla="*/ 92 w 157"/>
                <a:gd name="T59" fmla="*/ 36 h 238"/>
                <a:gd name="T60" fmla="*/ 91 w 157"/>
                <a:gd name="T61" fmla="*/ 38 h 238"/>
                <a:gd name="T62" fmla="*/ 91 w 157"/>
                <a:gd name="T63" fmla="*/ 38 h 238"/>
                <a:gd name="T64" fmla="*/ 91 w 157"/>
                <a:gd name="T65" fmla="*/ 35 h 238"/>
                <a:gd name="T66" fmla="*/ 91 w 157"/>
                <a:gd name="T67" fmla="*/ 30 h 238"/>
                <a:gd name="T68" fmla="*/ 92 w 157"/>
                <a:gd name="T69" fmla="*/ 29 h 238"/>
                <a:gd name="T70" fmla="*/ 92 w 157"/>
                <a:gd name="T71" fmla="*/ 27 h 238"/>
                <a:gd name="T72" fmla="*/ 91 w 157"/>
                <a:gd name="T73" fmla="*/ 27 h 238"/>
                <a:gd name="T74" fmla="*/ 90 w 157"/>
                <a:gd name="T75" fmla="*/ 29 h 238"/>
                <a:gd name="T76" fmla="*/ 87 w 157"/>
                <a:gd name="T77" fmla="*/ 25 h 238"/>
                <a:gd name="T78" fmla="*/ 86 w 157"/>
                <a:gd name="T79" fmla="*/ 25 h 238"/>
                <a:gd name="T80" fmla="*/ 86 w 157"/>
                <a:gd name="T81" fmla="*/ 23 h 238"/>
                <a:gd name="T82" fmla="*/ 85 w 157"/>
                <a:gd name="T83" fmla="*/ 22 h 238"/>
                <a:gd name="T84" fmla="*/ 83 w 157"/>
                <a:gd name="T85" fmla="*/ 21 h 238"/>
                <a:gd name="T86" fmla="*/ 85 w 157"/>
                <a:gd name="T87" fmla="*/ 19 h 238"/>
                <a:gd name="T88" fmla="*/ 85 w 157"/>
                <a:gd name="T89" fmla="*/ 18 h 238"/>
                <a:gd name="T90" fmla="*/ 85 w 157"/>
                <a:gd name="T91" fmla="*/ 17 h 238"/>
                <a:gd name="T92" fmla="*/ 85 w 157"/>
                <a:gd name="T93" fmla="*/ 16 h 238"/>
                <a:gd name="T94" fmla="*/ 86 w 157"/>
                <a:gd name="T95" fmla="*/ 15 h 238"/>
                <a:gd name="T96" fmla="*/ 85 w 157"/>
                <a:gd name="T97" fmla="*/ 15 h 238"/>
                <a:gd name="T98" fmla="*/ 85 w 157"/>
                <a:gd name="T99" fmla="*/ 13 h 238"/>
                <a:gd name="T100" fmla="*/ 85 w 157"/>
                <a:gd name="T101" fmla="*/ 12 h 238"/>
                <a:gd name="T102" fmla="*/ 85 w 157"/>
                <a:gd name="T103" fmla="*/ 11 h 238"/>
                <a:gd name="T104" fmla="*/ 85 w 157"/>
                <a:gd name="T105" fmla="*/ 10 h 238"/>
                <a:gd name="T106" fmla="*/ 84 w 157"/>
                <a:gd name="T107" fmla="*/ 9 h 238"/>
                <a:gd name="T108" fmla="*/ 84 w 157"/>
                <a:gd name="T109" fmla="*/ 8 h 238"/>
                <a:gd name="T110" fmla="*/ 84 w 157"/>
                <a:gd name="T111" fmla="*/ 5 h 238"/>
                <a:gd name="T112" fmla="*/ 84 w 157"/>
                <a:gd name="T113" fmla="*/ 2 h 238"/>
                <a:gd name="T114" fmla="*/ 84 w 157"/>
                <a:gd name="T115" fmla="*/ 0 h 238"/>
                <a:gd name="T116" fmla="*/ 90 w 157"/>
                <a:gd name="T117" fmla="*/ 237 h 238"/>
                <a:gd name="T118" fmla="*/ 87 w 157"/>
                <a:gd name="T119" fmla="*/ 15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7" h="238">
                  <a:moveTo>
                    <a:pt x="157" y="65"/>
                  </a:moveTo>
                  <a:cubicBezTo>
                    <a:pt x="156" y="65"/>
                    <a:pt x="156" y="65"/>
                    <a:pt x="156" y="65"/>
                  </a:cubicBezTo>
                  <a:cubicBezTo>
                    <a:pt x="156" y="65"/>
                    <a:pt x="156" y="65"/>
                    <a:pt x="156" y="65"/>
                  </a:cubicBezTo>
                  <a:cubicBezTo>
                    <a:pt x="156" y="65"/>
                    <a:pt x="156" y="65"/>
                    <a:pt x="156" y="65"/>
                  </a:cubicBezTo>
                  <a:cubicBezTo>
                    <a:pt x="156" y="65"/>
                    <a:pt x="156" y="65"/>
                    <a:pt x="156" y="65"/>
                  </a:cubicBezTo>
                  <a:cubicBezTo>
                    <a:pt x="156" y="65"/>
                    <a:pt x="156" y="65"/>
                    <a:pt x="156" y="65"/>
                  </a:cubicBezTo>
                  <a:cubicBezTo>
                    <a:pt x="155" y="65"/>
                    <a:pt x="155" y="65"/>
                    <a:pt x="155" y="65"/>
                  </a:cubicBezTo>
                  <a:cubicBezTo>
                    <a:pt x="154" y="65"/>
                    <a:pt x="154" y="65"/>
                    <a:pt x="154" y="65"/>
                  </a:cubicBezTo>
                  <a:cubicBezTo>
                    <a:pt x="153" y="64"/>
                    <a:pt x="153" y="64"/>
                    <a:pt x="153" y="64"/>
                  </a:cubicBezTo>
                  <a:cubicBezTo>
                    <a:pt x="153" y="64"/>
                    <a:pt x="153" y="64"/>
                    <a:pt x="153" y="64"/>
                  </a:cubicBezTo>
                  <a:cubicBezTo>
                    <a:pt x="152" y="64"/>
                    <a:pt x="152" y="64"/>
                    <a:pt x="152" y="64"/>
                  </a:cubicBezTo>
                  <a:cubicBezTo>
                    <a:pt x="152" y="64"/>
                    <a:pt x="152" y="64"/>
                    <a:pt x="152" y="64"/>
                  </a:cubicBezTo>
                  <a:cubicBezTo>
                    <a:pt x="151" y="64"/>
                    <a:pt x="151" y="64"/>
                    <a:pt x="151" y="64"/>
                  </a:cubicBezTo>
                  <a:cubicBezTo>
                    <a:pt x="150" y="64"/>
                    <a:pt x="150" y="64"/>
                    <a:pt x="150" y="64"/>
                  </a:cubicBezTo>
                  <a:cubicBezTo>
                    <a:pt x="150" y="64"/>
                    <a:pt x="150" y="64"/>
                    <a:pt x="150" y="64"/>
                  </a:cubicBezTo>
                  <a:cubicBezTo>
                    <a:pt x="146" y="63"/>
                    <a:pt x="146" y="63"/>
                    <a:pt x="146" y="63"/>
                  </a:cubicBezTo>
                  <a:cubicBezTo>
                    <a:pt x="146" y="63"/>
                    <a:pt x="146" y="63"/>
                    <a:pt x="146" y="63"/>
                  </a:cubicBezTo>
                  <a:cubicBezTo>
                    <a:pt x="145" y="63"/>
                    <a:pt x="145" y="63"/>
                    <a:pt x="145" y="63"/>
                  </a:cubicBezTo>
                  <a:cubicBezTo>
                    <a:pt x="144" y="63"/>
                    <a:pt x="144" y="63"/>
                    <a:pt x="144" y="63"/>
                  </a:cubicBezTo>
                  <a:cubicBezTo>
                    <a:pt x="144" y="62"/>
                    <a:pt x="144" y="62"/>
                    <a:pt x="144" y="62"/>
                  </a:cubicBezTo>
                  <a:cubicBezTo>
                    <a:pt x="143" y="62"/>
                    <a:pt x="143" y="62"/>
                    <a:pt x="143" y="62"/>
                  </a:cubicBezTo>
                  <a:cubicBezTo>
                    <a:pt x="142" y="61"/>
                    <a:pt x="142" y="61"/>
                    <a:pt x="142" y="61"/>
                  </a:cubicBezTo>
                  <a:cubicBezTo>
                    <a:pt x="142" y="61"/>
                    <a:pt x="142" y="61"/>
                    <a:pt x="142" y="61"/>
                  </a:cubicBezTo>
                  <a:cubicBezTo>
                    <a:pt x="142" y="61"/>
                    <a:pt x="142" y="61"/>
                    <a:pt x="142" y="61"/>
                  </a:cubicBezTo>
                  <a:cubicBezTo>
                    <a:pt x="141" y="61"/>
                    <a:pt x="141" y="61"/>
                    <a:pt x="141" y="61"/>
                  </a:cubicBezTo>
                  <a:cubicBezTo>
                    <a:pt x="140" y="60"/>
                    <a:pt x="140" y="60"/>
                    <a:pt x="140" y="60"/>
                  </a:cubicBezTo>
                  <a:cubicBezTo>
                    <a:pt x="140" y="60"/>
                    <a:pt x="140" y="60"/>
                    <a:pt x="140" y="60"/>
                  </a:cubicBezTo>
                  <a:cubicBezTo>
                    <a:pt x="139" y="60"/>
                    <a:pt x="139" y="60"/>
                    <a:pt x="139" y="60"/>
                  </a:cubicBezTo>
                  <a:cubicBezTo>
                    <a:pt x="139" y="59"/>
                    <a:pt x="139" y="59"/>
                    <a:pt x="139" y="59"/>
                  </a:cubicBezTo>
                  <a:cubicBezTo>
                    <a:pt x="139" y="59"/>
                    <a:pt x="139" y="59"/>
                    <a:pt x="139" y="59"/>
                  </a:cubicBezTo>
                  <a:cubicBezTo>
                    <a:pt x="138" y="59"/>
                    <a:pt x="138" y="59"/>
                    <a:pt x="138" y="59"/>
                  </a:cubicBezTo>
                  <a:cubicBezTo>
                    <a:pt x="138" y="59"/>
                    <a:pt x="138" y="59"/>
                    <a:pt x="138" y="59"/>
                  </a:cubicBezTo>
                  <a:cubicBezTo>
                    <a:pt x="137" y="59"/>
                    <a:pt x="137" y="59"/>
                    <a:pt x="137" y="59"/>
                  </a:cubicBezTo>
                  <a:cubicBezTo>
                    <a:pt x="137" y="59"/>
                    <a:pt x="137" y="59"/>
                    <a:pt x="137" y="59"/>
                  </a:cubicBezTo>
                  <a:cubicBezTo>
                    <a:pt x="136" y="59"/>
                    <a:pt x="136" y="59"/>
                    <a:pt x="136" y="59"/>
                  </a:cubicBezTo>
                  <a:cubicBezTo>
                    <a:pt x="134" y="58"/>
                    <a:pt x="134" y="58"/>
                    <a:pt x="134" y="58"/>
                  </a:cubicBezTo>
                  <a:cubicBezTo>
                    <a:pt x="132" y="58"/>
                    <a:pt x="132" y="58"/>
                    <a:pt x="132" y="58"/>
                  </a:cubicBezTo>
                  <a:cubicBezTo>
                    <a:pt x="130" y="59"/>
                    <a:pt x="130" y="59"/>
                    <a:pt x="130" y="59"/>
                  </a:cubicBezTo>
                  <a:cubicBezTo>
                    <a:pt x="126" y="61"/>
                    <a:pt x="126" y="61"/>
                    <a:pt x="126" y="61"/>
                  </a:cubicBezTo>
                  <a:cubicBezTo>
                    <a:pt x="123" y="62"/>
                    <a:pt x="123" y="62"/>
                    <a:pt x="123" y="62"/>
                  </a:cubicBezTo>
                  <a:cubicBezTo>
                    <a:pt x="121" y="64"/>
                    <a:pt x="121" y="64"/>
                    <a:pt x="121" y="64"/>
                  </a:cubicBezTo>
                  <a:cubicBezTo>
                    <a:pt x="119" y="64"/>
                    <a:pt x="119" y="64"/>
                    <a:pt x="119" y="64"/>
                  </a:cubicBezTo>
                  <a:cubicBezTo>
                    <a:pt x="118" y="65"/>
                    <a:pt x="118" y="65"/>
                    <a:pt x="118" y="65"/>
                  </a:cubicBezTo>
                  <a:cubicBezTo>
                    <a:pt x="117" y="66"/>
                    <a:pt x="117" y="66"/>
                    <a:pt x="117" y="66"/>
                  </a:cubicBezTo>
                  <a:cubicBezTo>
                    <a:pt x="117" y="66"/>
                    <a:pt x="117" y="66"/>
                    <a:pt x="117" y="66"/>
                  </a:cubicBezTo>
                  <a:cubicBezTo>
                    <a:pt x="116" y="66"/>
                    <a:pt x="116" y="66"/>
                    <a:pt x="116" y="66"/>
                  </a:cubicBezTo>
                  <a:cubicBezTo>
                    <a:pt x="115" y="67"/>
                    <a:pt x="115" y="67"/>
                    <a:pt x="115" y="67"/>
                  </a:cubicBezTo>
                  <a:cubicBezTo>
                    <a:pt x="115" y="67"/>
                    <a:pt x="115" y="67"/>
                    <a:pt x="115" y="67"/>
                  </a:cubicBezTo>
                  <a:cubicBezTo>
                    <a:pt x="115" y="66"/>
                    <a:pt x="115" y="66"/>
                    <a:pt x="115" y="66"/>
                  </a:cubicBezTo>
                  <a:cubicBezTo>
                    <a:pt x="115" y="66"/>
                    <a:pt x="115" y="66"/>
                    <a:pt x="115" y="66"/>
                  </a:cubicBezTo>
                  <a:cubicBezTo>
                    <a:pt x="116" y="66"/>
                    <a:pt x="116" y="66"/>
                    <a:pt x="116" y="66"/>
                  </a:cubicBezTo>
                  <a:cubicBezTo>
                    <a:pt x="116" y="66"/>
                    <a:pt x="116" y="66"/>
                    <a:pt x="116" y="66"/>
                  </a:cubicBezTo>
                  <a:cubicBezTo>
                    <a:pt x="116" y="66"/>
                    <a:pt x="116" y="66"/>
                    <a:pt x="116" y="66"/>
                  </a:cubicBezTo>
                  <a:cubicBezTo>
                    <a:pt x="116" y="66"/>
                    <a:pt x="116" y="66"/>
                    <a:pt x="116" y="66"/>
                  </a:cubicBezTo>
                  <a:cubicBezTo>
                    <a:pt x="117" y="64"/>
                    <a:pt x="117" y="64"/>
                    <a:pt x="117" y="64"/>
                  </a:cubicBezTo>
                  <a:cubicBezTo>
                    <a:pt x="117" y="64"/>
                    <a:pt x="117" y="64"/>
                    <a:pt x="117" y="64"/>
                  </a:cubicBezTo>
                  <a:cubicBezTo>
                    <a:pt x="118" y="64"/>
                    <a:pt x="118" y="64"/>
                    <a:pt x="118" y="64"/>
                  </a:cubicBezTo>
                  <a:cubicBezTo>
                    <a:pt x="118" y="64"/>
                    <a:pt x="118" y="64"/>
                    <a:pt x="118" y="64"/>
                  </a:cubicBezTo>
                  <a:cubicBezTo>
                    <a:pt x="118" y="64"/>
                    <a:pt x="118" y="64"/>
                    <a:pt x="118" y="64"/>
                  </a:cubicBezTo>
                  <a:cubicBezTo>
                    <a:pt x="118" y="64"/>
                    <a:pt x="118" y="64"/>
                    <a:pt x="118" y="64"/>
                  </a:cubicBezTo>
                  <a:cubicBezTo>
                    <a:pt x="117" y="64"/>
                    <a:pt x="117" y="64"/>
                    <a:pt x="117" y="64"/>
                  </a:cubicBezTo>
                  <a:cubicBezTo>
                    <a:pt x="117" y="64"/>
                    <a:pt x="117" y="64"/>
                    <a:pt x="117" y="64"/>
                  </a:cubicBezTo>
                  <a:cubicBezTo>
                    <a:pt x="115" y="65"/>
                    <a:pt x="115" y="65"/>
                    <a:pt x="115" y="65"/>
                  </a:cubicBezTo>
                  <a:cubicBezTo>
                    <a:pt x="114" y="65"/>
                    <a:pt x="114" y="65"/>
                    <a:pt x="114" y="65"/>
                  </a:cubicBezTo>
                  <a:cubicBezTo>
                    <a:pt x="113" y="67"/>
                    <a:pt x="113" y="67"/>
                    <a:pt x="113" y="67"/>
                  </a:cubicBezTo>
                  <a:cubicBezTo>
                    <a:pt x="112" y="67"/>
                    <a:pt x="112" y="67"/>
                    <a:pt x="112" y="67"/>
                  </a:cubicBezTo>
                  <a:cubicBezTo>
                    <a:pt x="110" y="68"/>
                    <a:pt x="110" y="68"/>
                    <a:pt x="110" y="68"/>
                  </a:cubicBezTo>
                  <a:cubicBezTo>
                    <a:pt x="110" y="68"/>
                    <a:pt x="110" y="68"/>
                    <a:pt x="110" y="68"/>
                  </a:cubicBezTo>
                  <a:cubicBezTo>
                    <a:pt x="111" y="67"/>
                    <a:pt x="111" y="67"/>
                    <a:pt x="111" y="67"/>
                  </a:cubicBezTo>
                  <a:cubicBezTo>
                    <a:pt x="111" y="67"/>
                    <a:pt x="111" y="67"/>
                    <a:pt x="111" y="67"/>
                  </a:cubicBezTo>
                  <a:cubicBezTo>
                    <a:pt x="112" y="67"/>
                    <a:pt x="112" y="67"/>
                    <a:pt x="112" y="67"/>
                  </a:cubicBezTo>
                  <a:cubicBezTo>
                    <a:pt x="112" y="67"/>
                    <a:pt x="112" y="67"/>
                    <a:pt x="112" y="67"/>
                  </a:cubicBezTo>
                  <a:cubicBezTo>
                    <a:pt x="112" y="66"/>
                    <a:pt x="112" y="66"/>
                    <a:pt x="112" y="66"/>
                  </a:cubicBezTo>
                  <a:cubicBezTo>
                    <a:pt x="113" y="65"/>
                    <a:pt x="113" y="65"/>
                    <a:pt x="113" y="65"/>
                  </a:cubicBezTo>
                  <a:cubicBezTo>
                    <a:pt x="113" y="64"/>
                    <a:pt x="113" y="64"/>
                    <a:pt x="113" y="64"/>
                  </a:cubicBezTo>
                  <a:cubicBezTo>
                    <a:pt x="114" y="63"/>
                    <a:pt x="114" y="63"/>
                    <a:pt x="114" y="63"/>
                  </a:cubicBezTo>
                  <a:cubicBezTo>
                    <a:pt x="115" y="60"/>
                    <a:pt x="115" y="60"/>
                    <a:pt x="115" y="60"/>
                  </a:cubicBezTo>
                  <a:cubicBezTo>
                    <a:pt x="115" y="60"/>
                    <a:pt x="115" y="60"/>
                    <a:pt x="115" y="60"/>
                  </a:cubicBezTo>
                  <a:cubicBezTo>
                    <a:pt x="115" y="59"/>
                    <a:pt x="115" y="59"/>
                    <a:pt x="115" y="59"/>
                  </a:cubicBezTo>
                  <a:cubicBezTo>
                    <a:pt x="115" y="58"/>
                    <a:pt x="115" y="58"/>
                    <a:pt x="115" y="58"/>
                  </a:cubicBezTo>
                  <a:cubicBezTo>
                    <a:pt x="115" y="58"/>
                    <a:pt x="115" y="58"/>
                    <a:pt x="115" y="58"/>
                  </a:cubicBezTo>
                  <a:cubicBezTo>
                    <a:pt x="115" y="57"/>
                    <a:pt x="115" y="57"/>
                    <a:pt x="115" y="57"/>
                  </a:cubicBezTo>
                  <a:cubicBezTo>
                    <a:pt x="114" y="56"/>
                    <a:pt x="114" y="56"/>
                    <a:pt x="114" y="56"/>
                  </a:cubicBezTo>
                  <a:cubicBezTo>
                    <a:pt x="114" y="55"/>
                    <a:pt x="114" y="55"/>
                    <a:pt x="114" y="55"/>
                  </a:cubicBezTo>
                  <a:cubicBezTo>
                    <a:pt x="114" y="55"/>
                    <a:pt x="114" y="55"/>
                    <a:pt x="114" y="55"/>
                  </a:cubicBezTo>
                  <a:cubicBezTo>
                    <a:pt x="114" y="55"/>
                    <a:pt x="114" y="55"/>
                    <a:pt x="114" y="55"/>
                  </a:cubicBezTo>
                  <a:cubicBezTo>
                    <a:pt x="114" y="55"/>
                    <a:pt x="114" y="55"/>
                    <a:pt x="114" y="55"/>
                  </a:cubicBezTo>
                  <a:cubicBezTo>
                    <a:pt x="114" y="55"/>
                    <a:pt x="114" y="55"/>
                    <a:pt x="114" y="55"/>
                  </a:cubicBezTo>
                  <a:cubicBezTo>
                    <a:pt x="114" y="54"/>
                    <a:pt x="114" y="54"/>
                    <a:pt x="114" y="54"/>
                  </a:cubicBezTo>
                  <a:cubicBezTo>
                    <a:pt x="114" y="54"/>
                    <a:pt x="114" y="54"/>
                    <a:pt x="114" y="54"/>
                  </a:cubicBezTo>
                  <a:cubicBezTo>
                    <a:pt x="114" y="54"/>
                    <a:pt x="114" y="54"/>
                    <a:pt x="114" y="54"/>
                  </a:cubicBezTo>
                  <a:cubicBezTo>
                    <a:pt x="114" y="54"/>
                    <a:pt x="114" y="54"/>
                    <a:pt x="114" y="54"/>
                  </a:cubicBezTo>
                  <a:cubicBezTo>
                    <a:pt x="113" y="54"/>
                    <a:pt x="113" y="54"/>
                    <a:pt x="113" y="54"/>
                  </a:cubicBezTo>
                  <a:cubicBezTo>
                    <a:pt x="113" y="53"/>
                    <a:pt x="113" y="53"/>
                    <a:pt x="113" y="53"/>
                  </a:cubicBezTo>
                  <a:cubicBezTo>
                    <a:pt x="113" y="53"/>
                    <a:pt x="113" y="53"/>
                    <a:pt x="113" y="53"/>
                  </a:cubicBezTo>
                  <a:cubicBezTo>
                    <a:pt x="113" y="53"/>
                    <a:pt x="113" y="53"/>
                    <a:pt x="113" y="53"/>
                  </a:cubicBezTo>
                  <a:cubicBezTo>
                    <a:pt x="113" y="53"/>
                    <a:pt x="113" y="53"/>
                    <a:pt x="113" y="53"/>
                  </a:cubicBezTo>
                  <a:cubicBezTo>
                    <a:pt x="112" y="51"/>
                    <a:pt x="112" y="51"/>
                    <a:pt x="112" y="51"/>
                  </a:cubicBezTo>
                  <a:cubicBezTo>
                    <a:pt x="112" y="51"/>
                    <a:pt x="112" y="51"/>
                    <a:pt x="112" y="51"/>
                  </a:cubicBezTo>
                  <a:cubicBezTo>
                    <a:pt x="112" y="51"/>
                    <a:pt x="112" y="51"/>
                    <a:pt x="112" y="51"/>
                  </a:cubicBezTo>
                  <a:cubicBezTo>
                    <a:pt x="112" y="50"/>
                    <a:pt x="112" y="50"/>
                    <a:pt x="111" y="50"/>
                  </a:cubicBezTo>
                  <a:cubicBezTo>
                    <a:pt x="111" y="49"/>
                    <a:pt x="111" y="49"/>
                    <a:pt x="111" y="49"/>
                  </a:cubicBezTo>
                  <a:cubicBezTo>
                    <a:pt x="111" y="48"/>
                    <a:pt x="111" y="48"/>
                    <a:pt x="111" y="48"/>
                  </a:cubicBezTo>
                  <a:cubicBezTo>
                    <a:pt x="111" y="48"/>
                    <a:pt x="111" y="48"/>
                    <a:pt x="111" y="48"/>
                  </a:cubicBezTo>
                  <a:cubicBezTo>
                    <a:pt x="111" y="47"/>
                    <a:pt x="111" y="47"/>
                    <a:pt x="111" y="47"/>
                  </a:cubicBezTo>
                  <a:cubicBezTo>
                    <a:pt x="110" y="47"/>
                    <a:pt x="110" y="47"/>
                    <a:pt x="110" y="47"/>
                  </a:cubicBezTo>
                  <a:cubicBezTo>
                    <a:pt x="110" y="47"/>
                    <a:pt x="110" y="47"/>
                    <a:pt x="110" y="47"/>
                  </a:cubicBezTo>
                  <a:cubicBezTo>
                    <a:pt x="110" y="47"/>
                    <a:pt x="110" y="47"/>
                    <a:pt x="110" y="47"/>
                  </a:cubicBezTo>
                  <a:cubicBezTo>
                    <a:pt x="110" y="47"/>
                    <a:pt x="110" y="47"/>
                    <a:pt x="110" y="47"/>
                  </a:cubicBezTo>
                  <a:cubicBezTo>
                    <a:pt x="110" y="46"/>
                    <a:pt x="110" y="46"/>
                    <a:pt x="110" y="46"/>
                  </a:cubicBezTo>
                  <a:cubicBezTo>
                    <a:pt x="109" y="44"/>
                    <a:pt x="109" y="44"/>
                    <a:pt x="109" y="44"/>
                  </a:cubicBezTo>
                  <a:cubicBezTo>
                    <a:pt x="109" y="42"/>
                    <a:pt x="109" y="42"/>
                    <a:pt x="109" y="42"/>
                  </a:cubicBezTo>
                  <a:cubicBezTo>
                    <a:pt x="109" y="42"/>
                    <a:pt x="109" y="42"/>
                    <a:pt x="109" y="42"/>
                  </a:cubicBezTo>
                  <a:cubicBezTo>
                    <a:pt x="109" y="42"/>
                    <a:pt x="109" y="42"/>
                    <a:pt x="109" y="42"/>
                  </a:cubicBezTo>
                  <a:cubicBezTo>
                    <a:pt x="109" y="42"/>
                    <a:pt x="109" y="42"/>
                    <a:pt x="109" y="42"/>
                  </a:cubicBezTo>
                  <a:cubicBezTo>
                    <a:pt x="109" y="41"/>
                    <a:pt x="109" y="41"/>
                    <a:pt x="109" y="41"/>
                  </a:cubicBezTo>
                  <a:cubicBezTo>
                    <a:pt x="109" y="41"/>
                    <a:pt x="109" y="41"/>
                    <a:pt x="109" y="41"/>
                  </a:cubicBezTo>
                  <a:cubicBezTo>
                    <a:pt x="109" y="41"/>
                    <a:pt x="109" y="41"/>
                    <a:pt x="109" y="41"/>
                  </a:cubicBezTo>
                  <a:cubicBezTo>
                    <a:pt x="109" y="40"/>
                    <a:pt x="109" y="40"/>
                    <a:pt x="109" y="40"/>
                  </a:cubicBezTo>
                  <a:cubicBezTo>
                    <a:pt x="108" y="40"/>
                    <a:pt x="108" y="40"/>
                    <a:pt x="108" y="40"/>
                  </a:cubicBezTo>
                  <a:cubicBezTo>
                    <a:pt x="109" y="40"/>
                    <a:pt x="109" y="40"/>
                    <a:pt x="109" y="40"/>
                  </a:cubicBezTo>
                  <a:cubicBezTo>
                    <a:pt x="109" y="40"/>
                    <a:pt x="109" y="40"/>
                    <a:pt x="109" y="40"/>
                  </a:cubicBezTo>
                  <a:cubicBezTo>
                    <a:pt x="108" y="40"/>
                    <a:pt x="108" y="40"/>
                    <a:pt x="108" y="40"/>
                  </a:cubicBezTo>
                  <a:cubicBezTo>
                    <a:pt x="108" y="39"/>
                    <a:pt x="108" y="39"/>
                    <a:pt x="108" y="39"/>
                  </a:cubicBezTo>
                  <a:cubicBezTo>
                    <a:pt x="108" y="39"/>
                    <a:pt x="108" y="39"/>
                    <a:pt x="108" y="39"/>
                  </a:cubicBezTo>
                  <a:cubicBezTo>
                    <a:pt x="108" y="39"/>
                    <a:pt x="108" y="39"/>
                    <a:pt x="108" y="39"/>
                  </a:cubicBezTo>
                  <a:cubicBezTo>
                    <a:pt x="108" y="39"/>
                    <a:pt x="108" y="39"/>
                    <a:pt x="108" y="39"/>
                  </a:cubicBezTo>
                  <a:cubicBezTo>
                    <a:pt x="108" y="39"/>
                    <a:pt x="108" y="39"/>
                    <a:pt x="108" y="39"/>
                  </a:cubicBezTo>
                  <a:cubicBezTo>
                    <a:pt x="107" y="38"/>
                    <a:pt x="107" y="38"/>
                    <a:pt x="107" y="38"/>
                  </a:cubicBezTo>
                  <a:cubicBezTo>
                    <a:pt x="107" y="38"/>
                    <a:pt x="107" y="38"/>
                    <a:pt x="107" y="38"/>
                  </a:cubicBezTo>
                  <a:cubicBezTo>
                    <a:pt x="107" y="37"/>
                    <a:pt x="107" y="37"/>
                    <a:pt x="107" y="37"/>
                  </a:cubicBezTo>
                  <a:cubicBezTo>
                    <a:pt x="107" y="37"/>
                    <a:pt x="107" y="37"/>
                    <a:pt x="107" y="37"/>
                  </a:cubicBezTo>
                  <a:cubicBezTo>
                    <a:pt x="106" y="36"/>
                    <a:pt x="106" y="36"/>
                    <a:pt x="106" y="36"/>
                  </a:cubicBezTo>
                  <a:cubicBezTo>
                    <a:pt x="106" y="36"/>
                    <a:pt x="106" y="36"/>
                    <a:pt x="106" y="36"/>
                  </a:cubicBezTo>
                  <a:cubicBezTo>
                    <a:pt x="106" y="35"/>
                    <a:pt x="106" y="35"/>
                    <a:pt x="106" y="35"/>
                  </a:cubicBezTo>
                  <a:cubicBezTo>
                    <a:pt x="106" y="34"/>
                    <a:pt x="106" y="34"/>
                    <a:pt x="106" y="34"/>
                  </a:cubicBezTo>
                  <a:cubicBezTo>
                    <a:pt x="105" y="33"/>
                    <a:pt x="105" y="33"/>
                    <a:pt x="105" y="33"/>
                  </a:cubicBezTo>
                  <a:cubicBezTo>
                    <a:pt x="105" y="32"/>
                    <a:pt x="105" y="32"/>
                    <a:pt x="105" y="32"/>
                  </a:cubicBezTo>
                  <a:cubicBezTo>
                    <a:pt x="105" y="32"/>
                    <a:pt x="105" y="32"/>
                    <a:pt x="105" y="32"/>
                  </a:cubicBezTo>
                  <a:cubicBezTo>
                    <a:pt x="105" y="32"/>
                    <a:pt x="105" y="32"/>
                    <a:pt x="105" y="32"/>
                  </a:cubicBezTo>
                  <a:cubicBezTo>
                    <a:pt x="105" y="31"/>
                    <a:pt x="105" y="31"/>
                    <a:pt x="105" y="31"/>
                  </a:cubicBezTo>
                  <a:cubicBezTo>
                    <a:pt x="105" y="31"/>
                    <a:pt x="105" y="31"/>
                    <a:pt x="105" y="31"/>
                  </a:cubicBezTo>
                  <a:cubicBezTo>
                    <a:pt x="105" y="31"/>
                    <a:pt x="105" y="31"/>
                    <a:pt x="105" y="31"/>
                  </a:cubicBezTo>
                  <a:cubicBezTo>
                    <a:pt x="105" y="30"/>
                    <a:pt x="105" y="30"/>
                    <a:pt x="105" y="30"/>
                  </a:cubicBezTo>
                  <a:cubicBezTo>
                    <a:pt x="105" y="30"/>
                    <a:pt x="105" y="30"/>
                    <a:pt x="105" y="30"/>
                  </a:cubicBezTo>
                  <a:cubicBezTo>
                    <a:pt x="105" y="29"/>
                    <a:pt x="105" y="29"/>
                    <a:pt x="105" y="29"/>
                  </a:cubicBezTo>
                  <a:cubicBezTo>
                    <a:pt x="105" y="29"/>
                    <a:pt x="105" y="29"/>
                    <a:pt x="105" y="29"/>
                  </a:cubicBezTo>
                  <a:cubicBezTo>
                    <a:pt x="105" y="29"/>
                    <a:pt x="105" y="29"/>
                    <a:pt x="105" y="29"/>
                  </a:cubicBezTo>
                  <a:cubicBezTo>
                    <a:pt x="104" y="28"/>
                    <a:pt x="104" y="28"/>
                    <a:pt x="104" y="28"/>
                  </a:cubicBezTo>
                  <a:cubicBezTo>
                    <a:pt x="104" y="27"/>
                    <a:pt x="104" y="27"/>
                    <a:pt x="104" y="27"/>
                  </a:cubicBezTo>
                  <a:cubicBezTo>
                    <a:pt x="104" y="27"/>
                    <a:pt x="104" y="27"/>
                    <a:pt x="104" y="27"/>
                  </a:cubicBezTo>
                  <a:cubicBezTo>
                    <a:pt x="104" y="27"/>
                    <a:pt x="104" y="27"/>
                    <a:pt x="104" y="27"/>
                  </a:cubicBezTo>
                  <a:cubicBezTo>
                    <a:pt x="104" y="27"/>
                    <a:pt x="104" y="27"/>
                    <a:pt x="104" y="27"/>
                  </a:cubicBezTo>
                  <a:cubicBezTo>
                    <a:pt x="103" y="27"/>
                    <a:pt x="103" y="27"/>
                    <a:pt x="103" y="27"/>
                  </a:cubicBezTo>
                  <a:cubicBezTo>
                    <a:pt x="102" y="27"/>
                    <a:pt x="102" y="27"/>
                    <a:pt x="102" y="27"/>
                  </a:cubicBezTo>
                  <a:cubicBezTo>
                    <a:pt x="102" y="27"/>
                    <a:pt x="102" y="27"/>
                    <a:pt x="102" y="27"/>
                  </a:cubicBezTo>
                  <a:cubicBezTo>
                    <a:pt x="102" y="27"/>
                    <a:pt x="102" y="27"/>
                    <a:pt x="102" y="27"/>
                  </a:cubicBezTo>
                  <a:cubicBezTo>
                    <a:pt x="102" y="28"/>
                    <a:pt x="102" y="28"/>
                    <a:pt x="102" y="28"/>
                  </a:cubicBezTo>
                  <a:cubicBezTo>
                    <a:pt x="102" y="28"/>
                    <a:pt x="102" y="28"/>
                    <a:pt x="102" y="28"/>
                  </a:cubicBezTo>
                  <a:cubicBezTo>
                    <a:pt x="101" y="28"/>
                    <a:pt x="101" y="28"/>
                    <a:pt x="101" y="28"/>
                  </a:cubicBezTo>
                  <a:cubicBezTo>
                    <a:pt x="101" y="28"/>
                    <a:pt x="101" y="28"/>
                    <a:pt x="101" y="28"/>
                  </a:cubicBezTo>
                  <a:cubicBezTo>
                    <a:pt x="101" y="28"/>
                    <a:pt x="101" y="28"/>
                    <a:pt x="101" y="28"/>
                  </a:cubicBezTo>
                  <a:cubicBezTo>
                    <a:pt x="101" y="28"/>
                    <a:pt x="101" y="28"/>
                    <a:pt x="101" y="28"/>
                  </a:cubicBezTo>
                  <a:cubicBezTo>
                    <a:pt x="101" y="28"/>
                    <a:pt x="101" y="28"/>
                    <a:pt x="101" y="28"/>
                  </a:cubicBezTo>
                  <a:cubicBezTo>
                    <a:pt x="101" y="27"/>
                    <a:pt x="101" y="27"/>
                    <a:pt x="101"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99" y="27"/>
                    <a:pt x="99" y="27"/>
                    <a:pt x="99" y="27"/>
                  </a:cubicBezTo>
                  <a:cubicBezTo>
                    <a:pt x="98" y="27"/>
                    <a:pt x="98" y="27"/>
                    <a:pt x="98" y="27"/>
                  </a:cubicBezTo>
                  <a:cubicBezTo>
                    <a:pt x="98" y="27"/>
                    <a:pt x="98" y="27"/>
                    <a:pt x="98" y="27"/>
                  </a:cubicBezTo>
                  <a:cubicBezTo>
                    <a:pt x="98" y="27"/>
                    <a:pt x="98" y="27"/>
                    <a:pt x="98" y="27"/>
                  </a:cubicBezTo>
                  <a:cubicBezTo>
                    <a:pt x="97" y="27"/>
                    <a:pt x="97" y="27"/>
                    <a:pt x="97" y="27"/>
                  </a:cubicBezTo>
                  <a:cubicBezTo>
                    <a:pt x="97" y="27"/>
                    <a:pt x="97" y="27"/>
                    <a:pt x="97" y="27"/>
                  </a:cubicBezTo>
                  <a:cubicBezTo>
                    <a:pt x="97" y="27"/>
                    <a:pt x="97" y="27"/>
                    <a:pt x="97" y="27"/>
                  </a:cubicBezTo>
                  <a:cubicBezTo>
                    <a:pt x="97" y="27"/>
                    <a:pt x="97" y="27"/>
                    <a:pt x="97" y="27"/>
                  </a:cubicBezTo>
                  <a:cubicBezTo>
                    <a:pt x="97" y="27"/>
                    <a:pt x="97" y="27"/>
                    <a:pt x="97" y="27"/>
                  </a:cubicBezTo>
                  <a:cubicBezTo>
                    <a:pt x="96" y="27"/>
                    <a:pt x="96" y="27"/>
                    <a:pt x="96" y="27"/>
                  </a:cubicBezTo>
                  <a:cubicBezTo>
                    <a:pt x="96" y="27"/>
                    <a:pt x="96" y="27"/>
                    <a:pt x="96" y="27"/>
                  </a:cubicBezTo>
                  <a:cubicBezTo>
                    <a:pt x="96" y="27"/>
                    <a:pt x="96" y="27"/>
                    <a:pt x="96" y="27"/>
                  </a:cubicBezTo>
                  <a:cubicBezTo>
                    <a:pt x="96" y="28"/>
                    <a:pt x="96" y="28"/>
                    <a:pt x="96" y="28"/>
                  </a:cubicBezTo>
                  <a:cubicBezTo>
                    <a:pt x="94" y="27"/>
                    <a:pt x="94" y="27"/>
                    <a:pt x="94" y="27"/>
                  </a:cubicBezTo>
                  <a:cubicBezTo>
                    <a:pt x="93" y="27"/>
                    <a:pt x="93" y="27"/>
                    <a:pt x="93" y="27"/>
                  </a:cubicBezTo>
                  <a:cubicBezTo>
                    <a:pt x="93" y="27"/>
                    <a:pt x="93" y="27"/>
                    <a:pt x="93" y="27"/>
                  </a:cubicBezTo>
                  <a:cubicBezTo>
                    <a:pt x="92" y="27"/>
                    <a:pt x="92" y="27"/>
                    <a:pt x="92" y="27"/>
                  </a:cubicBezTo>
                  <a:cubicBezTo>
                    <a:pt x="93" y="27"/>
                    <a:pt x="93" y="27"/>
                    <a:pt x="93" y="27"/>
                  </a:cubicBezTo>
                  <a:cubicBezTo>
                    <a:pt x="93" y="28"/>
                    <a:pt x="93" y="28"/>
                    <a:pt x="93" y="28"/>
                  </a:cubicBezTo>
                  <a:cubicBezTo>
                    <a:pt x="93" y="28"/>
                    <a:pt x="93" y="28"/>
                    <a:pt x="93" y="28"/>
                  </a:cubicBezTo>
                  <a:cubicBezTo>
                    <a:pt x="93" y="28"/>
                    <a:pt x="93" y="28"/>
                    <a:pt x="93" y="28"/>
                  </a:cubicBezTo>
                  <a:cubicBezTo>
                    <a:pt x="93" y="28"/>
                    <a:pt x="93" y="28"/>
                    <a:pt x="93" y="28"/>
                  </a:cubicBezTo>
                  <a:cubicBezTo>
                    <a:pt x="93" y="29"/>
                    <a:pt x="93" y="29"/>
                    <a:pt x="93" y="29"/>
                  </a:cubicBezTo>
                  <a:cubicBezTo>
                    <a:pt x="93" y="29"/>
                    <a:pt x="93" y="29"/>
                    <a:pt x="93" y="29"/>
                  </a:cubicBezTo>
                  <a:cubicBezTo>
                    <a:pt x="93" y="29"/>
                    <a:pt x="93" y="29"/>
                    <a:pt x="93" y="29"/>
                  </a:cubicBezTo>
                  <a:cubicBezTo>
                    <a:pt x="93" y="30"/>
                    <a:pt x="93" y="30"/>
                    <a:pt x="93" y="30"/>
                  </a:cubicBezTo>
                  <a:cubicBezTo>
                    <a:pt x="92" y="31"/>
                    <a:pt x="92" y="31"/>
                    <a:pt x="92" y="31"/>
                  </a:cubicBezTo>
                  <a:cubicBezTo>
                    <a:pt x="92" y="31"/>
                    <a:pt x="92" y="31"/>
                    <a:pt x="92" y="31"/>
                  </a:cubicBezTo>
                  <a:cubicBezTo>
                    <a:pt x="92" y="31"/>
                    <a:pt x="92" y="31"/>
                    <a:pt x="92" y="31"/>
                  </a:cubicBezTo>
                  <a:cubicBezTo>
                    <a:pt x="92" y="32"/>
                    <a:pt x="92" y="32"/>
                    <a:pt x="92" y="32"/>
                  </a:cubicBezTo>
                  <a:cubicBezTo>
                    <a:pt x="92" y="32"/>
                    <a:pt x="92" y="32"/>
                    <a:pt x="92" y="32"/>
                  </a:cubicBezTo>
                  <a:cubicBezTo>
                    <a:pt x="92" y="32"/>
                    <a:pt x="92" y="32"/>
                    <a:pt x="92" y="32"/>
                  </a:cubicBezTo>
                  <a:cubicBezTo>
                    <a:pt x="92" y="32"/>
                    <a:pt x="92" y="32"/>
                    <a:pt x="92" y="32"/>
                  </a:cubicBezTo>
                  <a:cubicBezTo>
                    <a:pt x="92" y="33"/>
                    <a:pt x="92" y="33"/>
                    <a:pt x="92" y="33"/>
                  </a:cubicBezTo>
                  <a:cubicBezTo>
                    <a:pt x="92" y="33"/>
                    <a:pt x="92" y="33"/>
                    <a:pt x="92" y="33"/>
                  </a:cubicBezTo>
                  <a:cubicBezTo>
                    <a:pt x="92" y="35"/>
                    <a:pt x="92" y="35"/>
                    <a:pt x="92" y="35"/>
                  </a:cubicBezTo>
                  <a:cubicBezTo>
                    <a:pt x="92" y="35"/>
                    <a:pt x="92" y="35"/>
                    <a:pt x="92" y="35"/>
                  </a:cubicBezTo>
                  <a:cubicBezTo>
                    <a:pt x="92" y="35"/>
                    <a:pt x="92" y="35"/>
                    <a:pt x="92" y="35"/>
                  </a:cubicBezTo>
                  <a:cubicBezTo>
                    <a:pt x="92" y="35"/>
                    <a:pt x="92" y="35"/>
                    <a:pt x="92" y="35"/>
                  </a:cubicBezTo>
                  <a:cubicBezTo>
                    <a:pt x="92" y="36"/>
                    <a:pt x="92" y="36"/>
                    <a:pt x="92" y="36"/>
                  </a:cubicBezTo>
                  <a:cubicBezTo>
                    <a:pt x="92" y="36"/>
                    <a:pt x="92" y="36"/>
                    <a:pt x="92" y="36"/>
                  </a:cubicBezTo>
                  <a:cubicBezTo>
                    <a:pt x="92" y="36"/>
                    <a:pt x="92" y="36"/>
                    <a:pt x="92" y="36"/>
                  </a:cubicBezTo>
                  <a:cubicBezTo>
                    <a:pt x="92" y="37"/>
                    <a:pt x="92" y="37"/>
                    <a:pt x="92" y="37"/>
                  </a:cubicBezTo>
                  <a:cubicBezTo>
                    <a:pt x="92" y="37"/>
                    <a:pt x="92" y="37"/>
                    <a:pt x="92" y="37"/>
                  </a:cubicBezTo>
                  <a:cubicBezTo>
                    <a:pt x="92" y="37"/>
                    <a:pt x="92" y="37"/>
                    <a:pt x="92" y="37"/>
                  </a:cubicBezTo>
                  <a:cubicBezTo>
                    <a:pt x="92" y="37"/>
                    <a:pt x="92" y="37"/>
                    <a:pt x="92" y="37"/>
                  </a:cubicBezTo>
                  <a:cubicBezTo>
                    <a:pt x="91" y="38"/>
                    <a:pt x="91" y="38"/>
                    <a:pt x="91" y="38"/>
                  </a:cubicBezTo>
                  <a:cubicBezTo>
                    <a:pt x="91" y="38"/>
                    <a:pt x="91" y="38"/>
                    <a:pt x="91" y="38"/>
                  </a:cubicBezTo>
                  <a:cubicBezTo>
                    <a:pt x="91" y="38"/>
                    <a:pt x="91" y="38"/>
                    <a:pt x="91" y="38"/>
                  </a:cubicBezTo>
                  <a:cubicBezTo>
                    <a:pt x="91" y="39"/>
                    <a:pt x="91" y="39"/>
                    <a:pt x="91" y="39"/>
                  </a:cubicBezTo>
                  <a:cubicBezTo>
                    <a:pt x="91" y="40"/>
                    <a:pt x="91" y="40"/>
                    <a:pt x="91" y="40"/>
                  </a:cubicBezTo>
                  <a:cubicBezTo>
                    <a:pt x="91" y="40"/>
                    <a:pt x="91" y="40"/>
                    <a:pt x="91" y="40"/>
                  </a:cubicBezTo>
                  <a:cubicBezTo>
                    <a:pt x="91" y="39"/>
                    <a:pt x="91" y="39"/>
                    <a:pt x="91" y="39"/>
                  </a:cubicBezTo>
                  <a:cubicBezTo>
                    <a:pt x="91" y="38"/>
                    <a:pt x="91" y="38"/>
                    <a:pt x="91" y="38"/>
                  </a:cubicBezTo>
                  <a:cubicBezTo>
                    <a:pt x="91" y="38"/>
                    <a:pt x="91" y="38"/>
                    <a:pt x="91" y="38"/>
                  </a:cubicBezTo>
                  <a:cubicBezTo>
                    <a:pt x="91" y="37"/>
                    <a:pt x="91" y="37"/>
                    <a:pt x="91" y="37"/>
                  </a:cubicBezTo>
                  <a:cubicBezTo>
                    <a:pt x="91" y="37"/>
                    <a:pt x="91" y="37"/>
                    <a:pt x="91" y="37"/>
                  </a:cubicBezTo>
                  <a:cubicBezTo>
                    <a:pt x="91" y="37"/>
                    <a:pt x="91" y="37"/>
                    <a:pt x="91" y="37"/>
                  </a:cubicBezTo>
                  <a:cubicBezTo>
                    <a:pt x="91" y="36"/>
                    <a:pt x="91" y="36"/>
                    <a:pt x="91" y="36"/>
                  </a:cubicBezTo>
                  <a:cubicBezTo>
                    <a:pt x="91" y="36"/>
                    <a:pt x="91" y="36"/>
                    <a:pt x="91" y="36"/>
                  </a:cubicBezTo>
                  <a:cubicBezTo>
                    <a:pt x="91" y="36"/>
                    <a:pt x="91" y="36"/>
                    <a:pt x="91" y="36"/>
                  </a:cubicBezTo>
                  <a:cubicBezTo>
                    <a:pt x="91" y="35"/>
                    <a:pt x="91" y="35"/>
                    <a:pt x="91" y="35"/>
                  </a:cubicBezTo>
                  <a:cubicBezTo>
                    <a:pt x="92" y="35"/>
                    <a:pt x="92" y="35"/>
                    <a:pt x="92" y="35"/>
                  </a:cubicBezTo>
                  <a:cubicBezTo>
                    <a:pt x="91" y="35"/>
                    <a:pt x="91" y="35"/>
                    <a:pt x="91" y="35"/>
                  </a:cubicBezTo>
                  <a:cubicBezTo>
                    <a:pt x="91" y="34"/>
                    <a:pt x="91" y="34"/>
                    <a:pt x="91" y="34"/>
                  </a:cubicBezTo>
                  <a:cubicBezTo>
                    <a:pt x="91" y="33"/>
                    <a:pt x="91" y="33"/>
                    <a:pt x="91" y="33"/>
                  </a:cubicBezTo>
                  <a:cubicBezTo>
                    <a:pt x="91" y="32"/>
                    <a:pt x="91" y="32"/>
                    <a:pt x="91" y="32"/>
                  </a:cubicBezTo>
                  <a:cubicBezTo>
                    <a:pt x="91" y="31"/>
                    <a:pt x="91" y="31"/>
                    <a:pt x="91" y="31"/>
                  </a:cubicBezTo>
                  <a:cubicBezTo>
                    <a:pt x="91" y="30"/>
                    <a:pt x="91" y="30"/>
                    <a:pt x="91" y="30"/>
                  </a:cubicBezTo>
                  <a:cubicBezTo>
                    <a:pt x="92" y="30"/>
                    <a:pt x="92" y="30"/>
                    <a:pt x="92" y="30"/>
                  </a:cubicBezTo>
                  <a:cubicBezTo>
                    <a:pt x="92" y="30"/>
                    <a:pt x="92" y="30"/>
                    <a:pt x="92" y="30"/>
                  </a:cubicBezTo>
                  <a:cubicBezTo>
                    <a:pt x="92" y="30"/>
                    <a:pt x="92" y="30"/>
                    <a:pt x="92" y="30"/>
                  </a:cubicBezTo>
                  <a:cubicBezTo>
                    <a:pt x="92" y="29"/>
                    <a:pt x="92" y="29"/>
                    <a:pt x="92" y="29"/>
                  </a:cubicBezTo>
                  <a:cubicBezTo>
                    <a:pt x="92" y="29"/>
                    <a:pt x="92" y="29"/>
                    <a:pt x="92" y="29"/>
                  </a:cubicBezTo>
                  <a:cubicBezTo>
                    <a:pt x="92" y="29"/>
                    <a:pt x="92" y="29"/>
                    <a:pt x="92" y="29"/>
                  </a:cubicBezTo>
                  <a:cubicBezTo>
                    <a:pt x="92" y="29"/>
                    <a:pt x="92" y="29"/>
                    <a:pt x="92" y="29"/>
                  </a:cubicBezTo>
                  <a:cubicBezTo>
                    <a:pt x="92" y="29"/>
                    <a:pt x="92" y="29"/>
                    <a:pt x="92" y="29"/>
                  </a:cubicBezTo>
                  <a:cubicBezTo>
                    <a:pt x="92" y="28"/>
                    <a:pt x="92" y="28"/>
                    <a:pt x="92" y="28"/>
                  </a:cubicBezTo>
                  <a:cubicBezTo>
                    <a:pt x="92" y="28"/>
                    <a:pt x="92" y="28"/>
                    <a:pt x="92" y="28"/>
                  </a:cubicBezTo>
                  <a:cubicBezTo>
                    <a:pt x="92" y="28"/>
                    <a:pt x="92" y="28"/>
                    <a:pt x="92" y="28"/>
                  </a:cubicBezTo>
                  <a:cubicBezTo>
                    <a:pt x="92" y="27"/>
                    <a:pt x="92" y="27"/>
                    <a:pt x="92" y="27"/>
                  </a:cubicBezTo>
                  <a:cubicBezTo>
                    <a:pt x="92" y="27"/>
                    <a:pt x="92" y="27"/>
                    <a:pt x="92" y="27"/>
                  </a:cubicBezTo>
                  <a:cubicBezTo>
                    <a:pt x="92" y="27"/>
                    <a:pt x="92" y="27"/>
                    <a:pt x="92" y="27"/>
                  </a:cubicBezTo>
                  <a:cubicBezTo>
                    <a:pt x="92" y="27"/>
                    <a:pt x="92" y="27"/>
                    <a:pt x="92" y="27"/>
                  </a:cubicBezTo>
                  <a:cubicBezTo>
                    <a:pt x="92" y="27"/>
                    <a:pt x="92" y="27"/>
                    <a:pt x="92" y="27"/>
                  </a:cubicBezTo>
                  <a:cubicBezTo>
                    <a:pt x="92" y="27"/>
                    <a:pt x="92" y="27"/>
                    <a:pt x="92" y="27"/>
                  </a:cubicBezTo>
                  <a:cubicBezTo>
                    <a:pt x="92" y="27"/>
                    <a:pt x="92" y="27"/>
                    <a:pt x="92" y="27"/>
                  </a:cubicBezTo>
                  <a:cubicBezTo>
                    <a:pt x="92" y="27"/>
                    <a:pt x="92" y="27"/>
                    <a:pt x="92" y="27"/>
                  </a:cubicBezTo>
                  <a:cubicBezTo>
                    <a:pt x="91" y="27"/>
                    <a:pt x="91" y="27"/>
                    <a:pt x="91" y="27"/>
                  </a:cubicBezTo>
                  <a:cubicBezTo>
                    <a:pt x="91" y="27"/>
                    <a:pt x="91" y="27"/>
                    <a:pt x="91" y="27"/>
                  </a:cubicBezTo>
                  <a:cubicBezTo>
                    <a:pt x="91" y="28"/>
                    <a:pt x="91" y="28"/>
                    <a:pt x="91" y="28"/>
                  </a:cubicBezTo>
                  <a:cubicBezTo>
                    <a:pt x="91" y="28"/>
                    <a:pt x="91" y="28"/>
                    <a:pt x="91" y="28"/>
                  </a:cubicBezTo>
                  <a:cubicBezTo>
                    <a:pt x="91" y="28"/>
                    <a:pt x="91" y="28"/>
                    <a:pt x="91" y="28"/>
                  </a:cubicBezTo>
                  <a:cubicBezTo>
                    <a:pt x="91" y="28"/>
                    <a:pt x="91" y="28"/>
                    <a:pt x="91" y="28"/>
                  </a:cubicBezTo>
                  <a:cubicBezTo>
                    <a:pt x="91" y="28"/>
                    <a:pt x="91" y="28"/>
                    <a:pt x="91" y="28"/>
                  </a:cubicBezTo>
                  <a:cubicBezTo>
                    <a:pt x="90" y="29"/>
                    <a:pt x="90" y="29"/>
                    <a:pt x="90" y="29"/>
                  </a:cubicBezTo>
                  <a:cubicBezTo>
                    <a:pt x="90" y="29"/>
                    <a:pt x="90" y="29"/>
                    <a:pt x="90" y="29"/>
                  </a:cubicBezTo>
                  <a:cubicBezTo>
                    <a:pt x="89" y="29"/>
                    <a:pt x="89" y="29"/>
                    <a:pt x="89" y="29"/>
                  </a:cubicBezTo>
                  <a:cubicBezTo>
                    <a:pt x="89" y="28"/>
                    <a:pt x="89" y="28"/>
                    <a:pt x="89" y="28"/>
                  </a:cubicBezTo>
                  <a:cubicBezTo>
                    <a:pt x="89" y="27"/>
                    <a:pt x="89" y="27"/>
                    <a:pt x="89" y="27"/>
                  </a:cubicBezTo>
                  <a:cubicBezTo>
                    <a:pt x="89" y="26"/>
                    <a:pt x="89" y="26"/>
                    <a:pt x="89" y="26"/>
                  </a:cubicBezTo>
                  <a:cubicBezTo>
                    <a:pt x="88" y="26"/>
                    <a:pt x="88" y="26"/>
                    <a:pt x="88" y="26"/>
                  </a:cubicBezTo>
                  <a:cubicBezTo>
                    <a:pt x="88" y="26"/>
                    <a:pt x="88" y="26"/>
                    <a:pt x="88" y="26"/>
                  </a:cubicBezTo>
                  <a:cubicBezTo>
                    <a:pt x="87" y="25"/>
                    <a:pt x="87" y="25"/>
                    <a:pt x="87" y="25"/>
                  </a:cubicBezTo>
                  <a:cubicBezTo>
                    <a:pt x="87" y="25"/>
                    <a:pt x="87" y="25"/>
                    <a:pt x="87" y="25"/>
                  </a:cubicBezTo>
                  <a:cubicBezTo>
                    <a:pt x="86" y="25"/>
                    <a:pt x="86" y="25"/>
                    <a:pt x="86" y="25"/>
                  </a:cubicBezTo>
                  <a:cubicBezTo>
                    <a:pt x="86" y="26"/>
                    <a:pt x="86" y="26"/>
                    <a:pt x="86" y="26"/>
                  </a:cubicBezTo>
                  <a:cubicBezTo>
                    <a:pt x="86" y="26"/>
                    <a:pt x="86" y="26"/>
                    <a:pt x="86" y="26"/>
                  </a:cubicBezTo>
                  <a:cubicBezTo>
                    <a:pt x="86" y="26"/>
                    <a:pt x="86" y="26"/>
                    <a:pt x="86" y="26"/>
                  </a:cubicBezTo>
                  <a:cubicBezTo>
                    <a:pt x="86" y="26"/>
                    <a:pt x="86" y="26"/>
                    <a:pt x="86" y="26"/>
                  </a:cubicBezTo>
                  <a:cubicBezTo>
                    <a:pt x="86" y="25"/>
                    <a:pt x="86" y="25"/>
                    <a:pt x="86" y="25"/>
                  </a:cubicBezTo>
                  <a:cubicBezTo>
                    <a:pt x="86" y="25"/>
                    <a:pt x="86" y="25"/>
                    <a:pt x="86" y="25"/>
                  </a:cubicBezTo>
                  <a:cubicBezTo>
                    <a:pt x="86" y="25"/>
                    <a:pt x="86" y="25"/>
                    <a:pt x="86" y="25"/>
                  </a:cubicBezTo>
                  <a:cubicBezTo>
                    <a:pt x="86" y="25"/>
                    <a:pt x="86" y="25"/>
                    <a:pt x="86" y="25"/>
                  </a:cubicBezTo>
                  <a:cubicBezTo>
                    <a:pt x="86" y="24"/>
                    <a:pt x="86" y="24"/>
                    <a:pt x="86" y="24"/>
                  </a:cubicBezTo>
                  <a:cubicBezTo>
                    <a:pt x="86" y="24"/>
                    <a:pt x="86" y="24"/>
                    <a:pt x="86" y="24"/>
                  </a:cubicBezTo>
                  <a:cubicBezTo>
                    <a:pt x="86" y="24"/>
                    <a:pt x="86" y="24"/>
                    <a:pt x="86" y="24"/>
                  </a:cubicBezTo>
                  <a:cubicBezTo>
                    <a:pt x="86" y="23"/>
                    <a:pt x="86" y="23"/>
                    <a:pt x="86" y="23"/>
                  </a:cubicBezTo>
                  <a:cubicBezTo>
                    <a:pt x="86" y="22"/>
                    <a:pt x="86" y="22"/>
                    <a:pt x="86" y="22"/>
                  </a:cubicBezTo>
                  <a:cubicBezTo>
                    <a:pt x="85" y="22"/>
                    <a:pt x="85" y="22"/>
                    <a:pt x="85" y="22"/>
                  </a:cubicBezTo>
                  <a:cubicBezTo>
                    <a:pt x="85" y="22"/>
                    <a:pt x="85" y="22"/>
                    <a:pt x="85" y="22"/>
                  </a:cubicBezTo>
                  <a:cubicBezTo>
                    <a:pt x="85" y="22"/>
                    <a:pt x="85" y="22"/>
                    <a:pt x="85" y="22"/>
                  </a:cubicBezTo>
                  <a:cubicBezTo>
                    <a:pt x="85" y="22"/>
                    <a:pt x="85" y="22"/>
                    <a:pt x="85" y="22"/>
                  </a:cubicBezTo>
                  <a:cubicBezTo>
                    <a:pt x="85" y="22"/>
                    <a:pt x="85" y="22"/>
                    <a:pt x="85" y="22"/>
                  </a:cubicBezTo>
                  <a:cubicBezTo>
                    <a:pt x="85" y="22"/>
                    <a:pt x="85" y="22"/>
                    <a:pt x="85" y="22"/>
                  </a:cubicBezTo>
                  <a:cubicBezTo>
                    <a:pt x="85" y="22"/>
                    <a:pt x="85" y="22"/>
                    <a:pt x="85" y="22"/>
                  </a:cubicBezTo>
                  <a:cubicBezTo>
                    <a:pt x="85" y="21"/>
                    <a:pt x="85" y="21"/>
                    <a:pt x="85" y="21"/>
                  </a:cubicBezTo>
                  <a:cubicBezTo>
                    <a:pt x="85" y="21"/>
                    <a:pt x="85" y="21"/>
                    <a:pt x="85" y="21"/>
                  </a:cubicBezTo>
                  <a:cubicBezTo>
                    <a:pt x="85" y="21"/>
                    <a:pt x="85" y="21"/>
                    <a:pt x="85" y="21"/>
                  </a:cubicBezTo>
                  <a:cubicBezTo>
                    <a:pt x="83" y="21"/>
                    <a:pt x="83" y="21"/>
                    <a:pt x="83" y="21"/>
                  </a:cubicBezTo>
                  <a:cubicBezTo>
                    <a:pt x="83" y="22"/>
                    <a:pt x="83" y="22"/>
                    <a:pt x="83" y="22"/>
                  </a:cubicBezTo>
                  <a:cubicBezTo>
                    <a:pt x="83" y="21"/>
                    <a:pt x="83" y="21"/>
                    <a:pt x="83" y="21"/>
                  </a:cubicBezTo>
                  <a:cubicBezTo>
                    <a:pt x="84" y="21"/>
                    <a:pt x="84" y="21"/>
                    <a:pt x="84" y="21"/>
                  </a:cubicBezTo>
                  <a:cubicBezTo>
                    <a:pt x="84" y="21"/>
                    <a:pt x="84" y="21"/>
                    <a:pt x="84" y="21"/>
                  </a:cubicBezTo>
                  <a:cubicBezTo>
                    <a:pt x="85" y="21"/>
                    <a:pt x="85" y="21"/>
                    <a:pt x="85" y="21"/>
                  </a:cubicBezTo>
                  <a:cubicBezTo>
                    <a:pt x="85" y="20"/>
                    <a:pt x="85" y="20"/>
                    <a:pt x="85" y="20"/>
                  </a:cubicBezTo>
                  <a:cubicBezTo>
                    <a:pt x="85" y="20"/>
                    <a:pt x="85" y="20"/>
                    <a:pt x="85" y="20"/>
                  </a:cubicBezTo>
                  <a:cubicBezTo>
                    <a:pt x="85" y="19"/>
                    <a:pt x="85" y="19"/>
                    <a:pt x="85" y="19"/>
                  </a:cubicBezTo>
                  <a:cubicBezTo>
                    <a:pt x="85" y="19"/>
                    <a:pt x="85" y="19"/>
                    <a:pt x="85" y="19"/>
                  </a:cubicBezTo>
                  <a:cubicBezTo>
                    <a:pt x="85" y="19"/>
                    <a:pt x="85" y="19"/>
                    <a:pt x="85" y="19"/>
                  </a:cubicBezTo>
                  <a:cubicBezTo>
                    <a:pt x="85" y="19"/>
                    <a:pt x="85" y="19"/>
                    <a:pt x="85" y="19"/>
                  </a:cubicBezTo>
                  <a:cubicBezTo>
                    <a:pt x="85" y="18"/>
                    <a:pt x="85" y="18"/>
                    <a:pt x="85" y="18"/>
                  </a:cubicBezTo>
                  <a:cubicBezTo>
                    <a:pt x="85" y="18"/>
                    <a:pt x="85" y="18"/>
                    <a:pt x="85" y="18"/>
                  </a:cubicBezTo>
                  <a:cubicBezTo>
                    <a:pt x="85" y="18"/>
                    <a:pt x="85" y="18"/>
                    <a:pt x="85" y="18"/>
                  </a:cubicBezTo>
                  <a:cubicBezTo>
                    <a:pt x="85" y="18"/>
                    <a:pt x="85" y="18"/>
                    <a:pt x="85" y="18"/>
                  </a:cubicBezTo>
                  <a:cubicBezTo>
                    <a:pt x="85" y="18"/>
                    <a:pt x="85" y="18"/>
                    <a:pt x="85" y="18"/>
                  </a:cubicBezTo>
                  <a:cubicBezTo>
                    <a:pt x="85" y="18"/>
                    <a:pt x="85" y="18"/>
                    <a:pt x="85" y="18"/>
                  </a:cubicBezTo>
                  <a:cubicBezTo>
                    <a:pt x="85" y="18"/>
                    <a:pt x="85" y="18"/>
                    <a:pt x="85" y="18"/>
                  </a:cubicBezTo>
                  <a:cubicBezTo>
                    <a:pt x="85" y="17"/>
                    <a:pt x="85" y="17"/>
                    <a:pt x="85" y="17"/>
                  </a:cubicBezTo>
                  <a:cubicBezTo>
                    <a:pt x="85" y="17"/>
                    <a:pt x="85" y="17"/>
                    <a:pt x="85" y="17"/>
                  </a:cubicBezTo>
                  <a:cubicBezTo>
                    <a:pt x="85" y="17"/>
                    <a:pt x="85" y="17"/>
                    <a:pt x="85" y="17"/>
                  </a:cubicBezTo>
                  <a:cubicBezTo>
                    <a:pt x="85" y="17"/>
                    <a:pt x="85" y="17"/>
                    <a:pt x="85" y="17"/>
                  </a:cubicBezTo>
                  <a:cubicBezTo>
                    <a:pt x="85" y="17"/>
                    <a:pt x="85" y="17"/>
                    <a:pt x="85" y="17"/>
                  </a:cubicBezTo>
                  <a:cubicBezTo>
                    <a:pt x="85" y="17"/>
                    <a:pt x="85" y="17"/>
                    <a:pt x="85" y="17"/>
                  </a:cubicBezTo>
                  <a:cubicBezTo>
                    <a:pt x="85" y="17"/>
                    <a:pt x="85" y="17"/>
                    <a:pt x="85" y="17"/>
                  </a:cubicBezTo>
                  <a:cubicBezTo>
                    <a:pt x="85" y="16"/>
                    <a:pt x="85" y="16"/>
                    <a:pt x="85" y="16"/>
                  </a:cubicBezTo>
                  <a:cubicBezTo>
                    <a:pt x="85" y="16"/>
                    <a:pt x="85" y="16"/>
                    <a:pt x="85" y="16"/>
                  </a:cubicBezTo>
                  <a:cubicBezTo>
                    <a:pt x="85" y="16"/>
                    <a:pt x="85" y="16"/>
                    <a:pt x="85" y="16"/>
                  </a:cubicBezTo>
                  <a:cubicBezTo>
                    <a:pt x="85" y="16"/>
                    <a:pt x="85" y="16"/>
                    <a:pt x="85" y="16"/>
                  </a:cubicBezTo>
                  <a:cubicBezTo>
                    <a:pt x="85" y="16"/>
                    <a:pt x="85" y="16"/>
                    <a:pt x="85" y="16"/>
                  </a:cubicBezTo>
                  <a:cubicBezTo>
                    <a:pt x="85" y="15"/>
                    <a:pt x="85" y="15"/>
                    <a:pt x="85" y="15"/>
                  </a:cubicBezTo>
                  <a:cubicBezTo>
                    <a:pt x="85" y="15"/>
                    <a:pt x="85" y="15"/>
                    <a:pt x="85" y="15"/>
                  </a:cubicBezTo>
                  <a:cubicBezTo>
                    <a:pt x="86" y="15"/>
                    <a:pt x="86" y="15"/>
                    <a:pt x="86" y="15"/>
                  </a:cubicBezTo>
                  <a:cubicBezTo>
                    <a:pt x="86" y="15"/>
                    <a:pt x="86" y="15"/>
                    <a:pt x="86" y="15"/>
                  </a:cubicBezTo>
                  <a:cubicBezTo>
                    <a:pt x="86" y="15"/>
                    <a:pt x="86" y="15"/>
                    <a:pt x="86" y="15"/>
                  </a:cubicBezTo>
                  <a:cubicBezTo>
                    <a:pt x="86" y="15"/>
                    <a:pt x="86" y="15"/>
                    <a:pt x="86" y="15"/>
                  </a:cubicBezTo>
                  <a:cubicBezTo>
                    <a:pt x="86" y="15"/>
                    <a:pt x="86" y="15"/>
                    <a:pt x="86" y="15"/>
                  </a:cubicBezTo>
                  <a:cubicBezTo>
                    <a:pt x="86" y="14"/>
                    <a:pt x="86" y="14"/>
                    <a:pt x="86" y="14"/>
                  </a:cubicBezTo>
                  <a:cubicBezTo>
                    <a:pt x="86" y="14"/>
                    <a:pt x="86" y="14"/>
                    <a:pt x="86" y="14"/>
                  </a:cubicBezTo>
                  <a:cubicBezTo>
                    <a:pt x="86" y="15"/>
                    <a:pt x="86" y="15"/>
                    <a:pt x="86" y="15"/>
                  </a:cubicBezTo>
                  <a:cubicBezTo>
                    <a:pt x="86" y="15"/>
                    <a:pt x="86" y="15"/>
                    <a:pt x="86" y="15"/>
                  </a:cubicBezTo>
                  <a:cubicBezTo>
                    <a:pt x="85" y="15"/>
                    <a:pt x="85" y="15"/>
                    <a:pt x="85" y="15"/>
                  </a:cubicBezTo>
                  <a:cubicBezTo>
                    <a:pt x="85" y="15"/>
                    <a:pt x="85" y="15"/>
                    <a:pt x="85" y="15"/>
                  </a:cubicBezTo>
                  <a:cubicBezTo>
                    <a:pt x="85" y="15"/>
                    <a:pt x="85" y="15"/>
                    <a:pt x="85" y="15"/>
                  </a:cubicBezTo>
                  <a:cubicBezTo>
                    <a:pt x="85" y="14"/>
                    <a:pt x="85" y="14"/>
                    <a:pt x="85" y="14"/>
                  </a:cubicBezTo>
                  <a:cubicBezTo>
                    <a:pt x="85" y="14"/>
                    <a:pt x="85" y="14"/>
                    <a:pt x="85" y="14"/>
                  </a:cubicBezTo>
                  <a:cubicBezTo>
                    <a:pt x="85" y="14"/>
                    <a:pt x="85" y="14"/>
                    <a:pt x="85" y="14"/>
                  </a:cubicBezTo>
                  <a:cubicBezTo>
                    <a:pt x="85" y="14"/>
                    <a:pt x="85" y="14"/>
                    <a:pt x="85" y="14"/>
                  </a:cubicBezTo>
                  <a:cubicBezTo>
                    <a:pt x="85" y="14"/>
                    <a:pt x="85" y="14"/>
                    <a:pt x="85" y="14"/>
                  </a:cubicBezTo>
                  <a:cubicBezTo>
                    <a:pt x="85" y="14"/>
                    <a:pt x="85" y="14"/>
                    <a:pt x="85" y="14"/>
                  </a:cubicBezTo>
                  <a:cubicBezTo>
                    <a:pt x="85" y="13"/>
                    <a:pt x="85" y="13"/>
                    <a:pt x="85" y="13"/>
                  </a:cubicBezTo>
                  <a:cubicBezTo>
                    <a:pt x="85" y="13"/>
                    <a:pt x="85" y="13"/>
                    <a:pt x="85" y="13"/>
                  </a:cubicBezTo>
                  <a:cubicBezTo>
                    <a:pt x="85" y="13"/>
                    <a:pt x="85" y="13"/>
                    <a:pt x="85" y="13"/>
                  </a:cubicBezTo>
                  <a:cubicBezTo>
                    <a:pt x="85" y="12"/>
                    <a:pt x="85" y="12"/>
                    <a:pt x="85" y="12"/>
                  </a:cubicBezTo>
                  <a:cubicBezTo>
                    <a:pt x="85" y="12"/>
                    <a:pt x="85" y="12"/>
                    <a:pt x="85" y="12"/>
                  </a:cubicBezTo>
                  <a:cubicBezTo>
                    <a:pt x="85" y="12"/>
                    <a:pt x="85" y="12"/>
                    <a:pt x="85" y="12"/>
                  </a:cubicBezTo>
                  <a:cubicBezTo>
                    <a:pt x="85" y="12"/>
                    <a:pt x="85" y="12"/>
                    <a:pt x="85" y="12"/>
                  </a:cubicBezTo>
                  <a:cubicBezTo>
                    <a:pt x="85" y="12"/>
                    <a:pt x="85" y="12"/>
                    <a:pt x="85" y="12"/>
                  </a:cubicBezTo>
                  <a:cubicBezTo>
                    <a:pt x="85" y="12"/>
                    <a:pt x="85" y="12"/>
                    <a:pt x="85" y="12"/>
                  </a:cubicBezTo>
                  <a:cubicBezTo>
                    <a:pt x="85" y="12"/>
                    <a:pt x="85" y="12"/>
                    <a:pt x="85" y="12"/>
                  </a:cubicBezTo>
                  <a:cubicBezTo>
                    <a:pt x="85" y="12"/>
                    <a:pt x="85" y="12"/>
                    <a:pt x="85" y="12"/>
                  </a:cubicBezTo>
                  <a:cubicBezTo>
                    <a:pt x="85" y="12"/>
                    <a:pt x="85" y="12"/>
                    <a:pt x="85" y="12"/>
                  </a:cubicBezTo>
                  <a:cubicBezTo>
                    <a:pt x="85" y="11"/>
                    <a:pt x="85" y="11"/>
                    <a:pt x="85" y="11"/>
                  </a:cubicBezTo>
                  <a:cubicBezTo>
                    <a:pt x="85" y="11"/>
                    <a:pt x="85" y="11"/>
                    <a:pt x="85" y="11"/>
                  </a:cubicBezTo>
                  <a:cubicBezTo>
                    <a:pt x="85" y="11"/>
                    <a:pt x="85" y="11"/>
                    <a:pt x="85" y="11"/>
                  </a:cubicBezTo>
                  <a:cubicBezTo>
                    <a:pt x="85" y="11"/>
                    <a:pt x="85" y="11"/>
                    <a:pt x="85" y="11"/>
                  </a:cubicBezTo>
                  <a:cubicBezTo>
                    <a:pt x="85" y="11"/>
                    <a:pt x="85" y="11"/>
                    <a:pt x="85" y="11"/>
                  </a:cubicBezTo>
                  <a:cubicBezTo>
                    <a:pt x="85" y="11"/>
                    <a:pt x="85" y="11"/>
                    <a:pt x="85" y="11"/>
                  </a:cubicBezTo>
                  <a:cubicBezTo>
                    <a:pt x="84" y="11"/>
                    <a:pt x="84" y="11"/>
                    <a:pt x="84" y="11"/>
                  </a:cubicBezTo>
                  <a:cubicBezTo>
                    <a:pt x="84" y="11"/>
                    <a:pt x="84" y="11"/>
                    <a:pt x="84" y="11"/>
                  </a:cubicBezTo>
                  <a:cubicBezTo>
                    <a:pt x="84" y="10"/>
                    <a:pt x="84" y="10"/>
                    <a:pt x="84" y="10"/>
                  </a:cubicBezTo>
                  <a:cubicBezTo>
                    <a:pt x="85" y="10"/>
                    <a:pt x="85" y="10"/>
                    <a:pt x="85" y="10"/>
                  </a:cubicBezTo>
                  <a:cubicBezTo>
                    <a:pt x="85" y="10"/>
                    <a:pt x="85" y="10"/>
                    <a:pt x="85" y="10"/>
                  </a:cubicBezTo>
                  <a:cubicBezTo>
                    <a:pt x="85" y="10"/>
                    <a:pt x="85" y="10"/>
                    <a:pt x="85" y="10"/>
                  </a:cubicBezTo>
                  <a:cubicBezTo>
                    <a:pt x="85" y="10"/>
                    <a:pt x="85" y="10"/>
                    <a:pt x="85" y="10"/>
                  </a:cubicBezTo>
                  <a:cubicBezTo>
                    <a:pt x="84" y="10"/>
                    <a:pt x="84" y="10"/>
                    <a:pt x="84" y="10"/>
                  </a:cubicBezTo>
                  <a:cubicBezTo>
                    <a:pt x="84" y="9"/>
                    <a:pt x="84" y="9"/>
                    <a:pt x="84" y="9"/>
                  </a:cubicBezTo>
                  <a:cubicBezTo>
                    <a:pt x="84" y="9"/>
                    <a:pt x="84" y="9"/>
                    <a:pt x="84" y="9"/>
                  </a:cubicBezTo>
                  <a:cubicBezTo>
                    <a:pt x="84" y="9"/>
                    <a:pt x="84" y="9"/>
                    <a:pt x="84" y="9"/>
                  </a:cubicBezTo>
                  <a:cubicBezTo>
                    <a:pt x="84" y="9"/>
                    <a:pt x="84" y="9"/>
                    <a:pt x="84" y="9"/>
                  </a:cubicBezTo>
                  <a:cubicBezTo>
                    <a:pt x="84" y="9"/>
                    <a:pt x="84" y="9"/>
                    <a:pt x="84" y="9"/>
                  </a:cubicBezTo>
                  <a:cubicBezTo>
                    <a:pt x="84" y="8"/>
                    <a:pt x="84" y="8"/>
                    <a:pt x="84" y="8"/>
                  </a:cubicBezTo>
                  <a:cubicBezTo>
                    <a:pt x="84" y="8"/>
                    <a:pt x="84" y="8"/>
                    <a:pt x="84" y="8"/>
                  </a:cubicBezTo>
                  <a:cubicBezTo>
                    <a:pt x="84" y="8"/>
                    <a:pt x="84" y="8"/>
                    <a:pt x="84" y="8"/>
                  </a:cubicBezTo>
                  <a:cubicBezTo>
                    <a:pt x="84" y="8"/>
                    <a:pt x="84" y="8"/>
                    <a:pt x="84" y="8"/>
                  </a:cubicBezTo>
                  <a:cubicBezTo>
                    <a:pt x="84" y="8"/>
                    <a:pt x="84" y="8"/>
                    <a:pt x="84" y="8"/>
                  </a:cubicBezTo>
                  <a:cubicBezTo>
                    <a:pt x="84" y="6"/>
                    <a:pt x="84" y="6"/>
                    <a:pt x="84" y="6"/>
                  </a:cubicBezTo>
                  <a:cubicBezTo>
                    <a:pt x="84" y="6"/>
                    <a:pt x="84" y="6"/>
                    <a:pt x="84" y="6"/>
                  </a:cubicBezTo>
                  <a:cubicBezTo>
                    <a:pt x="84" y="6"/>
                    <a:pt x="84" y="6"/>
                    <a:pt x="84" y="6"/>
                  </a:cubicBezTo>
                  <a:cubicBezTo>
                    <a:pt x="84" y="6"/>
                    <a:pt x="84" y="6"/>
                    <a:pt x="84" y="6"/>
                  </a:cubicBezTo>
                  <a:cubicBezTo>
                    <a:pt x="84" y="6"/>
                    <a:pt x="84" y="6"/>
                    <a:pt x="84" y="6"/>
                  </a:cubicBezTo>
                  <a:cubicBezTo>
                    <a:pt x="84" y="5"/>
                    <a:pt x="84" y="5"/>
                    <a:pt x="84" y="5"/>
                  </a:cubicBezTo>
                  <a:cubicBezTo>
                    <a:pt x="84" y="5"/>
                    <a:pt x="84" y="5"/>
                    <a:pt x="84" y="5"/>
                  </a:cubicBezTo>
                  <a:cubicBezTo>
                    <a:pt x="84" y="5"/>
                    <a:pt x="84" y="5"/>
                    <a:pt x="84" y="5"/>
                  </a:cubicBezTo>
                  <a:cubicBezTo>
                    <a:pt x="84" y="4"/>
                    <a:pt x="84" y="4"/>
                    <a:pt x="84" y="4"/>
                  </a:cubicBezTo>
                  <a:cubicBezTo>
                    <a:pt x="84" y="4"/>
                    <a:pt x="84" y="4"/>
                    <a:pt x="84" y="4"/>
                  </a:cubicBezTo>
                  <a:cubicBezTo>
                    <a:pt x="84" y="3"/>
                    <a:pt x="84" y="3"/>
                    <a:pt x="84" y="3"/>
                  </a:cubicBezTo>
                  <a:cubicBezTo>
                    <a:pt x="84" y="2"/>
                    <a:pt x="84" y="2"/>
                    <a:pt x="84" y="2"/>
                  </a:cubicBezTo>
                  <a:cubicBezTo>
                    <a:pt x="84" y="2"/>
                    <a:pt x="84" y="2"/>
                    <a:pt x="84" y="2"/>
                  </a:cubicBezTo>
                  <a:cubicBezTo>
                    <a:pt x="84" y="2"/>
                    <a:pt x="84" y="2"/>
                    <a:pt x="84" y="2"/>
                  </a:cubicBezTo>
                  <a:cubicBezTo>
                    <a:pt x="84" y="2"/>
                    <a:pt x="84" y="2"/>
                    <a:pt x="84" y="2"/>
                  </a:cubicBezTo>
                  <a:cubicBezTo>
                    <a:pt x="84" y="2"/>
                    <a:pt x="84" y="2"/>
                    <a:pt x="84" y="2"/>
                  </a:cubicBezTo>
                  <a:cubicBezTo>
                    <a:pt x="84" y="1"/>
                    <a:pt x="84" y="1"/>
                    <a:pt x="84" y="1"/>
                  </a:cubicBezTo>
                  <a:cubicBezTo>
                    <a:pt x="84" y="1"/>
                    <a:pt x="84" y="1"/>
                    <a:pt x="84" y="1"/>
                  </a:cubicBezTo>
                  <a:cubicBezTo>
                    <a:pt x="84" y="1"/>
                    <a:pt x="84" y="1"/>
                    <a:pt x="84" y="1"/>
                  </a:cubicBezTo>
                  <a:cubicBezTo>
                    <a:pt x="84" y="1"/>
                    <a:pt x="84" y="1"/>
                    <a:pt x="84" y="1"/>
                  </a:cubicBezTo>
                  <a:cubicBezTo>
                    <a:pt x="84" y="0"/>
                    <a:pt x="84" y="0"/>
                    <a:pt x="84" y="0"/>
                  </a:cubicBezTo>
                  <a:cubicBezTo>
                    <a:pt x="84" y="0"/>
                    <a:pt x="84" y="0"/>
                    <a:pt x="84" y="0"/>
                  </a:cubicBezTo>
                  <a:cubicBezTo>
                    <a:pt x="57" y="1"/>
                    <a:pt x="29" y="2"/>
                    <a:pt x="2" y="1"/>
                  </a:cubicBezTo>
                  <a:cubicBezTo>
                    <a:pt x="1" y="32"/>
                    <a:pt x="1" y="63"/>
                    <a:pt x="0" y="94"/>
                  </a:cubicBezTo>
                  <a:cubicBezTo>
                    <a:pt x="1" y="128"/>
                    <a:pt x="3" y="161"/>
                    <a:pt x="4" y="195"/>
                  </a:cubicBezTo>
                  <a:cubicBezTo>
                    <a:pt x="5" y="209"/>
                    <a:pt x="6" y="224"/>
                    <a:pt x="6" y="238"/>
                  </a:cubicBezTo>
                  <a:cubicBezTo>
                    <a:pt x="6" y="238"/>
                    <a:pt x="6" y="238"/>
                    <a:pt x="6" y="238"/>
                  </a:cubicBezTo>
                  <a:cubicBezTo>
                    <a:pt x="34" y="238"/>
                    <a:pt x="62" y="238"/>
                    <a:pt x="90" y="237"/>
                  </a:cubicBezTo>
                  <a:cubicBezTo>
                    <a:pt x="90" y="237"/>
                    <a:pt x="90" y="237"/>
                    <a:pt x="90" y="237"/>
                  </a:cubicBezTo>
                  <a:cubicBezTo>
                    <a:pt x="90" y="236"/>
                    <a:pt x="90" y="236"/>
                    <a:pt x="90" y="236"/>
                  </a:cubicBezTo>
                  <a:cubicBezTo>
                    <a:pt x="90" y="236"/>
                    <a:pt x="90" y="236"/>
                    <a:pt x="90" y="236"/>
                  </a:cubicBezTo>
                  <a:cubicBezTo>
                    <a:pt x="90" y="234"/>
                    <a:pt x="90" y="231"/>
                    <a:pt x="90" y="229"/>
                  </a:cubicBezTo>
                  <a:cubicBezTo>
                    <a:pt x="90" y="229"/>
                    <a:pt x="90" y="229"/>
                    <a:pt x="90" y="229"/>
                  </a:cubicBezTo>
                  <a:cubicBezTo>
                    <a:pt x="89" y="205"/>
                    <a:pt x="88" y="181"/>
                    <a:pt x="87" y="157"/>
                  </a:cubicBezTo>
                  <a:cubicBezTo>
                    <a:pt x="87" y="156"/>
                    <a:pt x="87" y="156"/>
                    <a:pt x="87" y="156"/>
                  </a:cubicBezTo>
                  <a:cubicBezTo>
                    <a:pt x="93" y="150"/>
                    <a:pt x="98" y="144"/>
                    <a:pt x="104" y="138"/>
                  </a:cubicBezTo>
                  <a:cubicBezTo>
                    <a:pt x="105" y="136"/>
                    <a:pt x="105" y="136"/>
                    <a:pt x="105" y="136"/>
                  </a:cubicBezTo>
                  <a:cubicBezTo>
                    <a:pt x="107" y="135"/>
                    <a:pt x="107" y="135"/>
                    <a:pt x="107" y="135"/>
                  </a:cubicBezTo>
                  <a:cubicBezTo>
                    <a:pt x="123" y="111"/>
                    <a:pt x="140" y="88"/>
                    <a:pt x="157" y="65"/>
                  </a:cubicBezTo>
                  <a:close/>
                </a:path>
              </a:pathLst>
            </a:custGeom>
            <a:solidFill>
              <a:schemeClr val="accent6"/>
            </a:solidFill>
            <a:ln w="635">
              <a:solidFill>
                <a:schemeClr val="accent6"/>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540" name="Freeform 7">
              <a:extLst>
                <a:ext uri="{FF2B5EF4-FFF2-40B4-BE49-F238E27FC236}">
                  <a16:creationId xmlns:a16="http://schemas.microsoft.com/office/drawing/2014/main" id="{C1BB885C-B455-32FE-843B-51B4263DCFB0}"/>
                </a:ext>
              </a:extLst>
            </p:cNvPr>
            <p:cNvSpPr>
              <a:spLocks/>
            </p:cNvSpPr>
            <p:nvPr/>
          </p:nvSpPr>
          <p:spPr bwMode="gray">
            <a:xfrm>
              <a:off x="5302250" y="3321050"/>
              <a:ext cx="180975" cy="79375"/>
            </a:xfrm>
            <a:custGeom>
              <a:avLst/>
              <a:gdLst>
                <a:gd name="T0" fmla="*/ 87 w 114"/>
                <a:gd name="T1" fmla="*/ 13 h 50"/>
                <a:gd name="T2" fmla="*/ 87 w 114"/>
                <a:gd name="T3" fmla="*/ 17 h 50"/>
                <a:gd name="T4" fmla="*/ 70 w 114"/>
                <a:gd name="T5" fmla="*/ 23 h 50"/>
                <a:gd name="T6" fmla="*/ 60 w 114"/>
                <a:gd name="T7" fmla="*/ 30 h 50"/>
                <a:gd name="T8" fmla="*/ 57 w 114"/>
                <a:gd name="T9" fmla="*/ 27 h 50"/>
                <a:gd name="T10" fmla="*/ 47 w 114"/>
                <a:gd name="T11" fmla="*/ 27 h 50"/>
                <a:gd name="T12" fmla="*/ 47 w 114"/>
                <a:gd name="T13" fmla="*/ 27 h 50"/>
                <a:gd name="T14" fmla="*/ 43 w 114"/>
                <a:gd name="T15" fmla="*/ 27 h 50"/>
                <a:gd name="T16" fmla="*/ 33 w 114"/>
                <a:gd name="T17" fmla="*/ 30 h 50"/>
                <a:gd name="T18" fmla="*/ 37 w 114"/>
                <a:gd name="T19" fmla="*/ 34 h 50"/>
                <a:gd name="T20" fmla="*/ 30 w 114"/>
                <a:gd name="T21" fmla="*/ 34 h 50"/>
                <a:gd name="T22" fmla="*/ 27 w 114"/>
                <a:gd name="T23" fmla="*/ 37 h 50"/>
                <a:gd name="T24" fmla="*/ 30 w 114"/>
                <a:gd name="T25" fmla="*/ 27 h 50"/>
                <a:gd name="T26" fmla="*/ 27 w 114"/>
                <a:gd name="T27" fmla="*/ 23 h 50"/>
                <a:gd name="T28" fmla="*/ 27 w 114"/>
                <a:gd name="T29" fmla="*/ 27 h 50"/>
                <a:gd name="T30" fmla="*/ 27 w 114"/>
                <a:gd name="T31" fmla="*/ 23 h 50"/>
                <a:gd name="T32" fmla="*/ 20 w 114"/>
                <a:gd name="T33" fmla="*/ 20 h 50"/>
                <a:gd name="T34" fmla="*/ 13 w 114"/>
                <a:gd name="T35" fmla="*/ 20 h 50"/>
                <a:gd name="T36" fmla="*/ 13 w 114"/>
                <a:gd name="T37" fmla="*/ 17 h 50"/>
                <a:gd name="T38" fmla="*/ 17 w 114"/>
                <a:gd name="T39" fmla="*/ 10 h 50"/>
                <a:gd name="T40" fmla="*/ 10 w 114"/>
                <a:gd name="T41" fmla="*/ 3 h 50"/>
                <a:gd name="T42" fmla="*/ 3 w 114"/>
                <a:gd name="T43" fmla="*/ 20 h 50"/>
                <a:gd name="T44" fmla="*/ 10 w 114"/>
                <a:gd name="T45" fmla="*/ 30 h 50"/>
                <a:gd name="T46" fmla="*/ 17 w 114"/>
                <a:gd name="T47" fmla="*/ 30 h 50"/>
                <a:gd name="T48" fmla="*/ 20 w 114"/>
                <a:gd name="T49" fmla="*/ 34 h 50"/>
                <a:gd name="T50" fmla="*/ 20 w 114"/>
                <a:gd name="T51" fmla="*/ 40 h 50"/>
                <a:gd name="T52" fmla="*/ 27 w 114"/>
                <a:gd name="T53" fmla="*/ 40 h 50"/>
                <a:gd name="T54" fmla="*/ 30 w 114"/>
                <a:gd name="T55" fmla="*/ 40 h 50"/>
                <a:gd name="T56" fmla="*/ 40 w 114"/>
                <a:gd name="T57" fmla="*/ 40 h 50"/>
                <a:gd name="T58" fmla="*/ 40 w 114"/>
                <a:gd name="T59" fmla="*/ 44 h 50"/>
                <a:gd name="T60" fmla="*/ 47 w 114"/>
                <a:gd name="T61" fmla="*/ 47 h 50"/>
                <a:gd name="T62" fmla="*/ 54 w 114"/>
                <a:gd name="T63" fmla="*/ 44 h 50"/>
                <a:gd name="T64" fmla="*/ 57 w 114"/>
                <a:gd name="T65" fmla="*/ 47 h 50"/>
                <a:gd name="T66" fmla="*/ 67 w 114"/>
                <a:gd name="T67" fmla="*/ 44 h 50"/>
                <a:gd name="T68" fmla="*/ 64 w 114"/>
                <a:gd name="T69" fmla="*/ 44 h 50"/>
                <a:gd name="T70" fmla="*/ 67 w 114"/>
                <a:gd name="T71" fmla="*/ 40 h 50"/>
                <a:gd name="T72" fmla="*/ 74 w 114"/>
                <a:gd name="T73" fmla="*/ 30 h 50"/>
                <a:gd name="T74" fmla="*/ 70 w 114"/>
                <a:gd name="T75" fmla="*/ 37 h 50"/>
                <a:gd name="T76" fmla="*/ 70 w 114"/>
                <a:gd name="T77" fmla="*/ 37 h 50"/>
                <a:gd name="T78" fmla="*/ 77 w 114"/>
                <a:gd name="T79" fmla="*/ 40 h 50"/>
                <a:gd name="T80" fmla="*/ 77 w 114"/>
                <a:gd name="T81" fmla="*/ 40 h 50"/>
                <a:gd name="T82" fmla="*/ 80 w 114"/>
                <a:gd name="T83" fmla="*/ 40 h 50"/>
                <a:gd name="T84" fmla="*/ 77 w 114"/>
                <a:gd name="T85" fmla="*/ 47 h 50"/>
                <a:gd name="T86" fmla="*/ 84 w 114"/>
                <a:gd name="T87" fmla="*/ 50 h 50"/>
                <a:gd name="T88" fmla="*/ 90 w 114"/>
                <a:gd name="T89" fmla="*/ 50 h 50"/>
                <a:gd name="T90" fmla="*/ 101 w 114"/>
                <a:gd name="T91" fmla="*/ 47 h 50"/>
                <a:gd name="T92" fmla="*/ 97 w 114"/>
                <a:gd name="T93" fmla="*/ 44 h 50"/>
                <a:gd name="T94" fmla="*/ 101 w 114"/>
                <a:gd name="T95" fmla="*/ 37 h 50"/>
                <a:gd name="T96" fmla="*/ 97 w 114"/>
                <a:gd name="T97" fmla="*/ 37 h 50"/>
                <a:gd name="T98" fmla="*/ 94 w 114"/>
                <a:gd name="T99" fmla="*/ 34 h 50"/>
                <a:gd name="T100" fmla="*/ 90 w 114"/>
                <a:gd name="T101" fmla="*/ 34 h 50"/>
                <a:gd name="T102" fmla="*/ 94 w 114"/>
                <a:gd name="T103" fmla="*/ 30 h 50"/>
                <a:gd name="T104" fmla="*/ 97 w 114"/>
                <a:gd name="T105" fmla="*/ 27 h 50"/>
                <a:gd name="T106" fmla="*/ 101 w 114"/>
                <a:gd name="T107" fmla="*/ 20 h 50"/>
                <a:gd name="T108" fmla="*/ 104 w 114"/>
                <a:gd name="T109" fmla="*/ 17 h 50"/>
                <a:gd name="T110" fmla="*/ 114 w 114"/>
                <a:gd name="T111" fmla="*/ 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4" h="50">
                  <a:moveTo>
                    <a:pt x="114" y="7"/>
                  </a:moveTo>
                  <a:lnTo>
                    <a:pt x="114" y="7"/>
                  </a:lnTo>
                  <a:lnTo>
                    <a:pt x="107" y="7"/>
                  </a:lnTo>
                  <a:lnTo>
                    <a:pt x="104" y="7"/>
                  </a:lnTo>
                  <a:lnTo>
                    <a:pt x="101" y="10"/>
                  </a:lnTo>
                  <a:lnTo>
                    <a:pt x="97" y="10"/>
                  </a:lnTo>
                  <a:lnTo>
                    <a:pt x="90" y="13"/>
                  </a:lnTo>
                  <a:lnTo>
                    <a:pt x="87" y="13"/>
                  </a:lnTo>
                  <a:lnTo>
                    <a:pt x="87" y="13"/>
                  </a:lnTo>
                  <a:lnTo>
                    <a:pt x="87" y="13"/>
                  </a:lnTo>
                  <a:lnTo>
                    <a:pt x="87" y="17"/>
                  </a:lnTo>
                  <a:lnTo>
                    <a:pt x="84" y="17"/>
                  </a:lnTo>
                  <a:lnTo>
                    <a:pt x="80" y="17"/>
                  </a:lnTo>
                  <a:lnTo>
                    <a:pt x="84" y="17"/>
                  </a:lnTo>
                  <a:lnTo>
                    <a:pt x="87" y="17"/>
                  </a:lnTo>
                  <a:lnTo>
                    <a:pt x="87" y="17"/>
                  </a:lnTo>
                  <a:lnTo>
                    <a:pt x="80" y="20"/>
                  </a:lnTo>
                  <a:lnTo>
                    <a:pt x="77" y="20"/>
                  </a:lnTo>
                  <a:lnTo>
                    <a:pt x="77" y="20"/>
                  </a:lnTo>
                  <a:lnTo>
                    <a:pt x="77" y="23"/>
                  </a:lnTo>
                  <a:lnTo>
                    <a:pt x="77" y="23"/>
                  </a:lnTo>
                  <a:lnTo>
                    <a:pt x="77" y="23"/>
                  </a:lnTo>
                  <a:lnTo>
                    <a:pt x="77" y="20"/>
                  </a:lnTo>
                  <a:lnTo>
                    <a:pt x="70" y="23"/>
                  </a:lnTo>
                  <a:lnTo>
                    <a:pt x="67" y="27"/>
                  </a:lnTo>
                  <a:lnTo>
                    <a:pt x="60" y="27"/>
                  </a:lnTo>
                  <a:lnTo>
                    <a:pt x="60" y="27"/>
                  </a:lnTo>
                  <a:lnTo>
                    <a:pt x="60" y="27"/>
                  </a:lnTo>
                  <a:lnTo>
                    <a:pt x="60" y="27"/>
                  </a:lnTo>
                  <a:lnTo>
                    <a:pt x="60" y="27"/>
                  </a:lnTo>
                  <a:lnTo>
                    <a:pt x="60" y="30"/>
                  </a:lnTo>
                  <a:lnTo>
                    <a:pt x="60" y="30"/>
                  </a:lnTo>
                  <a:lnTo>
                    <a:pt x="60" y="30"/>
                  </a:lnTo>
                  <a:lnTo>
                    <a:pt x="60" y="30"/>
                  </a:lnTo>
                  <a:lnTo>
                    <a:pt x="57" y="27"/>
                  </a:lnTo>
                  <a:lnTo>
                    <a:pt x="57" y="30"/>
                  </a:lnTo>
                  <a:lnTo>
                    <a:pt x="57" y="30"/>
                  </a:lnTo>
                  <a:lnTo>
                    <a:pt x="57" y="27"/>
                  </a:lnTo>
                  <a:lnTo>
                    <a:pt x="57" y="27"/>
                  </a:lnTo>
                  <a:lnTo>
                    <a:pt x="57" y="27"/>
                  </a:lnTo>
                  <a:lnTo>
                    <a:pt x="54" y="27"/>
                  </a:lnTo>
                  <a:lnTo>
                    <a:pt x="54" y="27"/>
                  </a:lnTo>
                  <a:lnTo>
                    <a:pt x="54" y="27"/>
                  </a:lnTo>
                  <a:lnTo>
                    <a:pt x="54" y="23"/>
                  </a:lnTo>
                  <a:lnTo>
                    <a:pt x="50" y="23"/>
                  </a:lnTo>
                  <a:lnTo>
                    <a:pt x="50" y="27"/>
                  </a:lnTo>
                  <a:lnTo>
                    <a:pt x="47" y="27"/>
                  </a:lnTo>
                  <a:lnTo>
                    <a:pt x="47" y="27"/>
                  </a:lnTo>
                  <a:lnTo>
                    <a:pt x="47" y="27"/>
                  </a:lnTo>
                  <a:lnTo>
                    <a:pt x="50" y="27"/>
                  </a:lnTo>
                  <a:lnTo>
                    <a:pt x="50" y="27"/>
                  </a:lnTo>
                  <a:lnTo>
                    <a:pt x="50" y="30"/>
                  </a:lnTo>
                  <a:lnTo>
                    <a:pt x="47" y="30"/>
                  </a:lnTo>
                  <a:lnTo>
                    <a:pt x="47" y="27"/>
                  </a:lnTo>
                  <a:lnTo>
                    <a:pt x="47" y="27"/>
                  </a:lnTo>
                  <a:lnTo>
                    <a:pt x="47" y="27"/>
                  </a:lnTo>
                  <a:lnTo>
                    <a:pt x="47" y="27"/>
                  </a:lnTo>
                  <a:lnTo>
                    <a:pt x="47" y="27"/>
                  </a:lnTo>
                  <a:lnTo>
                    <a:pt x="47" y="27"/>
                  </a:lnTo>
                  <a:lnTo>
                    <a:pt x="47" y="27"/>
                  </a:lnTo>
                  <a:lnTo>
                    <a:pt x="47" y="27"/>
                  </a:lnTo>
                  <a:lnTo>
                    <a:pt x="43" y="27"/>
                  </a:lnTo>
                  <a:lnTo>
                    <a:pt x="43" y="27"/>
                  </a:lnTo>
                  <a:lnTo>
                    <a:pt x="43" y="27"/>
                  </a:lnTo>
                  <a:lnTo>
                    <a:pt x="43" y="27"/>
                  </a:lnTo>
                  <a:lnTo>
                    <a:pt x="43" y="27"/>
                  </a:lnTo>
                  <a:lnTo>
                    <a:pt x="43" y="27"/>
                  </a:lnTo>
                  <a:lnTo>
                    <a:pt x="37" y="27"/>
                  </a:lnTo>
                  <a:lnTo>
                    <a:pt x="37" y="27"/>
                  </a:lnTo>
                  <a:lnTo>
                    <a:pt x="33" y="27"/>
                  </a:lnTo>
                  <a:lnTo>
                    <a:pt x="33" y="30"/>
                  </a:lnTo>
                  <a:lnTo>
                    <a:pt x="33" y="30"/>
                  </a:lnTo>
                  <a:lnTo>
                    <a:pt x="37" y="30"/>
                  </a:lnTo>
                  <a:lnTo>
                    <a:pt x="37" y="30"/>
                  </a:lnTo>
                  <a:lnTo>
                    <a:pt x="33" y="30"/>
                  </a:lnTo>
                  <a:lnTo>
                    <a:pt x="37" y="30"/>
                  </a:lnTo>
                  <a:lnTo>
                    <a:pt x="37" y="34"/>
                  </a:lnTo>
                  <a:lnTo>
                    <a:pt x="37" y="34"/>
                  </a:lnTo>
                  <a:lnTo>
                    <a:pt x="37" y="34"/>
                  </a:lnTo>
                  <a:lnTo>
                    <a:pt x="37" y="34"/>
                  </a:lnTo>
                  <a:lnTo>
                    <a:pt x="33" y="34"/>
                  </a:lnTo>
                  <a:lnTo>
                    <a:pt x="33" y="34"/>
                  </a:lnTo>
                  <a:lnTo>
                    <a:pt x="30" y="34"/>
                  </a:lnTo>
                  <a:lnTo>
                    <a:pt x="30" y="34"/>
                  </a:lnTo>
                  <a:lnTo>
                    <a:pt x="30" y="34"/>
                  </a:lnTo>
                  <a:lnTo>
                    <a:pt x="30" y="34"/>
                  </a:lnTo>
                  <a:lnTo>
                    <a:pt x="33" y="34"/>
                  </a:lnTo>
                  <a:lnTo>
                    <a:pt x="30" y="34"/>
                  </a:lnTo>
                  <a:lnTo>
                    <a:pt x="30" y="30"/>
                  </a:lnTo>
                  <a:lnTo>
                    <a:pt x="30" y="30"/>
                  </a:lnTo>
                  <a:lnTo>
                    <a:pt x="30" y="30"/>
                  </a:lnTo>
                  <a:lnTo>
                    <a:pt x="30" y="30"/>
                  </a:lnTo>
                  <a:lnTo>
                    <a:pt x="30" y="34"/>
                  </a:lnTo>
                  <a:lnTo>
                    <a:pt x="27" y="34"/>
                  </a:lnTo>
                  <a:lnTo>
                    <a:pt x="27" y="34"/>
                  </a:lnTo>
                  <a:lnTo>
                    <a:pt x="27" y="37"/>
                  </a:lnTo>
                  <a:lnTo>
                    <a:pt x="27" y="34"/>
                  </a:lnTo>
                  <a:lnTo>
                    <a:pt x="27" y="34"/>
                  </a:lnTo>
                  <a:lnTo>
                    <a:pt x="27" y="34"/>
                  </a:lnTo>
                  <a:lnTo>
                    <a:pt x="27" y="34"/>
                  </a:lnTo>
                  <a:lnTo>
                    <a:pt x="27" y="27"/>
                  </a:lnTo>
                  <a:lnTo>
                    <a:pt x="30" y="27"/>
                  </a:lnTo>
                  <a:lnTo>
                    <a:pt x="30" y="27"/>
                  </a:lnTo>
                  <a:lnTo>
                    <a:pt x="30" y="27"/>
                  </a:lnTo>
                  <a:lnTo>
                    <a:pt x="30" y="27"/>
                  </a:lnTo>
                  <a:lnTo>
                    <a:pt x="27" y="27"/>
                  </a:lnTo>
                  <a:lnTo>
                    <a:pt x="27" y="27"/>
                  </a:lnTo>
                  <a:lnTo>
                    <a:pt x="27" y="27"/>
                  </a:lnTo>
                  <a:lnTo>
                    <a:pt x="27" y="27"/>
                  </a:lnTo>
                  <a:lnTo>
                    <a:pt x="27" y="27"/>
                  </a:lnTo>
                  <a:lnTo>
                    <a:pt x="27" y="23"/>
                  </a:lnTo>
                  <a:lnTo>
                    <a:pt x="27" y="23"/>
                  </a:lnTo>
                  <a:lnTo>
                    <a:pt x="27" y="23"/>
                  </a:lnTo>
                  <a:lnTo>
                    <a:pt x="27" y="23"/>
                  </a:lnTo>
                  <a:lnTo>
                    <a:pt x="27" y="27"/>
                  </a:lnTo>
                  <a:lnTo>
                    <a:pt x="27" y="27"/>
                  </a:lnTo>
                  <a:lnTo>
                    <a:pt x="27" y="27"/>
                  </a:lnTo>
                  <a:lnTo>
                    <a:pt x="27" y="27"/>
                  </a:lnTo>
                  <a:lnTo>
                    <a:pt x="27" y="27"/>
                  </a:lnTo>
                  <a:lnTo>
                    <a:pt x="27" y="27"/>
                  </a:lnTo>
                  <a:lnTo>
                    <a:pt x="27" y="27"/>
                  </a:lnTo>
                  <a:lnTo>
                    <a:pt x="27" y="27"/>
                  </a:lnTo>
                  <a:lnTo>
                    <a:pt x="23" y="27"/>
                  </a:lnTo>
                  <a:lnTo>
                    <a:pt x="23" y="27"/>
                  </a:lnTo>
                  <a:lnTo>
                    <a:pt x="23" y="27"/>
                  </a:lnTo>
                  <a:lnTo>
                    <a:pt x="27" y="27"/>
                  </a:lnTo>
                  <a:lnTo>
                    <a:pt x="27" y="27"/>
                  </a:lnTo>
                  <a:lnTo>
                    <a:pt x="27" y="23"/>
                  </a:lnTo>
                  <a:lnTo>
                    <a:pt x="27" y="23"/>
                  </a:lnTo>
                  <a:lnTo>
                    <a:pt x="27" y="23"/>
                  </a:lnTo>
                  <a:lnTo>
                    <a:pt x="23" y="23"/>
                  </a:lnTo>
                  <a:lnTo>
                    <a:pt x="23" y="23"/>
                  </a:lnTo>
                  <a:lnTo>
                    <a:pt x="23" y="20"/>
                  </a:lnTo>
                  <a:lnTo>
                    <a:pt x="20" y="20"/>
                  </a:lnTo>
                  <a:lnTo>
                    <a:pt x="20" y="20"/>
                  </a:lnTo>
                  <a:lnTo>
                    <a:pt x="20" y="20"/>
                  </a:lnTo>
                  <a:lnTo>
                    <a:pt x="20" y="20"/>
                  </a:lnTo>
                  <a:lnTo>
                    <a:pt x="20" y="20"/>
                  </a:lnTo>
                  <a:lnTo>
                    <a:pt x="17" y="20"/>
                  </a:lnTo>
                  <a:lnTo>
                    <a:pt x="17" y="20"/>
                  </a:lnTo>
                  <a:lnTo>
                    <a:pt x="17" y="20"/>
                  </a:lnTo>
                  <a:lnTo>
                    <a:pt x="17" y="20"/>
                  </a:lnTo>
                  <a:lnTo>
                    <a:pt x="13" y="20"/>
                  </a:lnTo>
                  <a:lnTo>
                    <a:pt x="13" y="20"/>
                  </a:lnTo>
                  <a:lnTo>
                    <a:pt x="13" y="17"/>
                  </a:lnTo>
                  <a:lnTo>
                    <a:pt x="13" y="17"/>
                  </a:lnTo>
                  <a:lnTo>
                    <a:pt x="13" y="17"/>
                  </a:lnTo>
                  <a:lnTo>
                    <a:pt x="13" y="17"/>
                  </a:lnTo>
                  <a:lnTo>
                    <a:pt x="13" y="17"/>
                  </a:lnTo>
                  <a:lnTo>
                    <a:pt x="13" y="17"/>
                  </a:lnTo>
                  <a:lnTo>
                    <a:pt x="13" y="17"/>
                  </a:lnTo>
                  <a:lnTo>
                    <a:pt x="13" y="17"/>
                  </a:lnTo>
                  <a:lnTo>
                    <a:pt x="13" y="17"/>
                  </a:lnTo>
                  <a:lnTo>
                    <a:pt x="13" y="17"/>
                  </a:lnTo>
                  <a:lnTo>
                    <a:pt x="13" y="13"/>
                  </a:lnTo>
                  <a:lnTo>
                    <a:pt x="13" y="13"/>
                  </a:lnTo>
                  <a:lnTo>
                    <a:pt x="13" y="13"/>
                  </a:lnTo>
                  <a:lnTo>
                    <a:pt x="13" y="13"/>
                  </a:lnTo>
                  <a:lnTo>
                    <a:pt x="17" y="10"/>
                  </a:lnTo>
                  <a:lnTo>
                    <a:pt x="17" y="10"/>
                  </a:lnTo>
                  <a:lnTo>
                    <a:pt x="13" y="7"/>
                  </a:lnTo>
                  <a:lnTo>
                    <a:pt x="13" y="3"/>
                  </a:lnTo>
                  <a:lnTo>
                    <a:pt x="13" y="3"/>
                  </a:lnTo>
                  <a:lnTo>
                    <a:pt x="13" y="0"/>
                  </a:lnTo>
                  <a:lnTo>
                    <a:pt x="13" y="0"/>
                  </a:lnTo>
                  <a:lnTo>
                    <a:pt x="13" y="0"/>
                  </a:lnTo>
                  <a:lnTo>
                    <a:pt x="10" y="0"/>
                  </a:lnTo>
                  <a:lnTo>
                    <a:pt x="10" y="3"/>
                  </a:lnTo>
                  <a:lnTo>
                    <a:pt x="7" y="7"/>
                  </a:lnTo>
                  <a:lnTo>
                    <a:pt x="3" y="13"/>
                  </a:lnTo>
                  <a:lnTo>
                    <a:pt x="3" y="13"/>
                  </a:lnTo>
                  <a:lnTo>
                    <a:pt x="3" y="17"/>
                  </a:lnTo>
                  <a:lnTo>
                    <a:pt x="3" y="17"/>
                  </a:lnTo>
                  <a:lnTo>
                    <a:pt x="3" y="17"/>
                  </a:lnTo>
                  <a:lnTo>
                    <a:pt x="3" y="20"/>
                  </a:lnTo>
                  <a:lnTo>
                    <a:pt x="3" y="20"/>
                  </a:lnTo>
                  <a:lnTo>
                    <a:pt x="0" y="23"/>
                  </a:lnTo>
                  <a:lnTo>
                    <a:pt x="0" y="27"/>
                  </a:lnTo>
                  <a:lnTo>
                    <a:pt x="0" y="30"/>
                  </a:lnTo>
                  <a:lnTo>
                    <a:pt x="3" y="34"/>
                  </a:lnTo>
                  <a:lnTo>
                    <a:pt x="3" y="34"/>
                  </a:lnTo>
                  <a:lnTo>
                    <a:pt x="3" y="34"/>
                  </a:lnTo>
                  <a:lnTo>
                    <a:pt x="7" y="30"/>
                  </a:lnTo>
                  <a:lnTo>
                    <a:pt x="10" y="30"/>
                  </a:lnTo>
                  <a:lnTo>
                    <a:pt x="10" y="30"/>
                  </a:lnTo>
                  <a:lnTo>
                    <a:pt x="13" y="30"/>
                  </a:lnTo>
                  <a:lnTo>
                    <a:pt x="13" y="30"/>
                  </a:lnTo>
                  <a:lnTo>
                    <a:pt x="13" y="30"/>
                  </a:lnTo>
                  <a:lnTo>
                    <a:pt x="13" y="30"/>
                  </a:lnTo>
                  <a:lnTo>
                    <a:pt x="13" y="30"/>
                  </a:lnTo>
                  <a:lnTo>
                    <a:pt x="13" y="30"/>
                  </a:lnTo>
                  <a:lnTo>
                    <a:pt x="17" y="30"/>
                  </a:lnTo>
                  <a:lnTo>
                    <a:pt x="17" y="27"/>
                  </a:lnTo>
                  <a:lnTo>
                    <a:pt x="17" y="27"/>
                  </a:lnTo>
                  <a:lnTo>
                    <a:pt x="17" y="30"/>
                  </a:lnTo>
                  <a:lnTo>
                    <a:pt x="17" y="30"/>
                  </a:lnTo>
                  <a:lnTo>
                    <a:pt x="17" y="30"/>
                  </a:lnTo>
                  <a:lnTo>
                    <a:pt x="20" y="30"/>
                  </a:lnTo>
                  <a:lnTo>
                    <a:pt x="20" y="30"/>
                  </a:lnTo>
                  <a:lnTo>
                    <a:pt x="20" y="34"/>
                  </a:lnTo>
                  <a:lnTo>
                    <a:pt x="20" y="34"/>
                  </a:lnTo>
                  <a:lnTo>
                    <a:pt x="20" y="34"/>
                  </a:lnTo>
                  <a:lnTo>
                    <a:pt x="17" y="34"/>
                  </a:lnTo>
                  <a:lnTo>
                    <a:pt x="17" y="37"/>
                  </a:lnTo>
                  <a:lnTo>
                    <a:pt x="20" y="37"/>
                  </a:lnTo>
                  <a:lnTo>
                    <a:pt x="20" y="40"/>
                  </a:lnTo>
                  <a:lnTo>
                    <a:pt x="20" y="40"/>
                  </a:lnTo>
                  <a:lnTo>
                    <a:pt x="20" y="40"/>
                  </a:lnTo>
                  <a:lnTo>
                    <a:pt x="20" y="40"/>
                  </a:lnTo>
                  <a:lnTo>
                    <a:pt x="20" y="44"/>
                  </a:lnTo>
                  <a:lnTo>
                    <a:pt x="20" y="44"/>
                  </a:lnTo>
                  <a:lnTo>
                    <a:pt x="20" y="44"/>
                  </a:lnTo>
                  <a:lnTo>
                    <a:pt x="20" y="44"/>
                  </a:lnTo>
                  <a:lnTo>
                    <a:pt x="27" y="40"/>
                  </a:lnTo>
                  <a:lnTo>
                    <a:pt x="27" y="40"/>
                  </a:lnTo>
                  <a:lnTo>
                    <a:pt x="27" y="40"/>
                  </a:lnTo>
                  <a:lnTo>
                    <a:pt x="27" y="40"/>
                  </a:lnTo>
                  <a:lnTo>
                    <a:pt x="30" y="40"/>
                  </a:lnTo>
                  <a:lnTo>
                    <a:pt x="30" y="40"/>
                  </a:lnTo>
                  <a:lnTo>
                    <a:pt x="30" y="40"/>
                  </a:lnTo>
                  <a:lnTo>
                    <a:pt x="30" y="40"/>
                  </a:lnTo>
                  <a:lnTo>
                    <a:pt x="30" y="40"/>
                  </a:lnTo>
                  <a:lnTo>
                    <a:pt x="30" y="40"/>
                  </a:lnTo>
                  <a:lnTo>
                    <a:pt x="30" y="40"/>
                  </a:lnTo>
                  <a:lnTo>
                    <a:pt x="33" y="40"/>
                  </a:lnTo>
                  <a:lnTo>
                    <a:pt x="37" y="37"/>
                  </a:lnTo>
                  <a:lnTo>
                    <a:pt x="37" y="37"/>
                  </a:lnTo>
                  <a:lnTo>
                    <a:pt x="37" y="37"/>
                  </a:lnTo>
                  <a:lnTo>
                    <a:pt x="37" y="37"/>
                  </a:lnTo>
                  <a:lnTo>
                    <a:pt x="37" y="40"/>
                  </a:lnTo>
                  <a:lnTo>
                    <a:pt x="37" y="40"/>
                  </a:lnTo>
                  <a:lnTo>
                    <a:pt x="40" y="40"/>
                  </a:lnTo>
                  <a:lnTo>
                    <a:pt x="37" y="40"/>
                  </a:lnTo>
                  <a:lnTo>
                    <a:pt x="33" y="40"/>
                  </a:lnTo>
                  <a:lnTo>
                    <a:pt x="37" y="44"/>
                  </a:lnTo>
                  <a:lnTo>
                    <a:pt x="37" y="40"/>
                  </a:lnTo>
                  <a:lnTo>
                    <a:pt x="37" y="44"/>
                  </a:lnTo>
                  <a:lnTo>
                    <a:pt x="37" y="44"/>
                  </a:lnTo>
                  <a:lnTo>
                    <a:pt x="37" y="44"/>
                  </a:lnTo>
                  <a:lnTo>
                    <a:pt x="40" y="44"/>
                  </a:lnTo>
                  <a:lnTo>
                    <a:pt x="40" y="44"/>
                  </a:lnTo>
                  <a:lnTo>
                    <a:pt x="40" y="44"/>
                  </a:lnTo>
                  <a:lnTo>
                    <a:pt x="43" y="47"/>
                  </a:lnTo>
                  <a:lnTo>
                    <a:pt x="43" y="47"/>
                  </a:lnTo>
                  <a:lnTo>
                    <a:pt x="47" y="47"/>
                  </a:lnTo>
                  <a:lnTo>
                    <a:pt x="47" y="47"/>
                  </a:lnTo>
                  <a:lnTo>
                    <a:pt x="47" y="47"/>
                  </a:lnTo>
                  <a:lnTo>
                    <a:pt x="47" y="47"/>
                  </a:lnTo>
                  <a:lnTo>
                    <a:pt x="50" y="47"/>
                  </a:lnTo>
                  <a:lnTo>
                    <a:pt x="50" y="47"/>
                  </a:lnTo>
                  <a:lnTo>
                    <a:pt x="50" y="47"/>
                  </a:lnTo>
                  <a:lnTo>
                    <a:pt x="50" y="47"/>
                  </a:lnTo>
                  <a:lnTo>
                    <a:pt x="50" y="47"/>
                  </a:lnTo>
                  <a:lnTo>
                    <a:pt x="50" y="47"/>
                  </a:lnTo>
                  <a:lnTo>
                    <a:pt x="54" y="44"/>
                  </a:lnTo>
                  <a:lnTo>
                    <a:pt x="54" y="44"/>
                  </a:lnTo>
                  <a:lnTo>
                    <a:pt x="54" y="47"/>
                  </a:lnTo>
                  <a:lnTo>
                    <a:pt x="54" y="47"/>
                  </a:lnTo>
                  <a:lnTo>
                    <a:pt x="54" y="47"/>
                  </a:lnTo>
                  <a:lnTo>
                    <a:pt x="57" y="47"/>
                  </a:lnTo>
                  <a:lnTo>
                    <a:pt x="57" y="47"/>
                  </a:lnTo>
                  <a:lnTo>
                    <a:pt x="57" y="47"/>
                  </a:lnTo>
                  <a:lnTo>
                    <a:pt x="57" y="47"/>
                  </a:lnTo>
                  <a:lnTo>
                    <a:pt x="57" y="47"/>
                  </a:lnTo>
                  <a:lnTo>
                    <a:pt x="57" y="47"/>
                  </a:lnTo>
                  <a:lnTo>
                    <a:pt x="60" y="47"/>
                  </a:lnTo>
                  <a:lnTo>
                    <a:pt x="64" y="47"/>
                  </a:lnTo>
                  <a:lnTo>
                    <a:pt x="64" y="47"/>
                  </a:lnTo>
                  <a:lnTo>
                    <a:pt x="64" y="47"/>
                  </a:lnTo>
                  <a:lnTo>
                    <a:pt x="67" y="44"/>
                  </a:lnTo>
                  <a:lnTo>
                    <a:pt x="67" y="44"/>
                  </a:lnTo>
                  <a:lnTo>
                    <a:pt x="67" y="44"/>
                  </a:lnTo>
                  <a:lnTo>
                    <a:pt x="67" y="40"/>
                  </a:lnTo>
                  <a:lnTo>
                    <a:pt x="67" y="40"/>
                  </a:lnTo>
                  <a:lnTo>
                    <a:pt x="67" y="40"/>
                  </a:lnTo>
                  <a:lnTo>
                    <a:pt x="67" y="44"/>
                  </a:lnTo>
                  <a:lnTo>
                    <a:pt x="64" y="44"/>
                  </a:lnTo>
                  <a:lnTo>
                    <a:pt x="64" y="44"/>
                  </a:lnTo>
                  <a:lnTo>
                    <a:pt x="64" y="44"/>
                  </a:lnTo>
                  <a:lnTo>
                    <a:pt x="64" y="44"/>
                  </a:lnTo>
                  <a:lnTo>
                    <a:pt x="64" y="44"/>
                  </a:lnTo>
                  <a:lnTo>
                    <a:pt x="64" y="40"/>
                  </a:lnTo>
                  <a:lnTo>
                    <a:pt x="64" y="40"/>
                  </a:lnTo>
                  <a:lnTo>
                    <a:pt x="67" y="40"/>
                  </a:lnTo>
                  <a:lnTo>
                    <a:pt x="67" y="40"/>
                  </a:lnTo>
                  <a:lnTo>
                    <a:pt x="64" y="37"/>
                  </a:lnTo>
                  <a:lnTo>
                    <a:pt x="67" y="37"/>
                  </a:lnTo>
                  <a:lnTo>
                    <a:pt x="67" y="40"/>
                  </a:lnTo>
                  <a:lnTo>
                    <a:pt x="67" y="40"/>
                  </a:lnTo>
                  <a:lnTo>
                    <a:pt x="67" y="37"/>
                  </a:lnTo>
                  <a:lnTo>
                    <a:pt x="67" y="37"/>
                  </a:lnTo>
                  <a:lnTo>
                    <a:pt x="70" y="37"/>
                  </a:lnTo>
                  <a:lnTo>
                    <a:pt x="70" y="34"/>
                  </a:lnTo>
                  <a:lnTo>
                    <a:pt x="70" y="34"/>
                  </a:lnTo>
                  <a:lnTo>
                    <a:pt x="70" y="34"/>
                  </a:lnTo>
                  <a:lnTo>
                    <a:pt x="74" y="30"/>
                  </a:lnTo>
                  <a:lnTo>
                    <a:pt x="74" y="30"/>
                  </a:lnTo>
                  <a:lnTo>
                    <a:pt x="74" y="34"/>
                  </a:lnTo>
                  <a:lnTo>
                    <a:pt x="70" y="34"/>
                  </a:lnTo>
                  <a:lnTo>
                    <a:pt x="70" y="34"/>
                  </a:lnTo>
                  <a:lnTo>
                    <a:pt x="70" y="34"/>
                  </a:lnTo>
                  <a:lnTo>
                    <a:pt x="70" y="37"/>
                  </a:lnTo>
                  <a:lnTo>
                    <a:pt x="70" y="37"/>
                  </a:lnTo>
                  <a:lnTo>
                    <a:pt x="70" y="37"/>
                  </a:lnTo>
                  <a:lnTo>
                    <a:pt x="70" y="37"/>
                  </a:lnTo>
                  <a:lnTo>
                    <a:pt x="70" y="37"/>
                  </a:lnTo>
                  <a:lnTo>
                    <a:pt x="70" y="37"/>
                  </a:lnTo>
                  <a:lnTo>
                    <a:pt x="70" y="37"/>
                  </a:lnTo>
                  <a:lnTo>
                    <a:pt x="70" y="37"/>
                  </a:lnTo>
                  <a:lnTo>
                    <a:pt x="70" y="37"/>
                  </a:lnTo>
                  <a:lnTo>
                    <a:pt x="70" y="37"/>
                  </a:lnTo>
                  <a:lnTo>
                    <a:pt x="70" y="37"/>
                  </a:lnTo>
                  <a:lnTo>
                    <a:pt x="70" y="37"/>
                  </a:lnTo>
                  <a:lnTo>
                    <a:pt x="70" y="40"/>
                  </a:lnTo>
                  <a:lnTo>
                    <a:pt x="70" y="40"/>
                  </a:lnTo>
                  <a:lnTo>
                    <a:pt x="70" y="40"/>
                  </a:lnTo>
                  <a:lnTo>
                    <a:pt x="74" y="40"/>
                  </a:lnTo>
                  <a:lnTo>
                    <a:pt x="74" y="40"/>
                  </a:lnTo>
                  <a:lnTo>
                    <a:pt x="74" y="40"/>
                  </a:lnTo>
                  <a:lnTo>
                    <a:pt x="77" y="40"/>
                  </a:lnTo>
                  <a:lnTo>
                    <a:pt x="77" y="40"/>
                  </a:lnTo>
                  <a:lnTo>
                    <a:pt x="77" y="40"/>
                  </a:lnTo>
                  <a:lnTo>
                    <a:pt x="74" y="40"/>
                  </a:lnTo>
                  <a:lnTo>
                    <a:pt x="74" y="40"/>
                  </a:lnTo>
                  <a:lnTo>
                    <a:pt x="74" y="37"/>
                  </a:lnTo>
                  <a:lnTo>
                    <a:pt x="77" y="40"/>
                  </a:lnTo>
                  <a:lnTo>
                    <a:pt x="77" y="40"/>
                  </a:lnTo>
                  <a:lnTo>
                    <a:pt x="77" y="40"/>
                  </a:lnTo>
                  <a:lnTo>
                    <a:pt x="77" y="40"/>
                  </a:lnTo>
                  <a:lnTo>
                    <a:pt x="77" y="44"/>
                  </a:lnTo>
                  <a:lnTo>
                    <a:pt x="77" y="44"/>
                  </a:lnTo>
                  <a:lnTo>
                    <a:pt x="80" y="44"/>
                  </a:lnTo>
                  <a:lnTo>
                    <a:pt x="80" y="40"/>
                  </a:lnTo>
                  <a:lnTo>
                    <a:pt x="80" y="40"/>
                  </a:lnTo>
                  <a:lnTo>
                    <a:pt x="80" y="40"/>
                  </a:lnTo>
                  <a:lnTo>
                    <a:pt x="80" y="40"/>
                  </a:lnTo>
                  <a:lnTo>
                    <a:pt x="80" y="40"/>
                  </a:lnTo>
                  <a:lnTo>
                    <a:pt x="80" y="44"/>
                  </a:lnTo>
                  <a:lnTo>
                    <a:pt x="80" y="47"/>
                  </a:lnTo>
                  <a:lnTo>
                    <a:pt x="77" y="47"/>
                  </a:lnTo>
                  <a:lnTo>
                    <a:pt x="77" y="47"/>
                  </a:lnTo>
                  <a:lnTo>
                    <a:pt x="77" y="47"/>
                  </a:lnTo>
                  <a:lnTo>
                    <a:pt x="77" y="47"/>
                  </a:lnTo>
                  <a:lnTo>
                    <a:pt x="77" y="47"/>
                  </a:lnTo>
                  <a:lnTo>
                    <a:pt x="80" y="47"/>
                  </a:lnTo>
                  <a:lnTo>
                    <a:pt x="84" y="47"/>
                  </a:lnTo>
                  <a:lnTo>
                    <a:pt x="80" y="47"/>
                  </a:lnTo>
                  <a:lnTo>
                    <a:pt x="80" y="47"/>
                  </a:lnTo>
                  <a:lnTo>
                    <a:pt x="80" y="47"/>
                  </a:lnTo>
                  <a:lnTo>
                    <a:pt x="80" y="47"/>
                  </a:lnTo>
                  <a:lnTo>
                    <a:pt x="84" y="50"/>
                  </a:lnTo>
                  <a:lnTo>
                    <a:pt x="84" y="50"/>
                  </a:lnTo>
                  <a:lnTo>
                    <a:pt x="84" y="50"/>
                  </a:lnTo>
                  <a:lnTo>
                    <a:pt x="84" y="50"/>
                  </a:lnTo>
                  <a:lnTo>
                    <a:pt x="84" y="50"/>
                  </a:lnTo>
                  <a:lnTo>
                    <a:pt x="84" y="50"/>
                  </a:lnTo>
                  <a:lnTo>
                    <a:pt x="87" y="50"/>
                  </a:lnTo>
                  <a:lnTo>
                    <a:pt x="87" y="50"/>
                  </a:lnTo>
                  <a:lnTo>
                    <a:pt x="90" y="50"/>
                  </a:lnTo>
                  <a:lnTo>
                    <a:pt x="90" y="50"/>
                  </a:lnTo>
                  <a:lnTo>
                    <a:pt x="90" y="50"/>
                  </a:lnTo>
                  <a:lnTo>
                    <a:pt x="90" y="50"/>
                  </a:lnTo>
                  <a:lnTo>
                    <a:pt x="90" y="50"/>
                  </a:lnTo>
                  <a:lnTo>
                    <a:pt x="90" y="50"/>
                  </a:lnTo>
                  <a:lnTo>
                    <a:pt x="90" y="50"/>
                  </a:lnTo>
                  <a:lnTo>
                    <a:pt x="94" y="50"/>
                  </a:lnTo>
                  <a:lnTo>
                    <a:pt x="94" y="50"/>
                  </a:lnTo>
                  <a:lnTo>
                    <a:pt x="101" y="47"/>
                  </a:lnTo>
                  <a:lnTo>
                    <a:pt x="101" y="44"/>
                  </a:lnTo>
                  <a:lnTo>
                    <a:pt x="104" y="40"/>
                  </a:lnTo>
                  <a:lnTo>
                    <a:pt x="101" y="44"/>
                  </a:lnTo>
                  <a:lnTo>
                    <a:pt x="101" y="44"/>
                  </a:lnTo>
                  <a:lnTo>
                    <a:pt x="101" y="44"/>
                  </a:lnTo>
                  <a:lnTo>
                    <a:pt x="97" y="44"/>
                  </a:lnTo>
                  <a:lnTo>
                    <a:pt x="97" y="44"/>
                  </a:lnTo>
                  <a:lnTo>
                    <a:pt x="97" y="44"/>
                  </a:lnTo>
                  <a:lnTo>
                    <a:pt x="97" y="44"/>
                  </a:lnTo>
                  <a:lnTo>
                    <a:pt x="97" y="40"/>
                  </a:lnTo>
                  <a:lnTo>
                    <a:pt x="101" y="40"/>
                  </a:lnTo>
                  <a:lnTo>
                    <a:pt x="101" y="40"/>
                  </a:lnTo>
                  <a:lnTo>
                    <a:pt x="101" y="40"/>
                  </a:lnTo>
                  <a:lnTo>
                    <a:pt x="101" y="40"/>
                  </a:lnTo>
                  <a:lnTo>
                    <a:pt x="101" y="37"/>
                  </a:lnTo>
                  <a:lnTo>
                    <a:pt x="101" y="37"/>
                  </a:lnTo>
                  <a:lnTo>
                    <a:pt x="101" y="37"/>
                  </a:lnTo>
                  <a:lnTo>
                    <a:pt x="101" y="34"/>
                  </a:lnTo>
                  <a:lnTo>
                    <a:pt x="97" y="34"/>
                  </a:lnTo>
                  <a:lnTo>
                    <a:pt x="97" y="34"/>
                  </a:lnTo>
                  <a:lnTo>
                    <a:pt x="97" y="34"/>
                  </a:lnTo>
                  <a:lnTo>
                    <a:pt x="101" y="34"/>
                  </a:lnTo>
                  <a:lnTo>
                    <a:pt x="101" y="37"/>
                  </a:lnTo>
                  <a:lnTo>
                    <a:pt x="97" y="37"/>
                  </a:lnTo>
                  <a:lnTo>
                    <a:pt x="97" y="37"/>
                  </a:lnTo>
                  <a:lnTo>
                    <a:pt x="97" y="37"/>
                  </a:lnTo>
                  <a:lnTo>
                    <a:pt x="97" y="37"/>
                  </a:lnTo>
                  <a:lnTo>
                    <a:pt x="97" y="34"/>
                  </a:lnTo>
                  <a:lnTo>
                    <a:pt x="97" y="34"/>
                  </a:lnTo>
                  <a:lnTo>
                    <a:pt x="94" y="34"/>
                  </a:lnTo>
                  <a:lnTo>
                    <a:pt x="94" y="34"/>
                  </a:lnTo>
                  <a:lnTo>
                    <a:pt x="94" y="34"/>
                  </a:lnTo>
                  <a:lnTo>
                    <a:pt x="94" y="34"/>
                  </a:lnTo>
                  <a:lnTo>
                    <a:pt x="94" y="34"/>
                  </a:lnTo>
                  <a:lnTo>
                    <a:pt x="94" y="34"/>
                  </a:lnTo>
                  <a:lnTo>
                    <a:pt x="94" y="34"/>
                  </a:lnTo>
                  <a:lnTo>
                    <a:pt x="94" y="34"/>
                  </a:lnTo>
                  <a:lnTo>
                    <a:pt x="94" y="34"/>
                  </a:lnTo>
                  <a:lnTo>
                    <a:pt x="94" y="34"/>
                  </a:lnTo>
                  <a:lnTo>
                    <a:pt x="90" y="34"/>
                  </a:lnTo>
                  <a:lnTo>
                    <a:pt x="94" y="34"/>
                  </a:lnTo>
                  <a:lnTo>
                    <a:pt x="97" y="34"/>
                  </a:lnTo>
                  <a:lnTo>
                    <a:pt x="97" y="34"/>
                  </a:lnTo>
                  <a:lnTo>
                    <a:pt x="97" y="30"/>
                  </a:lnTo>
                  <a:lnTo>
                    <a:pt x="94" y="30"/>
                  </a:lnTo>
                  <a:lnTo>
                    <a:pt x="94" y="30"/>
                  </a:lnTo>
                  <a:lnTo>
                    <a:pt x="94" y="30"/>
                  </a:lnTo>
                  <a:lnTo>
                    <a:pt x="94" y="30"/>
                  </a:lnTo>
                  <a:lnTo>
                    <a:pt x="97" y="30"/>
                  </a:lnTo>
                  <a:lnTo>
                    <a:pt x="97" y="30"/>
                  </a:lnTo>
                  <a:lnTo>
                    <a:pt x="101" y="30"/>
                  </a:lnTo>
                  <a:lnTo>
                    <a:pt x="101" y="30"/>
                  </a:lnTo>
                  <a:lnTo>
                    <a:pt x="101" y="27"/>
                  </a:lnTo>
                  <a:lnTo>
                    <a:pt x="97" y="27"/>
                  </a:lnTo>
                  <a:lnTo>
                    <a:pt x="94" y="27"/>
                  </a:lnTo>
                  <a:lnTo>
                    <a:pt x="97" y="27"/>
                  </a:lnTo>
                  <a:lnTo>
                    <a:pt x="101" y="27"/>
                  </a:lnTo>
                  <a:lnTo>
                    <a:pt x="101" y="23"/>
                  </a:lnTo>
                  <a:lnTo>
                    <a:pt x="101" y="23"/>
                  </a:lnTo>
                  <a:lnTo>
                    <a:pt x="97" y="23"/>
                  </a:lnTo>
                  <a:lnTo>
                    <a:pt x="101" y="23"/>
                  </a:lnTo>
                  <a:lnTo>
                    <a:pt x="101" y="23"/>
                  </a:lnTo>
                  <a:lnTo>
                    <a:pt x="101" y="20"/>
                  </a:lnTo>
                  <a:lnTo>
                    <a:pt x="101" y="20"/>
                  </a:lnTo>
                  <a:lnTo>
                    <a:pt x="101" y="20"/>
                  </a:lnTo>
                  <a:lnTo>
                    <a:pt x="101" y="20"/>
                  </a:lnTo>
                  <a:lnTo>
                    <a:pt x="101" y="20"/>
                  </a:lnTo>
                  <a:lnTo>
                    <a:pt x="101" y="20"/>
                  </a:lnTo>
                  <a:lnTo>
                    <a:pt x="101" y="20"/>
                  </a:lnTo>
                  <a:lnTo>
                    <a:pt x="104" y="20"/>
                  </a:lnTo>
                  <a:lnTo>
                    <a:pt x="104" y="20"/>
                  </a:lnTo>
                  <a:lnTo>
                    <a:pt x="104" y="17"/>
                  </a:lnTo>
                  <a:lnTo>
                    <a:pt x="101" y="17"/>
                  </a:lnTo>
                  <a:lnTo>
                    <a:pt x="104" y="17"/>
                  </a:lnTo>
                  <a:lnTo>
                    <a:pt x="104" y="17"/>
                  </a:lnTo>
                  <a:lnTo>
                    <a:pt x="104" y="17"/>
                  </a:lnTo>
                  <a:lnTo>
                    <a:pt x="107" y="17"/>
                  </a:lnTo>
                  <a:lnTo>
                    <a:pt x="107" y="17"/>
                  </a:lnTo>
                  <a:lnTo>
                    <a:pt x="114" y="10"/>
                  </a:lnTo>
                  <a:lnTo>
                    <a:pt x="114" y="7"/>
                  </a:lnTo>
                  <a:lnTo>
                    <a:pt x="114" y="7"/>
                  </a:lnTo>
                  <a:lnTo>
                    <a:pt x="114" y="7"/>
                  </a:lnTo>
                  <a:close/>
                </a:path>
              </a:pathLst>
            </a:custGeom>
            <a:solidFill>
              <a:srgbClr val="B1B1B0"/>
            </a:solidFill>
            <a:ln w="635"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541" name="Freeform 8">
              <a:extLst>
                <a:ext uri="{FF2B5EF4-FFF2-40B4-BE49-F238E27FC236}">
                  <a16:creationId xmlns:a16="http://schemas.microsoft.com/office/drawing/2014/main" id="{6D29D530-4279-7833-D6FB-5068E94D78D0}"/>
                </a:ext>
              </a:extLst>
            </p:cNvPr>
            <p:cNvSpPr>
              <a:spLocks/>
            </p:cNvSpPr>
            <p:nvPr/>
          </p:nvSpPr>
          <p:spPr bwMode="gray">
            <a:xfrm>
              <a:off x="3036888" y="2617788"/>
              <a:ext cx="1593850" cy="1593850"/>
            </a:xfrm>
            <a:custGeom>
              <a:avLst/>
              <a:gdLst>
                <a:gd name="T0" fmla="*/ 172 w 299"/>
                <a:gd name="T1" fmla="*/ 217 h 299"/>
                <a:gd name="T2" fmla="*/ 134 w 299"/>
                <a:gd name="T3" fmla="*/ 186 h 299"/>
                <a:gd name="T4" fmla="*/ 100 w 299"/>
                <a:gd name="T5" fmla="*/ 167 h 299"/>
                <a:gd name="T6" fmla="*/ 87 w 299"/>
                <a:gd name="T7" fmla="*/ 181 h 299"/>
                <a:gd name="T8" fmla="*/ 99 w 299"/>
                <a:gd name="T9" fmla="*/ 166 h 299"/>
                <a:gd name="T10" fmla="*/ 194 w 299"/>
                <a:gd name="T11" fmla="*/ 219 h 299"/>
                <a:gd name="T12" fmla="*/ 194 w 299"/>
                <a:gd name="T13" fmla="*/ 218 h 299"/>
                <a:gd name="T14" fmla="*/ 183 w 299"/>
                <a:gd name="T15" fmla="*/ 216 h 299"/>
                <a:gd name="T16" fmla="*/ 178 w 299"/>
                <a:gd name="T17" fmla="*/ 216 h 299"/>
                <a:gd name="T18" fmla="*/ 179 w 299"/>
                <a:gd name="T19" fmla="*/ 219 h 299"/>
                <a:gd name="T20" fmla="*/ 277 w 299"/>
                <a:gd name="T21" fmla="*/ 233 h 299"/>
                <a:gd name="T22" fmla="*/ 279 w 299"/>
                <a:gd name="T23" fmla="*/ 208 h 299"/>
                <a:gd name="T24" fmla="*/ 264 w 299"/>
                <a:gd name="T25" fmla="*/ 205 h 299"/>
                <a:gd name="T26" fmla="*/ 240 w 299"/>
                <a:gd name="T27" fmla="*/ 199 h 299"/>
                <a:gd name="T28" fmla="*/ 203 w 299"/>
                <a:gd name="T29" fmla="*/ 106 h 299"/>
                <a:gd name="T30" fmla="*/ 187 w 299"/>
                <a:gd name="T31" fmla="*/ 107 h 299"/>
                <a:gd name="T32" fmla="*/ 184 w 299"/>
                <a:gd name="T33" fmla="*/ 91 h 299"/>
                <a:gd name="T34" fmla="*/ 172 w 299"/>
                <a:gd name="T35" fmla="*/ 80 h 299"/>
                <a:gd name="T36" fmla="*/ 162 w 299"/>
                <a:gd name="T37" fmla="*/ 55 h 299"/>
                <a:gd name="T38" fmla="*/ 156 w 299"/>
                <a:gd name="T39" fmla="*/ 30 h 299"/>
                <a:gd name="T40" fmla="*/ 148 w 299"/>
                <a:gd name="T41" fmla="*/ 28 h 299"/>
                <a:gd name="T42" fmla="*/ 139 w 299"/>
                <a:gd name="T43" fmla="*/ 27 h 299"/>
                <a:gd name="T44" fmla="*/ 119 w 299"/>
                <a:gd name="T45" fmla="*/ 29 h 299"/>
                <a:gd name="T46" fmla="*/ 91 w 299"/>
                <a:gd name="T47" fmla="*/ 16 h 299"/>
                <a:gd name="T48" fmla="*/ 72 w 299"/>
                <a:gd name="T49" fmla="*/ 1 h 299"/>
                <a:gd name="T50" fmla="*/ 21 w 299"/>
                <a:gd name="T51" fmla="*/ 178 h 299"/>
                <a:gd name="T52" fmla="*/ 46 w 299"/>
                <a:gd name="T53" fmla="*/ 183 h 299"/>
                <a:gd name="T54" fmla="*/ 67 w 299"/>
                <a:gd name="T55" fmla="*/ 186 h 299"/>
                <a:gd name="T56" fmla="*/ 84 w 299"/>
                <a:gd name="T57" fmla="*/ 181 h 299"/>
                <a:gd name="T58" fmla="*/ 91 w 299"/>
                <a:gd name="T59" fmla="*/ 177 h 299"/>
                <a:gd name="T60" fmla="*/ 93 w 299"/>
                <a:gd name="T61" fmla="*/ 175 h 299"/>
                <a:gd name="T62" fmla="*/ 99 w 299"/>
                <a:gd name="T63" fmla="*/ 170 h 299"/>
                <a:gd name="T64" fmla="*/ 101 w 299"/>
                <a:gd name="T65" fmla="*/ 165 h 299"/>
                <a:gd name="T66" fmla="*/ 115 w 299"/>
                <a:gd name="T67" fmla="*/ 167 h 299"/>
                <a:gd name="T68" fmla="*/ 124 w 299"/>
                <a:gd name="T69" fmla="*/ 170 h 299"/>
                <a:gd name="T70" fmla="*/ 144 w 299"/>
                <a:gd name="T71" fmla="*/ 182 h 299"/>
                <a:gd name="T72" fmla="*/ 150 w 299"/>
                <a:gd name="T73" fmla="*/ 193 h 299"/>
                <a:gd name="T74" fmla="*/ 155 w 299"/>
                <a:gd name="T75" fmla="*/ 201 h 299"/>
                <a:gd name="T76" fmla="*/ 159 w 299"/>
                <a:gd name="T77" fmla="*/ 210 h 299"/>
                <a:gd name="T78" fmla="*/ 185 w 299"/>
                <a:gd name="T79" fmla="*/ 210 h 299"/>
                <a:gd name="T80" fmla="*/ 194 w 299"/>
                <a:gd name="T81" fmla="*/ 212 h 299"/>
                <a:gd name="T82" fmla="*/ 206 w 299"/>
                <a:gd name="T83" fmla="*/ 212 h 299"/>
                <a:gd name="T84" fmla="*/ 210 w 299"/>
                <a:gd name="T85" fmla="*/ 216 h 299"/>
                <a:gd name="T86" fmla="*/ 215 w 299"/>
                <a:gd name="T87" fmla="*/ 221 h 299"/>
                <a:gd name="T88" fmla="*/ 220 w 299"/>
                <a:gd name="T89" fmla="*/ 226 h 299"/>
                <a:gd name="T90" fmla="*/ 226 w 299"/>
                <a:gd name="T91" fmla="*/ 231 h 299"/>
                <a:gd name="T92" fmla="*/ 220 w 299"/>
                <a:gd name="T93" fmla="*/ 232 h 299"/>
                <a:gd name="T94" fmla="*/ 207 w 299"/>
                <a:gd name="T95" fmla="*/ 234 h 299"/>
                <a:gd name="T96" fmla="*/ 196 w 299"/>
                <a:gd name="T97" fmla="*/ 228 h 299"/>
                <a:gd name="T98" fmla="*/ 203 w 299"/>
                <a:gd name="T99" fmla="*/ 235 h 299"/>
                <a:gd name="T100" fmla="*/ 199 w 299"/>
                <a:gd name="T101" fmla="*/ 268 h 299"/>
                <a:gd name="T102" fmla="*/ 194 w 299"/>
                <a:gd name="T103" fmla="*/ 293 h 299"/>
                <a:gd name="T104" fmla="*/ 226 w 299"/>
                <a:gd name="T105" fmla="*/ 277 h 299"/>
                <a:gd name="T106" fmla="*/ 244 w 299"/>
                <a:gd name="T107" fmla="*/ 267 h 299"/>
                <a:gd name="T108" fmla="*/ 233 w 299"/>
                <a:gd name="T109" fmla="*/ 254 h 299"/>
                <a:gd name="T110" fmla="*/ 259 w 299"/>
                <a:gd name="T111" fmla="*/ 241 h 299"/>
                <a:gd name="T112" fmla="*/ 269 w 299"/>
                <a:gd name="T113" fmla="*/ 237 h 299"/>
                <a:gd name="T114" fmla="*/ 261 w 299"/>
                <a:gd name="T115" fmla="*/ 237 h 299"/>
                <a:gd name="T116" fmla="*/ 268 w 299"/>
                <a:gd name="T117" fmla="*/ 237 h 299"/>
                <a:gd name="T118" fmla="*/ 295 w 299"/>
                <a:gd name="T119" fmla="*/ 213 h 299"/>
                <a:gd name="T120" fmla="*/ 193 w 299"/>
                <a:gd name="T121" fmla="*/ 213 h 299"/>
                <a:gd name="T122" fmla="*/ 194 w 299"/>
                <a:gd name="T123" fmla="*/ 297 h 299"/>
                <a:gd name="T124" fmla="*/ 276 w 299"/>
                <a:gd name="T125" fmla="*/ 2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9" h="299">
                  <a:moveTo>
                    <a:pt x="164" y="212"/>
                  </a:moveTo>
                  <a:cubicBezTo>
                    <a:pt x="164" y="212"/>
                    <a:pt x="164" y="212"/>
                    <a:pt x="164" y="212"/>
                  </a:cubicBezTo>
                  <a:cubicBezTo>
                    <a:pt x="164" y="213"/>
                    <a:pt x="164" y="213"/>
                    <a:pt x="164" y="213"/>
                  </a:cubicBezTo>
                  <a:cubicBezTo>
                    <a:pt x="164" y="212"/>
                    <a:pt x="164" y="212"/>
                    <a:pt x="164" y="212"/>
                  </a:cubicBezTo>
                  <a:cubicBezTo>
                    <a:pt x="164" y="212"/>
                    <a:pt x="164" y="212"/>
                    <a:pt x="164" y="212"/>
                  </a:cubicBezTo>
                  <a:cubicBezTo>
                    <a:pt x="163" y="212"/>
                    <a:pt x="163" y="212"/>
                    <a:pt x="163" y="212"/>
                  </a:cubicBezTo>
                  <a:cubicBezTo>
                    <a:pt x="163" y="212"/>
                    <a:pt x="163" y="212"/>
                    <a:pt x="163" y="212"/>
                  </a:cubicBezTo>
                  <a:cubicBezTo>
                    <a:pt x="163" y="212"/>
                    <a:pt x="163" y="212"/>
                    <a:pt x="163" y="212"/>
                  </a:cubicBezTo>
                  <a:cubicBezTo>
                    <a:pt x="163" y="212"/>
                    <a:pt x="163" y="212"/>
                    <a:pt x="163" y="212"/>
                  </a:cubicBezTo>
                  <a:cubicBezTo>
                    <a:pt x="163" y="212"/>
                    <a:pt x="163" y="212"/>
                    <a:pt x="163" y="212"/>
                  </a:cubicBezTo>
                  <a:cubicBezTo>
                    <a:pt x="162" y="211"/>
                    <a:pt x="162" y="211"/>
                    <a:pt x="162" y="211"/>
                  </a:cubicBezTo>
                  <a:cubicBezTo>
                    <a:pt x="162" y="212"/>
                    <a:pt x="162" y="212"/>
                    <a:pt x="162" y="212"/>
                  </a:cubicBezTo>
                  <a:cubicBezTo>
                    <a:pt x="162" y="211"/>
                    <a:pt x="162" y="211"/>
                    <a:pt x="162" y="211"/>
                  </a:cubicBezTo>
                  <a:cubicBezTo>
                    <a:pt x="161" y="211"/>
                    <a:pt x="161" y="211"/>
                    <a:pt x="161" y="211"/>
                  </a:cubicBezTo>
                  <a:cubicBezTo>
                    <a:pt x="161" y="212"/>
                    <a:pt x="161" y="212"/>
                    <a:pt x="161" y="212"/>
                  </a:cubicBezTo>
                  <a:cubicBezTo>
                    <a:pt x="161" y="212"/>
                    <a:pt x="161" y="212"/>
                    <a:pt x="161" y="212"/>
                  </a:cubicBezTo>
                  <a:cubicBezTo>
                    <a:pt x="160" y="212"/>
                    <a:pt x="160" y="212"/>
                    <a:pt x="160" y="212"/>
                  </a:cubicBezTo>
                  <a:cubicBezTo>
                    <a:pt x="160" y="211"/>
                    <a:pt x="160" y="211"/>
                    <a:pt x="160" y="211"/>
                  </a:cubicBezTo>
                  <a:cubicBezTo>
                    <a:pt x="160" y="212"/>
                    <a:pt x="160" y="212"/>
                    <a:pt x="160" y="212"/>
                  </a:cubicBezTo>
                  <a:cubicBezTo>
                    <a:pt x="160" y="212"/>
                    <a:pt x="160" y="212"/>
                    <a:pt x="160" y="212"/>
                  </a:cubicBezTo>
                  <a:cubicBezTo>
                    <a:pt x="160" y="212"/>
                    <a:pt x="160" y="212"/>
                    <a:pt x="160" y="212"/>
                  </a:cubicBezTo>
                  <a:cubicBezTo>
                    <a:pt x="160" y="212"/>
                    <a:pt x="160" y="212"/>
                    <a:pt x="160" y="212"/>
                  </a:cubicBezTo>
                  <a:cubicBezTo>
                    <a:pt x="160" y="212"/>
                    <a:pt x="160" y="212"/>
                    <a:pt x="160" y="212"/>
                  </a:cubicBezTo>
                  <a:cubicBezTo>
                    <a:pt x="160" y="212"/>
                    <a:pt x="160" y="212"/>
                    <a:pt x="160" y="212"/>
                  </a:cubicBezTo>
                  <a:cubicBezTo>
                    <a:pt x="160" y="213"/>
                    <a:pt x="160" y="213"/>
                    <a:pt x="160" y="213"/>
                  </a:cubicBezTo>
                  <a:cubicBezTo>
                    <a:pt x="160" y="214"/>
                    <a:pt x="160" y="214"/>
                    <a:pt x="160" y="214"/>
                  </a:cubicBezTo>
                  <a:cubicBezTo>
                    <a:pt x="162" y="214"/>
                    <a:pt x="162" y="214"/>
                    <a:pt x="162" y="214"/>
                  </a:cubicBezTo>
                  <a:cubicBezTo>
                    <a:pt x="162" y="215"/>
                    <a:pt x="162" y="215"/>
                    <a:pt x="162" y="215"/>
                  </a:cubicBezTo>
                  <a:cubicBezTo>
                    <a:pt x="162" y="215"/>
                    <a:pt x="162" y="215"/>
                    <a:pt x="162" y="215"/>
                  </a:cubicBezTo>
                  <a:cubicBezTo>
                    <a:pt x="162" y="215"/>
                    <a:pt x="162" y="215"/>
                    <a:pt x="162" y="215"/>
                  </a:cubicBezTo>
                  <a:cubicBezTo>
                    <a:pt x="162" y="215"/>
                    <a:pt x="162" y="215"/>
                    <a:pt x="162" y="215"/>
                  </a:cubicBezTo>
                  <a:cubicBezTo>
                    <a:pt x="162" y="215"/>
                    <a:pt x="162" y="215"/>
                    <a:pt x="162" y="215"/>
                  </a:cubicBezTo>
                  <a:cubicBezTo>
                    <a:pt x="162" y="215"/>
                    <a:pt x="162" y="215"/>
                    <a:pt x="162" y="215"/>
                  </a:cubicBezTo>
                  <a:cubicBezTo>
                    <a:pt x="162" y="216"/>
                    <a:pt x="162" y="216"/>
                    <a:pt x="162" y="216"/>
                  </a:cubicBezTo>
                  <a:cubicBezTo>
                    <a:pt x="162" y="216"/>
                    <a:pt x="162" y="216"/>
                    <a:pt x="162" y="216"/>
                  </a:cubicBezTo>
                  <a:cubicBezTo>
                    <a:pt x="162" y="216"/>
                    <a:pt x="162" y="216"/>
                    <a:pt x="162" y="216"/>
                  </a:cubicBezTo>
                  <a:cubicBezTo>
                    <a:pt x="163" y="216"/>
                    <a:pt x="163" y="216"/>
                    <a:pt x="163" y="216"/>
                  </a:cubicBezTo>
                  <a:cubicBezTo>
                    <a:pt x="163" y="216"/>
                    <a:pt x="163" y="216"/>
                    <a:pt x="163" y="216"/>
                  </a:cubicBezTo>
                  <a:cubicBezTo>
                    <a:pt x="163" y="216"/>
                    <a:pt x="163" y="216"/>
                    <a:pt x="163" y="216"/>
                  </a:cubicBezTo>
                  <a:cubicBezTo>
                    <a:pt x="163" y="216"/>
                    <a:pt x="163" y="216"/>
                    <a:pt x="163" y="216"/>
                  </a:cubicBezTo>
                  <a:cubicBezTo>
                    <a:pt x="163" y="216"/>
                    <a:pt x="163" y="216"/>
                    <a:pt x="163" y="216"/>
                  </a:cubicBezTo>
                  <a:cubicBezTo>
                    <a:pt x="163" y="215"/>
                    <a:pt x="163" y="215"/>
                    <a:pt x="163" y="215"/>
                  </a:cubicBezTo>
                  <a:cubicBezTo>
                    <a:pt x="163" y="214"/>
                    <a:pt x="163" y="214"/>
                    <a:pt x="163" y="214"/>
                  </a:cubicBezTo>
                  <a:cubicBezTo>
                    <a:pt x="163" y="214"/>
                    <a:pt x="163" y="214"/>
                    <a:pt x="163" y="214"/>
                  </a:cubicBezTo>
                  <a:cubicBezTo>
                    <a:pt x="164" y="214"/>
                    <a:pt x="164" y="214"/>
                    <a:pt x="164" y="214"/>
                  </a:cubicBezTo>
                  <a:cubicBezTo>
                    <a:pt x="164" y="214"/>
                    <a:pt x="164" y="214"/>
                    <a:pt x="164" y="214"/>
                  </a:cubicBezTo>
                  <a:cubicBezTo>
                    <a:pt x="164" y="214"/>
                    <a:pt x="164" y="214"/>
                    <a:pt x="164" y="214"/>
                  </a:cubicBezTo>
                  <a:cubicBezTo>
                    <a:pt x="164" y="214"/>
                    <a:pt x="164" y="214"/>
                    <a:pt x="164" y="214"/>
                  </a:cubicBezTo>
                  <a:cubicBezTo>
                    <a:pt x="164" y="213"/>
                    <a:pt x="164" y="213"/>
                    <a:pt x="164" y="213"/>
                  </a:cubicBezTo>
                  <a:cubicBezTo>
                    <a:pt x="164" y="213"/>
                    <a:pt x="164" y="213"/>
                    <a:pt x="164" y="213"/>
                  </a:cubicBezTo>
                  <a:cubicBezTo>
                    <a:pt x="164" y="212"/>
                    <a:pt x="164" y="212"/>
                    <a:pt x="164" y="212"/>
                  </a:cubicBezTo>
                  <a:close/>
                  <a:moveTo>
                    <a:pt x="172" y="217"/>
                  </a:moveTo>
                  <a:cubicBezTo>
                    <a:pt x="172" y="217"/>
                    <a:pt x="172" y="217"/>
                    <a:pt x="172" y="217"/>
                  </a:cubicBezTo>
                  <a:cubicBezTo>
                    <a:pt x="172" y="217"/>
                    <a:pt x="172" y="217"/>
                    <a:pt x="172" y="217"/>
                  </a:cubicBezTo>
                  <a:cubicBezTo>
                    <a:pt x="172" y="217"/>
                    <a:pt x="172" y="217"/>
                    <a:pt x="172" y="217"/>
                  </a:cubicBezTo>
                  <a:cubicBezTo>
                    <a:pt x="171" y="216"/>
                    <a:pt x="171" y="216"/>
                    <a:pt x="171" y="216"/>
                  </a:cubicBezTo>
                  <a:cubicBezTo>
                    <a:pt x="171" y="216"/>
                    <a:pt x="171" y="216"/>
                    <a:pt x="171" y="216"/>
                  </a:cubicBezTo>
                  <a:cubicBezTo>
                    <a:pt x="171" y="216"/>
                    <a:pt x="171" y="216"/>
                    <a:pt x="171" y="216"/>
                  </a:cubicBezTo>
                  <a:cubicBezTo>
                    <a:pt x="171" y="216"/>
                    <a:pt x="171" y="216"/>
                    <a:pt x="171" y="216"/>
                  </a:cubicBezTo>
                  <a:cubicBezTo>
                    <a:pt x="170" y="217"/>
                    <a:pt x="170" y="217"/>
                    <a:pt x="170" y="217"/>
                  </a:cubicBezTo>
                  <a:cubicBezTo>
                    <a:pt x="170" y="217"/>
                    <a:pt x="170" y="217"/>
                    <a:pt x="170" y="217"/>
                  </a:cubicBezTo>
                  <a:cubicBezTo>
                    <a:pt x="170" y="217"/>
                    <a:pt x="170" y="217"/>
                    <a:pt x="170" y="217"/>
                  </a:cubicBezTo>
                  <a:cubicBezTo>
                    <a:pt x="170" y="217"/>
                    <a:pt x="170" y="217"/>
                    <a:pt x="170" y="217"/>
                  </a:cubicBezTo>
                  <a:cubicBezTo>
                    <a:pt x="170" y="218"/>
                    <a:pt x="170" y="218"/>
                    <a:pt x="170" y="218"/>
                  </a:cubicBezTo>
                  <a:cubicBezTo>
                    <a:pt x="170" y="218"/>
                    <a:pt x="170" y="218"/>
                    <a:pt x="170" y="218"/>
                  </a:cubicBezTo>
                  <a:cubicBezTo>
                    <a:pt x="169" y="218"/>
                    <a:pt x="169" y="218"/>
                    <a:pt x="169" y="218"/>
                  </a:cubicBezTo>
                  <a:cubicBezTo>
                    <a:pt x="169" y="218"/>
                    <a:pt x="169" y="218"/>
                    <a:pt x="169" y="218"/>
                  </a:cubicBezTo>
                  <a:cubicBezTo>
                    <a:pt x="170" y="219"/>
                    <a:pt x="170" y="219"/>
                    <a:pt x="170" y="219"/>
                  </a:cubicBezTo>
                  <a:cubicBezTo>
                    <a:pt x="170" y="219"/>
                    <a:pt x="170" y="219"/>
                    <a:pt x="170" y="219"/>
                  </a:cubicBezTo>
                  <a:cubicBezTo>
                    <a:pt x="170" y="219"/>
                    <a:pt x="170" y="219"/>
                    <a:pt x="170" y="219"/>
                  </a:cubicBezTo>
                  <a:cubicBezTo>
                    <a:pt x="171" y="219"/>
                    <a:pt x="171" y="219"/>
                    <a:pt x="171" y="219"/>
                  </a:cubicBezTo>
                  <a:cubicBezTo>
                    <a:pt x="171" y="219"/>
                    <a:pt x="171" y="219"/>
                    <a:pt x="171" y="219"/>
                  </a:cubicBezTo>
                  <a:cubicBezTo>
                    <a:pt x="171" y="219"/>
                    <a:pt x="171" y="219"/>
                    <a:pt x="171" y="219"/>
                  </a:cubicBezTo>
                  <a:cubicBezTo>
                    <a:pt x="172" y="219"/>
                    <a:pt x="172" y="219"/>
                    <a:pt x="172" y="219"/>
                  </a:cubicBezTo>
                  <a:cubicBezTo>
                    <a:pt x="172" y="219"/>
                    <a:pt x="172" y="219"/>
                    <a:pt x="172" y="219"/>
                  </a:cubicBezTo>
                  <a:cubicBezTo>
                    <a:pt x="172" y="218"/>
                    <a:pt x="172" y="218"/>
                    <a:pt x="172" y="218"/>
                  </a:cubicBezTo>
                  <a:cubicBezTo>
                    <a:pt x="172" y="218"/>
                    <a:pt x="172" y="218"/>
                    <a:pt x="172" y="218"/>
                  </a:cubicBezTo>
                  <a:cubicBezTo>
                    <a:pt x="172" y="217"/>
                    <a:pt x="172" y="217"/>
                    <a:pt x="172" y="217"/>
                  </a:cubicBezTo>
                  <a:cubicBezTo>
                    <a:pt x="172" y="217"/>
                    <a:pt x="172" y="217"/>
                    <a:pt x="172" y="217"/>
                  </a:cubicBezTo>
                  <a:close/>
                  <a:moveTo>
                    <a:pt x="135" y="185"/>
                  </a:moveTo>
                  <a:cubicBezTo>
                    <a:pt x="134" y="185"/>
                    <a:pt x="134" y="185"/>
                    <a:pt x="134" y="185"/>
                  </a:cubicBezTo>
                  <a:cubicBezTo>
                    <a:pt x="133" y="185"/>
                    <a:pt x="133" y="185"/>
                    <a:pt x="133" y="185"/>
                  </a:cubicBezTo>
                  <a:cubicBezTo>
                    <a:pt x="133" y="185"/>
                    <a:pt x="133" y="185"/>
                    <a:pt x="133" y="185"/>
                  </a:cubicBezTo>
                  <a:cubicBezTo>
                    <a:pt x="131" y="185"/>
                    <a:pt x="131" y="185"/>
                    <a:pt x="131" y="185"/>
                  </a:cubicBezTo>
                  <a:cubicBezTo>
                    <a:pt x="131" y="185"/>
                    <a:pt x="131" y="185"/>
                    <a:pt x="131" y="185"/>
                  </a:cubicBezTo>
                  <a:cubicBezTo>
                    <a:pt x="131" y="186"/>
                    <a:pt x="131" y="186"/>
                    <a:pt x="131" y="186"/>
                  </a:cubicBezTo>
                  <a:cubicBezTo>
                    <a:pt x="130" y="186"/>
                    <a:pt x="130" y="186"/>
                    <a:pt x="130" y="186"/>
                  </a:cubicBezTo>
                  <a:cubicBezTo>
                    <a:pt x="130" y="186"/>
                    <a:pt x="130" y="186"/>
                    <a:pt x="130" y="186"/>
                  </a:cubicBezTo>
                  <a:cubicBezTo>
                    <a:pt x="130" y="186"/>
                    <a:pt x="130" y="186"/>
                    <a:pt x="130" y="186"/>
                  </a:cubicBezTo>
                  <a:cubicBezTo>
                    <a:pt x="130" y="186"/>
                    <a:pt x="130" y="186"/>
                    <a:pt x="130" y="186"/>
                  </a:cubicBezTo>
                  <a:cubicBezTo>
                    <a:pt x="130" y="186"/>
                    <a:pt x="130" y="186"/>
                    <a:pt x="130" y="186"/>
                  </a:cubicBezTo>
                  <a:cubicBezTo>
                    <a:pt x="130" y="186"/>
                    <a:pt x="130" y="186"/>
                    <a:pt x="130" y="186"/>
                  </a:cubicBezTo>
                  <a:cubicBezTo>
                    <a:pt x="131" y="187"/>
                    <a:pt x="131" y="187"/>
                    <a:pt x="131" y="187"/>
                  </a:cubicBezTo>
                  <a:cubicBezTo>
                    <a:pt x="131" y="187"/>
                    <a:pt x="131" y="187"/>
                    <a:pt x="131" y="187"/>
                  </a:cubicBezTo>
                  <a:cubicBezTo>
                    <a:pt x="131" y="187"/>
                    <a:pt x="131" y="187"/>
                    <a:pt x="131" y="187"/>
                  </a:cubicBezTo>
                  <a:cubicBezTo>
                    <a:pt x="131" y="187"/>
                    <a:pt x="131" y="187"/>
                    <a:pt x="131" y="187"/>
                  </a:cubicBezTo>
                  <a:cubicBezTo>
                    <a:pt x="131" y="187"/>
                    <a:pt x="131" y="187"/>
                    <a:pt x="131" y="187"/>
                  </a:cubicBezTo>
                  <a:cubicBezTo>
                    <a:pt x="132" y="187"/>
                    <a:pt x="132" y="187"/>
                    <a:pt x="132" y="187"/>
                  </a:cubicBezTo>
                  <a:cubicBezTo>
                    <a:pt x="132" y="186"/>
                    <a:pt x="132" y="186"/>
                    <a:pt x="132" y="186"/>
                  </a:cubicBezTo>
                  <a:cubicBezTo>
                    <a:pt x="133" y="186"/>
                    <a:pt x="133" y="186"/>
                    <a:pt x="133" y="186"/>
                  </a:cubicBezTo>
                  <a:cubicBezTo>
                    <a:pt x="133" y="186"/>
                    <a:pt x="133" y="186"/>
                    <a:pt x="133" y="186"/>
                  </a:cubicBezTo>
                  <a:cubicBezTo>
                    <a:pt x="133" y="186"/>
                    <a:pt x="133" y="186"/>
                    <a:pt x="133" y="186"/>
                  </a:cubicBezTo>
                  <a:cubicBezTo>
                    <a:pt x="134" y="186"/>
                    <a:pt x="134" y="186"/>
                    <a:pt x="134" y="186"/>
                  </a:cubicBezTo>
                  <a:cubicBezTo>
                    <a:pt x="134" y="186"/>
                    <a:pt x="134" y="186"/>
                    <a:pt x="134" y="186"/>
                  </a:cubicBezTo>
                  <a:cubicBezTo>
                    <a:pt x="134" y="186"/>
                    <a:pt x="134" y="186"/>
                    <a:pt x="134" y="186"/>
                  </a:cubicBezTo>
                  <a:cubicBezTo>
                    <a:pt x="134" y="186"/>
                    <a:pt x="134" y="186"/>
                    <a:pt x="134" y="186"/>
                  </a:cubicBezTo>
                  <a:cubicBezTo>
                    <a:pt x="135" y="186"/>
                    <a:pt x="135" y="186"/>
                    <a:pt x="135" y="186"/>
                  </a:cubicBezTo>
                  <a:cubicBezTo>
                    <a:pt x="135" y="186"/>
                    <a:pt x="135" y="186"/>
                    <a:pt x="135" y="186"/>
                  </a:cubicBezTo>
                  <a:cubicBezTo>
                    <a:pt x="135" y="186"/>
                    <a:pt x="135" y="186"/>
                    <a:pt x="135" y="186"/>
                  </a:cubicBezTo>
                  <a:cubicBezTo>
                    <a:pt x="135" y="185"/>
                    <a:pt x="135" y="185"/>
                    <a:pt x="135" y="185"/>
                  </a:cubicBezTo>
                  <a:cubicBezTo>
                    <a:pt x="135" y="185"/>
                    <a:pt x="135" y="185"/>
                    <a:pt x="135" y="185"/>
                  </a:cubicBezTo>
                  <a:close/>
                  <a:moveTo>
                    <a:pt x="187" y="214"/>
                  </a:moveTo>
                  <a:cubicBezTo>
                    <a:pt x="187" y="214"/>
                    <a:pt x="187" y="214"/>
                    <a:pt x="187" y="214"/>
                  </a:cubicBezTo>
                  <a:cubicBezTo>
                    <a:pt x="187" y="214"/>
                    <a:pt x="187" y="214"/>
                    <a:pt x="187" y="214"/>
                  </a:cubicBezTo>
                  <a:cubicBezTo>
                    <a:pt x="187" y="213"/>
                    <a:pt x="187" y="213"/>
                    <a:pt x="187" y="213"/>
                  </a:cubicBezTo>
                  <a:cubicBezTo>
                    <a:pt x="187" y="213"/>
                    <a:pt x="187" y="213"/>
                    <a:pt x="187" y="213"/>
                  </a:cubicBezTo>
                  <a:cubicBezTo>
                    <a:pt x="187" y="213"/>
                    <a:pt x="187" y="213"/>
                    <a:pt x="187" y="213"/>
                  </a:cubicBezTo>
                  <a:cubicBezTo>
                    <a:pt x="186" y="213"/>
                    <a:pt x="186" y="213"/>
                    <a:pt x="186" y="213"/>
                  </a:cubicBezTo>
                  <a:cubicBezTo>
                    <a:pt x="186" y="213"/>
                    <a:pt x="186" y="213"/>
                    <a:pt x="186" y="213"/>
                  </a:cubicBezTo>
                  <a:cubicBezTo>
                    <a:pt x="186" y="213"/>
                    <a:pt x="186" y="213"/>
                    <a:pt x="186" y="213"/>
                  </a:cubicBezTo>
                  <a:cubicBezTo>
                    <a:pt x="186" y="213"/>
                    <a:pt x="186" y="213"/>
                    <a:pt x="186" y="213"/>
                  </a:cubicBezTo>
                  <a:cubicBezTo>
                    <a:pt x="186" y="213"/>
                    <a:pt x="186" y="213"/>
                    <a:pt x="186" y="213"/>
                  </a:cubicBezTo>
                  <a:lnTo>
                    <a:pt x="187" y="214"/>
                  </a:lnTo>
                  <a:close/>
                  <a:moveTo>
                    <a:pt x="114" y="169"/>
                  </a:moveTo>
                  <a:cubicBezTo>
                    <a:pt x="114" y="169"/>
                    <a:pt x="114" y="169"/>
                    <a:pt x="114" y="169"/>
                  </a:cubicBezTo>
                  <a:cubicBezTo>
                    <a:pt x="114" y="169"/>
                    <a:pt x="114" y="169"/>
                    <a:pt x="114" y="169"/>
                  </a:cubicBezTo>
                  <a:cubicBezTo>
                    <a:pt x="114" y="169"/>
                    <a:pt x="114" y="169"/>
                    <a:pt x="114" y="169"/>
                  </a:cubicBezTo>
                  <a:cubicBezTo>
                    <a:pt x="113" y="169"/>
                    <a:pt x="113" y="169"/>
                    <a:pt x="113" y="169"/>
                  </a:cubicBezTo>
                  <a:cubicBezTo>
                    <a:pt x="113" y="170"/>
                    <a:pt x="113" y="170"/>
                    <a:pt x="113" y="170"/>
                  </a:cubicBezTo>
                  <a:cubicBezTo>
                    <a:pt x="113" y="170"/>
                    <a:pt x="113" y="170"/>
                    <a:pt x="113" y="170"/>
                  </a:cubicBezTo>
                  <a:cubicBezTo>
                    <a:pt x="114" y="170"/>
                    <a:pt x="114" y="170"/>
                    <a:pt x="114" y="170"/>
                  </a:cubicBezTo>
                  <a:cubicBezTo>
                    <a:pt x="114" y="170"/>
                    <a:pt x="114" y="170"/>
                    <a:pt x="114" y="170"/>
                  </a:cubicBezTo>
                  <a:cubicBezTo>
                    <a:pt x="114" y="170"/>
                    <a:pt x="114" y="170"/>
                    <a:pt x="114" y="170"/>
                  </a:cubicBezTo>
                  <a:cubicBezTo>
                    <a:pt x="114" y="170"/>
                    <a:pt x="114" y="170"/>
                    <a:pt x="114" y="170"/>
                  </a:cubicBezTo>
                  <a:cubicBezTo>
                    <a:pt x="115" y="169"/>
                    <a:pt x="115" y="169"/>
                    <a:pt x="115" y="169"/>
                  </a:cubicBezTo>
                  <a:cubicBezTo>
                    <a:pt x="114" y="169"/>
                    <a:pt x="114" y="169"/>
                    <a:pt x="114" y="169"/>
                  </a:cubicBezTo>
                  <a:close/>
                  <a:moveTo>
                    <a:pt x="180" y="216"/>
                  </a:moveTo>
                  <a:cubicBezTo>
                    <a:pt x="180" y="216"/>
                    <a:pt x="180" y="216"/>
                    <a:pt x="180" y="216"/>
                  </a:cubicBezTo>
                  <a:cubicBezTo>
                    <a:pt x="180" y="216"/>
                    <a:pt x="180" y="216"/>
                    <a:pt x="180" y="216"/>
                  </a:cubicBezTo>
                  <a:cubicBezTo>
                    <a:pt x="180" y="217"/>
                    <a:pt x="180" y="217"/>
                    <a:pt x="180" y="217"/>
                  </a:cubicBezTo>
                  <a:cubicBezTo>
                    <a:pt x="181" y="217"/>
                    <a:pt x="181" y="217"/>
                    <a:pt x="181" y="217"/>
                  </a:cubicBezTo>
                  <a:cubicBezTo>
                    <a:pt x="182" y="216"/>
                    <a:pt x="182" y="216"/>
                    <a:pt x="182" y="216"/>
                  </a:cubicBezTo>
                  <a:cubicBezTo>
                    <a:pt x="182" y="216"/>
                    <a:pt x="182" y="216"/>
                    <a:pt x="182" y="216"/>
                  </a:cubicBezTo>
                  <a:cubicBezTo>
                    <a:pt x="182" y="215"/>
                    <a:pt x="182" y="215"/>
                    <a:pt x="182" y="215"/>
                  </a:cubicBezTo>
                  <a:cubicBezTo>
                    <a:pt x="182" y="215"/>
                    <a:pt x="182" y="215"/>
                    <a:pt x="182" y="215"/>
                  </a:cubicBezTo>
                  <a:cubicBezTo>
                    <a:pt x="181" y="215"/>
                    <a:pt x="181" y="215"/>
                    <a:pt x="181" y="215"/>
                  </a:cubicBezTo>
                  <a:cubicBezTo>
                    <a:pt x="181" y="215"/>
                    <a:pt x="181" y="215"/>
                    <a:pt x="181" y="215"/>
                  </a:cubicBezTo>
                  <a:cubicBezTo>
                    <a:pt x="181" y="215"/>
                    <a:pt x="181" y="215"/>
                    <a:pt x="181" y="215"/>
                  </a:cubicBezTo>
                  <a:cubicBezTo>
                    <a:pt x="180" y="215"/>
                    <a:pt x="180" y="215"/>
                    <a:pt x="180" y="215"/>
                  </a:cubicBezTo>
                  <a:cubicBezTo>
                    <a:pt x="180" y="216"/>
                    <a:pt x="180" y="216"/>
                    <a:pt x="180" y="216"/>
                  </a:cubicBezTo>
                  <a:cubicBezTo>
                    <a:pt x="180" y="216"/>
                    <a:pt x="180" y="216"/>
                    <a:pt x="180" y="216"/>
                  </a:cubicBezTo>
                  <a:cubicBezTo>
                    <a:pt x="180" y="216"/>
                    <a:pt x="180" y="216"/>
                    <a:pt x="180" y="216"/>
                  </a:cubicBezTo>
                  <a:close/>
                  <a:moveTo>
                    <a:pt x="103" y="167"/>
                  </a:moveTo>
                  <a:cubicBezTo>
                    <a:pt x="103" y="167"/>
                    <a:pt x="103" y="167"/>
                    <a:pt x="103" y="167"/>
                  </a:cubicBezTo>
                  <a:cubicBezTo>
                    <a:pt x="103" y="167"/>
                    <a:pt x="103" y="167"/>
                    <a:pt x="103" y="167"/>
                  </a:cubicBezTo>
                  <a:cubicBezTo>
                    <a:pt x="100" y="167"/>
                    <a:pt x="100" y="167"/>
                    <a:pt x="100" y="167"/>
                  </a:cubicBezTo>
                  <a:cubicBezTo>
                    <a:pt x="100" y="167"/>
                    <a:pt x="100" y="167"/>
                    <a:pt x="100" y="167"/>
                  </a:cubicBezTo>
                  <a:cubicBezTo>
                    <a:pt x="99" y="168"/>
                    <a:pt x="99" y="168"/>
                    <a:pt x="99" y="168"/>
                  </a:cubicBezTo>
                  <a:cubicBezTo>
                    <a:pt x="99" y="168"/>
                    <a:pt x="99" y="168"/>
                    <a:pt x="99" y="168"/>
                  </a:cubicBezTo>
                  <a:cubicBezTo>
                    <a:pt x="99" y="168"/>
                    <a:pt x="99" y="168"/>
                    <a:pt x="99" y="168"/>
                  </a:cubicBezTo>
                  <a:cubicBezTo>
                    <a:pt x="99" y="169"/>
                    <a:pt x="99" y="169"/>
                    <a:pt x="99" y="169"/>
                  </a:cubicBezTo>
                  <a:cubicBezTo>
                    <a:pt x="99" y="170"/>
                    <a:pt x="99" y="170"/>
                    <a:pt x="99" y="170"/>
                  </a:cubicBezTo>
                  <a:cubicBezTo>
                    <a:pt x="99" y="170"/>
                    <a:pt x="99" y="170"/>
                    <a:pt x="99" y="170"/>
                  </a:cubicBezTo>
                  <a:cubicBezTo>
                    <a:pt x="100" y="170"/>
                    <a:pt x="100" y="170"/>
                    <a:pt x="100" y="170"/>
                  </a:cubicBezTo>
                  <a:cubicBezTo>
                    <a:pt x="100" y="170"/>
                    <a:pt x="100" y="170"/>
                    <a:pt x="100" y="170"/>
                  </a:cubicBezTo>
                  <a:cubicBezTo>
                    <a:pt x="100" y="170"/>
                    <a:pt x="100" y="170"/>
                    <a:pt x="100" y="170"/>
                  </a:cubicBezTo>
                  <a:cubicBezTo>
                    <a:pt x="100" y="170"/>
                    <a:pt x="100" y="170"/>
                    <a:pt x="100" y="170"/>
                  </a:cubicBezTo>
                  <a:cubicBezTo>
                    <a:pt x="100" y="170"/>
                    <a:pt x="100" y="170"/>
                    <a:pt x="100" y="170"/>
                  </a:cubicBezTo>
                  <a:cubicBezTo>
                    <a:pt x="100" y="169"/>
                    <a:pt x="100" y="169"/>
                    <a:pt x="100" y="169"/>
                  </a:cubicBezTo>
                  <a:cubicBezTo>
                    <a:pt x="100" y="169"/>
                    <a:pt x="100" y="169"/>
                    <a:pt x="100" y="169"/>
                  </a:cubicBezTo>
                  <a:cubicBezTo>
                    <a:pt x="100" y="169"/>
                    <a:pt x="100" y="169"/>
                    <a:pt x="100" y="169"/>
                  </a:cubicBezTo>
                  <a:cubicBezTo>
                    <a:pt x="101" y="169"/>
                    <a:pt x="101" y="169"/>
                    <a:pt x="101" y="169"/>
                  </a:cubicBezTo>
                  <a:cubicBezTo>
                    <a:pt x="101" y="169"/>
                    <a:pt x="101" y="169"/>
                    <a:pt x="101" y="169"/>
                  </a:cubicBezTo>
                  <a:cubicBezTo>
                    <a:pt x="102" y="169"/>
                    <a:pt x="102" y="169"/>
                    <a:pt x="102" y="169"/>
                  </a:cubicBezTo>
                  <a:cubicBezTo>
                    <a:pt x="102" y="169"/>
                    <a:pt x="102" y="169"/>
                    <a:pt x="102" y="169"/>
                  </a:cubicBezTo>
                  <a:cubicBezTo>
                    <a:pt x="103" y="169"/>
                    <a:pt x="103" y="169"/>
                    <a:pt x="103" y="169"/>
                  </a:cubicBezTo>
                  <a:cubicBezTo>
                    <a:pt x="103" y="168"/>
                    <a:pt x="103" y="168"/>
                    <a:pt x="103" y="168"/>
                  </a:cubicBezTo>
                  <a:cubicBezTo>
                    <a:pt x="103" y="168"/>
                    <a:pt x="103" y="168"/>
                    <a:pt x="103" y="168"/>
                  </a:cubicBezTo>
                  <a:cubicBezTo>
                    <a:pt x="103" y="168"/>
                    <a:pt x="103" y="168"/>
                    <a:pt x="103" y="168"/>
                  </a:cubicBezTo>
                  <a:cubicBezTo>
                    <a:pt x="103" y="168"/>
                    <a:pt x="103" y="168"/>
                    <a:pt x="103" y="168"/>
                  </a:cubicBezTo>
                  <a:cubicBezTo>
                    <a:pt x="103" y="167"/>
                    <a:pt x="103" y="167"/>
                    <a:pt x="103" y="167"/>
                  </a:cubicBezTo>
                  <a:cubicBezTo>
                    <a:pt x="103" y="167"/>
                    <a:pt x="103" y="167"/>
                    <a:pt x="103" y="167"/>
                  </a:cubicBezTo>
                  <a:cubicBezTo>
                    <a:pt x="103" y="167"/>
                    <a:pt x="103" y="167"/>
                    <a:pt x="103" y="167"/>
                  </a:cubicBezTo>
                  <a:close/>
                  <a:moveTo>
                    <a:pt x="106" y="167"/>
                  </a:moveTo>
                  <a:cubicBezTo>
                    <a:pt x="107" y="168"/>
                    <a:pt x="107" y="168"/>
                    <a:pt x="107" y="168"/>
                  </a:cubicBezTo>
                  <a:cubicBezTo>
                    <a:pt x="107" y="168"/>
                    <a:pt x="107" y="168"/>
                    <a:pt x="107" y="168"/>
                  </a:cubicBezTo>
                  <a:cubicBezTo>
                    <a:pt x="107" y="168"/>
                    <a:pt x="107" y="168"/>
                    <a:pt x="107" y="168"/>
                  </a:cubicBezTo>
                  <a:cubicBezTo>
                    <a:pt x="108" y="168"/>
                    <a:pt x="108" y="168"/>
                    <a:pt x="108" y="168"/>
                  </a:cubicBezTo>
                  <a:cubicBezTo>
                    <a:pt x="107" y="167"/>
                    <a:pt x="107" y="167"/>
                    <a:pt x="107" y="167"/>
                  </a:cubicBezTo>
                  <a:lnTo>
                    <a:pt x="106" y="167"/>
                  </a:lnTo>
                  <a:close/>
                  <a:moveTo>
                    <a:pt x="87" y="181"/>
                  </a:moveTo>
                  <a:cubicBezTo>
                    <a:pt x="87" y="180"/>
                    <a:pt x="87" y="180"/>
                    <a:pt x="87" y="180"/>
                  </a:cubicBezTo>
                  <a:cubicBezTo>
                    <a:pt x="86" y="180"/>
                    <a:pt x="86" y="180"/>
                    <a:pt x="86" y="180"/>
                  </a:cubicBezTo>
                  <a:cubicBezTo>
                    <a:pt x="86" y="180"/>
                    <a:pt x="86" y="180"/>
                    <a:pt x="86" y="180"/>
                  </a:cubicBezTo>
                  <a:cubicBezTo>
                    <a:pt x="86" y="181"/>
                    <a:pt x="86" y="181"/>
                    <a:pt x="86" y="181"/>
                  </a:cubicBezTo>
                  <a:cubicBezTo>
                    <a:pt x="86" y="181"/>
                    <a:pt x="86" y="181"/>
                    <a:pt x="86" y="181"/>
                  </a:cubicBezTo>
                  <a:cubicBezTo>
                    <a:pt x="86" y="181"/>
                    <a:pt x="86" y="181"/>
                    <a:pt x="86" y="181"/>
                  </a:cubicBezTo>
                  <a:cubicBezTo>
                    <a:pt x="85" y="181"/>
                    <a:pt x="85" y="181"/>
                    <a:pt x="85" y="181"/>
                  </a:cubicBezTo>
                  <a:cubicBezTo>
                    <a:pt x="85" y="181"/>
                    <a:pt x="85" y="181"/>
                    <a:pt x="85" y="181"/>
                  </a:cubicBezTo>
                  <a:cubicBezTo>
                    <a:pt x="85" y="181"/>
                    <a:pt x="85" y="181"/>
                    <a:pt x="85" y="181"/>
                  </a:cubicBezTo>
                  <a:cubicBezTo>
                    <a:pt x="86" y="182"/>
                    <a:pt x="86" y="182"/>
                    <a:pt x="86" y="182"/>
                  </a:cubicBezTo>
                  <a:cubicBezTo>
                    <a:pt x="86" y="182"/>
                    <a:pt x="86" y="182"/>
                    <a:pt x="86" y="182"/>
                  </a:cubicBezTo>
                  <a:cubicBezTo>
                    <a:pt x="86" y="181"/>
                    <a:pt x="86" y="181"/>
                    <a:pt x="86" y="181"/>
                  </a:cubicBezTo>
                  <a:cubicBezTo>
                    <a:pt x="86" y="182"/>
                    <a:pt x="86" y="182"/>
                    <a:pt x="86" y="182"/>
                  </a:cubicBezTo>
                  <a:cubicBezTo>
                    <a:pt x="86" y="182"/>
                    <a:pt x="86" y="182"/>
                    <a:pt x="86" y="182"/>
                  </a:cubicBezTo>
                  <a:cubicBezTo>
                    <a:pt x="86" y="182"/>
                    <a:pt x="86" y="182"/>
                    <a:pt x="86" y="182"/>
                  </a:cubicBezTo>
                  <a:cubicBezTo>
                    <a:pt x="86" y="182"/>
                    <a:pt x="86" y="182"/>
                    <a:pt x="86" y="182"/>
                  </a:cubicBezTo>
                  <a:cubicBezTo>
                    <a:pt x="87" y="181"/>
                    <a:pt x="87" y="181"/>
                    <a:pt x="87" y="181"/>
                  </a:cubicBezTo>
                  <a:cubicBezTo>
                    <a:pt x="87" y="181"/>
                    <a:pt x="87" y="181"/>
                    <a:pt x="87" y="181"/>
                  </a:cubicBezTo>
                  <a:cubicBezTo>
                    <a:pt x="87" y="181"/>
                    <a:pt x="87" y="181"/>
                    <a:pt x="87" y="181"/>
                  </a:cubicBezTo>
                  <a:close/>
                  <a:moveTo>
                    <a:pt x="202" y="100"/>
                  </a:moveTo>
                  <a:cubicBezTo>
                    <a:pt x="202" y="100"/>
                    <a:pt x="202" y="100"/>
                    <a:pt x="202" y="100"/>
                  </a:cubicBezTo>
                  <a:cubicBezTo>
                    <a:pt x="202" y="101"/>
                    <a:pt x="202" y="101"/>
                    <a:pt x="202" y="101"/>
                  </a:cubicBezTo>
                  <a:cubicBezTo>
                    <a:pt x="202" y="101"/>
                    <a:pt x="202" y="101"/>
                    <a:pt x="202" y="101"/>
                  </a:cubicBezTo>
                  <a:cubicBezTo>
                    <a:pt x="202" y="102"/>
                    <a:pt x="202" y="102"/>
                    <a:pt x="202" y="102"/>
                  </a:cubicBezTo>
                  <a:cubicBezTo>
                    <a:pt x="202" y="103"/>
                    <a:pt x="202" y="103"/>
                    <a:pt x="202" y="103"/>
                  </a:cubicBezTo>
                  <a:cubicBezTo>
                    <a:pt x="202" y="104"/>
                    <a:pt x="202" y="104"/>
                    <a:pt x="202" y="104"/>
                  </a:cubicBezTo>
                  <a:cubicBezTo>
                    <a:pt x="202" y="105"/>
                    <a:pt x="202" y="105"/>
                    <a:pt x="202" y="105"/>
                  </a:cubicBezTo>
                  <a:cubicBezTo>
                    <a:pt x="203" y="105"/>
                    <a:pt x="203" y="105"/>
                    <a:pt x="203" y="105"/>
                  </a:cubicBezTo>
                  <a:cubicBezTo>
                    <a:pt x="203" y="106"/>
                    <a:pt x="203" y="106"/>
                    <a:pt x="203" y="106"/>
                  </a:cubicBezTo>
                  <a:cubicBezTo>
                    <a:pt x="205" y="107"/>
                    <a:pt x="205" y="107"/>
                    <a:pt x="205" y="107"/>
                  </a:cubicBezTo>
                  <a:cubicBezTo>
                    <a:pt x="205" y="107"/>
                    <a:pt x="205" y="107"/>
                    <a:pt x="205" y="107"/>
                  </a:cubicBezTo>
                  <a:cubicBezTo>
                    <a:pt x="205" y="107"/>
                    <a:pt x="205" y="107"/>
                    <a:pt x="205" y="107"/>
                  </a:cubicBezTo>
                  <a:cubicBezTo>
                    <a:pt x="205" y="107"/>
                    <a:pt x="205" y="107"/>
                    <a:pt x="205" y="107"/>
                  </a:cubicBezTo>
                  <a:cubicBezTo>
                    <a:pt x="205" y="104"/>
                    <a:pt x="204" y="100"/>
                    <a:pt x="203" y="97"/>
                  </a:cubicBezTo>
                  <a:cubicBezTo>
                    <a:pt x="203" y="97"/>
                    <a:pt x="203" y="97"/>
                    <a:pt x="203" y="97"/>
                  </a:cubicBezTo>
                  <a:cubicBezTo>
                    <a:pt x="203" y="97"/>
                    <a:pt x="203" y="97"/>
                    <a:pt x="203" y="97"/>
                  </a:cubicBezTo>
                  <a:cubicBezTo>
                    <a:pt x="203" y="97"/>
                    <a:pt x="203" y="97"/>
                    <a:pt x="203" y="97"/>
                  </a:cubicBezTo>
                  <a:cubicBezTo>
                    <a:pt x="202" y="98"/>
                    <a:pt x="202" y="98"/>
                    <a:pt x="202" y="98"/>
                  </a:cubicBezTo>
                  <a:cubicBezTo>
                    <a:pt x="202" y="98"/>
                    <a:pt x="202" y="98"/>
                    <a:pt x="202" y="98"/>
                  </a:cubicBezTo>
                  <a:cubicBezTo>
                    <a:pt x="202" y="98"/>
                    <a:pt x="202" y="98"/>
                    <a:pt x="202" y="98"/>
                  </a:cubicBezTo>
                  <a:cubicBezTo>
                    <a:pt x="202" y="99"/>
                    <a:pt x="202" y="99"/>
                    <a:pt x="202" y="99"/>
                  </a:cubicBezTo>
                  <a:cubicBezTo>
                    <a:pt x="201" y="99"/>
                    <a:pt x="201" y="99"/>
                    <a:pt x="201" y="99"/>
                  </a:cubicBezTo>
                  <a:cubicBezTo>
                    <a:pt x="201" y="99"/>
                    <a:pt x="201" y="99"/>
                    <a:pt x="201" y="99"/>
                  </a:cubicBezTo>
                  <a:cubicBezTo>
                    <a:pt x="202" y="99"/>
                    <a:pt x="202" y="99"/>
                    <a:pt x="202" y="99"/>
                  </a:cubicBezTo>
                  <a:lnTo>
                    <a:pt x="202" y="100"/>
                  </a:lnTo>
                  <a:close/>
                  <a:moveTo>
                    <a:pt x="104" y="167"/>
                  </a:moveTo>
                  <a:cubicBezTo>
                    <a:pt x="104" y="167"/>
                    <a:pt x="104" y="167"/>
                    <a:pt x="104" y="167"/>
                  </a:cubicBezTo>
                  <a:cubicBezTo>
                    <a:pt x="104" y="167"/>
                    <a:pt x="104" y="167"/>
                    <a:pt x="104" y="167"/>
                  </a:cubicBezTo>
                  <a:cubicBezTo>
                    <a:pt x="104" y="167"/>
                    <a:pt x="104" y="167"/>
                    <a:pt x="104" y="167"/>
                  </a:cubicBezTo>
                  <a:cubicBezTo>
                    <a:pt x="103" y="167"/>
                    <a:pt x="103" y="167"/>
                    <a:pt x="103" y="167"/>
                  </a:cubicBezTo>
                  <a:cubicBezTo>
                    <a:pt x="103" y="167"/>
                    <a:pt x="103" y="167"/>
                    <a:pt x="103" y="167"/>
                  </a:cubicBezTo>
                  <a:cubicBezTo>
                    <a:pt x="103" y="167"/>
                    <a:pt x="103" y="167"/>
                    <a:pt x="103" y="167"/>
                  </a:cubicBezTo>
                  <a:cubicBezTo>
                    <a:pt x="103" y="168"/>
                    <a:pt x="103" y="168"/>
                    <a:pt x="103" y="168"/>
                  </a:cubicBezTo>
                  <a:cubicBezTo>
                    <a:pt x="104" y="168"/>
                    <a:pt x="104" y="168"/>
                    <a:pt x="104" y="168"/>
                  </a:cubicBezTo>
                  <a:cubicBezTo>
                    <a:pt x="104" y="168"/>
                    <a:pt x="104" y="168"/>
                    <a:pt x="104" y="168"/>
                  </a:cubicBezTo>
                  <a:cubicBezTo>
                    <a:pt x="104" y="168"/>
                    <a:pt x="104" y="168"/>
                    <a:pt x="104" y="168"/>
                  </a:cubicBezTo>
                  <a:cubicBezTo>
                    <a:pt x="104" y="168"/>
                    <a:pt x="104" y="168"/>
                    <a:pt x="104" y="168"/>
                  </a:cubicBezTo>
                  <a:cubicBezTo>
                    <a:pt x="104" y="168"/>
                    <a:pt x="104" y="168"/>
                    <a:pt x="104" y="168"/>
                  </a:cubicBezTo>
                  <a:cubicBezTo>
                    <a:pt x="104" y="168"/>
                    <a:pt x="104" y="168"/>
                    <a:pt x="104" y="168"/>
                  </a:cubicBezTo>
                  <a:cubicBezTo>
                    <a:pt x="104" y="168"/>
                    <a:pt x="104" y="168"/>
                    <a:pt x="104" y="168"/>
                  </a:cubicBezTo>
                  <a:cubicBezTo>
                    <a:pt x="104" y="169"/>
                    <a:pt x="104" y="169"/>
                    <a:pt x="104" y="169"/>
                  </a:cubicBezTo>
                  <a:cubicBezTo>
                    <a:pt x="104" y="169"/>
                    <a:pt x="104" y="169"/>
                    <a:pt x="104" y="169"/>
                  </a:cubicBezTo>
                  <a:cubicBezTo>
                    <a:pt x="104" y="169"/>
                    <a:pt x="104" y="169"/>
                    <a:pt x="104" y="169"/>
                  </a:cubicBezTo>
                  <a:cubicBezTo>
                    <a:pt x="105" y="169"/>
                    <a:pt x="105" y="169"/>
                    <a:pt x="105" y="169"/>
                  </a:cubicBezTo>
                  <a:cubicBezTo>
                    <a:pt x="105" y="168"/>
                    <a:pt x="105" y="168"/>
                    <a:pt x="105" y="168"/>
                  </a:cubicBezTo>
                  <a:cubicBezTo>
                    <a:pt x="105" y="168"/>
                    <a:pt x="105" y="168"/>
                    <a:pt x="105" y="168"/>
                  </a:cubicBezTo>
                  <a:lnTo>
                    <a:pt x="104" y="167"/>
                  </a:lnTo>
                  <a:close/>
                  <a:moveTo>
                    <a:pt x="99" y="166"/>
                  </a:moveTo>
                  <a:cubicBezTo>
                    <a:pt x="99" y="166"/>
                    <a:pt x="99" y="166"/>
                    <a:pt x="99" y="166"/>
                  </a:cubicBezTo>
                  <a:cubicBezTo>
                    <a:pt x="100" y="166"/>
                    <a:pt x="100" y="166"/>
                    <a:pt x="100" y="166"/>
                  </a:cubicBezTo>
                  <a:cubicBezTo>
                    <a:pt x="100" y="166"/>
                    <a:pt x="100" y="166"/>
                    <a:pt x="100" y="166"/>
                  </a:cubicBezTo>
                  <a:cubicBezTo>
                    <a:pt x="99" y="165"/>
                    <a:pt x="99" y="165"/>
                    <a:pt x="99" y="165"/>
                  </a:cubicBezTo>
                  <a:cubicBezTo>
                    <a:pt x="99" y="165"/>
                    <a:pt x="99" y="165"/>
                    <a:pt x="99" y="165"/>
                  </a:cubicBezTo>
                  <a:cubicBezTo>
                    <a:pt x="99" y="165"/>
                    <a:pt x="99" y="165"/>
                    <a:pt x="99" y="165"/>
                  </a:cubicBezTo>
                  <a:cubicBezTo>
                    <a:pt x="99" y="165"/>
                    <a:pt x="99" y="165"/>
                    <a:pt x="99" y="165"/>
                  </a:cubicBezTo>
                  <a:cubicBezTo>
                    <a:pt x="99" y="165"/>
                    <a:pt x="99" y="165"/>
                    <a:pt x="99" y="165"/>
                  </a:cubicBezTo>
                  <a:cubicBezTo>
                    <a:pt x="99" y="166"/>
                    <a:pt x="99" y="166"/>
                    <a:pt x="99" y="166"/>
                  </a:cubicBezTo>
                  <a:cubicBezTo>
                    <a:pt x="99" y="166"/>
                    <a:pt x="99" y="166"/>
                    <a:pt x="99" y="166"/>
                  </a:cubicBezTo>
                  <a:cubicBezTo>
                    <a:pt x="99" y="166"/>
                    <a:pt x="99" y="166"/>
                    <a:pt x="99" y="166"/>
                  </a:cubicBezTo>
                  <a:close/>
                  <a:moveTo>
                    <a:pt x="186" y="220"/>
                  </a:moveTo>
                  <a:cubicBezTo>
                    <a:pt x="186" y="220"/>
                    <a:pt x="186" y="220"/>
                    <a:pt x="186" y="220"/>
                  </a:cubicBezTo>
                  <a:cubicBezTo>
                    <a:pt x="186" y="221"/>
                    <a:pt x="186" y="221"/>
                    <a:pt x="186" y="221"/>
                  </a:cubicBezTo>
                  <a:cubicBezTo>
                    <a:pt x="187" y="221"/>
                    <a:pt x="187" y="221"/>
                    <a:pt x="187" y="221"/>
                  </a:cubicBezTo>
                  <a:cubicBezTo>
                    <a:pt x="187" y="221"/>
                    <a:pt x="187" y="221"/>
                    <a:pt x="187" y="221"/>
                  </a:cubicBezTo>
                  <a:cubicBezTo>
                    <a:pt x="187" y="220"/>
                    <a:pt x="187" y="220"/>
                    <a:pt x="187" y="220"/>
                  </a:cubicBezTo>
                  <a:cubicBezTo>
                    <a:pt x="187" y="220"/>
                    <a:pt x="187" y="220"/>
                    <a:pt x="187" y="220"/>
                  </a:cubicBezTo>
                  <a:cubicBezTo>
                    <a:pt x="187" y="220"/>
                    <a:pt x="187" y="220"/>
                    <a:pt x="187" y="220"/>
                  </a:cubicBezTo>
                  <a:cubicBezTo>
                    <a:pt x="187" y="221"/>
                    <a:pt x="187" y="221"/>
                    <a:pt x="187" y="221"/>
                  </a:cubicBezTo>
                  <a:cubicBezTo>
                    <a:pt x="187" y="221"/>
                    <a:pt x="187" y="221"/>
                    <a:pt x="187" y="221"/>
                  </a:cubicBezTo>
                  <a:cubicBezTo>
                    <a:pt x="188" y="221"/>
                    <a:pt x="188" y="221"/>
                    <a:pt x="188" y="221"/>
                  </a:cubicBezTo>
                  <a:cubicBezTo>
                    <a:pt x="188" y="221"/>
                    <a:pt x="188" y="221"/>
                    <a:pt x="188" y="221"/>
                  </a:cubicBezTo>
                  <a:cubicBezTo>
                    <a:pt x="189" y="221"/>
                    <a:pt x="189" y="221"/>
                    <a:pt x="189" y="221"/>
                  </a:cubicBezTo>
                  <a:cubicBezTo>
                    <a:pt x="189" y="222"/>
                    <a:pt x="189" y="222"/>
                    <a:pt x="189" y="222"/>
                  </a:cubicBezTo>
                  <a:cubicBezTo>
                    <a:pt x="189" y="221"/>
                    <a:pt x="189" y="221"/>
                    <a:pt x="189" y="221"/>
                  </a:cubicBezTo>
                  <a:cubicBezTo>
                    <a:pt x="190" y="221"/>
                    <a:pt x="190" y="221"/>
                    <a:pt x="190" y="221"/>
                  </a:cubicBezTo>
                  <a:cubicBezTo>
                    <a:pt x="190" y="222"/>
                    <a:pt x="190" y="222"/>
                    <a:pt x="190" y="222"/>
                  </a:cubicBezTo>
                  <a:cubicBezTo>
                    <a:pt x="190" y="222"/>
                    <a:pt x="190" y="222"/>
                    <a:pt x="190" y="222"/>
                  </a:cubicBezTo>
                  <a:cubicBezTo>
                    <a:pt x="190" y="222"/>
                    <a:pt x="190" y="222"/>
                    <a:pt x="190" y="222"/>
                  </a:cubicBezTo>
                  <a:cubicBezTo>
                    <a:pt x="190" y="222"/>
                    <a:pt x="190" y="222"/>
                    <a:pt x="190" y="222"/>
                  </a:cubicBezTo>
                  <a:cubicBezTo>
                    <a:pt x="190" y="222"/>
                    <a:pt x="190" y="222"/>
                    <a:pt x="190" y="222"/>
                  </a:cubicBezTo>
                  <a:cubicBezTo>
                    <a:pt x="190" y="222"/>
                    <a:pt x="190" y="222"/>
                    <a:pt x="190" y="222"/>
                  </a:cubicBezTo>
                  <a:cubicBezTo>
                    <a:pt x="191" y="222"/>
                    <a:pt x="191" y="222"/>
                    <a:pt x="191" y="222"/>
                  </a:cubicBezTo>
                  <a:cubicBezTo>
                    <a:pt x="191" y="222"/>
                    <a:pt x="191" y="222"/>
                    <a:pt x="191" y="222"/>
                  </a:cubicBezTo>
                  <a:cubicBezTo>
                    <a:pt x="191" y="222"/>
                    <a:pt x="191" y="222"/>
                    <a:pt x="191" y="222"/>
                  </a:cubicBezTo>
                  <a:cubicBezTo>
                    <a:pt x="191" y="222"/>
                    <a:pt x="191" y="222"/>
                    <a:pt x="191" y="222"/>
                  </a:cubicBezTo>
                  <a:cubicBezTo>
                    <a:pt x="191" y="222"/>
                    <a:pt x="191" y="222"/>
                    <a:pt x="191" y="222"/>
                  </a:cubicBezTo>
                  <a:cubicBezTo>
                    <a:pt x="191" y="221"/>
                    <a:pt x="191" y="221"/>
                    <a:pt x="191" y="221"/>
                  </a:cubicBezTo>
                  <a:cubicBezTo>
                    <a:pt x="191" y="221"/>
                    <a:pt x="191" y="221"/>
                    <a:pt x="191" y="221"/>
                  </a:cubicBezTo>
                  <a:cubicBezTo>
                    <a:pt x="191" y="221"/>
                    <a:pt x="191" y="221"/>
                    <a:pt x="191" y="221"/>
                  </a:cubicBezTo>
                  <a:cubicBezTo>
                    <a:pt x="192" y="221"/>
                    <a:pt x="192" y="221"/>
                    <a:pt x="192" y="221"/>
                  </a:cubicBezTo>
                  <a:cubicBezTo>
                    <a:pt x="192" y="220"/>
                    <a:pt x="192" y="220"/>
                    <a:pt x="192" y="220"/>
                  </a:cubicBezTo>
                  <a:cubicBezTo>
                    <a:pt x="193" y="220"/>
                    <a:pt x="193" y="220"/>
                    <a:pt x="193" y="220"/>
                  </a:cubicBezTo>
                  <a:cubicBezTo>
                    <a:pt x="193" y="219"/>
                    <a:pt x="193" y="219"/>
                    <a:pt x="193" y="219"/>
                  </a:cubicBezTo>
                  <a:cubicBezTo>
                    <a:pt x="194" y="219"/>
                    <a:pt x="194" y="219"/>
                    <a:pt x="194" y="219"/>
                  </a:cubicBezTo>
                  <a:cubicBezTo>
                    <a:pt x="194" y="219"/>
                    <a:pt x="194" y="219"/>
                    <a:pt x="194" y="219"/>
                  </a:cubicBezTo>
                  <a:cubicBezTo>
                    <a:pt x="194" y="219"/>
                    <a:pt x="194" y="219"/>
                    <a:pt x="194" y="219"/>
                  </a:cubicBezTo>
                  <a:cubicBezTo>
                    <a:pt x="194" y="219"/>
                    <a:pt x="194" y="219"/>
                    <a:pt x="194" y="219"/>
                  </a:cubicBezTo>
                  <a:cubicBezTo>
                    <a:pt x="194" y="219"/>
                    <a:pt x="194" y="219"/>
                    <a:pt x="194" y="219"/>
                  </a:cubicBezTo>
                  <a:cubicBezTo>
                    <a:pt x="194" y="219"/>
                    <a:pt x="194" y="219"/>
                    <a:pt x="194" y="219"/>
                  </a:cubicBezTo>
                  <a:cubicBezTo>
                    <a:pt x="194" y="219"/>
                    <a:pt x="194" y="219"/>
                    <a:pt x="194" y="219"/>
                  </a:cubicBezTo>
                  <a:cubicBezTo>
                    <a:pt x="194" y="219"/>
                    <a:pt x="194" y="219"/>
                    <a:pt x="194" y="219"/>
                  </a:cubicBezTo>
                  <a:cubicBezTo>
                    <a:pt x="194" y="219"/>
                    <a:pt x="194" y="219"/>
                    <a:pt x="194" y="219"/>
                  </a:cubicBezTo>
                  <a:cubicBezTo>
                    <a:pt x="194" y="220"/>
                    <a:pt x="194" y="220"/>
                    <a:pt x="194" y="220"/>
                  </a:cubicBezTo>
                  <a:cubicBezTo>
                    <a:pt x="193" y="220"/>
                    <a:pt x="193" y="220"/>
                    <a:pt x="193" y="220"/>
                  </a:cubicBezTo>
                  <a:cubicBezTo>
                    <a:pt x="193" y="221"/>
                    <a:pt x="193" y="221"/>
                    <a:pt x="193" y="221"/>
                  </a:cubicBezTo>
                  <a:cubicBezTo>
                    <a:pt x="193" y="221"/>
                    <a:pt x="193" y="221"/>
                    <a:pt x="193" y="221"/>
                  </a:cubicBezTo>
                  <a:cubicBezTo>
                    <a:pt x="193" y="221"/>
                    <a:pt x="193" y="221"/>
                    <a:pt x="193" y="221"/>
                  </a:cubicBezTo>
                  <a:cubicBezTo>
                    <a:pt x="192" y="221"/>
                    <a:pt x="192" y="221"/>
                    <a:pt x="192" y="221"/>
                  </a:cubicBezTo>
                  <a:cubicBezTo>
                    <a:pt x="192" y="221"/>
                    <a:pt x="192" y="221"/>
                    <a:pt x="192" y="221"/>
                  </a:cubicBezTo>
                  <a:cubicBezTo>
                    <a:pt x="192" y="221"/>
                    <a:pt x="192" y="221"/>
                    <a:pt x="192" y="221"/>
                  </a:cubicBezTo>
                  <a:cubicBezTo>
                    <a:pt x="192" y="221"/>
                    <a:pt x="192" y="221"/>
                    <a:pt x="192" y="221"/>
                  </a:cubicBezTo>
                  <a:cubicBezTo>
                    <a:pt x="192" y="221"/>
                    <a:pt x="192" y="221"/>
                    <a:pt x="192" y="221"/>
                  </a:cubicBezTo>
                  <a:cubicBezTo>
                    <a:pt x="192" y="222"/>
                    <a:pt x="192" y="222"/>
                    <a:pt x="192" y="222"/>
                  </a:cubicBezTo>
                  <a:cubicBezTo>
                    <a:pt x="191" y="222"/>
                    <a:pt x="191" y="222"/>
                    <a:pt x="191" y="222"/>
                  </a:cubicBezTo>
                  <a:cubicBezTo>
                    <a:pt x="192" y="222"/>
                    <a:pt x="192" y="222"/>
                    <a:pt x="192" y="222"/>
                  </a:cubicBezTo>
                  <a:cubicBezTo>
                    <a:pt x="192" y="222"/>
                    <a:pt x="192" y="222"/>
                    <a:pt x="192" y="222"/>
                  </a:cubicBezTo>
                  <a:cubicBezTo>
                    <a:pt x="192" y="222"/>
                    <a:pt x="192" y="222"/>
                    <a:pt x="192" y="222"/>
                  </a:cubicBezTo>
                  <a:cubicBezTo>
                    <a:pt x="193" y="222"/>
                    <a:pt x="193" y="222"/>
                    <a:pt x="193" y="222"/>
                  </a:cubicBezTo>
                  <a:cubicBezTo>
                    <a:pt x="193" y="222"/>
                    <a:pt x="193" y="222"/>
                    <a:pt x="193" y="222"/>
                  </a:cubicBezTo>
                  <a:cubicBezTo>
                    <a:pt x="193" y="222"/>
                    <a:pt x="193" y="222"/>
                    <a:pt x="193" y="222"/>
                  </a:cubicBezTo>
                  <a:cubicBezTo>
                    <a:pt x="194" y="222"/>
                    <a:pt x="194" y="222"/>
                    <a:pt x="194" y="222"/>
                  </a:cubicBezTo>
                  <a:cubicBezTo>
                    <a:pt x="194" y="222"/>
                    <a:pt x="194" y="222"/>
                    <a:pt x="194" y="222"/>
                  </a:cubicBezTo>
                  <a:cubicBezTo>
                    <a:pt x="194" y="222"/>
                    <a:pt x="194" y="222"/>
                    <a:pt x="194" y="222"/>
                  </a:cubicBezTo>
                  <a:cubicBezTo>
                    <a:pt x="195" y="221"/>
                    <a:pt x="195" y="221"/>
                    <a:pt x="195" y="221"/>
                  </a:cubicBezTo>
                  <a:cubicBezTo>
                    <a:pt x="195" y="221"/>
                    <a:pt x="195" y="221"/>
                    <a:pt x="195" y="221"/>
                  </a:cubicBezTo>
                  <a:cubicBezTo>
                    <a:pt x="195" y="220"/>
                    <a:pt x="195" y="220"/>
                    <a:pt x="195" y="220"/>
                  </a:cubicBezTo>
                  <a:cubicBezTo>
                    <a:pt x="195" y="220"/>
                    <a:pt x="195" y="220"/>
                    <a:pt x="195" y="220"/>
                  </a:cubicBezTo>
                  <a:cubicBezTo>
                    <a:pt x="195" y="220"/>
                    <a:pt x="195" y="220"/>
                    <a:pt x="195" y="220"/>
                  </a:cubicBezTo>
                  <a:cubicBezTo>
                    <a:pt x="195" y="220"/>
                    <a:pt x="195" y="220"/>
                    <a:pt x="195" y="220"/>
                  </a:cubicBezTo>
                  <a:cubicBezTo>
                    <a:pt x="195" y="220"/>
                    <a:pt x="195" y="220"/>
                    <a:pt x="195" y="220"/>
                  </a:cubicBezTo>
                  <a:cubicBezTo>
                    <a:pt x="196" y="218"/>
                    <a:pt x="196" y="218"/>
                    <a:pt x="196" y="218"/>
                  </a:cubicBezTo>
                  <a:cubicBezTo>
                    <a:pt x="195" y="218"/>
                    <a:pt x="195" y="218"/>
                    <a:pt x="195" y="218"/>
                  </a:cubicBezTo>
                  <a:cubicBezTo>
                    <a:pt x="196" y="218"/>
                    <a:pt x="196" y="218"/>
                    <a:pt x="196" y="218"/>
                  </a:cubicBezTo>
                  <a:cubicBezTo>
                    <a:pt x="196" y="218"/>
                    <a:pt x="196" y="218"/>
                    <a:pt x="196" y="218"/>
                  </a:cubicBezTo>
                  <a:cubicBezTo>
                    <a:pt x="196" y="217"/>
                    <a:pt x="196" y="217"/>
                    <a:pt x="196" y="217"/>
                  </a:cubicBezTo>
                  <a:cubicBezTo>
                    <a:pt x="196" y="217"/>
                    <a:pt x="196" y="217"/>
                    <a:pt x="196" y="217"/>
                  </a:cubicBezTo>
                  <a:cubicBezTo>
                    <a:pt x="196" y="217"/>
                    <a:pt x="196" y="217"/>
                    <a:pt x="196" y="217"/>
                  </a:cubicBezTo>
                  <a:cubicBezTo>
                    <a:pt x="196" y="216"/>
                    <a:pt x="196" y="216"/>
                    <a:pt x="196" y="216"/>
                  </a:cubicBezTo>
                  <a:cubicBezTo>
                    <a:pt x="196" y="216"/>
                    <a:pt x="196" y="216"/>
                    <a:pt x="196" y="216"/>
                  </a:cubicBezTo>
                  <a:cubicBezTo>
                    <a:pt x="195" y="217"/>
                    <a:pt x="195" y="217"/>
                    <a:pt x="195" y="217"/>
                  </a:cubicBezTo>
                  <a:cubicBezTo>
                    <a:pt x="195" y="216"/>
                    <a:pt x="195" y="216"/>
                    <a:pt x="195" y="216"/>
                  </a:cubicBezTo>
                  <a:cubicBezTo>
                    <a:pt x="195" y="216"/>
                    <a:pt x="195" y="216"/>
                    <a:pt x="195" y="216"/>
                  </a:cubicBezTo>
                  <a:cubicBezTo>
                    <a:pt x="195" y="215"/>
                    <a:pt x="195" y="215"/>
                    <a:pt x="195" y="215"/>
                  </a:cubicBezTo>
                  <a:cubicBezTo>
                    <a:pt x="195" y="215"/>
                    <a:pt x="195" y="215"/>
                    <a:pt x="195" y="215"/>
                  </a:cubicBezTo>
                  <a:cubicBezTo>
                    <a:pt x="195" y="214"/>
                    <a:pt x="195" y="214"/>
                    <a:pt x="195" y="214"/>
                  </a:cubicBezTo>
                  <a:cubicBezTo>
                    <a:pt x="195" y="214"/>
                    <a:pt x="195" y="214"/>
                    <a:pt x="195" y="214"/>
                  </a:cubicBezTo>
                  <a:cubicBezTo>
                    <a:pt x="194" y="215"/>
                    <a:pt x="194" y="215"/>
                    <a:pt x="194" y="215"/>
                  </a:cubicBezTo>
                  <a:cubicBezTo>
                    <a:pt x="194" y="216"/>
                    <a:pt x="194" y="216"/>
                    <a:pt x="194" y="216"/>
                  </a:cubicBezTo>
                  <a:cubicBezTo>
                    <a:pt x="194" y="216"/>
                    <a:pt x="194" y="216"/>
                    <a:pt x="194" y="216"/>
                  </a:cubicBezTo>
                  <a:cubicBezTo>
                    <a:pt x="193" y="217"/>
                    <a:pt x="193" y="217"/>
                    <a:pt x="193" y="217"/>
                  </a:cubicBezTo>
                  <a:cubicBezTo>
                    <a:pt x="193" y="217"/>
                    <a:pt x="193" y="217"/>
                    <a:pt x="193" y="217"/>
                  </a:cubicBezTo>
                  <a:cubicBezTo>
                    <a:pt x="194" y="218"/>
                    <a:pt x="194" y="218"/>
                    <a:pt x="194" y="218"/>
                  </a:cubicBezTo>
                  <a:cubicBezTo>
                    <a:pt x="194" y="218"/>
                    <a:pt x="194" y="218"/>
                    <a:pt x="194" y="218"/>
                  </a:cubicBezTo>
                  <a:cubicBezTo>
                    <a:pt x="194" y="218"/>
                    <a:pt x="194" y="218"/>
                    <a:pt x="194" y="218"/>
                  </a:cubicBezTo>
                  <a:cubicBezTo>
                    <a:pt x="193" y="218"/>
                    <a:pt x="193" y="218"/>
                    <a:pt x="193" y="218"/>
                  </a:cubicBezTo>
                  <a:cubicBezTo>
                    <a:pt x="193" y="218"/>
                    <a:pt x="193" y="218"/>
                    <a:pt x="193" y="218"/>
                  </a:cubicBezTo>
                  <a:cubicBezTo>
                    <a:pt x="193" y="218"/>
                    <a:pt x="193" y="218"/>
                    <a:pt x="193" y="218"/>
                  </a:cubicBezTo>
                  <a:cubicBezTo>
                    <a:pt x="193" y="218"/>
                    <a:pt x="193" y="218"/>
                    <a:pt x="193" y="218"/>
                  </a:cubicBezTo>
                  <a:cubicBezTo>
                    <a:pt x="193" y="217"/>
                    <a:pt x="193" y="217"/>
                    <a:pt x="193" y="217"/>
                  </a:cubicBezTo>
                  <a:cubicBezTo>
                    <a:pt x="193" y="217"/>
                    <a:pt x="193" y="217"/>
                    <a:pt x="193" y="217"/>
                  </a:cubicBezTo>
                  <a:cubicBezTo>
                    <a:pt x="193" y="217"/>
                    <a:pt x="193" y="217"/>
                    <a:pt x="193" y="217"/>
                  </a:cubicBezTo>
                  <a:cubicBezTo>
                    <a:pt x="193" y="216"/>
                    <a:pt x="193" y="216"/>
                    <a:pt x="193" y="216"/>
                  </a:cubicBezTo>
                  <a:cubicBezTo>
                    <a:pt x="193" y="216"/>
                    <a:pt x="193" y="216"/>
                    <a:pt x="193" y="216"/>
                  </a:cubicBezTo>
                  <a:cubicBezTo>
                    <a:pt x="193" y="215"/>
                    <a:pt x="193" y="215"/>
                    <a:pt x="193" y="215"/>
                  </a:cubicBezTo>
                  <a:cubicBezTo>
                    <a:pt x="192" y="215"/>
                    <a:pt x="192" y="215"/>
                    <a:pt x="192" y="215"/>
                  </a:cubicBezTo>
                  <a:cubicBezTo>
                    <a:pt x="192" y="215"/>
                    <a:pt x="192" y="215"/>
                    <a:pt x="192" y="215"/>
                  </a:cubicBezTo>
                  <a:cubicBezTo>
                    <a:pt x="191" y="215"/>
                    <a:pt x="191" y="215"/>
                    <a:pt x="191" y="215"/>
                  </a:cubicBezTo>
                  <a:cubicBezTo>
                    <a:pt x="191" y="215"/>
                    <a:pt x="191" y="215"/>
                    <a:pt x="191" y="215"/>
                  </a:cubicBezTo>
                  <a:cubicBezTo>
                    <a:pt x="191" y="214"/>
                    <a:pt x="191" y="214"/>
                    <a:pt x="191" y="214"/>
                  </a:cubicBezTo>
                  <a:cubicBezTo>
                    <a:pt x="191" y="214"/>
                    <a:pt x="191" y="214"/>
                    <a:pt x="191" y="214"/>
                  </a:cubicBezTo>
                  <a:cubicBezTo>
                    <a:pt x="191" y="214"/>
                    <a:pt x="191" y="214"/>
                    <a:pt x="191" y="214"/>
                  </a:cubicBezTo>
                  <a:cubicBezTo>
                    <a:pt x="191" y="213"/>
                    <a:pt x="191" y="213"/>
                    <a:pt x="191" y="213"/>
                  </a:cubicBezTo>
                  <a:cubicBezTo>
                    <a:pt x="190" y="214"/>
                    <a:pt x="190" y="214"/>
                    <a:pt x="190" y="214"/>
                  </a:cubicBezTo>
                  <a:cubicBezTo>
                    <a:pt x="189" y="214"/>
                    <a:pt x="189" y="214"/>
                    <a:pt x="189" y="214"/>
                  </a:cubicBezTo>
                  <a:cubicBezTo>
                    <a:pt x="189" y="215"/>
                    <a:pt x="189" y="215"/>
                    <a:pt x="189" y="215"/>
                  </a:cubicBezTo>
                  <a:cubicBezTo>
                    <a:pt x="189" y="215"/>
                    <a:pt x="189" y="215"/>
                    <a:pt x="189" y="215"/>
                  </a:cubicBezTo>
                  <a:cubicBezTo>
                    <a:pt x="189" y="215"/>
                    <a:pt x="189" y="215"/>
                    <a:pt x="189" y="215"/>
                  </a:cubicBezTo>
                  <a:cubicBezTo>
                    <a:pt x="188" y="216"/>
                    <a:pt x="188" y="216"/>
                    <a:pt x="188" y="216"/>
                  </a:cubicBezTo>
                  <a:cubicBezTo>
                    <a:pt x="188" y="216"/>
                    <a:pt x="188" y="216"/>
                    <a:pt x="188" y="216"/>
                  </a:cubicBezTo>
                  <a:cubicBezTo>
                    <a:pt x="188" y="217"/>
                    <a:pt x="188" y="217"/>
                    <a:pt x="188" y="217"/>
                  </a:cubicBezTo>
                  <a:cubicBezTo>
                    <a:pt x="188" y="217"/>
                    <a:pt x="188" y="217"/>
                    <a:pt x="188" y="217"/>
                  </a:cubicBezTo>
                  <a:cubicBezTo>
                    <a:pt x="188" y="217"/>
                    <a:pt x="188" y="217"/>
                    <a:pt x="188" y="217"/>
                  </a:cubicBezTo>
                  <a:cubicBezTo>
                    <a:pt x="188" y="216"/>
                    <a:pt x="188" y="216"/>
                    <a:pt x="188" y="216"/>
                  </a:cubicBezTo>
                  <a:cubicBezTo>
                    <a:pt x="188" y="216"/>
                    <a:pt x="188" y="216"/>
                    <a:pt x="188" y="216"/>
                  </a:cubicBezTo>
                  <a:cubicBezTo>
                    <a:pt x="187" y="216"/>
                    <a:pt x="187" y="216"/>
                    <a:pt x="187" y="216"/>
                  </a:cubicBezTo>
                  <a:cubicBezTo>
                    <a:pt x="187" y="215"/>
                    <a:pt x="187" y="215"/>
                    <a:pt x="187" y="215"/>
                  </a:cubicBezTo>
                  <a:cubicBezTo>
                    <a:pt x="187" y="215"/>
                    <a:pt x="187" y="215"/>
                    <a:pt x="187" y="215"/>
                  </a:cubicBezTo>
                  <a:cubicBezTo>
                    <a:pt x="187" y="215"/>
                    <a:pt x="187" y="215"/>
                    <a:pt x="187" y="215"/>
                  </a:cubicBezTo>
                  <a:cubicBezTo>
                    <a:pt x="186" y="215"/>
                    <a:pt x="186" y="215"/>
                    <a:pt x="186" y="215"/>
                  </a:cubicBezTo>
                  <a:cubicBezTo>
                    <a:pt x="186" y="215"/>
                    <a:pt x="186" y="215"/>
                    <a:pt x="186" y="215"/>
                  </a:cubicBezTo>
                  <a:cubicBezTo>
                    <a:pt x="186" y="215"/>
                    <a:pt x="186" y="215"/>
                    <a:pt x="186" y="215"/>
                  </a:cubicBezTo>
                  <a:cubicBezTo>
                    <a:pt x="186" y="214"/>
                    <a:pt x="186" y="214"/>
                    <a:pt x="186" y="214"/>
                  </a:cubicBezTo>
                  <a:cubicBezTo>
                    <a:pt x="186" y="214"/>
                    <a:pt x="186" y="214"/>
                    <a:pt x="186" y="214"/>
                  </a:cubicBezTo>
                  <a:cubicBezTo>
                    <a:pt x="186" y="214"/>
                    <a:pt x="186" y="214"/>
                    <a:pt x="186" y="214"/>
                  </a:cubicBezTo>
                  <a:cubicBezTo>
                    <a:pt x="184" y="215"/>
                    <a:pt x="184" y="215"/>
                    <a:pt x="184" y="215"/>
                  </a:cubicBezTo>
                  <a:cubicBezTo>
                    <a:pt x="184" y="215"/>
                    <a:pt x="184" y="215"/>
                    <a:pt x="184" y="215"/>
                  </a:cubicBezTo>
                  <a:cubicBezTo>
                    <a:pt x="184" y="215"/>
                    <a:pt x="184" y="215"/>
                    <a:pt x="184" y="215"/>
                  </a:cubicBezTo>
                  <a:cubicBezTo>
                    <a:pt x="184" y="215"/>
                    <a:pt x="184" y="215"/>
                    <a:pt x="184" y="215"/>
                  </a:cubicBezTo>
                  <a:cubicBezTo>
                    <a:pt x="184" y="216"/>
                    <a:pt x="184" y="216"/>
                    <a:pt x="184" y="216"/>
                  </a:cubicBezTo>
                  <a:cubicBezTo>
                    <a:pt x="184" y="216"/>
                    <a:pt x="184" y="216"/>
                    <a:pt x="184" y="216"/>
                  </a:cubicBezTo>
                  <a:cubicBezTo>
                    <a:pt x="184" y="216"/>
                    <a:pt x="184" y="216"/>
                    <a:pt x="184" y="216"/>
                  </a:cubicBezTo>
                  <a:cubicBezTo>
                    <a:pt x="183" y="215"/>
                    <a:pt x="183" y="215"/>
                    <a:pt x="183" y="215"/>
                  </a:cubicBezTo>
                  <a:cubicBezTo>
                    <a:pt x="183" y="215"/>
                    <a:pt x="183" y="215"/>
                    <a:pt x="183" y="215"/>
                  </a:cubicBezTo>
                  <a:cubicBezTo>
                    <a:pt x="183" y="215"/>
                    <a:pt x="183" y="215"/>
                    <a:pt x="183" y="215"/>
                  </a:cubicBezTo>
                  <a:cubicBezTo>
                    <a:pt x="183" y="216"/>
                    <a:pt x="183" y="216"/>
                    <a:pt x="183" y="216"/>
                  </a:cubicBezTo>
                  <a:cubicBezTo>
                    <a:pt x="183" y="216"/>
                    <a:pt x="183" y="216"/>
                    <a:pt x="183" y="216"/>
                  </a:cubicBezTo>
                  <a:cubicBezTo>
                    <a:pt x="183" y="216"/>
                    <a:pt x="183" y="216"/>
                    <a:pt x="183" y="216"/>
                  </a:cubicBezTo>
                  <a:cubicBezTo>
                    <a:pt x="182" y="216"/>
                    <a:pt x="182" y="216"/>
                    <a:pt x="182" y="216"/>
                  </a:cubicBezTo>
                  <a:cubicBezTo>
                    <a:pt x="182" y="216"/>
                    <a:pt x="182" y="216"/>
                    <a:pt x="182" y="216"/>
                  </a:cubicBezTo>
                  <a:cubicBezTo>
                    <a:pt x="182" y="217"/>
                    <a:pt x="182" y="217"/>
                    <a:pt x="182" y="217"/>
                  </a:cubicBezTo>
                  <a:cubicBezTo>
                    <a:pt x="182" y="217"/>
                    <a:pt x="182" y="217"/>
                    <a:pt x="182" y="217"/>
                  </a:cubicBezTo>
                  <a:cubicBezTo>
                    <a:pt x="182" y="217"/>
                    <a:pt x="182" y="217"/>
                    <a:pt x="182" y="217"/>
                  </a:cubicBezTo>
                  <a:cubicBezTo>
                    <a:pt x="182" y="217"/>
                    <a:pt x="182" y="217"/>
                    <a:pt x="182" y="217"/>
                  </a:cubicBezTo>
                  <a:cubicBezTo>
                    <a:pt x="183" y="217"/>
                    <a:pt x="183" y="217"/>
                    <a:pt x="183" y="217"/>
                  </a:cubicBezTo>
                  <a:cubicBezTo>
                    <a:pt x="183" y="217"/>
                    <a:pt x="183" y="217"/>
                    <a:pt x="183" y="217"/>
                  </a:cubicBezTo>
                  <a:cubicBezTo>
                    <a:pt x="183" y="217"/>
                    <a:pt x="183" y="217"/>
                    <a:pt x="183" y="217"/>
                  </a:cubicBezTo>
                  <a:cubicBezTo>
                    <a:pt x="183" y="217"/>
                    <a:pt x="183" y="217"/>
                    <a:pt x="183" y="217"/>
                  </a:cubicBezTo>
                  <a:cubicBezTo>
                    <a:pt x="183" y="217"/>
                    <a:pt x="183" y="217"/>
                    <a:pt x="183" y="217"/>
                  </a:cubicBezTo>
                  <a:cubicBezTo>
                    <a:pt x="183" y="217"/>
                    <a:pt x="183" y="217"/>
                    <a:pt x="183" y="217"/>
                  </a:cubicBezTo>
                  <a:cubicBezTo>
                    <a:pt x="183" y="218"/>
                    <a:pt x="183" y="218"/>
                    <a:pt x="183" y="218"/>
                  </a:cubicBezTo>
                  <a:cubicBezTo>
                    <a:pt x="183" y="218"/>
                    <a:pt x="183" y="218"/>
                    <a:pt x="183" y="218"/>
                  </a:cubicBezTo>
                  <a:cubicBezTo>
                    <a:pt x="183" y="218"/>
                    <a:pt x="183" y="218"/>
                    <a:pt x="183" y="218"/>
                  </a:cubicBezTo>
                  <a:cubicBezTo>
                    <a:pt x="183" y="219"/>
                    <a:pt x="183" y="219"/>
                    <a:pt x="183" y="219"/>
                  </a:cubicBezTo>
                  <a:cubicBezTo>
                    <a:pt x="183" y="219"/>
                    <a:pt x="183" y="219"/>
                    <a:pt x="183" y="219"/>
                  </a:cubicBezTo>
                  <a:cubicBezTo>
                    <a:pt x="183" y="218"/>
                    <a:pt x="183" y="218"/>
                    <a:pt x="183" y="218"/>
                  </a:cubicBezTo>
                  <a:cubicBezTo>
                    <a:pt x="183" y="218"/>
                    <a:pt x="183" y="218"/>
                    <a:pt x="183" y="218"/>
                  </a:cubicBezTo>
                  <a:cubicBezTo>
                    <a:pt x="182" y="218"/>
                    <a:pt x="182" y="218"/>
                    <a:pt x="182" y="218"/>
                  </a:cubicBezTo>
                  <a:cubicBezTo>
                    <a:pt x="182" y="218"/>
                    <a:pt x="182" y="218"/>
                    <a:pt x="182" y="218"/>
                  </a:cubicBezTo>
                  <a:cubicBezTo>
                    <a:pt x="182" y="218"/>
                    <a:pt x="182" y="218"/>
                    <a:pt x="182" y="218"/>
                  </a:cubicBezTo>
                  <a:cubicBezTo>
                    <a:pt x="182" y="218"/>
                    <a:pt x="182" y="218"/>
                    <a:pt x="182" y="218"/>
                  </a:cubicBezTo>
                  <a:cubicBezTo>
                    <a:pt x="182" y="218"/>
                    <a:pt x="182" y="218"/>
                    <a:pt x="182" y="218"/>
                  </a:cubicBezTo>
                  <a:cubicBezTo>
                    <a:pt x="182" y="218"/>
                    <a:pt x="182" y="218"/>
                    <a:pt x="182" y="218"/>
                  </a:cubicBezTo>
                  <a:cubicBezTo>
                    <a:pt x="182" y="218"/>
                    <a:pt x="182" y="218"/>
                    <a:pt x="182" y="218"/>
                  </a:cubicBezTo>
                  <a:cubicBezTo>
                    <a:pt x="182" y="218"/>
                    <a:pt x="182" y="218"/>
                    <a:pt x="182" y="218"/>
                  </a:cubicBezTo>
                  <a:cubicBezTo>
                    <a:pt x="181" y="218"/>
                    <a:pt x="181" y="218"/>
                    <a:pt x="181" y="218"/>
                  </a:cubicBezTo>
                  <a:cubicBezTo>
                    <a:pt x="181" y="218"/>
                    <a:pt x="181" y="218"/>
                    <a:pt x="181" y="218"/>
                  </a:cubicBezTo>
                  <a:cubicBezTo>
                    <a:pt x="181" y="218"/>
                    <a:pt x="181" y="218"/>
                    <a:pt x="181" y="218"/>
                  </a:cubicBezTo>
                  <a:cubicBezTo>
                    <a:pt x="181" y="217"/>
                    <a:pt x="181" y="217"/>
                    <a:pt x="181" y="217"/>
                  </a:cubicBezTo>
                  <a:cubicBezTo>
                    <a:pt x="181" y="217"/>
                    <a:pt x="181" y="217"/>
                    <a:pt x="181" y="217"/>
                  </a:cubicBezTo>
                  <a:cubicBezTo>
                    <a:pt x="181" y="218"/>
                    <a:pt x="181" y="218"/>
                    <a:pt x="181" y="218"/>
                  </a:cubicBezTo>
                  <a:cubicBezTo>
                    <a:pt x="180" y="218"/>
                    <a:pt x="180" y="218"/>
                    <a:pt x="180" y="218"/>
                  </a:cubicBezTo>
                  <a:cubicBezTo>
                    <a:pt x="180" y="218"/>
                    <a:pt x="180" y="218"/>
                    <a:pt x="180" y="218"/>
                  </a:cubicBezTo>
                  <a:cubicBezTo>
                    <a:pt x="180" y="218"/>
                    <a:pt x="180" y="218"/>
                    <a:pt x="180" y="218"/>
                  </a:cubicBezTo>
                  <a:cubicBezTo>
                    <a:pt x="180" y="218"/>
                    <a:pt x="180" y="218"/>
                    <a:pt x="180" y="218"/>
                  </a:cubicBezTo>
                  <a:cubicBezTo>
                    <a:pt x="179" y="217"/>
                    <a:pt x="179" y="217"/>
                    <a:pt x="179" y="217"/>
                  </a:cubicBezTo>
                  <a:cubicBezTo>
                    <a:pt x="179" y="217"/>
                    <a:pt x="179" y="217"/>
                    <a:pt x="179" y="217"/>
                  </a:cubicBezTo>
                  <a:cubicBezTo>
                    <a:pt x="179" y="217"/>
                    <a:pt x="179" y="217"/>
                    <a:pt x="179" y="217"/>
                  </a:cubicBezTo>
                  <a:cubicBezTo>
                    <a:pt x="178" y="217"/>
                    <a:pt x="178" y="217"/>
                    <a:pt x="178" y="217"/>
                  </a:cubicBezTo>
                  <a:cubicBezTo>
                    <a:pt x="178" y="217"/>
                    <a:pt x="178" y="217"/>
                    <a:pt x="178" y="217"/>
                  </a:cubicBezTo>
                  <a:cubicBezTo>
                    <a:pt x="179" y="216"/>
                    <a:pt x="179" y="216"/>
                    <a:pt x="179" y="216"/>
                  </a:cubicBezTo>
                  <a:cubicBezTo>
                    <a:pt x="179" y="216"/>
                    <a:pt x="179" y="216"/>
                    <a:pt x="179" y="216"/>
                  </a:cubicBezTo>
                  <a:cubicBezTo>
                    <a:pt x="179" y="215"/>
                    <a:pt x="179" y="215"/>
                    <a:pt x="179" y="215"/>
                  </a:cubicBezTo>
                  <a:cubicBezTo>
                    <a:pt x="179" y="215"/>
                    <a:pt x="179" y="215"/>
                    <a:pt x="179" y="215"/>
                  </a:cubicBezTo>
                  <a:cubicBezTo>
                    <a:pt x="179" y="215"/>
                    <a:pt x="179" y="215"/>
                    <a:pt x="179" y="215"/>
                  </a:cubicBezTo>
                  <a:cubicBezTo>
                    <a:pt x="178" y="215"/>
                    <a:pt x="178" y="215"/>
                    <a:pt x="178" y="215"/>
                  </a:cubicBezTo>
                  <a:cubicBezTo>
                    <a:pt x="178" y="215"/>
                    <a:pt x="178" y="215"/>
                    <a:pt x="178" y="215"/>
                  </a:cubicBezTo>
                  <a:cubicBezTo>
                    <a:pt x="178" y="216"/>
                    <a:pt x="178" y="216"/>
                    <a:pt x="178" y="216"/>
                  </a:cubicBezTo>
                  <a:cubicBezTo>
                    <a:pt x="178" y="216"/>
                    <a:pt x="178" y="216"/>
                    <a:pt x="178" y="216"/>
                  </a:cubicBezTo>
                  <a:cubicBezTo>
                    <a:pt x="177" y="216"/>
                    <a:pt x="177" y="216"/>
                    <a:pt x="177" y="216"/>
                  </a:cubicBezTo>
                  <a:cubicBezTo>
                    <a:pt x="177" y="216"/>
                    <a:pt x="177" y="216"/>
                    <a:pt x="177" y="216"/>
                  </a:cubicBezTo>
                  <a:cubicBezTo>
                    <a:pt x="177" y="216"/>
                    <a:pt x="177" y="216"/>
                    <a:pt x="177" y="216"/>
                  </a:cubicBezTo>
                  <a:cubicBezTo>
                    <a:pt x="177" y="216"/>
                    <a:pt x="177" y="216"/>
                    <a:pt x="177" y="216"/>
                  </a:cubicBezTo>
                  <a:cubicBezTo>
                    <a:pt x="177" y="216"/>
                    <a:pt x="177" y="216"/>
                    <a:pt x="177" y="216"/>
                  </a:cubicBezTo>
                  <a:cubicBezTo>
                    <a:pt x="177" y="217"/>
                    <a:pt x="177" y="217"/>
                    <a:pt x="177" y="217"/>
                  </a:cubicBezTo>
                  <a:cubicBezTo>
                    <a:pt x="176" y="217"/>
                    <a:pt x="176" y="217"/>
                    <a:pt x="176" y="217"/>
                  </a:cubicBezTo>
                  <a:cubicBezTo>
                    <a:pt x="176" y="217"/>
                    <a:pt x="176" y="217"/>
                    <a:pt x="176" y="217"/>
                  </a:cubicBezTo>
                  <a:cubicBezTo>
                    <a:pt x="176" y="217"/>
                    <a:pt x="176" y="217"/>
                    <a:pt x="176" y="217"/>
                  </a:cubicBezTo>
                  <a:cubicBezTo>
                    <a:pt x="176" y="217"/>
                    <a:pt x="176" y="217"/>
                    <a:pt x="176" y="217"/>
                  </a:cubicBezTo>
                  <a:cubicBezTo>
                    <a:pt x="176" y="216"/>
                    <a:pt x="176" y="216"/>
                    <a:pt x="176" y="216"/>
                  </a:cubicBezTo>
                  <a:cubicBezTo>
                    <a:pt x="176" y="216"/>
                    <a:pt x="176" y="216"/>
                    <a:pt x="176" y="216"/>
                  </a:cubicBezTo>
                  <a:cubicBezTo>
                    <a:pt x="175" y="216"/>
                    <a:pt x="175" y="216"/>
                    <a:pt x="175" y="216"/>
                  </a:cubicBezTo>
                  <a:cubicBezTo>
                    <a:pt x="175" y="216"/>
                    <a:pt x="175" y="216"/>
                    <a:pt x="175" y="216"/>
                  </a:cubicBezTo>
                  <a:cubicBezTo>
                    <a:pt x="175" y="216"/>
                    <a:pt x="175" y="216"/>
                    <a:pt x="175" y="216"/>
                  </a:cubicBezTo>
                  <a:cubicBezTo>
                    <a:pt x="175" y="217"/>
                    <a:pt x="175" y="217"/>
                    <a:pt x="175" y="217"/>
                  </a:cubicBezTo>
                  <a:cubicBezTo>
                    <a:pt x="175" y="217"/>
                    <a:pt x="175" y="217"/>
                    <a:pt x="175" y="217"/>
                  </a:cubicBezTo>
                  <a:cubicBezTo>
                    <a:pt x="175" y="217"/>
                    <a:pt x="175" y="217"/>
                    <a:pt x="175" y="217"/>
                  </a:cubicBezTo>
                  <a:cubicBezTo>
                    <a:pt x="175" y="217"/>
                    <a:pt x="175" y="217"/>
                    <a:pt x="175" y="217"/>
                  </a:cubicBezTo>
                  <a:cubicBezTo>
                    <a:pt x="175" y="217"/>
                    <a:pt x="175" y="217"/>
                    <a:pt x="175" y="217"/>
                  </a:cubicBezTo>
                  <a:cubicBezTo>
                    <a:pt x="175" y="217"/>
                    <a:pt x="175" y="217"/>
                    <a:pt x="175" y="217"/>
                  </a:cubicBezTo>
                  <a:cubicBezTo>
                    <a:pt x="175" y="217"/>
                    <a:pt x="175" y="217"/>
                    <a:pt x="175" y="217"/>
                  </a:cubicBezTo>
                  <a:cubicBezTo>
                    <a:pt x="174" y="217"/>
                    <a:pt x="174" y="217"/>
                    <a:pt x="174" y="217"/>
                  </a:cubicBezTo>
                  <a:cubicBezTo>
                    <a:pt x="174" y="217"/>
                    <a:pt x="174" y="217"/>
                    <a:pt x="174" y="217"/>
                  </a:cubicBezTo>
                  <a:cubicBezTo>
                    <a:pt x="174" y="217"/>
                    <a:pt x="174" y="217"/>
                    <a:pt x="174" y="217"/>
                  </a:cubicBezTo>
                  <a:cubicBezTo>
                    <a:pt x="174" y="216"/>
                    <a:pt x="174" y="216"/>
                    <a:pt x="174" y="216"/>
                  </a:cubicBezTo>
                  <a:cubicBezTo>
                    <a:pt x="174" y="216"/>
                    <a:pt x="174" y="216"/>
                    <a:pt x="174" y="216"/>
                  </a:cubicBezTo>
                  <a:cubicBezTo>
                    <a:pt x="173" y="217"/>
                    <a:pt x="173" y="217"/>
                    <a:pt x="173" y="217"/>
                  </a:cubicBezTo>
                  <a:cubicBezTo>
                    <a:pt x="173" y="217"/>
                    <a:pt x="173" y="217"/>
                    <a:pt x="173" y="217"/>
                  </a:cubicBezTo>
                  <a:cubicBezTo>
                    <a:pt x="173" y="217"/>
                    <a:pt x="173" y="217"/>
                    <a:pt x="173" y="217"/>
                  </a:cubicBezTo>
                  <a:cubicBezTo>
                    <a:pt x="173" y="218"/>
                    <a:pt x="173" y="218"/>
                    <a:pt x="173" y="218"/>
                  </a:cubicBezTo>
                  <a:cubicBezTo>
                    <a:pt x="174" y="218"/>
                    <a:pt x="174" y="218"/>
                    <a:pt x="174" y="218"/>
                  </a:cubicBezTo>
                  <a:cubicBezTo>
                    <a:pt x="175" y="218"/>
                    <a:pt x="175" y="218"/>
                    <a:pt x="175" y="218"/>
                  </a:cubicBezTo>
                  <a:cubicBezTo>
                    <a:pt x="175" y="218"/>
                    <a:pt x="175" y="218"/>
                    <a:pt x="175" y="218"/>
                  </a:cubicBezTo>
                  <a:cubicBezTo>
                    <a:pt x="176" y="219"/>
                    <a:pt x="176" y="219"/>
                    <a:pt x="176" y="219"/>
                  </a:cubicBezTo>
                  <a:cubicBezTo>
                    <a:pt x="176" y="219"/>
                    <a:pt x="176" y="219"/>
                    <a:pt x="176" y="219"/>
                  </a:cubicBezTo>
                  <a:cubicBezTo>
                    <a:pt x="176" y="219"/>
                    <a:pt x="176" y="219"/>
                    <a:pt x="176" y="219"/>
                  </a:cubicBezTo>
                  <a:cubicBezTo>
                    <a:pt x="176" y="219"/>
                    <a:pt x="176" y="219"/>
                    <a:pt x="176" y="219"/>
                  </a:cubicBezTo>
                  <a:cubicBezTo>
                    <a:pt x="176" y="219"/>
                    <a:pt x="176" y="219"/>
                    <a:pt x="176" y="219"/>
                  </a:cubicBezTo>
                  <a:cubicBezTo>
                    <a:pt x="176" y="219"/>
                    <a:pt x="176" y="219"/>
                    <a:pt x="176" y="219"/>
                  </a:cubicBezTo>
                  <a:cubicBezTo>
                    <a:pt x="177" y="219"/>
                    <a:pt x="177" y="219"/>
                    <a:pt x="177" y="219"/>
                  </a:cubicBezTo>
                  <a:cubicBezTo>
                    <a:pt x="177" y="219"/>
                    <a:pt x="177" y="219"/>
                    <a:pt x="177" y="219"/>
                  </a:cubicBezTo>
                  <a:cubicBezTo>
                    <a:pt x="177" y="219"/>
                    <a:pt x="177" y="219"/>
                    <a:pt x="177" y="219"/>
                  </a:cubicBezTo>
                  <a:cubicBezTo>
                    <a:pt x="178" y="219"/>
                    <a:pt x="178" y="219"/>
                    <a:pt x="178" y="219"/>
                  </a:cubicBezTo>
                  <a:cubicBezTo>
                    <a:pt x="178" y="219"/>
                    <a:pt x="178" y="219"/>
                    <a:pt x="178" y="219"/>
                  </a:cubicBezTo>
                  <a:cubicBezTo>
                    <a:pt x="178" y="219"/>
                    <a:pt x="178" y="219"/>
                    <a:pt x="178" y="219"/>
                  </a:cubicBezTo>
                  <a:cubicBezTo>
                    <a:pt x="179" y="219"/>
                    <a:pt x="179" y="219"/>
                    <a:pt x="179" y="219"/>
                  </a:cubicBezTo>
                  <a:cubicBezTo>
                    <a:pt x="179" y="219"/>
                    <a:pt x="179" y="219"/>
                    <a:pt x="179" y="219"/>
                  </a:cubicBezTo>
                  <a:cubicBezTo>
                    <a:pt x="179" y="219"/>
                    <a:pt x="179" y="219"/>
                    <a:pt x="179" y="219"/>
                  </a:cubicBezTo>
                  <a:cubicBezTo>
                    <a:pt x="179" y="219"/>
                    <a:pt x="179" y="219"/>
                    <a:pt x="179" y="219"/>
                  </a:cubicBezTo>
                  <a:cubicBezTo>
                    <a:pt x="179" y="219"/>
                    <a:pt x="179" y="219"/>
                    <a:pt x="179" y="219"/>
                  </a:cubicBezTo>
                  <a:cubicBezTo>
                    <a:pt x="180" y="219"/>
                    <a:pt x="180" y="219"/>
                    <a:pt x="180" y="219"/>
                  </a:cubicBezTo>
                  <a:cubicBezTo>
                    <a:pt x="180" y="219"/>
                    <a:pt x="180" y="219"/>
                    <a:pt x="180" y="219"/>
                  </a:cubicBezTo>
                  <a:cubicBezTo>
                    <a:pt x="180" y="219"/>
                    <a:pt x="180" y="219"/>
                    <a:pt x="180" y="219"/>
                  </a:cubicBezTo>
                  <a:cubicBezTo>
                    <a:pt x="180" y="219"/>
                    <a:pt x="180" y="219"/>
                    <a:pt x="180" y="219"/>
                  </a:cubicBezTo>
                  <a:cubicBezTo>
                    <a:pt x="180" y="219"/>
                    <a:pt x="180" y="219"/>
                    <a:pt x="180" y="219"/>
                  </a:cubicBezTo>
                  <a:cubicBezTo>
                    <a:pt x="180" y="219"/>
                    <a:pt x="180" y="219"/>
                    <a:pt x="180" y="219"/>
                  </a:cubicBezTo>
                  <a:cubicBezTo>
                    <a:pt x="181" y="219"/>
                    <a:pt x="181" y="219"/>
                    <a:pt x="181" y="219"/>
                  </a:cubicBezTo>
                  <a:cubicBezTo>
                    <a:pt x="181" y="219"/>
                    <a:pt x="181" y="219"/>
                    <a:pt x="181" y="219"/>
                  </a:cubicBezTo>
                  <a:cubicBezTo>
                    <a:pt x="181" y="219"/>
                    <a:pt x="181" y="219"/>
                    <a:pt x="181" y="219"/>
                  </a:cubicBezTo>
                  <a:cubicBezTo>
                    <a:pt x="181" y="219"/>
                    <a:pt x="181" y="219"/>
                    <a:pt x="181" y="219"/>
                  </a:cubicBezTo>
                  <a:cubicBezTo>
                    <a:pt x="181" y="219"/>
                    <a:pt x="181" y="219"/>
                    <a:pt x="181" y="219"/>
                  </a:cubicBezTo>
                  <a:cubicBezTo>
                    <a:pt x="181" y="219"/>
                    <a:pt x="181" y="219"/>
                    <a:pt x="181" y="219"/>
                  </a:cubicBezTo>
                  <a:cubicBezTo>
                    <a:pt x="181" y="219"/>
                    <a:pt x="181" y="219"/>
                    <a:pt x="181" y="219"/>
                  </a:cubicBezTo>
                  <a:cubicBezTo>
                    <a:pt x="182" y="219"/>
                    <a:pt x="182" y="219"/>
                    <a:pt x="182" y="219"/>
                  </a:cubicBezTo>
                  <a:cubicBezTo>
                    <a:pt x="183" y="219"/>
                    <a:pt x="183" y="219"/>
                    <a:pt x="183" y="219"/>
                  </a:cubicBezTo>
                  <a:cubicBezTo>
                    <a:pt x="184" y="220"/>
                    <a:pt x="184" y="220"/>
                    <a:pt x="184" y="220"/>
                  </a:cubicBezTo>
                  <a:cubicBezTo>
                    <a:pt x="184" y="220"/>
                    <a:pt x="184" y="220"/>
                    <a:pt x="184" y="220"/>
                  </a:cubicBezTo>
                  <a:cubicBezTo>
                    <a:pt x="185" y="220"/>
                    <a:pt x="185" y="220"/>
                    <a:pt x="185" y="220"/>
                  </a:cubicBezTo>
                  <a:cubicBezTo>
                    <a:pt x="186" y="220"/>
                    <a:pt x="186" y="220"/>
                    <a:pt x="186" y="220"/>
                  </a:cubicBezTo>
                  <a:close/>
                  <a:moveTo>
                    <a:pt x="219" y="222"/>
                  </a:moveTo>
                  <a:cubicBezTo>
                    <a:pt x="218" y="222"/>
                    <a:pt x="218" y="222"/>
                    <a:pt x="218" y="222"/>
                  </a:cubicBezTo>
                  <a:cubicBezTo>
                    <a:pt x="218" y="222"/>
                    <a:pt x="218" y="222"/>
                    <a:pt x="218" y="222"/>
                  </a:cubicBezTo>
                  <a:cubicBezTo>
                    <a:pt x="218" y="222"/>
                    <a:pt x="218" y="222"/>
                    <a:pt x="218" y="222"/>
                  </a:cubicBezTo>
                  <a:cubicBezTo>
                    <a:pt x="218" y="222"/>
                    <a:pt x="218" y="222"/>
                    <a:pt x="218" y="222"/>
                  </a:cubicBezTo>
                  <a:cubicBezTo>
                    <a:pt x="218" y="222"/>
                    <a:pt x="218" y="222"/>
                    <a:pt x="218" y="222"/>
                  </a:cubicBezTo>
                  <a:cubicBezTo>
                    <a:pt x="218" y="222"/>
                    <a:pt x="218" y="222"/>
                    <a:pt x="218" y="222"/>
                  </a:cubicBezTo>
                  <a:cubicBezTo>
                    <a:pt x="217" y="222"/>
                    <a:pt x="217" y="222"/>
                    <a:pt x="217" y="222"/>
                  </a:cubicBezTo>
                  <a:cubicBezTo>
                    <a:pt x="217" y="223"/>
                    <a:pt x="217" y="223"/>
                    <a:pt x="217" y="223"/>
                  </a:cubicBezTo>
                  <a:cubicBezTo>
                    <a:pt x="217" y="223"/>
                    <a:pt x="217" y="223"/>
                    <a:pt x="217" y="223"/>
                  </a:cubicBezTo>
                  <a:cubicBezTo>
                    <a:pt x="217" y="223"/>
                    <a:pt x="217" y="223"/>
                    <a:pt x="217" y="223"/>
                  </a:cubicBezTo>
                  <a:cubicBezTo>
                    <a:pt x="217" y="224"/>
                    <a:pt x="217" y="224"/>
                    <a:pt x="217" y="224"/>
                  </a:cubicBezTo>
                  <a:cubicBezTo>
                    <a:pt x="217" y="224"/>
                    <a:pt x="217" y="224"/>
                    <a:pt x="217" y="224"/>
                  </a:cubicBezTo>
                  <a:cubicBezTo>
                    <a:pt x="218" y="224"/>
                    <a:pt x="218" y="224"/>
                    <a:pt x="218" y="224"/>
                  </a:cubicBezTo>
                  <a:cubicBezTo>
                    <a:pt x="218" y="224"/>
                    <a:pt x="218" y="224"/>
                    <a:pt x="218" y="224"/>
                  </a:cubicBezTo>
                  <a:cubicBezTo>
                    <a:pt x="218" y="224"/>
                    <a:pt x="218" y="224"/>
                    <a:pt x="218" y="224"/>
                  </a:cubicBezTo>
                  <a:cubicBezTo>
                    <a:pt x="218" y="223"/>
                    <a:pt x="218" y="223"/>
                    <a:pt x="218" y="223"/>
                  </a:cubicBezTo>
                  <a:cubicBezTo>
                    <a:pt x="218" y="223"/>
                    <a:pt x="218" y="223"/>
                    <a:pt x="218" y="223"/>
                  </a:cubicBezTo>
                  <a:cubicBezTo>
                    <a:pt x="218" y="224"/>
                    <a:pt x="218" y="224"/>
                    <a:pt x="218" y="224"/>
                  </a:cubicBezTo>
                  <a:cubicBezTo>
                    <a:pt x="219" y="223"/>
                    <a:pt x="219" y="223"/>
                    <a:pt x="219" y="223"/>
                  </a:cubicBezTo>
                  <a:cubicBezTo>
                    <a:pt x="219" y="223"/>
                    <a:pt x="219" y="223"/>
                    <a:pt x="219" y="223"/>
                  </a:cubicBezTo>
                  <a:cubicBezTo>
                    <a:pt x="219" y="222"/>
                    <a:pt x="219" y="222"/>
                    <a:pt x="219" y="222"/>
                  </a:cubicBezTo>
                  <a:cubicBezTo>
                    <a:pt x="219" y="222"/>
                    <a:pt x="219" y="222"/>
                    <a:pt x="219" y="222"/>
                  </a:cubicBezTo>
                  <a:cubicBezTo>
                    <a:pt x="219" y="222"/>
                    <a:pt x="219" y="222"/>
                    <a:pt x="219" y="222"/>
                  </a:cubicBezTo>
                  <a:cubicBezTo>
                    <a:pt x="219" y="222"/>
                    <a:pt x="219" y="222"/>
                    <a:pt x="219" y="222"/>
                  </a:cubicBezTo>
                  <a:cubicBezTo>
                    <a:pt x="219" y="222"/>
                    <a:pt x="219" y="222"/>
                    <a:pt x="219" y="222"/>
                  </a:cubicBezTo>
                  <a:cubicBezTo>
                    <a:pt x="219" y="222"/>
                    <a:pt x="219" y="222"/>
                    <a:pt x="219" y="222"/>
                  </a:cubicBezTo>
                  <a:cubicBezTo>
                    <a:pt x="219" y="222"/>
                    <a:pt x="219" y="222"/>
                    <a:pt x="219" y="222"/>
                  </a:cubicBezTo>
                  <a:cubicBezTo>
                    <a:pt x="219" y="222"/>
                    <a:pt x="219" y="222"/>
                    <a:pt x="219" y="222"/>
                  </a:cubicBezTo>
                  <a:cubicBezTo>
                    <a:pt x="219" y="222"/>
                    <a:pt x="219" y="222"/>
                    <a:pt x="219" y="222"/>
                  </a:cubicBezTo>
                  <a:close/>
                  <a:moveTo>
                    <a:pt x="277" y="233"/>
                  </a:moveTo>
                  <a:cubicBezTo>
                    <a:pt x="277" y="233"/>
                    <a:pt x="277" y="233"/>
                    <a:pt x="277" y="233"/>
                  </a:cubicBezTo>
                  <a:cubicBezTo>
                    <a:pt x="277" y="233"/>
                    <a:pt x="277" y="233"/>
                    <a:pt x="277" y="233"/>
                  </a:cubicBezTo>
                  <a:cubicBezTo>
                    <a:pt x="275" y="233"/>
                    <a:pt x="275" y="233"/>
                    <a:pt x="275" y="233"/>
                  </a:cubicBezTo>
                  <a:cubicBezTo>
                    <a:pt x="275" y="233"/>
                    <a:pt x="275" y="233"/>
                    <a:pt x="275" y="233"/>
                  </a:cubicBezTo>
                  <a:cubicBezTo>
                    <a:pt x="275" y="234"/>
                    <a:pt x="275" y="234"/>
                    <a:pt x="275" y="234"/>
                  </a:cubicBezTo>
                  <a:cubicBezTo>
                    <a:pt x="274" y="234"/>
                    <a:pt x="274" y="234"/>
                    <a:pt x="274" y="234"/>
                  </a:cubicBezTo>
                  <a:cubicBezTo>
                    <a:pt x="275" y="234"/>
                    <a:pt x="275" y="234"/>
                    <a:pt x="275" y="234"/>
                  </a:cubicBezTo>
                  <a:cubicBezTo>
                    <a:pt x="277" y="233"/>
                    <a:pt x="277" y="233"/>
                    <a:pt x="277" y="233"/>
                  </a:cubicBezTo>
                  <a:cubicBezTo>
                    <a:pt x="277" y="233"/>
                    <a:pt x="277" y="233"/>
                    <a:pt x="277" y="233"/>
                  </a:cubicBezTo>
                  <a:cubicBezTo>
                    <a:pt x="278" y="233"/>
                    <a:pt x="278" y="233"/>
                    <a:pt x="278" y="233"/>
                  </a:cubicBezTo>
                  <a:cubicBezTo>
                    <a:pt x="278" y="232"/>
                    <a:pt x="278" y="232"/>
                    <a:pt x="278" y="232"/>
                  </a:cubicBezTo>
                  <a:cubicBezTo>
                    <a:pt x="278" y="232"/>
                    <a:pt x="278" y="232"/>
                    <a:pt x="278" y="232"/>
                  </a:cubicBezTo>
                  <a:lnTo>
                    <a:pt x="277" y="233"/>
                  </a:lnTo>
                  <a:close/>
                  <a:moveTo>
                    <a:pt x="277" y="232"/>
                  </a:moveTo>
                  <a:cubicBezTo>
                    <a:pt x="277" y="231"/>
                    <a:pt x="277" y="231"/>
                    <a:pt x="277" y="231"/>
                  </a:cubicBezTo>
                  <a:cubicBezTo>
                    <a:pt x="277" y="231"/>
                    <a:pt x="277" y="231"/>
                    <a:pt x="277" y="231"/>
                  </a:cubicBezTo>
                  <a:cubicBezTo>
                    <a:pt x="277" y="231"/>
                    <a:pt x="277" y="231"/>
                    <a:pt x="277" y="231"/>
                  </a:cubicBezTo>
                  <a:cubicBezTo>
                    <a:pt x="276" y="232"/>
                    <a:pt x="276" y="232"/>
                    <a:pt x="276" y="232"/>
                  </a:cubicBezTo>
                  <a:cubicBezTo>
                    <a:pt x="276" y="232"/>
                    <a:pt x="276" y="232"/>
                    <a:pt x="276" y="232"/>
                  </a:cubicBezTo>
                  <a:cubicBezTo>
                    <a:pt x="275" y="233"/>
                    <a:pt x="275" y="233"/>
                    <a:pt x="275" y="233"/>
                  </a:cubicBezTo>
                  <a:cubicBezTo>
                    <a:pt x="276" y="232"/>
                    <a:pt x="276" y="232"/>
                    <a:pt x="276" y="232"/>
                  </a:cubicBezTo>
                  <a:lnTo>
                    <a:pt x="277" y="232"/>
                  </a:lnTo>
                  <a:close/>
                  <a:moveTo>
                    <a:pt x="299" y="207"/>
                  </a:moveTo>
                  <a:cubicBezTo>
                    <a:pt x="298" y="207"/>
                    <a:pt x="297" y="206"/>
                    <a:pt x="297" y="206"/>
                  </a:cubicBezTo>
                  <a:cubicBezTo>
                    <a:pt x="297" y="204"/>
                    <a:pt x="297" y="202"/>
                    <a:pt x="297" y="201"/>
                  </a:cubicBezTo>
                  <a:cubicBezTo>
                    <a:pt x="297" y="201"/>
                    <a:pt x="297" y="201"/>
                    <a:pt x="297" y="201"/>
                  </a:cubicBezTo>
                  <a:cubicBezTo>
                    <a:pt x="296" y="200"/>
                    <a:pt x="296" y="200"/>
                    <a:pt x="296" y="200"/>
                  </a:cubicBezTo>
                  <a:cubicBezTo>
                    <a:pt x="295" y="201"/>
                    <a:pt x="295" y="201"/>
                    <a:pt x="295" y="201"/>
                  </a:cubicBezTo>
                  <a:cubicBezTo>
                    <a:pt x="294" y="200"/>
                    <a:pt x="294" y="200"/>
                    <a:pt x="294" y="200"/>
                  </a:cubicBezTo>
                  <a:cubicBezTo>
                    <a:pt x="294" y="200"/>
                    <a:pt x="294" y="200"/>
                    <a:pt x="294" y="200"/>
                  </a:cubicBezTo>
                  <a:cubicBezTo>
                    <a:pt x="293" y="200"/>
                    <a:pt x="293" y="200"/>
                    <a:pt x="293" y="200"/>
                  </a:cubicBezTo>
                  <a:cubicBezTo>
                    <a:pt x="293" y="200"/>
                    <a:pt x="293" y="200"/>
                    <a:pt x="293" y="200"/>
                  </a:cubicBezTo>
                  <a:cubicBezTo>
                    <a:pt x="293" y="200"/>
                    <a:pt x="293" y="200"/>
                    <a:pt x="293" y="200"/>
                  </a:cubicBezTo>
                  <a:cubicBezTo>
                    <a:pt x="293" y="200"/>
                    <a:pt x="293" y="200"/>
                    <a:pt x="293" y="200"/>
                  </a:cubicBezTo>
                  <a:cubicBezTo>
                    <a:pt x="292" y="200"/>
                    <a:pt x="292" y="200"/>
                    <a:pt x="292" y="200"/>
                  </a:cubicBezTo>
                  <a:cubicBezTo>
                    <a:pt x="292" y="200"/>
                    <a:pt x="292" y="200"/>
                    <a:pt x="292" y="200"/>
                  </a:cubicBezTo>
                  <a:cubicBezTo>
                    <a:pt x="292" y="200"/>
                    <a:pt x="292" y="200"/>
                    <a:pt x="292" y="200"/>
                  </a:cubicBezTo>
                  <a:cubicBezTo>
                    <a:pt x="292" y="200"/>
                    <a:pt x="292" y="200"/>
                    <a:pt x="292" y="200"/>
                  </a:cubicBezTo>
                  <a:cubicBezTo>
                    <a:pt x="291" y="201"/>
                    <a:pt x="291" y="201"/>
                    <a:pt x="291" y="201"/>
                  </a:cubicBezTo>
                  <a:cubicBezTo>
                    <a:pt x="289" y="201"/>
                    <a:pt x="289" y="201"/>
                    <a:pt x="289" y="201"/>
                  </a:cubicBezTo>
                  <a:cubicBezTo>
                    <a:pt x="289" y="201"/>
                    <a:pt x="289" y="201"/>
                    <a:pt x="289" y="201"/>
                  </a:cubicBezTo>
                  <a:cubicBezTo>
                    <a:pt x="288" y="202"/>
                    <a:pt x="288" y="202"/>
                    <a:pt x="288" y="202"/>
                  </a:cubicBezTo>
                  <a:cubicBezTo>
                    <a:pt x="288" y="202"/>
                    <a:pt x="288" y="202"/>
                    <a:pt x="288" y="202"/>
                  </a:cubicBezTo>
                  <a:cubicBezTo>
                    <a:pt x="288" y="202"/>
                    <a:pt x="288" y="202"/>
                    <a:pt x="288" y="202"/>
                  </a:cubicBezTo>
                  <a:cubicBezTo>
                    <a:pt x="284" y="203"/>
                    <a:pt x="284" y="203"/>
                    <a:pt x="284" y="203"/>
                  </a:cubicBezTo>
                  <a:cubicBezTo>
                    <a:pt x="284" y="204"/>
                    <a:pt x="284" y="204"/>
                    <a:pt x="284" y="204"/>
                  </a:cubicBezTo>
                  <a:cubicBezTo>
                    <a:pt x="284" y="204"/>
                    <a:pt x="284" y="204"/>
                    <a:pt x="284" y="204"/>
                  </a:cubicBezTo>
                  <a:cubicBezTo>
                    <a:pt x="281" y="206"/>
                    <a:pt x="281" y="206"/>
                    <a:pt x="281" y="206"/>
                  </a:cubicBezTo>
                  <a:cubicBezTo>
                    <a:pt x="280" y="207"/>
                    <a:pt x="280" y="207"/>
                    <a:pt x="280" y="207"/>
                  </a:cubicBezTo>
                  <a:cubicBezTo>
                    <a:pt x="279" y="207"/>
                    <a:pt x="279" y="207"/>
                    <a:pt x="279" y="207"/>
                  </a:cubicBezTo>
                  <a:cubicBezTo>
                    <a:pt x="279" y="207"/>
                    <a:pt x="279" y="207"/>
                    <a:pt x="279" y="207"/>
                  </a:cubicBezTo>
                  <a:cubicBezTo>
                    <a:pt x="279" y="208"/>
                    <a:pt x="279" y="208"/>
                    <a:pt x="279" y="208"/>
                  </a:cubicBezTo>
                  <a:cubicBezTo>
                    <a:pt x="279" y="208"/>
                    <a:pt x="279" y="208"/>
                    <a:pt x="279" y="208"/>
                  </a:cubicBezTo>
                  <a:cubicBezTo>
                    <a:pt x="279" y="208"/>
                    <a:pt x="279" y="208"/>
                    <a:pt x="279" y="208"/>
                  </a:cubicBezTo>
                  <a:cubicBezTo>
                    <a:pt x="278" y="209"/>
                    <a:pt x="278" y="209"/>
                    <a:pt x="278" y="209"/>
                  </a:cubicBezTo>
                  <a:cubicBezTo>
                    <a:pt x="278" y="209"/>
                    <a:pt x="278" y="209"/>
                    <a:pt x="278" y="209"/>
                  </a:cubicBezTo>
                  <a:cubicBezTo>
                    <a:pt x="277" y="209"/>
                    <a:pt x="277" y="209"/>
                    <a:pt x="277" y="209"/>
                  </a:cubicBezTo>
                  <a:cubicBezTo>
                    <a:pt x="277" y="209"/>
                    <a:pt x="277" y="209"/>
                    <a:pt x="277" y="209"/>
                  </a:cubicBezTo>
                  <a:cubicBezTo>
                    <a:pt x="277" y="209"/>
                    <a:pt x="277" y="209"/>
                    <a:pt x="277" y="209"/>
                  </a:cubicBezTo>
                  <a:cubicBezTo>
                    <a:pt x="276" y="208"/>
                    <a:pt x="276" y="208"/>
                    <a:pt x="276" y="208"/>
                  </a:cubicBezTo>
                  <a:cubicBezTo>
                    <a:pt x="276" y="208"/>
                    <a:pt x="276" y="208"/>
                    <a:pt x="276" y="208"/>
                  </a:cubicBezTo>
                  <a:cubicBezTo>
                    <a:pt x="276" y="208"/>
                    <a:pt x="276" y="208"/>
                    <a:pt x="276" y="208"/>
                  </a:cubicBezTo>
                  <a:cubicBezTo>
                    <a:pt x="276" y="208"/>
                    <a:pt x="276" y="208"/>
                    <a:pt x="276" y="208"/>
                  </a:cubicBezTo>
                  <a:cubicBezTo>
                    <a:pt x="276" y="208"/>
                    <a:pt x="276" y="208"/>
                    <a:pt x="276" y="208"/>
                  </a:cubicBezTo>
                  <a:cubicBezTo>
                    <a:pt x="275" y="208"/>
                    <a:pt x="275" y="208"/>
                    <a:pt x="275" y="208"/>
                  </a:cubicBezTo>
                  <a:cubicBezTo>
                    <a:pt x="275" y="207"/>
                    <a:pt x="275" y="207"/>
                    <a:pt x="275" y="207"/>
                  </a:cubicBezTo>
                  <a:cubicBezTo>
                    <a:pt x="275" y="207"/>
                    <a:pt x="275" y="207"/>
                    <a:pt x="275" y="207"/>
                  </a:cubicBezTo>
                  <a:cubicBezTo>
                    <a:pt x="275" y="207"/>
                    <a:pt x="275" y="207"/>
                    <a:pt x="275" y="207"/>
                  </a:cubicBezTo>
                  <a:cubicBezTo>
                    <a:pt x="274" y="207"/>
                    <a:pt x="274" y="207"/>
                    <a:pt x="274" y="207"/>
                  </a:cubicBezTo>
                  <a:cubicBezTo>
                    <a:pt x="273" y="207"/>
                    <a:pt x="273" y="207"/>
                    <a:pt x="273" y="207"/>
                  </a:cubicBezTo>
                  <a:cubicBezTo>
                    <a:pt x="273" y="207"/>
                    <a:pt x="273" y="207"/>
                    <a:pt x="273" y="207"/>
                  </a:cubicBezTo>
                  <a:cubicBezTo>
                    <a:pt x="272" y="207"/>
                    <a:pt x="272" y="207"/>
                    <a:pt x="272" y="207"/>
                  </a:cubicBezTo>
                  <a:cubicBezTo>
                    <a:pt x="272" y="208"/>
                    <a:pt x="272" y="208"/>
                    <a:pt x="272" y="208"/>
                  </a:cubicBezTo>
                  <a:cubicBezTo>
                    <a:pt x="272" y="208"/>
                    <a:pt x="272" y="208"/>
                    <a:pt x="272" y="208"/>
                  </a:cubicBezTo>
                  <a:cubicBezTo>
                    <a:pt x="272" y="208"/>
                    <a:pt x="272" y="208"/>
                    <a:pt x="272" y="208"/>
                  </a:cubicBezTo>
                  <a:cubicBezTo>
                    <a:pt x="271" y="208"/>
                    <a:pt x="271" y="208"/>
                    <a:pt x="271" y="208"/>
                  </a:cubicBezTo>
                  <a:cubicBezTo>
                    <a:pt x="271" y="208"/>
                    <a:pt x="271" y="208"/>
                    <a:pt x="271" y="208"/>
                  </a:cubicBezTo>
                  <a:cubicBezTo>
                    <a:pt x="271" y="208"/>
                    <a:pt x="271" y="208"/>
                    <a:pt x="271" y="208"/>
                  </a:cubicBezTo>
                  <a:cubicBezTo>
                    <a:pt x="271" y="209"/>
                    <a:pt x="271" y="209"/>
                    <a:pt x="271" y="209"/>
                  </a:cubicBezTo>
                  <a:cubicBezTo>
                    <a:pt x="271" y="209"/>
                    <a:pt x="271" y="209"/>
                    <a:pt x="271" y="209"/>
                  </a:cubicBezTo>
                  <a:cubicBezTo>
                    <a:pt x="271" y="209"/>
                    <a:pt x="271" y="209"/>
                    <a:pt x="271" y="209"/>
                  </a:cubicBezTo>
                  <a:cubicBezTo>
                    <a:pt x="270" y="209"/>
                    <a:pt x="270" y="209"/>
                    <a:pt x="270" y="209"/>
                  </a:cubicBezTo>
                  <a:cubicBezTo>
                    <a:pt x="270" y="209"/>
                    <a:pt x="270" y="209"/>
                    <a:pt x="270" y="209"/>
                  </a:cubicBezTo>
                  <a:cubicBezTo>
                    <a:pt x="270" y="209"/>
                    <a:pt x="270" y="209"/>
                    <a:pt x="270" y="209"/>
                  </a:cubicBezTo>
                  <a:cubicBezTo>
                    <a:pt x="269" y="208"/>
                    <a:pt x="269" y="208"/>
                    <a:pt x="269" y="208"/>
                  </a:cubicBezTo>
                  <a:cubicBezTo>
                    <a:pt x="269" y="208"/>
                    <a:pt x="269" y="208"/>
                    <a:pt x="269" y="208"/>
                  </a:cubicBezTo>
                  <a:cubicBezTo>
                    <a:pt x="269" y="208"/>
                    <a:pt x="269" y="208"/>
                    <a:pt x="269" y="208"/>
                  </a:cubicBezTo>
                  <a:cubicBezTo>
                    <a:pt x="269" y="208"/>
                    <a:pt x="269" y="208"/>
                    <a:pt x="269" y="208"/>
                  </a:cubicBezTo>
                  <a:cubicBezTo>
                    <a:pt x="269" y="208"/>
                    <a:pt x="269" y="208"/>
                    <a:pt x="269" y="208"/>
                  </a:cubicBezTo>
                  <a:cubicBezTo>
                    <a:pt x="269" y="208"/>
                    <a:pt x="269" y="208"/>
                    <a:pt x="269" y="208"/>
                  </a:cubicBezTo>
                  <a:cubicBezTo>
                    <a:pt x="268" y="208"/>
                    <a:pt x="268" y="208"/>
                    <a:pt x="268" y="208"/>
                  </a:cubicBezTo>
                  <a:cubicBezTo>
                    <a:pt x="268" y="208"/>
                    <a:pt x="268" y="208"/>
                    <a:pt x="268" y="208"/>
                  </a:cubicBezTo>
                  <a:cubicBezTo>
                    <a:pt x="266" y="208"/>
                    <a:pt x="266" y="208"/>
                    <a:pt x="266" y="208"/>
                  </a:cubicBezTo>
                  <a:cubicBezTo>
                    <a:pt x="266" y="208"/>
                    <a:pt x="266" y="208"/>
                    <a:pt x="266" y="208"/>
                  </a:cubicBezTo>
                  <a:cubicBezTo>
                    <a:pt x="266" y="208"/>
                    <a:pt x="266" y="208"/>
                    <a:pt x="266" y="208"/>
                  </a:cubicBezTo>
                  <a:cubicBezTo>
                    <a:pt x="266" y="208"/>
                    <a:pt x="266" y="208"/>
                    <a:pt x="266" y="208"/>
                  </a:cubicBezTo>
                  <a:cubicBezTo>
                    <a:pt x="265" y="207"/>
                    <a:pt x="265" y="207"/>
                    <a:pt x="265" y="207"/>
                  </a:cubicBezTo>
                  <a:cubicBezTo>
                    <a:pt x="265" y="207"/>
                    <a:pt x="265" y="207"/>
                    <a:pt x="265" y="207"/>
                  </a:cubicBezTo>
                  <a:cubicBezTo>
                    <a:pt x="265" y="207"/>
                    <a:pt x="265" y="207"/>
                    <a:pt x="265" y="207"/>
                  </a:cubicBezTo>
                  <a:cubicBezTo>
                    <a:pt x="265" y="206"/>
                    <a:pt x="265" y="206"/>
                    <a:pt x="265" y="206"/>
                  </a:cubicBezTo>
                  <a:cubicBezTo>
                    <a:pt x="265" y="206"/>
                    <a:pt x="265" y="206"/>
                    <a:pt x="265" y="206"/>
                  </a:cubicBezTo>
                  <a:cubicBezTo>
                    <a:pt x="264" y="206"/>
                    <a:pt x="264" y="206"/>
                    <a:pt x="264" y="206"/>
                  </a:cubicBezTo>
                  <a:cubicBezTo>
                    <a:pt x="264" y="205"/>
                    <a:pt x="264" y="205"/>
                    <a:pt x="264" y="205"/>
                  </a:cubicBezTo>
                  <a:cubicBezTo>
                    <a:pt x="264" y="205"/>
                    <a:pt x="264" y="205"/>
                    <a:pt x="264" y="205"/>
                  </a:cubicBezTo>
                  <a:cubicBezTo>
                    <a:pt x="264" y="205"/>
                    <a:pt x="264" y="205"/>
                    <a:pt x="264" y="205"/>
                  </a:cubicBezTo>
                  <a:cubicBezTo>
                    <a:pt x="264" y="205"/>
                    <a:pt x="264" y="205"/>
                    <a:pt x="264" y="205"/>
                  </a:cubicBezTo>
                  <a:cubicBezTo>
                    <a:pt x="263" y="205"/>
                    <a:pt x="263" y="205"/>
                    <a:pt x="263" y="205"/>
                  </a:cubicBezTo>
                  <a:cubicBezTo>
                    <a:pt x="263" y="204"/>
                    <a:pt x="263" y="204"/>
                    <a:pt x="263" y="204"/>
                  </a:cubicBezTo>
                  <a:cubicBezTo>
                    <a:pt x="263" y="204"/>
                    <a:pt x="263" y="204"/>
                    <a:pt x="263" y="204"/>
                  </a:cubicBezTo>
                  <a:cubicBezTo>
                    <a:pt x="263" y="204"/>
                    <a:pt x="263" y="204"/>
                    <a:pt x="263" y="204"/>
                  </a:cubicBezTo>
                  <a:cubicBezTo>
                    <a:pt x="263" y="203"/>
                    <a:pt x="263" y="203"/>
                    <a:pt x="263" y="203"/>
                  </a:cubicBezTo>
                  <a:cubicBezTo>
                    <a:pt x="262" y="202"/>
                    <a:pt x="262" y="202"/>
                    <a:pt x="262" y="202"/>
                  </a:cubicBezTo>
                  <a:cubicBezTo>
                    <a:pt x="262" y="202"/>
                    <a:pt x="262" y="202"/>
                    <a:pt x="262" y="202"/>
                  </a:cubicBezTo>
                  <a:cubicBezTo>
                    <a:pt x="262" y="202"/>
                    <a:pt x="262" y="202"/>
                    <a:pt x="262" y="202"/>
                  </a:cubicBezTo>
                  <a:cubicBezTo>
                    <a:pt x="261" y="202"/>
                    <a:pt x="261" y="202"/>
                    <a:pt x="261" y="202"/>
                  </a:cubicBezTo>
                  <a:cubicBezTo>
                    <a:pt x="261" y="202"/>
                    <a:pt x="261" y="202"/>
                    <a:pt x="261" y="202"/>
                  </a:cubicBezTo>
                  <a:cubicBezTo>
                    <a:pt x="261" y="202"/>
                    <a:pt x="261" y="202"/>
                    <a:pt x="261" y="202"/>
                  </a:cubicBezTo>
                  <a:cubicBezTo>
                    <a:pt x="261" y="202"/>
                    <a:pt x="261" y="202"/>
                    <a:pt x="261" y="202"/>
                  </a:cubicBezTo>
                  <a:cubicBezTo>
                    <a:pt x="261" y="202"/>
                    <a:pt x="261" y="202"/>
                    <a:pt x="261" y="202"/>
                  </a:cubicBezTo>
                  <a:cubicBezTo>
                    <a:pt x="260" y="203"/>
                    <a:pt x="260" y="203"/>
                    <a:pt x="260" y="203"/>
                  </a:cubicBezTo>
                  <a:cubicBezTo>
                    <a:pt x="261" y="203"/>
                    <a:pt x="261" y="203"/>
                    <a:pt x="261" y="203"/>
                  </a:cubicBezTo>
                  <a:cubicBezTo>
                    <a:pt x="261" y="203"/>
                    <a:pt x="261" y="203"/>
                    <a:pt x="261" y="203"/>
                  </a:cubicBezTo>
                  <a:cubicBezTo>
                    <a:pt x="261" y="204"/>
                    <a:pt x="261" y="204"/>
                    <a:pt x="261" y="204"/>
                  </a:cubicBezTo>
                  <a:cubicBezTo>
                    <a:pt x="261" y="204"/>
                    <a:pt x="261" y="204"/>
                    <a:pt x="261" y="204"/>
                  </a:cubicBezTo>
                  <a:cubicBezTo>
                    <a:pt x="261" y="204"/>
                    <a:pt x="261" y="204"/>
                    <a:pt x="261" y="204"/>
                  </a:cubicBezTo>
                  <a:cubicBezTo>
                    <a:pt x="260" y="204"/>
                    <a:pt x="260" y="204"/>
                    <a:pt x="260" y="204"/>
                  </a:cubicBezTo>
                  <a:cubicBezTo>
                    <a:pt x="260" y="204"/>
                    <a:pt x="260" y="204"/>
                    <a:pt x="260" y="204"/>
                  </a:cubicBezTo>
                  <a:cubicBezTo>
                    <a:pt x="260" y="204"/>
                    <a:pt x="260" y="204"/>
                    <a:pt x="260" y="204"/>
                  </a:cubicBezTo>
                  <a:cubicBezTo>
                    <a:pt x="259" y="204"/>
                    <a:pt x="259" y="204"/>
                    <a:pt x="259" y="204"/>
                  </a:cubicBezTo>
                  <a:cubicBezTo>
                    <a:pt x="258" y="204"/>
                    <a:pt x="258" y="204"/>
                    <a:pt x="258" y="204"/>
                  </a:cubicBezTo>
                  <a:cubicBezTo>
                    <a:pt x="258" y="204"/>
                    <a:pt x="258" y="204"/>
                    <a:pt x="258" y="204"/>
                  </a:cubicBezTo>
                  <a:cubicBezTo>
                    <a:pt x="257" y="204"/>
                    <a:pt x="257" y="204"/>
                    <a:pt x="257" y="204"/>
                  </a:cubicBezTo>
                  <a:cubicBezTo>
                    <a:pt x="257" y="203"/>
                    <a:pt x="257" y="203"/>
                    <a:pt x="257" y="203"/>
                  </a:cubicBezTo>
                  <a:cubicBezTo>
                    <a:pt x="256" y="203"/>
                    <a:pt x="256" y="203"/>
                    <a:pt x="256" y="203"/>
                  </a:cubicBezTo>
                  <a:cubicBezTo>
                    <a:pt x="256" y="203"/>
                    <a:pt x="256" y="203"/>
                    <a:pt x="256" y="203"/>
                  </a:cubicBezTo>
                  <a:cubicBezTo>
                    <a:pt x="256" y="203"/>
                    <a:pt x="256" y="203"/>
                    <a:pt x="256" y="203"/>
                  </a:cubicBezTo>
                  <a:cubicBezTo>
                    <a:pt x="255" y="202"/>
                    <a:pt x="255" y="202"/>
                    <a:pt x="255" y="202"/>
                  </a:cubicBezTo>
                  <a:cubicBezTo>
                    <a:pt x="255" y="202"/>
                    <a:pt x="255" y="202"/>
                    <a:pt x="255" y="202"/>
                  </a:cubicBezTo>
                  <a:cubicBezTo>
                    <a:pt x="255" y="202"/>
                    <a:pt x="255" y="202"/>
                    <a:pt x="255" y="202"/>
                  </a:cubicBezTo>
                  <a:cubicBezTo>
                    <a:pt x="255" y="201"/>
                    <a:pt x="255" y="201"/>
                    <a:pt x="255" y="201"/>
                  </a:cubicBezTo>
                  <a:cubicBezTo>
                    <a:pt x="255" y="201"/>
                    <a:pt x="255" y="201"/>
                    <a:pt x="255" y="201"/>
                  </a:cubicBezTo>
                  <a:cubicBezTo>
                    <a:pt x="254" y="201"/>
                    <a:pt x="254" y="201"/>
                    <a:pt x="254" y="201"/>
                  </a:cubicBezTo>
                  <a:cubicBezTo>
                    <a:pt x="254" y="200"/>
                    <a:pt x="254" y="200"/>
                    <a:pt x="254" y="200"/>
                  </a:cubicBezTo>
                  <a:cubicBezTo>
                    <a:pt x="254" y="200"/>
                    <a:pt x="254" y="200"/>
                    <a:pt x="254" y="200"/>
                  </a:cubicBezTo>
                  <a:cubicBezTo>
                    <a:pt x="254" y="200"/>
                    <a:pt x="254" y="200"/>
                    <a:pt x="254" y="200"/>
                  </a:cubicBezTo>
                  <a:cubicBezTo>
                    <a:pt x="253" y="200"/>
                    <a:pt x="253" y="200"/>
                    <a:pt x="253" y="200"/>
                  </a:cubicBezTo>
                  <a:cubicBezTo>
                    <a:pt x="253" y="200"/>
                    <a:pt x="253" y="200"/>
                    <a:pt x="253" y="200"/>
                  </a:cubicBezTo>
                  <a:cubicBezTo>
                    <a:pt x="252" y="199"/>
                    <a:pt x="252" y="199"/>
                    <a:pt x="252" y="199"/>
                  </a:cubicBezTo>
                  <a:cubicBezTo>
                    <a:pt x="249" y="199"/>
                    <a:pt x="249" y="199"/>
                    <a:pt x="249" y="199"/>
                  </a:cubicBezTo>
                  <a:cubicBezTo>
                    <a:pt x="249" y="199"/>
                    <a:pt x="249" y="199"/>
                    <a:pt x="249" y="199"/>
                  </a:cubicBezTo>
                  <a:cubicBezTo>
                    <a:pt x="249" y="199"/>
                    <a:pt x="249" y="199"/>
                    <a:pt x="249" y="199"/>
                  </a:cubicBezTo>
                  <a:cubicBezTo>
                    <a:pt x="248" y="199"/>
                    <a:pt x="248" y="199"/>
                    <a:pt x="248" y="199"/>
                  </a:cubicBezTo>
                  <a:cubicBezTo>
                    <a:pt x="245" y="198"/>
                    <a:pt x="245" y="198"/>
                    <a:pt x="245" y="198"/>
                  </a:cubicBezTo>
                  <a:cubicBezTo>
                    <a:pt x="244" y="199"/>
                    <a:pt x="244" y="199"/>
                    <a:pt x="244" y="199"/>
                  </a:cubicBezTo>
                  <a:cubicBezTo>
                    <a:pt x="243" y="198"/>
                    <a:pt x="243" y="198"/>
                    <a:pt x="243" y="198"/>
                  </a:cubicBezTo>
                  <a:cubicBezTo>
                    <a:pt x="241" y="198"/>
                    <a:pt x="241" y="198"/>
                    <a:pt x="241" y="198"/>
                  </a:cubicBezTo>
                  <a:cubicBezTo>
                    <a:pt x="240" y="199"/>
                    <a:pt x="240" y="199"/>
                    <a:pt x="240" y="199"/>
                  </a:cubicBezTo>
                  <a:cubicBezTo>
                    <a:pt x="240" y="199"/>
                    <a:pt x="240" y="199"/>
                    <a:pt x="240" y="199"/>
                  </a:cubicBezTo>
                  <a:cubicBezTo>
                    <a:pt x="240" y="199"/>
                    <a:pt x="240" y="199"/>
                    <a:pt x="240" y="199"/>
                  </a:cubicBezTo>
                  <a:cubicBezTo>
                    <a:pt x="239" y="198"/>
                    <a:pt x="239" y="198"/>
                    <a:pt x="239" y="198"/>
                  </a:cubicBezTo>
                  <a:cubicBezTo>
                    <a:pt x="239" y="198"/>
                    <a:pt x="239" y="198"/>
                    <a:pt x="239" y="198"/>
                  </a:cubicBezTo>
                  <a:cubicBezTo>
                    <a:pt x="238" y="199"/>
                    <a:pt x="238" y="199"/>
                    <a:pt x="238" y="199"/>
                  </a:cubicBezTo>
                  <a:cubicBezTo>
                    <a:pt x="234" y="198"/>
                    <a:pt x="234" y="198"/>
                    <a:pt x="234" y="198"/>
                  </a:cubicBezTo>
                  <a:cubicBezTo>
                    <a:pt x="234" y="198"/>
                    <a:pt x="234" y="198"/>
                    <a:pt x="234" y="198"/>
                  </a:cubicBezTo>
                  <a:cubicBezTo>
                    <a:pt x="234" y="198"/>
                    <a:pt x="234" y="198"/>
                    <a:pt x="234" y="198"/>
                  </a:cubicBezTo>
                  <a:cubicBezTo>
                    <a:pt x="234" y="198"/>
                    <a:pt x="234" y="198"/>
                    <a:pt x="234" y="198"/>
                  </a:cubicBezTo>
                  <a:cubicBezTo>
                    <a:pt x="233" y="197"/>
                    <a:pt x="233" y="197"/>
                    <a:pt x="233" y="197"/>
                  </a:cubicBezTo>
                  <a:cubicBezTo>
                    <a:pt x="231" y="196"/>
                    <a:pt x="231" y="196"/>
                    <a:pt x="231" y="196"/>
                  </a:cubicBezTo>
                  <a:cubicBezTo>
                    <a:pt x="230" y="196"/>
                    <a:pt x="230" y="196"/>
                    <a:pt x="230" y="196"/>
                  </a:cubicBezTo>
                  <a:cubicBezTo>
                    <a:pt x="230" y="195"/>
                    <a:pt x="230" y="195"/>
                    <a:pt x="230" y="195"/>
                  </a:cubicBezTo>
                  <a:cubicBezTo>
                    <a:pt x="229" y="194"/>
                    <a:pt x="229" y="194"/>
                    <a:pt x="229" y="194"/>
                  </a:cubicBezTo>
                  <a:cubicBezTo>
                    <a:pt x="229" y="194"/>
                    <a:pt x="229" y="194"/>
                    <a:pt x="229" y="194"/>
                  </a:cubicBezTo>
                  <a:cubicBezTo>
                    <a:pt x="229" y="194"/>
                    <a:pt x="229" y="194"/>
                    <a:pt x="229" y="194"/>
                  </a:cubicBezTo>
                  <a:cubicBezTo>
                    <a:pt x="229" y="193"/>
                    <a:pt x="229" y="193"/>
                    <a:pt x="229" y="193"/>
                  </a:cubicBezTo>
                  <a:cubicBezTo>
                    <a:pt x="228" y="193"/>
                    <a:pt x="228" y="193"/>
                    <a:pt x="228" y="193"/>
                  </a:cubicBezTo>
                  <a:cubicBezTo>
                    <a:pt x="228" y="193"/>
                    <a:pt x="228" y="193"/>
                    <a:pt x="228" y="193"/>
                  </a:cubicBezTo>
                  <a:cubicBezTo>
                    <a:pt x="227" y="192"/>
                    <a:pt x="227" y="192"/>
                    <a:pt x="227" y="192"/>
                  </a:cubicBezTo>
                  <a:cubicBezTo>
                    <a:pt x="226" y="190"/>
                    <a:pt x="226" y="190"/>
                    <a:pt x="226" y="190"/>
                  </a:cubicBezTo>
                  <a:cubicBezTo>
                    <a:pt x="226" y="190"/>
                    <a:pt x="225" y="189"/>
                    <a:pt x="225" y="189"/>
                  </a:cubicBezTo>
                  <a:cubicBezTo>
                    <a:pt x="224" y="188"/>
                    <a:pt x="224" y="188"/>
                    <a:pt x="224" y="188"/>
                  </a:cubicBezTo>
                  <a:cubicBezTo>
                    <a:pt x="223" y="187"/>
                    <a:pt x="223" y="187"/>
                    <a:pt x="223" y="187"/>
                  </a:cubicBezTo>
                  <a:cubicBezTo>
                    <a:pt x="223" y="187"/>
                    <a:pt x="223" y="187"/>
                    <a:pt x="223" y="187"/>
                  </a:cubicBezTo>
                  <a:cubicBezTo>
                    <a:pt x="222" y="186"/>
                    <a:pt x="222" y="186"/>
                    <a:pt x="222" y="186"/>
                  </a:cubicBezTo>
                  <a:cubicBezTo>
                    <a:pt x="221" y="185"/>
                    <a:pt x="221" y="185"/>
                    <a:pt x="221" y="185"/>
                  </a:cubicBezTo>
                  <a:cubicBezTo>
                    <a:pt x="221" y="185"/>
                    <a:pt x="221" y="185"/>
                    <a:pt x="221" y="185"/>
                  </a:cubicBezTo>
                  <a:cubicBezTo>
                    <a:pt x="221" y="184"/>
                    <a:pt x="221" y="184"/>
                    <a:pt x="221" y="184"/>
                  </a:cubicBezTo>
                  <a:cubicBezTo>
                    <a:pt x="221" y="183"/>
                    <a:pt x="221" y="183"/>
                    <a:pt x="221" y="183"/>
                  </a:cubicBezTo>
                  <a:cubicBezTo>
                    <a:pt x="221" y="183"/>
                    <a:pt x="221" y="183"/>
                    <a:pt x="221" y="183"/>
                  </a:cubicBezTo>
                  <a:cubicBezTo>
                    <a:pt x="221" y="182"/>
                    <a:pt x="221" y="182"/>
                    <a:pt x="221" y="182"/>
                  </a:cubicBezTo>
                  <a:cubicBezTo>
                    <a:pt x="220" y="182"/>
                    <a:pt x="220" y="182"/>
                    <a:pt x="220" y="182"/>
                  </a:cubicBezTo>
                  <a:cubicBezTo>
                    <a:pt x="220" y="181"/>
                    <a:pt x="220" y="181"/>
                    <a:pt x="220" y="181"/>
                  </a:cubicBezTo>
                  <a:cubicBezTo>
                    <a:pt x="220" y="181"/>
                    <a:pt x="220" y="181"/>
                    <a:pt x="220" y="181"/>
                  </a:cubicBezTo>
                  <a:cubicBezTo>
                    <a:pt x="220" y="181"/>
                    <a:pt x="220" y="181"/>
                    <a:pt x="219" y="181"/>
                  </a:cubicBezTo>
                  <a:cubicBezTo>
                    <a:pt x="219" y="180"/>
                    <a:pt x="219" y="180"/>
                    <a:pt x="219" y="180"/>
                  </a:cubicBezTo>
                  <a:cubicBezTo>
                    <a:pt x="219" y="180"/>
                    <a:pt x="219" y="180"/>
                    <a:pt x="219" y="180"/>
                  </a:cubicBezTo>
                  <a:cubicBezTo>
                    <a:pt x="218" y="179"/>
                    <a:pt x="218" y="179"/>
                    <a:pt x="218" y="179"/>
                  </a:cubicBezTo>
                  <a:cubicBezTo>
                    <a:pt x="218" y="179"/>
                    <a:pt x="218" y="179"/>
                    <a:pt x="218" y="179"/>
                  </a:cubicBezTo>
                  <a:cubicBezTo>
                    <a:pt x="218" y="178"/>
                    <a:pt x="218" y="178"/>
                    <a:pt x="218" y="178"/>
                  </a:cubicBezTo>
                  <a:cubicBezTo>
                    <a:pt x="218" y="177"/>
                    <a:pt x="218" y="177"/>
                    <a:pt x="218" y="177"/>
                  </a:cubicBezTo>
                  <a:cubicBezTo>
                    <a:pt x="218" y="177"/>
                    <a:pt x="218" y="177"/>
                    <a:pt x="218" y="177"/>
                  </a:cubicBezTo>
                  <a:cubicBezTo>
                    <a:pt x="218" y="176"/>
                    <a:pt x="218" y="176"/>
                    <a:pt x="218" y="176"/>
                  </a:cubicBezTo>
                  <a:cubicBezTo>
                    <a:pt x="218" y="175"/>
                    <a:pt x="218" y="175"/>
                    <a:pt x="218" y="175"/>
                  </a:cubicBezTo>
                  <a:cubicBezTo>
                    <a:pt x="218" y="175"/>
                    <a:pt x="218" y="175"/>
                    <a:pt x="218" y="174"/>
                  </a:cubicBezTo>
                  <a:cubicBezTo>
                    <a:pt x="218" y="174"/>
                    <a:pt x="218" y="173"/>
                    <a:pt x="218" y="173"/>
                  </a:cubicBezTo>
                  <a:cubicBezTo>
                    <a:pt x="218" y="172"/>
                    <a:pt x="218" y="172"/>
                    <a:pt x="217" y="171"/>
                  </a:cubicBezTo>
                  <a:cubicBezTo>
                    <a:pt x="213" y="150"/>
                    <a:pt x="209" y="129"/>
                    <a:pt x="206" y="108"/>
                  </a:cubicBezTo>
                  <a:cubicBezTo>
                    <a:pt x="206" y="108"/>
                    <a:pt x="206" y="108"/>
                    <a:pt x="206" y="108"/>
                  </a:cubicBezTo>
                  <a:cubicBezTo>
                    <a:pt x="205" y="107"/>
                    <a:pt x="205" y="107"/>
                    <a:pt x="205" y="107"/>
                  </a:cubicBezTo>
                  <a:cubicBezTo>
                    <a:pt x="203" y="106"/>
                    <a:pt x="203" y="106"/>
                    <a:pt x="203" y="106"/>
                  </a:cubicBezTo>
                  <a:cubicBezTo>
                    <a:pt x="203" y="106"/>
                    <a:pt x="203" y="106"/>
                    <a:pt x="203" y="106"/>
                  </a:cubicBezTo>
                  <a:cubicBezTo>
                    <a:pt x="203" y="106"/>
                    <a:pt x="203" y="106"/>
                    <a:pt x="203" y="106"/>
                  </a:cubicBezTo>
                  <a:cubicBezTo>
                    <a:pt x="202" y="105"/>
                    <a:pt x="202" y="105"/>
                    <a:pt x="202" y="105"/>
                  </a:cubicBezTo>
                  <a:cubicBezTo>
                    <a:pt x="201" y="104"/>
                    <a:pt x="201" y="104"/>
                    <a:pt x="201" y="104"/>
                  </a:cubicBezTo>
                  <a:cubicBezTo>
                    <a:pt x="200" y="104"/>
                    <a:pt x="200" y="104"/>
                    <a:pt x="200" y="104"/>
                  </a:cubicBezTo>
                  <a:cubicBezTo>
                    <a:pt x="199" y="103"/>
                    <a:pt x="199" y="103"/>
                    <a:pt x="199" y="103"/>
                  </a:cubicBezTo>
                  <a:cubicBezTo>
                    <a:pt x="198" y="102"/>
                    <a:pt x="198" y="102"/>
                    <a:pt x="198" y="102"/>
                  </a:cubicBezTo>
                  <a:cubicBezTo>
                    <a:pt x="198" y="102"/>
                    <a:pt x="198" y="102"/>
                    <a:pt x="198" y="102"/>
                  </a:cubicBezTo>
                  <a:cubicBezTo>
                    <a:pt x="197" y="102"/>
                    <a:pt x="197" y="102"/>
                    <a:pt x="197" y="102"/>
                  </a:cubicBezTo>
                  <a:cubicBezTo>
                    <a:pt x="197" y="102"/>
                    <a:pt x="197" y="102"/>
                    <a:pt x="197" y="102"/>
                  </a:cubicBezTo>
                  <a:cubicBezTo>
                    <a:pt x="197" y="102"/>
                    <a:pt x="197" y="102"/>
                    <a:pt x="197" y="102"/>
                  </a:cubicBezTo>
                  <a:cubicBezTo>
                    <a:pt x="197" y="102"/>
                    <a:pt x="197" y="102"/>
                    <a:pt x="197" y="102"/>
                  </a:cubicBezTo>
                  <a:cubicBezTo>
                    <a:pt x="196" y="102"/>
                    <a:pt x="196" y="102"/>
                    <a:pt x="196" y="102"/>
                  </a:cubicBezTo>
                  <a:cubicBezTo>
                    <a:pt x="195" y="102"/>
                    <a:pt x="195" y="102"/>
                    <a:pt x="195" y="102"/>
                  </a:cubicBezTo>
                  <a:cubicBezTo>
                    <a:pt x="195" y="102"/>
                    <a:pt x="195" y="102"/>
                    <a:pt x="195" y="102"/>
                  </a:cubicBezTo>
                  <a:cubicBezTo>
                    <a:pt x="195" y="102"/>
                    <a:pt x="195" y="102"/>
                    <a:pt x="195" y="102"/>
                  </a:cubicBezTo>
                  <a:cubicBezTo>
                    <a:pt x="193" y="102"/>
                    <a:pt x="193" y="102"/>
                    <a:pt x="193" y="102"/>
                  </a:cubicBezTo>
                  <a:cubicBezTo>
                    <a:pt x="193" y="102"/>
                    <a:pt x="193" y="102"/>
                    <a:pt x="193" y="102"/>
                  </a:cubicBezTo>
                  <a:cubicBezTo>
                    <a:pt x="192" y="102"/>
                    <a:pt x="192" y="102"/>
                    <a:pt x="192" y="102"/>
                  </a:cubicBezTo>
                  <a:cubicBezTo>
                    <a:pt x="191" y="103"/>
                    <a:pt x="191" y="103"/>
                    <a:pt x="191" y="103"/>
                  </a:cubicBezTo>
                  <a:cubicBezTo>
                    <a:pt x="191" y="104"/>
                    <a:pt x="191" y="104"/>
                    <a:pt x="191" y="104"/>
                  </a:cubicBezTo>
                  <a:cubicBezTo>
                    <a:pt x="191" y="104"/>
                    <a:pt x="191" y="104"/>
                    <a:pt x="191" y="104"/>
                  </a:cubicBezTo>
                  <a:cubicBezTo>
                    <a:pt x="191" y="104"/>
                    <a:pt x="191" y="104"/>
                    <a:pt x="191" y="104"/>
                  </a:cubicBezTo>
                  <a:cubicBezTo>
                    <a:pt x="190" y="105"/>
                    <a:pt x="190" y="105"/>
                    <a:pt x="190" y="105"/>
                  </a:cubicBezTo>
                  <a:cubicBezTo>
                    <a:pt x="190" y="105"/>
                    <a:pt x="190" y="105"/>
                    <a:pt x="190" y="105"/>
                  </a:cubicBezTo>
                  <a:cubicBezTo>
                    <a:pt x="190" y="106"/>
                    <a:pt x="190" y="106"/>
                    <a:pt x="190" y="106"/>
                  </a:cubicBezTo>
                  <a:cubicBezTo>
                    <a:pt x="190" y="106"/>
                    <a:pt x="190" y="106"/>
                    <a:pt x="190" y="106"/>
                  </a:cubicBezTo>
                  <a:cubicBezTo>
                    <a:pt x="190" y="106"/>
                    <a:pt x="190" y="106"/>
                    <a:pt x="190" y="106"/>
                  </a:cubicBezTo>
                  <a:cubicBezTo>
                    <a:pt x="189" y="106"/>
                    <a:pt x="189" y="106"/>
                    <a:pt x="189" y="106"/>
                  </a:cubicBezTo>
                  <a:cubicBezTo>
                    <a:pt x="189" y="106"/>
                    <a:pt x="189" y="106"/>
                    <a:pt x="189" y="106"/>
                  </a:cubicBezTo>
                  <a:cubicBezTo>
                    <a:pt x="189" y="107"/>
                    <a:pt x="189" y="107"/>
                    <a:pt x="189" y="107"/>
                  </a:cubicBezTo>
                  <a:cubicBezTo>
                    <a:pt x="189" y="107"/>
                    <a:pt x="189" y="107"/>
                    <a:pt x="189" y="107"/>
                  </a:cubicBezTo>
                  <a:cubicBezTo>
                    <a:pt x="188" y="107"/>
                    <a:pt x="188" y="107"/>
                    <a:pt x="188" y="107"/>
                  </a:cubicBezTo>
                  <a:cubicBezTo>
                    <a:pt x="188" y="107"/>
                    <a:pt x="188" y="107"/>
                    <a:pt x="188" y="107"/>
                  </a:cubicBezTo>
                  <a:cubicBezTo>
                    <a:pt x="187" y="108"/>
                    <a:pt x="187" y="108"/>
                    <a:pt x="187" y="108"/>
                  </a:cubicBezTo>
                  <a:cubicBezTo>
                    <a:pt x="187" y="109"/>
                    <a:pt x="187" y="109"/>
                    <a:pt x="187" y="109"/>
                  </a:cubicBezTo>
                  <a:cubicBezTo>
                    <a:pt x="187" y="110"/>
                    <a:pt x="187" y="110"/>
                    <a:pt x="187" y="110"/>
                  </a:cubicBezTo>
                  <a:cubicBezTo>
                    <a:pt x="187" y="110"/>
                    <a:pt x="187" y="110"/>
                    <a:pt x="187" y="110"/>
                  </a:cubicBezTo>
                  <a:cubicBezTo>
                    <a:pt x="187" y="109"/>
                    <a:pt x="187" y="109"/>
                    <a:pt x="187" y="109"/>
                  </a:cubicBezTo>
                  <a:cubicBezTo>
                    <a:pt x="187" y="109"/>
                    <a:pt x="187" y="109"/>
                    <a:pt x="187" y="109"/>
                  </a:cubicBezTo>
                  <a:cubicBezTo>
                    <a:pt x="187" y="109"/>
                    <a:pt x="187" y="109"/>
                    <a:pt x="187" y="109"/>
                  </a:cubicBezTo>
                  <a:cubicBezTo>
                    <a:pt x="187" y="109"/>
                    <a:pt x="187" y="109"/>
                    <a:pt x="187" y="109"/>
                  </a:cubicBezTo>
                  <a:cubicBezTo>
                    <a:pt x="187" y="109"/>
                    <a:pt x="187" y="109"/>
                    <a:pt x="187" y="109"/>
                  </a:cubicBezTo>
                  <a:cubicBezTo>
                    <a:pt x="187" y="109"/>
                    <a:pt x="187" y="109"/>
                    <a:pt x="187" y="109"/>
                  </a:cubicBezTo>
                  <a:cubicBezTo>
                    <a:pt x="186" y="109"/>
                    <a:pt x="186" y="109"/>
                    <a:pt x="186" y="109"/>
                  </a:cubicBezTo>
                  <a:cubicBezTo>
                    <a:pt x="186" y="109"/>
                    <a:pt x="186" y="109"/>
                    <a:pt x="186" y="109"/>
                  </a:cubicBezTo>
                  <a:cubicBezTo>
                    <a:pt x="186" y="109"/>
                    <a:pt x="186" y="109"/>
                    <a:pt x="186" y="109"/>
                  </a:cubicBezTo>
                  <a:cubicBezTo>
                    <a:pt x="186" y="109"/>
                    <a:pt x="186" y="109"/>
                    <a:pt x="186" y="109"/>
                  </a:cubicBezTo>
                  <a:cubicBezTo>
                    <a:pt x="186" y="108"/>
                    <a:pt x="186" y="108"/>
                    <a:pt x="186" y="108"/>
                  </a:cubicBezTo>
                  <a:cubicBezTo>
                    <a:pt x="187" y="108"/>
                    <a:pt x="187" y="108"/>
                    <a:pt x="187" y="108"/>
                  </a:cubicBezTo>
                  <a:cubicBezTo>
                    <a:pt x="187" y="108"/>
                    <a:pt x="187" y="108"/>
                    <a:pt x="187" y="108"/>
                  </a:cubicBezTo>
                  <a:cubicBezTo>
                    <a:pt x="187" y="107"/>
                    <a:pt x="187" y="107"/>
                    <a:pt x="187" y="107"/>
                  </a:cubicBezTo>
                  <a:cubicBezTo>
                    <a:pt x="187" y="107"/>
                    <a:pt x="187" y="107"/>
                    <a:pt x="187" y="107"/>
                  </a:cubicBezTo>
                  <a:cubicBezTo>
                    <a:pt x="188" y="106"/>
                    <a:pt x="188" y="106"/>
                    <a:pt x="188" y="106"/>
                  </a:cubicBezTo>
                  <a:cubicBezTo>
                    <a:pt x="189" y="106"/>
                    <a:pt x="189" y="106"/>
                    <a:pt x="189" y="106"/>
                  </a:cubicBezTo>
                  <a:cubicBezTo>
                    <a:pt x="189" y="106"/>
                    <a:pt x="189" y="106"/>
                    <a:pt x="189" y="106"/>
                  </a:cubicBezTo>
                  <a:cubicBezTo>
                    <a:pt x="189" y="105"/>
                    <a:pt x="189" y="105"/>
                    <a:pt x="189" y="105"/>
                  </a:cubicBezTo>
                  <a:cubicBezTo>
                    <a:pt x="189" y="105"/>
                    <a:pt x="189" y="105"/>
                    <a:pt x="189" y="105"/>
                  </a:cubicBezTo>
                  <a:cubicBezTo>
                    <a:pt x="189" y="105"/>
                    <a:pt x="189" y="105"/>
                    <a:pt x="189" y="105"/>
                  </a:cubicBezTo>
                  <a:cubicBezTo>
                    <a:pt x="189" y="105"/>
                    <a:pt x="189" y="105"/>
                    <a:pt x="189" y="105"/>
                  </a:cubicBezTo>
                  <a:cubicBezTo>
                    <a:pt x="189" y="104"/>
                    <a:pt x="189" y="104"/>
                    <a:pt x="189" y="104"/>
                  </a:cubicBezTo>
                  <a:cubicBezTo>
                    <a:pt x="189" y="104"/>
                    <a:pt x="189" y="104"/>
                    <a:pt x="189" y="104"/>
                  </a:cubicBezTo>
                  <a:cubicBezTo>
                    <a:pt x="190" y="103"/>
                    <a:pt x="190" y="103"/>
                    <a:pt x="190" y="103"/>
                  </a:cubicBezTo>
                  <a:cubicBezTo>
                    <a:pt x="190" y="103"/>
                    <a:pt x="190" y="103"/>
                    <a:pt x="190" y="103"/>
                  </a:cubicBezTo>
                  <a:cubicBezTo>
                    <a:pt x="192" y="102"/>
                    <a:pt x="192" y="102"/>
                    <a:pt x="192" y="102"/>
                  </a:cubicBezTo>
                  <a:cubicBezTo>
                    <a:pt x="192" y="102"/>
                    <a:pt x="192" y="102"/>
                    <a:pt x="192" y="102"/>
                  </a:cubicBezTo>
                  <a:cubicBezTo>
                    <a:pt x="192" y="101"/>
                    <a:pt x="192" y="101"/>
                    <a:pt x="192" y="101"/>
                  </a:cubicBezTo>
                  <a:cubicBezTo>
                    <a:pt x="192" y="101"/>
                    <a:pt x="192" y="101"/>
                    <a:pt x="192" y="101"/>
                  </a:cubicBezTo>
                  <a:cubicBezTo>
                    <a:pt x="192" y="100"/>
                    <a:pt x="192" y="100"/>
                    <a:pt x="192" y="100"/>
                  </a:cubicBezTo>
                  <a:cubicBezTo>
                    <a:pt x="192" y="99"/>
                    <a:pt x="192" y="99"/>
                    <a:pt x="192" y="99"/>
                  </a:cubicBezTo>
                  <a:cubicBezTo>
                    <a:pt x="192" y="99"/>
                    <a:pt x="192" y="99"/>
                    <a:pt x="192" y="99"/>
                  </a:cubicBezTo>
                  <a:cubicBezTo>
                    <a:pt x="191" y="99"/>
                    <a:pt x="191" y="99"/>
                    <a:pt x="191" y="99"/>
                  </a:cubicBezTo>
                  <a:cubicBezTo>
                    <a:pt x="191" y="99"/>
                    <a:pt x="191" y="99"/>
                    <a:pt x="191" y="99"/>
                  </a:cubicBezTo>
                  <a:cubicBezTo>
                    <a:pt x="191" y="99"/>
                    <a:pt x="191" y="99"/>
                    <a:pt x="191" y="99"/>
                  </a:cubicBezTo>
                  <a:cubicBezTo>
                    <a:pt x="191" y="98"/>
                    <a:pt x="191" y="98"/>
                    <a:pt x="191" y="98"/>
                  </a:cubicBezTo>
                  <a:cubicBezTo>
                    <a:pt x="190" y="98"/>
                    <a:pt x="190" y="98"/>
                    <a:pt x="190" y="98"/>
                  </a:cubicBezTo>
                  <a:cubicBezTo>
                    <a:pt x="190" y="97"/>
                    <a:pt x="190" y="97"/>
                    <a:pt x="190" y="97"/>
                  </a:cubicBezTo>
                  <a:cubicBezTo>
                    <a:pt x="190" y="96"/>
                    <a:pt x="190" y="96"/>
                    <a:pt x="190" y="96"/>
                  </a:cubicBezTo>
                  <a:cubicBezTo>
                    <a:pt x="189" y="95"/>
                    <a:pt x="189" y="95"/>
                    <a:pt x="189" y="95"/>
                  </a:cubicBezTo>
                  <a:cubicBezTo>
                    <a:pt x="189" y="95"/>
                    <a:pt x="189" y="95"/>
                    <a:pt x="189" y="95"/>
                  </a:cubicBezTo>
                  <a:cubicBezTo>
                    <a:pt x="189" y="95"/>
                    <a:pt x="189" y="95"/>
                    <a:pt x="189" y="95"/>
                  </a:cubicBezTo>
                  <a:cubicBezTo>
                    <a:pt x="189" y="95"/>
                    <a:pt x="189" y="95"/>
                    <a:pt x="189" y="95"/>
                  </a:cubicBezTo>
                  <a:cubicBezTo>
                    <a:pt x="189" y="95"/>
                    <a:pt x="189" y="95"/>
                    <a:pt x="189" y="95"/>
                  </a:cubicBezTo>
                  <a:cubicBezTo>
                    <a:pt x="189" y="94"/>
                    <a:pt x="189" y="94"/>
                    <a:pt x="189" y="94"/>
                  </a:cubicBezTo>
                  <a:cubicBezTo>
                    <a:pt x="188" y="94"/>
                    <a:pt x="188" y="94"/>
                    <a:pt x="188" y="94"/>
                  </a:cubicBezTo>
                  <a:cubicBezTo>
                    <a:pt x="188" y="94"/>
                    <a:pt x="188" y="94"/>
                    <a:pt x="188" y="94"/>
                  </a:cubicBezTo>
                  <a:cubicBezTo>
                    <a:pt x="188" y="94"/>
                    <a:pt x="188" y="94"/>
                    <a:pt x="188" y="94"/>
                  </a:cubicBezTo>
                  <a:cubicBezTo>
                    <a:pt x="188" y="94"/>
                    <a:pt x="188" y="94"/>
                    <a:pt x="188" y="94"/>
                  </a:cubicBezTo>
                  <a:cubicBezTo>
                    <a:pt x="187" y="93"/>
                    <a:pt x="187" y="93"/>
                    <a:pt x="187" y="93"/>
                  </a:cubicBezTo>
                  <a:cubicBezTo>
                    <a:pt x="187" y="93"/>
                    <a:pt x="187" y="93"/>
                    <a:pt x="187" y="93"/>
                  </a:cubicBezTo>
                  <a:cubicBezTo>
                    <a:pt x="187" y="93"/>
                    <a:pt x="187" y="93"/>
                    <a:pt x="187" y="93"/>
                  </a:cubicBezTo>
                  <a:cubicBezTo>
                    <a:pt x="186" y="92"/>
                    <a:pt x="186" y="92"/>
                    <a:pt x="186" y="92"/>
                  </a:cubicBezTo>
                  <a:cubicBezTo>
                    <a:pt x="186" y="92"/>
                    <a:pt x="186" y="92"/>
                    <a:pt x="186" y="92"/>
                  </a:cubicBezTo>
                  <a:cubicBezTo>
                    <a:pt x="185" y="92"/>
                    <a:pt x="185" y="92"/>
                    <a:pt x="185" y="92"/>
                  </a:cubicBezTo>
                  <a:cubicBezTo>
                    <a:pt x="185" y="92"/>
                    <a:pt x="185" y="92"/>
                    <a:pt x="185" y="92"/>
                  </a:cubicBezTo>
                  <a:cubicBezTo>
                    <a:pt x="185" y="92"/>
                    <a:pt x="185" y="92"/>
                    <a:pt x="185" y="92"/>
                  </a:cubicBezTo>
                  <a:cubicBezTo>
                    <a:pt x="185" y="92"/>
                    <a:pt x="185" y="92"/>
                    <a:pt x="185" y="92"/>
                  </a:cubicBezTo>
                  <a:cubicBezTo>
                    <a:pt x="185" y="91"/>
                    <a:pt x="185" y="91"/>
                    <a:pt x="185" y="91"/>
                  </a:cubicBezTo>
                  <a:cubicBezTo>
                    <a:pt x="185" y="91"/>
                    <a:pt x="185" y="91"/>
                    <a:pt x="185" y="91"/>
                  </a:cubicBezTo>
                  <a:cubicBezTo>
                    <a:pt x="185" y="92"/>
                    <a:pt x="185" y="92"/>
                    <a:pt x="185" y="92"/>
                  </a:cubicBezTo>
                  <a:cubicBezTo>
                    <a:pt x="185" y="92"/>
                    <a:pt x="185" y="92"/>
                    <a:pt x="185" y="92"/>
                  </a:cubicBezTo>
                  <a:cubicBezTo>
                    <a:pt x="184" y="91"/>
                    <a:pt x="184" y="91"/>
                    <a:pt x="184" y="91"/>
                  </a:cubicBezTo>
                  <a:cubicBezTo>
                    <a:pt x="184" y="91"/>
                    <a:pt x="184" y="91"/>
                    <a:pt x="184" y="91"/>
                  </a:cubicBezTo>
                  <a:cubicBezTo>
                    <a:pt x="184" y="91"/>
                    <a:pt x="184" y="91"/>
                    <a:pt x="184" y="91"/>
                  </a:cubicBezTo>
                  <a:cubicBezTo>
                    <a:pt x="184" y="91"/>
                    <a:pt x="184" y="91"/>
                    <a:pt x="184" y="91"/>
                  </a:cubicBezTo>
                  <a:cubicBezTo>
                    <a:pt x="183" y="90"/>
                    <a:pt x="183" y="90"/>
                    <a:pt x="183" y="90"/>
                  </a:cubicBezTo>
                  <a:cubicBezTo>
                    <a:pt x="183" y="90"/>
                    <a:pt x="183" y="90"/>
                    <a:pt x="183" y="90"/>
                  </a:cubicBezTo>
                  <a:cubicBezTo>
                    <a:pt x="183" y="89"/>
                    <a:pt x="183" y="89"/>
                    <a:pt x="183" y="89"/>
                  </a:cubicBezTo>
                  <a:cubicBezTo>
                    <a:pt x="183" y="89"/>
                    <a:pt x="183" y="89"/>
                    <a:pt x="183" y="89"/>
                  </a:cubicBezTo>
                  <a:cubicBezTo>
                    <a:pt x="182" y="89"/>
                    <a:pt x="182" y="89"/>
                    <a:pt x="182" y="89"/>
                  </a:cubicBezTo>
                  <a:cubicBezTo>
                    <a:pt x="181" y="89"/>
                    <a:pt x="181" y="89"/>
                    <a:pt x="181" y="89"/>
                  </a:cubicBezTo>
                  <a:cubicBezTo>
                    <a:pt x="181" y="89"/>
                    <a:pt x="181" y="89"/>
                    <a:pt x="181" y="89"/>
                  </a:cubicBezTo>
                  <a:cubicBezTo>
                    <a:pt x="181" y="89"/>
                    <a:pt x="181" y="89"/>
                    <a:pt x="181" y="89"/>
                  </a:cubicBezTo>
                  <a:cubicBezTo>
                    <a:pt x="181" y="89"/>
                    <a:pt x="181" y="89"/>
                    <a:pt x="181" y="89"/>
                  </a:cubicBezTo>
                  <a:cubicBezTo>
                    <a:pt x="180" y="89"/>
                    <a:pt x="180" y="89"/>
                    <a:pt x="180" y="89"/>
                  </a:cubicBezTo>
                  <a:cubicBezTo>
                    <a:pt x="179" y="89"/>
                    <a:pt x="179" y="89"/>
                    <a:pt x="179" y="89"/>
                  </a:cubicBezTo>
                  <a:cubicBezTo>
                    <a:pt x="179" y="88"/>
                    <a:pt x="179" y="88"/>
                    <a:pt x="179" y="88"/>
                  </a:cubicBezTo>
                  <a:cubicBezTo>
                    <a:pt x="178" y="88"/>
                    <a:pt x="178" y="88"/>
                    <a:pt x="178" y="88"/>
                  </a:cubicBezTo>
                  <a:cubicBezTo>
                    <a:pt x="177" y="88"/>
                    <a:pt x="177" y="88"/>
                    <a:pt x="177" y="88"/>
                  </a:cubicBezTo>
                  <a:cubicBezTo>
                    <a:pt x="176" y="86"/>
                    <a:pt x="176" y="86"/>
                    <a:pt x="176" y="86"/>
                  </a:cubicBezTo>
                  <a:cubicBezTo>
                    <a:pt x="176" y="86"/>
                    <a:pt x="176" y="86"/>
                    <a:pt x="176" y="86"/>
                  </a:cubicBezTo>
                  <a:cubicBezTo>
                    <a:pt x="175" y="86"/>
                    <a:pt x="175" y="86"/>
                    <a:pt x="175" y="86"/>
                  </a:cubicBezTo>
                  <a:cubicBezTo>
                    <a:pt x="172" y="86"/>
                    <a:pt x="172" y="86"/>
                    <a:pt x="172" y="86"/>
                  </a:cubicBezTo>
                  <a:cubicBezTo>
                    <a:pt x="172" y="86"/>
                    <a:pt x="172" y="86"/>
                    <a:pt x="172" y="86"/>
                  </a:cubicBezTo>
                  <a:cubicBezTo>
                    <a:pt x="172" y="87"/>
                    <a:pt x="172" y="87"/>
                    <a:pt x="172" y="87"/>
                  </a:cubicBezTo>
                  <a:cubicBezTo>
                    <a:pt x="171" y="87"/>
                    <a:pt x="171" y="87"/>
                    <a:pt x="171" y="87"/>
                  </a:cubicBezTo>
                  <a:cubicBezTo>
                    <a:pt x="171" y="87"/>
                    <a:pt x="171" y="87"/>
                    <a:pt x="171" y="87"/>
                  </a:cubicBezTo>
                  <a:cubicBezTo>
                    <a:pt x="171" y="87"/>
                    <a:pt x="171" y="87"/>
                    <a:pt x="171" y="87"/>
                  </a:cubicBezTo>
                  <a:cubicBezTo>
                    <a:pt x="171" y="87"/>
                    <a:pt x="171" y="87"/>
                    <a:pt x="171" y="87"/>
                  </a:cubicBezTo>
                  <a:cubicBezTo>
                    <a:pt x="171" y="86"/>
                    <a:pt x="171" y="86"/>
                    <a:pt x="171" y="86"/>
                  </a:cubicBezTo>
                  <a:cubicBezTo>
                    <a:pt x="171" y="86"/>
                    <a:pt x="171" y="86"/>
                    <a:pt x="171" y="86"/>
                  </a:cubicBezTo>
                  <a:cubicBezTo>
                    <a:pt x="171" y="86"/>
                    <a:pt x="171" y="86"/>
                    <a:pt x="171" y="86"/>
                  </a:cubicBezTo>
                  <a:cubicBezTo>
                    <a:pt x="171" y="86"/>
                    <a:pt x="171" y="86"/>
                    <a:pt x="171" y="86"/>
                  </a:cubicBezTo>
                  <a:cubicBezTo>
                    <a:pt x="171" y="86"/>
                    <a:pt x="171" y="86"/>
                    <a:pt x="171" y="86"/>
                  </a:cubicBezTo>
                  <a:cubicBezTo>
                    <a:pt x="171" y="86"/>
                    <a:pt x="171" y="86"/>
                    <a:pt x="171" y="86"/>
                  </a:cubicBezTo>
                  <a:cubicBezTo>
                    <a:pt x="171" y="86"/>
                    <a:pt x="171" y="86"/>
                    <a:pt x="171" y="86"/>
                  </a:cubicBezTo>
                  <a:cubicBezTo>
                    <a:pt x="172" y="86"/>
                    <a:pt x="172" y="86"/>
                    <a:pt x="172" y="86"/>
                  </a:cubicBezTo>
                  <a:cubicBezTo>
                    <a:pt x="172" y="86"/>
                    <a:pt x="172" y="86"/>
                    <a:pt x="172" y="86"/>
                  </a:cubicBezTo>
                  <a:cubicBezTo>
                    <a:pt x="172" y="86"/>
                    <a:pt x="172" y="86"/>
                    <a:pt x="172" y="86"/>
                  </a:cubicBezTo>
                  <a:cubicBezTo>
                    <a:pt x="172" y="86"/>
                    <a:pt x="172" y="86"/>
                    <a:pt x="172" y="86"/>
                  </a:cubicBezTo>
                  <a:cubicBezTo>
                    <a:pt x="172" y="85"/>
                    <a:pt x="172" y="85"/>
                    <a:pt x="172" y="85"/>
                  </a:cubicBezTo>
                  <a:cubicBezTo>
                    <a:pt x="172" y="85"/>
                    <a:pt x="172" y="85"/>
                    <a:pt x="172" y="85"/>
                  </a:cubicBezTo>
                  <a:cubicBezTo>
                    <a:pt x="174" y="84"/>
                    <a:pt x="174" y="84"/>
                    <a:pt x="174" y="84"/>
                  </a:cubicBezTo>
                  <a:cubicBezTo>
                    <a:pt x="174" y="84"/>
                    <a:pt x="174" y="84"/>
                    <a:pt x="174" y="84"/>
                  </a:cubicBezTo>
                  <a:cubicBezTo>
                    <a:pt x="175" y="84"/>
                    <a:pt x="175" y="84"/>
                    <a:pt x="175" y="84"/>
                  </a:cubicBezTo>
                  <a:cubicBezTo>
                    <a:pt x="175" y="84"/>
                    <a:pt x="175" y="84"/>
                    <a:pt x="175" y="84"/>
                  </a:cubicBezTo>
                  <a:cubicBezTo>
                    <a:pt x="175" y="84"/>
                    <a:pt x="175" y="84"/>
                    <a:pt x="175" y="84"/>
                  </a:cubicBezTo>
                  <a:cubicBezTo>
                    <a:pt x="174" y="84"/>
                    <a:pt x="174" y="84"/>
                    <a:pt x="174" y="84"/>
                  </a:cubicBezTo>
                  <a:cubicBezTo>
                    <a:pt x="174" y="83"/>
                    <a:pt x="174" y="83"/>
                    <a:pt x="174" y="83"/>
                  </a:cubicBezTo>
                  <a:cubicBezTo>
                    <a:pt x="174" y="83"/>
                    <a:pt x="174" y="83"/>
                    <a:pt x="174" y="83"/>
                  </a:cubicBezTo>
                  <a:cubicBezTo>
                    <a:pt x="174" y="82"/>
                    <a:pt x="174" y="82"/>
                    <a:pt x="174" y="82"/>
                  </a:cubicBezTo>
                  <a:cubicBezTo>
                    <a:pt x="174" y="82"/>
                    <a:pt x="174" y="82"/>
                    <a:pt x="174" y="82"/>
                  </a:cubicBezTo>
                  <a:cubicBezTo>
                    <a:pt x="174" y="81"/>
                    <a:pt x="174" y="81"/>
                    <a:pt x="174" y="81"/>
                  </a:cubicBezTo>
                  <a:cubicBezTo>
                    <a:pt x="174" y="81"/>
                    <a:pt x="174" y="81"/>
                    <a:pt x="174" y="81"/>
                  </a:cubicBezTo>
                  <a:cubicBezTo>
                    <a:pt x="173" y="80"/>
                    <a:pt x="173" y="80"/>
                    <a:pt x="173" y="80"/>
                  </a:cubicBezTo>
                  <a:cubicBezTo>
                    <a:pt x="172" y="80"/>
                    <a:pt x="172" y="80"/>
                    <a:pt x="172" y="80"/>
                  </a:cubicBezTo>
                  <a:cubicBezTo>
                    <a:pt x="172" y="80"/>
                    <a:pt x="172" y="80"/>
                    <a:pt x="172" y="80"/>
                  </a:cubicBezTo>
                  <a:cubicBezTo>
                    <a:pt x="170" y="78"/>
                    <a:pt x="170" y="78"/>
                    <a:pt x="170" y="78"/>
                  </a:cubicBezTo>
                  <a:cubicBezTo>
                    <a:pt x="169" y="78"/>
                    <a:pt x="169" y="78"/>
                    <a:pt x="169" y="78"/>
                  </a:cubicBezTo>
                  <a:cubicBezTo>
                    <a:pt x="169" y="78"/>
                    <a:pt x="169" y="78"/>
                    <a:pt x="169" y="78"/>
                  </a:cubicBezTo>
                  <a:cubicBezTo>
                    <a:pt x="169" y="77"/>
                    <a:pt x="169" y="77"/>
                    <a:pt x="169" y="77"/>
                  </a:cubicBezTo>
                  <a:cubicBezTo>
                    <a:pt x="168" y="76"/>
                    <a:pt x="168" y="76"/>
                    <a:pt x="168" y="76"/>
                  </a:cubicBezTo>
                  <a:cubicBezTo>
                    <a:pt x="167" y="76"/>
                    <a:pt x="167" y="76"/>
                    <a:pt x="167" y="76"/>
                  </a:cubicBezTo>
                  <a:cubicBezTo>
                    <a:pt x="167" y="75"/>
                    <a:pt x="167" y="75"/>
                    <a:pt x="167" y="75"/>
                  </a:cubicBezTo>
                  <a:cubicBezTo>
                    <a:pt x="167" y="75"/>
                    <a:pt x="167" y="75"/>
                    <a:pt x="167" y="75"/>
                  </a:cubicBezTo>
                  <a:cubicBezTo>
                    <a:pt x="166" y="74"/>
                    <a:pt x="166" y="74"/>
                    <a:pt x="166" y="74"/>
                  </a:cubicBezTo>
                  <a:cubicBezTo>
                    <a:pt x="165" y="73"/>
                    <a:pt x="165" y="73"/>
                    <a:pt x="165" y="73"/>
                  </a:cubicBezTo>
                  <a:cubicBezTo>
                    <a:pt x="165" y="73"/>
                    <a:pt x="165" y="73"/>
                    <a:pt x="165" y="73"/>
                  </a:cubicBezTo>
                  <a:cubicBezTo>
                    <a:pt x="165" y="73"/>
                    <a:pt x="165" y="73"/>
                    <a:pt x="165" y="73"/>
                  </a:cubicBezTo>
                  <a:cubicBezTo>
                    <a:pt x="164" y="73"/>
                    <a:pt x="164" y="73"/>
                    <a:pt x="164" y="73"/>
                  </a:cubicBezTo>
                  <a:cubicBezTo>
                    <a:pt x="164" y="73"/>
                    <a:pt x="164" y="73"/>
                    <a:pt x="164" y="73"/>
                  </a:cubicBezTo>
                  <a:cubicBezTo>
                    <a:pt x="164" y="73"/>
                    <a:pt x="164" y="73"/>
                    <a:pt x="164" y="73"/>
                  </a:cubicBezTo>
                  <a:cubicBezTo>
                    <a:pt x="164" y="73"/>
                    <a:pt x="164" y="73"/>
                    <a:pt x="164" y="73"/>
                  </a:cubicBezTo>
                  <a:cubicBezTo>
                    <a:pt x="163" y="72"/>
                    <a:pt x="163" y="72"/>
                    <a:pt x="163" y="72"/>
                  </a:cubicBezTo>
                  <a:cubicBezTo>
                    <a:pt x="163" y="72"/>
                    <a:pt x="163" y="72"/>
                    <a:pt x="163" y="72"/>
                  </a:cubicBezTo>
                  <a:cubicBezTo>
                    <a:pt x="163" y="72"/>
                    <a:pt x="163" y="72"/>
                    <a:pt x="163" y="72"/>
                  </a:cubicBezTo>
                  <a:cubicBezTo>
                    <a:pt x="163" y="72"/>
                    <a:pt x="163" y="72"/>
                    <a:pt x="163" y="72"/>
                  </a:cubicBezTo>
                  <a:cubicBezTo>
                    <a:pt x="163" y="71"/>
                    <a:pt x="163" y="71"/>
                    <a:pt x="163" y="71"/>
                  </a:cubicBezTo>
                  <a:cubicBezTo>
                    <a:pt x="163" y="71"/>
                    <a:pt x="163" y="71"/>
                    <a:pt x="163" y="71"/>
                  </a:cubicBezTo>
                  <a:cubicBezTo>
                    <a:pt x="162" y="71"/>
                    <a:pt x="162" y="71"/>
                    <a:pt x="162" y="71"/>
                  </a:cubicBezTo>
                  <a:cubicBezTo>
                    <a:pt x="162" y="69"/>
                    <a:pt x="162" y="69"/>
                    <a:pt x="162" y="69"/>
                  </a:cubicBezTo>
                  <a:cubicBezTo>
                    <a:pt x="162" y="68"/>
                    <a:pt x="162" y="68"/>
                    <a:pt x="162" y="68"/>
                  </a:cubicBezTo>
                  <a:cubicBezTo>
                    <a:pt x="163" y="67"/>
                    <a:pt x="163" y="67"/>
                    <a:pt x="163" y="67"/>
                  </a:cubicBezTo>
                  <a:cubicBezTo>
                    <a:pt x="163" y="67"/>
                    <a:pt x="163" y="67"/>
                    <a:pt x="163" y="67"/>
                  </a:cubicBezTo>
                  <a:cubicBezTo>
                    <a:pt x="163" y="67"/>
                    <a:pt x="163" y="67"/>
                    <a:pt x="163" y="67"/>
                  </a:cubicBezTo>
                  <a:cubicBezTo>
                    <a:pt x="163" y="67"/>
                    <a:pt x="163" y="67"/>
                    <a:pt x="163" y="67"/>
                  </a:cubicBezTo>
                  <a:cubicBezTo>
                    <a:pt x="163" y="66"/>
                    <a:pt x="163" y="66"/>
                    <a:pt x="163" y="66"/>
                  </a:cubicBezTo>
                  <a:cubicBezTo>
                    <a:pt x="163" y="66"/>
                    <a:pt x="163" y="66"/>
                    <a:pt x="163" y="66"/>
                  </a:cubicBezTo>
                  <a:cubicBezTo>
                    <a:pt x="164" y="66"/>
                    <a:pt x="164" y="66"/>
                    <a:pt x="164" y="66"/>
                  </a:cubicBezTo>
                  <a:cubicBezTo>
                    <a:pt x="164" y="65"/>
                    <a:pt x="164" y="65"/>
                    <a:pt x="164" y="65"/>
                  </a:cubicBezTo>
                  <a:cubicBezTo>
                    <a:pt x="164" y="65"/>
                    <a:pt x="164" y="65"/>
                    <a:pt x="164" y="65"/>
                  </a:cubicBezTo>
                  <a:cubicBezTo>
                    <a:pt x="164" y="65"/>
                    <a:pt x="164" y="65"/>
                    <a:pt x="164" y="65"/>
                  </a:cubicBezTo>
                  <a:cubicBezTo>
                    <a:pt x="163" y="62"/>
                    <a:pt x="163" y="62"/>
                    <a:pt x="163" y="62"/>
                  </a:cubicBezTo>
                  <a:cubicBezTo>
                    <a:pt x="163" y="62"/>
                    <a:pt x="163" y="62"/>
                    <a:pt x="163" y="62"/>
                  </a:cubicBezTo>
                  <a:cubicBezTo>
                    <a:pt x="162" y="61"/>
                    <a:pt x="162" y="61"/>
                    <a:pt x="162" y="61"/>
                  </a:cubicBezTo>
                  <a:cubicBezTo>
                    <a:pt x="162" y="61"/>
                    <a:pt x="162" y="61"/>
                    <a:pt x="162" y="61"/>
                  </a:cubicBezTo>
                  <a:cubicBezTo>
                    <a:pt x="162" y="60"/>
                    <a:pt x="162" y="60"/>
                    <a:pt x="162" y="60"/>
                  </a:cubicBezTo>
                  <a:cubicBezTo>
                    <a:pt x="162" y="60"/>
                    <a:pt x="162" y="60"/>
                    <a:pt x="162" y="60"/>
                  </a:cubicBezTo>
                  <a:cubicBezTo>
                    <a:pt x="162" y="60"/>
                    <a:pt x="162" y="60"/>
                    <a:pt x="162" y="60"/>
                  </a:cubicBezTo>
                  <a:cubicBezTo>
                    <a:pt x="162" y="59"/>
                    <a:pt x="162" y="59"/>
                    <a:pt x="162" y="59"/>
                  </a:cubicBezTo>
                  <a:cubicBezTo>
                    <a:pt x="162" y="59"/>
                    <a:pt x="162" y="59"/>
                    <a:pt x="162" y="59"/>
                  </a:cubicBezTo>
                  <a:cubicBezTo>
                    <a:pt x="162" y="59"/>
                    <a:pt x="162" y="59"/>
                    <a:pt x="162" y="59"/>
                  </a:cubicBezTo>
                  <a:cubicBezTo>
                    <a:pt x="162" y="58"/>
                    <a:pt x="162" y="58"/>
                    <a:pt x="162" y="58"/>
                  </a:cubicBezTo>
                  <a:cubicBezTo>
                    <a:pt x="162" y="58"/>
                    <a:pt x="162" y="58"/>
                    <a:pt x="162" y="58"/>
                  </a:cubicBezTo>
                  <a:cubicBezTo>
                    <a:pt x="162" y="57"/>
                    <a:pt x="162" y="57"/>
                    <a:pt x="162" y="57"/>
                  </a:cubicBezTo>
                  <a:cubicBezTo>
                    <a:pt x="162" y="57"/>
                    <a:pt x="162" y="57"/>
                    <a:pt x="162" y="57"/>
                  </a:cubicBezTo>
                  <a:cubicBezTo>
                    <a:pt x="162" y="56"/>
                    <a:pt x="162" y="56"/>
                    <a:pt x="162" y="56"/>
                  </a:cubicBezTo>
                  <a:cubicBezTo>
                    <a:pt x="162" y="56"/>
                    <a:pt x="162" y="56"/>
                    <a:pt x="162" y="56"/>
                  </a:cubicBezTo>
                  <a:cubicBezTo>
                    <a:pt x="162" y="55"/>
                    <a:pt x="162" y="55"/>
                    <a:pt x="162" y="55"/>
                  </a:cubicBezTo>
                  <a:cubicBezTo>
                    <a:pt x="162" y="54"/>
                    <a:pt x="162" y="54"/>
                    <a:pt x="162" y="54"/>
                  </a:cubicBezTo>
                  <a:cubicBezTo>
                    <a:pt x="162" y="54"/>
                    <a:pt x="162" y="54"/>
                    <a:pt x="162" y="54"/>
                  </a:cubicBezTo>
                  <a:cubicBezTo>
                    <a:pt x="162" y="54"/>
                    <a:pt x="162" y="54"/>
                    <a:pt x="162" y="54"/>
                  </a:cubicBezTo>
                  <a:cubicBezTo>
                    <a:pt x="161" y="53"/>
                    <a:pt x="161" y="53"/>
                    <a:pt x="161" y="53"/>
                  </a:cubicBezTo>
                  <a:cubicBezTo>
                    <a:pt x="161" y="52"/>
                    <a:pt x="161" y="52"/>
                    <a:pt x="161" y="52"/>
                  </a:cubicBezTo>
                  <a:cubicBezTo>
                    <a:pt x="161" y="52"/>
                    <a:pt x="161" y="52"/>
                    <a:pt x="161" y="52"/>
                  </a:cubicBezTo>
                  <a:cubicBezTo>
                    <a:pt x="160" y="49"/>
                    <a:pt x="160" y="49"/>
                    <a:pt x="160" y="49"/>
                  </a:cubicBezTo>
                  <a:cubicBezTo>
                    <a:pt x="160" y="49"/>
                    <a:pt x="160" y="49"/>
                    <a:pt x="160" y="49"/>
                  </a:cubicBezTo>
                  <a:cubicBezTo>
                    <a:pt x="159" y="48"/>
                    <a:pt x="159" y="48"/>
                    <a:pt x="159" y="48"/>
                  </a:cubicBezTo>
                  <a:cubicBezTo>
                    <a:pt x="159" y="48"/>
                    <a:pt x="159" y="48"/>
                    <a:pt x="159" y="48"/>
                  </a:cubicBezTo>
                  <a:cubicBezTo>
                    <a:pt x="158" y="48"/>
                    <a:pt x="158" y="48"/>
                    <a:pt x="158" y="48"/>
                  </a:cubicBezTo>
                  <a:cubicBezTo>
                    <a:pt x="158" y="48"/>
                    <a:pt x="158" y="48"/>
                    <a:pt x="158" y="48"/>
                  </a:cubicBezTo>
                  <a:cubicBezTo>
                    <a:pt x="158" y="48"/>
                    <a:pt x="158" y="48"/>
                    <a:pt x="158" y="48"/>
                  </a:cubicBezTo>
                  <a:cubicBezTo>
                    <a:pt x="158" y="48"/>
                    <a:pt x="158" y="48"/>
                    <a:pt x="158" y="48"/>
                  </a:cubicBezTo>
                  <a:cubicBezTo>
                    <a:pt x="158" y="48"/>
                    <a:pt x="158" y="48"/>
                    <a:pt x="158" y="48"/>
                  </a:cubicBezTo>
                  <a:cubicBezTo>
                    <a:pt x="158" y="48"/>
                    <a:pt x="158" y="48"/>
                    <a:pt x="158" y="48"/>
                  </a:cubicBezTo>
                  <a:cubicBezTo>
                    <a:pt x="158" y="47"/>
                    <a:pt x="158" y="47"/>
                    <a:pt x="158" y="47"/>
                  </a:cubicBezTo>
                  <a:cubicBezTo>
                    <a:pt x="157" y="47"/>
                    <a:pt x="157" y="47"/>
                    <a:pt x="157" y="47"/>
                  </a:cubicBezTo>
                  <a:cubicBezTo>
                    <a:pt x="157" y="47"/>
                    <a:pt x="157" y="47"/>
                    <a:pt x="157" y="47"/>
                  </a:cubicBezTo>
                  <a:cubicBezTo>
                    <a:pt x="157" y="46"/>
                    <a:pt x="157" y="46"/>
                    <a:pt x="157" y="46"/>
                  </a:cubicBezTo>
                  <a:cubicBezTo>
                    <a:pt x="157" y="46"/>
                    <a:pt x="157" y="46"/>
                    <a:pt x="157" y="46"/>
                  </a:cubicBezTo>
                  <a:cubicBezTo>
                    <a:pt x="157" y="44"/>
                    <a:pt x="157" y="44"/>
                    <a:pt x="157" y="44"/>
                  </a:cubicBezTo>
                  <a:cubicBezTo>
                    <a:pt x="157" y="44"/>
                    <a:pt x="157" y="44"/>
                    <a:pt x="157" y="44"/>
                  </a:cubicBezTo>
                  <a:cubicBezTo>
                    <a:pt x="157" y="44"/>
                    <a:pt x="157" y="44"/>
                    <a:pt x="157" y="44"/>
                  </a:cubicBezTo>
                  <a:cubicBezTo>
                    <a:pt x="156" y="44"/>
                    <a:pt x="156" y="44"/>
                    <a:pt x="156" y="44"/>
                  </a:cubicBezTo>
                  <a:cubicBezTo>
                    <a:pt x="156" y="44"/>
                    <a:pt x="156" y="44"/>
                    <a:pt x="156" y="44"/>
                  </a:cubicBezTo>
                  <a:cubicBezTo>
                    <a:pt x="156" y="43"/>
                    <a:pt x="156" y="43"/>
                    <a:pt x="156" y="43"/>
                  </a:cubicBezTo>
                  <a:cubicBezTo>
                    <a:pt x="156" y="43"/>
                    <a:pt x="156" y="43"/>
                    <a:pt x="156" y="43"/>
                  </a:cubicBezTo>
                  <a:cubicBezTo>
                    <a:pt x="156" y="43"/>
                    <a:pt x="156" y="43"/>
                    <a:pt x="156" y="43"/>
                  </a:cubicBezTo>
                  <a:cubicBezTo>
                    <a:pt x="156" y="43"/>
                    <a:pt x="156" y="43"/>
                    <a:pt x="156" y="43"/>
                  </a:cubicBezTo>
                  <a:cubicBezTo>
                    <a:pt x="156" y="42"/>
                    <a:pt x="156" y="42"/>
                    <a:pt x="156" y="42"/>
                  </a:cubicBezTo>
                  <a:cubicBezTo>
                    <a:pt x="157" y="42"/>
                    <a:pt x="157" y="42"/>
                    <a:pt x="157" y="42"/>
                  </a:cubicBezTo>
                  <a:cubicBezTo>
                    <a:pt x="157" y="41"/>
                    <a:pt x="157" y="41"/>
                    <a:pt x="157" y="41"/>
                  </a:cubicBezTo>
                  <a:cubicBezTo>
                    <a:pt x="157" y="38"/>
                    <a:pt x="157" y="38"/>
                    <a:pt x="157" y="38"/>
                  </a:cubicBezTo>
                  <a:cubicBezTo>
                    <a:pt x="157" y="35"/>
                    <a:pt x="157" y="35"/>
                    <a:pt x="157" y="35"/>
                  </a:cubicBezTo>
                  <a:cubicBezTo>
                    <a:pt x="158" y="33"/>
                    <a:pt x="158" y="33"/>
                    <a:pt x="158" y="33"/>
                  </a:cubicBezTo>
                  <a:cubicBezTo>
                    <a:pt x="158" y="32"/>
                    <a:pt x="158" y="32"/>
                    <a:pt x="158" y="32"/>
                  </a:cubicBezTo>
                  <a:cubicBezTo>
                    <a:pt x="157" y="32"/>
                    <a:pt x="157" y="32"/>
                    <a:pt x="157" y="32"/>
                  </a:cubicBezTo>
                  <a:cubicBezTo>
                    <a:pt x="157" y="32"/>
                    <a:pt x="157" y="32"/>
                    <a:pt x="157" y="32"/>
                  </a:cubicBezTo>
                  <a:cubicBezTo>
                    <a:pt x="157" y="32"/>
                    <a:pt x="157" y="32"/>
                    <a:pt x="157" y="32"/>
                  </a:cubicBezTo>
                  <a:cubicBezTo>
                    <a:pt x="157" y="32"/>
                    <a:pt x="157" y="32"/>
                    <a:pt x="157" y="32"/>
                  </a:cubicBezTo>
                  <a:cubicBezTo>
                    <a:pt x="157" y="32"/>
                    <a:pt x="157" y="32"/>
                    <a:pt x="157" y="32"/>
                  </a:cubicBezTo>
                  <a:cubicBezTo>
                    <a:pt x="156" y="31"/>
                    <a:pt x="156" y="31"/>
                    <a:pt x="156" y="31"/>
                  </a:cubicBezTo>
                  <a:cubicBezTo>
                    <a:pt x="156" y="31"/>
                    <a:pt x="156" y="31"/>
                    <a:pt x="156" y="31"/>
                  </a:cubicBezTo>
                  <a:cubicBezTo>
                    <a:pt x="156" y="31"/>
                    <a:pt x="156" y="31"/>
                    <a:pt x="156" y="31"/>
                  </a:cubicBezTo>
                  <a:cubicBezTo>
                    <a:pt x="156" y="30"/>
                    <a:pt x="156" y="30"/>
                    <a:pt x="156" y="30"/>
                  </a:cubicBezTo>
                  <a:cubicBezTo>
                    <a:pt x="156" y="30"/>
                    <a:pt x="156" y="30"/>
                    <a:pt x="156" y="30"/>
                  </a:cubicBezTo>
                  <a:cubicBezTo>
                    <a:pt x="156" y="30"/>
                    <a:pt x="156" y="30"/>
                    <a:pt x="156" y="30"/>
                  </a:cubicBezTo>
                  <a:cubicBezTo>
                    <a:pt x="156" y="30"/>
                    <a:pt x="156" y="30"/>
                    <a:pt x="156" y="30"/>
                  </a:cubicBezTo>
                  <a:cubicBezTo>
                    <a:pt x="156" y="30"/>
                    <a:pt x="156" y="30"/>
                    <a:pt x="156" y="30"/>
                  </a:cubicBezTo>
                  <a:cubicBezTo>
                    <a:pt x="156" y="30"/>
                    <a:pt x="156" y="30"/>
                    <a:pt x="156" y="30"/>
                  </a:cubicBezTo>
                  <a:cubicBezTo>
                    <a:pt x="156" y="30"/>
                    <a:pt x="156" y="30"/>
                    <a:pt x="156" y="30"/>
                  </a:cubicBezTo>
                  <a:cubicBezTo>
                    <a:pt x="156" y="30"/>
                    <a:pt x="156" y="30"/>
                    <a:pt x="156" y="30"/>
                  </a:cubicBezTo>
                  <a:cubicBezTo>
                    <a:pt x="156" y="29"/>
                    <a:pt x="156" y="29"/>
                    <a:pt x="156" y="29"/>
                  </a:cubicBezTo>
                  <a:cubicBezTo>
                    <a:pt x="156" y="29"/>
                    <a:pt x="156" y="29"/>
                    <a:pt x="156" y="29"/>
                  </a:cubicBezTo>
                  <a:cubicBezTo>
                    <a:pt x="156" y="28"/>
                    <a:pt x="156" y="28"/>
                    <a:pt x="156" y="28"/>
                  </a:cubicBezTo>
                  <a:cubicBezTo>
                    <a:pt x="156" y="28"/>
                    <a:pt x="156" y="28"/>
                    <a:pt x="156" y="28"/>
                  </a:cubicBezTo>
                  <a:cubicBezTo>
                    <a:pt x="156" y="27"/>
                    <a:pt x="156" y="27"/>
                    <a:pt x="156" y="27"/>
                  </a:cubicBezTo>
                  <a:cubicBezTo>
                    <a:pt x="156" y="27"/>
                    <a:pt x="156" y="27"/>
                    <a:pt x="156" y="27"/>
                  </a:cubicBezTo>
                  <a:cubicBezTo>
                    <a:pt x="155" y="27"/>
                    <a:pt x="155" y="27"/>
                    <a:pt x="155" y="27"/>
                  </a:cubicBezTo>
                  <a:cubicBezTo>
                    <a:pt x="155" y="26"/>
                    <a:pt x="155" y="26"/>
                    <a:pt x="155" y="26"/>
                  </a:cubicBezTo>
                  <a:cubicBezTo>
                    <a:pt x="155" y="26"/>
                    <a:pt x="155" y="26"/>
                    <a:pt x="155" y="26"/>
                  </a:cubicBezTo>
                  <a:cubicBezTo>
                    <a:pt x="155" y="26"/>
                    <a:pt x="155" y="26"/>
                    <a:pt x="155" y="26"/>
                  </a:cubicBezTo>
                  <a:cubicBezTo>
                    <a:pt x="155" y="27"/>
                    <a:pt x="155" y="27"/>
                    <a:pt x="155" y="27"/>
                  </a:cubicBezTo>
                  <a:cubicBezTo>
                    <a:pt x="155" y="27"/>
                    <a:pt x="155" y="27"/>
                    <a:pt x="155" y="27"/>
                  </a:cubicBezTo>
                  <a:cubicBezTo>
                    <a:pt x="155" y="27"/>
                    <a:pt x="155" y="27"/>
                    <a:pt x="155" y="27"/>
                  </a:cubicBezTo>
                  <a:cubicBezTo>
                    <a:pt x="155" y="28"/>
                    <a:pt x="155" y="28"/>
                    <a:pt x="155" y="28"/>
                  </a:cubicBezTo>
                  <a:cubicBezTo>
                    <a:pt x="155" y="28"/>
                    <a:pt x="155" y="28"/>
                    <a:pt x="155" y="28"/>
                  </a:cubicBezTo>
                  <a:cubicBezTo>
                    <a:pt x="155" y="28"/>
                    <a:pt x="155" y="28"/>
                    <a:pt x="155" y="28"/>
                  </a:cubicBezTo>
                  <a:cubicBezTo>
                    <a:pt x="155" y="28"/>
                    <a:pt x="155" y="28"/>
                    <a:pt x="155" y="28"/>
                  </a:cubicBezTo>
                  <a:cubicBezTo>
                    <a:pt x="154" y="28"/>
                    <a:pt x="154" y="28"/>
                    <a:pt x="154" y="28"/>
                  </a:cubicBezTo>
                  <a:cubicBezTo>
                    <a:pt x="154" y="28"/>
                    <a:pt x="154" y="28"/>
                    <a:pt x="154" y="28"/>
                  </a:cubicBezTo>
                  <a:cubicBezTo>
                    <a:pt x="154" y="27"/>
                    <a:pt x="154" y="27"/>
                    <a:pt x="154" y="27"/>
                  </a:cubicBezTo>
                  <a:cubicBezTo>
                    <a:pt x="154" y="27"/>
                    <a:pt x="154" y="27"/>
                    <a:pt x="154" y="27"/>
                  </a:cubicBezTo>
                  <a:cubicBezTo>
                    <a:pt x="154" y="27"/>
                    <a:pt x="154" y="27"/>
                    <a:pt x="154" y="27"/>
                  </a:cubicBezTo>
                  <a:cubicBezTo>
                    <a:pt x="154" y="27"/>
                    <a:pt x="154" y="27"/>
                    <a:pt x="154" y="27"/>
                  </a:cubicBezTo>
                  <a:cubicBezTo>
                    <a:pt x="154" y="27"/>
                    <a:pt x="154" y="27"/>
                    <a:pt x="154" y="27"/>
                  </a:cubicBezTo>
                  <a:cubicBezTo>
                    <a:pt x="154" y="27"/>
                    <a:pt x="154" y="27"/>
                    <a:pt x="154" y="27"/>
                  </a:cubicBezTo>
                  <a:cubicBezTo>
                    <a:pt x="154" y="27"/>
                    <a:pt x="154" y="27"/>
                    <a:pt x="154" y="27"/>
                  </a:cubicBezTo>
                  <a:cubicBezTo>
                    <a:pt x="154" y="27"/>
                    <a:pt x="154" y="27"/>
                    <a:pt x="154" y="27"/>
                  </a:cubicBezTo>
                  <a:cubicBezTo>
                    <a:pt x="153" y="27"/>
                    <a:pt x="153" y="27"/>
                    <a:pt x="153" y="27"/>
                  </a:cubicBezTo>
                  <a:cubicBezTo>
                    <a:pt x="153" y="27"/>
                    <a:pt x="153" y="27"/>
                    <a:pt x="153" y="27"/>
                  </a:cubicBezTo>
                  <a:cubicBezTo>
                    <a:pt x="153" y="27"/>
                    <a:pt x="153" y="27"/>
                    <a:pt x="153" y="27"/>
                  </a:cubicBezTo>
                  <a:cubicBezTo>
                    <a:pt x="153" y="27"/>
                    <a:pt x="153" y="27"/>
                    <a:pt x="153" y="27"/>
                  </a:cubicBezTo>
                  <a:cubicBezTo>
                    <a:pt x="153" y="26"/>
                    <a:pt x="153" y="26"/>
                    <a:pt x="153" y="26"/>
                  </a:cubicBezTo>
                  <a:cubicBezTo>
                    <a:pt x="152" y="26"/>
                    <a:pt x="152" y="26"/>
                    <a:pt x="152" y="26"/>
                  </a:cubicBezTo>
                  <a:cubicBezTo>
                    <a:pt x="152" y="26"/>
                    <a:pt x="152" y="26"/>
                    <a:pt x="152" y="26"/>
                  </a:cubicBezTo>
                  <a:cubicBezTo>
                    <a:pt x="152" y="26"/>
                    <a:pt x="152" y="26"/>
                    <a:pt x="152" y="26"/>
                  </a:cubicBezTo>
                  <a:cubicBezTo>
                    <a:pt x="152" y="27"/>
                    <a:pt x="152" y="27"/>
                    <a:pt x="152" y="27"/>
                  </a:cubicBezTo>
                  <a:cubicBezTo>
                    <a:pt x="152" y="27"/>
                    <a:pt x="152" y="27"/>
                    <a:pt x="152" y="27"/>
                  </a:cubicBezTo>
                  <a:cubicBezTo>
                    <a:pt x="152" y="27"/>
                    <a:pt x="152" y="27"/>
                    <a:pt x="152" y="27"/>
                  </a:cubicBezTo>
                  <a:cubicBezTo>
                    <a:pt x="151" y="26"/>
                    <a:pt x="151" y="26"/>
                    <a:pt x="151" y="26"/>
                  </a:cubicBezTo>
                  <a:cubicBezTo>
                    <a:pt x="151" y="26"/>
                    <a:pt x="151" y="26"/>
                    <a:pt x="151" y="26"/>
                  </a:cubicBezTo>
                  <a:cubicBezTo>
                    <a:pt x="151" y="26"/>
                    <a:pt x="151" y="26"/>
                    <a:pt x="151" y="26"/>
                  </a:cubicBezTo>
                  <a:cubicBezTo>
                    <a:pt x="150" y="27"/>
                    <a:pt x="150" y="27"/>
                    <a:pt x="150" y="27"/>
                  </a:cubicBezTo>
                  <a:cubicBezTo>
                    <a:pt x="150" y="27"/>
                    <a:pt x="150" y="27"/>
                    <a:pt x="150" y="27"/>
                  </a:cubicBezTo>
                  <a:cubicBezTo>
                    <a:pt x="149" y="27"/>
                    <a:pt x="149" y="27"/>
                    <a:pt x="149" y="27"/>
                  </a:cubicBezTo>
                  <a:cubicBezTo>
                    <a:pt x="149" y="27"/>
                    <a:pt x="149" y="27"/>
                    <a:pt x="149" y="27"/>
                  </a:cubicBezTo>
                  <a:cubicBezTo>
                    <a:pt x="148" y="27"/>
                    <a:pt x="148" y="27"/>
                    <a:pt x="148" y="27"/>
                  </a:cubicBezTo>
                  <a:cubicBezTo>
                    <a:pt x="148" y="27"/>
                    <a:pt x="148" y="27"/>
                    <a:pt x="148" y="27"/>
                  </a:cubicBezTo>
                  <a:cubicBezTo>
                    <a:pt x="148" y="27"/>
                    <a:pt x="148" y="27"/>
                    <a:pt x="148" y="27"/>
                  </a:cubicBezTo>
                  <a:cubicBezTo>
                    <a:pt x="148" y="28"/>
                    <a:pt x="148" y="28"/>
                    <a:pt x="148" y="28"/>
                  </a:cubicBezTo>
                  <a:cubicBezTo>
                    <a:pt x="147" y="28"/>
                    <a:pt x="147" y="28"/>
                    <a:pt x="147" y="28"/>
                  </a:cubicBezTo>
                  <a:cubicBezTo>
                    <a:pt x="148" y="28"/>
                    <a:pt x="148" y="28"/>
                    <a:pt x="148" y="28"/>
                  </a:cubicBezTo>
                  <a:cubicBezTo>
                    <a:pt x="148" y="28"/>
                    <a:pt x="148" y="28"/>
                    <a:pt x="148" y="28"/>
                  </a:cubicBezTo>
                  <a:cubicBezTo>
                    <a:pt x="148" y="27"/>
                    <a:pt x="148" y="27"/>
                    <a:pt x="148" y="27"/>
                  </a:cubicBezTo>
                  <a:cubicBezTo>
                    <a:pt x="148" y="27"/>
                    <a:pt x="148" y="27"/>
                    <a:pt x="148" y="27"/>
                  </a:cubicBezTo>
                  <a:cubicBezTo>
                    <a:pt x="148" y="27"/>
                    <a:pt x="148" y="27"/>
                    <a:pt x="148" y="27"/>
                  </a:cubicBezTo>
                  <a:cubicBezTo>
                    <a:pt x="148" y="27"/>
                    <a:pt x="148" y="27"/>
                    <a:pt x="148" y="27"/>
                  </a:cubicBezTo>
                  <a:cubicBezTo>
                    <a:pt x="147" y="26"/>
                    <a:pt x="147" y="26"/>
                    <a:pt x="147" y="26"/>
                  </a:cubicBezTo>
                  <a:cubicBezTo>
                    <a:pt x="147" y="26"/>
                    <a:pt x="147" y="26"/>
                    <a:pt x="147" y="26"/>
                  </a:cubicBezTo>
                  <a:cubicBezTo>
                    <a:pt x="146" y="26"/>
                    <a:pt x="146" y="26"/>
                    <a:pt x="146" y="26"/>
                  </a:cubicBezTo>
                  <a:cubicBezTo>
                    <a:pt x="145" y="26"/>
                    <a:pt x="145" y="26"/>
                    <a:pt x="145" y="26"/>
                  </a:cubicBezTo>
                  <a:cubicBezTo>
                    <a:pt x="145" y="27"/>
                    <a:pt x="145" y="27"/>
                    <a:pt x="145" y="27"/>
                  </a:cubicBezTo>
                  <a:cubicBezTo>
                    <a:pt x="144" y="27"/>
                    <a:pt x="144" y="27"/>
                    <a:pt x="144" y="27"/>
                  </a:cubicBezTo>
                  <a:cubicBezTo>
                    <a:pt x="144" y="27"/>
                    <a:pt x="144" y="27"/>
                    <a:pt x="144" y="27"/>
                  </a:cubicBezTo>
                  <a:cubicBezTo>
                    <a:pt x="144" y="26"/>
                    <a:pt x="144" y="26"/>
                    <a:pt x="144" y="26"/>
                  </a:cubicBezTo>
                  <a:cubicBezTo>
                    <a:pt x="144" y="26"/>
                    <a:pt x="144" y="26"/>
                    <a:pt x="144" y="26"/>
                  </a:cubicBezTo>
                  <a:cubicBezTo>
                    <a:pt x="144" y="26"/>
                    <a:pt x="144" y="26"/>
                    <a:pt x="144" y="26"/>
                  </a:cubicBezTo>
                  <a:cubicBezTo>
                    <a:pt x="143" y="27"/>
                    <a:pt x="143" y="27"/>
                    <a:pt x="143" y="27"/>
                  </a:cubicBezTo>
                  <a:cubicBezTo>
                    <a:pt x="142" y="27"/>
                    <a:pt x="142" y="27"/>
                    <a:pt x="142" y="27"/>
                  </a:cubicBezTo>
                  <a:cubicBezTo>
                    <a:pt x="141" y="26"/>
                    <a:pt x="141" y="26"/>
                    <a:pt x="141" y="26"/>
                  </a:cubicBezTo>
                  <a:cubicBezTo>
                    <a:pt x="141" y="26"/>
                    <a:pt x="141" y="26"/>
                    <a:pt x="141" y="26"/>
                  </a:cubicBezTo>
                  <a:cubicBezTo>
                    <a:pt x="141" y="27"/>
                    <a:pt x="141" y="27"/>
                    <a:pt x="141" y="27"/>
                  </a:cubicBezTo>
                  <a:cubicBezTo>
                    <a:pt x="140" y="26"/>
                    <a:pt x="140" y="26"/>
                    <a:pt x="140" y="26"/>
                  </a:cubicBezTo>
                  <a:cubicBezTo>
                    <a:pt x="139" y="26"/>
                    <a:pt x="139" y="26"/>
                    <a:pt x="139" y="26"/>
                  </a:cubicBezTo>
                  <a:cubicBezTo>
                    <a:pt x="138" y="26"/>
                    <a:pt x="138" y="26"/>
                    <a:pt x="138" y="26"/>
                  </a:cubicBezTo>
                  <a:cubicBezTo>
                    <a:pt x="138" y="26"/>
                    <a:pt x="138" y="26"/>
                    <a:pt x="138" y="26"/>
                  </a:cubicBezTo>
                  <a:cubicBezTo>
                    <a:pt x="138" y="26"/>
                    <a:pt x="138" y="26"/>
                    <a:pt x="138" y="26"/>
                  </a:cubicBezTo>
                  <a:cubicBezTo>
                    <a:pt x="138" y="27"/>
                    <a:pt x="138" y="27"/>
                    <a:pt x="138" y="27"/>
                  </a:cubicBezTo>
                  <a:cubicBezTo>
                    <a:pt x="138" y="27"/>
                    <a:pt x="138" y="27"/>
                    <a:pt x="138" y="27"/>
                  </a:cubicBezTo>
                  <a:cubicBezTo>
                    <a:pt x="139" y="27"/>
                    <a:pt x="139" y="27"/>
                    <a:pt x="139" y="27"/>
                  </a:cubicBezTo>
                  <a:cubicBezTo>
                    <a:pt x="139" y="27"/>
                    <a:pt x="139" y="27"/>
                    <a:pt x="139" y="27"/>
                  </a:cubicBezTo>
                  <a:cubicBezTo>
                    <a:pt x="139" y="27"/>
                    <a:pt x="139" y="27"/>
                    <a:pt x="139" y="27"/>
                  </a:cubicBezTo>
                  <a:cubicBezTo>
                    <a:pt x="139" y="27"/>
                    <a:pt x="139" y="27"/>
                    <a:pt x="139" y="27"/>
                  </a:cubicBezTo>
                  <a:cubicBezTo>
                    <a:pt x="140" y="27"/>
                    <a:pt x="140" y="27"/>
                    <a:pt x="140" y="27"/>
                  </a:cubicBezTo>
                  <a:cubicBezTo>
                    <a:pt x="140" y="28"/>
                    <a:pt x="140" y="28"/>
                    <a:pt x="140" y="28"/>
                  </a:cubicBezTo>
                  <a:cubicBezTo>
                    <a:pt x="140" y="28"/>
                    <a:pt x="140" y="28"/>
                    <a:pt x="140" y="28"/>
                  </a:cubicBezTo>
                  <a:cubicBezTo>
                    <a:pt x="140" y="28"/>
                    <a:pt x="140" y="28"/>
                    <a:pt x="140" y="28"/>
                  </a:cubicBezTo>
                  <a:cubicBezTo>
                    <a:pt x="140" y="28"/>
                    <a:pt x="140" y="28"/>
                    <a:pt x="140" y="28"/>
                  </a:cubicBezTo>
                  <a:cubicBezTo>
                    <a:pt x="140" y="29"/>
                    <a:pt x="140" y="29"/>
                    <a:pt x="140" y="29"/>
                  </a:cubicBezTo>
                  <a:cubicBezTo>
                    <a:pt x="140" y="29"/>
                    <a:pt x="140" y="29"/>
                    <a:pt x="140" y="29"/>
                  </a:cubicBezTo>
                  <a:cubicBezTo>
                    <a:pt x="140" y="29"/>
                    <a:pt x="140" y="29"/>
                    <a:pt x="140" y="29"/>
                  </a:cubicBezTo>
                  <a:cubicBezTo>
                    <a:pt x="140" y="29"/>
                    <a:pt x="140" y="29"/>
                    <a:pt x="140" y="29"/>
                  </a:cubicBezTo>
                  <a:cubicBezTo>
                    <a:pt x="140" y="28"/>
                    <a:pt x="140" y="28"/>
                    <a:pt x="140" y="28"/>
                  </a:cubicBezTo>
                  <a:cubicBezTo>
                    <a:pt x="140" y="28"/>
                    <a:pt x="140" y="28"/>
                    <a:pt x="140" y="28"/>
                  </a:cubicBezTo>
                  <a:cubicBezTo>
                    <a:pt x="140" y="28"/>
                    <a:pt x="140" y="28"/>
                    <a:pt x="140" y="28"/>
                  </a:cubicBezTo>
                  <a:cubicBezTo>
                    <a:pt x="140" y="28"/>
                    <a:pt x="140" y="28"/>
                    <a:pt x="140" y="28"/>
                  </a:cubicBezTo>
                  <a:cubicBezTo>
                    <a:pt x="140" y="28"/>
                    <a:pt x="140" y="28"/>
                    <a:pt x="140" y="28"/>
                  </a:cubicBezTo>
                  <a:cubicBezTo>
                    <a:pt x="139" y="28"/>
                    <a:pt x="139" y="28"/>
                    <a:pt x="139" y="28"/>
                  </a:cubicBezTo>
                  <a:cubicBezTo>
                    <a:pt x="139" y="27"/>
                    <a:pt x="139" y="27"/>
                    <a:pt x="139" y="27"/>
                  </a:cubicBezTo>
                  <a:cubicBezTo>
                    <a:pt x="139" y="27"/>
                    <a:pt x="139" y="27"/>
                    <a:pt x="139" y="27"/>
                  </a:cubicBezTo>
                  <a:cubicBezTo>
                    <a:pt x="139" y="27"/>
                    <a:pt x="139" y="27"/>
                    <a:pt x="139" y="27"/>
                  </a:cubicBezTo>
                  <a:cubicBezTo>
                    <a:pt x="139" y="27"/>
                    <a:pt x="139" y="27"/>
                    <a:pt x="139" y="27"/>
                  </a:cubicBezTo>
                  <a:cubicBezTo>
                    <a:pt x="139" y="27"/>
                    <a:pt x="139" y="27"/>
                    <a:pt x="139" y="27"/>
                  </a:cubicBezTo>
                  <a:cubicBezTo>
                    <a:pt x="139" y="27"/>
                    <a:pt x="139" y="27"/>
                    <a:pt x="139" y="27"/>
                  </a:cubicBezTo>
                  <a:cubicBezTo>
                    <a:pt x="139" y="27"/>
                    <a:pt x="139" y="27"/>
                    <a:pt x="139" y="27"/>
                  </a:cubicBezTo>
                  <a:cubicBezTo>
                    <a:pt x="138" y="27"/>
                    <a:pt x="138" y="27"/>
                    <a:pt x="138" y="27"/>
                  </a:cubicBezTo>
                  <a:cubicBezTo>
                    <a:pt x="138" y="27"/>
                    <a:pt x="138" y="27"/>
                    <a:pt x="138" y="27"/>
                  </a:cubicBezTo>
                  <a:cubicBezTo>
                    <a:pt x="138" y="27"/>
                    <a:pt x="138" y="27"/>
                    <a:pt x="138" y="27"/>
                  </a:cubicBezTo>
                  <a:cubicBezTo>
                    <a:pt x="138" y="27"/>
                    <a:pt x="138" y="27"/>
                    <a:pt x="138" y="27"/>
                  </a:cubicBezTo>
                  <a:cubicBezTo>
                    <a:pt x="138" y="27"/>
                    <a:pt x="138" y="27"/>
                    <a:pt x="138" y="27"/>
                  </a:cubicBezTo>
                  <a:cubicBezTo>
                    <a:pt x="138" y="27"/>
                    <a:pt x="138" y="27"/>
                    <a:pt x="138" y="27"/>
                  </a:cubicBezTo>
                  <a:cubicBezTo>
                    <a:pt x="138" y="27"/>
                    <a:pt x="138" y="27"/>
                    <a:pt x="138" y="27"/>
                  </a:cubicBezTo>
                  <a:cubicBezTo>
                    <a:pt x="138" y="27"/>
                    <a:pt x="138" y="27"/>
                    <a:pt x="138" y="27"/>
                  </a:cubicBezTo>
                  <a:cubicBezTo>
                    <a:pt x="138" y="27"/>
                    <a:pt x="138" y="27"/>
                    <a:pt x="138" y="27"/>
                  </a:cubicBezTo>
                  <a:cubicBezTo>
                    <a:pt x="138" y="27"/>
                    <a:pt x="138" y="27"/>
                    <a:pt x="138" y="27"/>
                  </a:cubicBezTo>
                  <a:cubicBezTo>
                    <a:pt x="138" y="27"/>
                    <a:pt x="138" y="27"/>
                    <a:pt x="138" y="27"/>
                  </a:cubicBezTo>
                  <a:cubicBezTo>
                    <a:pt x="137" y="26"/>
                    <a:pt x="137" y="26"/>
                    <a:pt x="137" y="26"/>
                  </a:cubicBezTo>
                  <a:cubicBezTo>
                    <a:pt x="136" y="26"/>
                    <a:pt x="136" y="26"/>
                    <a:pt x="136" y="26"/>
                  </a:cubicBezTo>
                  <a:cubicBezTo>
                    <a:pt x="135" y="26"/>
                    <a:pt x="135" y="26"/>
                    <a:pt x="135" y="26"/>
                  </a:cubicBezTo>
                  <a:cubicBezTo>
                    <a:pt x="135" y="25"/>
                    <a:pt x="135" y="25"/>
                    <a:pt x="135" y="25"/>
                  </a:cubicBezTo>
                  <a:cubicBezTo>
                    <a:pt x="135" y="26"/>
                    <a:pt x="135" y="26"/>
                    <a:pt x="135" y="26"/>
                  </a:cubicBezTo>
                  <a:cubicBezTo>
                    <a:pt x="133" y="27"/>
                    <a:pt x="133" y="27"/>
                    <a:pt x="133" y="27"/>
                  </a:cubicBezTo>
                  <a:cubicBezTo>
                    <a:pt x="133" y="27"/>
                    <a:pt x="133" y="27"/>
                    <a:pt x="133" y="27"/>
                  </a:cubicBezTo>
                  <a:cubicBezTo>
                    <a:pt x="133" y="27"/>
                    <a:pt x="133" y="27"/>
                    <a:pt x="133" y="27"/>
                  </a:cubicBezTo>
                  <a:cubicBezTo>
                    <a:pt x="132" y="27"/>
                    <a:pt x="132" y="27"/>
                    <a:pt x="132" y="27"/>
                  </a:cubicBezTo>
                  <a:cubicBezTo>
                    <a:pt x="131" y="27"/>
                    <a:pt x="131" y="27"/>
                    <a:pt x="131" y="27"/>
                  </a:cubicBezTo>
                  <a:cubicBezTo>
                    <a:pt x="129" y="27"/>
                    <a:pt x="129" y="27"/>
                    <a:pt x="129" y="27"/>
                  </a:cubicBezTo>
                  <a:cubicBezTo>
                    <a:pt x="129" y="28"/>
                    <a:pt x="129" y="28"/>
                    <a:pt x="129" y="28"/>
                  </a:cubicBezTo>
                  <a:cubicBezTo>
                    <a:pt x="128" y="28"/>
                    <a:pt x="128" y="28"/>
                    <a:pt x="128" y="28"/>
                  </a:cubicBezTo>
                  <a:cubicBezTo>
                    <a:pt x="127" y="28"/>
                    <a:pt x="127" y="28"/>
                    <a:pt x="127" y="28"/>
                  </a:cubicBezTo>
                  <a:cubicBezTo>
                    <a:pt x="127" y="28"/>
                    <a:pt x="127" y="28"/>
                    <a:pt x="127" y="28"/>
                  </a:cubicBezTo>
                  <a:cubicBezTo>
                    <a:pt x="123" y="28"/>
                    <a:pt x="123" y="28"/>
                    <a:pt x="123" y="28"/>
                  </a:cubicBezTo>
                  <a:cubicBezTo>
                    <a:pt x="121" y="28"/>
                    <a:pt x="121" y="28"/>
                    <a:pt x="121" y="28"/>
                  </a:cubicBezTo>
                  <a:cubicBezTo>
                    <a:pt x="121" y="28"/>
                    <a:pt x="121" y="28"/>
                    <a:pt x="121" y="28"/>
                  </a:cubicBezTo>
                  <a:cubicBezTo>
                    <a:pt x="120" y="29"/>
                    <a:pt x="120" y="29"/>
                    <a:pt x="120" y="29"/>
                  </a:cubicBezTo>
                  <a:cubicBezTo>
                    <a:pt x="120" y="29"/>
                    <a:pt x="120" y="29"/>
                    <a:pt x="120" y="29"/>
                  </a:cubicBezTo>
                  <a:cubicBezTo>
                    <a:pt x="118" y="32"/>
                    <a:pt x="118" y="32"/>
                    <a:pt x="118" y="32"/>
                  </a:cubicBezTo>
                  <a:cubicBezTo>
                    <a:pt x="118" y="33"/>
                    <a:pt x="118" y="33"/>
                    <a:pt x="118" y="33"/>
                  </a:cubicBezTo>
                  <a:cubicBezTo>
                    <a:pt x="118" y="34"/>
                    <a:pt x="118" y="34"/>
                    <a:pt x="118" y="34"/>
                  </a:cubicBezTo>
                  <a:cubicBezTo>
                    <a:pt x="118" y="34"/>
                    <a:pt x="118" y="34"/>
                    <a:pt x="118" y="34"/>
                  </a:cubicBezTo>
                  <a:cubicBezTo>
                    <a:pt x="118" y="35"/>
                    <a:pt x="118" y="35"/>
                    <a:pt x="118" y="35"/>
                  </a:cubicBezTo>
                  <a:cubicBezTo>
                    <a:pt x="118" y="35"/>
                    <a:pt x="118" y="35"/>
                    <a:pt x="118" y="35"/>
                  </a:cubicBezTo>
                  <a:cubicBezTo>
                    <a:pt x="118" y="35"/>
                    <a:pt x="118" y="35"/>
                    <a:pt x="118" y="35"/>
                  </a:cubicBezTo>
                  <a:cubicBezTo>
                    <a:pt x="118" y="34"/>
                    <a:pt x="118" y="34"/>
                    <a:pt x="118" y="34"/>
                  </a:cubicBezTo>
                  <a:cubicBezTo>
                    <a:pt x="118" y="34"/>
                    <a:pt x="118" y="34"/>
                    <a:pt x="118" y="34"/>
                  </a:cubicBezTo>
                  <a:cubicBezTo>
                    <a:pt x="118" y="33"/>
                    <a:pt x="118" y="33"/>
                    <a:pt x="118" y="33"/>
                  </a:cubicBezTo>
                  <a:cubicBezTo>
                    <a:pt x="118" y="33"/>
                    <a:pt x="118" y="33"/>
                    <a:pt x="118" y="33"/>
                  </a:cubicBezTo>
                  <a:cubicBezTo>
                    <a:pt x="118" y="33"/>
                    <a:pt x="118" y="33"/>
                    <a:pt x="118" y="33"/>
                  </a:cubicBezTo>
                  <a:cubicBezTo>
                    <a:pt x="118" y="33"/>
                    <a:pt x="118" y="33"/>
                    <a:pt x="118" y="33"/>
                  </a:cubicBezTo>
                  <a:cubicBezTo>
                    <a:pt x="118" y="33"/>
                    <a:pt x="118" y="33"/>
                    <a:pt x="118" y="33"/>
                  </a:cubicBezTo>
                  <a:cubicBezTo>
                    <a:pt x="118" y="32"/>
                    <a:pt x="118" y="32"/>
                    <a:pt x="118" y="32"/>
                  </a:cubicBezTo>
                  <a:cubicBezTo>
                    <a:pt x="118" y="31"/>
                    <a:pt x="118" y="31"/>
                    <a:pt x="118" y="31"/>
                  </a:cubicBezTo>
                  <a:cubicBezTo>
                    <a:pt x="119" y="30"/>
                    <a:pt x="119" y="30"/>
                    <a:pt x="119" y="30"/>
                  </a:cubicBezTo>
                  <a:cubicBezTo>
                    <a:pt x="119" y="30"/>
                    <a:pt x="119" y="30"/>
                    <a:pt x="119" y="30"/>
                  </a:cubicBezTo>
                  <a:cubicBezTo>
                    <a:pt x="119" y="30"/>
                    <a:pt x="119" y="30"/>
                    <a:pt x="119" y="30"/>
                  </a:cubicBezTo>
                  <a:cubicBezTo>
                    <a:pt x="119" y="29"/>
                    <a:pt x="119" y="29"/>
                    <a:pt x="119" y="29"/>
                  </a:cubicBezTo>
                  <a:cubicBezTo>
                    <a:pt x="119" y="29"/>
                    <a:pt x="119" y="29"/>
                    <a:pt x="119" y="29"/>
                  </a:cubicBezTo>
                  <a:cubicBezTo>
                    <a:pt x="119" y="29"/>
                    <a:pt x="119" y="29"/>
                    <a:pt x="119" y="29"/>
                  </a:cubicBezTo>
                  <a:cubicBezTo>
                    <a:pt x="119" y="29"/>
                    <a:pt x="119" y="29"/>
                    <a:pt x="119" y="29"/>
                  </a:cubicBezTo>
                  <a:cubicBezTo>
                    <a:pt x="120" y="29"/>
                    <a:pt x="120" y="29"/>
                    <a:pt x="120" y="29"/>
                  </a:cubicBezTo>
                  <a:cubicBezTo>
                    <a:pt x="120" y="28"/>
                    <a:pt x="120" y="28"/>
                    <a:pt x="120" y="28"/>
                  </a:cubicBezTo>
                  <a:cubicBezTo>
                    <a:pt x="120" y="28"/>
                    <a:pt x="120" y="28"/>
                    <a:pt x="120" y="28"/>
                  </a:cubicBezTo>
                  <a:cubicBezTo>
                    <a:pt x="120" y="28"/>
                    <a:pt x="120" y="28"/>
                    <a:pt x="120" y="28"/>
                  </a:cubicBezTo>
                  <a:cubicBezTo>
                    <a:pt x="120" y="27"/>
                    <a:pt x="120" y="27"/>
                    <a:pt x="120" y="27"/>
                  </a:cubicBezTo>
                  <a:cubicBezTo>
                    <a:pt x="120" y="27"/>
                    <a:pt x="120" y="27"/>
                    <a:pt x="120" y="27"/>
                  </a:cubicBezTo>
                  <a:cubicBezTo>
                    <a:pt x="120" y="27"/>
                    <a:pt x="120" y="27"/>
                    <a:pt x="120" y="27"/>
                  </a:cubicBezTo>
                  <a:cubicBezTo>
                    <a:pt x="118" y="27"/>
                    <a:pt x="118" y="27"/>
                    <a:pt x="118" y="27"/>
                  </a:cubicBezTo>
                  <a:cubicBezTo>
                    <a:pt x="118" y="26"/>
                    <a:pt x="118" y="26"/>
                    <a:pt x="118" y="26"/>
                  </a:cubicBezTo>
                  <a:cubicBezTo>
                    <a:pt x="116" y="26"/>
                    <a:pt x="116" y="26"/>
                    <a:pt x="116" y="26"/>
                  </a:cubicBezTo>
                  <a:cubicBezTo>
                    <a:pt x="115" y="25"/>
                    <a:pt x="115" y="25"/>
                    <a:pt x="115" y="25"/>
                  </a:cubicBezTo>
                  <a:cubicBezTo>
                    <a:pt x="115" y="25"/>
                    <a:pt x="115" y="25"/>
                    <a:pt x="115" y="25"/>
                  </a:cubicBezTo>
                  <a:cubicBezTo>
                    <a:pt x="115" y="24"/>
                    <a:pt x="115" y="24"/>
                    <a:pt x="115" y="24"/>
                  </a:cubicBezTo>
                  <a:cubicBezTo>
                    <a:pt x="114" y="24"/>
                    <a:pt x="114" y="24"/>
                    <a:pt x="114" y="24"/>
                  </a:cubicBezTo>
                  <a:cubicBezTo>
                    <a:pt x="114" y="23"/>
                    <a:pt x="114" y="23"/>
                    <a:pt x="114" y="23"/>
                  </a:cubicBezTo>
                  <a:cubicBezTo>
                    <a:pt x="113" y="23"/>
                    <a:pt x="113" y="23"/>
                    <a:pt x="113" y="23"/>
                  </a:cubicBezTo>
                  <a:cubicBezTo>
                    <a:pt x="113" y="23"/>
                    <a:pt x="113" y="23"/>
                    <a:pt x="113" y="23"/>
                  </a:cubicBezTo>
                  <a:cubicBezTo>
                    <a:pt x="113" y="23"/>
                    <a:pt x="113" y="23"/>
                    <a:pt x="113" y="23"/>
                  </a:cubicBezTo>
                  <a:cubicBezTo>
                    <a:pt x="112" y="22"/>
                    <a:pt x="112" y="22"/>
                    <a:pt x="112" y="22"/>
                  </a:cubicBezTo>
                  <a:cubicBezTo>
                    <a:pt x="112" y="22"/>
                    <a:pt x="112" y="22"/>
                    <a:pt x="112" y="22"/>
                  </a:cubicBezTo>
                  <a:cubicBezTo>
                    <a:pt x="111" y="22"/>
                    <a:pt x="111" y="22"/>
                    <a:pt x="111" y="22"/>
                  </a:cubicBezTo>
                  <a:cubicBezTo>
                    <a:pt x="111" y="22"/>
                    <a:pt x="111" y="22"/>
                    <a:pt x="111" y="22"/>
                  </a:cubicBezTo>
                  <a:cubicBezTo>
                    <a:pt x="110" y="22"/>
                    <a:pt x="110" y="22"/>
                    <a:pt x="110" y="22"/>
                  </a:cubicBezTo>
                  <a:cubicBezTo>
                    <a:pt x="110" y="22"/>
                    <a:pt x="110" y="22"/>
                    <a:pt x="110" y="22"/>
                  </a:cubicBezTo>
                  <a:cubicBezTo>
                    <a:pt x="109" y="21"/>
                    <a:pt x="109" y="21"/>
                    <a:pt x="109" y="21"/>
                  </a:cubicBezTo>
                  <a:cubicBezTo>
                    <a:pt x="108" y="21"/>
                    <a:pt x="108" y="21"/>
                    <a:pt x="108" y="21"/>
                  </a:cubicBezTo>
                  <a:cubicBezTo>
                    <a:pt x="105" y="21"/>
                    <a:pt x="105" y="21"/>
                    <a:pt x="105" y="21"/>
                  </a:cubicBezTo>
                  <a:cubicBezTo>
                    <a:pt x="104" y="20"/>
                    <a:pt x="104" y="20"/>
                    <a:pt x="104" y="20"/>
                  </a:cubicBezTo>
                  <a:cubicBezTo>
                    <a:pt x="101" y="19"/>
                    <a:pt x="101" y="19"/>
                    <a:pt x="101" y="19"/>
                  </a:cubicBezTo>
                  <a:cubicBezTo>
                    <a:pt x="100" y="19"/>
                    <a:pt x="100" y="19"/>
                    <a:pt x="100" y="19"/>
                  </a:cubicBezTo>
                  <a:cubicBezTo>
                    <a:pt x="99" y="18"/>
                    <a:pt x="99" y="18"/>
                    <a:pt x="99" y="18"/>
                  </a:cubicBezTo>
                  <a:cubicBezTo>
                    <a:pt x="99" y="18"/>
                    <a:pt x="99" y="18"/>
                    <a:pt x="99" y="18"/>
                  </a:cubicBezTo>
                  <a:cubicBezTo>
                    <a:pt x="99" y="18"/>
                    <a:pt x="99" y="18"/>
                    <a:pt x="99" y="18"/>
                  </a:cubicBezTo>
                  <a:cubicBezTo>
                    <a:pt x="98" y="18"/>
                    <a:pt x="98" y="18"/>
                    <a:pt x="98" y="18"/>
                  </a:cubicBezTo>
                  <a:cubicBezTo>
                    <a:pt x="97" y="18"/>
                    <a:pt x="97" y="18"/>
                    <a:pt x="97" y="18"/>
                  </a:cubicBezTo>
                  <a:cubicBezTo>
                    <a:pt x="97" y="18"/>
                    <a:pt x="97" y="18"/>
                    <a:pt x="97" y="18"/>
                  </a:cubicBezTo>
                  <a:cubicBezTo>
                    <a:pt x="96" y="18"/>
                    <a:pt x="96" y="18"/>
                    <a:pt x="96" y="18"/>
                  </a:cubicBezTo>
                  <a:cubicBezTo>
                    <a:pt x="96" y="18"/>
                    <a:pt x="96" y="18"/>
                    <a:pt x="96" y="18"/>
                  </a:cubicBezTo>
                  <a:cubicBezTo>
                    <a:pt x="96" y="18"/>
                    <a:pt x="96" y="18"/>
                    <a:pt x="96" y="18"/>
                  </a:cubicBezTo>
                  <a:cubicBezTo>
                    <a:pt x="96" y="18"/>
                    <a:pt x="96" y="18"/>
                    <a:pt x="96" y="18"/>
                  </a:cubicBezTo>
                  <a:cubicBezTo>
                    <a:pt x="96" y="18"/>
                    <a:pt x="96" y="18"/>
                    <a:pt x="96" y="18"/>
                  </a:cubicBezTo>
                  <a:cubicBezTo>
                    <a:pt x="96" y="17"/>
                    <a:pt x="96" y="17"/>
                    <a:pt x="96" y="17"/>
                  </a:cubicBezTo>
                  <a:cubicBezTo>
                    <a:pt x="96" y="17"/>
                    <a:pt x="96" y="17"/>
                    <a:pt x="96" y="17"/>
                  </a:cubicBezTo>
                  <a:cubicBezTo>
                    <a:pt x="95" y="18"/>
                    <a:pt x="95" y="18"/>
                    <a:pt x="95" y="18"/>
                  </a:cubicBezTo>
                  <a:cubicBezTo>
                    <a:pt x="92" y="17"/>
                    <a:pt x="92" y="17"/>
                    <a:pt x="92" y="17"/>
                  </a:cubicBezTo>
                  <a:cubicBezTo>
                    <a:pt x="91" y="18"/>
                    <a:pt x="91" y="18"/>
                    <a:pt x="91" y="18"/>
                  </a:cubicBezTo>
                  <a:cubicBezTo>
                    <a:pt x="91" y="17"/>
                    <a:pt x="91" y="17"/>
                    <a:pt x="91" y="17"/>
                  </a:cubicBezTo>
                  <a:cubicBezTo>
                    <a:pt x="91" y="16"/>
                    <a:pt x="91" y="16"/>
                    <a:pt x="91" y="16"/>
                  </a:cubicBezTo>
                  <a:cubicBezTo>
                    <a:pt x="91" y="16"/>
                    <a:pt x="91" y="16"/>
                    <a:pt x="91" y="16"/>
                  </a:cubicBezTo>
                  <a:cubicBezTo>
                    <a:pt x="90" y="16"/>
                    <a:pt x="90" y="16"/>
                    <a:pt x="90" y="16"/>
                  </a:cubicBezTo>
                  <a:cubicBezTo>
                    <a:pt x="90" y="16"/>
                    <a:pt x="90" y="16"/>
                    <a:pt x="90" y="16"/>
                  </a:cubicBezTo>
                  <a:cubicBezTo>
                    <a:pt x="90" y="16"/>
                    <a:pt x="90" y="16"/>
                    <a:pt x="90" y="16"/>
                  </a:cubicBezTo>
                  <a:cubicBezTo>
                    <a:pt x="90" y="16"/>
                    <a:pt x="90" y="16"/>
                    <a:pt x="90" y="16"/>
                  </a:cubicBezTo>
                  <a:cubicBezTo>
                    <a:pt x="89" y="16"/>
                    <a:pt x="89" y="16"/>
                    <a:pt x="89" y="16"/>
                  </a:cubicBezTo>
                  <a:cubicBezTo>
                    <a:pt x="89" y="16"/>
                    <a:pt x="89" y="16"/>
                    <a:pt x="89" y="16"/>
                  </a:cubicBezTo>
                  <a:cubicBezTo>
                    <a:pt x="89" y="16"/>
                    <a:pt x="89" y="16"/>
                    <a:pt x="89" y="16"/>
                  </a:cubicBezTo>
                  <a:cubicBezTo>
                    <a:pt x="88" y="16"/>
                    <a:pt x="88" y="16"/>
                    <a:pt x="88" y="16"/>
                  </a:cubicBezTo>
                  <a:cubicBezTo>
                    <a:pt x="88" y="16"/>
                    <a:pt x="88" y="16"/>
                    <a:pt x="88" y="16"/>
                  </a:cubicBezTo>
                  <a:cubicBezTo>
                    <a:pt x="88" y="17"/>
                    <a:pt x="88" y="17"/>
                    <a:pt x="88" y="17"/>
                  </a:cubicBezTo>
                  <a:cubicBezTo>
                    <a:pt x="88" y="16"/>
                    <a:pt x="88" y="16"/>
                    <a:pt x="88" y="16"/>
                  </a:cubicBezTo>
                  <a:cubicBezTo>
                    <a:pt x="88" y="16"/>
                    <a:pt x="88" y="16"/>
                    <a:pt x="88" y="16"/>
                  </a:cubicBezTo>
                  <a:cubicBezTo>
                    <a:pt x="88" y="16"/>
                    <a:pt x="88" y="16"/>
                    <a:pt x="88" y="16"/>
                  </a:cubicBezTo>
                  <a:cubicBezTo>
                    <a:pt x="88" y="15"/>
                    <a:pt x="88" y="15"/>
                    <a:pt x="88" y="15"/>
                  </a:cubicBezTo>
                  <a:cubicBezTo>
                    <a:pt x="88" y="15"/>
                    <a:pt x="88" y="15"/>
                    <a:pt x="88" y="15"/>
                  </a:cubicBezTo>
                  <a:cubicBezTo>
                    <a:pt x="88" y="15"/>
                    <a:pt x="88" y="15"/>
                    <a:pt x="88" y="15"/>
                  </a:cubicBezTo>
                  <a:cubicBezTo>
                    <a:pt x="88" y="15"/>
                    <a:pt x="88" y="15"/>
                    <a:pt x="88" y="15"/>
                  </a:cubicBezTo>
                  <a:cubicBezTo>
                    <a:pt x="88" y="15"/>
                    <a:pt x="88" y="15"/>
                    <a:pt x="88" y="15"/>
                  </a:cubicBezTo>
                  <a:cubicBezTo>
                    <a:pt x="88" y="14"/>
                    <a:pt x="88" y="14"/>
                    <a:pt x="88" y="14"/>
                  </a:cubicBezTo>
                  <a:cubicBezTo>
                    <a:pt x="87" y="14"/>
                    <a:pt x="87" y="14"/>
                    <a:pt x="87" y="14"/>
                  </a:cubicBezTo>
                  <a:cubicBezTo>
                    <a:pt x="87" y="14"/>
                    <a:pt x="87" y="14"/>
                    <a:pt x="87" y="14"/>
                  </a:cubicBezTo>
                  <a:cubicBezTo>
                    <a:pt x="87" y="13"/>
                    <a:pt x="87" y="13"/>
                    <a:pt x="87" y="13"/>
                  </a:cubicBezTo>
                  <a:cubicBezTo>
                    <a:pt x="87" y="13"/>
                    <a:pt x="87" y="13"/>
                    <a:pt x="87" y="13"/>
                  </a:cubicBezTo>
                  <a:cubicBezTo>
                    <a:pt x="87" y="13"/>
                    <a:pt x="87" y="13"/>
                    <a:pt x="87" y="13"/>
                  </a:cubicBezTo>
                  <a:cubicBezTo>
                    <a:pt x="87" y="13"/>
                    <a:pt x="87" y="13"/>
                    <a:pt x="87" y="13"/>
                  </a:cubicBezTo>
                  <a:cubicBezTo>
                    <a:pt x="85" y="10"/>
                    <a:pt x="85" y="10"/>
                    <a:pt x="85" y="10"/>
                  </a:cubicBezTo>
                  <a:cubicBezTo>
                    <a:pt x="83" y="9"/>
                    <a:pt x="83" y="9"/>
                    <a:pt x="83" y="9"/>
                  </a:cubicBezTo>
                  <a:cubicBezTo>
                    <a:pt x="83" y="9"/>
                    <a:pt x="83" y="9"/>
                    <a:pt x="83" y="9"/>
                  </a:cubicBezTo>
                  <a:cubicBezTo>
                    <a:pt x="83" y="8"/>
                    <a:pt x="83" y="8"/>
                    <a:pt x="83" y="8"/>
                  </a:cubicBezTo>
                  <a:cubicBezTo>
                    <a:pt x="83" y="8"/>
                    <a:pt x="83" y="8"/>
                    <a:pt x="83" y="8"/>
                  </a:cubicBezTo>
                  <a:cubicBezTo>
                    <a:pt x="83" y="8"/>
                    <a:pt x="83" y="8"/>
                    <a:pt x="83" y="8"/>
                  </a:cubicBezTo>
                  <a:cubicBezTo>
                    <a:pt x="83" y="8"/>
                    <a:pt x="83" y="8"/>
                    <a:pt x="83" y="8"/>
                  </a:cubicBezTo>
                  <a:cubicBezTo>
                    <a:pt x="82" y="7"/>
                    <a:pt x="82" y="7"/>
                    <a:pt x="82" y="7"/>
                  </a:cubicBezTo>
                  <a:cubicBezTo>
                    <a:pt x="81" y="7"/>
                    <a:pt x="81" y="7"/>
                    <a:pt x="81" y="7"/>
                  </a:cubicBezTo>
                  <a:cubicBezTo>
                    <a:pt x="79" y="6"/>
                    <a:pt x="79" y="6"/>
                    <a:pt x="79" y="6"/>
                  </a:cubicBezTo>
                  <a:cubicBezTo>
                    <a:pt x="78" y="6"/>
                    <a:pt x="78" y="6"/>
                    <a:pt x="78" y="6"/>
                  </a:cubicBezTo>
                  <a:cubicBezTo>
                    <a:pt x="78" y="5"/>
                    <a:pt x="78" y="5"/>
                    <a:pt x="78" y="5"/>
                  </a:cubicBezTo>
                  <a:cubicBezTo>
                    <a:pt x="78" y="5"/>
                    <a:pt x="78" y="5"/>
                    <a:pt x="78" y="5"/>
                  </a:cubicBezTo>
                  <a:cubicBezTo>
                    <a:pt x="78" y="5"/>
                    <a:pt x="78" y="5"/>
                    <a:pt x="78" y="5"/>
                  </a:cubicBezTo>
                  <a:cubicBezTo>
                    <a:pt x="77" y="5"/>
                    <a:pt x="77" y="5"/>
                    <a:pt x="77" y="5"/>
                  </a:cubicBezTo>
                  <a:cubicBezTo>
                    <a:pt x="77" y="5"/>
                    <a:pt x="77" y="5"/>
                    <a:pt x="77" y="5"/>
                  </a:cubicBezTo>
                  <a:cubicBezTo>
                    <a:pt x="77" y="5"/>
                    <a:pt x="77" y="5"/>
                    <a:pt x="77" y="5"/>
                  </a:cubicBezTo>
                  <a:cubicBezTo>
                    <a:pt x="77" y="4"/>
                    <a:pt x="77" y="4"/>
                    <a:pt x="77" y="4"/>
                  </a:cubicBezTo>
                  <a:cubicBezTo>
                    <a:pt x="76" y="4"/>
                    <a:pt x="76" y="4"/>
                    <a:pt x="76" y="4"/>
                  </a:cubicBezTo>
                  <a:cubicBezTo>
                    <a:pt x="76" y="4"/>
                    <a:pt x="76" y="4"/>
                    <a:pt x="76" y="4"/>
                  </a:cubicBezTo>
                  <a:cubicBezTo>
                    <a:pt x="76" y="4"/>
                    <a:pt x="76" y="4"/>
                    <a:pt x="76" y="4"/>
                  </a:cubicBezTo>
                  <a:cubicBezTo>
                    <a:pt x="75" y="3"/>
                    <a:pt x="75" y="3"/>
                    <a:pt x="75" y="3"/>
                  </a:cubicBezTo>
                  <a:cubicBezTo>
                    <a:pt x="74" y="3"/>
                    <a:pt x="74" y="3"/>
                    <a:pt x="74" y="3"/>
                  </a:cubicBezTo>
                  <a:cubicBezTo>
                    <a:pt x="74" y="3"/>
                    <a:pt x="74" y="3"/>
                    <a:pt x="74" y="3"/>
                  </a:cubicBezTo>
                  <a:cubicBezTo>
                    <a:pt x="74" y="2"/>
                    <a:pt x="74" y="2"/>
                    <a:pt x="74" y="2"/>
                  </a:cubicBezTo>
                  <a:cubicBezTo>
                    <a:pt x="73" y="2"/>
                    <a:pt x="73" y="2"/>
                    <a:pt x="73" y="2"/>
                  </a:cubicBezTo>
                  <a:cubicBezTo>
                    <a:pt x="72" y="1"/>
                    <a:pt x="72" y="1"/>
                    <a:pt x="72" y="1"/>
                  </a:cubicBezTo>
                  <a:cubicBezTo>
                    <a:pt x="72" y="1"/>
                    <a:pt x="72" y="1"/>
                    <a:pt x="72" y="1"/>
                  </a:cubicBezTo>
                  <a:cubicBezTo>
                    <a:pt x="72" y="0"/>
                    <a:pt x="72" y="0"/>
                    <a:pt x="72" y="0"/>
                  </a:cubicBezTo>
                  <a:cubicBezTo>
                    <a:pt x="72" y="0"/>
                    <a:pt x="72" y="0"/>
                    <a:pt x="72" y="0"/>
                  </a:cubicBezTo>
                  <a:cubicBezTo>
                    <a:pt x="72" y="0"/>
                    <a:pt x="72" y="0"/>
                    <a:pt x="72" y="0"/>
                  </a:cubicBezTo>
                  <a:cubicBezTo>
                    <a:pt x="71" y="0"/>
                    <a:pt x="71" y="0"/>
                    <a:pt x="71" y="0"/>
                  </a:cubicBezTo>
                  <a:cubicBezTo>
                    <a:pt x="71" y="0"/>
                    <a:pt x="71" y="0"/>
                    <a:pt x="71" y="0"/>
                  </a:cubicBezTo>
                  <a:cubicBezTo>
                    <a:pt x="71" y="0"/>
                    <a:pt x="71" y="0"/>
                    <a:pt x="71" y="0"/>
                  </a:cubicBezTo>
                  <a:cubicBezTo>
                    <a:pt x="71" y="0"/>
                    <a:pt x="71" y="0"/>
                    <a:pt x="71" y="0"/>
                  </a:cubicBezTo>
                  <a:cubicBezTo>
                    <a:pt x="71" y="0"/>
                    <a:pt x="71" y="0"/>
                    <a:pt x="71" y="0"/>
                  </a:cubicBezTo>
                  <a:cubicBezTo>
                    <a:pt x="71" y="0"/>
                    <a:pt x="71" y="0"/>
                    <a:pt x="71" y="0"/>
                  </a:cubicBezTo>
                  <a:cubicBezTo>
                    <a:pt x="71" y="0"/>
                    <a:pt x="71" y="0"/>
                    <a:pt x="71" y="0"/>
                  </a:cubicBezTo>
                  <a:cubicBezTo>
                    <a:pt x="70" y="0"/>
                    <a:pt x="70" y="0"/>
                    <a:pt x="70" y="0"/>
                  </a:cubicBezTo>
                  <a:cubicBezTo>
                    <a:pt x="70" y="0"/>
                    <a:pt x="70" y="0"/>
                    <a:pt x="70" y="0"/>
                  </a:cubicBezTo>
                  <a:cubicBezTo>
                    <a:pt x="53" y="23"/>
                    <a:pt x="36" y="46"/>
                    <a:pt x="20" y="70"/>
                  </a:cubicBezTo>
                  <a:cubicBezTo>
                    <a:pt x="18" y="71"/>
                    <a:pt x="18" y="71"/>
                    <a:pt x="18" y="71"/>
                  </a:cubicBezTo>
                  <a:cubicBezTo>
                    <a:pt x="17" y="73"/>
                    <a:pt x="17" y="73"/>
                    <a:pt x="17" y="73"/>
                  </a:cubicBezTo>
                  <a:cubicBezTo>
                    <a:pt x="11" y="79"/>
                    <a:pt x="6" y="85"/>
                    <a:pt x="0" y="91"/>
                  </a:cubicBezTo>
                  <a:cubicBezTo>
                    <a:pt x="0" y="92"/>
                    <a:pt x="0" y="92"/>
                    <a:pt x="0" y="92"/>
                  </a:cubicBezTo>
                  <a:cubicBezTo>
                    <a:pt x="1" y="116"/>
                    <a:pt x="2" y="140"/>
                    <a:pt x="3" y="164"/>
                  </a:cubicBezTo>
                  <a:cubicBezTo>
                    <a:pt x="3" y="164"/>
                    <a:pt x="3" y="164"/>
                    <a:pt x="3" y="164"/>
                  </a:cubicBezTo>
                  <a:cubicBezTo>
                    <a:pt x="4" y="164"/>
                    <a:pt x="4" y="164"/>
                    <a:pt x="4" y="164"/>
                  </a:cubicBezTo>
                  <a:cubicBezTo>
                    <a:pt x="5" y="164"/>
                    <a:pt x="5" y="164"/>
                    <a:pt x="5" y="164"/>
                  </a:cubicBezTo>
                  <a:cubicBezTo>
                    <a:pt x="6" y="164"/>
                    <a:pt x="6" y="164"/>
                    <a:pt x="6" y="164"/>
                  </a:cubicBezTo>
                  <a:cubicBezTo>
                    <a:pt x="7" y="165"/>
                    <a:pt x="7" y="165"/>
                    <a:pt x="7" y="165"/>
                  </a:cubicBezTo>
                  <a:cubicBezTo>
                    <a:pt x="7" y="165"/>
                    <a:pt x="7" y="165"/>
                    <a:pt x="7" y="165"/>
                  </a:cubicBezTo>
                  <a:cubicBezTo>
                    <a:pt x="7" y="165"/>
                    <a:pt x="7" y="165"/>
                    <a:pt x="7" y="165"/>
                  </a:cubicBezTo>
                  <a:cubicBezTo>
                    <a:pt x="7" y="166"/>
                    <a:pt x="7" y="166"/>
                    <a:pt x="7" y="166"/>
                  </a:cubicBezTo>
                  <a:cubicBezTo>
                    <a:pt x="8" y="166"/>
                    <a:pt x="8" y="166"/>
                    <a:pt x="8" y="166"/>
                  </a:cubicBezTo>
                  <a:cubicBezTo>
                    <a:pt x="8" y="167"/>
                    <a:pt x="8" y="167"/>
                    <a:pt x="8" y="167"/>
                  </a:cubicBezTo>
                  <a:cubicBezTo>
                    <a:pt x="8" y="168"/>
                    <a:pt x="8" y="168"/>
                    <a:pt x="8" y="168"/>
                  </a:cubicBezTo>
                  <a:cubicBezTo>
                    <a:pt x="8" y="168"/>
                    <a:pt x="8" y="168"/>
                    <a:pt x="8" y="168"/>
                  </a:cubicBezTo>
                  <a:cubicBezTo>
                    <a:pt x="8" y="169"/>
                    <a:pt x="8" y="169"/>
                    <a:pt x="8" y="169"/>
                  </a:cubicBezTo>
                  <a:cubicBezTo>
                    <a:pt x="8" y="170"/>
                    <a:pt x="9" y="171"/>
                    <a:pt x="9" y="173"/>
                  </a:cubicBezTo>
                  <a:cubicBezTo>
                    <a:pt x="9" y="173"/>
                    <a:pt x="9" y="174"/>
                    <a:pt x="9" y="174"/>
                  </a:cubicBezTo>
                  <a:cubicBezTo>
                    <a:pt x="9" y="175"/>
                    <a:pt x="9" y="175"/>
                    <a:pt x="9" y="175"/>
                  </a:cubicBezTo>
                  <a:cubicBezTo>
                    <a:pt x="9" y="175"/>
                    <a:pt x="9" y="175"/>
                    <a:pt x="9" y="175"/>
                  </a:cubicBezTo>
                  <a:cubicBezTo>
                    <a:pt x="10" y="175"/>
                    <a:pt x="10" y="175"/>
                    <a:pt x="10" y="175"/>
                  </a:cubicBezTo>
                  <a:cubicBezTo>
                    <a:pt x="10" y="176"/>
                    <a:pt x="10" y="176"/>
                    <a:pt x="10" y="176"/>
                  </a:cubicBezTo>
                  <a:cubicBezTo>
                    <a:pt x="11" y="177"/>
                    <a:pt x="11" y="177"/>
                    <a:pt x="11" y="177"/>
                  </a:cubicBezTo>
                  <a:cubicBezTo>
                    <a:pt x="12" y="177"/>
                    <a:pt x="12" y="177"/>
                    <a:pt x="12" y="177"/>
                  </a:cubicBezTo>
                  <a:cubicBezTo>
                    <a:pt x="13" y="177"/>
                    <a:pt x="13" y="177"/>
                    <a:pt x="13" y="177"/>
                  </a:cubicBezTo>
                  <a:cubicBezTo>
                    <a:pt x="15" y="177"/>
                    <a:pt x="15" y="177"/>
                    <a:pt x="15" y="177"/>
                  </a:cubicBezTo>
                  <a:cubicBezTo>
                    <a:pt x="15" y="177"/>
                    <a:pt x="15" y="177"/>
                    <a:pt x="15" y="177"/>
                  </a:cubicBezTo>
                  <a:cubicBezTo>
                    <a:pt x="15" y="177"/>
                    <a:pt x="15" y="177"/>
                    <a:pt x="15" y="177"/>
                  </a:cubicBezTo>
                  <a:cubicBezTo>
                    <a:pt x="15" y="177"/>
                    <a:pt x="15" y="177"/>
                    <a:pt x="15" y="177"/>
                  </a:cubicBezTo>
                  <a:cubicBezTo>
                    <a:pt x="16" y="177"/>
                    <a:pt x="16" y="177"/>
                    <a:pt x="16" y="177"/>
                  </a:cubicBezTo>
                  <a:cubicBezTo>
                    <a:pt x="16" y="177"/>
                    <a:pt x="16" y="177"/>
                    <a:pt x="16" y="177"/>
                  </a:cubicBezTo>
                  <a:cubicBezTo>
                    <a:pt x="16" y="177"/>
                    <a:pt x="16" y="177"/>
                    <a:pt x="16" y="177"/>
                  </a:cubicBezTo>
                  <a:cubicBezTo>
                    <a:pt x="16" y="178"/>
                    <a:pt x="16" y="178"/>
                    <a:pt x="16" y="178"/>
                  </a:cubicBezTo>
                  <a:cubicBezTo>
                    <a:pt x="16" y="178"/>
                    <a:pt x="16" y="178"/>
                    <a:pt x="16" y="178"/>
                  </a:cubicBezTo>
                  <a:cubicBezTo>
                    <a:pt x="16" y="178"/>
                    <a:pt x="16" y="178"/>
                    <a:pt x="16" y="178"/>
                  </a:cubicBezTo>
                  <a:cubicBezTo>
                    <a:pt x="18" y="178"/>
                    <a:pt x="19" y="178"/>
                    <a:pt x="21" y="178"/>
                  </a:cubicBezTo>
                  <a:cubicBezTo>
                    <a:pt x="21" y="178"/>
                    <a:pt x="21" y="178"/>
                    <a:pt x="21" y="178"/>
                  </a:cubicBezTo>
                  <a:cubicBezTo>
                    <a:pt x="22" y="180"/>
                    <a:pt x="22" y="180"/>
                    <a:pt x="22" y="180"/>
                  </a:cubicBezTo>
                  <a:cubicBezTo>
                    <a:pt x="22" y="180"/>
                    <a:pt x="22" y="180"/>
                    <a:pt x="22" y="180"/>
                  </a:cubicBezTo>
                  <a:cubicBezTo>
                    <a:pt x="23" y="180"/>
                    <a:pt x="23" y="180"/>
                    <a:pt x="23" y="180"/>
                  </a:cubicBezTo>
                  <a:cubicBezTo>
                    <a:pt x="25" y="180"/>
                    <a:pt x="25" y="180"/>
                    <a:pt x="25" y="180"/>
                  </a:cubicBezTo>
                  <a:cubicBezTo>
                    <a:pt x="25" y="180"/>
                    <a:pt x="25" y="180"/>
                    <a:pt x="25" y="180"/>
                  </a:cubicBezTo>
                  <a:cubicBezTo>
                    <a:pt x="25" y="180"/>
                    <a:pt x="25" y="180"/>
                    <a:pt x="25" y="180"/>
                  </a:cubicBezTo>
                  <a:cubicBezTo>
                    <a:pt x="26" y="180"/>
                    <a:pt x="26" y="180"/>
                    <a:pt x="26" y="180"/>
                  </a:cubicBezTo>
                  <a:cubicBezTo>
                    <a:pt x="27" y="179"/>
                    <a:pt x="27" y="179"/>
                    <a:pt x="27" y="179"/>
                  </a:cubicBezTo>
                  <a:cubicBezTo>
                    <a:pt x="27" y="179"/>
                    <a:pt x="27" y="179"/>
                    <a:pt x="27" y="179"/>
                  </a:cubicBezTo>
                  <a:cubicBezTo>
                    <a:pt x="27" y="179"/>
                    <a:pt x="27" y="179"/>
                    <a:pt x="27" y="179"/>
                  </a:cubicBezTo>
                  <a:cubicBezTo>
                    <a:pt x="27" y="178"/>
                    <a:pt x="27" y="178"/>
                    <a:pt x="27" y="178"/>
                  </a:cubicBezTo>
                  <a:cubicBezTo>
                    <a:pt x="27" y="178"/>
                    <a:pt x="27" y="178"/>
                    <a:pt x="27" y="178"/>
                  </a:cubicBezTo>
                  <a:cubicBezTo>
                    <a:pt x="28" y="178"/>
                    <a:pt x="28" y="178"/>
                    <a:pt x="28" y="178"/>
                  </a:cubicBezTo>
                  <a:cubicBezTo>
                    <a:pt x="29" y="178"/>
                    <a:pt x="29" y="178"/>
                    <a:pt x="29" y="178"/>
                  </a:cubicBezTo>
                  <a:cubicBezTo>
                    <a:pt x="31" y="178"/>
                    <a:pt x="32" y="178"/>
                    <a:pt x="33" y="178"/>
                  </a:cubicBezTo>
                  <a:cubicBezTo>
                    <a:pt x="33" y="178"/>
                    <a:pt x="33" y="178"/>
                    <a:pt x="33" y="178"/>
                  </a:cubicBezTo>
                  <a:cubicBezTo>
                    <a:pt x="34" y="178"/>
                    <a:pt x="34" y="178"/>
                    <a:pt x="34" y="178"/>
                  </a:cubicBezTo>
                  <a:cubicBezTo>
                    <a:pt x="37" y="179"/>
                    <a:pt x="37" y="179"/>
                    <a:pt x="37" y="179"/>
                  </a:cubicBezTo>
                  <a:cubicBezTo>
                    <a:pt x="38" y="179"/>
                    <a:pt x="38" y="179"/>
                    <a:pt x="38" y="179"/>
                  </a:cubicBezTo>
                  <a:cubicBezTo>
                    <a:pt x="38" y="179"/>
                    <a:pt x="38" y="179"/>
                    <a:pt x="38" y="179"/>
                  </a:cubicBezTo>
                  <a:cubicBezTo>
                    <a:pt x="38" y="180"/>
                    <a:pt x="38" y="180"/>
                    <a:pt x="38" y="180"/>
                  </a:cubicBezTo>
                  <a:cubicBezTo>
                    <a:pt x="38" y="180"/>
                    <a:pt x="38" y="180"/>
                    <a:pt x="38" y="180"/>
                  </a:cubicBezTo>
                  <a:cubicBezTo>
                    <a:pt x="37" y="180"/>
                    <a:pt x="37" y="180"/>
                    <a:pt x="37" y="180"/>
                  </a:cubicBezTo>
                  <a:cubicBezTo>
                    <a:pt x="37" y="180"/>
                    <a:pt x="37" y="180"/>
                    <a:pt x="37" y="180"/>
                  </a:cubicBezTo>
                  <a:cubicBezTo>
                    <a:pt x="37" y="181"/>
                    <a:pt x="37" y="181"/>
                    <a:pt x="37" y="181"/>
                  </a:cubicBezTo>
                  <a:cubicBezTo>
                    <a:pt x="37" y="181"/>
                    <a:pt x="37" y="181"/>
                    <a:pt x="37" y="181"/>
                  </a:cubicBezTo>
                  <a:cubicBezTo>
                    <a:pt x="37" y="181"/>
                    <a:pt x="37" y="181"/>
                    <a:pt x="37" y="181"/>
                  </a:cubicBezTo>
                  <a:cubicBezTo>
                    <a:pt x="38" y="181"/>
                    <a:pt x="38" y="181"/>
                    <a:pt x="38" y="181"/>
                  </a:cubicBezTo>
                  <a:cubicBezTo>
                    <a:pt x="39" y="181"/>
                    <a:pt x="39" y="181"/>
                    <a:pt x="39" y="181"/>
                  </a:cubicBezTo>
                  <a:cubicBezTo>
                    <a:pt x="39" y="181"/>
                    <a:pt x="39" y="181"/>
                    <a:pt x="39" y="181"/>
                  </a:cubicBezTo>
                  <a:cubicBezTo>
                    <a:pt x="40" y="181"/>
                    <a:pt x="40" y="181"/>
                    <a:pt x="40" y="181"/>
                  </a:cubicBezTo>
                  <a:cubicBezTo>
                    <a:pt x="40" y="181"/>
                    <a:pt x="40" y="181"/>
                    <a:pt x="40" y="181"/>
                  </a:cubicBezTo>
                  <a:cubicBezTo>
                    <a:pt x="40" y="182"/>
                    <a:pt x="40" y="182"/>
                    <a:pt x="40" y="182"/>
                  </a:cubicBezTo>
                  <a:cubicBezTo>
                    <a:pt x="40" y="183"/>
                    <a:pt x="40" y="183"/>
                    <a:pt x="40" y="183"/>
                  </a:cubicBezTo>
                  <a:cubicBezTo>
                    <a:pt x="40" y="183"/>
                    <a:pt x="40" y="183"/>
                    <a:pt x="40" y="183"/>
                  </a:cubicBezTo>
                  <a:cubicBezTo>
                    <a:pt x="41" y="183"/>
                    <a:pt x="41" y="183"/>
                    <a:pt x="41" y="183"/>
                  </a:cubicBezTo>
                  <a:cubicBezTo>
                    <a:pt x="41" y="184"/>
                    <a:pt x="41" y="184"/>
                    <a:pt x="41" y="184"/>
                  </a:cubicBezTo>
                  <a:cubicBezTo>
                    <a:pt x="42" y="185"/>
                    <a:pt x="42" y="185"/>
                    <a:pt x="42" y="185"/>
                  </a:cubicBezTo>
                  <a:cubicBezTo>
                    <a:pt x="42" y="185"/>
                    <a:pt x="42" y="185"/>
                    <a:pt x="42" y="185"/>
                  </a:cubicBezTo>
                  <a:cubicBezTo>
                    <a:pt x="42" y="185"/>
                    <a:pt x="42" y="185"/>
                    <a:pt x="42" y="185"/>
                  </a:cubicBezTo>
                  <a:cubicBezTo>
                    <a:pt x="42" y="185"/>
                    <a:pt x="42" y="185"/>
                    <a:pt x="42" y="185"/>
                  </a:cubicBezTo>
                  <a:cubicBezTo>
                    <a:pt x="43" y="185"/>
                    <a:pt x="43" y="185"/>
                    <a:pt x="43" y="185"/>
                  </a:cubicBezTo>
                  <a:cubicBezTo>
                    <a:pt x="43" y="185"/>
                    <a:pt x="43" y="185"/>
                    <a:pt x="43" y="185"/>
                  </a:cubicBezTo>
                  <a:cubicBezTo>
                    <a:pt x="43" y="184"/>
                    <a:pt x="43" y="184"/>
                    <a:pt x="43" y="184"/>
                  </a:cubicBezTo>
                  <a:cubicBezTo>
                    <a:pt x="43" y="184"/>
                    <a:pt x="43" y="184"/>
                    <a:pt x="43" y="184"/>
                  </a:cubicBezTo>
                  <a:cubicBezTo>
                    <a:pt x="43" y="183"/>
                    <a:pt x="43" y="183"/>
                    <a:pt x="43" y="183"/>
                  </a:cubicBezTo>
                  <a:cubicBezTo>
                    <a:pt x="43" y="183"/>
                    <a:pt x="43" y="183"/>
                    <a:pt x="43" y="183"/>
                  </a:cubicBezTo>
                  <a:cubicBezTo>
                    <a:pt x="43" y="183"/>
                    <a:pt x="43" y="183"/>
                    <a:pt x="43" y="183"/>
                  </a:cubicBezTo>
                  <a:cubicBezTo>
                    <a:pt x="45" y="182"/>
                    <a:pt x="45" y="182"/>
                    <a:pt x="45" y="182"/>
                  </a:cubicBezTo>
                  <a:cubicBezTo>
                    <a:pt x="46" y="182"/>
                    <a:pt x="46" y="182"/>
                    <a:pt x="46" y="182"/>
                  </a:cubicBezTo>
                  <a:cubicBezTo>
                    <a:pt x="46" y="183"/>
                    <a:pt x="46" y="183"/>
                    <a:pt x="46" y="183"/>
                  </a:cubicBezTo>
                  <a:cubicBezTo>
                    <a:pt x="46" y="183"/>
                    <a:pt x="46" y="183"/>
                    <a:pt x="46" y="183"/>
                  </a:cubicBezTo>
                  <a:cubicBezTo>
                    <a:pt x="47" y="184"/>
                    <a:pt x="47" y="184"/>
                    <a:pt x="47" y="184"/>
                  </a:cubicBezTo>
                  <a:cubicBezTo>
                    <a:pt x="47" y="184"/>
                    <a:pt x="47" y="184"/>
                    <a:pt x="47" y="184"/>
                  </a:cubicBezTo>
                  <a:cubicBezTo>
                    <a:pt x="47" y="184"/>
                    <a:pt x="47" y="184"/>
                    <a:pt x="47" y="184"/>
                  </a:cubicBezTo>
                  <a:cubicBezTo>
                    <a:pt x="47" y="185"/>
                    <a:pt x="47" y="185"/>
                    <a:pt x="47" y="185"/>
                  </a:cubicBezTo>
                  <a:cubicBezTo>
                    <a:pt x="48" y="185"/>
                    <a:pt x="48" y="185"/>
                    <a:pt x="48" y="185"/>
                  </a:cubicBezTo>
                  <a:cubicBezTo>
                    <a:pt x="49" y="185"/>
                    <a:pt x="49" y="185"/>
                    <a:pt x="49" y="185"/>
                  </a:cubicBezTo>
                  <a:cubicBezTo>
                    <a:pt x="50" y="185"/>
                    <a:pt x="50" y="185"/>
                    <a:pt x="50" y="185"/>
                  </a:cubicBezTo>
                  <a:cubicBezTo>
                    <a:pt x="50" y="185"/>
                    <a:pt x="50" y="185"/>
                    <a:pt x="50" y="185"/>
                  </a:cubicBezTo>
                  <a:cubicBezTo>
                    <a:pt x="51" y="186"/>
                    <a:pt x="51" y="186"/>
                    <a:pt x="51" y="186"/>
                  </a:cubicBezTo>
                  <a:cubicBezTo>
                    <a:pt x="51" y="186"/>
                    <a:pt x="51" y="186"/>
                    <a:pt x="51" y="186"/>
                  </a:cubicBezTo>
                  <a:cubicBezTo>
                    <a:pt x="51" y="187"/>
                    <a:pt x="51" y="187"/>
                    <a:pt x="51" y="187"/>
                  </a:cubicBezTo>
                  <a:cubicBezTo>
                    <a:pt x="51" y="187"/>
                    <a:pt x="51" y="187"/>
                    <a:pt x="51" y="187"/>
                  </a:cubicBezTo>
                  <a:cubicBezTo>
                    <a:pt x="52" y="187"/>
                    <a:pt x="52" y="187"/>
                    <a:pt x="52" y="187"/>
                  </a:cubicBezTo>
                  <a:cubicBezTo>
                    <a:pt x="53" y="187"/>
                    <a:pt x="53" y="187"/>
                    <a:pt x="53" y="187"/>
                  </a:cubicBezTo>
                  <a:cubicBezTo>
                    <a:pt x="53" y="187"/>
                    <a:pt x="53" y="187"/>
                    <a:pt x="53" y="187"/>
                  </a:cubicBezTo>
                  <a:cubicBezTo>
                    <a:pt x="53" y="187"/>
                    <a:pt x="53" y="187"/>
                    <a:pt x="53" y="187"/>
                  </a:cubicBezTo>
                  <a:cubicBezTo>
                    <a:pt x="53" y="187"/>
                    <a:pt x="53" y="187"/>
                    <a:pt x="53" y="187"/>
                  </a:cubicBezTo>
                  <a:cubicBezTo>
                    <a:pt x="53" y="188"/>
                    <a:pt x="53" y="188"/>
                    <a:pt x="53" y="188"/>
                  </a:cubicBezTo>
                  <a:cubicBezTo>
                    <a:pt x="53" y="188"/>
                    <a:pt x="53" y="188"/>
                    <a:pt x="53" y="188"/>
                  </a:cubicBezTo>
                  <a:cubicBezTo>
                    <a:pt x="53" y="188"/>
                    <a:pt x="53" y="188"/>
                    <a:pt x="53" y="188"/>
                  </a:cubicBezTo>
                  <a:cubicBezTo>
                    <a:pt x="54" y="188"/>
                    <a:pt x="54" y="188"/>
                    <a:pt x="54" y="188"/>
                  </a:cubicBezTo>
                  <a:cubicBezTo>
                    <a:pt x="54" y="188"/>
                    <a:pt x="54" y="188"/>
                    <a:pt x="54" y="188"/>
                  </a:cubicBezTo>
                  <a:cubicBezTo>
                    <a:pt x="55" y="188"/>
                    <a:pt x="55" y="188"/>
                    <a:pt x="55" y="188"/>
                  </a:cubicBezTo>
                  <a:cubicBezTo>
                    <a:pt x="55" y="188"/>
                    <a:pt x="55" y="188"/>
                    <a:pt x="55" y="188"/>
                  </a:cubicBezTo>
                  <a:cubicBezTo>
                    <a:pt x="56" y="188"/>
                    <a:pt x="56" y="188"/>
                    <a:pt x="56" y="188"/>
                  </a:cubicBezTo>
                  <a:cubicBezTo>
                    <a:pt x="57" y="187"/>
                    <a:pt x="57" y="187"/>
                    <a:pt x="57" y="187"/>
                  </a:cubicBezTo>
                  <a:cubicBezTo>
                    <a:pt x="58" y="187"/>
                    <a:pt x="58" y="187"/>
                    <a:pt x="58" y="187"/>
                  </a:cubicBezTo>
                  <a:cubicBezTo>
                    <a:pt x="58" y="186"/>
                    <a:pt x="58" y="186"/>
                    <a:pt x="58" y="186"/>
                  </a:cubicBezTo>
                  <a:cubicBezTo>
                    <a:pt x="60" y="185"/>
                    <a:pt x="60" y="185"/>
                    <a:pt x="60" y="185"/>
                  </a:cubicBezTo>
                  <a:cubicBezTo>
                    <a:pt x="60" y="185"/>
                    <a:pt x="60" y="185"/>
                    <a:pt x="60" y="185"/>
                  </a:cubicBezTo>
                  <a:cubicBezTo>
                    <a:pt x="60" y="184"/>
                    <a:pt x="60" y="184"/>
                    <a:pt x="60" y="184"/>
                  </a:cubicBezTo>
                  <a:cubicBezTo>
                    <a:pt x="62" y="184"/>
                    <a:pt x="62" y="184"/>
                    <a:pt x="62" y="184"/>
                  </a:cubicBezTo>
                  <a:cubicBezTo>
                    <a:pt x="62" y="183"/>
                    <a:pt x="62" y="183"/>
                    <a:pt x="62" y="183"/>
                  </a:cubicBezTo>
                  <a:cubicBezTo>
                    <a:pt x="63" y="184"/>
                    <a:pt x="63" y="184"/>
                    <a:pt x="63" y="184"/>
                  </a:cubicBezTo>
                  <a:cubicBezTo>
                    <a:pt x="63" y="184"/>
                    <a:pt x="63" y="184"/>
                    <a:pt x="63" y="184"/>
                  </a:cubicBezTo>
                  <a:cubicBezTo>
                    <a:pt x="63" y="184"/>
                    <a:pt x="63" y="184"/>
                    <a:pt x="63" y="184"/>
                  </a:cubicBezTo>
                  <a:cubicBezTo>
                    <a:pt x="63" y="184"/>
                    <a:pt x="63" y="184"/>
                    <a:pt x="63" y="184"/>
                  </a:cubicBezTo>
                  <a:cubicBezTo>
                    <a:pt x="63" y="185"/>
                    <a:pt x="63" y="185"/>
                    <a:pt x="63" y="185"/>
                  </a:cubicBezTo>
                  <a:cubicBezTo>
                    <a:pt x="63" y="185"/>
                    <a:pt x="63" y="185"/>
                    <a:pt x="63" y="185"/>
                  </a:cubicBezTo>
                  <a:cubicBezTo>
                    <a:pt x="63" y="185"/>
                    <a:pt x="63" y="185"/>
                    <a:pt x="63" y="185"/>
                  </a:cubicBezTo>
                  <a:cubicBezTo>
                    <a:pt x="63" y="185"/>
                    <a:pt x="63" y="185"/>
                    <a:pt x="63" y="185"/>
                  </a:cubicBezTo>
                  <a:cubicBezTo>
                    <a:pt x="63" y="185"/>
                    <a:pt x="63" y="185"/>
                    <a:pt x="63" y="185"/>
                  </a:cubicBezTo>
                  <a:cubicBezTo>
                    <a:pt x="63" y="186"/>
                    <a:pt x="63" y="186"/>
                    <a:pt x="63" y="186"/>
                  </a:cubicBezTo>
                  <a:cubicBezTo>
                    <a:pt x="64" y="186"/>
                    <a:pt x="64" y="186"/>
                    <a:pt x="64" y="186"/>
                  </a:cubicBezTo>
                  <a:cubicBezTo>
                    <a:pt x="64" y="186"/>
                    <a:pt x="64" y="186"/>
                    <a:pt x="64" y="186"/>
                  </a:cubicBezTo>
                  <a:cubicBezTo>
                    <a:pt x="65" y="186"/>
                    <a:pt x="65" y="186"/>
                    <a:pt x="65" y="186"/>
                  </a:cubicBezTo>
                  <a:cubicBezTo>
                    <a:pt x="66" y="186"/>
                    <a:pt x="66" y="186"/>
                    <a:pt x="66" y="186"/>
                  </a:cubicBezTo>
                  <a:cubicBezTo>
                    <a:pt x="66" y="186"/>
                    <a:pt x="66" y="186"/>
                    <a:pt x="66" y="186"/>
                  </a:cubicBezTo>
                  <a:cubicBezTo>
                    <a:pt x="67" y="186"/>
                    <a:pt x="67" y="186"/>
                    <a:pt x="67" y="186"/>
                  </a:cubicBezTo>
                  <a:cubicBezTo>
                    <a:pt x="67" y="186"/>
                    <a:pt x="67" y="186"/>
                    <a:pt x="67" y="186"/>
                  </a:cubicBezTo>
                  <a:cubicBezTo>
                    <a:pt x="67" y="186"/>
                    <a:pt x="67" y="186"/>
                    <a:pt x="67" y="186"/>
                  </a:cubicBezTo>
                  <a:cubicBezTo>
                    <a:pt x="67" y="186"/>
                    <a:pt x="67" y="186"/>
                    <a:pt x="67" y="186"/>
                  </a:cubicBezTo>
                  <a:cubicBezTo>
                    <a:pt x="68" y="186"/>
                    <a:pt x="68" y="186"/>
                    <a:pt x="68" y="186"/>
                  </a:cubicBezTo>
                  <a:cubicBezTo>
                    <a:pt x="68" y="186"/>
                    <a:pt x="68" y="186"/>
                    <a:pt x="68" y="186"/>
                  </a:cubicBezTo>
                  <a:cubicBezTo>
                    <a:pt x="68" y="186"/>
                    <a:pt x="68" y="186"/>
                    <a:pt x="68" y="186"/>
                  </a:cubicBezTo>
                  <a:cubicBezTo>
                    <a:pt x="68" y="186"/>
                    <a:pt x="68" y="186"/>
                    <a:pt x="68" y="186"/>
                  </a:cubicBezTo>
                  <a:cubicBezTo>
                    <a:pt x="68" y="186"/>
                    <a:pt x="68" y="186"/>
                    <a:pt x="68" y="186"/>
                  </a:cubicBezTo>
                  <a:cubicBezTo>
                    <a:pt x="72" y="185"/>
                    <a:pt x="72" y="185"/>
                    <a:pt x="72" y="185"/>
                  </a:cubicBezTo>
                  <a:cubicBezTo>
                    <a:pt x="73" y="185"/>
                    <a:pt x="73" y="185"/>
                    <a:pt x="73" y="185"/>
                  </a:cubicBezTo>
                  <a:cubicBezTo>
                    <a:pt x="73" y="185"/>
                    <a:pt x="73" y="185"/>
                    <a:pt x="73" y="185"/>
                  </a:cubicBezTo>
                  <a:cubicBezTo>
                    <a:pt x="74" y="185"/>
                    <a:pt x="74" y="185"/>
                    <a:pt x="74" y="185"/>
                  </a:cubicBezTo>
                  <a:cubicBezTo>
                    <a:pt x="74" y="187"/>
                    <a:pt x="74" y="187"/>
                    <a:pt x="74" y="187"/>
                  </a:cubicBezTo>
                  <a:cubicBezTo>
                    <a:pt x="75" y="187"/>
                    <a:pt x="75" y="187"/>
                    <a:pt x="75" y="187"/>
                  </a:cubicBezTo>
                  <a:cubicBezTo>
                    <a:pt x="75" y="187"/>
                    <a:pt x="75" y="187"/>
                    <a:pt x="75" y="187"/>
                  </a:cubicBezTo>
                  <a:cubicBezTo>
                    <a:pt x="76" y="187"/>
                    <a:pt x="76" y="187"/>
                    <a:pt x="76" y="187"/>
                  </a:cubicBezTo>
                  <a:cubicBezTo>
                    <a:pt x="76" y="187"/>
                    <a:pt x="76" y="187"/>
                    <a:pt x="76" y="187"/>
                  </a:cubicBezTo>
                  <a:cubicBezTo>
                    <a:pt x="77" y="187"/>
                    <a:pt x="77" y="187"/>
                    <a:pt x="77" y="187"/>
                  </a:cubicBezTo>
                  <a:cubicBezTo>
                    <a:pt x="78" y="187"/>
                    <a:pt x="78" y="187"/>
                    <a:pt x="78" y="187"/>
                  </a:cubicBezTo>
                  <a:cubicBezTo>
                    <a:pt x="78" y="186"/>
                    <a:pt x="78" y="186"/>
                    <a:pt x="78" y="186"/>
                  </a:cubicBezTo>
                  <a:cubicBezTo>
                    <a:pt x="78" y="187"/>
                    <a:pt x="78" y="187"/>
                    <a:pt x="78" y="187"/>
                  </a:cubicBezTo>
                  <a:cubicBezTo>
                    <a:pt x="78" y="187"/>
                    <a:pt x="78" y="187"/>
                    <a:pt x="78" y="187"/>
                  </a:cubicBezTo>
                  <a:cubicBezTo>
                    <a:pt x="78" y="187"/>
                    <a:pt x="78" y="187"/>
                    <a:pt x="78" y="187"/>
                  </a:cubicBezTo>
                  <a:cubicBezTo>
                    <a:pt x="79" y="187"/>
                    <a:pt x="79" y="187"/>
                    <a:pt x="79" y="187"/>
                  </a:cubicBezTo>
                  <a:cubicBezTo>
                    <a:pt x="79" y="187"/>
                    <a:pt x="79" y="187"/>
                    <a:pt x="79" y="187"/>
                  </a:cubicBezTo>
                  <a:cubicBezTo>
                    <a:pt x="80" y="187"/>
                    <a:pt x="80" y="187"/>
                    <a:pt x="80" y="187"/>
                  </a:cubicBezTo>
                  <a:cubicBezTo>
                    <a:pt x="80" y="187"/>
                    <a:pt x="80" y="187"/>
                    <a:pt x="80" y="187"/>
                  </a:cubicBezTo>
                  <a:cubicBezTo>
                    <a:pt x="80" y="187"/>
                    <a:pt x="80" y="187"/>
                    <a:pt x="80" y="187"/>
                  </a:cubicBezTo>
                  <a:cubicBezTo>
                    <a:pt x="80" y="187"/>
                    <a:pt x="80" y="187"/>
                    <a:pt x="80" y="187"/>
                  </a:cubicBezTo>
                  <a:cubicBezTo>
                    <a:pt x="80" y="186"/>
                    <a:pt x="80" y="186"/>
                    <a:pt x="80" y="186"/>
                  </a:cubicBezTo>
                  <a:cubicBezTo>
                    <a:pt x="80" y="186"/>
                    <a:pt x="80" y="186"/>
                    <a:pt x="80" y="186"/>
                  </a:cubicBezTo>
                  <a:cubicBezTo>
                    <a:pt x="81" y="186"/>
                    <a:pt x="81" y="186"/>
                    <a:pt x="81" y="186"/>
                  </a:cubicBezTo>
                  <a:cubicBezTo>
                    <a:pt x="81" y="186"/>
                    <a:pt x="81" y="186"/>
                    <a:pt x="81" y="186"/>
                  </a:cubicBezTo>
                  <a:cubicBezTo>
                    <a:pt x="81" y="186"/>
                    <a:pt x="81" y="186"/>
                    <a:pt x="81" y="186"/>
                  </a:cubicBezTo>
                  <a:cubicBezTo>
                    <a:pt x="81" y="185"/>
                    <a:pt x="81" y="185"/>
                    <a:pt x="81" y="185"/>
                  </a:cubicBezTo>
                  <a:cubicBezTo>
                    <a:pt x="82" y="185"/>
                    <a:pt x="82" y="185"/>
                    <a:pt x="82" y="185"/>
                  </a:cubicBezTo>
                  <a:cubicBezTo>
                    <a:pt x="82" y="185"/>
                    <a:pt x="82" y="185"/>
                    <a:pt x="82" y="185"/>
                  </a:cubicBezTo>
                  <a:cubicBezTo>
                    <a:pt x="82" y="185"/>
                    <a:pt x="82" y="185"/>
                    <a:pt x="82" y="185"/>
                  </a:cubicBezTo>
                  <a:cubicBezTo>
                    <a:pt x="82" y="185"/>
                    <a:pt x="82" y="185"/>
                    <a:pt x="82" y="185"/>
                  </a:cubicBezTo>
                  <a:cubicBezTo>
                    <a:pt x="82" y="185"/>
                    <a:pt x="82" y="185"/>
                    <a:pt x="82" y="185"/>
                  </a:cubicBezTo>
                  <a:cubicBezTo>
                    <a:pt x="82" y="185"/>
                    <a:pt x="82" y="185"/>
                    <a:pt x="82" y="185"/>
                  </a:cubicBezTo>
                  <a:cubicBezTo>
                    <a:pt x="82" y="184"/>
                    <a:pt x="82" y="184"/>
                    <a:pt x="82" y="184"/>
                  </a:cubicBezTo>
                  <a:cubicBezTo>
                    <a:pt x="83" y="184"/>
                    <a:pt x="83" y="184"/>
                    <a:pt x="83" y="184"/>
                  </a:cubicBezTo>
                  <a:cubicBezTo>
                    <a:pt x="83" y="184"/>
                    <a:pt x="83" y="184"/>
                    <a:pt x="83" y="184"/>
                  </a:cubicBezTo>
                  <a:cubicBezTo>
                    <a:pt x="83" y="184"/>
                    <a:pt x="83" y="184"/>
                    <a:pt x="83" y="184"/>
                  </a:cubicBezTo>
                  <a:cubicBezTo>
                    <a:pt x="83" y="184"/>
                    <a:pt x="83" y="184"/>
                    <a:pt x="83" y="184"/>
                  </a:cubicBezTo>
                  <a:cubicBezTo>
                    <a:pt x="83" y="184"/>
                    <a:pt x="83" y="184"/>
                    <a:pt x="83" y="184"/>
                  </a:cubicBezTo>
                  <a:cubicBezTo>
                    <a:pt x="84" y="183"/>
                    <a:pt x="84" y="183"/>
                    <a:pt x="84" y="183"/>
                  </a:cubicBezTo>
                  <a:cubicBezTo>
                    <a:pt x="84" y="182"/>
                    <a:pt x="84" y="182"/>
                    <a:pt x="84" y="182"/>
                  </a:cubicBezTo>
                  <a:cubicBezTo>
                    <a:pt x="84" y="182"/>
                    <a:pt x="84" y="182"/>
                    <a:pt x="84" y="182"/>
                  </a:cubicBezTo>
                  <a:cubicBezTo>
                    <a:pt x="84" y="182"/>
                    <a:pt x="84" y="182"/>
                    <a:pt x="84" y="182"/>
                  </a:cubicBezTo>
                  <a:cubicBezTo>
                    <a:pt x="84" y="182"/>
                    <a:pt x="84" y="182"/>
                    <a:pt x="84" y="182"/>
                  </a:cubicBezTo>
                  <a:cubicBezTo>
                    <a:pt x="84" y="182"/>
                    <a:pt x="84" y="182"/>
                    <a:pt x="84" y="182"/>
                  </a:cubicBezTo>
                  <a:cubicBezTo>
                    <a:pt x="84" y="181"/>
                    <a:pt x="84" y="181"/>
                    <a:pt x="84" y="181"/>
                  </a:cubicBezTo>
                  <a:cubicBezTo>
                    <a:pt x="84" y="181"/>
                    <a:pt x="84" y="181"/>
                    <a:pt x="84" y="181"/>
                  </a:cubicBezTo>
                  <a:cubicBezTo>
                    <a:pt x="84" y="181"/>
                    <a:pt x="84" y="181"/>
                    <a:pt x="84" y="181"/>
                  </a:cubicBezTo>
                  <a:cubicBezTo>
                    <a:pt x="84" y="180"/>
                    <a:pt x="84" y="180"/>
                    <a:pt x="84" y="180"/>
                  </a:cubicBezTo>
                  <a:cubicBezTo>
                    <a:pt x="84" y="180"/>
                    <a:pt x="84" y="180"/>
                    <a:pt x="84" y="180"/>
                  </a:cubicBezTo>
                  <a:cubicBezTo>
                    <a:pt x="84" y="180"/>
                    <a:pt x="84" y="180"/>
                    <a:pt x="84" y="180"/>
                  </a:cubicBezTo>
                  <a:cubicBezTo>
                    <a:pt x="84" y="180"/>
                    <a:pt x="84" y="180"/>
                    <a:pt x="84" y="180"/>
                  </a:cubicBezTo>
                  <a:cubicBezTo>
                    <a:pt x="85" y="179"/>
                    <a:pt x="85" y="179"/>
                    <a:pt x="85" y="179"/>
                  </a:cubicBezTo>
                  <a:cubicBezTo>
                    <a:pt x="85" y="179"/>
                    <a:pt x="85" y="179"/>
                    <a:pt x="85" y="179"/>
                  </a:cubicBezTo>
                  <a:cubicBezTo>
                    <a:pt x="85" y="179"/>
                    <a:pt x="85" y="179"/>
                    <a:pt x="85" y="179"/>
                  </a:cubicBezTo>
                  <a:cubicBezTo>
                    <a:pt x="85" y="179"/>
                    <a:pt x="85" y="179"/>
                    <a:pt x="85" y="179"/>
                  </a:cubicBezTo>
                  <a:cubicBezTo>
                    <a:pt x="85" y="179"/>
                    <a:pt x="85" y="179"/>
                    <a:pt x="85" y="179"/>
                  </a:cubicBezTo>
                  <a:cubicBezTo>
                    <a:pt x="84" y="179"/>
                    <a:pt x="84" y="179"/>
                    <a:pt x="84" y="179"/>
                  </a:cubicBezTo>
                  <a:cubicBezTo>
                    <a:pt x="84" y="178"/>
                    <a:pt x="84" y="178"/>
                    <a:pt x="84" y="178"/>
                  </a:cubicBezTo>
                  <a:cubicBezTo>
                    <a:pt x="84" y="178"/>
                    <a:pt x="84" y="178"/>
                    <a:pt x="84" y="178"/>
                  </a:cubicBezTo>
                  <a:cubicBezTo>
                    <a:pt x="84" y="177"/>
                    <a:pt x="84" y="177"/>
                    <a:pt x="84" y="177"/>
                  </a:cubicBezTo>
                  <a:cubicBezTo>
                    <a:pt x="84" y="177"/>
                    <a:pt x="84" y="177"/>
                    <a:pt x="84" y="177"/>
                  </a:cubicBezTo>
                  <a:cubicBezTo>
                    <a:pt x="85" y="177"/>
                    <a:pt x="85" y="177"/>
                    <a:pt x="85" y="177"/>
                  </a:cubicBezTo>
                  <a:cubicBezTo>
                    <a:pt x="85" y="176"/>
                    <a:pt x="85" y="176"/>
                    <a:pt x="85" y="176"/>
                  </a:cubicBezTo>
                  <a:cubicBezTo>
                    <a:pt x="90" y="174"/>
                    <a:pt x="90" y="174"/>
                    <a:pt x="90" y="174"/>
                  </a:cubicBezTo>
                  <a:cubicBezTo>
                    <a:pt x="90" y="174"/>
                    <a:pt x="90" y="174"/>
                    <a:pt x="90" y="174"/>
                  </a:cubicBezTo>
                  <a:cubicBezTo>
                    <a:pt x="90" y="174"/>
                    <a:pt x="90" y="174"/>
                    <a:pt x="90" y="174"/>
                  </a:cubicBezTo>
                  <a:cubicBezTo>
                    <a:pt x="90" y="174"/>
                    <a:pt x="90" y="174"/>
                    <a:pt x="90" y="174"/>
                  </a:cubicBezTo>
                  <a:cubicBezTo>
                    <a:pt x="90" y="174"/>
                    <a:pt x="90" y="174"/>
                    <a:pt x="90" y="174"/>
                  </a:cubicBezTo>
                  <a:cubicBezTo>
                    <a:pt x="89" y="176"/>
                    <a:pt x="89" y="176"/>
                    <a:pt x="89" y="176"/>
                  </a:cubicBezTo>
                  <a:cubicBezTo>
                    <a:pt x="89" y="176"/>
                    <a:pt x="89" y="176"/>
                    <a:pt x="89" y="176"/>
                  </a:cubicBezTo>
                  <a:cubicBezTo>
                    <a:pt x="89" y="177"/>
                    <a:pt x="89" y="177"/>
                    <a:pt x="89" y="177"/>
                  </a:cubicBezTo>
                  <a:cubicBezTo>
                    <a:pt x="89" y="177"/>
                    <a:pt x="89" y="177"/>
                    <a:pt x="89" y="177"/>
                  </a:cubicBezTo>
                  <a:cubicBezTo>
                    <a:pt x="89" y="177"/>
                    <a:pt x="89" y="177"/>
                    <a:pt x="89" y="177"/>
                  </a:cubicBezTo>
                  <a:cubicBezTo>
                    <a:pt x="89" y="177"/>
                    <a:pt x="89" y="177"/>
                    <a:pt x="89" y="177"/>
                  </a:cubicBezTo>
                  <a:cubicBezTo>
                    <a:pt x="89" y="177"/>
                    <a:pt x="89" y="177"/>
                    <a:pt x="89" y="177"/>
                  </a:cubicBezTo>
                  <a:cubicBezTo>
                    <a:pt x="89" y="178"/>
                    <a:pt x="89" y="178"/>
                    <a:pt x="89" y="178"/>
                  </a:cubicBezTo>
                  <a:cubicBezTo>
                    <a:pt x="89" y="178"/>
                    <a:pt x="89" y="178"/>
                    <a:pt x="89" y="178"/>
                  </a:cubicBezTo>
                  <a:cubicBezTo>
                    <a:pt x="89" y="178"/>
                    <a:pt x="89" y="178"/>
                    <a:pt x="89" y="178"/>
                  </a:cubicBezTo>
                  <a:cubicBezTo>
                    <a:pt x="89" y="178"/>
                    <a:pt x="89" y="178"/>
                    <a:pt x="89" y="178"/>
                  </a:cubicBezTo>
                  <a:cubicBezTo>
                    <a:pt x="89" y="178"/>
                    <a:pt x="89" y="178"/>
                    <a:pt x="89" y="178"/>
                  </a:cubicBezTo>
                  <a:cubicBezTo>
                    <a:pt x="89" y="178"/>
                    <a:pt x="89" y="178"/>
                    <a:pt x="89" y="178"/>
                  </a:cubicBezTo>
                  <a:cubicBezTo>
                    <a:pt x="89" y="178"/>
                    <a:pt x="89" y="178"/>
                    <a:pt x="89" y="178"/>
                  </a:cubicBezTo>
                  <a:cubicBezTo>
                    <a:pt x="89" y="178"/>
                    <a:pt x="89" y="178"/>
                    <a:pt x="89" y="178"/>
                  </a:cubicBezTo>
                  <a:cubicBezTo>
                    <a:pt x="88" y="179"/>
                    <a:pt x="88" y="179"/>
                    <a:pt x="88" y="179"/>
                  </a:cubicBezTo>
                  <a:cubicBezTo>
                    <a:pt x="88" y="179"/>
                    <a:pt x="88" y="179"/>
                    <a:pt x="88" y="179"/>
                  </a:cubicBezTo>
                  <a:cubicBezTo>
                    <a:pt x="89" y="179"/>
                    <a:pt x="89" y="179"/>
                    <a:pt x="89" y="179"/>
                  </a:cubicBezTo>
                  <a:cubicBezTo>
                    <a:pt x="89" y="179"/>
                    <a:pt x="89" y="179"/>
                    <a:pt x="89" y="179"/>
                  </a:cubicBezTo>
                  <a:cubicBezTo>
                    <a:pt x="89" y="179"/>
                    <a:pt x="89" y="179"/>
                    <a:pt x="89" y="179"/>
                  </a:cubicBezTo>
                  <a:cubicBezTo>
                    <a:pt x="89" y="179"/>
                    <a:pt x="89" y="179"/>
                    <a:pt x="89" y="179"/>
                  </a:cubicBezTo>
                  <a:cubicBezTo>
                    <a:pt x="89" y="179"/>
                    <a:pt x="89" y="179"/>
                    <a:pt x="89" y="179"/>
                  </a:cubicBezTo>
                  <a:cubicBezTo>
                    <a:pt x="89" y="179"/>
                    <a:pt x="89" y="179"/>
                    <a:pt x="89" y="179"/>
                  </a:cubicBezTo>
                  <a:cubicBezTo>
                    <a:pt x="89" y="179"/>
                    <a:pt x="89" y="179"/>
                    <a:pt x="89" y="179"/>
                  </a:cubicBezTo>
                  <a:cubicBezTo>
                    <a:pt x="90" y="178"/>
                    <a:pt x="90" y="178"/>
                    <a:pt x="90" y="178"/>
                  </a:cubicBezTo>
                  <a:cubicBezTo>
                    <a:pt x="91" y="178"/>
                    <a:pt x="91" y="178"/>
                    <a:pt x="91" y="178"/>
                  </a:cubicBezTo>
                  <a:cubicBezTo>
                    <a:pt x="91" y="178"/>
                    <a:pt x="91" y="178"/>
                    <a:pt x="91" y="178"/>
                  </a:cubicBezTo>
                  <a:cubicBezTo>
                    <a:pt x="91" y="178"/>
                    <a:pt x="91" y="178"/>
                    <a:pt x="91" y="178"/>
                  </a:cubicBezTo>
                  <a:cubicBezTo>
                    <a:pt x="91" y="177"/>
                    <a:pt x="91" y="177"/>
                    <a:pt x="91" y="177"/>
                  </a:cubicBezTo>
                  <a:cubicBezTo>
                    <a:pt x="91" y="177"/>
                    <a:pt x="91" y="177"/>
                    <a:pt x="91" y="177"/>
                  </a:cubicBezTo>
                  <a:cubicBezTo>
                    <a:pt x="91" y="176"/>
                    <a:pt x="91" y="176"/>
                    <a:pt x="91" y="176"/>
                  </a:cubicBezTo>
                  <a:cubicBezTo>
                    <a:pt x="91" y="175"/>
                    <a:pt x="91" y="175"/>
                    <a:pt x="91" y="175"/>
                  </a:cubicBezTo>
                  <a:cubicBezTo>
                    <a:pt x="91" y="175"/>
                    <a:pt x="91" y="175"/>
                    <a:pt x="91" y="175"/>
                  </a:cubicBezTo>
                  <a:cubicBezTo>
                    <a:pt x="91" y="175"/>
                    <a:pt x="91" y="175"/>
                    <a:pt x="91" y="175"/>
                  </a:cubicBezTo>
                  <a:cubicBezTo>
                    <a:pt x="92" y="175"/>
                    <a:pt x="92" y="175"/>
                    <a:pt x="92" y="175"/>
                  </a:cubicBezTo>
                  <a:cubicBezTo>
                    <a:pt x="92" y="174"/>
                    <a:pt x="92" y="174"/>
                    <a:pt x="92" y="174"/>
                  </a:cubicBezTo>
                  <a:cubicBezTo>
                    <a:pt x="92" y="173"/>
                    <a:pt x="92" y="173"/>
                    <a:pt x="92" y="173"/>
                  </a:cubicBezTo>
                  <a:cubicBezTo>
                    <a:pt x="92" y="173"/>
                    <a:pt x="92" y="173"/>
                    <a:pt x="92" y="173"/>
                  </a:cubicBezTo>
                  <a:cubicBezTo>
                    <a:pt x="92" y="172"/>
                    <a:pt x="92" y="172"/>
                    <a:pt x="92" y="172"/>
                  </a:cubicBezTo>
                  <a:cubicBezTo>
                    <a:pt x="93" y="172"/>
                    <a:pt x="93" y="172"/>
                    <a:pt x="93" y="172"/>
                  </a:cubicBezTo>
                  <a:cubicBezTo>
                    <a:pt x="93" y="172"/>
                    <a:pt x="93" y="172"/>
                    <a:pt x="93" y="172"/>
                  </a:cubicBezTo>
                  <a:cubicBezTo>
                    <a:pt x="93" y="172"/>
                    <a:pt x="93" y="172"/>
                    <a:pt x="93" y="172"/>
                  </a:cubicBezTo>
                  <a:cubicBezTo>
                    <a:pt x="93" y="172"/>
                    <a:pt x="93" y="172"/>
                    <a:pt x="93" y="172"/>
                  </a:cubicBezTo>
                  <a:cubicBezTo>
                    <a:pt x="93" y="171"/>
                    <a:pt x="93" y="171"/>
                    <a:pt x="93" y="171"/>
                  </a:cubicBezTo>
                  <a:cubicBezTo>
                    <a:pt x="93" y="171"/>
                    <a:pt x="93" y="171"/>
                    <a:pt x="93" y="171"/>
                  </a:cubicBezTo>
                  <a:cubicBezTo>
                    <a:pt x="93" y="171"/>
                    <a:pt x="93" y="171"/>
                    <a:pt x="93" y="171"/>
                  </a:cubicBezTo>
                  <a:cubicBezTo>
                    <a:pt x="93" y="171"/>
                    <a:pt x="93" y="171"/>
                    <a:pt x="93" y="171"/>
                  </a:cubicBezTo>
                  <a:cubicBezTo>
                    <a:pt x="93" y="171"/>
                    <a:pt x="93" y="171"/>
                    <a:pt x="93" y="171"/>
                  </a:cubicBezTo>
                  <a:cubicBezTo>
                    <a:pt x="93" y="170"/>
                    <a:pt x="93" y="170"/>
                    <a:pt x="93" y="170"/>
                  </a:cubicBezTo>
                  <a:cubicBezTo>
                    <a:pt x="93" y="170"/>
                    <a:pt x="93" y="170"/>
                    <a:pt x="93" y="170"/>
                  </a:cubicBezTo>
                  <a:cubicBezTo>
                    <a:pt x="93" y="170"/>
                    <a:pt x="93" y="170"/>
                    <a:pt x="93" y="170"/>
                  </a:cubicBezTo>
                  <a:cubicBezTo>
                    <a:pt x="93" y="169"/>
                    <a:pt x="93" y="169"/>
                    <a:pt x="93" y="169"/>
                  </a:cubicBezTo>
                  <a:cubicBezTo>
                    <a:pt x="93" y="169"/>
                    <a:pt x="93" y="169"/>
                    <a:pt x="93" y="169"/>
                  </a:cubicBezTo>
                  <a:cubicBezTo>
                    <a:pt x="93" y="169"/>
                    <a:pt x="93" y="169"/>
                    <a:pt x="93" y="169"/>
                  </a:cubicBezTo>
                  <a:cubicBezTo>
                    <a:pt x="93" y="169"/>
                    <a:pt x="93" y="169"/>
                    <a:pt x="93" y="169"/>
                  </a:cubicBezTo>
                  <a:cubicBezTo>
                    <a:pt x="93" y="168"/>
                    <a:pt x="93" y="168"/>
                    <a:pt x="93" y="168"/>
                  </a:cubicBezTo>
                  <a:cubicBezTo>
                    <a:pt x="93" y="168"/>
                    <a:pt x="93" y="168"/>
                    <a:pt x="93" y="168"/>
                  </a:cubicBezTo>
                  <a:cubicBezTo>
                    <a:pt x="93" y="168"/>
                    <a:pt x="93" y="168"/>
                    <a:pt x="93" y="168"/>
                  </a:cubicBezTo>
                  <a:cubicBezTo>
                    <a:pt x="93" y="168"/>
                    <a:pt x="93" y="168"/>
                    <a:pt x="93" y="168"/>
                  </a:cubicBezTo>
                  <a:cubicBezTo>
                    <a:pt x="94" y="168"/>
                    <a:pt x="94" y="168"/>
                    <a:pt x="94" y="168"/>
                  </a:cubicBezTo>
                  <a:cubicBezTo>
                    <a:pt x="94" y="168"/>
                    <a:pt x="94" y="168"/>
                    <a:pt x="94" y="168"/>
                  </a:cubicBezTo>
                  <a:cubicBezTo>
                    <a:pt x="95" y="168"/>
                    <a:pt x="95" y="168"/>
                    <a:pt x="95" y="168"/>
                  </a:cubicBezTo>
                  <a:cubicBezTo>
                    <a:pt x="95" y="168"/>
                    <a:pt x="95" y="168"/>
                    <a:pt x="95" y="168"/>
                  </a:cubicBezTo>
                  <a:cubicBezTo>
                    <a:pt x="95" y="168"/>
                    <a:pt x="95" y="168"/>
                    <a:pt x="95" y="168"/>
                  </a:cubicBezTo>
                  <a:cubicBezTo>
                    <a:pt x="96" y="169"/>
                    <a:pt x="96" y="169"/>
                    <a:pt x="96" y="169"/>
                  </a:cubicBezTo>
                  <a:cubicBezTo>
                    <a:pt x="96" y="169"/>
                    <a:pt x="96" y="169"/>
                    <a:pt x="96" y="169"/>
                  </a:cubicBezTo>
                  <a:cubicBezTo>
                    <a:pt x="96" y="169"/>
                    <a:pt x="96" y="169"/>
                    <a:pt x="96" y="169"/>
                  </a:cubicBezTo>
                  <a:cubicBezTo>
                    <a:pt x="96" y="169"/>
                    <a:pt x="96" y="169"/>
                    <a:pt x="96" y="169"/>
                  </a:cubicBezTo>
                  <a:cubicBezTo>
                    <a:pt x="96" y="170"/>
                    <a:pt x="96" y="170"/>
                    <a:pt x="96" y="170"/>
                  </a:cubicBezTo>
                  <a:cubicBezTo>
                    <a:pt x="96" y="170"/>
                    <a:pt x="96" y="170"/>
                    <a:pt x="96" y="170"/>
                  </a:cubicBezTo>
                  <a:cubicBezTo>
                    <a:pt x="96" y="170"/>
                    <a:pt x="96" y="170"/>
                    <a:pt x="96" y="170"/>
                  </a:cubicBezTo>
                  <a:cubicBezTo>
                    <a:pt x="96" y="170"/>
                    <a:pt x="96" y="170"/>
                    <a:pt x="96" y="170"/>
                  </a:cubicBezTo>
                  <a:cubicBezTo>
                    <a:pt x="96" y="171"/>
                    <a:pt x="96" y="171"/>
                    <a:pt x="96" y="171"/>
                  </a:cubicBezTo>
                  <a:cubicBezTo>
                    <a:pt x="94" y="173"/>
                    <a:pt x="94" y="173"/>
                    <a:pt x="94" y="173"/>
                  </a:cubicBezTo>
                  <a:cubicBezTo>
                    <a:pt x="93" y="174"/>
                    <a:pt x="93" y="174"/>
                    <a:pt x="93" y="174"/>
                  </a:cubicBezTo>
                  <a:cubicBezTo>
                    <a:pt x="93" y="174"/>
                    <a:pt x="93" y="174"/>
                    <a:pt x="93" y="174"/>
                  </a:cubicBezTo>
                  <a:cubicBezTo>
                    <a:pt x="93" y="175"/>
                    <a:pt x="93" y="175"/>
                    <a:pt x="93" y="175"/>
                  </a:cubicBezTo>
                  <a:cubicBezTo>
                    <a:pt x="93" y="175"/>
                    <a:pt x="93" y="175"/>
                    <a:pt x="93" y="175"/>
                  </a:cubicBezTo>
                  <a:cubicBezTo>
                    <a:pt x="93" y="175"/>
                    <a:pt x="93" y="175"/>
                    <a:pt x="93" y="175"/>
                  </a:cubicBezTo>
                  <a:cubicBezTo>
                    <a:pt x="93" y="175"/>
                    <a:pt x="93" y="175"/>
                    <a:pt x="93" y="175"/>
                  </a:cubicBezTo>
                  <a:cubicBezTo>
                    <a:pt x="93" y="175"/>
                    <a:pt x="93" y="175"/>
                    <a:pt x="93" y="175"/>
                  </a:cubicBezTo>
                  <a:cubicBezTo>
                    <a:pt x="93" y="176"/>
                    <a:pt x="93" y="176"/>
                    <a:pt x="93" y="176"/>
                  </a:cubicBezTo>
                  <a:cubicBezTo>
                    <a:pt x="93" y="176"/>
                    <a:pt x="93" y="176"/>
                    <a:pt x="93" y="176"/>
                  </a:cubicBezTo>
                  <a:cubicBezTo>
                    <a:pt x="93" y="176"/>
                    <a:pt x="93" y="176"/>
                    <a:pt x="93" y="176"/>
                  </a:cubicBezTo>
                  <a:cubicBezTo>
                    <a:pt x="93" y="176"/>
                    <a:pt x="93" y="176"/>
                    <a:pt x="93" y="176"/>
                  </a:cubicBezTo>
                  <a:cubicBezTo>
                    <a:pt x="94" y="176"/>
                    <a:pt x="94" y="176"/>
                    <a:pt x="94" y="176"/>
                  </a:cubicBezTo>
                  <a:cubicBezTo>
                    <a:pt x="94" y="176"/>
                    <a:pt x="94" y="176"/>
                    <a:pt x="94" y="176"/>
                  </a:cubicBezTo>
                  <a:cubicBezTo>
                    <a:pt x="94" y="176"/>
                    <a:pt x="94" y="176"/>
                    <a:pt x="94" y="176"/>
                  </a:cubicBezTo>
                  <a:cubicBezTo>
                    <a:pt x="94" y="175"/>
                    <a:pt x="94" y="175"/>
                    <a:pt x="94" y="175"/>
                  </a:cubicBezTo>
                  <a:cubicBezTo>
                    <a:pt x="94" y="175"/>
                    <a:pt x="94" y="175"/>
                    <a:pt x="94" y="175"/>
                  </a:cubicBezTo>
                  <a:cubicBezTo>
                    <a:pt x="94" y="175"/>
                    <a:pt x="94" y="175"/>
                    <a:pt x="94" y="175"/>
                  </a:cubicBezTo>
                  <a:cubicBezTo>
                    <a:pt x="94" y="175"/>
                    <a:pt x="94" y="175"/>
                    <a:pt x="94" y="175"/>
                  </a:cubicBezTo>
                  <a:cubicBezTo>
                    <a:pt x="94" y="175"/>
                    <a:pt x="94" y="175"/>
                    <a:pt x="94" y="175"/>
                  </a:cubicBezTo>
                  <a:cubicBezTo>
                    <a:pt x="94" y="175"/>
                    <a:pt x="94" y="175"/>
                    <a:pt x="94" y="175"/>
                  </a:cubicBezTo>
                  <a:cubicBezTo>
                    <a:pt x="94" y="175"/>
                    <a:pt x="94" y="175"/>
                    <a:pt x="94" y="175"/>
                  </a:cubicBezTo>
                  <a:cubicBezTo>
                    <a:pt x="94" y="175"/>
                    <a:pt x="94" y="175"/>
                    <a:pt x="94" y="175"/>
                  </a:cubicBezTo>
                  <a:cubicBezTo>
                    <a:pt x="94" y="175"/>
                    <a:pt x="94" y="175"/>
                    <a:pt x="94" y="175"/>
                  </a:cubicBezTo>
                  <a:cubicBezTo>
                    <a:pt x="94" y="175"/>
                    <a:pt x="94" y="175"/>
                    <a:pt x="94" y="175"/>
                  </a:cubicBezTo>
                  <a:cubicBezTo>
                    <a:pt x="94" y="174"/>
                    <a:pt x="94" y="174"/>
                    <a:pt x="94" y="174"/>
                  </a:cubicBezTo>
                  <a:cubicBezTo>
                    <a:pt x="94" y="174"/>
                    <a:pt x="94" y="174"/>
                    <a:pt x="94" y="174"/>
                  </a:cubicBezTo>
                  <a:cubicBezTo>
                    <a:pt x="94" y="174"/>
                    <a:pt x="94" y="174"/>
                    <a:pt x="94" y="174"/>
                  </a:cubicBezTo>
                  <a:cubicBezTo>
                    <a:pt x="95" y="174"/>
                    <a:pt x="95" y="174"/>
                    <a:pt x="95" y="174"/>
                  </a:cubicBezTo>
                  <a:cubicBezTo>
                    <a:pt x="95" y="173"/>
                    <a:pt x="95" y="173"/>
                    <a:pt x="95" y="173"/>
                  </a:cubicBezTo>
                  <a:cubicBezTo>
                    <a:pt x="95" y="174"/>
                    <a:pt x="95" y="174"/>
                    <a:pt x="95" y="174"/>
                  </a:cubicBezTo>
                  <a:cubicBezTo>
                    <a:pt x="95" y="174"/>
                    <a:pt x="95" y="174"/>
                    <a:pt x="95" y="174"/>
                  </a:cubicBezTo>
                  <a:cubicBezTo>
                    <a:pt x="95" y="174"/>
                    <a:pt x="95" y="174"/>
                    <a:pt x="95" y="174"/>
                  </a:cubicBezTo>
                  <a:cubicBezTo>
                    <a:pt x="96" y="174"/>
                    <a:pt x="96" y="174"/>
                    <a:pt x="96" y="174"/>
                  </a:cubicBezTo>
                  <a:cubicBezTo>
                    <a:pt x="96" y="173"/>
                    <a:pt x="96" y="173"/>
                    <a:pt x="96" y="173"/>
                  </a:cubicBezTo>
                  <a:cubicBezTo>
                    <a:pt x="96" y="173"/>
                    <a:pt x="96" y="173"/>
                    <a:pt x="96" y="173"/>
                  </a:cubicBezTo>
                  <a:cubicBezTo>
                    <a:pt x="96" y="173"/>
                    <a:pt x="96" y="173"/>
                    <a:pt x="96" y="173"/>
                  </a:cubicBezTo>
                  <a:cubicBezTo>
                    <a:pt x="96" y="173"/>
                    <a:pt x="96" y="173"/>
                    <a:pt x="96" y="173"/>
                  </a:cubicBezTo>
                  <a:cubicBezTo>
                    <a:pt x="96" y="173"/>
                    <a:pt x="96" y="173"/>
                    <a:pt x="96" y="173"/>
                  </a:cubicBezTo>
                  <a:cubicBezTo>
                    <a:pt x="96" y="173"/>
                    <a:pt x="96" y="173"/>
                    <a:pt x="96" y="173"/>
                  </a:cubicBezTo>
                  <a:cubicBezTo>
                    <a:pt x="96" y="173"/>
                    <a:pt x="96" y="173"/>
                    <a:pt x="96" y="173"/>
                  </a:cubicBezTo>
                  <a:cubicBezTo>
                    <a:pt x="96" y="172"/>
                    <a:pt x="96" y="172"/>
                    <a:pt x="96" y="172"/>
                  </a:cubicBezTo>
                  <a:cubicBezTo>
                    <a:pt x="96" y="172"/>
                    <a:pt x="96" y="172"/>
                    <a:pt x="96" y="172"/>
                  </a:cubicBezTo>
                  <a:cubicBezTo>
                    <a:pt x="96" y="172"/>
                    <a:pt x="96" y="172"/>
                    <a:pt x="96" y="172"/>
                  </a:cubicBezTo>
                  <a:cubicBezTo>
                    <a:pt x="96" y="172"/>
                    <a:pt x="96" y="172"/>
                    <a:pt x="96" y="172"/>
                  </a:cubicBezTo>
                  <a:cubicBezTo>
                    <a:pt x="96" y="172"/>
                    <a:pt x="96" y="172"/>
                    <a:pt x="96" y="172"/>
                  </a:cubicBezTo>
                  <a:cubicBezTo>
                    <a:pt x="96" y="172"/>
                    <a:pt x="96" y="172"/>
                    <a:pt x="96" y="172"/>
                  </a:cubicBezTo>
                  <a:cubicBezTo>
                    <a:pt x="97" y="172"/>
                    <a:pt x="97" y="172"/>
                    <a:pt x="97" y="172"/>
                  </a:cubicBezTo>
                  <a:cubicBezTo>
                    <a:pt x="97" y="172"/>
                    <a:pt x="97" y="172"/>
                    <a:pt x="97" y="172"/>
                  </a:cubicBezTo>
                  <a:cubicBezTo>
                    <a:pt x="97" y="172"/>
                    <a:pt x="97" y="172"/>
                    <a:pt x="97" y="172"/>
                  </a:cubicBezTo>
                  <a:cubicBezTo>
                    <a:pt x="97" y="172"/>
                    <a:pt x="97" y="172"/>
                    <a:pt x="97" y="172"/>
                  </a:cubicBezTo>
                  <a:cubicBezTo>
                    <a:pt x="97" y="172"/>
                    <a:pt x="97" y="172"/>
                    <a:pt x="97" y="172"/>
                  </a:cubicBezTo>
                  <a:cubicBezTo>
                    <a:pt x="97" y="172"/>
                    <a:pt x="97" y="172"/>
                    <a:pt x="97" y="172"/>
                  </a:cubicBezTo>
                  <a:cubicBezTo>
                    <a:pt x="97" y="173"/>
                    <a:pt x="97" y="173"/>
                    <a:pt x="97" y="173"/>
                  </a:cubicBezTo>
                  <a:cubicBezTo>
                    <a:pt x="97" y="173"/>
                    <a:pt x="97" y="173"/>
                    <a:pt x="97" y="173"/>
                  </a:cubicBezTo>
                  <a:cubicBezTo>
                    <a:pt x="98" y="172"/>
                    <a:pt x="98" y="172"/>
                    <a:pt x="98" y="172"/>
                  </a:cubicBezTo>
                  <a:cubicBezTo>
                    <a:pt x="98" y="171"/>
                    <a:pt x="98" y="171"/>
                    <a:pt x="98" y="171"/>
                  </a:cubicBezTo>
                  <a:cubicBezTo>
                    <a:pt x="99" y="170"/>
                    <a:pt x="99" y="170"/>
                    <a:pt x="99" y="170"/>
                  </a:cubicBezTo>
                  <a:cubicBezTo>
                    <a:pt x="99" y="170"/>
                    <a:pt x="99" y="170"/>
                    <a:pt x="99" y="170"/>
                  </a:cubicBezTo>
                  <a:cubicBezTo>
                    <a:pt x="99" y="170"/>
                    <a:pt x="99" y="170"/>
                    <a:pt x="99" y="170"/>
                  </a:cubicBezTo>
                  <a:cubicBezTo>
                    <a:pt x="99" y="170"/>
                    <a:pt x="99" y="170"/>
                    <a:pt x="99" y="170"/>
                  </a:cubicBezTo>
                  <a:cubicBezTo>
                    <a:pt x="99" y="169"/>
                    <a:pt x="99" y="169"/>
                    <a:pt x="99" y="169"/>
                  </a:cubicBezTo>
                  <a:cubicBezTo>
                    <a:pt x="99" y="169"/>
                    <a:pt x="99" y="169"/>
                    <a:pt x="99" y="169"/>
                  </a:cubicBezTo>
                  <a:cubicBezTo>
                    <a:pt x="99" y="169"/>
                    <a:pt x="99" y="169"/>
                    <a:pt x="99" y="169"/>
                  </a:cubicBezTo>
                  <a:cubicBezTo>
                    <a:pt x="99" y="168"/>
                    <a:pt x="99" y="168"/>
                    <a:pt x="99" y="168"/>
                  </a:cubicBezTo>
                  <a:cubicBezTo>
                    <a:pt x="98" y="168"/>
                    <a:pt x="98" y="168"/>
                    <a:pt x="98" y="168"/>
                  </a:cubicBezTo>
                  <a:cubicBezTo>
                    <a:pt x="97" y="167"/>
                    <a:pt x="97" y="167"/>
                    <a:pt x="97" y="167"/>
                  </a:cubicBezTo>
                  <a:cubicBezTo>
                    <a:pt x="97" y="167"/>
                    <a:pt x="97" y="167"/>
                    <a:pt x="97" y="167"/>
                  </a:cubicBezTo>
                  <a:cubicBezTo>
                    <a:pt x="96" y="167"/>
                    <a:pt x="96" y="167"/>
                    <a:pt x="96" y="167"/>
                  </a:cubicBezTo>
                  <a:cubicBezTo>
                    <a:pt x="96" y="166"/>
                    <a:pt x="96" y="166"/>
                    <a:pt x="96" y="166"/>
                  </a:cubicBezTo>
                  <a:cubicBezTo>
                    <a:pt x="97" y="166"/>
                    <a:pt x="97" y="166"/>
                    <a:pt x="97" y="166"/>
                  </a:cubicBezTo>
                  <a:cubicBezTo>
                    <a:pt x="97" y="166"/>
                    <a:pt x="97" y="166"/>
                    <a:pt x="97" y="166"/>
                  </a:cubicBezTo>
                  <a:cubicBezTo>
                    <a:pt x="96" y="166"/>
                    <a:pt x="96" y="166"/>
                    <a:pt x="96" y="166"/>
                  </a:cubicBezTo>
                  <a:cubicBezTo>
                    <a:pt x="96" y="165"/>
                    <a:pt x="96" y="165"/>
                    <a:pt x="96" y="165"/>
                  </a:cubicBezTo>
                  <a:cubicBezTo>
                    <a:pt x="96" y="165"/>
                    <a:pt x="96" y="165"/>
                    <a:pt x="96" y="165"/>
                  </a:cubicBezTo>
                  <a:cubicBezTo>
                    <a:pt x="96" y="164"/>
                    <a:pt x="96" y="164"/>
                    <a:pt x="96" y="164"/>
                  </a:cubicBezTo>
                  <a:cubicBezTo>
                    <a:pt x="96" y="165"/>
                    <a:pt x="96" y="165"/>
                    <a:pt x="96" y="165"/>
                  </a:cubicBezTo>
                  <a:cubicBezTo>
                    <a:pt x="96" y="165"/>
                    <a:pt x="96" y="165"/>
                    <a:pt x="96" y="165"/>
                  </a:cubicBezTo>
                  <a:cubicBezTo>
                    <a:pt x="97" y="165"/>
                    <a:pt x="97" y="165"/>
                    <a:pt x="97" y="165"/>
                  </a:cubicBezTo>
                  <a:cubicBezTo>
                    <a:pt x="97" y="165"/>
                    <a:pt x="97" y="165"/>
                    <a:pt x="97" y="165"/>
                  </a:cubicBezTo>
                  <a:cubicBezTo>
                    <a:pt x="97" y="165"/>
                    <a:pt x="97" y="165"/>
                    <a:pt x="97" y="165"/>
                  </a:cubicBezTo>
                  <a:cubicBezTo>
                    <a:pt x="97" y="165"/>
                    <a:pt x="97" y="165"/>
                    <a:pt x="97" y="165"/>
                  </a:cubicBezTo>
                  <a:cubicBezTo>
                    <a:pt x="97" y="165"/>
                    <a:pt x="97" y="165"/>
                    <a:pt x="97" y="165"/>
                  </a:cubicBezTo>
                  <a:cubicBezTo>
                    <a:pt x="98" y="165"/>
                    <a:pt x="98" y="165"/>
                    <a:pt x="98" y="165"/>
                  </a:cubicBezTo>
                  <a:cubicBezTo>
                    <a:pt x="98" y="164"/>
                    <a:pt x="98" y="164"/>
                    <a:pt x="98" y="164"/>
                  </a:cubicBezTo>
                  <a:cubicBezTo>
                    <a:pt x="98" y="164"/>
                    <a:pt x="98" y="164"/>
                    <a:pt x="98" y="164"/>
                  </a:cubicBezTo>
                  <a:cubicBezTo>
                    <a:pt x="98" y="164"/>
                    <a:pt x="98" y="164"/>
                    <a:pt x="98" y="164"/>
                  </a:cubicBezTo>
                  <a:cubicBezTo>
                    <a:pt x="98" y="164"/>
                    <a:pt x="98" y="164"/>
                    <a:pt x="98" y="164"/>
                  </a:cubicBezTo>
                  <a:cubicBezTo>
                    <a:pt x="98" y="164"/>
                    <a:pt x="98" y="164"/>
                    <a:pt x="98" y="164"/>
                  </a:cubicBezTo>
                  <a:cubicBezTo>
                    <a:pt x="98" y="164"/>
                    <a:pt x="98" y="164"/>
                    <a:pt x="98" y="164"/>
                  </a:cubicBezTo>
                  <a:cubicBezTo>
                    <a:pt x="99" y="164"/>
                    <a:pt x="99" y="164"/>
                    <a:pt x="99" y="164"/>
                  </a:cubicBezTo>
                  <a:cubicBezTo>
                    <a:pt x="99" y="164"/>
                    <a:pt x="99" y="164"/>
                    <a:pt x="99" y="164"/>
                  </a:cubicBezTo>
                  <a:cubicBezTo>
                    <a:pt x="99" y="164"/>
                    <a:pt x="99" y="164"/>
                    <a:pt x="99" y="164"/>
                  </a:cubicBezTo>
                  <a:cubicBezTo>
                    <a:pt x="99" y="164"/>
                    <a:pt x="99" y="164"/>
                    <a:pt x="99" y="164"/>
                  </a:cubicBezTo>
                  <a:cubicBezTo>
                    <a:pt x="99" y="164"/>
                    <a:pt x="99" y="164"/>
                    <a:pt x="99" y="164"/>
                  </a:cubicBezTo>
                  <a:cubicBezTo>
                    <a:pt x="99" y="164"/>
                    <a:pt x="99" y="164"/>
                    <a:pt x="99" y="164"/>
                  </a:cubicBezTo>
                  <a:cubicBezTo>
                    <a:pt x="99" y="164"/>
                    <a:pt x="99" y="164"/>
                    <a:pt x="99" y="164"/>
                  </a:cubicBezTo>
                  <a:cubicBezTo>
                    <a:pt x="99" y="164"/>
                    <a:pt x="99" y="164"/>
                    <a:pt x="99" y="164"/>
                  </a:cubicBezTo>
                  <a:cubicBezTo>
                    <a:pt x="99" y="164"/>
                    <a:pt x="99" y="164"/>
                    <a:pt x="99" y="164"/>
                  </a:cubicBezTo>
                  <a:cubicBezTo>
                    <a:pt x="99" y="164"/>
                    <a:pt x="99" y="164"/>
                    <a:pt x="99" y="164"/>
                  </a:cubicBezTo>
                  <a:cubicBezTo>
                    <a:pt x="99" y="164"/>
                    <a:pt x="99" y="164"/>
                    <a:pt x="99" y="164"/>
                  </a:cubicBezTo>
                  <a:cubicBezTo>
                    <a:pt x="99" y="164"/>
                    <a:pt x="99" y="164"/>
                    <a:pt x="99" y="164"/>
                  </a:cubicBezTo>
                  <a:cubicBezTo>
                    <a:pt x="99" y="164"/>
                    <a:pt x="99" y="164"/>
                    <a:pt x="99" y="164"/>
                  </a:cubicBezTo>
                  <a:cubicBezTo>
                    <a:pt x="99" y="164"/>
                    <a:pt x="99" y="164"/>
                    <a:pt x="99" y="164"/>
                  </a:cubicBezTo>
                  <a:cubicBezTo>
                    <a:pt x="100" y="164"/>
                    <a:pt x="100" y="164"/>
                    <a:pt x="100" y="164"/>
                  </a:cubicBezTo>
                  <a:cubicBezTo>
                    <a:pt x="100" y="165"/>
                    <a:pt x="100" y="165"/>
                    <a:pt x="100" y="165"/>
                  </a:cubicBezTo>
                  <a:cubicBezTo>
                    <a:pt x="100" y="165"/>
                    <a:pt x="100" y="165"/>
                    <a:pt x="100" y="165"/>
                  </a:cubicBezTo>
                  <a:cubicBezTo>
                    <a:pt x="101" y="165"/>
                    <a:pt x="101" y="165"/>
                    <a:pt x="101" y="165"/>
                  </a:cubicBezTo>
                  <a:cubicBezTo>
                    <a:pt x="101" y="165"/>
                    <a:pt x="101" y="165"/>
                    <a:pt x="101" y="165"/>
                  </a:cubicBezTo>
                  <a:cubicBezTo>
                    <a:pt x="101" y="165"/>
                    <a:pt x="101" y="165"/>
                    <a:pt x="101" y="165"/>
                  </a:cubicBezTo>
                  <a:cubicBezTo>
                    <a:pt x="101" y="165"/>
                    <a:pt x="101" y="165"/>
                    <a:pt x="101" y="165"/>
                  </a:cubicBezTo>
                  <a:cubicBezTo>
                    <a:pt x="101" y="165"/>
                    <a:pt x="101" y="165"/>
                    <a:pt x="101" y="165"/>
                  </a:cubicBezTo>
                  <a:cubicBezTo>
                    <a:pt x="102" y="165"/>
                    <a:pt x="102" y="165"/>
                    <a:pt x="102" y="165"/>
                  </a:cubicBezTo>
                  <a:cubicBezTo>
                    <a:pt x="102" y="165"/>
                    <a:pt x="102" y="165"/>
                    <a:pt x="102" y="165"/>
                  </a:cubicBezTo>
                  <a:cubicBezTo>
                    <a:pt x="102" y="165"/>
                    <a:pt x="102" y="165"/>
                    <a:pt x="102" y="165"/>
                  </a:cubicBezTo>
                  <a:cubicBezTo>
                    <a:pt x="103" y="165"/>
                    <a:pt x="103" y="165"/>
                    <a:pt x="103" y="165"/>
                  </a:cubicBezTo>
                  <a:cubicBezTo>
                    <a:pt x="103" y="165"/>
                    <a:pt x="103" y="165"/>
                    <a:pt x="103" y="165"/>
                  </a:cubicBezTo>
                  <a:cubicBezTo>
                    <a:pt x="103" y="166"/>
                    <a:pt x="103" y="166"/>
                    <a:pt x="103" y="166"/>
                  </a:cubicBezTo>
                  <a:cubicBezTo>
                    <a:pt x="103" y="166"/>
                    <a:pt x="103" y="166"/>
                    <a:pt x="103" y="166"/>
                  </a:cubicBezTo>
                  <a:cubicBezTo>
                    <a:pt x="104" y="165"/>
                    <a:pt x="104" y="165"/>
                    <a:pt x="104" y="165"/>
                  </a:cubicBezTo>
                  <a:cubicBezTo>
                    <a:pt x="104" y="165"/>
                    <a:pt x="104" y="165"/>
                    <a:pt x="104" y="165"/>
                  </a:cubicBezTo>
                  <a:cubicBezTo>
                    <a:pt x="104" y="166"/>
                    <a:pt x="104" y="166"/>
                    <a:pt x="104" y="166"/>
                  </a:cubicBezTo>
                  <a:cubicBezTo>
                    <a:pt x="104" y="166"/>
                    <a:pt x="104" y="166"/>
                    <a:pt x="104" y="166"/>
                  </a:cubicBezTo>
                  <a:cubicBezTo>
                    <a:pt x="104" y="166"/>
                    <a:pt x="104" y="166"/>
                    <a:pt x="104" y="166"/>
                  </a:cubicBezTo>
                  <a:cubicBezTo>
                    <a:pt x="104" y="166"/>
                    <a:pt x="104" y="166"/>
                    <a:pt x="104" y="166"/>
                  </a:cubicBezTo>
                  <a:cubicBezTo>
                    <a:pt x="104" y="166"/>
                    <a:pt x="104" y="166"/>
                    <a:pt x="104" y="166"/>
                  </a:cubicBezTo>
                  <a:cubicBezTo>
                    <a:pt x="105" y="166"/>
                    <a:pt x="105" y="166"/>
                    <a:pt x="105" y="166"/>
                  </a:cubicBezTo>
                  <a:cubicBezTo>
                    <a:pt x="105" y="166"/>
                    <a:pt x="105" y="166"/>
                    <a:pt x="105" y="166"/>
                  </a:cubicBezTo>
                  <a:cubicBezTo>
                    <a:pt x="105" y="166"/>
                    <a:pt x="105" y="166"/>
                    <a:pt x="105" y="166"/>
                  </a:cubicBezTo>
                  <a:cubicBezTo>
                    <a:pt x="105" y="166"/>
                    <a:pt x="105" y="166"/>
                    <a:pt x="105" y="166"/>
                  </a:cubicBezTo>
                  <a:cubicBezTo>
                    <a:pt x="106" y="166"/>
                    <a:pt x="106" y="166"/>
                    <a:pt x="106" y="166"/>
                  </a:cubicBezTo>
                  <a:cubicBezTo>
                    <a:pt x="106" y="166"/>
                    <a:pt x="106" y="166"/>
                    <a:pt x="106" y="166"/>
                  </a:cubicBezTo>
                  <a:cubicBezTo>
                    <a:pt x="106" y="166"/>
                    <a:pt x="106" y="166"/>
                    <a:pt x="106" y="166"/>
                  </a:cubicBezTo>
                  <a:cubicBezTo>
                    <a:pt x="106" y="166"/>
                    <a:pt x="106" y="166"/>
                    <a:pt x="106" y="166"/>
                  </a:cubicBezTo>
                  <a:cubicBezTo>
                    <a:pt x="106" y="167"/>
                    <a:pt x="106" y="167"/>
                    <a:pt x="106" y="167"/>
                  </a:cubicBezTo>
                  <a:cubicBezTo>
                    <a:pt x="106" y="167"/>
                    <a:pt x="106" y="167"/>
                    <a:pt x="106" y="167"/>
                  </a:cubicBezTo>
                  <a:cubicBezTo>
                    <a:pt x="107" y="166"/>
                    <a:pt x="107" y="166"/>
                    <a:pt x="107" y="166"/>
                  </a:cubicBezTo>
                  <a:cubicBezTo>
                    <a:pt x="108" y="166"/>
                    <a:pt x="108" y="166"/>
                    <a:pt x="108" y="166"/>
                  </a:cubicBezTo>
                  <a:cubicBezTo>
                    <a:pt x="108" y="167"/>
                    <a:pt x="108" y="167"/>
                    <a:pt x="108" y="167"/>
                  </a:cubicBezTo>
                  <a:cubicBezTo>
                    <a:pt x="109" y="167"/>
                    <a:pt x="109" y="167"/>
                    <a:pt x="109" y="167"/>
                  </a:cubicBezTo>
                  <a:cubicBezTo>
                    <a:pt x="109" y="167"/>
                    <a:pt x="109" y="167"/>
                    <a:pt x="109" y="167"/>
                  </a:cubicBezTo>
                  <a:cubicBezTo>
                    <a:pt x="109" y="167"/>
                    <a:pt x="109" y="167"/>
                    <a:pt x="109" y="167"/>
                  </a:cubicBezTo>
                  <a:cubicBezTo>
                    <a:pt x="110" y="168"/>
                    <a:pt x="110" y="168"/>
                    <a:pt x="110" y="168"/>
                  </a:cubicBezTo>
                  <a:cubicBezTo>
                    <a:pt x="110" y="168"/>
                    <a:pt x="110" y="168"/>
                    <a:pt x="110" y="168"/>
                  </a:cubicBezTo>
                  <a:cubicBezTo>
                    <a:pt x="110" y="168"/>
                    <a:pt x="110" y="168"/>
                    <a:pt x="110" y="168"/>
                  </a:cubicBezTo>
                  <a:cubicBezTo>
                    <a:pt x="111" y="168"/>
                    <a:pt x="111" y="168"/>
                    <a:pt x="111" y="168"/>
                  </a:cubicBezTo>
                  <a:cubicBezTo>
                    <a:pt x="111" y="167"/>
                    <a:pt x="111" y="167"/>
                    <a:pt x="111" y="167"/>
                  </a:cubicBezTo>
                  <a:cubicBezTo>
                    <a:pt x="112" y="167"/>
                    <a:pt x="112" y="167"/>
                    <a:pt x="112" y="167"/>
                  </a:cubicBezTo>
                  <a:cubicBezTo>
                    <a:pt x="112" y="167"/>
                    <a:pt x="112" y="167"/>
                    <a:pt x="112" y="167"/>
                  </a:cubicBezTo>
                  <a:cubicBezTo>
                    <a:pt x="113" y="167"/>
                    <a:pt x="113" y="167"/>
                    <a:pt x="113" y="167"/>
                  </a:cubicBezTo>
                  <a:cubicBezTo>
                    <a:pt x="113" y="167"/>
                    <a:pt x="113" y="167"/>
                    <a:pt x="113" y="167"/>
                  </a:cubicBezTo>
                  <a:cubicBezTo>
                    <a:pt x="113" y="167"/>
                    <a:pt x="113" y="167"/>
                    <a:pt x="113" y="167"/>
                  </a:cubicBezTo>
                  <a:cubicBezTo>
                    <a:pt x="113" y="167"/>
                    <a:pt x="113" y="167"/>
                    <a:pt x="113" y="167"/>
                  </a:cubicBezTo>
                  <a:cubicBezTo>
                    <a:pt x="113" y="167"/>
                    <a:pt x="113" y="167"/>
                    <a:pt x="113" y="167"/>
                  </a:cubicBezTo>
                  <a:cubicBezTo>
                    <a:pt x="114" y="167"/>
                    <a:pt x="114" y="167"/>
                    <a:pt x="114" y="167"/>
                  </a:cubicBezTo>
                  <a:cubicBezTo>
                    <a:pt x="114" y="167"/>
                    <a:pt x="114" y="167"/>
                    <a:pt x="114" y="167"/>
                  </a:cubicBezTo>
                  <a:cubicBezTo>
                    <a:pt x="113" y="167"/>
                    <a:pt x="113" y="167"/>
                    <a:pt x="113" y="167"/>
                  </a:cubicBezTo>
                  <a:cubicBezTo>
                    <a:pt x="113" y="166"/>
                    <a:pt x="113" y="166"/>
                    <a:pt x="113" y="166"/>
                  </a:cubicBezTo>
                  <a:cubicBezTo>
                    <a:pt x="114" y="166"/>
                    <a:pt x="114" y="166"/>
                    <a:pt x="114" y="166"/>
                  </a:cubicBezTo>
                  <a:cubicBezTo>
                    <a:pt x="114" y="166"/>
                    <a:pt x="114" y="166"/>
                    <a:pt x="114" y="166"/>
                  </a:cubicBezTo>
                  <a:cubicBezTo>
                    <a:pt x="114" y="166"/>
                    <a:pt x="114" y="166"/>
                    <a:pt x="114" y="166"/>
                  </a:cubicBezTo>
                  <a:cubicBezTo>
                    <a:pt x="114" y="167"/>
                    <a:pt x="114" y="167"/>
                    <a:pt x="114" y="167"/>
                  </a:cubicBezTo>
                  <a:cubicBezTo>
                    <a:pt x="114" y="167"/>
                    <a:pt x="114" y="167"/>
                    <a:pt x="114" y="167"/>
                  </a:cubicBezTo>
                  <a:cubicBezTo>
                    <a:pt x="115" y="167"/>
                    <a:pt x="115" y="167"/>
                    <a:pt x="115" y="167"/>
                  </a:cubicBezTo>
                  <a:cubicBezTo>
                    <a:pt x="115" y="167"/>
                    <a:pt x="115" y="167"/>
                    <a:pt x="115" y="167"/>
                  </a:cubicBezTo>
                  <a:cubicBezTo>
                    <a:pt x="116" y="167"/>
                    <a:pt x="116" y="167"/>
                    <a:pt x="116" y="167"/>
                  </a:cubicBezTo>
                  <a:cubicBezTo>
                    <a:pt x="116" y="167"/>
                    <a:pt x="116" y="167"/>
                    <a:pt x="116" y="167"/>
                  </a:cubicBezTo>
                  <a:cubicBezTo>
                    <a:pt x="116" y="167"/>
                    <a:pt x="116" y="167"/>
                    <a:pt x="116" y="167"/>
                  </a:cubicBezTo>
                  <a:cubicBezTo>
                    <a:pt x="117" y="166"/>
                    <a:pt x="117" y="166"/>
                    <a:pt x="117" y="166"/>
                  </a:cubicBezTo>
                  <a:cubicBezTo>
                    <a:pt x="117" y="166"/>
                    <a:pt x="117" y="166"/>
                    <a:pt x="117" y="166"/>
                  </a:cubicBezTo>
                  <a:cubicBezTo>
                    <a:pt x="117" y="166"/>
                    <a:pt x="117" y="166"/>
                    <a:pt x="117" y="166"/>
                  </a:cubicBezTo>
                  <a:cubicBezTo>
                    <a:pt x="117" y="166"/>
                    <a:pt x="117" y="166"/>
                    <a:pt x="117" y="166"/>
                  </a:cubicBezTo>
                  <a:cubicBezTo>
                    <a:pt x="117" y="166"/>
                    <a:pt x="117" y="166"/>
                    <a:pt x="117" y="166"/>
                  </a:cubicBezTo>
                  <a:cubicBezTo>
                    <a:pt x="118" y="166"/>
                    <a:pt x="118" y="166"/>
                    <a:pt x="118" y="166"/>
                  </a:cubicBezTo>
                  <a:cubicBezTo>
                    <a:pt x="118" y="166"/>
                    <a:pt x="118" y="166"/>
                    <a:pt x="118" y="166"/>
                  </a:cubicBezTo>
                  <a:cubicBezTo>
                    <a:pt x="118" y="166"/>
                    <a:pt x="118" y="166"/>
                    <a:pt x="118" y="166"/>
                  </a:cubicBezTo>
                  <a:cubicBezTo>
                    <a:pt x="118" y="166"/>
                    <a:pt x="118" y="166"/>
                    <a:pt x="118" y="166"/>
                  </a:cubicBezTo>
                  <a:cubicBezTo>
                    <a:pt x="119" y="166"/>
                    <a:pt x="119" y="166"/>
                    <a:pt x="119" y="166"/>
                  </a:cubicBezTo>
                  <a:cubicBezTo>
                    <a:pt x="119" y="167"/>
                    <a:pt x="119" y="167"/>
                    <a:pt x="119" y="167"/>
                  </a:cubicBezTo>
                  <a:cubicBezTo>
                    <a:pt x="119" y="167"/>
                    <a:pt x="119" y="167"/>
                    <a:pt x="119" y="167"/>
                  </a:cubicBezTo>
                  <a:cubicBezTo>
                    <a:pt x="119" y="167"/>
                    <a:pt x="119" y="167"/>
                    <a:pt x="119" y="167"/>
                  </a:cubicBezTo>
                  <a:cubicBezTo>
                    <a:pt x="120" y="167"/>
                    <a:pt x="120" y="167"/>
                    <a:pt x="120" y="167"/>
                  </a:cubicBezTo>
                  <a:cubicBezTo>
                    <a:pt x="120" y="167"/>
                    <a:pt x="120" y="167"/>
                    <a:pt x="120" y="167"/>
                  </a:cubicBezTo>
                  <a:cubicBezTo>
                    <a:pt x="120" y="167"/>
                    <a:pt x="120" y="167"/>
                    <a:pt x="120" y="167"/>
                  </a:cubicBezTo>
                  <a:cubicBezTo>
                    <a:pt x="120" y="167"/>
                    <a:pt x="120" y="167"/>
                    <a:pt x="120" y="167"/>
                  </a:cubicBezTo>
                  <a:cubicBezTo>
                    <a:pt x="120" y="167"/>
                    <a:pt x="120" y="167"/>
                    <a:pt x="120" y="167"/>
                  </a:cubicBezTo>
                  <a:cubicBezTo>
                    <a:pt x="120" y="167"/>
                    <a:pt x="120" y="167"/>
                    <a:pt x="120" y="167"/>
                  </a:cubicBezTo>
                  <a:cubicBezTo>
                    <a:pt x="120" y="167"/>
                    <a:pt x="120" y="167"/>
                    <a:pt x="120" y="167"/>
                  </a:cubicBezTo>
                  <a:cubicBezTo>
                    <a:pt x="120" y="167"/>
                    <a:pt x="120" y="167"/>
                    <a:pt x="120" y="167"/>
                  </a:cubicBezTo>
                  <a:cubicBezTo>
                    <a:pt x="120" y="167"/>
                    <a:pt x="120" y="167"/>
                    <a:pt x="120" y="167"/>
                  </a:cubicBezTo>
                  <a:cubicBezTo>
                    <a:pt x="121" y="166"/>
                    <a:pt x="121" y="166"/>
                    <a:pt x="121" y="166"/>
                  </a:cubicBezTo>
                  <a:cubicBezTo>
                    <a:pt x="121" y="166"/>
                    <a:pt x="121" y="166"/>
                    <a:pt x="121" y="166"/>
                  </a:cubicBezTo>
                  <a:cubicBezTo>
                    <a:pt x="121" y="167"/>
                    <a:pt x="121" y="167"/>
                    <a:pt x="121" y="167"/>
                  </a:cubicBezTo>
                  <a:cubicBezTo>
                    <a:pt x="122" y="167"/>
                    <a:pt x="122" y="167"/>
                    <a:pt x="122" y="167"/>
                  </a:cubicBezTo>
                  <a:cubicBezTo>
                    <a:pt x="122" y="167"/>
                    <a:pt x="122" y="167"/>
                    <a:pt x="122" y="167"/>
                  </a:cubicBezTo>
                  <a:cubicBezTo>
                    <a:pt x="122" y="167"/>
                    <a:pt x="122" y="167"/>
                    <a:pt x="122" y="167"/>
                  </a:cubicBezTo>
                  <a:cubicBezTo>
                    <a:pt x="122" y="167"/>
                    <a:pt x="122" y="167"/>
                    <a:pt x="122" y="167"/>
                  </a:cubicBezTo>
                  <a:cubicBezTo>
                    <a:pt x="122" y="167"/>
                    <a:pt x="122" y="167"/>
                    <a:pt x="122" y="167"/>
                  </a:cubicBezTo>
                  <a:cubicBezTo>
                    <a:pt x="122" y="167"/>
                    <a:pt x="122" y="167"/>
                    <a:pt x="122" y="167"/>
                  </a:cubicBezTo>
                  <a:cubicBezTo>
                    <a:pt x="122" y="167"/>
                    <a:pt x="122" y="167"/>
                    <a:pt x="122" y="167"/>
                  </a:cubicBezTo>
                  <a:cubicBezTo>
                    <a:pt x="122" y="167"/>
                    <a:pt x="122" y="167"/>
                    <a:pt x="122" y="167"/>
                  </a:cubicBezTo>
                  <a:cubicBezTo>
                    <a:pt x="122" y="168"/>
                    <a:pt x="122" y="168"/>
                    <a:pt x="122" y="168"/>
                  </a:cubicBezTo>
                  <a:cubicBezTo>
                    <a:pt x="122" y="168"/>
                    <a:pt x="122" y="168"/>
                    <a:pt x="122" y="168"/>
                  </a:cubicBezTo>
                  <a:cubicBezTo>
                    <a:pt x="122" y="168"/>
                    <a:pt x="122" y="168"/>
                    <a:pt x="122" y="168"/>
                  </a:cubicBezTo>
                  <a:cubicBezTo>
                    <a:pt x="122" y="168"/>
                    <a:pt x="122" y="168"/>
                    <a:pt x="122" y="168"/>
                  </a:cubicBezTo>
                  <a:cubicBezTo>
                    <a:pt x="123" y="168"/>
                    <a:pt x="123" y="168"/>
                    <a:pt x="123" y="168"/>
                  </a:cubicBezTo>
                  <a:cubicBezTo>
                    <a:pt x="123" y="168"/>
                    <a:pt x="123" y="168"/>
                    <a:pt x="123" y="168"/>
                  </a:cubicBezTo>
                  <a:cubicBezTo>
                    <a:pt x="123" y="168"/>
                    <a:pt x="123" y="168"/>
                    <a:pt x="123" y="168"/>
                  </a:cubicBezTo>
                  <a:cubicBezTo>
                    <a:pt x="123" y="168"/>
                    <a:pt x="123" y="168"/>
                    <a:pt x="123" y="168"/>
                  </a:cubicBezTo>
                  <a:cubicBezTo>
                    <a:pt x="123" y="169"/>
                    <a:pt x="123" y="169"/>
                    <a:pt x="123" y="169"/>
                  </a:cubicBezTo>
                  <a:cubicBezTo>
                    <a:pt x="123" y="169"/>
                    <a:pt x="123" y="169"/>
                    <a:pt x="123" y="169"/>
                  </a:cubicBezTo>
                  <a:cubicBezTo>
                    <a:pt x="123" y="169"/>
                    <a:pt x="123" y="169"/>
                    <a:pt x="123" y="169"/>
                  </a:cubicBezTo>
                  <a:cubicBezTo>
                    <a:pt x="123" y="169"/>
                    <a:pt x="123" y="169"/>
                    <a:pt x="123" y="169"/>
                  </a:cubicBezTo>
                  <a:cubicBezTo>
                    <a:pt x="124" y="169"/>
                    <a:pt x="124" y="169"/>
                    <a:pt x="124" y="169"/>
                  </a:cubicBezTo>
                  <a:cubicBezTo>
                    <a:pt x="124" y="170"/>
                    <a:pt x="124" y="170"/>
                    <a:pt x="124" y="170"/>
                  </a:cubicBezTo>
                  <a:cubicBezTo>
                    <a:pt x="124" y="170"/>
                    <a:pt x="124" y="170"/>
                    <a:pt x="124" y="170"/>
                  </a:cubicBezTo>
                  <a:cubicBezTo>
                    <a:pt x="124" y="170"/>
                    <a:pt x="124" y="170"/>
                    <a:pt x="124" y="170"/>
                  </a:cubicBezTo>
                  <a:cubicBezTo>
                    <a:pt x="124" y="171"/>
                    <a:pt x="124" y="171"/>
                    <a:pt x="124" y="171"/>
                  </a:cubicBezTo>
                  <a:cubicBezTo>
                    <a:pt x="124" y="172"/>
                    <a:pt x="124" y="172"/>
                    <a:pt x="124" y="172"/>
                  </a:cubicBezTo>
                  <a:cubicBezTo>
                    <a:pt x="125" y="172"/>
                    <a:pt x="125" y="172"/>
                    <a:pt x="125" y="172"/>
                  </a:cubicBezTo>
                  <a:cubicBezTo>
                    <a:pt x="125" y="172"/>
                    <a:pt x="125" y="172"/>
                    <a:pt x="125" y="172"/>
                  </a:cubicBezTo>
                  <a:cubicBezTo>
                    <a:pt x="125" y="173"/>
                    <a:pt x="125" y="173"/>
                    <a:pt x="125" y="173"/>
                  </a:cubicBezTo>
                  <a:cubicBezTo>
                    <a:pt x="125" y="173"/>
                    <a:pt x="125" y="173"/>
                    <a:pt x="125" y="173"/>
                  </a:cubicBezTo>
                  <a:cubicBezTo>
                    <a:pt x="126" y="173"/>
                    <a:pt x="126" y="173"/>
                    <a:pt x="126" y="173"/>
                  </a:cubicBezTo>
                  <a:cubicBezTo>
                    <a:pt x="125" y="174"/>
                    <a:pt x="125" y="174"/>
                    <a:pt x="125" y="174"/>
                  </a:cubicBezTo>
                  <a:cubicBezTo>
                    <a:pt x="125" y="174"/>
                    <a:pt x="125" y="174"/>
                    <a:pt x="125" y="174"/>
                  </a:cubicBezTo>
                  <a:cubicBezTo>
                    <a:pt x="126" y="174"/>
                    <a:pt x="126" y="174"/>
                    <a:pt x="126" y="174"/>
                  </a:cubicBezTo>
                  <a:cubicBezTo>
                    <a:pt x="126" y="174"/>
                    <a:pt x="126" y="174"/>
                    <a:pt x="126" y="174"/>
                  </a:cubicBezTo>
                  <a:cubicBezTo>
                    <a:pt x="126" y="174"/>
                    <a:pt x="126" y="174"/>
                    <a:pt x="126" y="174"/>
                  </a:cubicBezTo>
                  <a:cubicBezTo>
                    <a:pt x="126" y="175"/>
                    <a:pt x="126" y="175"/>
                    <a:pt x="126" y="175"/>
                  </a:cubicBezTo>
                  <a:cubicBezTo>
                    <a:pt x="126" y="175"/>
                    <a:pt x="126" y="175"/>
                    <a:pt x="126" y="175"/>
                  </a:cubicBezTo>
                  <a:cubicBezTo>
                    <a:pt x="126" y="176"/>
                    <a:pt x="126" y="176"/>
                    <a:pt x="126" y="176"/>
                  </a:cubicBezTo>
                  <a:cubicBezTo>
                    <a:pt x="127" y="176"/>
                    <a:pt x="127" y="176"/>
                    <a:pt x="127" y="176"/>
                  </a:cubicBezTo>
                  <a:cubicBezTo>
                    <a:pt x="127" y="177"/>
                    <a:pt x="127" y="177"/>
                    <a:pt x="127" y="177"/>
                  </a:cubicBezTo>
                  <a:cubicBezTo>
                    <a:pt x="127" y="177"/>
                    <a:pt x="127" y="177"/>
                    <a:pt x="127" y="177"/>
                  </a:cubicBezTo>
                  <a:cubicBezTo>
                    <a:pt x="127" y="177"/>
                    <a:pt x="127" y="177"/>
                    <a:pt x="127" y="177"/>
                  </a:cubicBezTo>
                  <a:cubicBezTo>
                    <a:pt x="127" y="177"/>
                    <a:pt x="127" y="177"/>
                    <a:pt x="127" y="177"/>
                  </a:cubicBezTo>
                  <a:cubicBezTo>
                    <a:pt x="127" y="177"/>
                    <a:pt x="127" y="177"/>
                    <a:pt x="127" y="177"/>
                  </a:cubicBezTo>
                  <a:cubicBezTo>
                    <a:pt x="128" y="178"/>
                    <a:pt x="128" y="178"/>
                    <a:pt x="128" y="178"/>
                  </a:cubicBezTo>
                  <a:cubicBezTo>
                    <a:pt x="129" y="179"/>
                    <a:pt x="129" y="179"/>
                    <a:pt x="129" y="179"/>
                  </a:cubicBezTo>
                  <a:cubicBezTo>
                    <a:pt x="129" y="179"/>
                    <a:pt x="129" y="179"/>
                    <a:pt x="129" y="179"/>
                  </a:cubicBezTo>
                  <a:cubicBezTo>
                    <a:pt x="129" y="179"/>
                    <a:pt x="129" y="179"/>
                    <a:pt x="129" y="179"/>
                  </a:cubicBezTo>
                  <a:cubicBezTo>
                    <a:pt x="130" y="180"/>
                    <a:pt x="130" y="180"/>
                    <a:pt x="130" y="180"/>
                  </a:cubicBezTo>
                  <a:cubicBezTo>
                    <a:pt x="130" y="180"/>
                    <a:pt x="130" y="180"/>
                    <a:pt x="130" y="180"/>
                  </a:cubicBezTo>
                  <a:cubicBezTo>
                    <a:pt x="130" y="180"/>
                    <a:pt x="130" y="180"/>
                    <a:pt x="130" y="180"/>
                  </a:cubicBezTo>
                  <a:cubicBezTo>
                    <a:pt x="130" y="180"/>
                    <a:pt x="130" y="180"/>
                    <a:pt x="130" y="180"/>
                  </a:cubicBezTo>
                  <a:cubicBezTo>
                    <a:pt x="130" y="181"/>
                    <a:pt x="130" y="181"/>
                    <a:pt x="130" y="181"/>
                  </a:cubicBezTo>
                  <a:cubicBezTo>
                    <a:pt x="131" y="181"/>
                    <a:pt x="131" y="181"/>
                    <a:pt x="131" y="181"/>
                  </a:cubicBezTo>
                  <a:cubicBezTo>
                    <a:pt x="131" y="181"/>
                    <a:pt x="131" y="181"/>
                    <a:pt x="131" y="181"/>
                  </a:cubicBezTo>
                  <a:cubicBezTo>
                    <a:pt x="133" y="182"/>
                    <a:pt x="133" y="182"/>
                    <a:pt x="133" y="182"/>
                  </a:cubicBezTo>
                  <a:cubicBezTo>
                    <a:pt x="136" y="182"/>
                    <a:pt x="136" y="182"/>
                    <a:pt x="136" y="182"/>
                  </a:cubicBezTo>
                  <a:cubicBezTo>
                    <a:pt x="137" y="182"/>
                    <a:pt x="137" y="182"/>
                    <a:pt x="137" y="182"/>
                  </a:cubicBezTo>
                  <a:cubicBezTo>
                    <a:pt x="139" y="181"/>
                    <a:pt x="139" y="181"/>
                    <a:pt x="139" y="181"/>
                  </a:cubicBezTo>
                  <a:cubicBezTo>
                    <a:pt x="144" y="180"/>
                    <a:pt x="144" y="180"/>
                    <a:pt x="144" y="180"/>
                  </a:cubicBezTo>
                  <a:cubicBezTo>
                    <a:pt x="144" y="180"/>
                    <a:pt x="144" y="180"/>
                    <a:pt x="144" y="180"/>
                  </a:cubicBezTo>
                  <a:cubicBezTo>
                    <a:pt x="144" y="180"/>
                    <a:pt x="144" y="180"/>
                    <a:pt x="144" y="180"/>
                  </a:cubicBezTo>
                  <a:cubicBezTo>
                    <a:pt x="144" y="180"/>
                    <a:pt x="144" y="180"/>
                    <a:pt x="144" y="180"/>
                  </a:cubicBezTo>
                  <a:cubicBezTo>
                    <a:pt x="144" y="180"/>
                    <a:pt x="144" y="180"/>
                    <a:pt x="144" y="180"/>
                  </a:cubicBezTo>
                  <a:cubicBezTo>
                    <a:pt x="144" y="180"/>
                    <a:pt x="144" y="180"/>
                    <a:pt x="144" y="180"/>
                  </a:cubicBezTo>
                  <a:cubicBezTo>
                    <a:pt x="144" y="180"/>
                    <a:pt x="144" y="180"/>
                    <a:pt x="144" y="180"/>
                  </a:cubicBezTo>
                  <a:cubicBezTo>
                    <a:pt x="144" y="180"/>
                    <a:pt x="144" y="180"/>
                    <a:pt x="144" y="180"/>
                  </a:cubicBezTo>
                  <a:cubicBezTo>
                    <a:pt x="145" y="180"/>
                    <a:pt x="145" y="180"/>
                    <a:pt x="145" y="180"/>
                  </a:cubicBezTo>
                  <a:cubicBezTo>
                    <a:pt x="145" y="180"/>
                    <a:pt x="145" y="180"/>
                    <a:pt x="145" y="180"/>
                  </a:cubicBezTo>
                  <a:cubicBezTo>
                    <a:pt x="145" y="180"/>
                    <a:pt x="145" y="180"/>
                    <a:pt x="145" y="180"/>
                  </a:cubicBezTo>
                  <a:cubicBezTo>
                    <a:pt x="145" y="181"/>
                    <a:pt x="145" y="181"/>
                    <a:pt x="145" y="181"/>
                  </a:cubicBezTo>
                  <a:cubicBezTo>
                    <a:pt x="145" y="181"/>
                    <a:pt x="145" y="181"/>
                    <a:pt x="145" y="181"/>
                  </a:cubicBezTo>
                  <a:cubicBezTo>
                    <a:pt x="145" y="181"/>
                    <a:pt x="145" y="181"/>
                    <a:pt x="145" y="181"/>
                  </a:cubicBezTo>
                  <a:cubicBezTo>
                    <a:pt x="144" y="182"/>
                    <a:pt x="144" y="182"/>
                    <a:pt x="144" y="182"/>
                  </a:cubicBezTo>
                  <a:cubicBezTo>
                    <a:pt x="144" y="182"/>
                    <a:pt x="144" y="182"/>
                    <a:pt x="144" y="182"/>
                  </a:cubicBezTo>
                  <a:cubicBezTo>
                    <a:pt x="144" y="182"/>
                    <a:pt x="144" y="182"/>
                    <a:pt x="144" y="182"/>
                  </a:cubicBezTo>
                  <a:cubicBezTo>
                    <a:pt x="144" y="182"/>
                    <a:pt x="144" y="182"/>
                    <a:pt x="144" y="182"/>
                  </a:cubicBezTo>
                  <a:cubicBezTo>
                    <a:pt x="144" y="183"/>
                    <a:pt x="144" y="183"/>
                    <a:pt x="144" y="183"/>
                  </a:cubicBezTo>
                  <a:cubicBezTo>
                    <a:pt x="144" y="183"/>
                    <a:pt x="144" y="183"/>
                    <a:pt x="144" y="183"/>
                  </a:cubicBezTo>
                  <a:cubicBezTo>
                    <a:pt x="144" y="183"/>
                    <a:pt x="144" y="183"/>
                    <a:pt x="144" y="183"/>
                  </a:cubicBezTo>
                  <a:cubicBezTo>
                    <a:pt x="144" y="183"/>
                    <a:pt x="144" y="183"/>
                    <a:pt x="144" y="183"/>
                  </a:cubicBezTo>
                  <a:cubicBezTo>
                    <a:pt x="145" y="183"/>
                    <a:pt x="145" y="183"/>
                    <a:pt x="145" y="183"/>
                  </a:cubicBezTo>
                  <a:cubicBezTo>
                    <a:pt x="145" y="183"/>
                    <a:pt x="145" y="183"/>
                    <a:pt x="145" y="183"/>
                  </a:cubicBezTo>
                  <a:cubicBezTo>
                    <a:pt x="144" y="184"/>
                    <a:pt x="144" y="184"/>
                    <a:pt x="144" y="184"/>
                  </a:cubicBezTo>
                  <a:cubicBezTo>
                    <a:pt x="144" y="185"/>
                    <a:pt x="144" y="185"/>
                    <a:pt x="144" y="185"/>
                  </a:cubicBezTo>
                  <a:cubicBezTo>
                    <a:pt x="144" y="185"/>
                    <a:pt x="144" y="185"/>
                    <a:pt x="144" y="185"/>
                  </a:cubicBezTo>
                  <a:cubicBezTo>
                    <a:pt x="144" y="185"/>
                    <a:pt x="144" y="185"/>
                    <a:pt x="144" y="185"/>
                  </a:cubicBezTo>
                  <a:cubicBezTo>
                    <a:pt x="144" y="185"/>
                    <a:pt x="144" y="185"/>
                    <a:pt x="144" y="185"/>
                  </a:cubicBezTo>
                  <a:cubicBezTo>
                    <a:pt x="144" y="185"/>
                    <a:pt x="144" y="185"/>
                    <a:pt x="144" y="185"/>
                  </a:cubicBezTo>
                  <a:cubicBezTo>
                    <a:pt x="143" y="185"/>
                    <a:pt x="143" y="185"/>
                    <a:pt x="143" y="185"/>
                  </a:cubicBezTo>
                  <a:cubicBezTo>
                    <a:pt x="144" y="185"/>
                    <a:pt x="144" y="185"/>
                    <a:pt x="144" y="185"/>
                  </a:cubicBezTo>
                  <a:cubicBezTo>
                    <a:pt x="144" y="186"/>
                    <a:pt x="144" y="186"/>
                    <a:pt x="144" y="186"/>
                  </a:cubicBezTo>
                  <a:cubicBezTo>
                    <a:pt x="144" y="186"/>
                    <a:pt x="144" y="186"/>
                    <a:pt x="144" y="186"/>
                  </a:cubicBezTo>
                  <a:cubicBezTo>
                    <a:pt x="144" y="186"/>
                    <a:pt x="144" y="186"/>
                    <a:pt x="144" y="186"/>
                  </a:cubicBezTo>
                  <a:cubicBezTo>
                    <a:pt x="144" y="187"/>
                    <a:pt x="144" y="187"/>
                    <a:pt x="144" y="187"/>
                  </a:cubicBezTo>
                  <a:cubicBezTo>
                    <a:pt x="143" y="187"/>
                    <a:pt x="143" y="187"/>
                    <a:pt x="143" y="187"/>
                  </a:cubicBezTo>
                  <a:cubicBezTo>
                    <a:pt x="143" y="187"/>
                    <a:pt x="143" y="187"/>
                    <a:pt x="143" y="187"/>
                  </a:cubicBezTo>
                  <a:cubicBezTo>
                    <a:pt x="143" y="187"/>
                    <a:pt x="143" y="187"/>
                    <a:pt x="143" y="187"/>
                  </a:cubicBezTo>
                  <a:cubicBezTo>
                    <a:pt x="144" y="188"/>
                    <a:pt x="144" y="188"/>
                    <a:pt x="144" y="188"/>
                  </a:cubicBezTo>
                  <a:cubicBezTo>
                    <a:pt x="144" y="188"/>
                    <a:pt x="144" y="188"/>
                    <a:pt x="144" y="188"/>
                  </a:cubicBezTo>
                  <a:cubicBezTo>
                    <a:pt x="144" y="188"/>
                    <a:pt x="144" y="188"/>
                    <a:pt x="144" y="188"/>
                  </a:cubicBezTo>
                  <a:cubicBezTo>
                    <a:pt x="144" y="188"/>
                    <a:pt x="144" y="188"/>
                    <a:pt x="144" y="188"/>
                  </a:cubicBezTo>
                  <a:cubicBezTo>
                    <a:pt x="145" y="188"/>
                    <a:pt x="145" y="188"/>
                    <a:pt x="145" y="188"/>
                  </a:cubicBezTo>
                  <a:cubicBezTo>
                    <a:pt x="145" y="189"/>
                    <a:pt x="145" y="189"/>
                    <a:pt x="145" y="189"/>
                  </a:cubicBezTo>
                  <a:cubicBezTo>
                    <a:pt x="145" y="189"/>
                    <a:pt x="145" y="189"/>
                    <a:pt x="145" y="189"/>
                  </a:cubicBezTo>
                  <a:cubicBezTo>
                    <a:pt x="145" y="189"/>
                    <a:pt x="145" y="189"/>
                    <a:pt x="145" y="189"/>
                  </a:cubicBezTo>
                  <a:cubicBezTo>
                    <a:pt x="145" y="189"/>
                    <a:pt x="145" y="189"/>
                    <a:pt x="145" y="189"/>
                  </a:cubicBezTo>
                  <a:cubicBezTo>
                    <a:pt x="146" y="189"/>
                    <a:pt x="146" y="189"/>
                    <a:pt x="146" y="189"/>
                  </a:cubicBezTo>
                  <a:cubicBezTo>
                    <a:pt x="147" y="189"/>
                    <a:pt x="147" y="189"/>
                    <a:pt x="147" y="189"/>
                  </a:cubicBezTo>
                  <a:cubicBezTo>
                    <a:pt x="147" y="189"/>
                    <a:pt x="147" y="189"/>
                    <a:pt x="147" y="189"/>
                  </a:cubicBezTo>
                  <a:cubicBezTo>
                    <a:pt x="147" y="190"/>
                    <a:pt x="147" y="190"/>
                    <a:pt x="147" y="190"/>
                  </a:cubicBezTo>
                  <a:cubicBezTo>
                    <a:pt x="148" y="190"/>
                    <a:pt x="148" y="190"/>
                    <a:pt x="148" y="190"/>
                  </a:cubicBezTo>
                  <a:cubicBezTo>
                    <a:pt x="148" y="190"/>
                    <a:pt x="148" y="190"/>
                    <a:pt x="148" y="190"/>
                  </a:cubicBezTo>
                  <a:cubicBezTo>
                    <a:pt x="148" y="191"/>
                    <a:pt x="148" y="191"/>
                    <a:pt x="148" y="191"/>
                  </a:cubicBezTo>
                  <a:cubicBezTo>
                    <a:pt x="149" y="191"/>
                    <a:pt x="149" y="191"/>
                    <a:pt x="149" y="191"/>
                  </a:cubicBezTo>
                  <a:cubicBezTo>
                    <a:pt x="149" y="192"/>
                    <a:pt x="149" y="192"/>
                    <a:pt x="149" y="192"/>
                  </a:cubicBezTo>
                  <a:cubicBezTo>
                    <a:pt x="149" y="191"/>
                    <a:pt x="149" y="191"/>
                    <a:pt x="149" y="191"/>
                  </a:cubicBezTo>
                  <a:cubicBezTo>
                    <a:pt x="149" y="191"/>
                    <a:pt x="149" y="191"/>
                    <a:pt x="149" y="191"/>
                  </a:cubicBezTo>
                  <a:cubicBezTo>
                    <a:pt x="150" y="192"/>
                    <a:pt x="150" y="192"/>
                    <a:pt x="150" y="192"/>
                  </a:cubicBezTo>
                  <a:cubicBezTo>
                    <a:pt x="150" y="192"/>
                    <a:pt x="150" y="192"/>
                    <a:pt x="150" y="192"/>
                  </a:cubicBezTo>
                  <a:cubicBezTo>
                    <a:pt x="150" y="192"/>
                    <a:pt x="150" y="192"/>
                    <a:pt x="150" y="192"/>
                  </a:cubicBezTo>
                  <a:cubicBezTo>
                    <a:pt x="150" y="192"/>
                    <a:pt x="150" y="192"/>
                    <a:pt x="150" y="192"/>
                  </a:cubicBezTo>
                  <a:cubicBezTo>
                    <a:pt x="150" y="193"/>
                    <a:pt x="150" y="193"/>
                    <a:pt x="150" y="193"/>
                  </a:cubicBezTo>
                  <a:cubicBezTo>
                    <a:pt x="150" y="193"/>
                    <a:pt x="150" y="193"/>
                    <a:pt x="150" y="193"/>
                  </a:cubicBezTo>
                  <a:cubicBezTo>
                    <a:pt x="150" y="193"/>
                    <a:pt x="150" y="193"/>
                    <a:pt x="150" y="193"/>
                  </a:cubicBezTo>
                  <a:cubicBezTo>
                    <a:pt x="150" y="193"/>
                    <a:pt x="150" y="193"/>
                    <a:pt x="150" y="193"/>
                  </a:cubicBezTo>
                  <a:cubicBezTo>
                    <a:pt x="150" y="193"/>
                    <a:pt x="150" y="193"/>
                    <a:pt x="150" y="193"/>
                  </a:cubicBezTo>
                  <a:cubicBezTo>
                    <a:pt x="150" y="193"/>
                    <a:pt x="150" y="193"/>
                    <a:pt x="150" y="193"/>
                  </a:cubicBezTo>
                  <a:cubicBezTo>
                    <a:pt x="149" y="195"/>
                    <a:pt x="149" y="195"/>
                    <a:pt x="149" y="195"/>
                  </a:cubicBezTo>
                  <a:cubicBezTo>
                    <a:pt x="149" y="195"/>
                    <a:pt x="149" y="195"/>
                    <a:pt x="149" y="195"/>
                  </a:cubicBezTo>
                  <a:cubicBezTo>
                    <a:pt x="149" y="195"/>
                    <a:pt x="149" y="195"/>
                    <a:pt x="149" y="195"/>
                  </a:cubicBezTo>
                  <a:cubicBezTo>
                    <a:pt x="149" y="195"/>
                    <a:pt x="149" y="195"/>
                    <a:pt x="149" y="195"/>
                  </a:cubicBezTo>
                  <a:cubicBezTo>
                    <a:pt x="149" y="195"/>
                    <a:pt x="149" y="195"/>
                    <a:pt x="149" y="195"/>
                  </a:cubicBezTo>
                  <a:cubicBezTo>
                    <a:pt x="149" y="195"/>
                    <a:pt x="149" y="195"/>
                    <a:pt x="149" y="195"/>
                  </a:cubicBezTo>
                  <a:cubicBezTo>
                    <a:pt x="149" y="195"/>
                    <a:pt x="149" y="195"/>
                    <a:pt x="149" y="195"/>
                  </a:cubicBezTo>
                  <a:cubicBezTo>
                    <a:pt x="149" y="195"/>
                    <a:pt x="149" y="195"/>
                    <a:pt x="149" y="195"/>
                  </a:cubicBezTo>
                  <a:cubicBezTo>
                    <a:pt x="149" y="196"/>
                    <a:pt x="149" y="196"/>
                    <a:pt x="149" y="196"/>
                  </a:cubicBezTo>
                  <a:cubicBezTo>
                    <a:pt x="149" y="196"/>
                    <a:pt x="149" y="196"/>
                    <a:pt x="149" y="196"/>
                  </a:cubicBezTo>
                  <a:cubicBezTo>
                    <a:pt x="149" y="196"/>
                    <a:pt x="149" y="196"/>
                    <a:pt x="149" y="196"/>
                  </a:cubicBezTo>
                  <a:cubicBezTo>
                    <a:pt x="149" y="196"/>
                    <a:pt x="149" y="196"/>
                    <a:pt x="149" y="196"/>
                  </a:cubicBezTo>
                  <a:cubicBezTo>
                    <a:pt x="149" y="196"/>
                    <a:pt x="149" y="196"/>
                    <a:pt x="149" y="196"/>
                  </a:cubicBezTo>
                  <a:cubicBezTo>
                    <a:pt x="149" y="196"/>
                    <a:pt x="149" y="196"/>
                    <a:pt x="149" y="196"/>
                  </a:cubicBezTo>
                  <a:cubicBezTo>
                    <a:pt x="149" y="197"/>
                    <a:pt x="149" y="197"/>
                    <a:pt x="149" y="197"/>
                  </a:cubicBezTo>
                  <a:cubicBezTo>
                    <a:pt x="149" y="197"/>
                    <a:pt x="149" y="197"/>
                    <a:pt x="149" y="197"/>
                  </a:cubicBezTo>
                  <a:cubicBezTo>
                    <a:pt x="149" y="197"/>
                    <a:pt x="149" y="197"/>
                    <a:pt x="149" y="197"/>
                  </a:cubicBezTo>
                  <a:cubicBezTo>
                    <a:pt x="149" y="197"/>
                    <a:pt x="149" y="197"/>
                    <a:pt x="149" y="197"/>
                  </a:cubicBezTo>
                  <a:cubicBezTo>
                    <a:pt x="149" y="197"/>
                    <a:pt x="149" y="197"/>
                    <a:pt x="149" y="197"/>
                  </a:cubicBezTo>
                  <a:cubicBezTo>
                    <a:pt x="148" y="198"/>
                    <a:pt x="148" y="198"/>
                    <a:pt x="148" y="198"/>
                  </a:cubicBezTo>
                  <a:cubicBezTo>
                    <a:pt x="148" y="198"/>
                    <a:pt x="148" y="198"/>
                    <a:pt x="148" y="198"/>
                  </a:cubicBezTo>
                  <a:cubicBezTo>
                    <a:pt x="148" y="198"/>
                    <a:pt x="148" y="198"/>
                    <a:pt x="148" y="198"/>
                  </a:cubicBezTo>
                  <a:cubicBezTo>
                    <a:pt x="149" y="199"/>
                    <a:pt x="149" y="199"/>
                    <a:pt x="149" y="199"/>
                  </a:cubicBezTo>
                  <a:cubicBezTo>
                    <a:pt x="148" y="199"/>
                    <a:pt x="148" y="199"/>
                    <a:pt x="148" y="199"/>
                  </a:cubicBezTo>
                  <a:cubicBezTo>
                    <a:pt x="148" y="199"/>
                    <a:pt x="148" y="199"/>
                    <a:pt x="148" y="199"/>
                  </a:cubicBezTo>
                  <a:cubicBezTo>
                    <a:pt x="149" y="200"/>
                    <a:pt x="149" y="200"/>
                    <a:pt x="149" y="200"/>
                  </a:cubicBezTo>
                  <a:cubicBezTo>
                    <a:pt x="149" y="200"/>
                    <a:pt x="149" y="200"/>
                    <a:pt x="149" y="200"/>
                  </a:cubicBezTo>
                  <a:cubicBezTo>
                    <a:pt x="150" y="200"/>
                    <a:pt x="150" y="200"/>
                    <a:pt x="150" y="200"/>
                  </a:cubicBezTo>
                  <a:cubicBezTo>
                    <a:pt x="150" y="200"/>
                    <a:pt x="150" y="200"/>
                    <a:pt x="150" y="200"/>
                  </a:cubicBezTo>
                  <a:cubicBezTo>
                    <a:pt x="150" y="200"/>
                    <a:pt x="150" y="200"/>
                    <a:pt x="150" y="200"/>
                  </a:cubicBezTo>
                  <a:cubicBezTo>
                    <a:pt x="150" y="200"/>
                    <a:pt x="150" y="200"/>
                    <a:pt x="150" y="200"/>
                  </a:cubicBezTo>
                  <a:cubicBezTo>
                    <a:pt x="150" y="200"/>
                    <a:pt x="150" y="200"/>
                    <a:pt x="150" y="200"/>
                  </a:cubicBezTo>
                  <a:cubicBezTo>
                    <a:pt x="151" y="200"/>
                    <a:pt x="151" y="200"/>
                    <a:pt x="151" y="200"/>
                  </a:cubicBezTo>
                  <a:cubicBezTo>
                    <a:pt x="151" y="201"/>
                    <a:pt x="151" y="201"/>
                    <a:pt x="151" y="201"/>
                  </a:cubicBezTo>
                  <a:cubicBezTo>
                    <a:pt x="151" y="201"/>
                    <a:pt x="151" y="201"/>
                    <a:pt x="151" y="201"/>
                  </a:cubicBezTo>
                  <a:cubicBezTo>
                    <a:pt x="151" y="201"/>
                    <a:pt x="151" y="201"/>
                    <a:pt x="151" y="201"/>
                  </a:cubicBezTo>
                  <a:cubicBezTo>
                    <a:pt x="151" y="200"/>
                    <a:pt x="151" y="200"/>
                    <a:pt x="151" y="200"/>
                  </a:cubicBezTo>
                  <a:cubicBezTo>
                    <a:pt x="151" y="200"/>
                    <a:pt x="151" y="200"/>
                    <a:pt x="151" y="200"/>
                  </a:cubicBezTo>
                  <a:cubicBezTo>
                    <a:pt x="151" y="200"/>
                    <a:pt x="151" y="200"/>
                    <a:pt x="151" y="200"/>
                  </a:cubicBezTo>
                  <a:cubicBezTo>
                    <a:pt x="151" y="200"/>
                    <a:pt x="151" y="200"/>
                    <a:pt x="151" y="200"/>
                  </a:cubicBezTo>
                  <a:cubicBezTo>
                    <a:pt x="152" y="200"/>
                    <a:pt x="152" y="200"/>
                    <a:pt x="152" y="200"/>
                  </a:cubicBezTo>
                  <a:cubicBezTo>
                    <a:pt x="152" y="200"/>
                    <a:pt x="152" y="200"/>
                    <a:pt x="152" y="200"/>
                  </a:cubicBezTo>
                  <a:cubicBezTo>
                    <a:pt x="152" y="200"/>
                    <a:pt x="152" y="200"/>
                    <a:pt x="152" y="200"/>
                  </a:cubicBezTo>
                  <a:cubicBezTo>
                    <a:pt x="153" y="200"/>
                    <a:pt x="153" y="200"/>
                    <a:pt x="153" y="200"/>
                  </a:cubicBezTo>
                  <a:cubicBezTo>
                    <a:pt x="153" y="200"/>
                    <a:pt x="153" y="200"/>
                    <a:pt x="153" y="200"/>
                  </a:cubicBezTo>
                  <a:cubicBezTo>
                    <a:pt x="154" y="200"/>
                    <a:pt x="154" y="200"/>
                    <a:pt x="154" y="200"/>
                  </a:cubicBezTo>
                  <a:cubicBezTo>
                    <a:pt x="154" y="200"/>
                    <a:pt x="154" y="200"/>
                    <a:pt x="154" y="200"/>
                  </a:cubicBezTo>
                  <a:cubicBezTo>
                    <a:pt x="154" y="200"/>
                    <a:pt x="154" y="200"/>
                    <a:pt x="154" y="200"/>
                  </a:cubicBezTo>
                  <a:cubicBezTo>
                    <a:pt x="155" y="201"/>
                    <a:pt x="155" y="201"/>
                    <a:pt x="155" y="201"/>
                  </a:cubicBezTo>
                  <a:cubicBezTo>
                    <a:pt x="155" y="201"/>
                    <a:pt x="155" y="201"/>
                    <a:pt x="155" y="201"/>
                  </a:cubicBezTo>
                  <a:cubicBezTo>
                    <a:pt x="154" y="201"/>
                    <a:pt x="154" y="201"/>
                    <a:pt x="154" y="201"/>
                  </a:cubicBezTo>
                  <a:cubicBezTo>
                    <a:pt x="154" y="202"/>
                    <a:pt x="154" y="202"/>
                    <a:pt x="154" y="202"/>
                  </a:cubicBezTo>
                  <a:cubicBezTo>
                    <a:pt x="154" y="202"/>
                    <a:pt x="154" y="202"/>
                    <a:pt x="154" y="202"/>
                  </a:cubicBezTo>
                  <a:cubicBezTo>
                    <a:pt x="154" y="202"/>
                    <a:pt x="154" y="202"/>
                    <a:pt x="154" y="202"/>
                  </a:cubicBezTo>
                  <a:cubicBezTo>
                    <a:pt x="153" y="201"/>
                    <a:pt x="153" y="201"/>
                    <a:pt x="153" y="201"/>
                  </a:cubicBezTo>
                  <a:cubicBezTo>
                    <a:pt x="153" y="201"/>
                    <a:pt x="153" y="201"/>
                    <a:pt x="153" y="201"/>
                  </a:cubicBezTo>
                  <a:cubicBezTo>
                    <a:pt x="153" y="202"/>
                    <a:pt x="153" y="202"/>
                    <a:pt x="153" y="202"/>
                  </a:cubicBezTo>
                  <a:cubicBezTo>
                    <a:pt x="153" y="202"/>
                    <a:pt x="153" y="202"/>
                    <a:pt x="153" y="202"/>
                  </a:cubicBezTo>
                  <a:cubicBezTo>
                    <a:pt x="153" y="202"/>
                    <a:pt x="153" y="202"/>
                    <a:pt x="153" y="202"/>
                  </a:cubicBezTo>
                  <a:cubicBezTo>
                    <a:pt x="152" y="202"/>
                    <a:pt x="152" y="202"/>
                    <a:pt x="152" y="202"/>
                  </a:cubicBezTo>
                  <a:cubicBezTo>
                    <a:pt x="152" y="202"/>
                    <a:pt x="152" y="202"/>
                    <a:pt x="152" y="202"/>
                  </a:cubicBezTo>
                  <a:cubicBezTo>
                    <a:pt x="152" y="202"/>
                    <a:pt x="152" y="202"/>
                    <a:pt x="152" y="202"/>
                  </a:cubicBezTo>
                  <a:cubicBezTo>
                    <a:pt x="152" y="203"/>
                    <a:pt x="152" y="203"/>
                    <a:pt x="152" y="203"/>
                  </a:cubicBezTo>
                  <a:cubicBezTo>
                    <a:pt x="152" y="203"/>
                    <a:pt x="152" y="203"/>
                    <a:pt x="152" y="203"/>
                  </a:cubicBezTo>
                  <a:cubicBezTo>
                    <a:pt x="152" y="204"/>
                    <a:pt x="152" y="204"/>
                    <a:pt x="152" y="204"/>
                  </a:cubicBezTo>
                  <a:cubicBezTo>
                    <a:pt x="152" y="204"/>
                    <a:pt x="152" y="204"/>
                    <a:pt x="152" y="204"/>
                  </a:cubicBezTo>
                  <a:cubicBezTo>
                    <a:pt x="152" y="204"/>
                    <a:pt x="152" y="204"/>
                    <a:pt x="152" y="204"/>
                  </a:cubicBezTo>
                  <a:cubicBezTo>
                    <a:pt x="152" y="205"/>
                    <a:pt x="152" y="205"/>
                    <a:pt x="152" y="205"/>
                  </a:cubicBezTo>
                  <a:cubicBezTo>
                    <a:pt x="153" y="205"/>
                    <a:pt x="153" y="205"/>
                    <a:pt x="153" y="205"/>
                  </a:cubicBezTo>
                  <a:cubicBezTo>
                    <a:pt x="153" y="204"/>
                    <a:pt x="153" y="204"/>
                    <a:pt x="153" y="204"/>
                  </a:cubicBezTo>
                  <a:cubicBezTo>
                    <a:pt x="153" y="204"/>
                    <a:pt x="153" y="204"/>
                    <a:pt x="153" y="204"/>
                  </a:cubicBezTo>
                  <a:cubicBezTo>
                    <a:pt x="153" y="204"/>
                    <a:pt x="153" y="204"/>
                    <a:pt x="153" y="204"/>
                  </a:cubicBezTo>
                  <a:cubicBezTo>
                    <a:pt x="153" y="203"/>
                    <a:pt x="153" y="203"/>
                    <a:pt x="153" y="203"/>
                  </a:cubicBezTo>
                  <a:cubicBezTo>
                    <a:pt x="154" y="203"/>
                    <a:pt x="154" y="203"/>
                    <a:pt x="154" y="203"/>
                  </a:cubicBezTo>
                  <a:cubicBezTo>
                    <a:pt x="154" y="204"/>
                    <a:pt x="154" y="204"/>
                    <a:pt x="154" y="204"/>
                  </a:cubicBezTo>
                  <a:cubicBezTo>
                    <a:pt x="154" y="204"/>
                    <a:pt x="154" y="204"/>
                    <a:pt x="154" y="204"/>
                  </a:cubicBezTo>
                  <a:cubicBezTo>
                    <a:pt x="154" y="204"/>
                    <a:pt x="154" y="204"/>
                    <a:pt x="154" y="204"/>
                  </a:cubicBezTo>
                  <a:cubicBezTo>
                    <a:pt x="154" y="205"/>
                    <a:pt x="154" y="205"/>
                    <a:pt x="154" y="205"/>
                  </a:cubicBezTo>
                  <a:cubicBezTo>
                    <a:pt x="153" y="205"/>
                    <a:pt x="153" y="205"/>
                    <a:pt x="153" y="205"/>
                  </a:cubicBezTo>
                  <a:cubicBezTo>
                    <a:pt x="153" y="207"/>
                    <a:pt x="153" y="207"/>
                    <a:pt x="153" y="207"/>
                  </a:cubicBezTo>
                  <a:cubicBezTo>
                    <a:pt x="152" y="207"/>
                    <a:pt x="152" y="207"/>
                    <a:pt x="152" y="207"/>
                  </a:cubicBezTo>
                  <a:cubicBezTo>
                    <a:pt x="152" y="208"/>
                    <a:pt x="152" y="208"/>
                    <a:pt x="152" y="208"/>
                  </a:cubicBezTo>
                  <a:cubicBezTo>
                    <a:pt x="152" y="208"/>
                    <a:pt x="152" y="208"/>
                    <a:pt x="152" y="208"/>
                  </a:cubicBezTo>
                  <a:cubicBezTo>
                    <a:pt x="153" y="208"/>
                    <a:pt x="153" y="208"/>
                    <a:pt x="153" y="208"/>
                  </a:cubicBezTo>
                  <a:cubicBezTo>
                    <a:pt x="153" y="208"/>
                    <a:pt x="153" y="208"/>
                    <a:pt x="153" y="208"/>
                  </a:cubicBezTo>
                  <a:cubicBezTo>
                    <a:pt x="153" y="209"/>
                    <a:pt x="153" y="209"/>
                    <a:pt x="153" y="209"/>
                  </a:cubicBezTo>
                  <a:cubicBezTo>
                    <a:pt x="154" y="209"/>
                    <a:pt x="154" y="209"/>
                    <a:pt x="154" y="209"/>
                  </a:cubicBezTo>
                  <a:cubicBezTo>
                    <a:pt x="154" y="209"/>
                    <a:pt x="154" y="209"/>
                    <a:pt x="154" y="209"/>
                  </a:cubicBezTo>
                  <a:cubicBezTo>
                    <a:pt x="154" y="209"/>
                    <a:pt x="154" y="209"/>
                    <a:pt x="154" y="209"/>
                  </a:cubicBezTo>
                  <a:cubicBezTo>
                    <a:pt x="154" y="209"/>
                    <a:pt x="154" y="209"/>
                    <a:pt x="154" y="209"/>
                  </a:cubicBezTo>
                  <a:cubicBezTo>
                    <a:pt x="154" y="209"/>
                    <a:pt x="154" y="209"/>
                    <a:pt x="154" y="209"/>
                  </a:cubicBezTo>
                  <a:cubicBezTo>
                    <a:pt x="154" y="209"/>
                    <a:pt x="154" y="209"/>
                    <a:pt x="154" y="209"/>
                  </a:cubicBezTo>
                  <a:cubicBezTo>
                    <a:pt x="155" y="208"/>
                    <a:pt x="155" y="208"/>
                    <a:pt x="155" y="208"/>
                  </a:cubicBezTo>
                  <a:cubicBezTo>
                    <a:pt x="155" y="208"/>
                    <a:pt x="155" y="208"/>
                    <a:pt x="155" y="208"/>
                  </a:cubicBezTo>
                  <a:cubicBezTo>
                    <a:pt x="156" y="208"/>
                    <a:pt x="156" y="208"/>
                    <a:pt x="156" y="208"/>
                  </a:cubicBezTo>
                  <a:cubicBezTo>
                    <a:pt x="156" y="208"/>
                    <a:pt x="156" y="208"/>
                    <a:pt x="156" y="208"/>
                  </a:cubicBezTo>
                  <a:cubicBezTo>
                    <a:pt x="157" y="208"/>
                    <a:pt x="157" y="208"/>
                    <a:pt x="157" y="208"/>
                  </a:cubicBezTo>
                  <a:cubicBezTo>
                    <a:pt x="158" y="207"/>
                    <a:pt x="158" y="207"/>
                    <a:pt x="158" y="207"/>
                  </a:cubicBezTo>
                  <a:cubicBezTo>
                    <a:pt x="158" y="207"/>
                    <a:pt x="158" y="207"/>
                    <a:pt x="158" y="207"/>
                  </a:cubicBezTo>
                  <a:cubicBezTo>
                    <a:pt x="159" y="207"/>
                    <a:pt x="159" y="207"/>
                    <a:pt x="159" y="207"/>
                  </a:cubicBezTo>
                  <a:cubicBezTo>
                    <a:pt x="159" y="209"/>
                    <a:pt x="159" y="209"/>
                    <a:pt x="159" y="209"/>
                  </a:cubicBezTo>
                  <a:cubicBezTo>
                    <a:pt x="159" y="210"/>
                    <a:pt x="159" y="210"/>
                    <a:pt x="159" y="210"/>
                  </a:cubicBezTo>
                  <a:cubicBezTo>
                    <a:pt x="159" y="210"/>
                    <a:pt x="159" y="210"/>
                    <a:pt x="159" y="210"/>
                  </a:cubicBezTo>
                  <a:cubicBezTo>
                    <a:pt x="160" y="211"/>
                    <a:pt x="160" y="211"/>
                    <a:pt x="160" y="211"/>
                  </a:cubicBezTo>
                  <a:cubicBezTo>
                    <a:pt x="160" y="211"/>
                    <a:pt x="160" y="211"/>
                    <a:pt x="160" y="211"/>
                  </a:cubicBezTo>
                  <a:cubicBezTo>
                    <a:pt x="160" y="211"/>
                    <a:pt x="160" y="211"/>
                    <a:pt x="160" y="211"/>
                  </a:cubicBezTo>
                  <a:cubicBezTo>
                    <a:pt x="161" y="211"/>
                    <a:pt x="161" y="211"/>
                    <a:pt x="161" y="211"/>
                  </a:cubicBezTo>
                  <a:cubicBezTo>
                    <a:pt x="162" y="211"/>
                    <a:pt x="162" y="211"/>
                    <a:pt x="162" y="211"/>
                  </a:cubicBezTo>
                  <a:cubicBezTo>
                    <a:pt x="163" y="211"/>
                    <a:pt x="163" y="211"/>
                    <a:pt x="163" y="211"/>
                  </a:cubicBezTo>
                  <a:cubicBezTo>
                    <a:pt x="163" y="211"/>
                    <a:pt x="163" y="211"/>
                    <a:pt x="163" y="211"/>
                  </a:cubicBezTo>
                  <a:cubicBezTo>
                    <a:pt x="163" y="211"/>
                    <a:pt x="163" y="211"/>
                    <a:pt x="163" y="211"/>
                  </a:cubicBezTo>
                  <a:cubicBezTo>
                    <a:pt x="163" y="211"/>
                    <a:pt x="163" y="211"/>
                    <a:pt x="163" y="211"/>
                  </a:cubicBezTo>
                  <a:cubicBezTo>
                    <a:pt x="163" y="211"/>
                    <a:pt x="163" y="211"/>
                    <a:pt x="163" y="211"/>
                  </a:cubicBezTo>
                  <a:cubicBezTo>
                    <a:pt x="165" y="211"/>
                    <a:pt x="165" y="211"/>
                    <a:pt x="165" y="211"/>
                  </a:cubicBezTo>
                  <a:cubicBezTo>
                    <a:pt x="165" y="211"/>
                    <a:pt x="165" y="211"/>
                    <a:pt x="165" y="211"/>
                  </a:cubicBezTo>
                  <a:cubicBezTo>
                    <a:pt x="165" y="211"/>
                    <a:pt x="165" y="211"/>
                    <a:pt x="165" y="211"/>
                  </a:cubicBezTo>
                  <a:cubicBezTo>
                    <a:pt x="167" y="211"/>
                    <a:pt x="167" y="211"/>
                    <a:pt x="167" y="211"/>
                  </a:cubicBezTo>
                  <a:cubicBezTo>
                    <a:pt x="167" y="211"/>
                    <a:pt x="167" y="211"/>
                    <a:pt x="167" y="211"/>
                  </a:cubicBezTo>
                  <a:cubicBezTo>
                    <a:pt x="167" y="211"/>
                    <a:pt x="167" y="211"/>
                    <a:pt x="167" y="211"/>
                  </a:cubicBezTo>
                  <a:cubicBezTo>
                    <a:pt x="167" y="212"/>
                    <a:pt x="167" y="212"/>
                    <a:pt x="167" y="212"/>
                  </a:cubicBezTo>
                  <a:cubicBezTo>
                    <a:pt x="167" y="212"/>
                    <a:pt x="167" y="212"/>
                    <a:pt x="167" y="212"/>
                  </a:cubicBezTo>
                  <a:cubicBezTo>
                    <a:pt x="168" y="212"/>
                    <a:pt x="168" y="212"/>
                    <a:pt x="168" y="212"/>
                  </a:cubicBezTo>
                  <a:cubicBezTo>
                    <a:pt x="168" y="211"/>
                    <a:pt x="168" y="211"/>
                    <a:pt x="168" y="211"/>
                  </a:cubicBezTo>
                  <a:cubicBezTo>
                    <a:pt x="168" y="211"/>
                    <a:pt x="168" y="211"/>
                    <a:pt x="168" y="211"/>
                  </a:cubicBezTo>
                  <a:cubicBezTo>
                    <a:pt x="170" y="212"/>
                    <a:pt x="170" y="212"/>
                    <a:pt x="170" y="212"/>
                  </a:cubicBezTo>
                  <a:cubicBezTo>
                    <a:pt x="171" y="212"/>
                    <a:pt x="171" y="212"/>
                    <a:pt x="171" y="212"/>
                  </a:cubicBezTo>
                  <a:cubicBezTo>
                    <a:pt x="172" y="212"/>
                    <a:pt x="172" y="212"/>
                    <a:pt x="172" y="212"/>
                  </a:cubicBezTo>
                  <a:cubicBezTo>
                    <a:pt x="173" y="212"/>
                    <a:pt x="173" y="212"/>
                    <a:pt x="173" y="212"/>
                  </a:cubicBezTo>
                  <a:cubicBezTo>
                    <a:pt x="173" y="212"/>
                    <a:pt x="173" y="212"/>
                    <a:pt x="173" y="212"/>
                  </a:cubicBezTo>
                  <a:cubicBezTo>
                    <a:pt x="174" y="212"/>
                    <a:pt x="174" y="212"/>
                    <a:pt x="174" y="212"/>
                  </a:cubicBezTo>
                  <a:cubicBezTo>
                    <a:pt x="174" y="212"/>
                    <a:pt x="174" y="212"/>
                    <a:pt x="174" y="212"/>
                  </a:cubicBezTo>
                  <a:cubicBezTo>
                    <a:pt x="174" y="212"/>
                    <a:pt x="174" y="212"/>
                    <a:pt x="174" y="212"/>
                  </a:cubicBezTo>
                  <a:cubicBezTo>
                    <a:pt x="175" y="212"/>
                    <a:pt x="175" y="212"/>
                    <a:pt x="175" y="212"/>
                  </a:cubicBezTo>
                  <a:cubicBezTo>
                    <a:pt x="176" y="212"/>
                    <a:pt x="176" y="212"/>
                    <a:pt x="176" y="212"/>
                  </a:cubicBezTo>
                  <a:cubicBezTo>
                    <a:pt x="176" y="212"/>
                    <a:pt x="176" y="212"/>
                    <a:pt x="176" y="212"/>
                  </a:cubicBezTo>
                  <a:cubicBezTo>
                    <a:pt x="176" y="212"/>
                    <a:pt x="176" y="212"/>
                    <a:pt x="176" y="212"/>
                  </a:cubicBezTo>
                  <a:cubicBezTo>
                    <a:pt x="176" y="212"/>
                    <a:pt x="176" y="212"/>
                    <a:pt x="176" y="212"/>
                  </a:cubicBezTo>
                  <a:cubicBezTo>
                    <a:pt x="179" y="211"/>
                    <a:pt x="179" y="211"/>
                    <a:pt x="179" y="211"/>
                  </a:cubicBezTo>
                  <a:cubicBezTo>
                    <a:pt x="180" y="210"/>
                    <a:pt x="180" y="210"/>
                    <a:pt x="180" y="210"/>
                  </a:cubicBezTo>
                  <a:cubicBezTo>
                    <a:pt x="180" y="211"/>
                    <a:pt x="180" y="211"/>
                    <a:pt x="180" y="211"/>
                  </a:cubicBezTo>
                  <a:cubicBezTo>
                    <a:pt x="180" y="211"/>
                    <a:pt x="180" y="211"/>
                    <a:pt x="180" y="211"/>
                  </a:cubicBezTo>
                  <a:cubicBezTo>
                    <a:pt x="180" y="211"/>
                    <a:pt x="180" y="211"/>
                    <a:pt x="180" y="211"/>
                  </a:cubicBezTo>
                  <a:cubicBezTo>
                    <a:pt x="180" y="211"/>
                    <a:pt x="180" y="211"/>
                    <a:pt x="180" y="211"/>
                  </a:cubicBezTo>
                  <a:cubicBezTo>
                    <a:pt x="182" y="211"/>
                    <a:pt x="182" y="211"/>
                    <a:pt x="182" y="211"/>
                  </a:cubicBezTo>
                  <a:cubicBezTo>
                    <a:pt x="183" y="210"/>
                    <a:pt x="183" y="210"/>
                    <a:pt x="183" y="210"/>
                  </a:cubicBezTo>
                  <a:cubicBezTo>
                    <a:pt x="183" y="210"/>
                    <a:pt x="183" y="210"/>
                    <a:pt x="183" y="210"/>
                  </a:cubicBezTo>
                  <a:cubicBezTo>
                    <a:pt x="183" y="210"/>
                    <a:pt x="183" y="210"/>
                    <a:pt x="183" y="210"/>
                  </a:cubicBezTo>
                  <a:cubicBezTo>
                    <a:pt x="183" y="211"/>
                    <a:pt x="183" y="211"/>
                    <a:pt x="183" y="211"/>
                  </a:cubicBezTo>
                  <a:cubicBezTo>
                    <a:pt x="183" y="211"/>
                    <a:pt x="183" y="211"/>
                    <a:pt x="183" y="211"/>
                  </a:cubicBezTo>
                  <a:cubicBezTo>
                    <a:pt x="184" y="210"/>
                    <a:pt x="184" y="210"/>
                    <a:pt x="184" y="210"/>
                  </a:cubicBezTo>
                  <a:cubicBezTo>
                    <a:pt x="185" y="210"/>
                    <a:pt x="185" y="210"/>
                    <a:pt x="185" y="210"/>
                  </a:cubicBezTo>
                  <a:cubicBezTo>
                    <a:pt x="185" y="210"/>
                    <a:pt x="185" y="210"/>
                    <a:pt x="185" y="210"/>
                  </a:cubicBezTo>
                  <a:cubicBezTo>
                    <a:pt x="185" y="210"/>
                    <a:pt x="185" y="210"/>
                    <a:pt x="185" y="210"/>
                  </a:cubicBezTo>
                  <a:cubicBezTo>
                    <a:pt x="185" y="210"/>
                    <a:pt x="185" y="210"/>
                    <a:pt x="185" y="210"/>
                  </a:cubicBezTo>
                  <a:cubicBezTo>
                    <a:pt x="184" y="210"/>
                    <a:pt x="184" y="210"/>
                    <a:pt x="184" y="210"/>
                  </a:cubicBezTo>
                  <a:cubicBezTo>
                    <a:pt x="184" y="210"/>
                    <a:pt x="184" y="210"/>
                    <a:pt x="184" y="210"/>
                  </a:cubicBezTo>
                  <a:cubicBezTo>
                    <a:pt x="184" y="211"/>
                    <a:pt x="184" y="211"/>
                    <a:pt x="184" y="211"/>
                  </a:cubicBezTo>
                  <a:cubicBezTo>
                    <a:pt x="184" y="211"/>
                    <a:pt x="184" y="211"/>
                    <a:pt x="184" y="211"/>
                  </a:cubicBezTo>
                  <a:cubicBezTo>
                    <a:pt x="184" y="211"/>
                    <a:pt x="184" y="211"/>
                    <a:pt x="184" y="211"/>
                  </a:cubicBezTo>
                  <a:cubicBezTo>
                    <a:pt x="185" y="211"/>
                    <a:pt x="185" y="211"/>
                    <a:pt x="185" y="211"/>
                  </a:cubicBezTo>
                  <a:cubicBezTo>
                    <a:pt x="185" y="211"/>
                    <a:pt x="185" y="211"/>
                    <a:pt x="185" y="211"/>
                  </a:cubicBezTo>
                  <a:cubicBezTo>
                    <a:pt x="185" y="211"/>
                    <a:pt x="185" y="211"/>
                    <a:pt x="185" y="211"/>
                  </a:cubicBezTo>
                  <a:cubicBezTo>
                    <a:pt x="185" y="211"/>
                    <a:pt x="185" y="211"/>
                    <a:pt x="185" y="211"/>
                  </a:cubicBezTo>
                  <a:cubicBezTo>
                    <a:pt x="185" y="211"/>
                    <a:pt x="185" y="211"/>
                    <a:pt x="185" y="211"/>
                  </a:cubicBezTo>
                  <a:cubicBezTo>
                    <a:pt x="186" y="211"/>
                    <a:pt x="186" y="211"/>
                    <a:pt x="186" y="211"/>
                  </a:cubicBezTo>
                  <a:cubicBezTo>
                    <a:pt x="186" y="211"/>
                    <a:pt x="186" y="211"/>
                    <a:pt x="186" y="211"/>
                  </a:cubicBezTo>
                  <a:cubicBezTo>
                    <a:pt x="186" y="211"/>
                    <a:pt x="186" y="211"/>
                    <a:pt x="186" y="211"/>
                  </a:cubicBezTo>
                  <a:cubicBezTo>
                    <a:pt x="187" y="211"/>
                    <a:pt x="187" y="211"/>
                    <a:pt x="187" y="211"/>
                  </a:cubicBezTo>
                  <a:cubicBezTo>
                    <a:pt x="187" y="211"/>
                    <a:pt x="187" y="211"/>
                    <a:pt x="187" y="211"/>
                  </a:cubicBezTo>
                  <a:cubicBezTo>
                    <a:pt x="187" y="211"/>
                    <a:pt x="187" y="211"/>
                    <a:pt x="187" y="211"/>
                  </a:cubicBezTo>
                  <a:cubicBezTo>
                    <a:pt x="188" y="211"/>
                    <a:pt x="188" y="211"/>
                    <a:pt x="188" y="211"/>
                  </a:cubicBezTo>
                  <a:cubicBezTo>
                    <a:pt x="188" y="211"/>
                    <a:pt x="188" y="211"/>
                    <a:pt x="188" y="211"/>
                  </a:cubicBezTo>
                  <a:cubicBezTo>
                    <a:pt x="188" y="211"/>
                    <a:pt x="188" y="211"/>
                    <a:pt x="188" y="211"/>
                  </a:cubicBezTo>
                  <a:cubicBezTo>
                    <a:pt x="188" y="211"/>
                    <a:pt x="188" y="211"/>
                    <a:pt x="188" y="211"/>
                  </a:cubicBezTo>
                  <a:cubicBezTo>
                    <a:pt x="188" y="211"/>
                    <a:pt x="188" y="211"/>
                    <a:pt x="188" y="211"/>
                  </a:cubicBezTo>
                  <a:cubicBezTo>
                    <a:pt x="189" y="211"/>
                    <a:pt x="189" y="211"/>
                    <a:pt x="189" y="211"/>
                  </a:cubicBezTo>
                  <a:cubicBezTo>
                    <a:pt x="193" y="211"/>
                    <a:pt x="193" y="211"/>
                    <a:pt x="193" y="211"/>
                  </a:cubicBezTo>
                  <a:cubicBezTo>
                    <a:pt x="193" y="211"/>
                    <a:pt x="193" y="211"/>
                    <a:pt x="193" y="211"/>
                  </a:cubicBezTo>
                  <a:cubicBezTo>
                    <a:pt x="193" y="211"/>
                    <a:pt x="193" y="211"/>
                    <a:pt x="193" y="211"/>
                  </a:cubicBezTo>
                  <a:cubicBezTo>
                    <a:pt x="193" y="212"/>
                    <a:pt x="193" y="212"/>
                    <a:pt x="193" y="212"/>
                  </a:cubicBezTo>
                  <a:cubicBezTo>
                    <a:pt x="193" y="212"/>
                    <a:pt x="193" y="212"/>
                    <a:pt x="193" y="212"/>
                  </a:cubicBezTo>
                  <a:cubicBezTo>
                    <a:pt x="193" y="212"/>
                    <a:pt x="193" y="212"/>
                    <a:pt x="193" y="212"/>
                  </a:cubicBezTo>
                  <a:cubicBezTo>
                    <a:pt x="193" y="212"/>
                    <a:pt x="193" y="212"/>
                    <a:pt x="193" y="212"/>
                  </a:cubicBezTo>
                  <a:cubicBezTo>
                    <a:pt x="193" y="212"/>
                    <a:pt x="193" y="212"/>
                    <a:pt x="193" y="212"/>
                  </a:cubicBezTo>
                  <a:cubicBezTo>
                    <a:pt x="193" y="212"/>
                    <a:pt x="193" y="212"/>
                    <a:pt x="193" y="212"/>
                  </a:cubicBezTo>
                  <a:cubicBezTo>
                    <a:pt x="193" y="212"/>
                    <a:pt x="193" y="212"/>
                    <a:pt x="193" y="212"/>
                  </a:cubicBezTo>
                  <a:cubicBezTo>
                    <a:pt x="193" y="211"/>
                    <a:pt x="193" y="211"/>
                    <a:pt x="193" y="211"/>
                  </a:cubicBezTo>
                  <a:cubicBezTo>
                    <a:pt x="193" y="211"/>
                    <a:pt x="193" y="211"/>
                    <a:pt x="193" y="211"/>
                  </a:cubicBezTo>
                  <a:cubicBezTo>
                    <a:pt x="193" y="211"/>
                    <a:pt x="193" y="211"/>
                    <a:pt x="193" y="211"/>
                  </a:cubicBezTo>
                  <a:cubicBezTo>
                    <a:pt x="194" y="211"/>
                    <a:pt x="194" y="211"/>
                    <a:pt x="194" y="211"/>
                  </a:cubicBezTo>
                  <a:cubicBezTo>
                    <a:pt x="194" y="211"/>
                    <a:pt x="194" y="211"/>
                    <a:pt x="194" y="211"/>
                  </a:cubicBezTo>
                  <a:cubicBezTo>
                    <a:pt x="194" y="211"/>
                    <a:pt x="194" y="211"/>
                    <a:pt x="194" y="211"/>
                  </a:cubicBezTo>
                  <a:cubicBezTo>
                    <a:pt x="194" y="211"/>
                    <a:pt x="194" y="211"/>
                    <a:pt x="194" y="211"/>
                  </a:cubicBezTo>
                  <a:cubicBezTo>
                    <a:pt x="194" y="210"/>
                    <a:pt x="194" y="210"/>
                    <a:pt x="194" y="210"/>
                  </a:cubicBezTo>
                  <a:cubicBezTo>
                    <a:pt x="194" y="210"/>
                    <a:pt x="194" y="210"/>
                    <a:pt x="194" y="210"/>
                  </a:cubicBezTo>
                  <a:cubicBezTo>
                    <a:pt x="194" y="210"/>
                    <a:pt x="194" y="210"/>
                    <a:pt x="194" y="210"/>
                  </a:cubicBezTo>
                  <a:cubicBezTo>
                    <a:pt x="195" y="210"/>
                    <a:pt x="195" y="210"/>
                    <a:pt x="195" y="210"/>
                  </a:cubicBezTo>
                  <a:cubicBezTo>
                    <a:pt x="195" y="210"/>
                    <a:pt x="195" y="210"/>
                    <a:pt x="195" y="210"/>
                  </a:cubicBezTo>
                  <a:cubicBezTo>
                    <a:pt x="195" y="210"/>
                    <a:pt x="195" y="210"/>
                    <a:pt x="195" y="210"/>
                  </a:cubicBezTo>
                  <a:cubicBezTo>
                    <a:pt x="196" y="210"/>
                    <a:pt x="196" y="210"/>
                    <a:pt x="196" y="210"/>
                  </a:cubicBezTo>
                  <a:cubicBezTo>
                    <a:pt x="196" y="210"/>
                    <a:pt x="196" y="210"/>
                    <a:pt x="196" y="210"/>
                  </a:cubicBezTo>
                  <a:cubicBezTo>
                    <a:pt x="196" y="211"/>
                    <a:pt x="196" y="211"/>
                    <a:pt x="196" y="211"/>
                  </a:cubicBezTo>
                  <a:cubicBezTo>
                    <a:pt x="196" y="211"/>
                    <a:pt x="196" y="211"/>
                    <a:pt x="196" y="211"/>
                  </a:cubicBezTo>
                  <a:cubicBezTo>
                    <a:pt x="195" y="211"/>
                    <a:pt x="195" y="211"/>
                    <a:pt x="195" y="211"/>
                  </a:cubicBezTo>
                  <a:cubicBezTo>
                    <a:pt x="194" y="212"/>
                    <a:pt x="194" y="212"/>
                    <a:pt x="194" y="212"/>
                  </a:cubicBezTo>
                  <a:cubicBezTo>
                    <a:pt x="194" y="212"/>
                    <a:pt x="194" y="212"/>
                    <a:pt x="194" y="212"/>
                  </a:cubicBezTo>
                  <a:cubicBezTo>
                    <a:pt x="195" y="212"/>
                    <a:pt x="195" y="212"/>
                    <a:pt x="195" y="212"/>
                  </a:cubicBezTo>
                  <a:cubicBezTo>
                    <a:pt x="197" y="211"/>
                    <a:pt x="197" y="211"/>
                    <a:pt x="197" y="211"/>
                  </a:cubicBezTo>
                  <a:cubicBezTo>
                    <a:pt x="196" y="212"/>
                    <a:pt x="196" y="212"/>
                    <a:pt x="196" y="212"/>
                  </a:cubicBezTo>
                  <a:cubicBezTo>
                    <a:pt x="195" y="212"/>
                    <a:pt x="195" y="212"/>
                    <a:pt x="195" y="212"/>
                  </a:cubicBezTo>
                  <a:cubicBezTo>
                    <a:pt x="195" y="212"/>
                    <a:pt x="195" y="212"/>
                    <a:pt x="195" y="212"/>
                  </a:cubicBezTo>
                  <a:cubicBezTo>
                    <a:pt x="195" y="212"/>
                    <a:pt x="195" y="212"/>
                    <a:pt x="195" y="212"/>
                  </a:cubicBezTo>
                  <a:cubicBezTo>
                    <a:pt x="195" y="212"/>
                    <a:pt x="195" y="212"/>
                    <a:pt x="195" y="212"/>
                  </a:cubicBezTo>
                  <a:cubicBezTo>
                    <a:pt x="196" y="212"/>
                    <a:pt x="196" y="212"/>
                    <a:pt x="196" y="212"/>
                  </a:cubicBezTo>
                  <a:cubicBezTo>
                    <a:pt x="196" y="213"/>
                    <a:pt x="196" y="213"/>
                    <a:pt x="196" y="213"/>
                  </a:cubicBezTo>
                  <a:cubicBezTo>
                    <a:pt x="194" y="214"/>
                    <a:pt x="194" y="214"/>
                    <a:pt x="194" y="214"/>
                  </a:cubicBezTo>
                  <a:cubicBezTo>
                    <a:pt x="195" y="213"/>
                    <a:pt x="195" y="213"/>
                    <a:pt x="195" y="213"/>
                  </a:cubicBezTo>
                  <a:cubicBezTo>
                    <a:pt x="196" y="212"/>
                    <a:pt x="196" y="212"/>
                    <a:pt x="196" y="212"/>
                  </a:cubicBezTo>
                  <a:cubicBezTo>
                    <a:pt x="197" y="212"/>
                    <a:pt x="197" y="212"/>
                    <a:pt x="197" y="212"/>
                  </a:cubicBezTo>
                  <a:cubicBezTo>
                    <a:pt x="197" y="212"/>
                    <a:pt x="197" y="212"/>
                    <a:pt x="197" y="212"/>
                  </a:cubicBezTo>
                  <a:cubicBezTo>
                    <a:pt x="197" y="212"/>
                    <a:pt x="197" y="212"/>
                    <a:pt x="197" y="212"/>
                  </a:cubicBezTo>
                  <a:cubicBezTo>
                    <a:pt x="197" y="212"/>
                    <a:pt x="197" y="212"/>
                    <a:pt x="197" y="212"/>
                  </a:cubicBezTo>
                  <a:cubicBezTo>
                    <a:pt x="197" y="212"/>
                    <a:pt x="197" y="212"/>
                    <a:pt x="197" y="212"/>
                  </a:cubicBezTo>
                  <a:cubicBezTo>
                    <a:pt x="197" y="213"/>
                    <a:pt x="197" y="213"/>
                    <a:pt x="197" y="213"/>
                  </a:cubicBezTo>
                  <a:cubicBezTo>
                    <a:pt x="197" y="212"/>
                    <a:pt x="197" y="212"/>
                    <a:pt x="197" y="212"/>
                  </a:cubicBezTo>
                  <a:cubicBezTo>
                    <a:pt x="197" y="212"/>
                    <a:pt x="197" y="212"/>
                    <a:pt x="197" y="212"/>
                  </a:cubicBezTo>
                  <a:cubicBezTo>
                    <a:pt x="197" y="212"/>
                    <a:pt x="197" y="212"/>
                    <a:pt x="197" y="212"/>
                  </a:cubicBezTo>
                  <a:cubicBezTo>
                    <a:pt x="198" y="212"/>
                    <a:pt x="198" y="212"/>
                    <a:pt x="198" y="212"/>
                  </a:cubicBezTo>
                  <a:cubicBezTo>
                    <a:pt x="198" y="212"/>
                    <a:pt x="198" y="212"/>
                    <a:pt x="198" y="212"/>
                  </a:cubicBezTo>
                  <a:cubicBezTo>
                    <a:pt x="198" y="212"/>
                    <a:pt x="198" y="212"/>
                    <a:pt x="198" y="212"/>
                  </a:cubicBezTo>
                  <a:cubicBezTo>
                    <a:pt x="198" y="212"/>
                    <a:pt x="198" y="212"/>
                    <a:pt x="198" y="212"/>
                  </a:cubicBezTo>
                  <a:cubicBezTo>
                    <a:pt x="200" y="212"/>
                    <a:pt x="200" y="212"/>
                    <a:pt x="200" y="212"/>
                  </a:cubicBezTo>
                  <a:cubicBezTo>
                    <a:pt x="201" y="212"/>
                    <a:pt x="201" y="212"/>
                    <a:pt x="201" y="212"/>
                  </a:cubicBezTo>
                  <a:cubicBezTo>
                    <a:pt x="201" y="212"/>
                    <a:pt x="201" y="212"/>
                    <a:pt x="201" y="212"/>
                  </a:cubicBezTo>
                  <a:cubicBezTo>
                    <a:pt x="201" y="211"/>
                    <a:pt x="201" y="211"/>
                    <a:pt x="201" y="211"/>
                  </a:cubicBezTo>
                  <a:cubicBezTo>
                    <a:pt x="201" y="211"/>
                    <a:pt x="201" y="211"/>
                    <a:pt x="201" y="211"/>
                  </a:cubicBezTo>
                  <a:cubicBezTo>
                    <a:pt x="201" y="211"/>
                    <a:pt x="201" y="211"/>
                    <a:pt x="201" y="211"/>
                  </a:cubicBezTo>
                  <a:cubicBezTo>
                    <a:pt x="201" y="212"/>
                    <a:pt x="201" y="212"/>
                    <a:pt x="201" y="212"/>
                  </a:cubicBezTo>
                  <a:cubicBezTo>
                    <a:pt x="200" y="212"/>
                    <a:pt x="200" y="212"/>
                    <a:pt x="200" y="212"/>
                  </a:cubicBezTo>
                  <a:cubicBezTo>
                    <a:pt x="200" y="212"/>
                    <a:pt x="200" y="212"/>
                    <a:pt x="200" y="212"/>
                  </a:cubicBezTo>
                  <a:cubicBezTo>
                    <a:pt x="201" y="211"/>
                    <a:pt x="201" y="211"/>
                    <a:pt x="201" y="211"/>
                  </a:cubicBezTo>
                  <a:cubicBezTo>
                    <a:pt x="201" y="211"/>
                    <a:pt x="201" y="211"/>
                    <a:pt x="201" y="211"/>
                  </a:cubicBezTo>
                  <a:cubicBezTo>
                    <a:pt x="202" y="211"/>
                    <a:pt x="202" y="211"/>
                    <a:pt x="202" y="211"/>
                  </a:cubicBezTo>
                  <a:cubicBezTo>
                    <a:pt x="202" y="212"/>
                    <a:pt x="202" y="212"/>
                    <a:pt x="202" y="212"/>
                  </a:cubicBezTo>
                  <a:cubicBezTo>
                    <a:pt x="201" y="212"/>
                    <a:pt x="201" y="212"/>
                    <a:pt x="201" y="212"/>
                  </a:cubicBezTo>
                  <a:cubicBezTo>
                    <a:pt x="202" y="213"/>
                    <a:pt x="202" y="213"/>
                    <a:pt x="202" y="213"/>
                  </a:cubicBezTo>
                  <a:cubicBezTo>
                    <a:pt x="203" y="212"/>
                    <a:pt x="203" y="212"/>
                    <a:pt x="203" y="212"/>
                  </a:cubicBezTo>
                  <a:cubicBezTo>
                    <a:pt x="204" y="212"/>
                    <a:pt x="204" y="212"/>
                    <a:pt x="204" y="212"/>
                  </a:cubicBezTo>
                  <a:cubicBezTo>
                    <a:pt x="205" y="212"/>
                    <a:pt x="205" y="212"/>
                    <a:pt x="205" y="212"/>
                  </a:cubicBezTo>
                  <a:cubicBezTo>
                    <a:pt x="205" y="212"/>
                    <a:pt x="205" y="212"/>
                    <a:pt x="205" y="212"/>
                  </a:cubicBezTo>
                  <a:cubicBezTo>
                    <a:pt x="205" y="212"/>
                    <a:pt x="205" y="212"/>
                    <a:pt x="205" y="212"/>
                  </a:cubicBezTo>
                  <a:cubicBezTo>
                    <a:pt x="205" y="212"/>
                    <a:pt x="205" y="212"/>
                    <a:pt x="205" y="212"/>
                  </a:cubicBezTo>
                  <a:cubicBezTo>
                    <a:pt x="205" y="212"/>
                    <a:pt x="205" y="212"/>
                    <a:pt x="205" y="212"/>
                  </a:cubicBezTo>
                  <a:cubicBezTo>
                    <a:pt x="205" y="212"/>
                    <a:pt x="205" y="212"/>
                    <a:pt x="205" y="212"/>
                  </a:cubicBezTo>
                  <a:cubicBezTo>
                    <a:pt x="206" y="212"/>
                    <a:pt x="206" y="212"/>
                    <a:pt x="206" y="212"/>
                  </a:cubicBezTo>
                  <a:cubicBezTo>
                    <a:pt x="206" y="212"/>
                    <a:pt x="206" y="212"/>
                    <a:pt x="206" y="212"/>
                  </a:cubicBezTo>
                  <a:cubicBezTo>
                    <a:pt x="206" y="212"/>
                    <a:pt x="206" y="212"/>
                    <a:pt x="206" y="212"/>
                  </a:cubicBezTo>
                  <a:cubicBezTo>
                    <a:pt x="206" y="212"/>
                    <a:pt x="206" y="212"/>
                    <a:pt x="206" y="212"/>
                  </a:cubicBezTo>
                  <a:cubicBezTo>
                    <a:pt x="206" y="212"/>
                    <a:pt x="206" y="212"/>
                    <a:pt x="206" y="212"/>
                  </a:cubicBezTo>
                  <a:cubicBezTo>
                    <a:pt x="207" y="211"/>
                    <a:pt x="207" y="211"/>
                    <a:pt x="207" y="211"/>
                  </a:cubicBezTo>
                  <a:cubicBezTo>
                    <a:pt x="207" y="212"/>
                    <a:pt x="207" y="212"/>
                    <a:pt x="207" y="212"/>
                  </a:cubicBezTo>
                  <a:cubicBezTo>
                    <a:pt x="207" y="212"/>
                    <a:pt x="207" y="212"/>
                    <a:pt x="207" y="212"/>
                  </a:cubicBezTo>
                  <a:cubicBezTo>
                    <a:pt x="207" y="212"/>
                    <a:pt x="207" y="212"/>
                    <a:pt x="207" y="212"/>
                  </a:cubicBezTo>
                  <a:cubicBezTo>
                    <a:pt x="207" y="212"/>
                    <a:pt x="207" y="212"/>
                    <a:pt x="207" y="212"/>
                  </a:cubicBezTo>
                  <a:cubicBezTo>
                    <a:pt x="207" y="212"/>
                    <a:pt x="207" y="212"/>
                    <a:pt x="207" y="212"/>
                  </a:cubicBezTo>
                  <a:cubicBezTo>
                    <a:pt x="207" y="212"/>
                    <a:pt x="207" y="212"/>
                    <a:pt x="207" y="212"/>
                  </a:cubicBezTo>
                  <a:cubicBezTo>
                    <a:pt x="207" y="212"/>
                    <a:pt x="207" y="212"/>
                    <a:pt x="207" y="212"/>
                  </a:cubicBezTo>
                  <a:cubicBezTo>
                    <a:pt x="207" y="212"/>
                    <a:pt x="207" y="212"/>
                    <a:pt x="207" y="212"/>
                  </a:cubicBezTo>
                  <a:cubicBezTo>
                    <a:pt x="207" y="212"/>
                    <a:pt x="207" y="212"/>
                    <a:pt x="207" y="212"/>
                  </a:cubicBezTo>
                  <a:cubicBezTo>
                    <a:pt x="207" y="212"/>
                    <a:pt x="207" y="212"/>
                    <a:pt x="207" y="212"/>
                  </a:cubicBezTo>
                  <a:cubicBezTo>
                    <a:pt x="207" y="212"/>
                    <a:pt x="207" y="212"/>
                    <a:pt x="207" y="212"/>
                  </a:cubicBezTo>
                  <a:cubicBezTo>
                    <a:pt x="208" y="212"/>
                    <a:pt x="208" y="212"/>
                    <a:pt x="208" y="212"/>
                  </a:cubicBezTo>
                  <a:cubicBezTo>
                    <a:pt x="208" y="212"/>
                    <a:pt x="208" y="212"/>
                    <a:pt x="208" y="212"/>
                  </a:cubicBezTo>
                  <a:cubicBezTo>
                    <a:pt x="208" y="213"/>
                    <a:pt x="208" y="213"/>
                    <a:pt x="208" y="213"/>
                  </a:cubicBezTo>
                  <a:cubicBezTo>
                    <a:pt x="208" y="213"/>
                    <a:pt x="208" y="213"/>
                    <a:pt x="208" y="213"/>
                  </a:cubicBezTo>
                  <a:cubicBezTo>
                    <a:pt x="208" y="213"/>
                    <a:pt x="208" y="213"/>
                    <a:pt x="208" y="213"/>
                  </a:cubicBezTo>
                  <a:cubicBezTo>
                    <a:pt x="209" y="213"/>
                    <a:pt x="209" y="213"/>
                    <a:pt x="209" y="213"/>
                  </a:cubicBezTo>
                  <a:cubicBezTo>
                    <a:pt x="209" y="213"/>
                    <a:pt x="209" y="213"/>
                    <a:pt x="209" y="213"/>
                  </a:cubicBezTo>
                  <a:cubicBezTo>
                    <a:pt x="209" y="213"/>
                    <a:pt x="209" y="213"/>
                    <a:pt x="209" y="213"/>
                  </a:cubicBezTo>
                  <a:cubicBezTo>
                    <a:pt x="208" y="213"/>
                    <a:pt x="208" y="213"/>
                    <a:pt x="208" y="213"/>
                  </a:cubicBezTo>
                  <a:cubicBezTo>
                    <a:pt x="208" y="213"/>
                    <a:pt x="208" y="213"/>
                    <a:pt x="208" y="213"/>
                  </a:cubicBezTo>
                  <a:cubicBezTo>
                    <a:pt x="208" y="213"/>
                    <a:pt x="208" y="213"/>
                    <a:pt x="208" y="213"/>
                  </a:cubicBezTo>
                  <a:cubicBezTo>
                    <a:pt x="208" y="214"/>
                    <a:pt x="208" y="214"/>
                    <a:pt x="208" y="214"/>
                  </a:cubicBezTo>
                  <a:cubicBezTo>
                    <a:pt x="208" y="214"/>
                    <a:pt x="208" y="214"/>
                    <a:pt x="208" y="214"/>
                  </a:cubicBezTo>
                  <a:cubicBezTo>
                    <a:pt x="208" y="214"/>
                    <a:pt x="208" y="214"/>
                    <a:pt x="208" y="214"/>
                  </a:cubicBezTo>
                  <a:cubicBezTo>
                    <a:pt x="208" y="214"/>
                    <a:pt x="208" y="214"/>
                    <a:pt x="208" y="214"/>
                  </a:cubicBezTo>
                  <a:cubicBezTo>
                    <a:pt x="209" y="214"/>
                    <a:pt x="209" y="214"/>
                    <a:pt x="209" y="214"/>
                  </a:cubicBezTo>
                  <a:cubicBezTo>
                    <a:pt x="209" y="214"/>
                    <a:pt x="209" y="214"/>
                    <a:pt x="209" y="214"/>
                  </a:cubicBezTo>
                  <a:cubicBezTo>
                    <a:pt x="209" y="214"/>
                    <a:pt x="209" y="214"/>
                    <a:pt x="209" y="214"/>
                  </a:cubicBezTo>
                  <a:cubicBezTo>
                    <a:pt x="209" y="214"/>
                    <a:pt x="209" y="214"/>
                    <a:pt x="209" y="214"/>
                  </a:cubicBezTo>
                  <a:cubicBezTo>
                    <a:pt x="209" y="214"/>
                    <a:pt x="209" y="214"/>
                    <a:pt x="209" y="214"/>
                  </a:cubicBezTo>
                  <a:cubicBezTo>
                    <a:pt x="209" y="214"/>
                    <a:pt x="209" y="214"/>
                    <a:pt x="209" y="214"/>
                  </a:cubicBezTo>
                  <a:cubicBezTo>
                    <a:pt x="209" y="214"/>
                    <a:pt x="209" y="214"/>
                    <a:pt x="209" y="214"/>
                  </a:cubicBezTo>
                  <a:cubicBezTo>
                    <a:pt x="209" y="214"/>
                    <a:pt x="209" y="214"/>
                    <a:pt x="209" y="214"/>
                  </a:cubicBezTo>
                  <a:cubicBezTo>
                    <a:pt x="209" y="214"/>
                    <a:pt x="209" y="214"/>
                    <a:pt x="209" y="214"/>
                  </a:cubicBezTo>
                  <a:cubicBezTo>
                    <a:pt x="209" y="214"/>
                    <a:pt x="209" y="214"/>
                    <a:pt x="209" y="214"/>
                  </a:cubicBezTo>
                  <a:cubicBezTo>
                    <a:pt x="210" y="215"/>
                    <a:pt x="210" y="215"/>
                    <a:pt x="210" y="215"/>
                  </a:cubicBezTo>
                  <a:cubicBezTo>
                    <a:pt x="210" y="215"/>
                    <a:pt x="210" y="215"/>
                    <a:pt x="210" y="215"/>
                  </a:cubicBezTo>
                  <a:cubicBezTo>
                    <a:pt x="209" y="215"/>
                    <a:pt x="209" y="215"/>
                    <a:pt x="209" y="215"/>
                  </a:cubicBezTo>
                  <a:cubicBezTo>
                    <a:pt x="209" y="215"/>
                    <a:pt x="209" y="215"/>
                    <a:pt x="209" y="215"/>
                  </a:cubicBezTo>
                  <a:cubicBezTo>
                    <a:pt x="210" y="215"/>
                    <a:pt x="210" y="215"/>
                    <a:pt x="210" y="215"/>
                  </a:cubicBezTo>
                  <a:cubicBezTo>
                    <a:pt x="210" y="215"/>
                    <a:pt x="210" y="215"/>
                    <a:pt x="210" y="215"/>
                  </a:cubicBezTo>
                  <a:cubicBezTo>
                    <a:pt x="210" y="216"/>
                    <a:pt x="210" y="216"/>
                    <a:pt x="210" y="216"/>
                  </a:cubicBezTo>
                  <a:cubicBezTo>
                    <a:pt x="210" y="216"/>
                    <a:pt x="210" y="216"/>
                    <a:pt x="210" y="216"/>
                  </a:cubicBezTo>
                  <a:cubicBezTo>
                    <a:pt x="210" y="216"/>
                    <a:pt x="210" y="216"/>
                    <a:pt x="210" y="216"/>
                  </a:cubicBezTo>
                  <a:cubicBezTo>
                    <a:pt x="210" y="216"/>
                    <a:pt x="210" y="216"/>
                    <a:pt x="210" y="216"/>
                  </a:cubicBezTo>
                  <a:cubicBezTo>
                    <a:pt x="210" y="216"/>
                    <a:pt x="210" y="216"/>
                    <a:pt x="210" y="216"/>
                  </a:cubicBezTo>
                  <a:cubicBezTo>
                    <a:pt x="210" y="216"/>
                    <a:pt x="210" y="216"/>
                    <a:pt x="210" y="216"/>
                  </a:cubicBezTo>
                  <a:cubicBezTo>
                    <a:pt x="210" y="216"/>
                    <a:pt x="210" y="216"/>
                    <a:pt x="210" y="216"/>
                  </a:cubicBezTo>
                  <a:cubicBezTo>
                    <a:pt x="210" y="216"/>
                    <a:pt x="210" y="216"/>
                    <a:pt x="210" y="216"/>
                  </a:cubicBezTo>
                  <a:cubicBezTo>
                    <a:pt x="211" y="216"/>
                    <a:pt x="211" y="216"/>
                    <a:pt x="211" y="216"/>
                  </a:cubicBezTo>
                  <a:cubicBezTo>
                    <a:pt x="211" y="216"/>
                    <a:pt x="211" y="216"/>
                    <a:pt x="211" y="216"/>
                  </a:cubicBezTo>
                  <a:cubicBezTo>
                    <a:pt x="211" y="217"/>
                    <a:pt x="211" y="217"/>
                    <a:pt x="211" y="217"/>
                  </a:cubicBezTo>
                  <a:cubicBezTo>
                    <a:pt x="211" y="217"/>
                    <a:pt x="211" y="217"/>
                    <a:pt x="211" y="217"/>
                  </a:cubicBezTo>
                  <a:cubicBezTo>
                    <a:pt x="211" y="217"/>
                    <a:pt x="211" y="217"/>
                    <a:pt x="211" y="217"/>
                  </a:cubicBezTo>
                  <a:cubicBezTo>
                    <a:pt x="212" y="217"/>
                    <a:pt x="212" y="217"/>
                    <a:pt x="212" y="217"/>
                  </a:cubicBezTo>
                  <a:cubicBezTo>
                    <a:pt x="212" y="217"/>
                    <a:pt x="212" y="217"/>
                    <a:pt x="212" y="217"/>
                  </a:cubicBezTo>
                  <a:cubicBezTo>
                    <a:pt x="212" y="217"/>
                    <a:pt x="212" y="217"/>
                    <a:pt x="212" y="217"/>
                  </a:cubicBezTo>
                  <a:cubicBezTo>
                    <a:pt x="212" y="218"/>
                    <a:pt x="212" y="218"/>
                    <a:pt x="212" y="218"/>
                  </a:cubicBezTo>
                  <a:cubicBezTo>
                    <a:pt x="212" y="218"/>
                    <a:pt x="212" y="218"/>
                    <a:pt x="212" y="218"/>
                  </a:cubicBezTo>
                  <a:cubicBezTo>
                    <a:pt x="212" y="218"/>
                    <a:pt x="212" y="218"/>
                    <a:pt x="212" y="218"/>
                  </a:cubicBezTo>
                  <a:cubicBezTo>
                    <a:pt x="212" y="218"/>
                    <a:pt x="212" y="218"/>
                    <a:pt x="212" y="218"/>
                  </a:cubicBezTo>
                  <a:cubicBezTo>
                    <a:pt x="212" y="218"/>
                    <a:pt x="212" y="218"/>
                    <a:pt x="212" y="218"/>
                  </a:cubicBezTo>
                  <a:cubicBezTo>
                    <a:pt x="212" y="218"/>
                    <a:pt x="212" y="218"/>
                    <a:pt x="212" y="218"/>
                  </a:cubicBezTo>
                  <a:cubicBezTo>
                    <a:pt x="212" y="218"/>
                    <a:pt x="212" y="218"/>
                    <a:pt x="212" y="218"/>
                  </a:cubicBezTo>
                  <a:cubicBezTo>
                    <a:pt x="213" y="218"/>
                    <a:pt x="213" y="218"/>
                    <a:pt x="213" y="218"/>
                  </a:cubicBezTo>
                  <a:cubicBezTo>
                    <a:pt x="213" y="218"/>
                    <a:pt x="213" y="218"/>
                    <a:pt x="213" y="218"/>
                  </a:cubicBezTo>
                  <a:cubicBezTo>
                    <a:pt x="213" y="218"/>
                    <a:pt x="213" y="218"/>
                    <a:pt x="213" y="218"/>
                  </a:cubicBezTo>
                  <a:cubicBezTo>
                    <a:pt x="213" y="218"/>
                    <a:pt x="213" y="218"/>
                    <a:pt x="213" y="218"/>
                  </a:cubicBezTo>
                  <a:cubicBezTo>
                    <a:pt x="213" y="218"/>
                    <a:pt x="213" y="218"/>
                    <a:pt x="213" y="218"/>
                  </a:cubicBezTo>
                  <a:cubicBezTo>
                    <a:pt x="213" y="218"/>
                    <a:pt x="213" y="218"/>
                    <a:pt x="213" y="218"/>
                  </a:cubicBezTo>
                  <a:cubicBezTo>
                    <a:pt x="213" y="217"/>
                    <a:pt x="213" y="217"/>
                    <a:pt x="213" y="217"/>
                  </a:cubicBezTo>
                  <a:cubicBezTo>
                    <a:pt x="213" y="217"/>
                    <a:pt x="213" y="217"/>
                    <a:pt x="213" y="217"/>
                  </a:cubicBezTo>
                  <a:cubicBezTo>
                    <a:pt x="213" y="217"/>
                    <a:pt x="213" y="217"/>
                    <a:pt x="213" y="217"/>
                  </a:cubicBezTo>
                  <a:cubicBezTo>
                    <a:pt x="213" y="217"/>
                    <a:pt x="213" y="217"/>
                    <a:pt x="213" y="217"/>
                  </a:cubicBezTo>
                  <a:cubicBezTo>
                    <a:pt x="213" y="217"/>
                    <a:pt x="213" y="217"/>
                    <a:pt x="213" y="217"/>
                  </a:cubicBezTo>
                  <a:cubicBezTo>
                    <a:pt x="214" y="218"/>
                    <a:pt x="214" y="218"/>
                    <a:pt x="214" y="218"/>
                  </a:cubicBezTo>
                  <a:cubicBezTo>
                    <a:pt x="214" y="218"/>
                    <a:pt x="214" y="218"/>
                    <a:pt x="214" y="218"/>
                  </a:cubicBezTo>
                  <a:cubicBezTo>
                    <a:pt x="214" y="218"/>
                    <a:pt x="214" y="218"/>
                    <a:pt x="214" y="218"/>
                  </a:cubicBezTo>
                  <a:cubicBezTo>
                    <a:pt x="214" y="218"/>
                    <a:pt x="214" y="218"/>
                    <a:pt x="214" y="218"/>
                  </a:cubicBezTo>
                  <a:cubicBezTo>
                    <a:pt x="214" y="218"/>
                    <a:pt x="214" y="218"/>
                    <a:pt x="214" y="218"/>
                  </a:cubicBezTo>
                  <a:cubicBezTo>
                    <a:pt x="214" y="218"/>
                    <a:pt x="214" y="218"/>
                    <a:pt x="214" y="218"/>
                  </a:cubicBezTo>
                  <a:cubicBezTo>
                    <a:pt x="214" y="219"/>
                    <a:pt x="214" y="219"/>
                    <a:pt x="214" y="219"/>
                  </a:cubicBezTo>
                  <a:cubicBezTo>
                    <a:pt x="214" y="219"/>
                    <a:pt x="214" y="219"/>
                    <a:pt x="214" y="219"/>
                  </a:cubicBezTo>
                  <a:cubicBezTo>
                    <a:pt x="214" y="219"/>
                    <a:pt x="214" y="219"/>
                    <a:pt x="214" y="219"/>
                  </a:cubicBezTo>
                  <a:cubicBezTo>
                    <a:pt x="214" y="220"/>
                    <a:pt x="214" y="220"/>
                    <a:pt x="214" y="220"/>
                  </a:cubicBezTo>
                  <a:cubicBezTo>
                    <a:pt x="214" y="220"/>
                    <a:pt x="214" y="220"/>
                    <a:pt x="214" y="220"/>
                  </a:cubicBezTo>
                  <a:cubicBezTo>
                    <a:pt x="215" y="221"/>
                    <a:pt x="215" y="221"/>
                    <a:pt x="215" y="221"/>
                  </a:cubicBezTo>
                  <a:cubicBezTo>
                    <a:pt x="215" y="221"/>
                    <a:pt x="215" y="221"/>
                    <a:pt x="215" y="221"/>
                  </a:cubicBezTo>
                  <a:cubicBezTo>
                    <a:pt x="215" y="221"/>
                    <a:pt x="215" y="221"/>
                    <a:pt x="215" y="221"/>
                  </a:cubicBezTo>
                  <a:cubicBezTo>
                    <a:pt x="215" y="221"/>
                    <a:pt x="215" y="221"/>
                    <a:pt x="215" y="221"/>
                  </a:cubicBezTo>
                  <a:cubicBezTo>
                    <a:pt x="215" y="221"/>
                    <a:pt x="215" y="221"/>
                    <a:pt x="215" y="221"/>
                  </a:cubicBezTo>
                  <a:cubicBezTo>
                    <a:pt x="215" y="222"/>
                    <a:pt x="215" y="222"/>
                    <a:pt x="215" y="222"/>
                  </a:cubicBezTo>
                  <a:cubicBezTo>
                    <a:pt x="215" y="222"/>
                    <a:pt x="215" y="222"/>
                    <a:pt x="215" y="222"/>
                  </a:cubicBezTo>
                  <a:cubicBezTo>
                    <a:pt x="215" y="221"/>
                    <a:pt x="215" y="221"/>
                    <a:pt x="215" y="221"/>
                  </a:cubicBezTo>
                  <a:cubicBezTo>
                    <a:pt x="215" y="221"/>
                    <a:pt x="215" y="221"/>
                    <a:pt x="215" y="221"/>
                  </a:cubicBezTo>
                  <a:cubicBezTo>
                    <a:pt x="215" y="221"/>
                    <a:pt x="215" y="221"/>
                    <a:pt x="215" y="221"/>
                  </a:cubicBezTo>
                  <a:cubicBezTo>
                    <a:pt x="215" y="221"/>
                    <a:pt x="215" y="221"/>
                    <a:pt x="215" y="221"/>
                  </a:cubicBezTo>
                  <a:cubicBezTo>
                    <a:pt x="215" y="220"/>
                    <a:pt x="215" y="220"/>
                    <a:pt x="215" y="220"/>
                  </a:cubicBezTo>
                  <a:cubicBezTo>
                    <a:pt x="215" y="220"/>
                    <a:pt x="215" y="220"/>
                    <a:pt x="215" y="220"/>
                  </a:cubicBezTo>
                  <a:cubicBezTo>
                    <a:pt x="215" y="221"/>
                    <a:pt x="215" y="221"/>
                    <a:pt x="215" y="221"/>
                  </a:cubicBezTo>
                  <a:cubicBezTo>
                    <a:pt x="215" y="221"/>
                    <a:pt x="215" y="221"/>
                    <a:pt x="215" y="221"/>
                  </a:cubicBezTo>
                  <a:cubicBezTo>
                    <a:pt x="215" y="221"/>
                    <a:pt x="215" y="221"/>
                    <a:pt x="215" y="221"/>
                  </a:cubicBezTo>
                  <a:cubicBezTo>
                    <a:pt x="215" y="221"/>
                    <a:pt x="215" y="221"/>
                    <a:pt x="215" y="221"/>
                  </a:cubicBezTo>
                  <a:cubicBezTo>
                    <a:pt x="216" y="222"/>
                    <a:pt x="216" y="222"/>
                    <a:pt x="216" y="222"/>
                  </a:cubicBezTo>
                  <a:cubicBezTo>
                    <a:pt x="216" y="222"/>
                    <a:pt x="216" y="222"/>
                    <a:pt x="216" y="222"/>
                  </a:cubicBezTo>
                  <a:cubicBezTo>
                    <a:pt x="216" y="222"/>
                    <a:pt x="216" y="222"/>
                    <a:pt x="216" y="222"/>
                  </a:cubicBezTo>
                  <a:cubicBezTo>
                    <a:pt x="216" y="222"/>
                    <a:pt x="216" y="222"/>
                    <a:pt x="216" y="222"/>
                  </a:cubicBezTo>
                  <a:cubicBezTo>
                    <a:pt x="216" y="222"/>
                    <a:pt x="216" y="222"/>
                    <a:pt x="216" y="222"/>
                  </a:cubicBezTo>
                  <a:cubicBezTo>
                    <a:pt x="217" y="222"/>
                    <a:pt x="217" y="222"/>
                    <a:pt x="217" y="222"/>
                  </a:cubicBezTo>
                  <a:cubicBezTo>
                    <a:pt x="217" y="222"/>
                    <a:pt x="217" y="222"/>
                    <a:pt x="217" y="222"/>
                  </a:cubicBezTo>
                  <a:cubicBezTo>
                    <a:pt x="218" y="222"/>
                    <a:pt x="218" y="222"/>
                    <a:pt x="218" y="222"/>
                  </a:cubicBezTo>
                  <a:cubicBezTo>
                    <a:pt x="218" y="222"/>
                    <a:pt x="218" y="222"/>
                    <a:pt x="218" y="222"/>
                  </a:cubicBezTo>
                  <a:cubicBezTo>
                    <a:pt x="218" y="222"/>
                    <a:pt x="218" y="222"/>
                    <a:pt x="218" y="222"/>
                  </a:cubicBezTo>
                  <a:cubicBezTo>
                    <a:pt x="217" y="222"/>
                    <a:pt x="217" y="222"/>
                    <a:pt x="217" y="222"/>
                  </a:cubicBezTo>
                  <a:cubicBezTo>
                    <a:pt x="217" y="221"/>
                    <a:pt x="217" y="221"/>
                    <a:pt x="217" y="221"/>
                  </a:cubicBezTo>
                  <a:cubicBezTo>
                    <a:pt x="217" y="221"/>
                    <a:pt x="217" y="221"/>
                    <a:pt x="217" y="221"/>
                  </a:cubicBezTo>
                  <a:cubicBezTo>
                    <a:pt x="217" y="221"/>
                    <a:pt x="217" y="221"/>
                    <a:pt x="217" y="221"/>
                  </a:cubicBezTo>
                  <a:cubicBezTo>
                    <a:pt x="217" y="221"/>
                    <a:pt x="217" y="221"/>
                    <a:pt x="217" y="221"/>
                  </a:cubicBezTo>
                  <a:cubicBezTo>
                    <a:pt x="218" y="221"/>
                    <a:pt x="218" y="221"/>
                    <a:pt x="218" y="221"/>
                  </a:cubicBezTo>
                  <a:cubicBezTo>
                    <a:pt x="218" y="220"/>
                    <a:pt x="218" y="220"/>
                    <a:pt x="218" y="220"/>
                  </a:cubicBezTo>
                  <a:cubicBezTo>
                    <a:pt x="219" y="221"/>
                    <a:pt x="219" y="221"/>
                    <a:pt x="219" y="221"/>
                  </a:cubicBezTo>
                  <a:cubicBezTo>
                    <a:pt x="219" y="221"/>
                    <a:pt x="219" y="221"/>
                    <a:pt x="219" y="221"/>
                  </a:cubicBezTo>
                  <a:cubicBezTo>
                    <a:pt x="219" y="221"/>
                    <a:pt x="219" y="221"/>
                    <a:pt x="219" y="221"/>
                  </a:cubicBezTo>
                  <a:cubicBezTo>
                    <a:pt x="219" y="221"/>
                    <a:pt x="219" y="221"/>
                    <a:pt x="219" y="221"/>
                  </a:cubicBezTo>
                  <a:cubicBezTo>
                    <a:pt x="219" y="221"/>
                    <a:pt x="219" y="221"/>
                    <a:pt x="219" y="221"/>
                  </a:cubicBezTo>
                  <a:cubicBezTo>
                    <a:pt x="219" y="222"/>
                    <a:pt x="219" y="222"/>
                    <a:pt x="219" y="222"/>
                  </a:cubicBezTo>
                  <a:cubicBezTo>
                    <a:pt x="220" y="222"/>
                    <a:pt x="220" y="222"/>
                    <a:pt x="220" y="222"/>
                  </a:cubicBezTo>
                  <a:cubicBezTo>
                    <a:pt x="219" y="223"/>
                    <a:pt x="219" y="223"/>
                    <a:pt x="219" y="223"/>
                  </a:cubicBezTo>
                  <a:cubicBezTo>
                    <a:pt x="219" y="223"/>
                    <a:pt x="219" y="223"/>
                    <a:pt x="219" y="223"/>
                  </a:cubicBezTo>
                  <a:cubicBezTo>
                    <a:pt x="219" y="223"/>
                    <a:pt x="219" y="223"/>
                    <a:pt x="219" y="223"/>
                  </a:cubicBezTo>
                  <a:cubicBezTo>
                    <a:pt x="219" y="224"/>
                    <a:pt x="219" y="224"/>
                    <a:pt x="219" y="224"/>
                  </a:cubicBezTo>
                  <a:cubicBezTo>
                    <a:pt x="219" y="224"/>
                    <a:pt x="219" y="224"/>
                    <a:pt x="219" y="224"/>
                  </a:cubicBezTo>
                  <a:cubicBezTo>
                    <a:pt x="219" y="224"/>
                    <a:pt x="219" y="224"/>
                    <a:pt x="219" y="224"/>
                  </a:cubicBezTo>
                  <a:cubicBezTo>
                    <a:pt x="219" y="224"/>
                    <a:pt x="219" y="224"/>
                    <a:pt x="219" y="224"/>
                  </a:cubicBezTo>
                  <a:cubicBezTo>
                    <a:pt x="219" y="225"/>
                    <a:pt x="219" y="225"/>
                    <a:pt x="219" y="225"/>
                  </a:cubicBezTo>
                  <a:cubicBezTo>
                    <a:pt x="219" y="225"/>
                    <a:pt x="219" y="225"/>
                    <a:pt x="219" y="225"/>
                  </a:cubicBezTo>
                  <a:cubicBezTo>
                    <a:pt x="219" y="225"/>
                    <a:pt x="219" y="225"/>
                    <a:pt x="219" y="225"/>
                  </a:cubicBezTo>
                  <a:cubicBezTo>
                    <a:pt x="219" y="225"/>
                    <a:pt x="219" y="225"/>
                    <a:pt x="219" y="225"/>
                  </a:cubicBezTo>
                  <a:cubicBezTo>
                    <a:pt x="219" y="225"/>
                    <a:pt x="219" y="225"/>
                    <a:pt x="219" y="225"/>
                  </a:cubicBezTo>
                  <a:cubicBezTo>
                    <a:pt x="219" y="224"/>
                    <a:pt x="219" y="224"/>
                    <a:pt x="219" y="224"/>
                  </a:cubicBezTo>
                  <a:cubicBezTo>
                    <a:pt x="219" y="224"/>
                    <a:pt x="219" y="224"/>
                    <a:pt x="219" y="224"/>
                  </a:cubicBezTo>
                  <a:cubicBezTo>
                    <a:pt x="220" y="224"/>
                    <a:pt x="220" y="224"/>
                    <a:pt x="220" y="224"/>
                  </a:cubicBezTo>
                  <a:cubicBezTo>
                    <a:pt x="220" y="224"/>
                    <a:pt x="220" y="224"/>
                    <a:pt x="220" y="224"/>
                  </a:cubicBezTo>
                  <a:cubicBezTo>
                    <a:pt x="220" y="225"/>
                    <a:pt x="220" y="225"/>
                    <a:pt x="220" y="225"/>
                  </a:cubicBezTo>
                  <a:cubicBezTo>
                    <a:pt x="220" y="225"/>
                    <a:pt x="220" y="225"/>
                    <a:pt x="220" y="225"/>
                  </a:cubicBezTo>
                  <a:cubicBezTo>
                    <a:pt x="220" y="225"/>
                    <a:pt x="220" y="225"/>
                    <a:pt x="220" y="225"/>
                  </a:cubicBezTo>
                  <a:cubicBezTo>
                    <a:pt x="220" y="225"/>
                    <a:pt x="220" y="225"/>
                    <a:pt x="220" y="225"/>
                  </a:cubicBezTo>
                  <a:cubicBezTo>
                    <a:pt x="220" y="225"/>
                    <a:pt x="220" y="225"/>
                    <a:pt x="220" y="225"/>
                  </a:cubicBezTo>
                  <a:cubicBezTo>
                    <a:pt x="220" y="225"/>
                    <a:pt x="220" y="225"/>
                    <a:pt x="220" y="225"/>
                  </a:cubicBezTo>
                  <a:cubicBezTo>
                    <a:pt x="221" y="225"/>
                    <a:pt x="221" y="225"/>
                    <a:pt x="221" y="225"/>
                  </a:cubicBezTo>
                  <a:cubicBezTo>
                    <a:pt x="221" y="225"/>
                    <a:pt x="221" y="225"/>
                    <a:pt x="221" y="225"/>
                  </a:cubicBezTo>
                  <a:cubicBezTo>
                    <a:pt x="221" y="226"/>
                    <a:pt x="221" y="226"/>
                    <a:pt x="221" y="226"/>
                  </a:cubicBezTo>
                  <a:cubicBezTo>
                    <a:pt x="220" y="226"/>
                    <a:pt x="220" y="226"/>
                    <a:pt x="220" y="226"/>
                  </a:cubicBezTo>
                  <a:cubicBezTo>
                    <a:pt x="220" y="226"/>
                    <a:pt x="220" y="226"/>
                    <a:pt x="220" y="226"/>
                  </a:cubicBezTo>
                  <a:cubicBezTo>
                    <a:pt x="219" y="226"/>
                    <a:pt x="219" y="226"/>
                    <a:pt x="219" y="226"/>
                  </a:cubicBezTo>
                  <a:cubicBezTo>
                    <a:pt x="219" y="226"/>
                    <a:pt x="219" y="226"/>
                    <a:pt x="219" y="226"/>
                  </a:cubicBezTo>
                  <a:cubicBezTo>
                    <a:pt x="220" y="226"/>
                    <a:pt x="220" y="226"/>
                    <a:pt x="220" y="226"/>
                  </a:cubicBezTo>
                  <a:cubicBezTo>
                    <a:pt x="220" y="226"/>
                    <a:pt x="220" y="226"/>
                    <a:pt x="220" y="226"/>
                  </a:cubicBezTo>
                  <a:cubicBezTo>
                    <a:pt x="220" y="226"/>
                    <a:pt x="220" y="226"/>
                    <a:pt x="220" y="226"/>
                  </a:cubicBezTo>
                  <a:cubicBezTo>
                    <a:pt x="220" y="226"/>
                    <a:pt x="220" y="226"/>
                    <a:pt x="220" y="226"/>
                  </a:cubicBezTo>
                  <a:cubicBezTo>
                    <a:pt x="220" y="226"/>
                    <a:pt x="220" y="226"/>
                    <a:pt x="220" y="226"/>
                  </a:cubicBezTo>
                  <a:cubicBezTo>
                    <a:pt x="220" y="227"/>
                    <a:pt x="220" y="227"/>
                    <a:pt x="220" y="227"/>
                  </a:cubicBezTo>
                  <a:cubicBezTo>
                    <a:pt x="220" y="227"/>
                    <a:pt x="220" y="227"/>
                    <a:pt x="220" y="227"/>
                  </a:cubicBezTo>
                  <a:cubicBezTo>
                    <a:pt x="220" y="227"/>
                    <a:pt x="220" y="227"/>
                    <a:pt x="220" y="227"/>
                  </a:cubicBezTo>
                  <a:cubicBezTo>
                    <a:pt x="220" y="227"/>
                    <a:pt x="220" y="227"/>
                    <a:pt x="220" y="227"/>
                  </a:cubicBezTo>
                  <a:cubicBezTo>
                    <a:pt x="221" y="227"/>
                    <a:pt x="221" y="227"/>
                    <a:pt x="221" y="227"/>
                  </a:cubicBezTo>
                  <a:cubicBezTo>
                    <a:pt x="221" y="227"/>
                    <a:pt x="221" y="227"/>
                    <a:pt x="221" y="227"/>
                  </a:cubicBezTo>
                  <a:cubicBezTo>
                    <a:pt x="221" y="227"/>
                    <a:pt x="221" y="227"/>
                    <a:pt x="221" y="227"/>
                  </a:cubicBezTo>
                  <a:cubicBezTo>
                    <a:pt x="221" y="227"/>
                    <a:pt x="221" y="227"/>
                    <a:pt x="221" y="227"/>
                  </a:cubicBezTo>
                  <a:cubicBezTo>
                    <a:pt x="221" y="228"/>
                    <a:pt x="221" y="228"/>
                    <a:pt x="221" y="228"/>
                  </a:cubicBezTo>
                  <a:cubicBezTo>
                    <a:pt x="221" y="228"/>
                    <a:pt x="221" y="228"/>
                    <a:pt x="221" y="228"/>
                  </a:cubicBezTo>
                  <a:cubicBezTo>
                    <a:pt x="221" y="228"/>
                    <a:pt x="221" y="228"/>
                    <a:pt x="221" y="228"/>
                  </a:cubicBezTo>
                  <a:cubicBezTo>
                    <a:pt x="222" y="228"/>
                    <a:pt x="222" y="228"/>
                    <a:pt x="222" y="228"/>
                  </a:cubicBezTo>
                  <a:cubicBezTo>
                    <a:pt x="222" y="228"/>
                    <a:pt x="222" y="228"/>
                    <a:pt x="222" y="228"/>
                  </a:cubicBezTo>
                  <a:cubicBezTo>
                    <a:pt x="222" y="228"/>
                    <a:pt x="222" y="228"/>
                    <a:pt x="222" y="228"/>
                  </a:cubicBezTo>
                  <a:cubicBezTo>
                    <a:pt x="222" y="229"/>
                    <a:pt x="222" y="229"/>
                    <a:pt x="222" y="229"/>
                  </a:cubicBezTo>
                  <a:cubicBezTo>
                    <a:pt x="222" y="229"/>
                    <a:pt x="222" y="229"/>
                    <a:pt x="222" y="229"/>
                  </a:cubicBezTo>
                  <a:cubicBezTo>
                    <a:pt x="223" y="229"/>
                    <a:pt x="223" y="229"/>
                    <a:pt x="223" y="229"/>
                  </a:cubicBezTo>
                  <a:cubicBezTo>
                    <a:pt x="223" y="229"/>
                    <a:pt x="223" y="229"/>
                    <a:pt x="223" y="229"/>
                  </a:cubicBezTo>
                  <a:cubicBezTo>
                    <a:pt x="223" y="229"/>
                    <a:pt x="223" y="229"/>
                    <a:pt x="223" y="229"/>
                  </a:cubicBezTo>
                  <a:cubicBezTo>
                    <a:pt x="223" y="229"/>
                    <a:pt x="223" y="229"/>
                    <a:pt x="223" y="229"/>
                  </a:cubicBezTo>
                  <a:cubicBezTo>
                    <a:pt x="223" y="229"/>
                    <a:pt x="223" y="229"/>
                    <a:pt x="223" y="229"/>
                  </a:cubicBezTo>
                  <a:cubicBezTo>
                    <a:pt x="223" y="229"/>
                    <a:pt x="223" y="229"/>
                    <a:pt x="223" y="229"/>
                  </a:cubicBezTo>
                  <a:cubicBezTo>
                    <a:pt x="224" y="229"/>
                    <a:pt x="224" y="229"/>
                    <a:pt x="224" y="229"/>
                  </a:cubicBezTo>
                  <a:cubicBezTo>
                    <a:pt x="224" y="229"/>
                    <a:pt x="224" y="229"/>
                    <a:pt x="224" y="229"/>
                  </a:cubicBezTo>
                  <a:cubicBezTo>
                    <a:pt x="224" y="229"/>
                    <a:pt x="224" y="229"/>
                    <a:pt x="224" y="229"/>
                  </a:cubicBezTo>
                  <a:cubicBezTo>
                    <a:pt x="224" y="230"/>
                    <a:pt x="224" y="230"/>
                    <a:pt x="224" y="230"/>
                  </a:cubicBezTo>
                  <a:cubicBezTo>
                    <a:pt x="224" y="230"/>
                    <a:pt x="224" y="230"/>
                    <a:pt x="224" y="230"/>
                  </a:cubicBezTo>
                  <a:cubicBezTo>
                    <a:pt x="224" y="230"/>
                    <a:pt x="224" y="230"/>
                    <a:pt x="224" y="230"/>
                  </a:cubicBezTo>
                  <a:cubicBezTo>
                    <a:pt x="224" y="230"/>
                    <a:pt x="224" y="230"/>
                    <a:pt x="224" y="230"/>
                  </a:cubicBezTo>
                  <a:cubicBezTo>
                    <a:pt x="224" y="230"/>
                    <a:pt x="224" y="230"/>
                    <a:pt x="224" y="230"/>
                  </a:cubicBezTo>
                  <a:cubicBezTo>
                    <a:pt x="224" y="230"/>
                    <a:pt x="224" y="230"/>
                    <a:pt x="224" y="230"/>
                  </a:cubicBezTo>
                  <a:cubicBezTo>
                    <a:pt x="224" y="230"/>
                    <a:pt x="224" y="230"/>
                    <a:pt x="224" y="230"/>
                  </a:cubicBezTo>
                  <a:cubicBezTo>
                    <a:pt x="224" y="230"/>
                    <a:pt x="224" y="230"/>
                    <a:pt x="224" y="230"/>
                  </a:cubicBezTo>
                  <a:cubicBezTo>
                    <a:pt x="224" y="230"/>
                    <a:pt x="224" y="230"/>
                    <a:pt x="224" y="230"/>
                  </a:cubicBezTo>
                  <a:cubicBezTo>
                    <a:pt x="224" y="230"/>
                    <a:pt x="224" y="230"/>
                    <a:pt x="224" y="230"/>
                  </a:cubicBezTo>
                  <a:cubicBezTo>
                    <a:pt x="224" y="230"/>
                    <a:pt x="224" y="230"/>
                    <a:pt x="224" y="230"/>
                  </a:cubicBezTo>
                  <a:cubicBezTo>
                    <a:pt x="225" y="230"/>
                    <a:pt x="225" y="230"/>
                    <a:pt x="225" y="230"/>
                  </a:cubicBezTo>
                  <a:cubicBezTo>
                    <a:pt x="225" y="230"/>
                    <a:pt x="225" y="230"/>
                    <a:pt x="225" y="230"/>
                  </a:cubicBezTo>
                  <a:cubicBezTo>
                    <a:pt x="225" y="231"/>
                    <a:pt x="225" y="231"/>
                    <a:pt x="225" y="231"/>
                  </a:cubicBezTo>
                  <a:cubicBezTo>
                    <a:pt x="225" y="231"/>
                    <a:pt x="225" y="231"/>
                    <a:pt x="225" y="231"/>
                  </a:cubicBezTo>
                  <a:cubicBezTo>
                    <a:pt x="225" y="231"/>
                    <a:pt x="225" y="231"/>
                    <a:pt x="225" y="231"/>
                  </a:cubicBezTo>
                  <a:cubicBezTo>
                    <a:pt x="225" y="231"/>
                    <a:pt x="225" y="231"/>
                    <a:pt x="225" y="231"/>
                  </a:cubicBezTo>
                  <a:cubicBezTo>
                    <a:pt x="225" y="231"/>
                    <a:pt x="225" y="231"/>
                    <a:pt x="225" y="231"/>
                  </a:cubicBezTo>
                  <a:cubicBezTo>
                    <a:pt x="226" y="231"/>
                    <a:pt x="226" y="231"/>
                    <a:pt x="226" y="231"/>
                  </a:cubicBezTo>
                  <a:cubicBezTo>
                    <a:pt x="226" y="231"/>
                    <a:pt x="226" y="231"/>
                    <a:pt x="226" y="231"/>
                  </a:cubicBezTo>
                  <a:cubicBezTo>
                    <a:pt x="226" y="231"/>
                    <a:pt x="226" y="231"/>
                    <a:pt x="226" y="231"/>
                  </a:cubicBezTo>
                  <a:cubicBezTo>
                    <a:pt x="225" y="230"/>
                    <a:pt x="225" y="230"/>
                    <a:pt x="225" y="230"/>
                  </a:cubicBezTo>
                  <a:cubicBezTo>
                    <a:pt x="226" y="230"/>
                    <a:pt x="226" y="230"/>
                    <a:pt x="226" y="230"/>
                  </a:cubicBezTo>
                  <a:cubicBezTo>
                    <a:pt x="226" y="230"/>
                    <a:pt x="226" y="230"/>
                    <a:pt x="226" y="230"/>
                  </a:cubicBezTo>
                  <a:cubicBezTo>
                    <a:pt x="226" y="230"/>
                    <a:pt x="226" y="230"/>
                    <a:pt x="226" y="230"/>
                  </a:cubicBezTo>
                  <a:cubicBezTo>
                    <a:pt x="226" y="230"/>
                    <a:pt x="226" y="230"/>
                    <a:pt x="226" y="230"/>
                  </a:cubicBezTo>
                  <a:cubicBezTo>
                    <a:pt x="226" y="231"/>
                    <a:pt x="226" y="231"/>
                    <a:pt x="226" y="231"/>
                  </a:cubicBezTo>
                  <a:cubicBezTo>
                    <a:pt x="226" y="231"/>
                    <a:pt x="226" y="231"/>
                    <a:pt x="226" y="231"/>
                  </a:cubicBezTo>
                  <a:cubicBezTo>
                    <a:pt x="226" y="231"/>
                    <a:pt x="226" y="231"/>
                    <a:pt x="226" y="231"/>
                  </a:cubicBezTo>
                  <a:cubicBezTo>
                    <a:pt x="226" y="231"/>
                    <a:pt x="226" y="231"/>
                    <a:pt x="226" y="231"/>
                  </a:cubicBezTo>
                  <a:cubicBezTo>
                    <a:pt x="226" y="232"/>
                    <a:pt x="226" y="232"/>
                    <a:pt x="226" y="232"/>
                  </a:cubicBezTo>
                  <a:cubicBezTo>
                    <a:pt x="226" y="232"/>
                    <a:pt x="226" y="232"/>
                    <a:pt x="226" y="232"/>
                  </a:cubicBezTo>
                  <a:cubicBezTo>
                    <a:pt x="227" y="232"/>
                    <a:pt x="227" y="232"/>
                    <a:pt x="227" y="232"/>
                  </a:cubicBezTo>
                  <a:cubicBezTo>
                    <a:pt x="227" y="232"/>
                    <a:pt x="227" y="232"/>
                    <a:pt x="227" y="232"/>
                  </a:cubicBezTo>
                  <a:cubicBezTo>
                    <a:pt x="226" y="232"/>
                    <a:pt x="226" y="232"/>
                    <a:pt x="226" y="232"/>
                  </a:cubicBezTo>
                  <a:cubicBezTo>
                    <a:pt x="225" y="232"/>
                    <a:pt x="225" y="232"/>
                    <a:pt x="225" y="232"/>
                  </a:cubicBezTo>
                  <a:cubicBezTo>
                    <a:pt x="225" y="232"/>
                    <a:pt x="225" y="232"/>
                    <a:pt x="225" y="232"/>
                  </a:cubicBezTo>
                  <a:cubicBezTo>
                    <a:pt x="225" y="233"/>
                    <a:pt x="225" y="233"/>
                    <a:pt x="225" y="233"/>
                  </a:cubicBezTo>
                  <a:cubicBezTo>
                    <a:pt x="225" y="233"/>
                    <a:pt x="225" y="233"/>
                    <a:pt x="225" y="233"/>
                  </a:cubicBezTo>
                  <a:cubicBezTo>
                    <a:pt x="225" y="232"/>
                    <a:pt x="225" y="232"/>
                    <a:pt x="225" y="232"/>
                  </a:cubicBezTo>
                  <a:cubicBezTo>
                    <a:pt x="225" y="232"/>
                    <a:pt x="225" y="232"/>
                    <a:pt x="225" y="232"/>
                  </a:cubicBezTo>
                  <a:cubicBezTo>
                    <a:pt x="225" y="232"/>
                    <a:pt x="225" y="232"/>
                    <a:pt x="225" y="232"/>
                  </a:cubicBezTo>
                  <a:cubicBezTo>
                    <a:pt x="224" y="233"/>
                    <a:pt x="224" y="233"/>
                    <a:pt x="224" y="233"/>
                  </a:cubicBezTo>
                  <a:cubicBezTo>
                    <a:pt x="224" y="233"/>
                    <a:pt x="224" y="233"/>
                    <a:pt x="224" y="233"/>
                  </a:cubicBezTo>
                  <a:cubicBezTo>
                    <a:pt x="224" y="232"/>
                    <a:pt x="224" y="232"/>
                    <a:pt x="224" y="232"/>
                  </a:cubicBezTo>
                  <a:cubicBezTo>
                    <a:pt x="224" y="232"/>
                    <a:pt x="224" y="232"/>
                    <a:pt x="224" y="232"/>
                  </a:cubicBezTo>
                  <a:cubicBezTo>
                    <a:pt x="224" y="232"/>
                    <a:pt x="224" y="232"/>
                    <a:pt x="224" y="232"/>
                  </a:cubicBezTo>
                  <a:cubicBezTo>
                    <a:pt x="223" y="232"/>
                    <a:pt x="223" y="232"/>
                    <a:pt x="223" y="232"/>
                  </a:cubicBezTo>
                  <a:cubicBezTo>
                    <a:pt x="223" y="232"/>
                    <a:pt x="223" y="232"/>
                    <a:pt x="223" y="232"/>
                  </a:cubicBezTo>
                  <a:cubicBezTo>
                    <a:pt x="223" y="232"/>
                    <a:pt x="223" y="232"/>
                    <a:pt x="223" y="232"/>
                  </a:cubicBezTo>
                  <a:cubicBezTo>
                    <a:pt x="223" y="232"/>
                    <a:pt x="223" y="232"/>
                    <a:pt x="223" y="232"/>
                  </a:cubicBezTo>
                  <a:cubicBezTo>
                    <a:pt x="223" y="232"/>
                    <a:pt x="223" y="232"/>
                    <a:pt x="223" y="232"/>
                  </a:cubicBezTo>
                  <a:cubicBezTo>
                    <a:pt x="223" y="231"/>
                    <a:pt x="223" y="231"/>
                    <a:pt x="223" y="231"/>
                  </a:cubicBezTo>
                  <a:cubicBezTo>
                    <a:pt x="223" y="231"/>
                    <a:pt x="223" y="231"/>
                    <a:pt x="223" y="231"/>
                  </a:cubicBezTo>
                  <a:cubicBezTo>
                    <a:pt x="223" y="231"/>
                    <a:pt x="223" y="231"/>
                    <a:pt x="223" y="231"/>
                  </a:cubicBezTo>
                  <a:cubicBezTo>
                    <a:pt x="223" y="231"/>
                    <a:pt x="223" y="231"/>
                    <a:pt x="223" y="231"/>
                  </a:cubicBezTo>
                  <a:cubicBezTo>
                    <a:pt x="223" y="231"/>
                    <a:pt x="223" y="231"/>
                    <a:pt x="223" y="231"/>
                  </a:cubicBezTo>
                  <a:cubicBezTo>
                    <a:pt x="223" y="231"/>
                    <a:pt x="223" y="231"/>
                    <a:pt x="223" y="231"/>
                  </a:cubicBezTo>
                  <a:cubicBezTo>
                    <a:pt x="222" y="231"/>
                    <a:pt x="222" y="231"/>
                    <a:pt x="222" y="231"/>
                  </a:cubicBezTo>
                  <a:cubicBezTo>
                    <a:pt x="222" y="231"/>
                    <a:pt x="222" y="231"/>
                    <a:pt x="222" y="231"/>
                  </a:cubicBezTo>
                  <a:cubicBezTo>
                    <a:pt x="222" y="231"/>
                    <a:pt x="222" y="231"/>
                    <a:pt x="222" y="231"/>
                  </a:cubicBezTo>
                  <a:cubicBezTo>
                    <a:pt x="221" y="231"/>
                    <a:pt x="221" y="231"/>
                    <a:pt x="221" y="231"/>
                  </a:cubicBezTo>
                  <a:cubicBezTo>
                    <a:pt x="221" y="231"/>
                    <a:pt x="221" y="231"/>
                    <a:pt x="221" y="231"/>
                  </a:cubicBezTo>
                  <a:cubicBezTo>
                    <a:pt x="221" y="231"/>
                    <a:pt x="221" y="231"/>
                    <a:pt x="221" y="231"/>
                  </a:cubicBezTo>
                  <a:cubicBezTo>
                    <a:pt x="221" y="232"/>
                    <a:pt x="221" y="232"/>
                    <a:pt x="221" y="232"/>
                  </a:cubicBezTo>
                  <a:cubicBezTo>
                    <a:pt x="221" y="232"/>
                    <a:pt x="221" y="232"/>
                    <a:pt x="221" y="232"/>
                  </a:cubicBezTo>
                  <a:cubicBezTo>
                    <a:pt x="221" y="232"/>
                    <a:pt x="221" y="232"/>
                    <a:pt x="221" y="232"/>
                  </a:cubicBezTo>
                  <a:cubicBezTo>
                    <a:pt x="221" y="232"/>
                    <a:pt x="221" y="232"/>
                    <a:pt x="221" y="232"/>
                  </a:cubicBezTo>
                  <a:cubicBezTo>
                    <a:pt x="221" y="232"/>
                    <a:pt x="221" y="232"/>
                    <a:pt x="221" y="232"/>
                  </a:cubicBezTo>
                  <a:cubicBezTo>
                    <a:pt x="221" y="232"/>
                    <a:pt x="221" y="232"/>
                    <a:pt x="221" y="232"/>
                  </a:cubicBezTo>
                  <a:cubicBezTo>
                    <a:pt x="220" y="232"/>
                    <a:pt x="220" y="232"/>
                    <a:pt x="220" y="232"/>
                  </a:cubicBezTo>
                  <a:cubicBezTo>
                    <a:pt x="220" y="232"/>
                    <a:pt x="220" y="232"/>
                    <a:pt x="220" y="232"/>
                  </a:cubicBezTo>
                  <a:cubicBezTo>
                    <a:pt x="220" y="232"/>
                    <a:pt x="220" y="232"/>
                    <a:pt x="220" y="232"/>
                  </a:cubicBezTo>
                  <a:cubicBezTo>
                    <a:pt x="220" y="232"/>
                    <a:pt x="220" y="232"/>
                    <a:pt x="220" y="232"/>
                  </a:cubicBezTo>
                  <a:cubicBezTo>
                    <a:pt x="220" y="233"/>
                    <a:pt x="220" y="233"/>
                    <a:pt x="220" y="233"/>
                  </a:cubicBezTo>
                  <a:cubicBezTo>
                    <a:pt x="221" y="233"/>
                    <a:pt x="221" y="233"/>
                    <a:pt x="221" y="233"/>
                  </a:cubicBezTo>
                  <a:cubicBezTo>
                    <a:pt x="221" y="233"/>
                    <a:pt x="221" y="233"/>
                    <a:pt x="221" y="233"/>
                  </a:cubicBezTo>
                  <a:cubicBezTo>
                    <a:pt x="221" y="234"/>
                    <a:pt x="221" y="234"/>
                    <a:pt x="221" y="234"/>
                  </a:cubicBezTo>
                  <a:cubicBezTo>
                    <a:pt x="221" y="234"/>
                    <a:pt x="221" y="234"/>
                    <a:pt x="221" y="234"/>
                  </a:cubicBezTo>
                  <a:cubicBezTo>
                    <a:pt x="222" y="234"/>
                    <a:pt x="222" y="234"/>
                    <a:pt x="222" y="234"/>
                  </a:cubicBezTo>
                  <a:cubicBezTo>
                    <a:pt x="222" y="234"/>
                    <a:pt x="222" y="234"/>
                    <a:pt x="222" y="234"/>
                  </a:cubicBezTo>
                  <a:cubicBezTo>
                    <a:pt x="222" y="234"/>
                    <a:pt x="222" y="234"/>
                    <a:pt x="222" y="234"/>
                  </a:cubicBezTo>
                  <a:cubicBezTo>
                    <a:pt x="222" y="236"/>
                    <a:pt x="222" y="236"/>
                    <a:pt x="222" y="236"/>
                  </a:cubicBezTo>
                  <a:cubicBezTo>
                    <a:pt x="223" y="237"/>
                    <a:pt x="223" y="237"/>
                    <a:pt x="223" y="237"/>
                  </a:cubicBezTo>
                  <a:cubicBezTo>
                    <a:pt x="223" y="238"/>
                    <a:pt x="223" y="238"/>
                    <a:pt x="223" y="238"/>
                  </a:cubicBezTo>
                  <a:cubicBezTo>
                    <a:pt x="223" y="238"/>
                    <a:pt x="223" y="238"/>
                    <a:pt x="223" y="238"/>
                  </a:cubicBezTo>
                  <a:cubicBezTo>
                    <a:pt x="222" y="239"/>
                    <a:pt x="222" y="239"/>
                    <a:pt x="222" y="239"/>
                  </a:cubicBezTo>
                  <a:cubicBezTo>
                    <a:pt x="222" y="239"/>
                    <a:pt x="222" y="239"/>
                    <a:pt x="222" y="239"/>
                  </a:cubicBezTo>
                  <a:cubicBezTo>
                    <a:pt x="221" y="239"/>
                    <a:pt x="221" y="239"/>
                    <a:pt x="221" y="239"/>
                  </a:cubicBezTo>
                  <a:cubicBezTo>
                    <a:pt x="220" y="239"/>
                    <a:pt x="220" y="239"/>
                    <a:pt x="220" y="239"/>
                  </a:cubicBezTo>
                  <a:cubicBezTo>
                    <a:pt x="219" y="238"/>
                    <a:pt x="219" y="238"/>
                    <a:pt x="219" y="238"/>
                  </a:cubicBezTo>
                  <a:cubicBezTo>
                    <a:pt x="218" y="238"/>
                    <a:pt x="218" y="238"/>
                    <a:pt x="218" y="238"/>
                  </a:cubicBezTo>
                  <a:cubicBezTo>
                    <a:pt x="218" y="238"/>
                    <a:pt x="218" y="238"/>
                    <a:pt x="218" y="238"/>
                  </a:cubicBezTo>
                  <a:cubicBezTo>
                    <a:pt x="217" y="238"/>
                    <a:pt x="217" y="238"/>
                    <a:pt x="217" y="238"/>
                  </a:cubicBezTo>
                  <a:cubicBezTo>
                    <a:pt x="216" y="238"/>
                    <a:pt x="216" y="238"/>
                    <a:pt x="216" y="238"/>
                  </a:cubicBezTo>
                  <a:cubicBezTo>
                    <a:pt x="216" y="237"/>
                    <a:pt x="216" y="237"/>
                    <a:pt x="216" y="237"/>
                  </a:cubicBezTo>
                  <a:cubicBezTo>
                    <a:pt x="215" y="237"/>
                    <a:pt x="215" y="237"/>
                    <a:pt x="215" y="237"/>
                  </a:cubicBezTo>
                  <a:cubicBezTo>
                    <a:pt x="215" y="237"/>
                    <a:pt x="215" y="237"/>
                    <a:pt x="215" y="237"/>
                  </a:cubicBezTo>
                  <a:cubicBezTo>
                    <a:pt x="215" y="237"/>
                    <a:pt x="215" y="237"/>
                    <a:pt x="215" y="237"/>
                  </a:cubicBezTo>
                  <a:cubicBezTo>
                    <a:pt x="214" y="237"/>
                    <a:pt x="214" y="237"/>
                    <a:pt x="214" y="237"/>
                  </a:cubicBezTo>
                  <a:cubicBezTo>
                    <a:pt x="214" y="237"/>
                    <a:pt x="214" y="237"/>
                    <a:pt x="214" y="237"/>
                  </a:cubicBezTo>
                  <a:cubicBezTo>
                    <a:pt x="214" y="237"/>
                    <a:pt x="214" y="237"/>
                    <a:pt x="214" y="237"/>
                  </a:cubicBezTo>
                  <a:cubicBezTo>
                    <a:pt x="214" y="236"/>
                    <a:pt x="214" y="236"/>
                    <a:pt x="214" y="236"/>
                  </a:cubicBezTo>
                  <a:cubicBezTo>
                    <a:pt x="213" y="235"/>
                    <a:pt x="213" y="235"/>
                    <a:pt x="213" y="235"/>
                  </a:cubicBezTo>
                  <a:cubicBezTo>
                    <a:pt x="213" y="235"/>
                    <a:pt x="213" y="235"/>
                    <a:pt x="213" y="235"/>
                  </a:cubicBezTo>
                  <a:cubicBezTo>
                    <a:pt x="211" y="236"/>
                    <a:pt x="211" y="236"/>
                    <a:pt x="211" y="236"/>
                  </a:cubicBezTo>
                  <a:cubicBezTo>
                    <a:pt x="211" y="236"/>
                    <a:pt x="211" y="236"/>
                    <a:pt x="211" y="236"/>
                  </a:cubicBezTo>
                  <a:cubicBezTo>
                    <a:pt x="209" y="239"/>
                    <a:pt x="209" y="239"/>
                    <a:pt x="209" y="239"/>
                  </a:cubicBezTo>
                  <a:cubicBezTo>
                    <a:pt x="209" y="238"/>
                    <a:pt x="209" y="238"/>
                    <a:pt x="209" y="238"/>
                  </a:cubicBezTo>
                  <a:cubicBezTo>
                    <a:pt x="210" y="235"/>
                    <a:pt x="210" y="235"/>
                    <a:pt x="210" y="235"/>
                  </a:cubicBezTo>
                  <a:cubicBezTo>
                    <a:pt x="209" y="235"/>
                    <a:pt x="209" y="235"/>
                    <a:pt x="209" y="235"/>
                  </a:cubicBezTo>
                  <a:cubicBezTo>
                    <a:pt x="209" y="234"/>
                    <a:pt x="209" y="234"/>
                    <a:pt x="209" y="234"/>
                  </a:cubicBezTo>
                  <a:cubicBezTo>
                    <a:pt x="208" y="234"/>
                    <a:pt x="208" y="234"/>
                    <a:pt x="208" y="234"/>
                  </a:cubicBezTo>
                  <a:cubicBezTo>
                    <a:pt x="207" y="235"/>
                    <a:pt x="207" y="235"/>
                    <a:pt x="207" y="235"/>
                  </a:cubicBezTo>
                  <a:cubicBezTo>
                    <a:pt x="207" y="235"/>
                    <a:pt x="207" y="235"/>
                    <a:pt x="207" y="235"/>
                  </a:cubicBezTo>
                  <a:cubicBezTo>
                    <a:pt x="206" y="236"/>
                    <a:pt x="206" y="236"/>
                    <a:pt x="206" y="236"/>
                  </a:cubicBezTo>
                  <a:cubicBezTo>
                    <a:pt x="206" y="236"/>
                    <a:pt x="206" y="236"/>
                    <a:pt x="206" y="236"/>
                  </a:cubicBezTo>
                  <a:cubicBezTo>
                    <a:pt x="206" y="236"/>
                    <a:pt x="206" y="236"/>
                    <a:pt x="206" y="236"/>
                  </a:cubicBezTo>
                  <a:cubicBezTo>
                    <a:pt x="206" y="236"/>
                    <a:pt x="206" y="236"/>
                    <a:pt x="206" y="236"/>
                  </a:cubicBezTo>
                  <a:cubicBezTo>
                    <a:pt x="206" y="235"/>
                    <a:pt x="206" y="235"/>
                    <a:pt x="206" y="235"/>
                  </a:cubicBezTo>
                  <a:cubicBezTo>
                    <a:pt x="206" y="235"/>
                    <a:pt x="206" y="235"/>
                    <a:pt x="206" y="235"/>
                  </a:cubicBezTo>
                  <a:cubicBezTo>
                    <a:pt x="207" y="234"/>
                    <a:pt x="207" y="234"/>
                    <a:pt x="207" y="234"/>
                  </a:cubicBezTo>
                  <a:cubicBezTo>
                    <a:pt x="207" y="234"/>
                    <a:pt x="207" y="234"/>
                    <a:pt x="207" y="234"/>
                  </a:cubicBezTo>
                  <a:cubicBezTo>
                    <a:pt x="208" y="234"/>
                    <a:pt x="208" y="234"/>
                    <a:pt x="208" y="234"/>
                  </a:cubicBezTo>
                  <a:cubicBezTo>
                    <a:pt x="208" y="233"/>
                    <a:pt x="208" y="233"/>
                    <a:pt x="208" y="233"/>
                  </a:cubicBezTo>
                  <a:cubicBezTo>
                    <a:pt x="208" y="233"/>
                    <a:pt x="208" y="233"/>
                    <a:pt x="208" y="233"/>
                  </a:cubicBezTo>
                  <a:cubicBezTo>
                    <a:pt x="208" y="233"/>
                    <a:pt x="208" y="233"/>
                    <a:pt x="208" y="233"/>
                  </a:cubicBezTo>
                  <a:cubicBezTo>
                    <a:pt x="207" y="233"/>
                    <a:pt x="207" y="233"/>
                    <a:pt x="207" y="233"/>
                  </a:cubicBezTo>
                  <a:cubicBezTo>
                    <a:pt x="207" y="232"/>
                    <a:pt x="207" y="232"/>
                    <a:pt x="207" y="232"/>
                  </a:cubicBezTo>
                  <a:cubicBezTo>
                    <a:pt x="208" y="232"/>
                    <a:pt x="208" y="232"/>
                    <a:pt x="208" y="232"/>
                  </a:cubicBezTo>
                  <a:cubicBezTo>
                    <a:pt x="208" y="232"/>
                    <a:pt x="208" y="232"/>
                    <a:pt x="208" y="232"/>
                  </a:cubicBezTo>
                  <a:cubicBezTo>
                    <a:pt x="208" y="231"/>
                    <a:pt x="208" y="231"/>
                    <a:pt x="208" y="231"/>
                  </a:cubicBezTo>
                  <a:cubicBezTo>
                    <a:pt x="207" y="231"/>
                    <a:pt x="207" y="231"/>
                    <a:pt x="207" y="231"/>
                  </a:cubicBezTo>
                  <a:cubicBezTo>
                    <a:pt x="207" y="231"/>
                    <a:pt x="207" y="231"/>
                    <a:pt x="207" y="231"/>
                  </a:cubicBezTo>
                  <a:cubicBezTo>
                    <a:pt x="207" y="232"/>
                    <a:pt x="207" y="232"/>
                    <a:pt x="207" y="232"/>
                  </a:cubicBezTo>
                  <a:cubicBezTo>
                    <a:pt x="207" y="232"/>
                    <a:pt x="207" y="232"/>
                    <a:pt x="207" y="232"/>
                  </a:cubicBezTo>
                  <a:cubicBezTo>
                    <a:pt x="207" y="232"/>
                    <a:pt x="207" y="232"/>
                    <a:pt x="207" y="232"/>
                  </a:cubicBezTo>
                  <a:cubicBezTo>
                    <a:pt x="207" y="232"/>
                    <a:pt x="207" y="232"/>
                    <a:pt x="207" y="232"/>
                  </a:cubicBezTo>
                  <a:cubicBezTo>
                    <a:pt x="206" y="233"/>
                    <a:pt x="206" y="233"/>
                    <a:pt x="206" y="233"/>
                  </a:cubicBezTo>
                  <a:cubicBezTo>
                    <a:pt x="206" y="233"/>
                    <a:pt x="206" y="233"/>
                    <a:pt x="206" y="233"/>
                  </a:cubicBezTo>
                  <a:cubicBezTo>
                    <a:pt x="206" y="232"/>
                    <a:pt x="206" y="232"/>
                    <a:pt x="206" y="232"/>
                  </a:cubicBezTo>
                  <a:cubicBezTo>
                    <a:pt x="206" y="233"/>
                    <a:pt x="206" y="233"/>
                    <a:pt x="206" y="233"/>
                  </a:cubicBezTo>
                  <a:cubicBezTo>
                    <a:pt x="205" y="233"/>
                    <a:pt x="205" y="233"/>
                    <a:pt x="205" y="233"/>
                  </a:cubicBezTo>
                  <a:cubicBezTo>
                    <a:pt x="205" y="233"/>
                    <a:pt x="205" y="233"/>
                    <a:pt x="205" y="233"/>
                  </a:cubicBezTo>
                  <a:cubicBezTo>
                    <a:pt x="206" y="232"/>
                    <a:pt x="206" y="232"/>
                    <a:pt x="206" y="232"/>
                  </a:cubicBezTo>
                  <a:cubicBezTo>
                    <a:pt x="206" y="232"/>
                    <a:pt x="206" y="232"/>
                    <a:pt x="206" y="232"/>
                  </a:cubicBezTo>
                  <a:cubicBezTo>
                    <a:pt x="206" y="232"/>
                    <a:pt x="206" y="232"/>
                    <a:pt x="206" y="232"/>
                  </a:cubicBezTo>
                  <a:cubicBezTo>
                    <a:pt x="204" y="232"/>
                    <a:pt x="204" y="232"/>
                    <a:pt x="204" y="232"/>
                  </a:cubicBezTo>
                  <a:cubicBezTo>
                    <a:pt x="204" y="232"/>
                    <a:pt x="204" y="232"/>
                    <a:pt x="204" y="232"/>
                  </a:cubicBezTo>
                  <a:cubicBezTo>
                    <a:pt x="204" y="231"/>
                    <a:pt x="204" y="231"/>
                    <a:pt x="204" y="231"/>
                  </a:cubicBezTo>
                  <a:cubicBezTo>
                    <a:pt x="204" y="231"/>
                    <a:pt x="204" y="231"/>
                    <a:pt x="204" y="231"/>
                  </a:cubicBezTo>
                  <a:cubicBezTo>
                    <a:pt x="204" y="231"/>
                    <a:pt x="204" y="231"/>
                    <a:pt x="204" y="231"/>
                  </a:cubicBezTo>
                  <a:cubicBezTo>
                    <a:pt x="204" y="231"/>
                    <a:pt x="204" y="231"/>
                    <a:pt x="204" y="231"/>
                  </a:cubicBezTo>
                  <a:cubicBezTo>
                    <a:pt x="204" y="231"/>
                    <a:pt x="204" y="231"/>
                    <a:pt x="204" y="231"/>
                  </a:cubicBezTo>
                  <a:cubicBezTo>
                    <a:pt x="203" y="231"/>
                    <a:pt x="203" y="231"/>
                    <a:pt x="203" y="231"/>
                  </a:cubicBezTo>
                  <a:cubicBezTo>
                    <a:pt x="203" y="230"/>
                    <a:pt x="203" y="230"/>
                    <a:pt x="203" y="230"/>
                  </a:cubicBezTo>
                  <a:cubicBezTo>
                    <a:pt x="203" y="229"/>
                    <a:pt x="203" y="229"/>
                    <a:pt x="203" y="229"/>
                  </a:cubicBezTo>
                  <a:cubicBezTo>
                    <a:pt x="203" y="229"/>
                    <a:pt x="203" y="229"/>
                    <a:pt x="203" y="229"/>
                  </a:cubicBezTo>
                  <a:cubicBezTo>
                    <a:pt x="202" y="229"/>
                    <a:pt x="202" y="229"/>
                    <a:pt x="202" y="229"/>
                  </a:cubicBezTo>
                  <a:cubicBezTo>
                    <a:pt x="202" y="229"/>
                    <a:pt x="202" y="229"/>
                    <a:pt x="202" y="229"/>
                  </a:cubicBezTo>
                  <a:cubicBezTo>
                    <a:pt x="202" y="228"/>
                    <a:pt x="202" y="228"/>
                    <a:pt x="202" y="228"/>
                  </a:cubicBezTo>
                  <a:cubicBezTo>
                    <a:pt x="202" y="228"/>
                    <a:pt x="202" y="228"/>
                    <a:pt x="202" y="228"/>
                  </a:cubicBezTo>
                  <a:cubicBezTo>
                    <a:pt x="202" y="227"/>
                    <a:pt x="202" y="227"/>
                    <a:pt x="202" y="227"/>
                  </a:cubicBezTo>
                  <a:cubicBezTo>
                    <a:pt x="202" y="227"/>
                    <a:pt x="202" y="227"/>
                    <a:pt x="202" y="227"/>
                  </a:cubicBezTo>
                  <a:cubicBezTo>
                    <a:pt x="202" y="227"/>
                    <a:pt x="202" y="227"/>
                    <a:pt x="202" y="227"/>
                  </a:cubicBezTo>
                  <a:cubicBezTo>
                    <a:pt x="198" y="227"/>
                    <a:pt x="198" y="227"/>
                    <a:pt x="198" y="227"/>
                  </a:cubicBezTo>
                  <a:cubicBezTo>
                    <a:pt x="197" y="227"/>
                    <a:pt x="197" y="227"/>
                    <a:pt x="197" y="227"/>
                  </a:cubicBezTo>
                  <a:cubicBezTo>
                    <a:pt x="197" y="227"/>
                    <a:pt x="197" y="227"/>
                    <a:pt x="197" y="227"/>
                  </a:cubicBezTo>
                  <a:cubicBezTo>
                    <a:pt x="197" y="227"/>
                    <a:pt x="197" y="227"/>
                    <a:pt x="197" y="227"/>
                  </a:cubicBezTo>
                  <a:cubicBezTo>
                    <a:pt x="197" y="227"/>
                    <a:pt x="197" y="227"/>
                    <a:pt x="197" y="227"/>
                  </a:cubicBezTo>
                  <a:cubicBezTo>
                    <a:pt x="197" y="227"/>
                    <a:pt x="197" y="227"/>
                    <a:pt x="197" y="227"/>
                  </a:cubicBezTo>
                  <a:cubicBezTo>
                    <a:pt x="197" y="227"/>
                    <a:pt x="197" y="227"/>
                    <a:pt x="197" y="227"/>
                  </a:cubicBezTo>
                  <a:cubicBezTo>
                    <a:pt x="196" y="227"/>
                    <a:pt x="196" y="227"/>
                    <a:pt x="196" y="227"/>
                  </a:cubicBezTo>
                  <a:cubicBezTo>
                    <a:pt x="197" y="228"/>
                    <a:pt x="197" y="228"/>
                    <a:pt x="197" y="228"/>
                  </a:cubicBezTo>
                  <a:cubicBezTo>
                    <a:pt x="196" y="228"/>
                    <a:pt x="196" y="228"/>
                    <a:pt x="196" y="228"/>
                  </a:cubicBezTo>
                  <a:cubicBezTo>
                    <a:pt x="196" y="228"/>
                    <a:pt x="196" y="228"/>
                    <a:pt x="196" y="228"/>
                  </a:cubicBezTo>
                  <a:cubicBezTo>
                    <a:pt x="196" y="228"/>
                    <a:pt x="196" y="228"/>
                    <a:pt x="196" y="228"/>
                  </a:cubicBezTo>
                  <a:cubicBezTo>
                    <a:pt x="197" y="228"/>
                    <a:pt x="197" y="228"/>
                    <a:pt x="197" y="228"/>
                  </a:cubicBezTo>
                  <a:cubicBezTo>
                    <a:pt x="197" y="228"/>
                    <a:pt x="197" y="228"/>
                    <a:pt x="197" y="228"/>
                  </a:cubicBezTo>
                  <a:cubicBezTo>
                    <a:pt x="197" y="228"/>
                    <a:pt x="197" y="228"/>
                    <a:pt x="197" y="228"/>
                  </a:cubicBezTo>
                  <a:cubicBezTo>
                    <a:pt x="197" y="228"/>
                    <a:pt x="197" y="228"/>
                    <a:pt x="197" y="228"/>
                  </a:cubicBezTo>
                  <a:cubicBezTo>
                    <a:pt x="197" y="228"/>
                    <a:pt x="197" y="228"/>
                    <a:pt x="197" y="228"/>
                  </a:cubicBezTo>
                  <a:cubicBezTo>
                    <a:pt x="198" y="229"/>
                    <a:pt x="198" y="229"/>
                    <a:pt x="198" y="229"/>
                  </a:cubicBezTo>
                  <a:cubicBezTo>
                    <a:pt x="198" y="229"/>
                    <a:pt x="198" y="229"/>
                    <a:pt x="198" y="229"/>
                  </a:cubicBezTo>
                  <a:cubicBezTo>
                    <a:pt x="198" y="229"/>
                    <a:pt x="198" y="229"/>
                    <a:pt x="198" y="229"/>
                  </a:cubicBezTo>
                  <a:cubicBezTo>
                    <a:pt x="198" y="228"/>
                    <a:pt x="198" y="228"/>
                    <a:pt x="198" y="228"/>
                  </a:cubicBezTo>
                  <a:cubicBezTo>
                    <a:pt x="198" y="229"/>
                    <a:pt x="198" y="229"/>
                    <a:pt x="198" y="229"/>
                  </a:cubicBezTo>
                  <a:cubicBezTo>
                    <a:pt x="198" y="229"/>
                    <a:pt x="198" y="229"/>
                    <a:pt x="198" y="229"/>
                  </a:cubicBezTo>
                  <a:cubicBezTo>
                    <a:pt x="198" y="229"/>
                    <a:pt x="198" y="229"/>
                    <a:pt x="198" y="229"/>
                  </a:cubicBezTo>
                  <a:cubicBezTo>
                    <a:pt x="199" y="229"/>
                    <a:pt x="199" y="229"/>
                    <a:pt x="199" y="229"/>
                  </a:cubicBezTo>
                  <a:cubicBezTo>
                    <a:pt x="199" y="230"/>
                    <a:pt x="199" y="230"/>
                    <a:pt x="199" y="230"/>
                  </a:cubicBezTo>
                  <a:cubicBezTo>
                    <a:pt x="199" y="230"/>
                    <a:pt x="199" y="230"/>
                    <a:pt x="199" y="230"/>
                  </a:cubicBezTo>
                  <a:cubicBezTo>
                    <a:pt x="199" y="230"/>
                    <a:pt x="199" y="230"/>
                    <a:pt x="199" y="230"/>
                  </a:cubicBezTo>
                  <a:cubicBezTo>
                    <a:pt x="200" y="230"/>
                    <a:pt x="200" y="230"/>
                    <a:pt x="200" y="230"/>
                  </a:cubicBezTo>
                  <a:cubicBezTo>
                    <a:pt x="200" y="230"/>
                    <a:pt x="200" y="230"/>
                    <a:pt x="200" y="230"/>
                  </a:cubicBezTo>
                  <a:cubicBezTo>
                    <a:pt x="200" y="230"/>
                    <a:pt x="200" y="230"/>
                    <a:pt x="200" y="230"/>
                  </a:cubicBezTo>
                  <a:cubicBezTo>
                    <a:pt x="200" y="230"/>
                    <a:pt x="200" y="230"/>
                    <a:pt x="200" y="230"/>
                  </a:cubicBezTo>
                  <a:cubicBezTo>
                    <a:pt x="200" y="231"/>
                    <a:pt x="200" y="231"/>
                    <a:pt x="200" y="231"/>
                  </a:cubicBezTo>
                  <a:cubicBezTo>
                    <a:pt x="200" y="231"/>
                    <a:pt x="200" y="231"/>
                    <a:pt x="200" y="231"/>
                  </a:cubicBezTo>
                  <a:cubicBezTo>
                    <a:pt x="200" y="231"/>
                    <a:pt x="200" y="231"/>
                    <a:pt x="200" y="231"/>
                  </a:cubicBezTo>
                  <a:cubicBezTo>
                    <a:pt x="201" y="231"/>
                    <a:pt x="201" y="231"/>
                    <a:pt x="201" y="231"/>
                  </a:cubicBezTo>
                  <a:cubicBezTo>
                    <a:pt x="201" y="231"/>
                    <a:pt x="201" y="231"/>
                    <a:pt x="201" y="231"/>
                  </a:cubicBezTo>
                  <a:cubicBezTo>
                    <a:pt x="201" y="232"/>
                    <a:pt x="201" y="232"/>
                    <a:pt x="201" y="232"/>
                  </a:cubicBezTo>
                  <a:cubicBezTo>
                    <a:pt x="201" y="232"/>
                    <a:pt x="201" y="232"/>
                    <a:pt x="201" y="232"/>
                  </a:cubicBezTo>
                  <a:cubicBezTo>
                    <a:pt x="201" y="232"/>
                    <a:pt x="201" y="232"/>
                    <a:pt x="201" y="232"/>
                  </a:cubicBezTo>
                  <a:cubicBezTo>
                    <a:pt x="201" y="232"/>
                    <a:pt x="201" y="232"/>
                    <a:pt x="201" y="232"/>
                  </a:cubicBezTo>
                  <a:cubicBezTo>
                    <a:pt x="201" y="232"/>
                    <a:pt x="201" y="232"/>
                    <a:pt x="201" y="232"/>
                  </a:cubicBezTo>
                  <a:cubicBezTo>
                    <a:pt x="201" y="232"/>
                    <a:pt x="201" y="232"/>
                    <a:pt x="201" y="232"/>
                  </a:cubicBezTo>
                  <a:cubicBezTo>
                    <a:pt x="202" y="232"/>
                    <a:pt x="202" y="232"/>
                    <a:pt x="202" y="232"/>
                  </a:cubicBezTo>
                  <a:cubicBezTo>
                    <a:pt x="202" y="232"/>
                    <a:pt x="202" y="232"/>
                    <a:pt x="202" y="232"/>
                  </a:cubicBezTo>
                  <a:cubicBezTo>
                    <a:pt x="202" y="232"/>
                    <a:pt x="202" y="232"/>
                    <a:pt x="202" y="232"/>
                  </a:cubicBezTo>
                  <a:cubicBezTo>
                    <a:pt x="202" y="232"/>
                    <a:pt x="202" y="232"/>
                    <a:pt x="202" y="232"/>
                  </a:cubicBezTo>
                  <a:cubicBezTo>
                    <a:pt x="202" y="232"/>
                    <a:pt x="202" y="232"/>
                    <a:pt x="202" y="232"/>
                  </a:cubicBezTo>
                  <a:cubicBezTo>
                    <a:pt x="202" y="232"/>
                    <a:pt x="202" y="232"/>
                    <a:pt x="202" y="232"/>
                  </a:cubicBezTo>
                  <a:cubicBezTo>
                    <a:pt x="202" y="232"/>
                    <a:pt x="202" y="232"/>
                    <a:pt x="202" y="232"/>
                  </a:cubicBezTo>
                  <a:cubicBezTo>
                    <a:pt x="202" y="232"/>
                    <a:pt x="202" y="232"/>
                    <a:pt x="202" y="232"/>
                  </a:cubicBezTo>
                  <a:cubicBezTo>
                    <a:pt x="202" y="232"/>
                    <a:pt x="202" y="232"/>
                    <a:pt x="202" y="232"/>
                  </a:cubicBezTo>
                  <a:cubicBezTo>
                    <a:pt x="202" y="232"/>
                    <a:pt x="202" y="232"/>
                    <a:pt x="202" y="232"/>
                  </a:cubicBezTo>
                  <a:cubicBezTo>
                    <a:pt x="202" y="232"/>
                    <a:pt x="202" y="232"/>
                    <a:pt x="202" y="232"/>
                  </a:cubicBezTo>
                  <a:cubicBezTo>
                    <a:pt x="202" y="233"/>
                    <a:pt x="202" y="233"/>
                    <a:pt x="202" y="233"/>
                  </a:cubicBezTo>
                  <a:cubicBezTo>
                    <a:pt x="202" y="233"/>
                    <a:pt x="202" y="233"/>
                    <a:pt x="202" y="233"/>
                  </a:cubicBezTo>
                  <a:cubicBezTo>
                    <a:pt x="202" y="234"/>
                    <a:pt x="202" y="234"/>
                    <a:pt x="202" y="234"/>
                  </a:cubicBezTo>
                  <a:cubicBezTo>
                    <a:pt x="203" y="234"/>
                    <a:pt x="203" y="234"/>
                    <a:pt x="203" y="234"/>
                  </a:cubicBezTo>
                  <a:cubicBezTo>
                    <a:pt x="203" y="234"/>
                    <a:pt x="203" y="234"/>
                    <a:pt x="203" y="234"/>
                  </a:cubicBezTo>
                  <a:cubicBezTo>
                    <a:pt x="203" y="234"/>
                    <a:pt x="203" y="234"/>
                    <a:pt x="203" y="234"/>
                  </a:cubicBezTo>
                  <a:cubicBezTo>
                    <a:pt x="203" y="235"/>
                    <a:pt x="203" y="235"/>
                    <a:pt x="203" y="235"/>
                  </a:cubicBezTo>
                  <a:cubicBezTo>
                    <a:pt x="203" y="235"/>
                    <a:pt x="203" y="235"/>
                    <a:pt x="203" y="235"/>
                  </a:cubicBezTo>
                  <a:cubicBezTo>
                    <a:pt x="203" y="235"/>
                    <a:pt x="203" y="235"/>
                    <a:pt x="203" y="235"/>
                  </a:cubicBezTo>
                  <a:cubicBezTo>
                    <a:pt x="204" y="235"/>
                    <a:pt x="204" y="235"/>
                    <a:pt x="204" y="235"/>
                  </a:cubicBezTo>
                  <a:cubicBezTo>
                    <a:pt x="204" y="235"/>
                    <a:pt x="204" y="235"/>
                    <a:pt x="204" y="235"/>
                  </a:cubicBezTo>
                  <a:cubicBezTo>
                    <a:pt x="204" y="236"/>
                    <a:pt x="204" y="236"/>
                    <a:pt x="204" y="236"/>
                  </a:cubicBezTo>
                  <a:cubicBezTo>
                    <a:pt x="204" y="236"/>
                    <a:pt x="204" y="236"/>
                    <a:pt x="204" y="236"/>
                  </a:cubicBezTo>
                  <a:cubicBezTo>
                    <a:pt x="204" y="237"/>
                    <a:pt x="204" y="237"/>
                    <a:pt x="204" y="237"/>
                  </a:cubicBezTo>
                  <a:cubicBezTo>
                    <a:pt x="204" y="237"/>
                    <a:pt x="204" y="237"/>
                    <a:pt x="204" y="237"/>
                  </a:cubicBezTo>
                  <a:cubicBezTo>
                    <a:pt x="204" y="238"/>
                    <a:pt x="204" y="238"/>
                    <a:pt x="204" y="238"/>
                  </a:cubicBezTo>
                  <a:cubicBezTo>
                    <a:pt x="205" y="238"/>
                    <a:pt x="205" y="238"/>
                    <a:pt x="205" y="238"/>
                  </a:cubicBezTo>
                  <a:cubicBezTo>
                    <a:pt x="205" y="238"/>
                    <a:pt x="205" y="238"/>
                    <a:pt x="205" y="238"/>
                  </a:cubicBezTo>
                  <a:cubicBezTo>
                    <a:pt x="205" y="239"/>
                    <a:pt x="205" y="239"/>
                    <a:pt x="205" y="239"/>
                  </a:cubicBezTo>
                  <a:cubicBezTo>
                    <a:pt x="205" y="239"/>
                    <a:pt x="205" y="239"/>
                    <a:pt x="205" y="239"/>
                  </a:cubicBezTo>
                  <a:cubicBezTo>
                    <a:pt x="203" y="241"/>
                    <a:pt x="203" y="241"/>
                    <a:pt x="203" y="241"/>
                  </a:cubicBezTo>
                  <a:cubicBezTo>
                    <a:pt x="203" y="242"/>
                    <a:pt x="203" y="242"/>
                    <a:pt x="203" y="242"/>
                  </a:cubicBezTo>
                  <a:cubicBezTo>
                    <a:pt x="203" y="243"/>
                    <a:pt x="203" y="243"/>
                    <a:pt x="203" y="243"/>
                  </a:cubicBezTo>
                  <a:cubicBezTo>
                    <a:pt x="203" y="243"/>
                    <a:pt x="203" y="243"/>
                    <a:pt x="203" y="243"/>
                  </a:cubicBezTo>
                  <a:cubicBezTo>
                    <a:pt x="203" y="243"/>
                    <a:pt x="203" y="243"/>
                    <a:pt x="203" y="243"/>
                  </a:cubicBezTo>
                  <a:cubicBezTo>
                    <a:pt x="202" y="243"/>
                    <a:pt x="202" y="243"/>
                    <a:pt x="202" y="243"/>
                  </a:cubicBezTo>
                  <a:cubicBezTo>
                    <a:pt x="202" y="243"/>
                    <a:pt x="202" y="243"/>
                    <a:pt x="202" y="243"/>
                  </a:cubicBezTo>
                  <a:cubicBezTo>
                    <a:pt x="202" y="245"/>
                    <a:pt x="202" y="245"/>
                    <a:pt x="202" y="245"/>
                  </a:cubicBezTo>
                  <a:cubicBezTo>
                    <a:pt x="202" y="245"/>
                    <a:pt x="202" y="245"/>
                    <a:pt x="202" y="245"/>
                  </a:cubicBezTo>
                  <a:cubicBezTo>
                    <a:pt x="201" y="245"/>
                    <a:pt x="201" y="245"/>
                    <a:pt x="201" y="245"/>
                  </a:cubicBezTo>
                  <a:cubicBezTo>
                    <a:pt x="201" y="245"/>
                    <a:pt x="201" y="245"/>
                    <a:pt x="201" y="245"/>
                  </a:cubicBezTo>
                  <a:cubicBezTo>
                    <a:pt x="201" y="245"/>
                    <a:pt x="201" y="245"/>
                    <a:pt x="201" y="245"/>
                  </a:cubicBezTo>
                  <a:cubicBezTo>
                    <a:pt x="201" y="245"/>
                    <a:pt x="201" y="245"/>
                    <a:pt x="201" y="245"/>
                  </a:cubicBezTo>
                  <a:cubicBezTo>
                    <a:pt x="201" y="246"/>
                    <a:pt x="201" y="246"/>
                    <a:pt x="201" y="246"/>
                  </a:cubicBezTo>
                  <a:cubicBezTo>
                    <a:pt x="201" y="246"/>
                    <a:pt x="201" y="246"/>
                    <a:pt x="201" y="246"/>
                  </a:cubicBezTo>
                  <a:cubicBezTo>
                    <a:pt x="201" y="246"/>
                    <a:pt x="201" y="246"/>
                    <a:pt x="201" y="246"/>
                  </a:cubicBezTo>
                  <a:cubicBezTo>
                    <a:pt x="201" y="246"/>
                    <a:pt x="201" y="246"/>
                    <a:pt x="201" y="246"/>
                  </a:cubicBezTo>
                  <a:cubicBezTo>
                    <a:pt x="201" y="246"/>
                    <a:pt x="201" y="246"/>
                    <a:pt x="201" y="246"/>
                  </a:cubicBezTo>
                  <a:cubicBezTo>
                    <a:pt x="201" y="248"/>
                    <a:pt x="201" y="248"/>
                    <a:pt x="201" y="248"/>
                  </a:cubicBezTo>
                  <a:cubicBezTo>
                    <a:pt x="201" y="249"/>
                    <a:pt x="201" y="249"/>
                    <a:pt x="201" y="249"/>
                  </a:cubicBezTo>
                  <a:cubicBezTo>
                    <a:pt x="200" y="250"/>
                    <a:pt x="200" y="250"/>
                    <a:pt x="200" y="250"/>
                  </a:cubicBezTo>
                  <a:cubicBezTo>
                    <a:pt x="200" y="250"/>
                    <a:pt x="200" y="250"/>
                    <a:pt x="200" y="250"/>
                  </a:cubicBezTo>
                  <a:cubicBezTo>
                    <a:pt x="200" y="251"/>
                    <a:pt x="200" y="251"/>
                    <a:pt x="200" y="251"/>
                  </a:cubicBezTo>
                  <a:cubicBezTo>
                    <a:pt x="200" y="252"/>
                    <a:pt x="200" y="252"/>
                    <a:pt x="200" y="252"/>
                  </a:cubicBezTo>
                  <a:cubicBezTo>
                    <a:pt x="201" y="253"/>
                    <a:pt x="201" y="253"/>
                    <a:pt x="201" y="253"/>
                  </a:cubicBezTo>
                  <a:cubicBezTo>
                    <a:pt x="201" y="254"/>
                    <a:pt x="201" y="254"/>
                    <a:pt x="201" y="254"/>
                  </a:cubicBezTo>
                  <a:cubicBezTo>
                    <a:pt x="201" y="255"/>
                    <a:pt x="201" y="255"/>
                    <a:pt x="201" y="255"/>
                  </a:cubicBezTo>
                  <a:cubicBezTo>
                    <a:pt x="201" y="259"/>
                    <a:pt x="201" y="259"/>
                    <a:pt x="201" y="259"/>
                  </a:cubicBezTo>
                  <a:cubicBezTo>
                    <a:pt x="202" y="262"/>
                    <a:pt x="202" y="262"/>
                    <a:pt x="202" y="262"/>
                  </a:cubicBezTo>
                  <a:cubicBezTo>
                    <a:pt x="202" y="263"/>
                    <a:pt x="202" y="263"/>
                    <a:pt x="202" y="263"/>
                  </a:cubicBezTo>
                  <a:cubicBezTo>
                    <a:pt x="202" y="264"/>
                    <a:pt x="202" y="264"/>
                    <a:pt x="202" y="264"/>
                  </a:cubicBezTo>
                  <a:cubicBezTo>
                    <a:pt x="202" y="264"/>
                    <a:pt x="202" y="264"/>
                    <a:pt x="202" y="264"/>
                  </a:cubicBezTo>
                  <a:cubicBezTo>
                    <a:pt x="202" y="265"/>
                    <a:pt x="202" y="265"/>
                    <a:pt x="202" y="265"/>
                  </a:cubicBezTo>
                  <a:cubicBezTo>
                    <a:pt x="202" y="266"/>
                    <a:pt x="202" y="266"/>
                    <a:pt x="202" y="266"/>
                  </a:cubicBezTo>
                  <a:cubicBezTo>
                    <a:pt x="200" y="267"/>
                    <a:pt x="200" y="267"/>
                    <a:pt x="200" y="267"/>
                  </a:cubicBezTo>
                  <a:cubicBezTo>
                    <a:pt x="200" y="268"/>
                    <a:pt x="200" y="268"/>
                    <a:pt x="200" y="268"/>
                  </a:cubicBezTo>
                  <a:cubicBezTo>
                    <a:pt x="200" y="268"/>
                    <a:pt x="200" y="268"/>
                    <a:pt x="200" y="268"/>
                  </a:cubicBezTo>
                  <a:cubicBezTo>
                    <a:pt x="199" y="268"/>
                    <a:pt x="199" y="268"/>
                    <a:pt x="199" y="268"/>
                  </a:cubicBezTo>
                  <a:cubicBezTo>
                    <a:pt x="199" y="268"/>
                    <a:pt x="199" y="268"/>
                    <a:pt x="199" y="268"/>
                  </a:cubicBezTo>
                  <a:cubicBezTo>
                    <a:pt x="199" y="268"/>
                    <a:pt x="199" y="268"/>
                    <a:pt x="199" y="268"/>
                  </a:cubicBezTo>
                  <a:cubicBezTo>
                    <a:pt x="198" y="271"/>
                    <a:pt x="198" y="271"/>
                    <a:pt x="198" y="271"/>
                  </a:cubicBezTo>
                  <a:cubicBezTo>
                    <a:pt x="198" y="271"/>
                    <a:pt x="198" y="271"/>
                    <a:pt x="198" y="271"/>
                  </a:cubicBezTo>
                  <a:cubicBezTo>
                    <a:pt x="197" y="271"/>
                    <a:pt x="197" y="271"/>
                    <a:pt x="197" y="271"/>
                  </a:cubicBezTo>
                  <a:cubicBezTo>
                    <a:pt x="194" y="273"/>
                    <a:pt x="194" y="273"/>
                    <a:pt x="194" y="273"/>
                  </a:cubicBezTo>
                  <a:cubicBezTo>
                    <a:pt x="194" y="273"/>
                    <a:pt x="194" y="273"/>
                    <a:pt x="194" y="273"/>
                  </a:cubicBezTo>
                  <a:cubicBezTo>
                    <a:pt x="194" y="273"/>
                    <a:pt x="194" y="273"/>
                    <a:pt x="194" y="273"/>
                  </a:cubicBezTo>
                  <a:cubicBezTo>
                    <a:pt x="194" y="274"/>
                    <a:pt x="194" y="274"/>
                    <a:pt x="194" y="274"/>
                  </a:cubicBezTo>
                  <a:cubicBezTo>
                    <a:pt x="194" y="275"/>
                    <a:pt x="194" y="275"/>
                    <a:pt x="194" y="275"/>
                  </a:cubicBezTo>
                  <a:cubicBezTo>
                    <a:pt x="193" y="275"/>
                    <a:pt x="193" y="275"/>
                    <a:pt x="193" y="275"/>
                  </a:cubicBezTo>
                  <a:cubicBezTo>
                    <a:pt x="193" y="276"/>
                    <a:pt x="193" y="276"/>
                    <a:pt x="193" y="276"/>
                  </a:cubicBezTo>
                  <a:cubicBezTo>
                    <a:pt x="193" y="276"/>
                    <a:pt x="193" y="276"/>
                    <a:pt x="193" y="276"/>
                  </a:cubicBezTo>
                  <a:cubicBezTo>
                    <a:pt x="193" y="277"/>
                    <a:pt x="193" y="277"/>
                    <a:pt x="193" y="277"/>
                  </a:cubicBezTo>
                  <a:cubicBezTo>
                    <a:pt x="193" y="277"/>
                    <a:pt x="193" y="277"/>
                    <a:pt x="193" y="277"/>
                  </a:cubicBezTo>
                  <a:cubicBezTo>
                    <a:pt x="193" y="278"/>
                    <a:pt x="193" y="278"/>
                    <a:pt x="193" y="278"/>
                  </a:cubicBezTo>
                  <a:cubicBezTo>
                    <a:pt x="193" y="278"/>
                    <a:pt x="193" y="278"/>
                    <a:pt x="193" y="278"/>
                  </a:cubicBezTo>
                  <a:cubicBezTo>
                    <a:pt x="193" y="278"/>
                    <a:pt x="193" y="278"/>
                    <a:pt x="193" y="278"/>
                  </a:cubicBezTo>
                  <a:cubicBezTo>
                    <a:pt x="193" y="278"/>
                    <a:pt x="193" y="278"/>
                    <a:pt x="193" y="278"/>
                  </a:cubicBezTo>
                  <a:cubicBezTo>
                    <a:pt x="194" y="279"/>
                    <a:pt x="194" y="279"/>
                    <a:pt x="194" y="279"/>
                  </a:cubicBezTo>
                  <a:cubicBezTo>
                    <a:pt x="193" y="281"/>
                    <a:pt x="193" y="281"/>
                    <a:pt x="193" y="281"/>
                  </a:cubicBezTo>
                  <a:cubicBezTo>
                    <a:pt x="193" y="281"/>
                    <a:pt x="193" y="281"/>
                    <a:pt x="193" y="281"/>
                  </a:cubicBezTo>
                  <a:cubicBezTo>
                    <a:pt x="193" y="282"/>
                    <a:pt x="193" y="282"/>
                    <a:pt x="193" y="282"/>
                  </a:cubicBezTo>
                  <a:cubicBezTo>
                    <a:pt x="193" y="282"/>
                    <a:pt x="193" y="282"/>
                    <a:pt x="193" y="282"/>
                  </a:cubicBezTo>
                  <a:cubicBezTo>
                    <a:pt x="192" y="283"/>
                    <a:pt x="192" y="283"/>
                    <a:pt x="192" y="283"/>
                  </a:cubicBezTo>
                  <a:cubicBezTo>
                    <a:pt x="192" y="283"/>
                    <a:pt x="192" y="283"/>
                    <a:pt x="192" y="283"/>
                  </a:cubicBezTo>
                  <a:cubicBezTo>
                    <a:pt x="191" y="284"/>
                    <a:pt x="191" y="284"/>
                    <a:pt x="191" y="284"/>
                  </a:cubicBezTo>
                  <a:cubicBezTo>
                    <a:pt x="190" y="286"/>
                    <a:pt x="190" y="286"/>
                    <a:pt x="190" y="286"/>
                  </a:cubicBezTo>
                  <a:cubicBezTo>
                    <a:pt x="189" y="286"/>
                    <a:pt x="189" y="286"/>
                    <a:pt x="189" y="286"/>
                  </a:cubicBezTo>
                  <a:cubicBezTo>
                    <a:pt x="188" y="287"/>
                    <a:pt x="188" y="287"/>
                    <a:pt x="188" y="287"/>
                  </a:cubicBezTo>
                  <a:cubicBezTo>
                    <a:pt x="187" y="288"/>
                    <a:pt x="187" y="288"/>
                    <a:pt x="187" y="288"/>
                  </a:cubicBezTo>
                  <a:cubicBezTo>
                    <a:pt x="186" y="289"/>
                    <a:pt x="186" y="289"/>
                    <a:pt x="186" y="289"/>
                  </a:cubicBezTo>
                  <a:cubicBezTo>
                    <a:pt x="186" y="289"/>
                    <a:pt x="186" y="289"/>
                    <a:pt x="186" y="289"/>
                  </a:cubicBezTo>
                  <a:cubicBezTo>
                    <a:pt x="186" y="289"/>
                    <a:pt x="186" y="289"/>
                    <a:pt x="186" y="289"/>
                  </a:cubicBezTo>
                  <a:cubicBezTo>
                    <a:pt x="186" y="289"/>
                    <a:pt x="186" y="289"/>
                    <a:pt x="186" y="289"/>
                  </a:cubicBezTo>
                  <a:cubicBezTo>
                    <a:pt x="186" y="290"/>
                    <a:pt x="186" y="290"/>
                    <a:pt x="186" y="290"/>
                  </a:cubicBezTo>
                  <a:cubicBezTo>
                    <a:pt x="186" y="290"/>
                    <a:pt x="186" y="290"/>
                    <a:pt x="186" y="290"/>
                  </a:cubicBezTo>
                  <a:cubicBezTo>
                    <a:pt x="186" y="292"/>
                    <a:pt x="186" y="292"/>
                    <a:pt x="186" y="292"/>
                  </a:cubicBezTo>
                  <a:cubicBezTo>
                    <a:pt x="186" y="293"/>
                    <a:pt x="186" y="293"/>
                    <a:pt x="186" y="293"/>
                  </a:cubicBezTo>
                  <a:cubicBezTo>
                    <a:pt x="186" y="293"/>
                    <a:pt x="186" y="293"/>
                    <a:pt x="186" y="293"/>
                  </a:cubicBezTo>
                  <a:cubicBezTo>
                    <a:pt x="186" y="294"/>
                    <a:pt x="186" y="294"/>
                    <a:pt x="186" y="294"/>
                  </a:cubicBezTo>
                  <a:cubicBezTo>
                    <a:pt x="187" y="294"/>
                    <a:pt x="187" y="294"/>
                    <a:pt x="187" y="294"/>
                  </a:cubicBezTo>
                  <a:cubicBezTo>
                    <a:pt x="188" y="294"/>
                    <a:pt x="188" y="294"/>
                    <a:pt x="188" y="294"/>
                  </a:cubicBezTo>
                  <a:cubicBezTo>
                    <a:pt x="188" y="294"/>
                    <a:pt x="188" y="294"/>
                    <a:pt x="188" y="294"/>
                  </a:cubicBezTo>
                  <a:cubicBezTo>
                    <a:pt x="188" y="294"/>
                    <a:pt x="188" y="294"/>
                    <a:pt x="188" y="294"/>
                  </a:cubicBezTo>
                  <a:cubicBezTo>
                    <a:pt x="188" y="294"/>
                    <a:pt x="188" y="294"/>
                    <a:pt x="188" y="294"/>
                  </a:cubicBezTo>
                  <a:cubicBezTo>
                    <a:pt x="189" y="294"/>
                    <a:pt x="189" y="294"/>
                    <a:pt x="189" y="294"/>
                  </a:cubicBezTo>
                  <a:cubicBezTo>
                    <a:pt x="189" y="295"/>
                    <a:pt x="189" y="295"/>
                    <a:pt x="189" y="295"/>
                  </a:cubicBezTo>
                  <a:cubicBezTo>
                    <a:pt x="190" y="295"/>
                    <a:pt x="190" y="295"/>
                    <a:pt x="190" y="295"/>
                  </a:cubicBezTo>
                  <a:cubicBezTo>
                    <a:pt x="191" y="294"/>
                    <a:pt x="191" y="294"/>
                    <a:pt x="191" y="294"/>
                  </a:cubicBezTo>
                  <a:cubicBezTo>
                    <a:pt x="192" y="293"/>
                    <a:pt x="192" y="293"/>
                    <a:pt x="192" y="293"/>
                  </a:cubicBezTo>
                  <a:cubicBezTo>
                    <a:pt x="193" y="293"/>
                    <a:pt x="193" y="293"/>
                    <a:pt x="193" y="293"/>
                  </a:cubicBezTo>
                  <a:cubicBezTo>
                    <a:pt x="194" y="293"/>
                    <a:pt x="194" y="293"/>
                    <a:pt x="194" y="293"/>
                  </a:cubicBezTo>
                  <a:cubicBezTo>
                    <a:pt x="194" y="293"/>
                    <a:pt x="194" y="293"/>
                    <a:pt x="194" y="293"/>
                  </a:cubicBezTo>
                  <a:cubicBezTo>
                    <a:pt x="195" y="294"/>
                    <a:pt x="195" y="294"/>
                    <a:pt x="195" y="294"/>
                  </a:cubicBezTo>
                  <a:cubicBezTo>
                    <a:pt x="195" y="294"/>
                    <a:pt x="195" y="294"/>
                    <a:pt x="195" y="294"/>
                  </a:cubicBezTo>
                  <a:cubicBezTo>
                    <a:pt x="196" y="295"/>
                    <a:pt x="196" y="295"/>
                    <a:pt x="196" y="295"/>
                  </a:cubicBezTo>
                  <a:cubicBezTo>
                    <a:pt x="196" y="295"/>
                    <a:pt x="196" y="295"/>
                    <a:pt x="196" y="295"/>
                  </a:cubicBezTo>
                  <a:cubicBezTo>
                    <a:pt x="196" y="295"/>
                    <a:pt x="196" y="295"/>
                    <a:pt x="196" y="295"/>
                  </a:cubicBezTo>
                  <a:cubicBezTo>
                    <a:pt x="196" y="295"/>
                    <a:pt x="196" y="295"/>
                    <a:pt x="196" y="295"/>
                  </a:cubicBezTo>
                  <a:cubicBezTo>
                    <a:pt x="196" y="294"/>
                    <a:pt x="196" y="294"/>
                    <a:pt x="196" y="294"/>
                  </a:cubicBezTo>
                  <a:cubicBezTo>
                    <a:pt x="196" y="293"/>
                    <a:pt x="196" y="293"/>
                    <a:pt x="196" y="293"/>
                  </a:cubicBezTo>
                  <a:cubicBezTo>
                    <a:pt x="196" y="292"/>
                    <a:pt x="196" y="292"/>
                    <a:pt x="196" y="292"/>
                  </a:cubicBezTo>
                  <a:cubicBezTo>
                    <a:pt x="196" y="292"/>
                    <a:pt x="196" y="292"/>
                    <a:pt x="196" y="292"/>
                  </a:cubicBezTo>
                  <a:cubicBezTo>
                    <a:pt x="197" y="291"/>
                    <a:pt x="197" y="291"/>
                    <a:pt x="197" y="291"/>
                  </a:cubicBezTo>
                  <a:cubicBezTo>
                    <a:pt x="197" y="290"/>
                    <a:pt x="197" y="290"/>
                    <a:pt x="197" y="290"/>
                  </a:cubicBezTo>
                  <a:cubicBezTo>
                    <a:pt x="200" y="288"/>
                    <a:pt x="200" y="288"/>
                    <a:pt x="200" y="288"/>
                  </a:cubicBezTo>
                  <a:cubicBezTo>
                    <a:pt x="201" y="287"/>
                    <a:pt x="201" y="287"/>
                    <a:pt x="201" y="287"/>
                  </a:cubicBezTo>
                  <a:cubicBezTo>
                    <a:pt x="201" y="287"/>
                    <a:pt x="201" y="287"/>
                    <a:pt x="201" y="287"/>
                  </a:cubicBezTo>
                  <a:cubicBezTo>
                    <a:pt x="203" y="287"/>
                    <a:pt x="203" y="287"/>
                    <a:pt x="203" y="287"/>
                  </a:cubicBezTo>
                  <a:cubicBezTo>
                    <a:pt x="203" y="287"/>
                    <a:pt x="203" y="287"/>
                    <a:pt x="203" y="287"/>
                  </a:cubicBezTo>
                  <a:cubicBezTo>
                    <a:pt x="203" y="287"/>
                    <a:pt x="203" y="287"/>
                    <a:pt x="203" y="287"/>
                  </a:cubicBezTo>
                  <a:cubicBezTo>
                    <a:pt x="203" y="287"/>
                    <a:pt x="203" y="287"/>
                    <a:pt x="203" y="287"/>
                  </a:cubicBezTo>
                  <a:cubicBezTo>
                    <a:pt x="204" y="286"/>
                    <a:pt x="204" y="286"/>
                    <a:pt x="204" y="286"/>
                  </a:cubicBezTo>
                  <a:cubicBezTo>
                    <a:pt x="204" y="286"/>
                    <a:pt x="204" y="286"/>
                    <a:pt x="204" y="286"/>
                  </a:cubicBezTo>
                  <a:cubicBezTo>
                    <a:pt x="204" y="286"/>
                    <a:pt x="204" y="286"/>
                    <a:pt x="204" y="286"/>
                  </a:cubicBezTo>
                  <a:cubicBezTo>
                    <a:pt x="204" y="287"/>
                    <a:pt x="204" y="287"/>
                    <a:pt x="204" y="287"/>
                  </a:cubicBezTo>
                  <a:cubicBezTo>
                    <a:pt x="204" y="287"/>
                    <a:pt x="204" y="287"/>
                    <a:pt x="204" y="287"/>
                  </a:cubicBezTo>
                  <a:cubicBezTo>
                    <a:pt x="204" y="287"/>
                    <a:pt x="204" y="287"/>
                    <a:pt x="204" y="287"/>
                  </a:cubicBezTo>
                  <a:cubicBezTo>
                    <a:pt x="204" y="287"/>
                    <a:pt x="204" y="287"/>
                    <a:pt x="204" y="287"/>
                  </a:cubicBezTo>
                  <a:cubicBezTo>
                    <a:pt x="204" y="286"/>
                    <a:pt x="204" y="286"/>
                    <a:pt x="204" y="286"/>
                  </a:cubicBezTo>
                  <a:cubicBezTo>
                    <a:pt x="204" y="286"/>
                    <a:pt x="204" y="286"/>
                    <a:pt x="204" y="286"/>
                  </a:cubicBezTo>
                  <a:cubicBezTo>
                    <a:pt x="204" y="285"/>
                    <a:pt x="204" y="285"/>
                    <a:pt x="204" y="285"/>
                  </a:cubicBezTo>
                  <a:cubicBezTo>
                    <a:pt x="204" y="284"/>
                    <a:pt x="204" y="284"/>
                    <a:pt x="204" y="284"/>
                  </a:cubicBezTo>
                  <a:cubicBezTo>
                    <a:pt x="205" y="284"/>
                    <a:pt x="205" y="284"/>
                    <a:pt x="205" y="284"/>
                  </a:cubicBezTo>
                  <a:cubicBezTo>
                    <a:pt x="206" y="282"/>
                    <a:pt x="206" y="282"/>
                    <a:pt x="206" y="282"/>
                  </a:cubicBezTo>
                  <a:cubicBezTo>
                    <a:pt x="207" y="282"/>
                    <a:pt x="207" y="282"/>
                    <a:pt x="207" y="282"/>
                  </a:cubicBezTo>
                  <a:cubicBezTo>
                    <a:pt x="207" y="280"/>
                    <a:pt x="207" y="280"/>
                    <a:pt x="207" y="280"/>
                  </a:cubicBezTo>
                  <a:cubicBezTo>
                    <a:pt x="208" y="280"/>
                    <a:pt x="208" y="280"/>
                    <a:pt x="208" y="280"/>
                  </a:cubicBezTo>
                  <a:cubicBezTo>
                    <a:pt x="208" y="280"/>
                    <a:pt x="208" y="280"/>
                    <a:pt x="208" y="280"/>
                  </a:cubicBezTo>
                  <a:cubicBezTo>
                    <a:pt x="208" y="280"/>
                    <a:pt x="208" y="280"/>
                    <a:pt x="208" y="280"/>
                  </a:cubicBezTo>
                  <a:cubicBezTo>
                    <a:pt x="208" y="279"/>
                    <a:pt x="208" y="279"/>
                    <a:pt x="208" y="279"/>
                  </a:cubicBezTo>
                  <a:cubicBezTo>
                    <a:pt x="209" y="279"/>
                    <a:pt x="209" y="279"/>
                    <a:pt x="209" y="279"/>
                  </a:cubicBezTo>
                  <a:cubicBezTo>
                    <a:pt x="209" y="279"/>
                    <a:pt x="209" y="279"/>
                    <a:pt x="209" y="279"/>
                  </a:cubicBezTo>
                  <a:cubicBezTo>
                    <a:pt x="210" y="278"/>
                    <a:pt x="210" y="278"/>
                    <a:pt x="210" y="278"/>
                  </a:cubicBezTo>
                  <a:cubicBezTo>
                    <a:pt x="212" y="277"/>
                    <a:pt x="212" y="277"/>
                    <a:pt x="212" y="277"/>
                  </a:cubicBezTo>
                  <a:cubicBezTo>
                    <a:pt x="216" y="277"/>
                    <a:pt x="216" y="277"/>
                    <a:pt x="216" y="277"/>
                  </a:cubicBezTo>
                  <a:cubicBezTo>
                    <a:pt x="218" y="277"/>
                    <a:pt x="218" y="277"/>
                    <a:pt x="218" y="277"/>
                  </a:cubicBezTo>
                  <a:cubicBezTo>
                    <a:pt x="219" y="277"/>
                    <a:pt x="219" y="277"/>
                    <a:pt x="219" y="277"/>
                  </a:cubicBezTo>
                  <a:cubicBezTo>
                    <a:pt x="220" y="277"/>
                    <a:pt x="220" y="277"/>
                    <a:pt x="220" y="277"/>
                  </a:cubicBezTo>
                  <a:cubicBezTo>
                    <a:pt x="222" y="277"/>
                    <a:pt x="222" y="277"/>
                    <a:pt x="222" y="277"/>
                  </a:cubicBezTo>
                  <a:cubicBezTo>
                    <a:pt x="222" y="277"/>
                    <a:pt x="222" y="277"/>
                    <a:pt x="222" y="277"/>
                  </a:cubicBezTo>
                  <a:cubicBezTo>
                    <a:pt x="223" y="277"/>
                    <a:pt x="223" y="277"/>
                    <a:pt x="223" y="277"/>
                  </a:cubicBezTo>
                  <a:cubicBezTo>
                    <a:pt x="225" y="277"/>
                    <a:pt x="225" y="277"/>
                    <a:pt x="225" y="277"/>
                  </a:cubicBezTo>
                  <a:cubicBezTo>
                    <a:pt x="225" y="277"/>
                    <a:pt x="225" y="277"/>
                    <a:pt x="225" y="277"/>
                  </a:cubicBezTo>
                  <a:cubicBezTo>
                    <a:pt x="226" y="277"/>
                    <a:pt x="226" y="277"/>
                    <a:pt x="226" y="277"/>
                  </a:cubicBezTo>
                  <a:cubicBezTo>
                    <a:pt x="228" y="277"/>
                    <a:pt x="228" y="277"/>
                    <a:pt x="228" y="277"/>
                  </a:cubicBezTo>
                  <a:cubicBezTo>
                    <a:pt x="228" y="277"/>
                    <a:pt x="228" y="277"/>
                    <a:pt x="228" y="277"/>
                  </a:cubicBezTo>
                  <a:cubicBezTo>
                    <a:pt x="228" y="277"/>
                    <a:pt x="228" y="277"/>
                    <a:pt x="228" y="277"/>
                  </a:cubicBezTo>
                  <a:cubicBezTo>
                    <a:pt x="229" y="277"/>
                    <a:pt x="229" y="277"/>
                    <a:pt x="229" y="277"/>
                  </a:cubicBezTo>
                  <a:cubicBezTo>
                    <a:pt x="229" y="276"/>
                    <a:pt x="229" y="276"/>
                    <a:pt x="229" y="276"/>
                  </a:cubicBezTo>
                  <a:cubicBezTo>
                    <a:pt x="229" y="276"/>
                    <a:pt x="229" y="276"/>
                    <a:pt x="229" y="276"/>
                  </a:cubicBezTo>
                  <a:cubicBezTo>
                    <a:pt x="229" y="276"/>
                    <a:pt x="229" y="276"/>
                    <a:pt x="229" y="276"/>
                  </a:cubicBezTo>
                  <a:cubicBezTo>
                    <a:pt x="229" y="276"/>
                    <a:pt x="229" y="276"/>
                    <a:pt x="229" y="276"/>
                  </a:cubicBezTo>
                  <a:cubicBezTo>
                    <a:pt x="226" y="277"/>
                    <a:pt x="226" y="277"/>
                    <a:pt x="226" y="277"/>
                  </a:cubicBezTo>
                  <a:cubicBezTo>
                    <a:pt x="225" y="277"/>
                    <a:pt x="225" y="277"/>
                    <a:pt x="225" y="277"/>
                  </a:cubicBezTo>
                  <a:cubicBezTo>
                    <a:pt x="225" y="276"/>
                    <a:pt x="225" y="276"/>
                    <a:pt x="225" y="276"/>
                  </a:cubicBezTo>
                  <a:cubicBezTo>
                    <a:pt x="223" y="277"/>
                    <a:pt x="223" y="277"/>
                    <a:pt x="223" y="277"/>
                  </a:cubicBezTo>
                  <a:cubicBezTo>
                    <a:pt x="223" y="276"/>
                    <a:pt x="223" y="276"/>
                    <a:pt x="223" y="276"/>
                  </a:cubicBezTo>
                  <a:cubicBezTo>
                    <a:pt x="223" y="276"/>
                    <a:pt x="223" y="276"/>
                    <a:pt x="223" y="276"/>
                  </a:cubicBezTo>
                  <a:cubicBezTo>
                    <a:pt x="224" y="275"/>
                    <a:pt x="224" y="275"/>
                    <a:pt x="224" y="275"/>
                  </a:cubicBezTo>
                  <a:cubicBezTo>
                    <a:pt x="224" y="275"/>
                    <a:pt x="224" y="275"/>
                    <a:pt x="224" y="275"/>
                  </a:cubicBezTo>
                  <a:cubicBezTo>
                    <a:pt x="224" y="275"/>
                    <a:pt x="224" y="275"/>
                    <a:pt x="224" y="275"/>
                  </a:cubicBezTo>
                  <a:cubicBezTo>
                    <a:pt x="224" y="275"/>
                    <a:pt x="224" y="275"/>
                    <a:pt x="224" y="275"/>
                  </a:cubicBezTo>
                  <a:cubicBezTo>
                    <a:pt x="224" y="275"/>
                    <a:pt x="224" y="275"/>
                    <a:pt x="224" y="275"/>
                  </a:cubicBezTo>
                  <a:cubicBezTo>
                    <a:pt x="225" y="275"/>
                    <a:pt x="225" y="275"/>
                    <a:pt x="225" y="275"/>
                  </a:cubicBezTo>
                  <a:cubicBezTo>
                    <a:pt x="225" y="275"/>
                    <a:pt x="225" y="275"/>
                    <a:pt x="225" y="275"/>
                  </a:cubicBezTo>
                  <a:cubicBezTo>
                    <a:pt x="225" y="274"/>
                    <a:pt x="225" y="274"/>
                    <a:pt x="225" y="274"/>
                  </a:cubicBezTo>
                  <a:cubicBezTo>
                    <a:pt x="225" y="274"/>
                    <a:pt x="225" y="274"/>
                    <a:pt x="225" y="274"/>
                  </a:cubicBezTo>
                  <a:cubicBezTo>
                    <a:pt x="225" y="274"/>
                    <a:pt x="225" y="274"/>
                    <a:pt x="225" y="274"/>
                  </a:cubicBezTo>
                  <a:cubicBezTo>
                    <a:pt x="226" y="273"/>
                    <a:pt x="226" y="273"/>
                    <a:pt x="226" y="273"/>
                  </a:cubicBezTo>
                  <a:cubicBezTo>
                    <a:pt x="226" y="272"/>
                    <a:pt x="226" y="272"/>
                    <a:pt x="226" y="272"/>
                  </a:cubicBezTo>
                  <a:cubicBezTo>
                    <a:pt x="231" y="271"/>
                    <a:pt x="231" y="271"/>
                    <a:pt x="231" y="271"/>
                  </a:cubicBezTo>
                  <a:cubicBezTo>
                    <a:pt x="231" y="270"/>
                    <a:pt x="231" y="270"/>
                    <a:pt x="231" y="270"/>
                  </a:cubicBezTo>
                  <a:cubicBezTo>
                    <a:pt x="232" y="270"/>
                    <a:pt x="232" y="270"/>
                    <a:pt x="232" y="270"/>
                  </a:cubicBezTo>
                  <a:cubicBezTo>
                    <a:pt x="232" y="270"/>
                    <a:pt x="232" y="270"/>
                    <a:pt x="232" y="270"/>
                  </a:cubicBezTo>
                  <a:cubicBezTo>
                    <a:pt x="233" y="270"/>
                    <a:pt x="233" y="270"/>
                    <a:pt x="233" y="270"/>
                  </a:cubicBezTo>
                  <a:cubicBezTo>
                    <a:pt x="233" y="269"/>
                    <a:pt x="233" y="269"/>
                    <a:pt x="233" y="269"/>
                  </a:cubicBezTo>
                  <a:cubicBezTo>
                    <a:pt x="233" y="270"/>
                    <a:pt x="233" y="270"/>
                    <a:pt x="233" y="270"/>
                  </a:cubicBezTo>
                  <a:cubicBezTo>
                    <a:pt x="234" y="270"/>
                    <a:pt x="234" y="270"/>
                    <a:pt x="234" y="270"/>
                  </a:cubicBezTo>
                  <a:cubicBezTo>
                    <a:pt x="234" y="270"/>
                    <a:pt x="234" y="270"/>
                    <a:pt x="234" y="270"/>
                  </a:cubicBezTo>
                  <a:cubicBezTo>
                    <a:pt x="235" y="269"/>
                    <a:pt x="235" y="269"/>
                    <a:pt x="235" y="269"/>
                  </a:cubicBezTo>
                  <a:cubicBezTo>
                    <a:pt x="235" y="269"/>
                    <a:pt x="235" y="269"/>
                    <a:pt x="235" y="269"/>
                  </a:cubicBezTo>
                  <a:cubicBezTo>
                    <a:pt x="236" y="269"/>
                    <a:pt x="236" y="269"/>
                    <a:pt x="236" y="269"/>
                  </a:cubicBezTo>
                  <a:cubicBezTo>
                    <a:pt x="236" y="269"/>
                    <a:pt x="236" y="269"/>
                    <a:pt x="236" y="269"/>
                  </a:cubicBezTo>
                  <a:cubicBezTo>
                    <a:pt x="236" y="269"/>
                    <a:pt x="236" y="269"/>
                    <a:pt x="236" y="269"/>
                  </a:cubicBezTo>
                  <a:cubicBezTo>
                    <a:pt x="236" y="269"/>
                    <a:pt x="236" y="269"/>
                    <a:pt x="236" y="269"/>
                  </a:cubicBezTo>
                  <a:cubicBezTo>
                    <a:pt x="237" y="269"/>
                    <a:pt x="237" y="269"/>
                    <a:pt x="237" y="269"/>
                  </a:cubicBezTo>
                  <a:cubicBezTo>
                    <a:pt x="237" y="268"/>
                    <a:pt x="237" y="268"/>
                    <a:pt x="237" y="268"/>
                  </a:cubicBezTo>
                  <a:cubicBezTo>
                    <a:pt x="238" y="268"/>
                    <a:pt x="238" y="268"/>
                    <a:pt x="238" y="268"/>
                  </a:cubicBezTo>
                  <a:cubicBezTo>
                    <a:pt x="240" y="268"/>
                    <a:pt x="240" y="268"/>
                    <a:pt x="240" y="268"/>
                  </a:cubicBezTo>
                  <a:cubicBezTo>
                    <a:pt x="241" y="268"/>
                    <a:pt x="241" y="268"/>
                    <a:pt x="241" y="268"/>
                  </a:cubicBezTo>
                  <a:cubicBezTo>
                    <a:pt x="242" y="268"/>
                    <a:pt x="242" y="268"/>
                    <a:pt x="242" y="268"/>
                  </a:cubicBezTo>
                  <a:cubicBezTo>
                    <a:pt x="242" y="268"/>
                    <a:pt x="242" y="268"/>
                    <a:pt x="242" y="268"/>
                  </a:cubicBezTo>
                  <a:cubicBezTo>
                    <a:pt x="242" y="268"/>
                    <a:pt x="242" y="268"/>
                    <a:pt x="242" y="268"/>
                  </a:cubicBezTo>
                  <a:cubicBezTo>
                    <a:pt x="242" y="268"/>
                    <a:pt x="242" y="268"/>
                    <a:pt x="242" y="268"/>
                  </a:cubicBezTo>
                  <a:cubicBezTo>
                    <a:pt x="244" y="267"/>
                    <a:pt x="244" y="267"/>
                    <a:pt x="244" y="267"/>
                  </a:cubicBezTo>
                  <a:cubicBezTo>
                    <a:pt x="244" y="267"/>
                    <a:pt x="244" y="267"/>
                    <a:pt x="244" y="267"/>
                  </a:cubicBezTo>
                  <a:cubicBezTo>
                    <a:pt x="244" y="266"/>
                    <a:pt x="244" y="266"/>
                    <a:pt x="244" y="266"/>
                  </a:cubicBezTo>
                  <a:cubicBezTo>
                    <a:pt x="244" y="266"/>
                    <a:pt x="244" y="266"/>
                    <a:pt x="244" y="266"/>
                  </a:cubicBezTo>
                  <a:cubicBezTo>
                    <a:pt x="244" y="266"/>
                    <a:pt x="244" y="266"/>
                    <a:pt x="244" y="266"/>
                  </a:cubicBezTo>
                  <a:cubicBezTo>
                    <a:pt x="243" y="266"/>
                    <a:pt x="243" y="266"/>
                    <a:pt x="243" y="266"/>
                  </a:cubicBezTo>
                  <a:cubicBezTo>
                    <a:pt x="243" y="265"/>
                    <a:pt x="243" y="265"/>
                    <a:pt x="243" y="265"/>
                  </a:cubicBezTo>
                  <a:cubicBezTo>
                    <a:pt x="242" y="265"/>
                    <a:pt x="242" y="265"/>
                    <a:pt x="242" y="265"/>
                  </a:cubicBezTo>
                  <a:cubicBezTo>
                    <a:pt x="242" y="265"/>
                    <a:pt x="242" y="265"/>
                    <a:pt x="242" y="265"/>
                  </a:cubicBezTo>
                  <a:cubicBezTo>
                    <a:pt x="242" y="264"/>
                    <a:pt x="242" y="264"/>
                    <a:pt x="242" y="264"/>
                  </a:cubicBezTo>
                  <a:cubicBezTo>
                    <a:pt x="242" y="264"/>
                    <a:pt x="242" y="264"/>
                    <a:pt x="242" y="264"/>
                  </a:cubicBezTo>
                  <a:cubicBezTo>
                    <a:pt x="241" y="263"/>
                    <a:pt x="241" y="263"/>
                    <a:pt x="241" y="263"/>
                  </a:cubicBezTo>
                  <a:cubicBezTo>
                    <a:pt x="241" y="263"/>
                    <a:pt x="241" y="263"/>
                    <a:pt x="241" y="263"/>
                  </a:cubicBezTo>
                  <a:cubicBezTo>
                    <a:pt x="241" y="263"/>
                    <a:pt x="241" y="263"/>
                    <a:pt x="241" y="263"/>
                  </a:cubicBezTo>
                  <a:cubicBezTo>
                    <a:pt x="241" y="263"/>
                    <a:pt x="241" y="263"/>
                    <a:pt x="241" y="263"/>
                  </a:cubicBezTo>
                  <a:cubicBezTo>
                    <a:pt x="241" y="263"/>
                    <a:pt x="241" y="263"/>
                    <a:pt x="241" y="263"/>
                  </a:cubicBezTo>
                  <a:cubicBezTo>
                    <a:pt x="241" y="263"/>
                    <a:pt x="241" y="263"/>
                    <a:pt x="241" y="263"/>
                  </a:cubicBezTo>
                  <a:cubicBezTo>
                    <a:pt x="241" y="262"/>
                    <a:pt x="241" y="262"/>
                    <a:pt x="241" y="262"/>
                  </a:cubicBezTo>
                  <a:cubicBezTo>
                    <a:pt x="241" y="262"/>
                    <a:pt x="241" y="262"/>
                    <a:pt x="241" y="262"/>
                  </a:cubicBezTo>
                  <a:cubicBezTo>
                    <a:pt x="241" y="262"/>
                    <a:pt x="241" y="262"/>
                    <a:pt x="241" y="262"/>
                  </a:cubicBezTo>
                  <a:cubicBezTo>
                    <a:pt x="241" y="262"/>
                    <a:pt x="241" y="262"/>
                    <a:pt x="241" y="262"/>
                  </a:cubicBezTo>
                  <a:cubicBezTo>
                    <a:pt x="241" y="260"/>
                    <a:pt x="241" y="260"/>
                    <a:pt x="241" y="260"/>
                  </a:cubicBezTo>
                  <a:cubicBezTo>
                    <a:pt x="241" y="260"/>
                    <a:pt x="241" y="260"/>
                    <a:pt x="241" y="260"/>
                  </a:cubicBezTo>
                  <a:cubicBezTo>
                    <a:pt x="241" y="260"/>
                    <a:pt x="241" y="260"/>
                    <a:pt x="241" y="260"/>
                  </a:cubicBezTo>
                  <a:cubicBezTo>
                    <a:pt x="241" y="260"/>
                    <a:pt x="241" y="260"/>
                    <a:pt x="241" y="260"/>
                  </a:cubicBezTo>
                  <a:cubicBezTo>
                    <a:pt x="241" y="260"/>
                    <a:pt x="241" y="260"/>
                    <a:pt x="241" y="260"/>
                  </a:cubicBezTo>
                  <a:cubicBezTo>
                    <a:pt x="239" y="260"/>
                    <a:pt x="239" y="260"/>
                    <a:pt x="239" y="260"/>
                  </a:cubicBezTo>
                  <a:cubicBezTo>
                    <a:pt x="239" y="261"/>
                    <a:pt x="239" y="261"/>
                    <a:pt x="239" y="261"/>
                  </a:cubicBezTo>
                  <a:cubicBezTo>
                    <a:pt x="239" y="261"/>
                    <a:pt x="239" y="261"/>
                    <a:pt x="239" y="261"/>
                  </a:cubicBezTo>
                  <a:cubicBezTo>
                    <a:pt x="238" y="262"/>
                    <a:pt x="238" y="262"/>
                    <a:pt x="238" y="262"/>
                  </a:cubicBezTo>
                  <a:cubicBezTo>
                    <a:pt x="238" y="262"/>
                    <a:pt x="238" y="262"/>
                    <a:pt x="238" y="262"/>
                  </a:cubicBezTo>
                  <a:cubicBezTo>
                    <a:pt x="237" y="262"/>
                    <a:pt x="237" y="262"/>
                    <a:pt x="237" y="262"/>
                  </a:cubicBezTo>
                  <a:cubicBezTo>
                    <a:pt x="237" y="262"/>
                    <a:pt x="237" y="262"/>
                    <a:pt x="237" y="262"/>
                  </a:cubicBezTo>
                  <a:cubicBezTo>
                    <a:pt x="236" y="262"/>
                    <a:pt x="236" y="262"/>
                    <a:pt x="236" y="262"/>
                  </a:cubicBezTo>
                  <a:cubicBezTo>
                    <a:pt x="236" y="262"/>
                    <a:pt x="236" y="262"/>
                    <a:pt x="236" y="262"/>
                  </a:cubicBezTo>
                  <a:cubicBezTo>
                    <a:pt x="234" y="262"/>
                    <a:pt x="234" y="262"/>
                    <a:pt x="234" y="262"/>
                  </a:cubicBezTo>
                  <a:cubicBezTo>
                    <a:pt x="233" y="262"/>
                    <a:pt x="233" y="262"/>
                    <a:pt x="233" y="262"/>
                  </a:cubicBezTo>
                  <a:cubicBezTo>
                    <a:pt x="232" y="262"/>
                    <a:pt x="232" y="262"/>
                    <a:pt x="232" y="262"/>
                  </a:cubicBezTo>
                  <a:cubicBezTo>
                    <a:pt x="231" y="262"/>
                    <a:pt x="231" y="262"/>
                    <a:pt x="231" y="262"/>
                  </a:cubicBezTo>
                  <a:cubicBezTo>
                    <a:pt x="231" y="261"/>
                    <a:pt x="231" y="261"/>
                    <a:pt x="231" y="261"/>
                  </a:cubicBezTo>
                  <a:cubicBezTo>
                    <a:pt x="230" y="261"/>
                    <a:pt x="230" y="261"/>
                    <a:pt x="230" y="261"/>
                  </a:cubicBezTo>
                  <a:cubicBezTo>
                    <a:pt x="231" y="260"/>
                    <a:pt x="231" y="260"/>
                    <a:pt x="231" y="260"/>
                  </a:cubicBezTo>
                  <a:cubicBezTo>
                    <a:pt x="231" y="259"/>
                    <a:pt x="231" y="259"/>
                    <a:pt x="231" y="259"/>
                  </a:cubicBezTo>
                  <a:cubicBezTo>
                    <a:pt x="232" y="257"/>
                    <a:pt x="232" y="257"/>
                    <a:pt x="232" y="257"/>
                  </a:cubicBezTo>
                  <a:cubicBezTo>
                    <a:pt x="232" y="257"/>
                    <a:pt x="232" y="257"/>
                    <a:pt x="232" y="257"/>
                  </a:cubicBezTo>
                  <a:cubicBezTo>
                    <a:pt x="232" y="256"/>
                    <a:pt x="232" y="256"/>
                    <a:pt x="232" y="256"/>
                  </a:cubicBezTo>
                  <a:cubicBezTo>
                    <a:pt x="232" y="256"/>
                    <a:pt x="232" y="256"/>
                    <a:pt x="232" y="256"/>
                  </a:cubicBezTo>
                  <a:cubicBezTo>
                    <a:pt x="232" y="255"/>
                    <a:pt x="232" y="255"/>
                    <a:pt x="232" y="255"/>
                  </a:cubicBezTo>
                  <a:cubicBezTo>
                    <a:pt x="232" y="255"/>
                    <a:pt x="232" y="255"/>
                    <a:pt x="232" y="255"/>
                  </a:cubicBezTo>
                  <a:cubicBezTo>
                    <a:pt x="233" y="255"/>
                    <a:pt x="233" y="255"/>
                    <a:pt x="233" y="255"/>
                  </a:cubicBezTo>
                  <a:cubicBezTo>
                    <a:pt x="233" y="255"/>
                    <a:pt x="233" y="255"/>
                    <a:pt x="233" y="255"/>
                  </a:cubicBezTo>
                  <a:cubicBezTo>
                    <a:pt x="233" y="255"/>
                    <a:pt x="233" y="255"/>
                    <a:pt x="233" y="255"/>
                  </a:cubicBezTo>
                  <a:cubicBezTo>
                    <a:pt x="233" y="254"/>
                    <a:pt x="233" y="254"/>
                    <a:pt x="233" y="254"/>
                  </a:cubicBezTo>
                  <a:cubicBezTo>
                    <a:pt x="233" y="254"/>
                    <a:pt x="233" y="254"/>
                    <a:pt x="233" y="254"/>
                  </a:cubicBezTo>
                  <a:cubicBezTo>
                    <a:pt x="234" y="254"/>
                    <a:pt x="234" y="254"/>
                    <a:pt x="234" y="254"/>
                  </a:cubicBezTo>
                  <a:cubicBezTo>
                    <a:pt x="234" y="253"/>
                    <a:pt x="234" y="253"/>
                    <a:pt x="234" y="253"/>
                  </a:cubicBezTo>
                  <a:cubicBezTo>
                    <a:pt x="235" y="253"/>
                    <a:pt x="235" y="253"/>
                    <a:pt x="235" y="253"/>
                  </a:cubicBezTo>
                  <a:cubicBezTo>
                    <a:pt x="235" y="253"/>
                    <a:pt x="235" y="253"/>
                    <a:pt x="235" y="253"/>
                  </a:cubicBezTo>
                  <a:cubicBezTo>
                    <a:pt x="235" y="253"/>
                    <a:pt x="235" y="253"/>
                    <a:pt x="235" y="253"/>
                  </a:cubicBezTo>
                  <a:cubicBezTo>
                    <a:pt x="235" y="253"/>
                    <a:pt x="235" y="253"/>
                    <a:pt x="235" y="253"/>
                  </a:cubicBezTo>
                  <a:cubicBezTo>
                    <a:pt x="236" y="252"/>
                    <a:pt x="236" y="252"/>
                    <a:pt x="236" y="252"/>
                  </a:cubicBezTo>
                  <a:cubicBezTo>
                    <a:pt x="237" y="251"/>
                    <a:pt x="237" y="251"/>
                    <a:pt x="237" y="251"/>
                  </a:cubicBezTo>
                  <a:cubicBezTo>
                    <a:pt x="238" y="250"/>
                    <a:pt x="238" y="250"/>
                    <a:pt x="238" y="250"/>
                  </a:cubicBezTo>
                  <a:cubicBezTo>
                    <a:pt x="238" y="250"/>
                    <a:pt x="238" y="250"/>
                    <a:pt x="238" y="250"/>
                  </a:cubicBezTo>
                  <a:cubicBezTo>
                    <a:pt x="238" y="250"/>
                    <a:pt x="238" y="250"/>
                    <a:pt x="238" y="250"/>
                  </a:cubicBezTo>
                  <a:cubicBezTo>
                    <a:pt x="238" y="249"/>
                    <a:pt x="238" y="249"/>
                    <a:pt x="238" y="249"/>
                  </a:cubicBezTo>
                  <a:cubicBezTo>
                    <a:pt x="238" y="249"/>
                    <a:pt x="238" y="249"/>
                    <a:pt x="238" y="249"/>
                  </a:cubicBezTo>
                  <a:cubicBezTo>
                    <a:pt x="238" y="249"/>
                    <a:pt x="238" y="249"/>
                    <a:pt x="238" y="249"/>
                  </a:cubicBezTo>
                  <a:cubicBezTo>
                    <a:pt x="238" y="249"/>
                    <a:pt x="238" y="249"/>
                    <a:pt x="238" y="249"/>
                  </a:cubicBezTo>
                  <a:cubicBezTo>
                    <a:pt x="239" y="249"/>
                    <a:pt x="239" y="249"/>
                    <a:pt x="239" y="249"/>
                  </a:cubicBezTo>
                  <a:cubicBezTo>
                    <a:pt x="239" y="249"/>
                    <a:pt x="239" y="249"/>
                    <a:pt x="239" y="249"/>
                  </a:cubicBezTo>
                  <a:cubicBezTo>
                    <a:pt x="240" y="248"/>
                    <a:pt x="240" y="248"/>
                    <a:pt x="240" y="248"/>
                  </a:cubicBezTo>
                  <a:cubicBezTo>
                    <a:pt x="240" y="248"/>
                    <a:pt x="240" y="248"/>
                    <a:pt x="240" y="248"/>
                  </a:cubicBezTo>
                  <a:cubicBezTo>
                    <a:pt x="241" y="248"/>
                    <a:pt x="241" y="248"/>
                    <a:pt x="241" y="248"/>
                  </a:cubicBezTo>
                  <a:cubicBezTo>
                    <a:pt x="242" y="248"/>
                    <a:pt x="242" y="248"/>
                    <a:pt x="242" y="248"/>
                  </a:cubicBezTo>
                  <a:cubicBezTo>
                    <a:pt x="242" y="247"/>
                    <a:pt x="242" y="247"/>
                    <a:pt x="242" y="247"/>
                  </a:cubicBezTo>
                  <a:cubicBezTo>
                    <a:pt x="244" y="246"/>
                    <a:pt x="244" y="246"/>
                    <a:pt x="244" y="246"/>
                  </a:cubicBezTo>
                  <a:cubicBezTo>
                    <a:pt x="245" y="246"/>
                    <a:pt x="245" y="246"/>
                    <a:pt x="245" y="246"/>
                  </a:cubicBezTo>
                  <a:cubicBezTo>
                    <a:pt x="245" y="246"/>
                    <a:pt x="245" y="246"/>
                    <a:pt x="245" y="246"/>
                  </a:cubicBezTo>
                  <a:cubicBezTo>
                    <a:pt x="246" y="246"/>
                    <a:pt x="246" y="246"/>
                    <a:pt x="246" y="246"/>
                  </a:cubicBezTo>
                  <a:cubicBezTo>
                    <a:pt x="247" y="246"/>
                    <a:pt x="247" y="246"/>
                    <a:pt x="247" y="246"/>
                  </a:cubicBezTo>
                  <a:cubicBezTo>
                    <a:pt x="247" y="245"/>
                    <a:pt x="247" y="245"/>
                    <a:pt x="247" y="245"/>
                  </a:cubicBezTo>
                  <a:cubicBezTo>
                    <a:pt x="249" y="244"/>
                    <a:pt x="249" y="244"/>
                    <a:pt x="249" y="244"/>
                  </a:cubicBezTo>
                  <a:cubicBezTo>
                    <a:pt x="253" y="243"/>
                    <a:pt x="253" y="243"/>
                    <a:pt x="253" y="243"/>
                  </a:cubicBezTo>
                  <a:cubicBezTo>
                    <a:pt x="253" y="243"/>
                    <a:pt x="253" y="243"/>
                    <a:pt x="253" y="243"/>
                  </a:cubicBezTo>
                  <a:cubicBezTo>
                    <a:pt x="255" y="243"/>
                    <a:pt x="255" y="243"/>
                    <a:pt x="255" y="243"/>
                  </a:cubicBezTo>
                  <a:cubicBezTo>
                    <a:pt x="256" y="242"/>
                    <a:pt x="256" y="242"/>
                    <a:pt x="256" y="242"/>
                  </a:cubicBezTo>
                  <a:cubicBezTo>
                    <a:pt x="256" y="242"/>
                    <a:pt x="256" y="242"/>
                    <a:pt x="256" y="242"/>
                  </a:cubicBezTo>
                  <a:cubicBezTo>
                    <a:pt x="257" y="242"/>
                    <a:pt x="257" y="242"/>
                    <a:pt x="257" y="242"/>
                  </a:cubicBezTo>
                  <a:cubicBezTo>
                    <a:pt x="258" y="242"/>
                    <a:pt x="258" y="242"/>
                    <a:pt x="258" y="242"/>
                  </a:cubicBezTo>
                  <a:cubicBezTo>
                    <a:pt x="258" y="241"/>
                    <a:pt x="258" y="241"/>
                    <a:pt x="258" y="241"/>
                  </a:cubicBezTo>
                  <a:cubicBezTo>
                    <a:pt x="257" y="241"/>
                    <a:pt x="257" y="241"/>
                    <a:pt x="257" y="241"/>
                  </a:cubicBezTo>
                  <a:cubicBezTo>
                    <a:pt x="257" y="241"/>
                    <a:pt x="257" y="241"/>
                    <a:pt x="257" y="241"/>
                  </a:cubicBezTo>
                  <a:cubicBezTo>
                    <a:pt x="257" y="241"/>
                    <a:pt x="257" y="241"/>
                    <a:pt x="257" y="241"/>
                  </a:cubicBezTo>
                  <a:cubicBezTo>
                    <a:pt x="257" y="241"/>
                    <a:pt x="257" y="241"/>
                    <a:pt x="257" y="241"/>
                  </a:cubicBezTo>
                  <a:cubicBezTo>
                    <a:pt x="257" y="241"/>
                    <a:pt x="257" y="241"/>
                    <a:pt x="257" y="241"/>
                  </a:cubicBezTo>
                  <a:cubicBezTo>
                    <a:pt x="258" y="241"/>
                    <a:pt x="258" y="241"/>
                    <a:pt x="258" y="241"/>
                  </a:cubicBezTo>
                  <a:cubicBezTo>
                    <a:pt x="258" y="241"/>
                    <a:pt x="258" y="241"/>
                    <a:pt x="258" y="241"/>
                  </a:cubicBezTo>
                  <a:cubicBezTo>
                    <a:pt x="258" y="241"/>
                    <a:pt x="258" y="241"/>
                    <a:pt x="258" y="241"/>
                  </a:cubicBezTo>
                  <a:cubicBezTo>
                    <a:pt x="259" y="241"/>
                    <a:pt x="259" y="241"/>
                    <a:pt x="259" y="241"/>
                  </a:cubicBezTo>
                  <a:cubicBezTo>
                    <a:pt x="260" y="241"/>
                    <a:pt x="260" y="241"/>
                    <a:pt x="260" y="241"/>
                  </a:cubicBezTo>
                  <a:cubicBezTo>
                    <a:pt x="260" y="241"/>
                    <a:pt x="260" y="241"/>
                    <a:pt x="260" y="241"/>
                  </a:cubicBezTo>
                  <a:cubicBezTo>
                    <a:pt x="259" y="241"/>
                    <a:pt x="259" y="241"/>
                    <a:pt x="259" y="241"/>
                  </a:cubicBezTo>
                  <a:cubicBezTo>
                    <a:pt x="259" y="241"/>
                    <a:pt x="259" y="241"/>
                    <a:pt x="259" y="241"/>
                  </a:cubicBezTo>
                  <a:cubicBezTo>
                    <a:pt x="259" y="241"/>
                    <a:pt x="259" y="241"/>
                    <a:pt x="259" y="241"/>
                  </a:cubicBezTo>
                  <a:cubicBezTo>
                    <a:pt x="259" y="241"/>
                    <a:pt x="259" y="241"/>
                    <a:pt x="259" y="241"/>
                  </a:cubicBezTo>
                  <a:cubicBezTo>
                    <a:pt x="261" y="242"/>
                    <a:pt x="261" y="242"/>
                    <a:pt x="261" y="242"/>
                  </a:cubicBezTo>
                  <a:cubicBezTo>
                    <a:pt x="261" y="242"/>
                    <a:pt x="261" y="242"/>
                    <a:pt x="261" y="242"/>
                  </a:cubicBezTo>
                  <a:cubicBezTo>
                    <a:pt x="261" y="242"/>
                    <a:pt x="261" y="242"/>
                    <a:pt x="261" y="242"/>
                  </a:cubicBezTo>
                  <a:cubicBezTo>
                    <a:pt x="262" y="241"/>
                    <a:pt x="262" y="241"/>
                    <a:pt x="262" y="241"/>
                  </a:cubicBezTo>
                  <a:cubicBezTo>
                    <a:pt x="263" y="241"/>
                    <a:pt x="263" y="241"/>
                    <a:pt x="263" y="241"/>
                  </a:cubicBezTo>
                  <a:cubicBezTo>
                    <a:pt x="263" y="241"/>
                    <a:pt x="263" y="241"/>
                    <a:pt x="263" y="241"/>
                  </a:cubicBezTo>
                  <a:cubicBezTo>
                    <a:pt x="264" y="241"/>
                    <a:pt x="264" y="241"/>
                    <a:pt x="264" y="241"/>
                  </a:cubicBezTo>
                  <a:cubicBezTo>
                    <a:pt x="264" y="241"/>
                    <a:pt x="264" y="241"/>
                    <a:pt x="264" y="241"/>
                  </a:cubicBezTo>
                  <a:cubicBezTo>
                    <a:pt x="264" y="241"/>
                    <a:pt x="264" y="241"/>
                    <a:pt x="264" y="241"/>
                  </a:cubicBezTo>
                  <a:cubicBezTo>
                    <a:pt x="263" y="242"/>
                    <a:pt x="263" y="242"/>
                    <a:pt x="263" y="242"/>
                  </a:cubicBezTo>
                  <a:cubicBezTo>
                    <a:pt x="263" y="241"/>
                    <a:pt x="263" y="241"/>
                    <a:pt x="263" y="241"/>
                  </a:cubicBezTo>
                  <a:cubicBezTo>
                    <a:pt x="263" y="242"/>
                    <a:pt x="263" y="242"/>
                    <a:pt x="263" y="242"/>
                  </a:cubicBezTo>
                  <a:cubicBezTo>
                    <a:pt x="264" y="242"/>
                    <a:pt x="264" y="242"/>
                    <a:pt x="264" y="242"/>
                  </a:cubicBezTo>
                  <a:cubicBezTo>
                    <a:pt x="265" y="241"/>
                    <a:pt x="265" y="241"/>
                    <a:pt x="265" y="241"/>
                  </a:cubicBezTo>
                  <a:cubicBezTo>
                    <a:pt x="265" y="241"/>
                    <a:pt x="265" y="241"/>
                    <a:pt x="265" y="241"/>
                  </a:cubicBezTo>
                  <a:cubicBezTo>
                    <a:pt x="265" y="241"/>
                    <a:pt x="265" y="241"/>
                    <a:pt x="265" y="241"/>
                  </a:cubicBezTo>
                  <a:cubicBezTo>
                    <a:pt x="264" y="243"/>
                    <a:pt x="264" y="243"/>
                    <a:pt x="264" y="243"/>
                  </a:cubicBezTo>
                  <a:cubicBezTo>
                    <a:pt x="265" y="243"/>
                    <a:pt x="265" y="243"/>
                    <a:pt x="265" y="243"/>
                  </a:cubicBezTo>
                  <a:cubicBezTo>
                    <a:pt x="265" y="243"/>
                    <a:pt x="265" y="243"/>
                    <a:pt x="265" y="243"/>
                  </a:cubicBezTo>
                  <a:cubicBezTo>
                    <a:pt x="265" y="243"/>
                    <a:pt x="265" y="243"/>
                    <a:pt x="265" y="243"/>
                  </a:cubicBezTo>
                  <a:cubicBezTo>
                    <a:pt x="265" y="243"/>
                    <a:pt x="265" y="243"/>
                    <a:pt x="265" y="243"/>
                  </a:cubicBezTo>
                  <a:cubicBezTo>
                    <a:pt x="265" y="243"/>
                    <a:pt x="265" y="243"/>
                    <a:pt x="265" y="243"/>
                  </a:cubicBezTo>
                  <a:cubicBezTo>
                    <a:pt x="266" y="243"/>
                    <a:pt x="266" y="243"/>
                    <a:pt x="266" y="243"/>
                  </a:cubicBezTo>
                  <a:cubicBezTo>
                    <a:pt x="266" y="243"/>
                    <a:pt x="266" y="243"/>
                    <a:pt x="266" y="243"/>
                  </a:cubicBezTo>
                  <a:cubicBezTo>
                    <a:pt x="266" y="243"/>
                    <a:pt x="266" y="243"/>
                    <a:pt x="266" y="243"/>
                  </a:cubicBezTo>
                  <a:cubicBezTo>
                    <a:pt x="266" y="243"/>
                    <a:pt x="266" y="243"/>
                    <a:pt x="266" y="243"/>
                  </a:cubicBezTo>
                  <a:cubicBezTo>
                    <a:pt x="266" y="242"/>
                    <a:pt x="266" y="242"/>
                    <a:pt x="266" y="242"/>
                  </a:cubicBezTo>
                  <a:cubicBezTo>
                    <a:pt x="267" y="242"/>
                    <a:pt x="267" y="242"/>
                    <a:pt x="267" y="242"/>
                  </a:cubicBezTo>
                  <a:cubicBezTo>
                    <a:pt x="268" y="241"/>
                    <a:pt x="268" y="241"/>
                    <a:pt x="268" y="241"/>
                  </a:cubicBezTo>
                  <a:cubicBezTo>
                    <a:pt x="269" y="241"/>
                    <a:pt x="269" y="241"/>
                    <a:pt x="269" y="241"/>
                  </a:cubicBezTo>
                  <a:cubicBezTo>
                    <a:pt x="269" y="240"/>
                    <a:pt x="269" y="240"/>
                    <a:pt x="269" y="240"/>
                  </a:cubicBezTo>
                  <a:cubicBezTo>
                    <a:pt x="269" y="240"/>
                    <a:pt x="269" y="240"/>
                    <a:pt x="269" y="240"/>
                  </a:cubicBezTo>
                  <a:cubicBezTo>
                    <a:pt x="270" y="240"/>
                    <a:pt x="270" y="240"/>
                    <a:pt x="270" y="240"/>
                  </a:cubicBezTo>
                  <a:cubicBezTo>
                    <a:pt x="269" y="240"/>
                    <a:pt x="269" y="240"/>
                    <a:pt x="269" y="240"/>
                  </a:cubicBezTo>
                  <a:cubicBezTo>
                    <a:pt x="269" y="240"/>
                    <a:pt x="269" y="240"/>
                    <a:pt x="269" y="240"/>
                  </a:cubicBezTo>
                  <a:cubicBezTo>
                    <a:pt x="268" y="240"/>
                    <a:pt x="268" y="240"/>
                    <a:pt x="268" y="240"/>
                  </a:cubicBezTo>
                  <a:cubicBezTo>
                    <a:pt x="267" y="240"/>
                    <a:pt x="267" y="240"/>
                    <a:pt x="267" y="240"/>
                  </a:cubicBezTo>
                  <a:cubicBezTo>
                    <a:pt x="267" y="241"/>
                    <a:pt x="267" y="241"/>
                    <a:pt x="267" y="241"/>
                  </a:cubicBezTo>
                  <a:cubicBezTo>
                    <a:pt x="267" y="241"/>
                    <a:pt x="267" y="241"/>
                    <a:pt x="267" y="241"/>
                  </a:cubicBezTo>
                  <a:cubicBezTo>
                    <a:pt x="267" y="241"/>
                    <a:pt x="267" y="241"/>
                    <a:pt x="267" y="241"/>
                  </a:cubicBezTo>
                  <a:cubicBezTo>
                    <a:pt x="267" y="240"/>
                    <a:pt x="267" y="240"/>
                    <a:pt x="267" y="240"/>
                  </a:cubicBezTo>
                  <a:cubicBezTo>
                    <a:pt x="267" y="240"/>
                    <a:pt x="267" y="240"/>
                    <a:pt x="267" y="240"/>
                  </a:cubicBezTo>
                  <a:cubicBezTo>
                    <a:pt x="267" y="240"/>
                    <a:pt x="267" y="240"/>
                    <a:pt x="267" y="240"/>
                  </a:cubicBezTo>
                  <a:cubicBezTo>
                    <a:pt x="267" y="239"/>
                    <a:pt x="267" y="239"/>
                    <a:pt x="267" y="239"/>
                  </a:cubicBezTo>
                  <a:cubicBezTo>
                    <a:pt x="268" y="239"/>
                    <a:pt x="268" y="239"/>
                    <a:pt x="268" y="239"/>
                  </a:cubicBezTo>
                  <a:cubicBezTo>
                    <a:pt x="268" y="238"/>
                    <a:pt x="268" y="238"/>
                    <a:pt x="268" y="238"/>
                  </a:cubicBezTo>
                  <a:cubicBezTo>
                    <a:pt x="268" y="238"/>
                    <a:pt x="268" y="238"/>
                    <a:pt x="268" y="238"/>
                  </a:cubicBezTo>
                  <a:cubicBezTo>
                    <a:pt x="268" y="238"/>
                    <a:pt x="268" y="238"/>
                    <a:pt x="268" y="238"/>
                  </a:cubicBezTo>
                  <a:cubicBezTo>
                    <a:pt x="268" y="238"/>
                    <a:pt x="268" y="238"/>
                    <a:pt x="268" y="238"/>
                  </a:cubicBezTo>
                  <a:cubicBezTo>
                    <a:pt x="269" y="238"/>
                    <a:pt x="269" y="238"/>
                    <a:pt x="269" y="238"/>
                  </a:cubicBezTo>
                  <a:cubicBezTo>
                    <a:pt x="269" y="237"/>
                    <a:pt x="269" y="237"/>
                    <a:pt x="269" y="237"/>
                  </a:cubicBezTo>
                  <a:cubicBezTo>
                    <a:pt x="269" y="237"/>
                    <a:pt x="269" y="237"/>
                    <a:pt x="269" y="237"/>
                  </a:cubicBezTo>
                  <a:cubicBezTo>
                    <a:pt x="269" y="237"/>
                    <a:pt x="269" y="237"/>
                    <a:pt x="269" y="237"/>
                  </a:cubicBezTo>
                  <a:cubicBezTo>
                    <a:pt x="269" y="237"/>
                    <a:pt x="269" y="237"/>
                    <a:pt x="269" y="237"/>
                  </a:cubicBezTo>
                  <a:cubicBezTo>
                    <a:pt x="268" y="237"/>
                    <a:pt x="268" y="237"/>
                    <a:pt x="268" y="237"/>
                  </a:cubicBezTo>
                  <a:cubicBezTo>
                    <a:pt x="268" y="238"/>
                    <a:pt x="268" y="238"/>
                    <a:pt x="268" y="238"/>
                  </a:cubicBezTo>
                  <a:cubicBezTo>
                    <a:pt x="267" y="239"/>
                    <a:pt x="267" y="239"/>
                    <a:pt x="267" y="239"/>
                  </a:cubicBezTo>
                  <a:cubicBezTo>
                    <a:pt x="267" y="239"/>
                    <a:pt x="267" y="239"/>
                    <a:pt x="267" y="239"/>
                  </a:cubicBezTo>
                  <a:cubicBezTo>
                    <a:pt x="266" y="239"/>
                    <a:pt x="266" y="239"/>
                    <a:pt x="266" y="239"/>
                  </a:cubicBezTo>
                  <a:cubicBezTo>
                    <a:pt x="266" y="239"/>
                    <a:pt x="266" y="239"/>
                    <a:pt x="266" y="239"/>
                  </a:cubicBezTo>
                  <a:cubicBezTo>
                    <a:pt x="265" y="239"/>
                    <a:pt x="265" y="239"/>
                    <a:pt x="265" y="239"/>
                  </a:cubicBezTo>
                  <a:cubicBezTo>
                    <a:pt x="265" y="239"/>
                    <a:pt x="265" y="239"/>
                    <a:pt x="265" y="239"/>
                  </a:cubicBezTo>
                  <a:cubicBezTo>
                    <a:pt x="265" y="239"/>
                    <a:pt x="265" y="239"/>
                    <a:pt x="265" y="239"/>
                  </a:cubicBezTo>
                  <a:cubicBezTo>
                    <a:pt x="266" y="238"/>
                    <a:pt x="266" y="238"/>
                    <a:pt x="266" y="238"/>
                  </a:cubicBezTo>
                  <a:cubicBezTo>
                    <a:pt x="266" y="236"/>
                    <a:pt x="266" y="236"/>
                    <a:pt x="266" y="236"/>
                  </a:cubicBezTo>
                  <a:cubicBezTo>
                    <a:pt x="265" y="236"/>
                    <a:pt x="265" y="236"/>
                    <a:pt x="265" y="236"/>
                  </a:cubicBezTo>
                  <a:cubicBezTo>
                    <a:pt x="265" y="237"/>
                    <a:pt x="265" y="237"/>
                    <a:pt x="265" y="237"/>
                  </a:cubicBezTo>
                  <a:cubicBezTo>
                    <a:pt x="264" y="237"/>
                    <a:pt x="264" y="237"/>
                    <a:pt x="264" y="237"/>
                  </a:cubicBezTo>
                  <a:cubicBezTo>
                    <a:pt x="264" y="237"/>
                    <a:pt x="264" y="237"/>
                    <a:pt x="264" y="237"/>
                  </a:cubicBezTo>
                  <a:cubicBezTo>
                    <a:pt x="263" y="237"/>
                    <a:pt x="263" y="237"/>
                    <a:pt x="263" y="237"/>
                  </a:cubicBezTo>
                  <a:cubicBezTo>
                    <a:pt x="263" y="238"/>
                    <a:pt x="263" y="238"/>
                    <a:pt x="263" y="238"/>
                  </a:cubicBezTo>
                  <a:cubicBezTo>
                    <a:pt x="263" y="238"/>
                    <a:pt x="263" y="238"/>
                    <a:pt x="263" y="238"/>
                  </a:cubicBezTo>
                  <a:cubicBezTo>
                    <a:pt x="263" y="238"/>
                    <a:pt x="263" y="238"/>
                    <a:pt x="263" y="238"/>
                  </a:cubicBezTo>
                  <a:cubicBezTo>
                    <a:pt x="263" y="238"/>
                    <a:pt x="263" y="238"/>
                    <a:pt x="263" y="238"/>
                  </a:cubicBezTo>
                  <a:cubicBezTo>
                    <a:pt x="263" y="238"/>
                    <a:pt x="263" y="238"/>
                    <a:pt x="263" y="238"/>
                  </a:cubicBezTo>
                  <a:cubicBezTo>
                    <a:pt x="263" y="238"/>
                    <a:pt x="263" y="238"/>
                    <a:pt x="263" y="238"/>
                  </a:cubicBezTo>
                  <a:cubicBezTo>
                    <a:pt x="263" y="238"/>
                    <a:pt x="263" y="238"/>
                    <a:pt x="263" y="238"/>
                  </a:cubicBezTo>
                  <a:cubicBezTo>
                    <a:pt x="263" y="239"/>
                    <a:pt x="263" y="239"/>
                    <a:pt x="263" y="239"/>
                  </a:cubicBezTo>
                  <a:cubicBezTo>
                    <a:pt x="262" y="239"/>
                    <a:pt x="262" y="239"/>
                    <a:pt x="262" y="239"/>
                  </a:cubicBezTo>
                  <a:cubicBezTo>
                    <a:pt x="262" y="239"/>
                    <a:pt x="262" y="239"/>
                    <a:pt x="262" y="239"/>
                  </a:cubicBezTo>
                  <a:cubicBezTo>
                    <a:pt x="262" y="238"/>
                    <a:pt x="262" y="238"/>
                    <a:pt x="262" y="238"/>
                  </a:cubicBezTo>
                  <a:cubicBezTo>
                    <a:pt x="262" y="238"/>
                    <a:pt x="262" y="238"/>
                    <a:pt x="262" y="238"/>
                  </a:cubicBezTo>
                  <a:cubicBezTo>
                    <a:pt x="262" y="238"/>
                    <a:pt x="262" y="238"/>
                    <a:pt x="262" y="238"/>
                  </a:cubicBezTo>
                  <a:cubicBezTo>
                    <a:pt x="262" y="238"/>
                    <a:pt x="262" y="238"/>
                    <a:pt x="262" y="238"/>
                  </a:cubicBezTo>
                  <a:cubicBezTo>
                    <a:pt x="262" y="238"/>
                    <a:pt x="262" y="238"/>
                    <a:pt x="262" y="238"/>
                  </a:cubicBezTo>
                  <a:cubicBezTo>
                    <a:pt x="262" y="238"/>
                    <a:pt x="262" y="238"/>
                    <a:pt x="262" y="238"/>
                  </a:cubicBezTo>
                  <a:cubicBezTo>
                    <a:pt x="262" y="238"/>
                    <a:pt x="262" y="238"/>
                    <a:pt x="262" y="238"/>
                  </a:cubicBezTo>
                  <a:cubicBezTo>
                    <a:pt x="262" y="238"/>
                    <a:pt x="262" y="238"/>
                    <a:pt x="262" y="238"/>
                  </a:cubicBezTo>
                  <a:cubicBezTo>
                    <a:pt x="262" y="238"/>
                    <a:pt x="262" y="238"/>
                    <a:pt x="262" y="238"/>
                  </a:cubicBezTo>
                  <a:cubicBezTo>
                    <a:pt x="262" y="238"/>
                    <a:pt x="262" y="238"/>
                    <a:pt x="262" y="238"/>
                  </a:cubicBezTo>
                  <a:cubicBezTo>
                    <a:pt x="261" y="238"/>
                    <a:pt x="261" y="238"/>
                    <a:pt x="261" y="238"/>
                  </a:cubicBezTo>
                  <a:cubicBezTo>
                    <a:pt x="261" y="238"/>
                    <a:pt x="261" y="238"/>
                    <a:pt x="261" y="238"/>
                  </a:cubicBezTo>
                  <a:cubicBezTo>
                    <a:pt x="261" y="238"/>
                    <a:pt x="261" y="238"/>
                    <a:pt x="261" y="238"/>
                  </a:cubicBezTo>
                  <a:cubicBezTo>
                    <a:pt x="261" y="238"/>
                    <a:pt x="261" y="238"/>
                    <a:pt x="261" y="238"/>
                  </a:cubicBezTo>
                  <a:cubicBezTo>
                    <a:pt x="260" y="238"/>
                    <a:pt x="260" y="238"/>
                    <a:pt x="260" y="238"/>
                  </a:cubicBezTo>
                  <a:cubicBezTo>
                    <a:pt x="260" y="238"/>
                    <a:pt x="260" y="238"/>
                    <a:pt x="260" y="238"/>
                  </a:cubicBezTo>
                  <a:cubicBezTo>
                    <a:pt x="260" y="239"/>
                    <a:pt x="260" y="239"/>
                    <a:pt x="260" y="239"/>
                  </a:cubicBezTo>
                  <a:cubicBezTo>
                    <a:pt x="259" y="239"/>
                    <a:pt x="259" y="239"/>
                    <a:pt x="259" y="239"/>
                  </a:cubicBezTo>
                  <a:cubicBezTo>
                    <a:pt x="259" y="240"/>
                    <a:pt x="259" y="240"/>
                    <a:pt x="259" y="240"/>
                  </a:cubicBezTo>
                  <a:cubicBezTo>
                    <a:pt x="259" y="239"/>
                    <a:pt x="259" y="239"/>
                    <a:pt x="259" y="239"/>
                  </a:cubicBezTo>
                  <a:cubicBezTo>
                    <a:pt x="259" y="239"/>
                    <a:pt x="259" y="239"/>
                    <a:pt x="259" y="239"/>
                  </a:cubicBezTo>
                  <a:cubicBezTo>
                    <a:pt x="259" y="239"/>
                    <a:pt x="259" y="239"/>
                    <a:pt x="259" y="239"/>
                  </a:cubicBezTo>
                  <a:cubicBezTo>
                    <a:pt x="260" y="239"/>
                    <a:pt x="260" y="239"/>
                    <a:pt x="260" y="239"/>
                  </a:cubicBezTo>
                  <a:cubicBezTo>
                    <a:pt x="261" y="237"/>
                    <a:pt x="261" y="237"/>
                    <a:pt x="261" y="237"/>
                  </a:cubicBezTo>
                  <a:cubicBezTo>
                    <a:pt x="262" y="237"/>
                    <a:pt x="262" y="237"/>
                    <a:pt x="262" y="237"/>
                  </a:cubicBezTo>
                  <a:cubicBezTo>
                    <a:pt x="262" y="237"/>
                    <a:pt x="262" y="237"/>
                    <a:pt x="262" y="237"/>
                  </a:cubicBezTo>
                  <a:cubicBezTo>
                    <a:pt x="262" y="237"/>
                    <a:pt x="262" y="237"/>
                    <a:pt x="262" y="237"/>
                  </a:cubicBezTo>
                  <a:cubicBezTo>
                    <a:pt x="262" y="237"/>
                    <a:pt x="262" y="237"/>
                    <a:pt x="262" y="237"/>
                  </a:cubicBezTo>
                  <a:cubicBezTo>
                    <a:pt x="262" y="237"/>
                    <a:pt x="262" y="237"/>
                    <a:pt x="262" y="237"/>
                  </a:cubicBezTo>
                  <a:cubicBezTo>
                    <a:pt x="262" y="237"/>
                    <a:pt x="262" y="237"/>
                    <a:pt x="262" y="237"/>
                  </a:cubicBezTo>
                  <a:cubicBezTo>
                    <a:pt x="263" y="237"/>
                    <a:pt x="263" y="237"/>
                    <a:pt x="263" y="237"/>
                  </a:cubicBezTo>
                  <a:cubicBezTo>
                    <a:pt x="263" y="237"/>
                    <a:pt x="263" y="237"/>
                    <a:pt x="263" y="237"/>
                  </a:cubicBezTo>
                  <a:cubicBezTo>
                    <a:pt x="263" y="237"/>
                    <a:pt x="263" y="237"/>
                    <a:pt x="263" y="237"/>
                  </a:cubicBezTo>
                  <a:cubicBezTo>
                    <a:pt x="263" y="237"/>
                    <a:pt x="263" y="237"/>
                    <a:pt x="263" y="237"/>
                  </a:cubicBezTo>
                  <a:cubicBezTo>
                    <a:pt x="263" y="237"/>
                    <a:pt x="263" y="237"/>
                    <a:pt x="263" y="237"/>
                  </a:cubicBezTo>
                  <a:cubicBezTo>
                    <a:pt x="263" y="237"/>
                    <a:pt x="263" y="237"/>
                    <a:pt x="263" y="237"/>
                  </a:cubicBezTo>
                  <a:cubicBezTo>
                    <a:pt x="264" y="237"/>
                    <a:pt x="264" y="237"/>
                    <a:pt x="264" y="237"/>
                  </a:cubicBezTo>
                  <a:cubicBezTo>
                    <a:pt x="264" y="237"/>
                    <a:pt x="264" y="237"/>
                    <a:pt x="264" y="237"/>
                  </a:cubicBezTo>
                  <a:cubicBezTo>
                    <a:pt x="264" y="237"/>
                    <a:pt x="264" y="237"/>
                    <a:pt x="264" y="237"/>
                  </a:cubicBezTo>
                  <a:cubicBezTo>
                    <a:pt x="266" y="236"/>
                    <a:pt x="266" y="236"/>
                    <a:pt x="266" y="236"/>
                  </a:cubicBezTo>
                  <a:cubicBezTo>
                    <a:pt x="266" y="235"/>
                    <a:pt x="266" y="235"/>
                    <a:pt x="266" y="235"/>
                  </a:cubicBezTo>
                  <a:cubicBezTo>
                    <a:pt x="266" y="235"/>
                    <a:pt x="266" y="235"/>
                    <a:pt x="266" y="235"/>
                  </a:cubicBezTo>
                  <a:cubicBezTo>
                    <a:pt x="266" y="236"/>
                    <a:pt x="266" y="236"/>
                    <a:pt x="266" y="236"/>
                  </a:cubicBezTo>
                  <a:cubicBezTo>
                    <a:pt x="266" y="236"/>
                    <a:pt x="266" y="236"/>
                    <a:pt x="266" y="236"/>
                  </a:cubicBezTo>
                  <a:cubicBezTo>
                    <a:pt x="266" y="236"/>
                    <a:pt x="266" y="236"/>
                    <a:pt x="266" y="236"/>
                  </a:cubicBezTo>
                  <a:cubicBezTo>
                    <a:pt x="266" y="236"/>
                    <a:pt x="266" y="236"/>
                    <a:pt x="266" y="236"/>
                  </a:cubicBezTo>
                  <a:cubicBezTo>
                    <a:pt x="266" y="236"/>
                    <a:pt x="266" y="236"/>
                    <a:pt x="266" y="236"/>
                  </a:cubicBezTo>
                  <a:cubicBezTo>
                    <a:pt x="266" y="237"/>
                    <a:pt x="266" y="237"/>
                    <a:pt x="266" y="237"/>
                  </a:cubicBezTo>
                  <a:cubicBezTo>
                    <a:pt x="266" y="237"/>
                    <a:pt x="266" y="237"/>
                    <a:pt x="266" y="237"/>
                  </a:cubicBezTo>
                  <a:cubicBezTo>
                    <a:pt x="266" y="237"/>
                    <a:pt x="266" y="237"/>
                    <a:pt x="266" y="237"/>
                  </a:cubicBezTo>
                  <a:cubicBezTo>
                    <a:pt x="268" y="235"/>
                    <a:pt x="268" y="235"/>
                    <a:pt x="268" y="235"/>
                  </a:cubicBezTo>
                  <a:cubicBezTo>
                    <a:pt x="268" y="236"/>
                    <a:pt x="268" y="236"/>
                    <a:pt x="268" y="236"/>
                  </a:cubicBezTo>
                  <a:cubicBezTo>
                    <a:pt x="268" y="236"/>
                    <a:pt x="268" y="236"/>
                    <a:pt x="268" y="236"/>
                  </a:cubicBezTo>
                  <a:cubicBezTo>
                    <a:pt x="268" y="236"/>
                    <a:pt x="268" y="236"/>
                    <a:pt x="268" y="236"/>
                  </a:cubicBezTo>
                  <a:cubicBezTo>
                    <a:pt x="268" y="236"/>
                    <a:pt x="268" y="236"/>
                    <a:pt x="268" y="236"/>
                  </a:cubicBezTo>
                  <a:cubicBezTo>
                    <a:pt x="268" y="236"/>
                    <a:pt x="268" y="236"/>
                    <a:pt x="268" y="236"/>
                  </a:cubicBezTo>
                  <a:cubicBezTo>
                    <a:pt x="268" y="236"/>
                    <a:pt x="268" y="236"/>
                    <a:pt x="268" y="236"/>
                  </a:cubicBezTo>
                  <a:cubicBezTo>
                    <a:pt x="268" y="236"/>
                    <a:pt x="268" y="236"/>
                    <a:pt x="268" y="236"/>
                  </a:cubicBezTo>
                  <a:cubicBezTo>
                    <a:pt x="267" y="236"/>
                    <a:pt x="267" y="236"/>
                    <a:pt x="267" y="236"/>
                  </a:cubicBezTo>
                  <a:cubicBezTo>
                    <a:pt x="267" y="236"/>
                    <a:pt x="267" y="236"/>
                    <a:pt x="267" y="236"/>
                  </a:cubicBezTo>
                  <a:cubicBezTo>
                    <a:pt x="267" y="237"/>
                    <a:pt x="267" y="237"/>
                    <a:pt x="267" y="237"/>
                  </a:cubicBezTo>
                  <a:cubicBezTo>
                    <a:pt x="267" y="237"/>
                    <a:pt x="267" y="237"/>
                    <a:pt x="267" y="237"/>
                  </a:cubicBezTo>
                  <a:cubicBezTo>
                    <a:pt x="266" y="238"/>
                    <a:pt x="266" y="238"/>
                    <a:pt x="266" y="238"/>
                  </a:cubicBezTo>
                  <a:cubicBezTo>
                    <a:pt x="266" y="238"/>
                    <a:pt x="266" y="238"/>
                    <a:pt x="266" y="238"/>
                  </a:cubicBezTo>
                  <a:cubicBezTo>
                    <a:pt x="266" y="238"/>
                    <a:pt x="266" y="238"/>
                    <a:pt x="266" y="238"/>
                  </a:cubicBezTo>
                  <a:cubicBezTo>
                    <a:pt x="266" y="238"/>
                    <a:pt x="266" y="238"/>
                    <a:pt x="266" y="238"/>
                  </a:cubicBezTo>
                  <a:cubicBezTo>
                    <a:pt x="266" y="238"/>
                    <a:pt x="266" y="238"/>
                    <a:pt x="266" y="238"/>
                  </a:cubicBezTo>
                  <a:cubicBezTo>
                    <a:pt x="266" y="238"/>
                    <a:pt x="266" y="238"/>
                    <a:pt x="266" y="238"/>
                  </a:cubicBezTo>
                  <a:cubicBezTo>
                    <a:pt x="266" y="238"/>
                    <a:pt x="266" y="238"/>
                    <a:pt x="266" y="238"/>
                  </a:cubicBezTo>
                  <a:cubicBezTo>
                    <a:pt x="266" y="238"/>
                    <a:pt x="266" y="238"/>
                    <a:pt x="266" y="238"/>
                  </a:cubicBezTo>
                  <a:cubicBezTo>
                    <a:pt x="266" y="238"/>
                    <a:pt x="266" y="238"/>
                    <a:pt x="266" y="238"/>
                  </a:cubicBezTo>
                  <a:cubicBezTo>
                    <a:pt x="266" y="238"/>
                    <a:pt x="266" y="238"/>
                    <a:pt x="266" y="238"/>
                  </a:cubicBezTo>
                  <a:cubicBezTo>
                    <a:pt x="267" y="238"/>
                    <a:pt x="267" y="238"/>
                    <a:pt x="267" y="238"/>
                  </a:cubicBezTo>
                  <a:cubicBezTo>
                    <a:pt x="267" y="238"/>
                    <a:pt x="267" y="238"/>
                    <a:pt x="267" y="238"/>
                  </a:cubicBezTo>
                  <a:cubicBezTo>
                    <a:pt x="268" y="238"/>
                    <a:pt x="268" y="238"/>
                    <a:pt x="268" y="238"/>
                  </a:cubicBezTo>
                  <a:cubicBezTo>
                    <a:pt x="268" y="237"/>
                    <a:pt x="268" y="237"/>
                    <a:pt x="268" y="237"/>
                  </a:cubicBezTo>
                  <a:cubicBezTo>
                    <a:pt x="268" y="237"/>
                    <a:pt x="268" y="237"/>
                    <a:pt x="268" y="237"/>
                  </a:cubicBezTo>
                  <a:cubicBezTo>
                    <a:pt x="269" y="236"/>
                    <a:pt x="269" y="236"/>
                    <a:pt x="269" y="236"/>
                  </a:cubicBezTo>
                  <a:cubicBezTo>
                    <a:pt x="269" y="236"/>
                    <a:pt x="269" y="236"/>
                    <a:pt x="269" y="236"/>
                  </a:cubicBezTo>
                  <a:cubicBezTo>
                    <a:pt x="270" y="235"/>
                    <a:pt x="270" y="235"/>
                    <a:pt x="270" y="235"/>
                  </a:cubicBezTo>
                  <a:cubicBezTo>
                    <a:pt x="271" y="234"/>
                    <a:pt x="271" y="234"/>
                    <a:pt x="271" y="234"/>
                  </a:cubicBezTo>
                  <a:cubicBezTo>
                    <a:pt x="271" y="234"/>
                    <a:pt x="271" y="234"/>
                    <a:pt x="271" y="234"/>
                  </a:cubicBezTo>
                  <a:cubicBezTo>
                    <a:pt x="271" y="234"/>
                    <a:pt x="271" y="234"/>
                    <a:pt x="271" y="234"/>
                  </a:cubicBezTo>
                  <a:cubicBezTo>
                    <a:pt x="271" y="234"/>
                    <a:pt x="271" y="234"/>
                    <a:pt x="271" y="234"/>
                  </a:cubicBezTo>
                  <a:cubicBezTo>
                    <a:pt x="272" y="234"/>
                    <a:pt x="272" y="234"/>
                    <a:pt x="272" y="234"/>
                  </a:cubicBezTo>
                  <a:cubicBezTo>
                    <a:pt x="272" y="234"/>
                    <a:pt x="272" y="234"/>
                    <a:pt x="272" y="234"/>
                  </a:cubicBezTo>
                  <a:cubicBezTo>
                    <a:pt x="272" y="234"/>
                    <a:pt x="272" y="234"/>
                    <a:pt x="272" y="234"/>
                  </a:cubicBezTo>
                  <a:cubicBezTo>
                    <a:pt x="273" y="234"/>
                    <a:pt x="273" y="234"/>
                    <a:pt x="273" y="234"/>
                  </a:cubicBezTo>
                  <a:cubicBezTo>
                    <a:pt x="273" y="234"/>
                    <a:pt x="273" y="234"/>
                    <a:pt x="273" y="234"/>
                  </a:cubicBezTo>
                  <a:cubicBezTo>
                    <a:pt x="273" y="233"/>
                    <a:pt x="273" y="233"/>
                    <a:pt x="273" y="233"/>
                  </a:cubicBezTo>
                  <a:cubicBezTo>
                    <a:pt x="273" y="233"/>
                    <a:pt x="273" y="233"/>
                    <a:pt x="273" y="233"/>
                  </a:cubicBezTo>
                  <a:cubicBezTo>
                    <a:pt x="274" y="233"/>
                    <a:pt x="274" y="233"/>
                    <a:pt x="274" y="233"/>
                  </a:cubicBezTo>
                  <a:cubicBezTo>
                    <a:pt x="274" y="233"/>
                    <a:pt x="274" y="233"/>
                    <a:pt x="274" y="233"/>
                  </a:cubicBezTo>
                  <a:cubicBezTo>
                    <a:pt x="274" y="233"/>
                    <a:pt x="274" y="233"/>
                    <a:pt x="274" y="233"/>
                  </a:cubicBezTo>
                  <a:cubicBezTo>
                    <a:pt x="274" y="233"/>
                    <a:pt x="274" y="233"/>
                    <a:pt x="274" y="233"/>
                  </a:cubicBezTo>
                  <a:cubicBezTo>
                    <a:pt x="274" y="233"/>
                    <a:pt x="274" y="233"/>
                    <a:pt x="274" y="233"/>
                  </a:cubicBezTo>
                  <a:cubicBezTo>
                    <a:pt x="275" y="233"/>
                    <a:pt x="275" y="233"/>
                    <a:pt x="275" y="233"/>
                  </a:cubicBezTo>
                  <a:cubicBezTo>
                    <a:pt x="275" y="232"/>
                    <a:pt x="275" y="232"/>
                    <a:pt x="275" y="232"/>
                  </a:cubicBezTo>
                  <a:cubicBezTo>
                    <a:pt x="276" y="232"/>
                    <a:pt x="276" y="232"/>
                    <a:pt x="276" y="232"/>
                  </a:cubicBezTo>
                  <a:cubicBezTo>
                    <a:pt x="276" y="232"/>
                    <a:pt x="276" y="232"/>
                    <a:pt x="276" y="232"/>
                  </a:cubicBezTo>
                  <a:cubicBezTo>
                    <a:pt x="276" y="231"/>
                    <a:pt x="276" y="231"/>
                    <a:pt x="276" y="231"/>
                  </a:cubicBezTo>
                  <a:cubicBezTo>
                    <a:pt x="276" y="231"/>
                    <a:pt x="276" y="231"/>
                    <a:pt x="276" y="231"/>
                  </a:cubicBezTo>
                  <a:cubicBezTo>
                    <a:pt x="277" y="231"/>
                    <a:pt x="277" y="231"/>
                    <a:pt x="277" y="231"/>
                  </a:cubicBezTo>
                  <a:cubicBezTo>
                    <a:pt x="278" y="231"/>
                    <a:pt x="278" y="231"/>
                    <a:pt x="278" y="231"/>
                  </a:cubicBezTo>
                  <a:cubicBezTo>
                    <a:pt x="278" y="230"/>
                    <a:pt x="278" y="230"/>
                    <a:pt x="278" y="230"/>
                  </a:cubicBezTo>
                  <a:cubicBezTo>
                    <a:pt x="278" y="230"/>
                    <a:pt x="278" y="230"/>
                    <a:pt x="278" y="230"/>
                  </a:cubicBezTo>
                  <a:cubicBezTo>
                    <a:pt x="279" y="230"/>
                    <a:pt x="279" y="230"/>
                    <a:pt x="279" y="230"/>
                  </a:cubicBezTo>
                  <a:cubicBezTo>
                    <a:pt x="280" y="229"/>
                    <a:pt x="280" y="229"/>
                    <a:pt x="280" y="229"/>
                  </a:cubicBezTo>
                  <a:cubicBezTo>
                    <a:pt x="280" y="229"/>
                    <a:pt x="280" y="229"/>
                    <a:pt x="280" y="229"/>
                  </a:cubicBezTo>
                  <a:cubicBezTo>
                    <a:pt x="280" y="229"/>
                    <a:pt x="280" y="229"/>
                    <a:pt x="280" y="229"/>
                  </a:cubicBezTo>
                  <a:cubicBezTo>
                    <a:pt x="281" y="227"/>
                    <a:pt x="281" y="227"/>
                    <a:pt x="281" y="227"/>
                  </a:cubicBezTo>
                  <a:cubicBezTo>
                    <a:pt x="282" y="226"/>
                    <a:pt x="282" y="226"/>
                    <a:pt x="282" y="226"/>
                  </a:cubicBezTo>
                  <a:cubicBezTo>
                    <a:pt x="282" y="226"/>
                    <a:pt x="282" y="226"/>
                    <a:pt x="282" y="226"/>
                  </a:cubicBezTo>
                  <a:cubicBezTo>
                    <a:pt x="282" y="226"/>
                    <a:pt x="282" y="226"/>
                    <a:pt x="282" y="226"/>
                  </a:cubicBezTo>
                  <a:cubicBezTo>
                    <a:pt x="282" y="226"/>
                    <a:pt x="282" y="226"/>
                    <a:pt x="283" y="226"/>
                  </a:cubicBezTo>
                  <a:cubicBezTo>
                    <a:pt x="283" y="224"/>
                    <a:pt x="283" y="224"/>
                    <a:pt x="283" y="224"/>
                  </a:cubicBezTo>
                  <a:cubicBezTo>
                    <a:pt x="285" y="222"/>
                    <a:pt x="286" y="220"/>
                    <a:pt x="288" y="217"/>
                  </a:cubicBezTo>
                  <a:cubicBezTo>
                    <a:pt x="289" y="216"/>
                    <a:pt x="289" y="216"/>
                    <a:pt x="289" y="216"/>
                  </a:cubicBezTo>
                  <a:cubicBezTo>
                    <a:pt x="290" y="215"/>
                    <a:pt x="290" y="215"/>
                    <a:pt x="290" y="215"/>
                  </a:cubicBezTo>
                  <a:cubicBezTo>
                    <a:pt x="290" y="215"/>
                    <a:pt x="290" y="215"/>
                    <a:pt x="290" y="215"/>
                  </a:cubicBezTo>
                  <a:cubicBezTo>
                    <a:pt x="291" y="215"/>
                    <a:pt x="291" y="215"/>
                    <a:pt x="291" y="215"/>
                  </a:cubicBezTo>
                  <a:cubicBezTo>
                    <a:pt x="291" y="214"/>
                    <a:pt x="291" y="214"/>
                    <a:pt x="291" y="214"/>
                  </a:cubicBezTo>
                  <a:cubicBezTo>
                    <a:pt x="292" y="214"/>
                    <a:pt x="292" y="214"/>
                    <a:pt x="292" y="214"/>
                  </a:cubicBezTo>
                  <a:cubicBezTo>
                    <a:pt x="292" y="213"/>
                    <a:pt x="292" y="213"/>
                    <a:pt x="292" y="213"/>
                  </a:cubicBezTo>
                  <a:cubicBezTo>
                    <a:pt x="292" y="213"/>
                    <a:pt x="292" y="213"/>
                    <a:pt x="292" y="213"/>
                  </a:cubicBezTo>
                  <a:cubicBezTo>
                    <a:pt x="293" y="213"/>
                    <a:pt x="293" y="213"/>
                    <a:pt x="293" y="213"/>
                  </a:cubicBezTo>
                  <a:cubicBezTo>
                    <a:pt x="295" y="213"/>
                    <a:pt x="295" y="213"/>
                    <a:pt x="295" y="213"/>
                  </a:cubicBezTo>
                  <a:cubicBezTo>
                    <a:pt x="295" y="213"/>
                    <a:pt x="295" y="213"/>
                    <a:pt x="295" y="213"/>
                  </a:cubicBezTo>
                  <a:cubicBezTo>
                    <a:pt x="296" y="212"/>
                    <a:pt x="296" y="212"/>
                    <a:pt x="296" y="212"/>
                  </a:cubicBezTo>
                  <a:cubicBezTo>
                    <a:pt x="297" y="211"/>
                    <a:pt x="297" y="211"/>
                    <a:pt x="297" y="211"/>
                  </a:cubicBezTo>
                  <a:cubicBezTo>
                    <a:pt x="297" y="211"/>
                    <a:pt x="297" y="211"/>
                    <a:pt x="297" y="211"/>
                  </a:cubicBezTo>
                  <a:cubicBezTo>
                    <a:pt x="297" y="210"/>
                    <a:pt x="297" y="210"/>
                    <a:pt x="297" y="210"/>
                  </a:cubicBezTo>
                  <a:cubicBezTo>
                    <a:pt x="297" y="210"/>
                    <a:pt x="297" y="210"/>
                    <a:pt x="297" y="210"/>
                  </a:cubicBezTo>
                  <a:cubicBezTo>
                    <a:pt x="297" y="209"/>
                    <a:pt x="297" y="209"/>
                    <a:pt x="297" y="209"/>
                  </a:cubicBezTo>
                  <a:cubicBezTo>
                    <a:pt x="298" y="209"/>
                    <a:pt x="298" y="209"/>
                    <a:pt x="298" y="209"/>
                  </a:cubicBezTo>
                  <a:cubicBezTo>
                    <a:pt x="298" y="209"/>
                    <a:pt x="298" y="209"/>
                    <a:pt x="298" y="209"/>
                  </a:cubicBezTo>
                  <a:cubicBezTo>
                    <a:pt x="298" y="209"/>
                    <a:pt x="298" y="209"/>
                    <a:pt x="298" y="209"/>
                  </a:cubicBezTo>
                  <a:cubicBezTo>
                    <a:pt x="298" y="208"/>
                    <a:pt x="298" y="208"/>
                    <a:pt x="298" y="208"/>
                  </a:cubicBezTo>
                  <a:cubicBezTo>
                    <a:pt x="298" y="208"/>
                    <a:pt x="298" y="208"/>
                    <a:pt x="298" y="208"/>
                  </a:cubicBezTo>
                  <a:cubicBezTo>
                    <a:pt x="299" y="208"/>
                    <a:pt x="299" y="208"/>
                    <a:pt x="299" y="208"/>
                  </a:cubicBezTo>
                  <a:cubicBezTo>
                    <a:pt x="299" y="208"/>
                    <a:pt x="299" y="208"/>
                    <a:pt x="299" y="208"/>
                  </a:cubicBezTo>
                  <a:cubicBezTo>
                    <a:pt x="299" y="208"/>
                    <a:pt x="299" y="208"/>
                    <a:pt x="299" y="208"/>
                  </a:cubicBezTo>
                  <a:cubicBezTo>
                    <a:pt x="299" y="207"/>
                    <a:pt x="299" y="207"/>
                    <a:pt x="299" y="207"/>
                  </a:cubicBezTo>
                  <a:close/>
                  <a:moveTo>
                    <a:pt x="220" y="232"/>
                  </a:moveTo>
                  <a:cubicBezTo>
                    <a:pt x="220" y="231"/>
                    <a:pt x="220" y="231"/>
                    <a:pt x="220" y="231"/>
                  </a:cubicBezTo>
                  <a:cubicBezTo>
                    <a:pt x="219" y="231"/>
                    <a:pt x="219" y="231"/>
                    <a:pt x="219" y="231"/>
                  </a:cubicBezTo>
                  <a:cubicBezTo>
                    <a:pt x="219" y="232"/>
                    <a:pt x="219" y="232"/>
                    <a:pt x="219" y="232"/>
                  </a:cubicBezTo>
                  <a:cubicBezTo>
                    <a:pt x="218" y="231"/>
                    <a:pt x="218" y="231"/>
                    <a:pt x="218" y="231"/>
                  </a:cubicBezTo>
                  <a:cubicBezTo>
                    <a:pt x="218" y="232"/>
                    <a:pt x="218" y="232"/>
                    <a:pt x="218" y="232"/>
                  </a:cubicBezTo>
                  <a:cubicBezTo>
                    <a:pt x="219" y="232"/>
                    <a:pt x="219" y="232"/>
                    <a:pt x="219" y="232"/>
                  </a:cubicBezTo>
                  <a:cubicBezTo>
                    <a:pt x="219" y="233"/>
                    <a:pt x="219" y="233"/>
                    <a:pt x="219" y="233"/>
                  </a:cubicBezTo>
                  <a:cubicBezTo>
                    <a:pt x="219" y="233"/>
                    <a:pt x="219" y="233"/>
                    <a:pt x="219" y="233"/>
                  </a:cubicBezTo>
                  <a:cubicBezTo>
                    <a:pt x="220" y="233"/>
                    <a:pt x="220" y="233"/>
                    <a:pt x="220" y="233"/>
                  </a:cubicBezTo>
                  <a:cubicBezTo>
                    <a:pt x="219" y="233"/>
                    <a:pt x="219" y="233"/>
                    <a:pt x="219" y="233"/>
                  </a:cubicBezTo>
                  <a:cubicBezTo>
                    <a:pt x="219" y="232"/>
                    <a:pt x="219" y="232"/>
                    <a:pt x="219" y="232"/>
                  </a:cubicBezTo>
                  <a:lnTo>
                    <a:pt x="220" y="232"/>
                  </a:lnTo>
                  <a:close/>
                  <a:moveTo>
                    <a:pt x="193" y="212"/>
                  </a:moveTo>
                  <a:cubicBezTo>
                    <a:pt x="192" y="212"/>
                    <a:pt x="192" y="212"/>
                    <a:pt x="192" y="212"/>
                  </a:cubicBezTo>
                  <a:cubicBezTo>
                    <a:pt x="192" y="212"/>
                    <a:pt x="192" y="212"/>
                    <a:pt x="192" y="212"/>
                  </a:cubicBezTo>
                  <a:cubicBezTo>
                    <a:pt x="192" y="212"/>
                    <a:pt x="192" y="212"/>
                    <a:pt x="192" y="212"/>
                  </a:cubicBezTo>
                  <a:cubicBezTo>
                    <a:pt x="192" y="212"/>
                    <a:pt x="192" y="212"/>
                    <a:pt x="192" y="212"/>
                  </a:cubicBezTo>
                  <a:cubicBezTo>
                    <a:pt x="192" y="212"/>
                    <a:pt x="192" y="212"/>
                    <a:pt x="192" y="212"/>
                  </a:cubicBezTo>
                  <a:cubicBezTo>
                    <a:pt x="191" y="212"/>
                    <a:pt x="191" y="212"/>
                    <a:pt x="191" y="212"/>
                  </a:cubicBezTo>
                  <a:cubicBezTo>
                    <a:pt x="191" y="212"/>
                    <a:pt x="191" y="212"/>
                    <a:pt x="191" y="212"/>
                  </a:cubicBezTo>
                  <a:cubicBezTo>
                    <a:pt x="190" y="212"/>
                    <a:pt x="190" y="212"/>
                    <a:pt x="190" y="212"/>
                  </a:cubicBezTo>
                  <a:cubicBezTo>
                    <a:pt x="190" y="212"/>
                    <a:pt x="190" y="212"/>
                    <a:pt x="190" y="212"/>
                  </a:cubicBezTo>
                  <a:cubicBezTo>
                    <a:pt x="190" y="213"/>
                    <a:pt x="190" y="213"/>
                    <a:pt x="190" y="213"/>
                  </a:cubicBezTo>
                  <a:cubicBezTo>
                    <a:pt x="190" y="213"/>
                    <a:pt x="190" y="213"/>
                    <a:pt x="190" y="213"/>
                  </a:cubicBezTo>
                  <a:cubicBezTo>
                    <a:pt x="191" y="213"/>
                    <a:pt x="191" y="213"/>
                    <a:pt x="191" y="213"/>
                  </a:cubicBezTo>
                  <a:cubicBezTo>
                    <a:pt x="191" y="213"/>
                    <a:pt x="191" y="213"/>
                    <a:pt x="191" y="213"/>
                  </a:cubicBezTo>
                  <a:cubicBezTo>
                    <a:pt x="191" y="213"/>
                    <a:pt x="191" y="213"/>
                    <a:pt x="191" y="213"/>
                  </a:cubicBezTo>
                  <a:cubicBezTo>
                    <a:pt x="191" y="213"/>
                    <a:pt x="191" y="213"/>
                    <a:pt x="191" y="213"/>
                  </a:cubicBezTo>
                  <a:cubicBezTo>
                    <a:pt x="191" y="213"/>
                    <a:pt x="191" y="213"/>
                    <a:pt x="191" y="213"/>
                  </a:cubicBezTo>
                  <a:cubicBezTo>
                    <a:pt x="191" y="213"/>
                    <a:pt x="191" y="213"/>
                    <a:pt x="191" y="213"/>
                  </a:cubicBezTo>
                  <a:cubicBezTo>
                    <a:pt x="191" y="213"/>
                    <a:pt x="191" y="213"/>
                    <a:pt x="191" y="213"/>
                  </a:cubicBezTo>
                  <a:cubicBezTo>
                    <a:pt x="192" y="213"/>
                    <a:pt x="192" y="213"/>
                    <a:pt x="192" y="213"/>
                  </a:cubicBezTo>
                  <a:cubicBezTo>
                    <a:pt x="192" y="213"/>
                    <a:pt x="192" y="213"/>
                    <a:pt x="192" y="213"/>
                  </a:cubicBezTo>
                  <a:cubicBezTo>
                    <a:pt x="192" y="213"/>
                    <a:pt x="192" y="213"/>
                    <a:pt x="192" y="213"/>
                  </a:cubicBezTo>
                  <a:cubicBezTo>
                    <a:pt x="192" y="213"/>
                    <a:pt x="192" y="213"/>
                    <a:pt x="192" y="213"/>
                  </a:cubicBezTo>
                  <a:cubicBezTo>
                    <a:pt x="193" y="213"/>
                    <a:pt x="193" y="213"/>
                    <a:pt x="193" y="213"/>
                  </a:cubicBezTo>
                  <a:cubicBezTo>
                    <a:pt x="193" y="213"/>
                    <a:pt x="193" y="213"/>
                    <a:pt x="193" y="213"/>
                  </a:cubicBezTo>
                  <a:cubicBezTo>
                    <a:pt x="193" y="213"/>
                    <a:pt x="193" y="213"/>
                    <a:pt x="193" y="213"/>
                  </a:cubicBezTo>
                  <a:cubicBezTo>
                    <a:pt x="193" y="213"/>
                    <a:pt x="193" y="213"/>
                    <a:pt x="193" y="213"/>
                  </a:cubicBezTo>
                  <a:cubicBezTo>
                    <a:pt x="193" y="212"/>
                    <a:pt x="193" y="212"/>
                    <a:pt x="193" y="212"/>
                  </a:cubicBezTo>
                  <a:cubicBezTo>
                    <a:pt x="192" y="212"/>
                    <a:pt x="192" y="212"/>
                    <a:pt x="192" y="212"/>
                  </a:cubicBezTo>
                  <a:cubicBezTo>
                    <a:pt x="193" y="212"/>
                    <a:pt x="193" y="212"/>
                    <a:pt x="193" y="212"/>
                  </a:cubicBezTo>
                  <a:close/>
                  <a:moveTo>
                    <a:pt x="153" y="201"/>
                  </a:moveTo>
                  <a:cubicBezTo>
                    <a:pt x="153" y="201"/>
                    <a:pt x="153" y="201"/>
                    <a:pt x="153" y="201"/>
                  </a:cubicBezTo>
                  <a:cubicBezTo>
                    <a:pt x="153" y="201"/>
                    <a:pt x="153" y="201"/>
                    <a:pt x="153" y="201"/>
                  </a:cubicBezTo>
                  <a:cubicBezTo>
                    <a:pt x="153" y="201"/>
                    <a:pt x="153" y="201"/>
                    <a:pt x="153" y="201"/>
                  </a:cubicBezTo>
                  <a:cubicBezTo>
                    <a:pt x="154" y="200"/>
                    <a:pt x="154" y="200"/>
                    <a:pt x="154" y="200"/>
                  </a:cubicBezTo>
                  <a:cubicBezTo>
                    <a:pt x="153" y="200"/>
                    <a:pt x="153" y="200"/>
                    <a:pt x="153" y="200"/>
                  </a:cubicBezTo>
                  <a:cubicBezTo>
                    <a:pt x="153" y="200"/>
                    <a:pt x="153" y="200"/>
                    <a:pt x="153" y="200"/>
                  </a:cubicBezTo>
                  <a:cubicBezTo>
                    <a:pt x="153" y="200"/>
                    <a:pt x="153" y="200"/>
                    <a:pt x="153" y="200"/>
                  </a:cubicBezTo>
                  <a:cubicBezTo>
                    <a:pt x="153" y="200"/>
                    <a:pt x="153" y="200"/>
                    <a:pt x="153" y="200"/>
                  </a:cubicBezTo>
                  <a:cubicBezTo>
                    <a:pt x="152" y="200"/>
                    <a:pt x="152" y="200"/>
                    <a:pt x="152" y="200"/>
                  </a:cubicBezTo>
                  <a:cubicBezTo>
                    <a:pt x="152" y="200"/>
                    <a:pt x="152" y="200"/>
                    <a:pt x="152" y="200"/>
                  </a:cubicBezTo>
                  <a:cubicBezTo>
                    <a:pt x="152" y="201"/>
                    <a:pt x="152" y="201"/>
                    <a:pt x="152" y="201"/>
                  </a:cubicBezTo>
                  <a:cubicBezTo>
                    <a:pt x="152" y="201"/>
                    <a:pt x="152" y="201"/>
                    <a:pt x="152" y="201"/>
                  </a:cubicBezTo>
                  <a:cubicBezTo>
                    <a:pt x="152" y="201"/>
                    <a:pt x="152" y="201"/>
                    <a:pt x="152" y="201"/>
                  </a:cubicBezTo>
                  <a:lnTo>
                    <a:pt x="153" y="201"/>
                  </a:lnTo>
                  <a:close/>
                  <a:moveTo>
                    <a:pt x="195" y="222"/>
                  </a:moveTo>
                  <a:cubicBezTo>
                    <a:pt x="195" y="222"/>
                    <a:pt x="195" y="222"/>
                    <a:pt x="195" y="222"/>
                  </a:cubicBezTo>
                  <a:cubicBezTo>
                    <a:pt x="195" y="222"/>
                    <a:pt x="195" y="222"/>
                    <a:pt x="195" y="222"/>
                  </a:cubicBezTo>
                  <a:cubicBezTo>
                    <a:pt x="195" y="222"/>
                    <a:pt x="195" y="222"/>
                    <a:pt x="195" y="222"/>
                  </a:cubicBezTo>
                  <a:cubicBezTo>
                    <a:pt x="194" y="222"/>
                    <a:pt x="194" y="222"/>
                    <a:pt x="194" y="222"/>
                  </a:cubicBezTo>
                  <a:cubicBezTo>
                    <a:pt x="194" y="222"/>
                    <a:pt x="194" y="222"/>
                    <a:pt x="194" y="222"/>
                  </a:cubicBezTo>
                  <a:cubicBezTo>
                    <a:pt x="194" y="223"/>
                    <a:pt x="194" y="223"/>
                    <a:pt x="194" y="223"/>
                  </a:cubicBezTo>
                  <a:cubicBezTo>
                    <a:pt x="194" y="223"/>
                    <a:pt x="194" y="223"/>
                    <a:pt x="194" y="223"/>
                  </a:cubicBezTo>
                  <a:cubicBezTo>
                    <a:pt x="194" y="223"/>
                    <a:pt x="194" y="223"/>
                    <a:pt x="194" y="223"/>
                  </a:cubicBezTo>
                  <a:cubicBezTo>
                    <a:pt x="194" y="223"/>
                    <a:pt x="194" y="223"/>
                    <a:pt x="194" y="223"/>
                  </a:cubicBezTo>
                  <a:cubicBezTo>
                    <a:pt x="194" y="223"/>
                    <a:pt x="194" y="223"/>
                    <a:pt x="194" y="223"/>
                  </a:cubicBezTo>
                  <a:cubicBezTo>
                    <a:pt x="194" y="224"/>
                    <a:pt x="194" y="224"/>
                    <a:pt x="194" y="224"/>
                  </a:cubicBezTo>
                  <a:cubicBezTo>
                    <a:pt x="195" y="223"/>
                    <a:pt x="195" y="223"/>
                    <a:pt x="195" y="223"/>
                  </a:cubicBezTo>
                  <a:cubicBezTo>
                    <a:pt x="195" y="223"/>
                    <a:pt x="195" y="223"/>
                    <a:pt x="195" y="223"/>
                  </a:cubicBezTo>
                  <a:cubicBezTo>
                    <a:pt x="195" y="222"/>
                    <a:pt x="195" y="222"/>
                    <a:pt x="195" y="222"/>
                  </a:cubicBezTo>
                  <a:cubicBezTo>
                    <a:pt x="195" y="222"/>
                    <a:pt x="195" y="222"/>
                    <a:pt x="195" y="222"/>
                  </a:cubicBezTo>
                  <a:close/>
                  <a:moveTo>
                    <a:pt x="196" y="227"/>
                  </a:moveTo>
                  <a:cubicBezTo>
                    <a:pt x="196" y="226"/>
                    <a:pt x="196" y="226"/>
                    <a:pt x="196" y="226"/>
                  </a:cubicBezTo>
                  <a:cubicBezTo>
                    <a:pt x="196" y="226"/>
                    <a:pt x="196" y="226"/>
                    <a:pt x="196" y="226"/>
                  </a:cubicBezTo>
                  <a:cubicBezTo>
                    <a:pt x="196" y="226"/>
                    <a:pt x="196" y="226"/>
                    <a:pt x="196" y="226"/>
                  </a:cubicBezTo>
                  <a:cubicBezTo>
                    <a:pt x="196" y="226"/>
                    <a:pt x="196" y="226"/>
                    <a:pt x="196" y="226"/>
                  </a:cubicBezTo>
                  <a:cubicBezTo>
                    <a:pt x="196" y="226"/>
                    <a:pt x="196" y="226"/>
                    <a:pt x="196" y="226"/>
                  </a:cubicBezTo>
                  <a:cubicBezTo>
                    <a:pt x="196" y="226"/>
                    <a:pt x="196" y="226"/>
                    <a:pt x="196" y="226"/>
                  </a:cubicBezTo>
                  <a:cubicBezTo>
                    <a:pt x="196" y="226"/>
                    <a:pt x="196" y="226"/>
                    <a:pt x="196" y="226"/>
                  </a:cubicBezTo>
                  <a:cubicBezTo>
                    <a:pt x="196" y="226"/>
                    <a:pt x="196" y="226"/>
                    <a:pt x="196" y="226"/>
                  </a:cubicBezTo>
                  <a:cubicBezTo>
                    <a:pt x="196" y="226"/>
                    <a:pt x="196" y="226"/>
                    <a:pt x="196" y="226"/>
                  </a:cubicBezTo>
                  <a:cubicBezTo>
                    <a:pt x="196" y="226"/>
                    <a:pt x="196" y="226"/>
                    <a:pt x="196" y="226"/>
                  </a:cubicBezTo>
                  <a:cubicBezTo>
                    <a:pt x="196" y="226"/>
                    <a:pt x="196" y="226"/>
                    <a:pt x="196" y="226"/>
                  </a:cubicBezTo>
                  <a:cubicBezTo>
                    <a:pt x="195" y="226"/>
                    <a:pt x="195" y="226"/>
                    <a:pt x="195" y="226"/>
                  </a:cubicBezTo>
                  <a:cubicBezTo>
                    <a:pt x="196" y="227"/>
                    <a:pt x="196" y="227"/>
                    <a:pt x="196" y="227"/>
                  </a:cubicBezTo>
                  <a:close/>
                  <a:moveTo>
                    <a:pt x="194" y="297"/>
                  </a:moveTo>
                  <a:cubicBezTo>
                    <a:pt x="194" y="297"/>
                    <a:pt x="194" y="297"/>
                    <a:pt x="194" y="297"/>
                  </a:cubicBezTo>
                  <a:cubicBezTo>
                    <a:pt x="194" y="298"/>
                    <a:pt x="194" y="298"/>
                    <a:pt x="194" y="298"/>
                  </a:cubicBezTo>
                  <a:cubicBezTo>
                    <a:pt x="193" y="298"/>
                    <a:pt x="193" y="298"/>
                    <a:pt x="193" y="298"/>
                  </a:cubicBezTo>
                  <a:cubicBezTo>
                    <a:pt x="194" y="299"/>
                    <a:pt x="194" y="299"/>
                    <a:pt x="194" y="299"/>
                  </a:cubicBezTo>
                  <a:cubicBezTo>
                    <a:pt x="194" y="299"/>
                    <a:pt x="194" y="299"/>
                    <a:pt x="194" y="299"/>
                  </a:cubicBezTo>
                  <a:cubicBezTo>
                    <a:pt x="194" y="299"/>
                    <a:pt x="194" y="299"/>
                    <a:pt x="194" y="299"/>
                  </a:cubicBezTo>
                  <a:cubicBezTo>
                    <a:pt x="194" y="299"/>
                    <a:pt x="194" y="299"/>
                    <a:pt x="194" y="299"/>
                  </a:cubicBezTo>
                  <a:cubicBezTo>
                    <a:pt x="194" y="299"/>
                    <a:pt x="194" y="299"/>
                    <a:pt x="194" y="299"/>
                  </a:cubicBezTo>
                  <a:cubicBezTo>
                    <a:pt x="195" y="299"/>
                    <a:pt x="195" y="299"/>
                    <a:pt x="195" y="299"/>
                  </a:cubicBezTo>
                  <a:cubicBezTo>
                    <a:pt x="194" y="298"/>
                    <a:pt x="194" y="298"/>
                    <a:pt x="194" y="298"/>
                  </a:cubicBezTo>
                  <a:lnTo>
                    <a:pt x="194" y="297"/>
                  </a:lnTo>
                  <a:close/>
                  <a:moveTo>
                    <a:pt x="271" y="235"/>
                  </a:moveTo>
                  <a:cubicBezTo>
                    <a:pt x="271" y="235"/>
                    <a:pt x="271" y="235"/>
                    <a:pt x="271" y="235"/>
                  </a:cubicBezTo>
                  <a:cubicBezTo>
                    <a:pt x="269" y="236"/>
                    <a:pt x="269" y="236"/>
                    <a:pt x="269" y="236"/>
                  </a:cubicBezTo>
                  <a:cubicBezTo>
                    <a:pt x="269" y="236"/>
                    <a:pt x="269" y="236"/>
                    <a:pt x="269" y="236"/>
                  </a:cubicBezTo>
                  <a:cubicBezTo>
                    <a:pt x="269" y="236"/>
                    <a:pt x="269" y="236"/>
                    <a:pt x="269" y="236"/>
                  </a:cubicBezTo>
                  <a:cubicBezTo>
                    <a:pt x="270" y="237"/>
                    <a:pt x="270" y="237"/>
                    <a:pt x="270" y="237"/>
                  </a:cubicBezTo>
                  <a:cubicBezTo>
                    <a:pt x="270" y="236"/>
                    <a:pt x="270" y="236"/>
                    <a:pt x="270" y="236"/>
                  </a:cubicBezTo>
                  <a:cubicBezTo>
                    <a:pt x="271" y="236"/>
                    <a:pt x="271" y="236"/>
                    <a:pt x="271" y="236"/>
                  </a:cubicBezTo>
                  <a:cubicBezTo>
                    <a:pt x="271" y="236"/>
                    <a:pt x="271" y="236"/>
                    <a:pt x="271" y="236"/>
                  </a:cubicBezTo>
                  <a:cubicBezTo>
                    <a:pt x="271" y="235"/>
                    <a:pt x="271" y="235"/>
                    <a:pt x="271" y="235"/>
                  </a:cubicBezTo>
                  <a:cubicBezTo>
                    <a:pt x="272" y="235"/>
                    <a:pt x="272" y="235"/>
                    <a:pt x="272" y="235"/>
                  </a:cubicBezTo>
                  <a:cubicBezTo>
                    <a:pt x="272" y="235"/>
                    <a:pt x="272" y="235"/>
                    <a:pt x="272" y="235"/>
                  </a:cubicBezTo>
                  <a:lnTo>
                    <a:pt x="271" y="235"/>
                  </a:lnTo>
                  <a:close/>
                  <a:moveTo>
                    <a:pt x="276" y="234"/>
                  </a:moveTo>
                  <a:cubicBezTo>
                    <a:pt x="276" y="234"/>
                    <a:pt x="276" y="234"/>
                    <a:pt x="276" y="234"/>
                  </a:cubicBezTo>
                  <a:cubicBezTo>
                    <a:pt x="276" y="234"/>
                    <a:pt x="276" y="234"/>
                    <a:pt x="276" y="234"/>
                  </a:cubicBezTo>
                  <a:cubicBezTo>
                    <a:pt x="276" y="234"/>
                    <a:pt x="276" y="234"/>
                    <a:pt x="276" y="234"/>
                  </a:cubicBezTo>
                  <a:cubicBezTo>
                    <a:pt x="275" y="234"/>
                    <a:pt x="275" y="234"/>
                    <a:pt x="275" y="234"/>
                  </a:cubicBezTo>
                  <a:cubicBezTo>
                    <a:pt x="275" y="234"/>
                    <a:pt x="275" y="234"/>
                    <a:pt x="275" y="234"/>
                  </a:cubicBezTo>
                  <a:cubicBezTo>
                    <a:pt x="274" y="234"/>
                    <a:pt x="274" y="234"/>
                    <a:pt x="274" y="234"/>
                  </a:cubicBezTo>
                  <a:cubicBezTo>
                    <a:pt x="274" y="234"/>
                    <a:pt x="274" y="234"/>
                    <a:pt x="274" y="234"/>
                  </a:cubicBezTo>
                  <a:cubicBezTo>
                    <a:pt x="274" y="235"/>
                    <a:pt x="274" y="235"/>
                    <a:pt x="274" y="235"/>
                  </a:cubicBezTo>
                  <a:cubicBezTo>
                    <a:pt x="274" y="235"/>
                    <a:pt x="274" y="235"/>
                    <a:pt x="274" y="235"/>
                  </a:cubicBezTo>
                  <a:cubicBezTo>
                    <a:pt x="274" y="235"/>
                    <a:pt x="274" y="235"/>
                    <a:pt x="274" y="235"/>
                  </a:cubicBezTo>
                  <a:cubicBezTo>
                    <a:pt x="274" y="235"/>
                    <a:pt x="274" y="235"/>
                    <a:pt x="274" y="235"/>
                  </a:cubicBezTo>
                  <a:cubicBezTo>
                    <a:pt x="274" y="235"/>
                    <a:pt x="274" y="235"/>
                    <a:pt x="274" y="235"/>
                  </a:cubicBezTo>
                  <a:cubicBezTo>
                    <a:pt x="274" y="236"/>
                    <a:pt x="274" y="236"/>
                    <a:pt x="274" y="236"/>
                  </a:cubicBezTo>
                  <a:cubicBezTo>
                    <a:pt x="274" y="236"/>
                    <a:pt x="274" y="236"/>
                    <a:pt x="274" y="236"/>
                  </a:cubicBezTo>
                  <a:cubicBezTo>
                    <a:pt x="274" y="236"/>
                    <a:pt x="274" y="236"/>
                    <a:pt x="274" y="236"/>
                  </a:cubicBezTo>
                  <a:cubicBezTo>
                    <a:pt x="274" y="236"/>
                    <a:pt x="274" y="236"/>
                    <a:pt x="274" y="236"/>
                  </a:cubicBezTo>
                  <a:cubicBezTo>
                    <a:pt x="274" y="236"/>
                    <a:pt x="274" y="236"/>
                    <a:pt x="274" y="236"/>
                  </a:cubicBezTo>
                  <a:cubicBezTo>
                    <a:pt x="274" y="236"/>
                    <a:pt x="274" y="236"/>
                    <a:pt x="274" y="236"/>
                  </a:cubicBezTo>
                  <a:cubicBezTo>
                    <a:pt x="275" y="236"/>
                    <a:pt x="275" y="236"/>
                    <a:pt x="275" y="236"/>
                  </a:cubicBezTo>
                  <a:cubicBezTo>
                    <a:pt x="275" y="236"/>
                    <a:pt x="275" y="236"/>
                    <a:pt x="275" y="236"/>
                  </a:cubicBezTo>
                  <a:cubicBezTo>
                    <a:pt x="275" y="236"/>
                    <a:pt x="275" y="236"/>
                    <a:pt x="275" y="236"/>
                  </a:cubicBezTo>
                  <a:cubicBezTo>
                    <a:pt x="275" y="235"/>
                    <a:pt x="275" y="235"/>
                    <a:pt x="275" y="235"/>
                  </a:cubicBezTo>
                  <a:cubicBezTo>
                    <a:pt x="275" y="235"/>
                    <a:pt x="275" y="235"/>
                    <a:pt x="275" y="235"/>
                  </a:cubicBezTo>
                  <a:cubicBezTo>
                    <a:pt x="276" y="235"/>
                    <a:pt x="276" y="235"/>
                    <a:pt x="276" y="235"/>
                  </a:cubicBezTo>
                  <a:cubicBezTo>
                    <a:pt x="275" y="235"/>
                    <a:pt x="275" y="235"/>
                    <a:pt x="275" y="235"/>
                  </a:cubicBezTo>
                  <a:cubicBezTo>
                    <a:pt x="275" y="234"/>
                    <a:pt x="275" y="234"/>
                    <a:pt x="275" y="234"/>
                  </a:cubicBezTo>
                  <a:lnTo>
                    <a:pt x="276" y="234"/>
                  </a:lnTo>
                  <a:close/>
                </a:path>
              </a:pathLst>
            </a:custGeom>
            <a:solidFill>
              <a:schemeClr val="accent2"/>
            </a:solidFill>
            <a:ln w="63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542" name="Freeform 9">
              <a:extLst>
                <a:ext uri="{FF2B5EF4-FFF2-40B4-BE49-F238E27FC236}">
                  <a16:creationId xmlns:a16="http://schemas.microsoft.com/office/drawing/2014/main" id="{901DBFE1-FD52-2A54-B6B1-FB40840B13A0}"/>
                </a:ext>
              </a:extLst>
            </p:cNvPr>
            <p:cNvSpPr>
              <a:spLocks/>
            </p:cNvSpPr>
            <p:nvPr/>
          </p:nvSpPr>
          <p:spPr bwMode="gray">
            <a:xfrm>
              <a:off x="1987550" y="2249488"/>
              <a:ext cx="619125" cy="1290638"/>
            </a:xfrm>
            <a:custGeom>
              <a:avLst/>
              <a:gdLst>
                <a:gd name="T0" fmla="*/ 116 w 116"/>
                <a:gd name="T1" fmla="*/ 242 h 242"/>
                <a:gd name="T2" fmla="*/ 112 w 116"/>
                <a:gd name="T3" fmla="*/ 142 h 242"/>
                <a:gd name="T4" fmla="*/ 110 w 116"/>
                <a:gd name="T5" fmla="*/ 98 h 242"/>
                <a:gd name="T6" fmla="*/ 112 w 116"/>
                <a:gd name="T7" fmla="*/ 5 h 242"/>
                <a:gd name="T8" fmla="*/ 21 w 116"/>
                <a:gd name="T9" fmla="*/ 0 h 242"/>
                <a:gd name="T10" fmla="*/ 12 w 116"/>
                <a:gd name="T11" fmla="*/ 102 h 242"/>
                <a:gd name="T12" fmla="*/ 3 w 116"/>
                <a:gd name="T13" fmla="*/ 206 h 242"/>
                <a:gd name="T14" fmla="*/ 0 w 116"/>
                <a:gd name="T15" fmla="*/ 236 h 242"/>
                <a:gd name="T16" fmla="*/ 0 w 116"/>
                <a:gd name="T17" fmla="*/ 236 h 242"/>
                <a:gd name="T18" fmla="*/ 99 w 116"/>
                <a:gd name="T19" fmla="*/ 242 h 242"/>
                <a:gd name="T20" fmla="*/ 116 w 116"/>
                <a:gd name="T21"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6" h="242">
                  <a:moveTo>
                    <a:pt x="116" y="242"/>
                  </a:moveTo>
                  <a:cubicBezTo>
                    <a:pt x="115" y="209"/>
                    <a:pt x="113" y="175"/>
                    <a:pt x="112" y="142"/>
                  </a:cubicBezTo>
                  <a:cubicBezTo>
                    <a:pt x="111" y="127"/>
                    <a:pt x="111" y="113"/>
                    <a:pt x="110" y="98"/>
                  </a:cubicBezTo>
                  <a:cubicBezTo>
                    <a:pt x="111" y="67"/>
                    <a:pt x="111" y="36"/>
                    <a:pt x="112" y="5"/>
                  </a:cubicBezTo>
                  <a:cubicBezTo>
                    <a:pt x="82" y="5"/>
                    <a:pt x="51" y="3"/>
                    <a:pt x="21" y="0"/>
                  </a:cubicBezTo>
                  <a:cubicBezTo>
                    <a:pt x="18" y="34"/>
                    <a:pt x="15" y="68"/>
                    <a:pt x="12" y="102"/>
                  </a:cubicBezTo>
                  <a:cubicBezTo>
                    <a:pt x="9" y="137"/>
                    <a:pt x="6" y="171"/>
                    <a:pt x="3" y="206"/>
                  </a:cubicBezTo>
                  <a:cubicBezTo>
                    <a:pt x="2" y="216"/>
                    <a:pt x="1" y="226"/>
                    <a:pt x="0" y="236"/>
                  </a:cubicBezTo>
                  <a:cubicBezTo>
                    <a:pt x="0" y="236"/>
                    <a:pt x="0" y="236"/>
                    <a:pt x="0" y="236"/>
                  </a:cubicBezTo>
                  <a:cubicBezTo>
                    <a:pt x="33" y="239"/>
                    <a:pt x="66" y="241"/>
                    <a:pt x="99" y="242"/>
                  </a:cubicBezTo>
                  <a:cubicBezTo>
                    <a:pt x="105" y="242"/>
                    <a:pt x="110" y="242"/>
                    <a:pt x="116" y="242"/>
                  </a:cubicBezTo>
                  <a:close/>
                </a:path>
              </a:pathLst>
            </a:custGeom>
            <a:solidFill>
              <a:srgbClr val="B1B1B0"/>
            </a:solidFill>
            <a:ln w="635">
              <a:solidFill>
                <a:schemeClr val="accent6"/>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543" name="Freeform 10">
              <a:extLst>
                <a:ext uri="{FF2B5EF4-FFF2-40B4-BE49-F238E27FC236}">
                  <a16:creationId xmlns:a16="http://schemas.microsoft.com/office/drawing/2014/main" id="{5FBA8E6A-24CA-1ABD-B57A-0FC0F34C1189}"/>
                </a:ext>
              </a:extLst>
            </p:cNvPr>
            <p:cNvSpPr>
              <a:spLocks/>
            </p:cNvSpPr>
            <p:nvPr/>
          </p:nvSpPr>
          <p:spPr bwMode="gray">
            <a:xfrm>
              <a:off x="388938" y="1865313"/>
              <a:ext cx="1311275" cy="1609725"/>
            </a:xfrm>
            <a:custGeom>
              <a:avLst/>
              <a:gdLst>
                <a:gd name="T0" fmla="*/ 69 w 246"/>
                <a:gd name="T1" fmla="*/ 195 h 302"/>
                <a:gd name="T2" fmla="*/ 84 w 246"/>
                <a:gd name="T3" fmla="*/ 203 h 302"/>
                <a:gd name="T4" fmla="*/ 72 w 246"/>
                <a:gd name="T5" fmla="*/ 208 h 302"/>
                <a:gd name="T6" fmla="*/ 60 w 246"/>
                <a:gd name="T7" fmla="*/ 170 h 302"/>
                <a:gd name="T8" fmla="*/ 76 w 246"/>
                <a:gd name="T9" fmla="*/ 192 h 302"/>
                <a:gd name="T10" fmla="*/ 73 w 246"/>
                <a:gd name="T11" fmla="*/ 202 h 302"/>
                <a:gd name="T12" fmla="*/ 54 w 246"/>
                <a:gd name="T13" fmla="*/ 157 h 302"/>
                <a:gd name="T14" fmla="*/ 74 w 246"/>
                <a:gd name="T15" fmla="*/ 192 h 302"/>
                <a:gd name="T16" fmla="*/ 61 w 246"/>
                <a:gd name="T17" fmla="*/ 170 h 302"/>
                <a:gd name="T18" fmla="*/ 66 w 246"/>
                <a:gd name="T19" fmla="*/ 178 h 302"/>
                <a:gd name="T20" fmla="*/ 70 w 246"/>
                <a:gd name="T21" fmla="*/ 180 h 302"/>
                <a:gd name="T22" fmla="*/ 72 w 246"/>
                <a:gd name="T23" fmla="*/ 190 h 302"/>
                <a:gd name="T24" fmla="*/ 70 w 246"/>
                <a:gd name="T25" fmla="*/ 173 h 302"/>
                <a:gd name="T26" fmla="*/ 106 w 246"/>
                <a:gd name="T27" fmla="*/ 266 h 302"/>
                <a:gd name="T28" fmla="*/ 97 w 246"/>
                <a:gd name="T29" fmla="*/ 246 h 302"/>
                <a:gd name="T30" fmla="*/ 106 w 246"/>
                <a:gd name="T31" fmla="*/ 267 h 302"/>
                <a:gd name="T32" fmla="*/ 244 w 246"/>
                <a:gd name="T33" fmla="*/ 298 h 302"/>
                <a:gd name="T34" fmla="*/ 240 w 246"/>
                <a:gd name="T35" fmla="*/ 285 h 302"/>
                <a:gd name="T36" fmla="*/ 233 w 246"/>
                <a:gd name="T37" fmla="*/ 264 h 302"/>
                <a:gd name="T38" fmla="*/ 221 w 246"/>
                <a:gd name="T39" fmla="*/ 245 h 302"/>
                <a:gd name="T40" fmla="*/ 210 w 246"/>
                <a:gd name="T41" fmla="*/ 231 h 302"/>
                <a:gd name="T42" fmla="*/ 200 w 246"/>
                <a:gd name="T43" fmla="*/ 214 h 302"/>
                <a:gd name="T44" fmla="*/ 188 w 246"/>
                <a:gd name="T45" fmla="*/ 201 h 302"/>
                <a:gd name="T46" fmla="*/ 22 w 246"/>
                <a:gd name="T47" fmla="*/ 25 h 302"/>
                <a:gd name="T48" fmla="*/ 64 w 246"/>
                <a:gd name="T49" fmla="*/ 105 h 302"/>
                <a:gd name="T50" fmla="*/ 73 w 246"/>
                <a:gd name="T51" fmla="*/ 130 h 302"/>
                <a:gd name="T52" fmla="*/ 70 w 246"/>
                <a:gd name="T53" fmla="*/ 138 h 302"/>
                <a:gd name="T54" fmla="*/ 64 w 246"/>
                <a:gd name="T55" fmla="*/ 150 h 302"/>
                <a:gd name="T56" fmla="*/ 69 w 246"/>
                <a:gd name="T57" fmla="*/ 155 h 302"/>
                <a:gd name="T58" fmla="*/ 64 w 246"/>
                <a:gd name="T59" fmla="*/ 167 h 302"/>
                <a:gd name="T60" fmla="*/ 77 w 246"/>
                <a:gd name="T61" fmla="*/ 166 h 302"/>
                <a:gd name="T62" fmla="*/ 77 w 246"/>
                <a:gd name="T63" fmla="*/ 175 h 302"/>
                <a:gd name="T64" fmla="*/ 75 w 246"/>
                <a:gd name="T65" fmla="*/ 185 h 302"/>
                <a:gd name="T66" fmla="*/ 80 w 246"/>
                <a:gd name="T67" fmla="*/ 195 h 302"/>
                <a:gd name="T68" fmla="*/ 88 w 246"/>
                <a:gd name="T69" fmla="*/ 199 h 302"/>
                <a:gd name="T70" fmla="*/ 92 w 246"/>
                <a:gd name="T71" fmla="*/ 208 h 302"/>
                <a:gd name="T72" fmla="*/ 78 w 246"/>
                <a:gd name="T73" fmla="*/ 217 h 302"/>
                <a:gd name="T74" fmla="*/ 81 w 246"/>
                <a:gd name="T75" fmla="*/ 215 h 302"/>
                <a:gd name="T76" fmla="*/ 80 w 246"/>
                <a:gd name="T77" fmla="*/ 231 h 302"/>
                <a:gd name="T78" fmla="*/ 93 w 246"/>
                <a:gd name="T79" fmla="*/ 236 h 302"/>
                <a:gd name="T80" fmla="*/ 91 w 246"/>
                <a:gd name="T81" fmla="*/ 239 h 302"/>
                <a:gd name="T82" fmla="*/ 102 w 246"/>
                <a:gd name="T83" fmla="*/ 244 h 302"/>
                <a:gd name="T84" fmla="*/ 105 w 246"/>
                <a:gd name="T85" fmla="*/ 248 h 302"/>
                <a:gd name="T86" fmla="*/ 110 w 246"/>
                <a:gd name="T87" fmla="*/ 261 h 302"/>
                <a:gd name="T88" fmla="*/ 117 w 246"/>
                <a:gd name="T89" fmla="*/ 264 h 302"/>
                <a:gd name="T90" fmla="*/ 126 w 246"/>
                <a:gd name="T91" fmla="*/ 268 h 302"/>
                <a:gd name="T92" fmla="*/ 245 w 246"/>
                <a:gd name="T93" fmla="*/ 302 h 302"/>
                <a:gd name="T94" fmla="*/ 122 w 246"/>
                <a:gd name="T95" fmla="*/ 286 h 302"/>
                <a:gd name="T96" fmla="*/ 110 w 246"/>
                <a:gd name="T97" fmla="*/ 264 h 302"/>
                <a:gd name="T98" fmla="*/ 79 w 246"/>
                <a:gd name="T99" fmla="*/ 258 h 302"/>
                <a:gd name="T100" fmla="*/ 66 w 246"/>
                <a:gd name="T101" fmla="*/ 192 h 302"/>
                <a:gd name="T102" fmla="*/ 116 w 246"/>
                <a:gd name="T103" fmla="*/ 280 h 302"/>
                <a:gd name="T104" fmla="*/ 100 w 246"/>
                <a:gd name="T105" fmla="*/ 248 h 302"/>
                <a:gd name="T106" fmla="*/ 68 w 246"/>
                <a:gd name="T107" fmla="*/ 229 h 302"/>
                <a:gd name="T108" fmla="*/ 74 w 246"/>
                <a:gd name="T109" fmla="*/ 238 h 302"/>
                <a:gd name="T110" fmla="*/ 77 w 246"/>
                <a:gd name="T111" fmla="*/ 247 h 302"/>
                <a:gd name="T112" fmla="*/ 82 w 246"/>
                <a:gd name="T113" fmla="*/ 260 h 302"/>
                <a:gd name="T114" fmla="*/ 91 w 246"/>
                <a:gd name="T115" fmla="*/ 267 h 302"/>
                <a:gd name="T116" fmla="*/ 102 w 246"/>
                <a:gd name="T117" fmla="*/ 275 h 302"/>
                <a:gd name="T118" fmla="*/ 64 w 246"/>
                <a:gd name="T119" fmla="*/ 181 h 302"/>
                <a:gd name="T120" fmla="*/ 103 w 246"/>
                <a:gd name="T121" fmla="*/ 249 h 302"/>
                <a:gd name="T122" fmla="*/ 106 w 246"/>
                <a:gd name="T123" fmla="*/ 253 h 302"/>
                <a:gd name="T124" fmla="*/ 76 w 246"/>
                <a:gd name="T125" fmla="*/ 22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6" h="302">
                  <a:moveTo>
                    <a:pt x="70" y="193"/>
                  </a:moveTo>
                  <a:cubicBezTo>
                    <a:pt x="70" y="193"/>
                    <a:pt x="70" y="193"/>
                    <a:pt x="70" y="193"/>
                  </a:cubicBezTo>
                  <a:cubicBezTo>
                    <a:pt x="70" y="193"/>
                    <a:pt x="70" y="193"/>
                    <a:pt x="70" y="193"/>
                  </a:cubicBezTo>
                  <a:cubicBezTo>
                    <a:pt x="70" y="193"/>
                    <a:pt x="70" y="193"/>
                    <a:pt x="70" y="193"/>
                  </a:cubicBezTo>
                  <a:cubicBezTo>
                    <a:pt x="70" y="193"/>
                    <a:pt x="70" y="193"/>
                    <a:pt x="70" y="193"/>
                  </a:cubicBezTo>
                  <a:cubicBezTo>
                    <a:pt x="69" y="193"/>
                    <a:pt x="69" y="193"/>
                    <a:pt x="69" y="193"/>
                  </a:cubicBezTo>
                  <a:cubicBezTo>
                    <a:pt x="69" y="193"/>
                    <a:pt x="69" y="193"/>
                    <a:pt x="69" y="193"/>
                  </a:cubicBezTo>
                  <a:cubicBezTo>
                    <a:pt x="69" y="192"/>
                    <a:pt x="69" y="192"/>
                    <a:pt x="69" y="192"/>
                  </a:cubicBezTo>
                  <a:cubicBezTo>
                    <a:pt x="69" y="192"/>
                    <a:pt x="69" y="192"/>
                    <a:pt x="69" y="192"/>
                  </a:cubicBezTo>
                  <a:cubicBezTo>
                    <a:pt x="69" y="192"/>
                    <a:pt x="69" y="192"/>
                    <a:pt x="69" y="192"/>
                  </a:cubicBezTo>
                  <a:cubicBezTo>
                    <a:pt x="69" y="192"/>
                    <a:pt x="69" y="192"/>
                    <a:pt x="69" y="192"/>
                  </a:cubicBezTo>
                  <a:cubicBezTo>
                    <a:pt x="69" y="193"/>
                    <a:pt x="69" y="193"/>
                    <a:pt x="69" y="193"/>
                  </a:cubicBezTo>
                  <a:cubicBezTo>
                    <a:pt x="69" y="193"/>
                    <a:pt x="69" y="193"/>
                    <a:pt x="69" y="193"/>
                  </a:cubicBezTo>
                  <a:cubicBezTo>
                    <a:pt x="69" y="193"/>
                    <a:pt x="69" y="193"/>
                    <a:pt x="69" y="193"/>
                  </a:cubicBezTo>
                  <a:cubicBezTo>
                    <a:pt x="69" y="193"/>
                    <a:pt x="69" y="193"/>
                    <a:pt x="69" y="193"/>
                  </a:cubicBezTo>
                  <a:cubicBezTo>
                    <a:pt x="70" y="193"/>
                    <a:pt x="70" y="193"/>
                    <a:pt x="70" y="193"/>
                  </a:cubicBezTo>
                  <a:cubicBezTo>
                    <a:pt x="70" y="194"/>
                    <a:pt x="70" y="194"/>
                    <a:pt x="70" y="194"/>
                  </a:cubicBezTo>
                  <a:cubicBezTo>
                    <a:pt x="70" y="194"/>
                    <a:pt x="70" y="194"/>
                    <a:pt x="70" y="194"/>
                  </a:cubicBezTo>
                  <a:cubicBezTo>
                    <a:pt x="70" y="193"/>
                    <a:pt x="70" y="193"/>
                    <a:pt x="70" y="193"/>
                  </a:cubicBezTo>
                  <a:cubicBezTo>
                    <a:pt x="70" y="193"/>
                    <a:pt x="70" y="193"/>
                    <a:pt x="70" y="193"/>
                  </a:cubicBezTo>
                  <a:cubicBezTo>
                    <a:pt x="70" y="193"/>
                    <a:pt x="70" y="193"/>
                    <a:pt x="70" y="193"/>
                  </a:cubicBezTo>
                  <a:cubicBezTo>
                    <a:pt x="70" y="193"/>
                    <a:pt x="70" y="193"/>
                    <a:pt x="70" y="193"/>
                  </a:cubicBezTo>
                  <a:cubicBezTo>
                    <a:pt x="70" y="193"/>
                    <a:pt x="70" y="193"/>
                    <a:pt x="70" y="193"/>
                  </a:cubicBezTo>
                  <a:cubicBezTo>
                    <a:pt x="70" y="194"/>
                    <a:pt x="70" y="194"/>
                    <a:pt x="70" y="194"/>
                  </a:cubicBezTo>
                  <a:cubicBezTo>
                    <a:pt x="71" y="194"/>
                    <a:pt x="71" y="194"/>
                    <a:pt x="71" y="194"/>
                  </a:cubicBezTo>
                  <a:cubicBezTo>
                    <a:pt x="71" y="194"/>
                    <a:pt x="71" y="194"/>
                    <a:pt x="71" y="194"/>
                  </a:cubicBezTo>
                  <a:cubicBezTo>
                    <a:pt x="71" y="195"/>
                    <a:pt x="71" y="195"/>
                    <a:pt x="71" y="195"/>
                  </a:cubicBezTo>
                  <a:cubicBezTo>
                    <a:pt x="71" y="195"/>
                    <a:pt x="71" y="195"/>
                    <a:pt x="71" y="195"/>
                  </a:cubicBezTo>
                  <a:cubicBezTo>
                    <a:pt x="72" y="195"/>
                    <a:pt x="72" y="195"/>
                    <a:pt x="72" y="195"/>
                  </a:cubicBezTo>
                  <a:cubicBezTo>
                    <a:pt x="72" y="195"/>
                    <a:pt x="72" y="195"/>
                    <a:pt x="72" y="195"/>
                  </a:cubicBezTo>
                  <a:cubicBezTo>
                    <a:pt x="72" y="195"/>
                    <a:pt x="72" y="195"/>
                    <a:pt x="72" y="195"/>
                  </a:cubicBezTo>
                  <a:cubicBezTo>
                    <a:pt x="72" y="195"/>
                    <a:pt x="72" y="195"/>
                    <a:pt x="72" y="195"/>
                  </a:cubicBezTo>
                  <a:cubicBezTo>
                    <a:pt x="72" y="195"/>
                    <a:pt x="72" y="195"/>
                    <a:pt x="72" y="195"/>
                  </a:cubicBezTo>
                  <a:cubicBezTo>
                    <a:pt x="73" y="194"/>
                    <a:pt x="73" y="194"/>
                    <a:pt x="73" y="194"/>
                  </a:cubicBezTo>
                  <a:cubicBezTo>
                    <a:pt x="73" y="192"/>
                    <a:pt x="73" y="192"/>
                    <a:pt x="73" y="192"/>
                  </a:cubicBezTo>
                  <a:cubicBezTo>
                    <a:pt x="73" y="191"/>
                    <a:pt x="73" y="191"/>
                    <a:pt x="73" y="191"/>
                  </a:cubicBezTo>
                  <a:cubicBezTo>
                    <a:pt x="73" y="191"/>
                    <a:pt x="73" y="191"/>
                    <a:pt x="73" y="191"/>
                  </a:cubicBezTo>
                  <a:cubicBezTo>
                    <a:pt x="73" y="191"/>
                    <a:pt x="73" y="191"/>
                    <a:pt x="73" y="191"/>
                  </a:cubicBezTo>
                  <a:cubicBezTo>
                    <a:pt x="72" y="191"/>
                    <a:pt x="72" y="191"/>
                    <a:pt x="72" y="191"/>
                  </a:cubicBezTo>
                  <a:cubicBezTo>
                    <a:pt x="72" y="192"/>
                    <a:pt x="72" y="192"/>
                    <a:pt x="72" y="192"/>
                  </a:cubicBezTo>
                  <a:cubicBezTo>
                    <a:pt x="72" y="192"/>
                    <a:pt x="72" y="192"/>
                    <a:pt x="72" y="192"/>
                  </a:cubicBezTo>
                  <a:cubicBezTo>
                    <a:pt x="70" y="191"/>
                    <a:pt x="70" y="191"/>
                    <a:pt x="70" y="191"/>
                  </a:cubicBezTo>
                  <a:cubicBezTo>
                    <a:pt x="70" y="191"/>
                    <a:pt x="70" y="191"/>
                    <a:pt x="70" y="191"/>
                  </a:cubicBezTo>
                  <a:cubicBezTo>
                    <a:pt x="70" y="191"/>
                    <a:pt x="70" y="191"/>
                    <a:pt x="70" y="191"/>
                  </a:cubicBezTo>
                  <a:cubicBezTo>
                    <a:pt x="70" y="191"/>
                    <a:pt x="70" y="191"/>
                    <a:pt x="70" y="191"/>
                  </a:cubicBezTo>
                  <a:cubicBezTo>
                    <a:pt x="70" y="192"/>
                    <a:pt x="70" y="192"/>
                    <a:pt x="70" y="192"/>
                  </a:cubicBezTo>
                  <a:cubicBezTo>
                    <a:pt x="70" y="192"/>
                    <a:pt x="70" y="192"/>
                    <a:pt x="70" y="192"/>
                  </a:cubicBezTo>
                  <a:cubicBezTo>
                    <a:pt x="70" y="192"/>
                    <a:pt x="70" y="192"/>
                    <a:pt x="70" y="192"/>
                  </a:cubicBezTo>
                  <a:cubicBezTo>
                    <a:pt x="70" y="192"/>
                    <a:pt x="70" y="192"/>
                    <a:pt x="70" y="192"/>
                  </a:cubicBezTo>
                  <a:cubicBezTo>
                    <a:pt x="70" y="192"/>
                    <a:pt x="70" y="192"/>
                    <a:pt x="70" y="192"/>
                  </a:cubicBezTo>
                  <a:cubicBezTo>
                    <a:pt x="70" y="192"/>
                    <a:pt x="70" y="192"/>
                    <a:pt x="70" y="192"/>
                  </a:cubicBezTo>
                  <a:cubicBezTo>
                    <a:pt x="70" y="192"/>
                    <a:pt x="70" y="192"/>
                    <a:pt x="70" y="192"/>
                  </a:cubicBezTo>
                  <a:cubicBezTo>
                    <a:pt x="70" y="192"/>
                    <a:pt x="70" y="192"/>
                    <a:pt x="70" y="192"/>
                  </a:cubicBezTo>
                  <a:cubicBezTo>
                    <a:pt x="70" y="192"/>
                    <a:pt x="70" y="192"/>
                    <a:pt x="70" y="192"/>
                  </a:cubicBezTo>
                  <a:cubicBezTo>
                    <a:pt x="70" y="193"/>
                    <a:pt x="70" y="193"/>
                    <a:pt x="70" y="193"/>
                  </a:cubicBezTo>
                  <a:cubicBezTo>
                    <a:pt x="70" y="193"/>
                    <a:pt x="70" y="193"/>
                    <a:pt x="70" y="193"/>
                  </a:cubicBezTo>
                  <a:cubicBezTo>
                    <a:pt x="70" y="193"/>
                    <a:pt x="70" y="193"/>
                    <a:pt x="70" y="193"/>
                  </a:cubicBezTo>
                  <a:close/>
                  <a:moveTo>
                    <a:pt x="62" y="188"/>
                  </a:moveTo>
                  <a:cubicBezTo>
                    <a:pt x="62" y="188"/>
                    <a:pt x="62" y="188"/>
                    <a:pt x="62" y="188"/>
                  </a:cubicBezTo>
                  <a:cubicBezTo>
                    <a:pt x="62" y="188"/>
                    <a:pt x="62" y="188"/>
                    <a:pt x="62" y="188"/>
                  </a:cubicBezTo>
                  <a:cubicBezTo>
                    <a:pt x="62" y="187"/>
                    <a:pt x="62" y="187"/>
                    <a:pt x="62" y="187"/>
                  </a:cubicBezTo>
                  <a:cubicBezTo>
                    <a:pt x="62" y="187"/>
                    <a:pt x="62" y="187"/>
                    <a:pt x="62" y="187"/>
                  </a:cubicBezTo>
                  <a:cubicBezTo>
                    <a:pt x="62" y="187"/>
                    <a:pt x="62" y="187"/>
                    <a:pt x="62" y="187"/>
                  </a:cubicBezTo>
                  <a:cubicBezTo>
                    <a:pt x="62" y="187"/>
                    <a:pt x="62" y="187"/>
                    <a:pt x="62" y="187"/>
                  </a:cubicBezTo>
                  <a:cubicBezTo>
                    <a:pt x="62" y="188"/>
                    <a:pt x="62" y="188"/>
                    <a:pt x="62" y="188"/>
                  </a:cubicBezTo>
                  <a:cubicBezTo>
                    <a:pt x="61" y="188"/>
                    <a:pt x="61" y="188"/>
                    <a:pt x="61" y="188"/>
                  </a:cubicBezTo>
                  <a:cubicBezTo>
                    <a:pt x="62" y="188"/>
                    <a:pt x="62" y="188"/>
                    <a:pt x="62" y="188"/>
                  </a:cubicBezTo>
                  <a:close/>
                  <a:moveTo>
                    <a:pt x="70" y="206"/>
                  </a:moveTo>
                  <a:cubicBezTo>
                    <a:pt x="70" y="206"/>
                    <a:pt x="70" y="206"/>
                    <a:pt x="70" y="206"/>
                  </a:cubicBezTo>
                  <a:cubicBezTo>
                    <a:pt x="70" y="206"/>
                    <a:pt x="70" y="206"/>
                    <a:pt x="70" y="206"/>
                  </a:cubicBezTo>
                  <a:cubicBezTo>
                    <a:pt x="70" y="206"/>
                    <a:pt x="70" y="206"/>
                    <a:pt x="70" y="206"/>
                  </a:cubicBezTo>
                  <a:cubicBezTo>
                    <a:pt x="71" y="205"/>
                    <a:pt x="71" y="205"/>
                    <a:pt x="71" y="205"/>
                  </a:cubicBezTo>
                  <a:cubicBezTo>
                    <a:pt x="71" y="205"/>
                    <a:pt x="71" y="205"/>
                    <a:pt x="71" y="205"/>
                  </a:cubicBezTo>
                  <a:cubicBezTo>
                    <a:pt x="71" y="204"/>
                    <a:pt x="71" y="204"/>
                    <a:pt x="71" y="204"/>
                  </a:cubicBezTo>
                  <a:cubicBezTo>
                    <a:pt x="71" y="205"/>
                    <a:pt x="71" y="205"/>
                    <a:pt x="71" y="205"/>
                  </a:cubicBezTo>
                  <a:cubicBezTo>
                    <a:pt x="70" y="205"/>
                    <a:pt x="70" y="205"/>
                    <a:pt x="70" y="205"/>
                  </a:cubicBezTo>
                  <a:cubicBezTo>
                    <a:pt x="70" y="205"/>
                    <a:pt x="70" y="205"/>
                    <a:pt x="70" y="205"/>
                  </a:cubicBezTo>
                  <a:cubicBezTo>
                    <a:pt x="69" y="206"/>
                    <a:pt x="69" y="206"/>
                    <a:pt x="69" y="206"/>
                  </a:cubicBezTo>
                  <a:cubicBezTo>
                    <a:pt x="70" y="206"/>
                    <a:pt x="70" y="206"/>
                    <a:pt x="70" y="206"/>
                  </a:cubicBezTo>
                  <a:close/>
                  <a:moveTo>
                    <a:pt x="69" y="198"/>
                  </a:moveTo>
                  <a:cubicBezTo>
                    <a:pt x="70" y="197"/>
                    <a:pt x="70" y="197"/>
                    <a:pt x="70" y="197"/>
                  </a:cubicBezTo>
                  <a:cubicBezTo>
                    <a:pt x="70" y="196"/>
                    <a:pt x="70" y="196"/>
                    <a:pt x="70" y="196"/>
                  </a:cubicBezTo>
                  <a:cubicBezTo>
                    <a:pt x="70" y="195"/>
                    <a:pt x="70" y="195"/>
                    <a:pt x="70" y="195"/>
                  </a:cubicBezTo>
                  <a:cubicBezTo>
                    <a:pt x="71" y="195"/>
                    <a:pt x="71" y="195"/>
                    <a:pt x="71" y="195"/>
                  </a:cubicBezTo>
                  <a:cubicBezTo>
                    <a:pt x="71" y="195"/>
                    <a:pt x="71" y="195"/>
                    <a:pt x="71" y="195"/>
                  </a:cubicBezTo>
                  <a:cubicBezTo>
                    <a:pt x="71" y="195"/>
                    <a:pt x="71" y="195"/>
                    <a:pt x="71" y="195"/>
                  </a:cubicBezTo>
                  <a:cubicBezTo>
                    <a:pt x="71" y="194"/>
                    <a:pt x="71" y="194"/>
                    <a:pt x="71" y="194"/>
                  </a:cubicBezTo>
                  <a:cubicBezTo>
                    <a:pt x="71" y="194"/>
                    <a:pt x="71" y="194"/>
                    <a:pt x="71" y="194"/>
                  </a:cubicBezTo>
                  <a:cubicBezTo>
                    <a:pt x="70" y="194"/>
                    <a:pt x="70" y="194"/>
                    <a:pt x="70" y="194"/>
                  </a:cubicBezTo>
                  <a:cubicBezTo>
                    <a:pt x="70" y="194"/>
                    <a:pt x="70" y="194"/>
                    <a:pt x="70" y="194"/>
                  </a:cubicBezTo>
                  <a:cubicBezTo>
                    <a:pt x="70" y="194"/>
                    <a:pt x="70" y="194"/>
                    <a:pt x="70" y="194"/>
                  </a:cubicBezTo>
                  <a:cubicBezTo>
                    <a:pt x="70" y="194"/>
                    <a:pt x="70" y="194"/>
                    <a:pt x="70" y="194"/>
                  </a:cubicBezTo>
                  <a:cubicBezTo>
                    <a:pt x="70" y="194"/>
                    <a:pt x="70" y="194"/>
                    <a:pt x="70" y="194"/>
                  </a:cubicBezTo>
                  <a:cubicBezTo>
                    <a:pt x="70" y="194"/>
                    <a:pt x="70" y="194"/>
                    <a:pt x="70" y="194"/>
                  </a:cubicBezTo>
                  <a:cubicBezTo>
                    <a:pt x="70" y="194"/>
                    <a:pt x="70" y="194"/>
                    <a:pt x="70" y="194"/>
                  </a:cubicBezTo>
                  <a:cubicBezTo>
                    <a:pt x="70" y="194"/>
                    <a:pt x="70" y="194"/>
                    <a:pt x="70" y="194"/>
                  </a:cubicBezTo>
                  <a:cubicBezTo>
                    <a:pt x="70" y="194"/>
                    <a:pt x="70" y="194"/>
                    <a:pt x="70" y="194"/>
                  </a:cubicBezTo>
                  <a:cubicBezTo>
                    <a:pt x="69" y="194"/>
                    <a:pt x="69" y="194"/>
                    <a:pt x="69" y="194"/>
                  </a:cubicBezTo>
                  <a:cubicBezTo>
                    <a:pt x="69" y="194"/>
                    <a:pt x="69" y="194"/>
                    <a:pt x="69" y="194"/>
                  </a:cubicBezTo>
                  <a:cubicBezTo>
                    <a:pt x="69" y="194"/>
                    <a:pt x="69" y="194"/>
                    <a:pt x="69" y="194"/>
                  </a:cubicBezTo>
                  <a:cubicBezTo>
                    <a:pt x="69" y="195"/>
                    <a:pt x="69" y="195"/>
                    <a:pt x="69" y="195"/>
                  </a:cubicBezTo>
                  <a:cubicBezTo>
                    <a:pt x="69" y="195"/>
                    <a:pt x="69" y="195"/>
                    <a:pt x="69" y="195"/>
                  </a:cubicBezTo>
                  <a:cubicBezTo>
                    <a:pt x="69" y="195"/>
                    <a:pt x="69" y="195"/>
                    <a:pt x="69" y="195"/>
                  </a:cubicBezTo>
                  <a:cubicBezTo>
                    <a:pt x="69" y="196"/>
                    <a:pt x="69" y="196"/>
                    <a:pt x="69" y="196"/>
                  </a:cubicBezTo>
                  <a:cubicBezTo>
                    <a:pt x="69" y="196"/>
                    <a:pt x="69" y="196"/>
                    <a:pt x="69" y="196"/>
                  </a:cubicBezTo>
                  <a:cubicBezTo>
                    <a:pt x="69" y="196"/>
                    <a:pt x="69" y="196"/>
                    <a:pt x="69" y="196"/>
                  </a:cubicBezTo>
                  <a:cubicBezTo>
                    <a:pt x="69" y="196"/>
                    <a:pt x="69" y="196"/>
                    <a:pt x="69" y="196"/>
                  </a:cubicBezTo>
                  <a:cubicBezTo>
                    <a:pt x="69" y="196"/>
                    <a:pt x="69" y="196"/>
                    <a:pt x="69" y="196"/>
                  </a:cubicBezTo>
                  <a:cubicBezTo>
                    <a:pt x="69" y="197"/>
                    <a:pt x="69" y="197"/>
                    <a:pt x="69" y="197"/>
                  </a:cubicBezTo>
                  <a:cubicBezTo>
                    <a:pt x="69" y="197"/>
                    <a:pt x="69" y="197"/>
                    <a:pt x="69" y="197"/>
                  </a:cubicBezTo>
                  <a:cubicBezTo>
                    <a:pt x="69" y="197"/>
                    <a:pt x="69" y="197"/>
                    <a:pt x="69" y="197"/>
                  </a:cubicBezTo>
                  <a:cubicBezTo>
                    <a:pt x="69" y="198"/>
                    <a:pt x="69" y="198"/>
                    <a:pt x="69" y="198"/>
                  </a:cubicBezTo>
                  <a:cubicBezTo>
                    <a:pt x="69" y="198"/>
                    <a:pt x="69" y="198"/>
                    <a:pt x="69" y="198"/>
                  </a:cubicBezTo>
                  <a:close/>
                  <a:moveTo>
                    <a:pt x="78" y="203"/>
                  </a:moveTo>
                  <a:cubicBezTo>
                    <a:pt x="78" y="203"/>
                    <a:pt x="78" y="203"/>
                    <a:pt x="78" y="203"/>
                  </a:cubicBezTo>
                  <a:cubicBezTo>
                    <a:pt x="78" y="203"/>
                    <a:pt x="78" y="203"/>
                    <a:pt x="78" y="203"/>
                  </a:cubicBezTo>
                  <a:cubicBezTo>
                    <a:pt x="78" y="203"/>
                    <a:pt x="78" y="203"/>
                    <a:pt x="78" y="203"/>
                  </a:cubicBezTo>
                  <a:cubicBezTo>
                    <a:pt x="78" y="203"/>
                    <a:pt x="78" y="203"/>
                    <a:pt x="78" y="203"/>
                  </a:cubicBezTo>
                  <a:cubicBezTo>
                    <a:pt x="78" y="203"/>
                    <a:pt x="78" y="203"/>
                    <a:pt x="78" y="203"/>
                  </a:cubicBezTo>
                  <a:cubicBezTo>
                    <a:pt x="76" y="202"/>
                    <a:pt x="76" y="202"/>
                    <a:pt x="76" y="202"/>
                  </a:cubicBezTo>
                  <a:cubicBezTo>
                    <a:pt x="76" y="202"/>
                    <a:pt x="76" y="202"/>
                    <a:pt x="76" y="202"/>
                  </a:cubicBezTo>
                  <a:cubicBezTo>
                    <a:pt x="76" y="203"/>
                    <a:pt x="76" y="203"/>
                    <a:pt x="76" y="203"/>
                  </a:cubicBezTo>
                  <a:cubicBezTo>
                    <a:pt x="76" y="203"/>
                    <a:pt x="76" y="203"/>
                    <a:pt x="76" y="203"/>
                  </a:cubicBezTo>
                  <a:cubicBezTo>
                    <a:pt x="76" y="202"/>
                    <a:pt x="76" y="202"/>
                    <a:pt x="76" y="202"/>
                  </a:cubicBezTo>
                  <a:cubicBezTo>
                    <a:pt x="75" y="202"/>
                    <a:pt x="75" y="202"/>
                    <a:pt x="75" y="202"/>
                  </a:cubicBezTo>
                  <a:cubicBezTo>
                    <a:pt x="75" y="203"/>
                    <a:pt x="75" y="203"/>
                    <a:pt x="75" y="203"/>
                  </a:cubicBezTo>
                  <a:cubicBezTo>
                    <a:pt x="75" y="203"/>
                    <a:pt x="75" y="203"/>
                    <a:pt x="75" y="203"/>
                  </a:cubicBezTo>
                  <a:cubicBezTo>
                    <a:pt x="75" y="203"/>
                    <a:pt x="75" y="203"/>
                    <a:pt x="75" y="203"/>
                  </a:cubicBezTo>
                  <a:cubicBezTo>
                    <a:pt x="75" y="204"/>
                    <a:pt x="75" y="204"/>
                    <a:pt x="75" y="204"/>
                  </a:cubicBezTo>
                  <a:cubicBezTo>
                    <a:pt x="75" y="204"/>
                    <a:pt x="75" y="204"/>
                    <a:pt x="75" y="204"/>
                  </a:cubicBezTo>
                  <a:cubicBezTo>
                    <a:pt x="76" y="204"/>
                    <a:pt x="76" y="204"/>
                    <a:pt x="76" y="204"/>
                  </a:cubicBezTo>
                  <a:cubicBezTo>
                    <a:pt x="76" y="204"/>
                    <a:pt x="76" y="204"/>
                    <a:pt x="76" y="204"/>
                  </a:cubicBezTo>
                  <a:cubicBezTo>
                    <a:pt x="76" y="204"/>
                    <a:pt x="76" y="204"/>
                    <a:pt x="76" y="204"/>
                  </a:cubicBezTo>
                  <a:cubicBezTo>
                    <a:pt x="76" y="204"/>
                    <a:pt x="76" y="204"/>
                    <a:pt x="76" y="204"/>
                  </a:cubicBezTo>
                  <a:cubicBezTo>
                    <a:pt x="77" y="204"/>
                    <a:pt x="77" y="204"/>
                    <a:pt x="77" y="204"/>
                  </a:cubicBezTo>
                  <a:cubicBezTo>
                    <a:pt x="77" y="204"/>
                    <a:pt x="77" y="204"/>
                    <a:pt x="77" y="204"/>
                  </a:cubicBezTo>
                  <a:cubicBezTo>
                    <a:pt x="77" y="204"/>
                    <a:pt x="77" y="204"/>
                    <a:pt x="77" y="204"/>
                  </a:cubicBezTo>
                  <a:cubicBezTo>
                    <a:pt x="78" y="204"/>
                    <a:pt x="78" y="204"/>
                    <a:pt x="78" y="204"/>
                  </a:cubicBezTo>
                  <a:cubicBezTo>
                    <a:pt x="78" y="204"/>
                    <a:pt x="78" y="204"/>
                    <a:pt x="78" y="204"/>
                  </a:cubicBezTo>
                  <a:cubicBezTo>
                    <a:pt x="78" y="203"/>
                    <a:pt x="78" y="203"/>
                    <a:pt x="78" y="203"/>
                  </a:cubicBezTo>
                  <a:cubicBezTo>
                    <a:pt x="78" y="203"/>
                    <a:pt x="78" y="203"/>
                    <a:pt x="78" y="203"/>
                  </a:cubicBezTo>
                  <a:cubicBezTo>
                    <a:pt x="78" y="203"/>
                    <a:pt x="78" y="203"/>
                    <a:pt x="78" y="203"/>
                  </a:cubicBezTo>
                  <a:cubicBezTo>
                    <a:pt x="78" y="203"/>
                    <a:pt x="78" y="203"/>
                    <a:pt x="78" y="203"/>
                  </a:cubicBezTo>
                  <a:close/>
                  <a:moveTo>
                    <a:pt x="78" y="200"/>
                  </a:moveTo>
                  <a:cubicBezTo>
                    <a:pt x="78" y="200"/>
                    <a:pt x="78" y="200"/>
                    <a:pt x="78" y="200"/>
                  </a:cubicBezTo>
                  <a:cubicBezTo>
                    <a:pt x="77" y="200"/>
                    <a:pt x="77" y="200"/>
                    <a:pt x="77" y="200"/>
                  </a:cubicBezTo>
                  <a:cubicBezTo>
                    <a:pt x="77" y="200"/>
                    <a:pt x="77" y="200"/>
                    <a:pt x="77" y="200"/>
                  </a:cubicBezTo>
                  <a:cubicBezTo>
                    <a:pt x="77" y="200"/>
                    <a:pt x="77" y="200"/>
                    <a:pt x="77" y="200"/>
                  </a:cubicBezTo>
                  <a:cubicBezTo>
                    <a:pt x="76" y="200"/>
                    <a:pt x="76" y="200"/>
                    <a:pt x="76" y="200"/>
                  </a:cubicBezTo>
                  <a:cubicBezTo>
                    <a:pt x="75" y="200"/>
                    <a:pt x="75" y="200"/>
                    <a:pt x="75" y="200"/>
                  </a:cubicBezTo>
                  <a:cubicBezTo>
                    <a:pt x="75" y="200"/>
                    <a:pt x="75" y="200"/>
                    <a:pt x="75" y="200"/>
                  </a:cubicBezTo>
                  <a:cubicBezTo>
                    <a:pt x="76" y="200"/>
                    <a:pt x="76" y="200"/>
                    <a:pt x="76" y="200"/>
                  </a:cubicBezTo>
                  <a:cubicBezTo>
                    <a:pt x="76" y="201"/>
                    <a:pt x="76" y="201"/>
                    <a:pt x="76" y="201"/>
                  </a:cubicBezTo>
                  <a:cubicBezTo>
                    <a:pt x="76" y="201"/>
                    <a:pt x="76" y="201"/>
                    <a:pt x="76" y="201"/>
                  </a:cubicBezTo>
                  <a:cubicBezTo>
                    <a:pt x="76" y="201"/>
                    <a:pt x="76" y="201"/>
                    <a:pt x="76" y="201"/>
                  </a:cubicBezTo>
                  <a:cubicBezTo>
                    <a:pt x="77" y="201"/>
                    <a:pt x="77" y="201"/>
                    <a:pt x="77" y="201"/>
                  </a:cubicBezTo>
                  <a:cubicBezTo>
                    <a:pt x="77" y="201"/>
                    <a:pt x="77" y="201"/>
                    <a:pt x="77" y="201"/>
                  </a:cubicBezTo>
                  <a:cubicBezTo>
                    <a:pt x="77" y="201"/>
                    <a:pt x="77" y="201"/>
                    <a:pt x="77" y="201"/>
                  </a:cubicBezTo>
                  <a:cubicBezTo>
                    <a:pt x="77" y="201"/>
                    <a:pt x="77" y="201"/>
                    <a:pt x="77" y="201"/>
                  </a:cubicBezTo>
                  <a:cubicBezTo>
                    <a:pt x="77" y="201"/>
                    <a:pt x="77" y="201"/>
                    <a:pt x="77" y="201"/>
                  </a:cubicBezTo>
                  <a:cubicBezTo>
                    <a:pt x="76" y="201"/>
                    <a:pt x="76" y="201"/>
                    <a:pt x="76" y="201"/>
                  </a:cubicBezTo>
                  <a:cubicBezTo>
                    <a:pt x="76" y="201"/>
                    <a:pt x="76" y="201"/>
                    <a:pt x="76" y="201"/>
                  </a:cubicBezTo>
                  <a:cubicBezTo>
                    <a:pt x="76" y="201"/>
                    <a:pt x="76" y="201"/>
                    <a:pt x="76" y="201"/>
                  </a:cubicBezTo>
                  <a:cubicBezTo>
                    <a:pt x="76" y="202"/>
                    <a:pt x="76" y="202"/>
                    <a:pt x="76" y="202"/>
                  </a:cubicBezTo>
                  <a:cubicBezTo>
                    <a:pt x="76" y="202"/>
                    <a:pt x="76" y="202"/>
                    <a:pt x="76" y="202"/>
                  </a:cubicBezTo>
                  <a:cubicBezTo>
                    <a:pt x="76" y="202"/>
                    <a:pt x="76" y="202"/>
                    <a:pt x="76" y="202"/>
                  </a:cubicBezTo>
                  <a:cubicBezTo>
                    <a:pt x="77" y="202"/>
                    <a:pt x="77" y="202"/>
                    <a:pt x="77" y="202"/>
                  </a:cubicBezTo>
                  <a:cubicBezTo>
                    <a:pt x="78" y="202"/>
                    <a:pt x="78" y="202"/>
                    <a:pt x="78" y="202"/>
                  </a:cubicBezTo>
                  <a:cubicBezTo>
                    <a:pt x="78" y="202"/>
                    <a:pt x="78" y="202"/>
                    <a:pt x="78" y="202"/>
                  </a:cubicBezTo>
                  <a:cubicBezTo>
                    <a:pt x="78" y="202"/>
                    <a:pt x="78" y="202"/>
                    <a:pt x="78" y="202"/>
                  </a:cubicBezTo>
                  <a:cubicBezTo>
                    <a:pt x="78" y="202"/>
                    <a:pt x="78" y="202"/>
                    <a:pt x="78" y="202"/>
                  </a:cubicBezTo>
                  <a:cubicBezTo>
                    <a:pt x="78" y="202"/>
                    <a:pt x="78" y="202"/>
                    <a:pt x="78" y="202"/>
                  </a:cubicBezTo>
                  <a:cubicBezTo>
                    <a:pt x="78" y="201"/>
                    <a:pt x="78" y="201"/>
                    <a:pt x="78" y="201"/>
                  </a:cubicBezTo>
                  <a:cubicBezTo>
                    <a:pt x="78" y="201"/>
                    <a:pt x="78" y="201"/>
                    <a:pt x="78" y="201"/>
                  </a:cubicBezTo>
                  <a:cubicBezTo>
                    <a:pt x="78" y="201"/>
                    <a:pt x="78" y="201"/>
                    <a:pt x="78" y="201"/>
                  </a:cubicBezTo>
                  <a:lnTo>
                    <a:pt x="78" y="200"/>
                  </a:lnTo>
                  <a:close/>
                  <a:moveTo>
                    <a:pt x="78" y="204"/>
                  </a:moveTo>
                  <a:cubicBezTo>
                    <a:pt x="78" y="204"/>
                    <a:pt x="78" y="204"/>
                    <a:pt x="78" y="204"/>
                  </a:cubicBezTo>
                  <a:cubicBezTo>
                    <a:pt x="78" y="204"/>
                    <a:pt x="78" y="204"/>
                    <a:pt x="78" y="204"/>
                  </a:cubicBezTo>
                  <a:cubicBezTo>
                    <a:pt x="78" y="204"/>
                    <a:pt x="78" y="204"/>
                    <a:pt x="78" y="204"/>
                  </a:cubicBezTo>
                  <a:cubicBezTo>
                    <a:pt x="78" y="205"/>
                    <a:pt x="78" y="205"/>
                    <a:pt x="78" y="205"/>
                  </a:cubicBezTo>
                  <a:cubicBezTo>
                    <a:pt x="77" y="206"/>
                    <a:pt x="77" y="206"/>
                    <a:pt x="77" y="206"/>
                  </a:cubicBezTo>
                  <a:cubicBezTo>
                    <a:pt x="77" y="207"/>
                    <a:pt x="77" y="207"/>
                    <a:pt x="77" y="207"/>
                  </a:cubicBezTo>
                  <a:cubicBezTo>
                    <a:pt x="77" y="207"/>
                    <a:pt x="77" y="207"/>
                    <a:pt x="77" y="207"/>
                  </a:cubicBezTo>
                  <a:cubicBezTo>
                    <a:pt x="77" y="207"/>
                    <a:pt x="77" y="207"/>
                    <a:pt x="77" y="207"/>
                  </a:cubicBezTo>
                  <a:cubicBezTo>
                    <a:pt x="78" y="207"/>
                    <a:pt x="78" y="207"/>
                    <a:pt x="78" y="207"/>
                  </a:cubicBezTo>
                  <a:cubicBezTo>
                    <a:pt x="78" y="207"/>
                    <a:pt x="78" y="207"/>
                    <a:pt x="78" y="207"/>
                  </a:cubicBezTo>
                  <a:cubicBezTo>
                    <a:pt x="79" y="207"/>
                    <a:pt x="79" y="207"/>
                    <a:pt x="79" y="207"/>
                  </a:cubicBezTo>
                  <a:cubicBezTo>
                    <a:pt x="79" y="207"/>
                    <a:pt x="79" y="207"/>
                    <a:pt x="79" y="207"/>
                  </a:cubicBezTo>
                  <a:cubicBezTo>
                    <a:pt x="80" y="207"/>
                    <a:pt x="80" y="207"/>
                    <a:pt x="80" y="207"/>
                  </a:cubicBezTo>
                  <a:cubicBezTo>
                    <a:pt x="80" y="207"/>
                    <a:pt x="80" y="207"/>
                    <a:pt x="80" y="207"/>
                  </a:cubicBezTo>
                  <a:cubicBezTo>
                    <a:pt x="80" y="206"/>
                    <a:pt x="80" y="206"/>
                    <a:pt x="80" y="206"/>
                  </a:cubicBezTo>
                  <a:cubicBezTo>
                    <a:pt x="80" y="206"/>
                    <a:pt x="80" y="206"/>
                    <a:pt x="80" y="206"/>
                  </a:cubicBezTo>
                  <a:cubicBezTo>
                    <a:pt x="80" y="205"/>
                    <a:pt x="80" y="205"/>
                    <a:pt x="80" y="205"/>
                  </a:cubicBezTo>
                  <a:cubicBezTo>
                    <a:pt x="81" y="204"/>
                    <a:pt x="81" y="204"/>
                    <a:pt x="81" y="204"/>
                  </a:cubicBezTo>
                  <a:cubicBezTo>
                    <a:pt x="82" y="204"/>
                    <a:pt x="82" y="204"/>
                    <a:pt x="82" y="204"/>
                  </a:cubicBezTo>
                  <a:cubicBezTo>
                    <a:pt x="82" y="204"/>
                    <a:pt x="82" y="204"/>
                    <a:pt x="82" y="204"/>
                  </a:cubicBezTo>
                  <a:cubicBezTo>
                    <a:pt x="82" y="204"/>
                    <a:pt x="82" y="204"/>
                    <a:pt x="82" y="204"/>
                  </a:cubicBezTo>
                  <a:cubicBezTo>
                    <a:pt x="82" y="204"/>
                    <a:pt x="82" y="204"/>
                    <a:pt x="82" y="204"/>
                  </a:cubicBezTo>
                  <a:cubicBezTo>
                    <a:pt x="82" y="203"/>
                    <a:pt x="82" y="203"/>
                    <a:pt x="82" y="203"/>
                  </a:cubicBezTo>
                  <a:cubicBezTo>
                    <a:pt x="82" y="203"/>
                    <a:pt x="82" y="203"/>
                    <a:pt x="82" y="203"/>
                  </a:cubicBezTo>
                  <a:cubicBezTo>
                    <a:pt x="83" y="203"/>
                    <a:pt x="83" y="203"/>
                    <a:pt x="83" y="203"/>
                  </a:cubicBezTo>
                  <a:cubicBezTo>
                    <a:pt x="83" y="203"/>
                    <a:pt x="83" y="203"/>
                    <a:pt x="83" y="203"/>
                  </a:cubicBezTo>
                  <a:cubicBezTo>
                    <a:pt x="84" y="203"/>
                    <a:pt x="84" y="203"/>
                    <a:pt x="84" y="203"/>
                  </a:cubicBezTo>
                  <a:cubicBezTo>
                    <a:pt x="84" y="203"/>
                    <a:pt x="84" y="203"/>
                    <a:pt x="84" y="203"/>
                  </a:cubicBezTo>
                  <a:cubicBezTo>
                    <a:pt x="84" y="203"/>
                    <a:pt x="84" y="203"/>
                    <a:pt x="84" y="203"/>
                  </a:cubicBezTo>
                  <a:cubicBezTo>
                    <a:pt x="85" y="203"/>
                    <a:pt x="85" y="203"/>
                    <a:pt x="85" y="203"/>
                  </a:cubicBezTo>
                  <a:cubicBezTo>
                    <a:pt x="85" y="203"/>
                    <a:pt x="85" y="203"/>
                    <a:pt x="85" y="203"/>
                  </a:cubicBezTo>
                  <a:cubicBezTo>
                    <a:pt x="85" y="203"/>
                    <a:pt x="85" y="203"/>
                    <a:pt x="85" y="203"/>
                  </a:cubicBezTo>
                  <a:cubicBezTo>
                    <a:pt x="85" y="203"/>
                    <a:pt x="85" y="203"/>
                    <a:pt x="85" y="203"/>
                  </a:cubicBezTo>
                  <a:cubicBezTo>
                    <a:pt x="85" y="203"/>
                    <a:pt x="85" y="203"/>
                    <a:pt x="85" y="203"/>
                  </a:cubicBezTo>
                  <a:cubicBezTo>
                    <a:pt x="85" y="203"/>
                    <a:pt x="85" y="203"/>
                    <a:pt x="85" y="203"/>
                  </a:cubicBezTo>
                  <a:cubicBezTo>
                    <a:pt x="85" y="203"/>
                    <a:pt x="85" y="203"/>
                    <a:pt x="85" y="203"/>
                  </a:cubicBezTo>
                  <a:cubicBezTo>
                    <a:pt x="87" y="202"/>
                    <a:pt x="87" y="202"/>
                    <a:pt x="87" y="202"/>
                  </a:cubicBezTo>
                  <a:cubicBezTo>
                    <a:pt x="87" y="202"/>
                    <a:pt x="87" y="202"/>
                    <a:pt x="87" y="202"/>
                  </a:cubicBezTo>
                  <a:cubicBezTo>
                    <a:pt x="88" y="201"/>
                    <a:pt x="88" y="201"/>
                    <a:pt x="88" y="201"/>
                  </a:cubicBezTo>
                  <a:cubicBezTo>
                    <a:pt x="87" y="201"/>
                    <a:pt x="87" y="201"/>
                    <a:pt x="87" y="201"/>
                  </a:cubicBezTo>
                  <a:cubicBezTo>
                    <a:pt x="88" y="200"/>
                    <a:pt x="88" y="200"/>
                    <a:pt x="88" y="200"/>
                  </a:cubicBezTo>
                  <a:cubicBezTo>
                    <a:pt x="88" y="200"/>
                    <a:pt x="88" y="200"/>
                    <a:pt x="88" y="200"/>
                  </a:cubicBezTo>
                  <a:cubicBezTo>
                    <a:pt x="88" y="200"/>
                    <a:pt x="88" y="200"/>
                    <a:pt x="88" y="200"/>
                  </a:cubicBezTo>
                  <a:cubicBezTo>
                    <a:pt x="88" y="199"/>
                    <a:pt x="88" y="199"/>
                    <a:pt x="88" y="199"/>
                  </a:cubicBezTo>
                  <a:cubicBezTo>
                    <a:pt x="87" y="199"/>
                    <a:pt x="87" y="199"/>
                    <a:pt x="87" y="199"/>
                  </a:cubicBezTo>
                  <a:cubicBezTo>
                    <a:pt x="87" y="200"/>
                    <a:pt x="87" y="200"/>
                    <a:pt x="87" y="200"/>
                  </a:cubicBezTo>
                  <a:cubicBezTo>
                    <a:pt x="87" y="200"/>
                    <a:pt x="87" y="200"/>
                    <a:pt x="87" y="200"/>
                  </a:cubicBezTo>
                  <a:cubicBezTo>
                    <a:pt x="85" y="200"/>
                    <a:pt x="85" y="200"/>
                    <a:pt x="85" y="200"/>
                  </a:cubicBezTo>
                  <a:cubicBezTo>
                    <a:pt x="85" y="200"/>
                    <a:pt x="85" y="200"/>
                    <a:pt x="85" y="200"/>
                  </a:cubicBezTo>
                  <a:cubicBezTo>
                    <a:pt x="85" y="200"/>
                    <a:pt x="85" y="200"/>
                    <a:pt x="85" y="200"/>
                  </a:cubicBezTo>
                  <a:cubicBezTo>
                    <a:pt x="85" y="200"/>
                    <a:pt x="85" y="200"/>
                    <a:pt x="85" y="200"/>
                  </a:cubicBezTo>
                  <a:cubicBezTo>
                    <a:pt x="85" y="200"/>
                    <a:pt x="85" y="200"/>
                    <a:pt x="85" y="200"/>
                  </a:cubicBezTo>
                  <a:cubicBezTo>
                    <a:pt x="84" y="201"/>
                    <a:pt x="84" y="201"/>
                    <a:pt x="84" y="201"/>
                  </a:cubicBezTo>
                  <a:cubicBezTo>
                    <a:pt x="84" y="201"/>
                    <a:pt x="84" y="201"/>
                    <a:pt x="84" y="201"/>
                  </a:cubicBezTo>
                  <a:cubicBezTo>
                    <a:pt x="84" y="201"/>
                    <a:pt x="84" y="201"/>
                    <a:pt x="84" y="201"/>
                  </a:cubicBezTo>
                  <a:cubicBezTo>
                    <a:pt x="84" y="201"/>
                    <a:pt x="84" y="201"/>
                    <a:pt x="84" y="201"/>
                  </a:cubicBezTo>
                  <a:cubicBezTo>
                    <a:pt x="83" y="201"/>
                    <a:pt x="83" y="201"/>
                    <a:pt x="83" y="201"/>
                  </a:cubicBezTo>
                  <a:cubicBezTo>
                    <a:pt x="83" y="201"/>
                    <a:pt x="83" y="201"/>
                    <a:pt x="83" y="201"/>
                  </a:cubicBezTo>
                  <a:cubicBezTo>
                    <a:pt x="83" y="201"/>
                    <a:pt x="83" y="201"/>
                    <a:pt x="83" y="201"/>
                  </a:cubicBezTo>
                  <a:cubicBezTo>
                    <a:pt x="82" y="201"/>
                    <a:pt x="82" y="201"/>
                    <a:pt x="82" y="201"/>
                  </a:cubicBezTo>
                  <a:cubicBezTo>
                    <a:pt x="82" y="202"/>
                    <a:pt x="82" y="202"/>
                    <a:pt x="82" y="202"/>
                  </a:cubicBezTo>
                  <a:cubicBezTo>
                    <a:pt x="81" y="202"/>
                    <a:pt x="81" y="202"/>
                    <a:pt x="81" y="202"/>
                  </a:cubicBezTo>
                  <a:cubicBezTo>
                    <a:pt x="80" y="202"/>
                    <a:pt x="80" y="202"/>
                    <a:pt x="80" y="202"/>
                  </a:cubicBezTo>
                  <a:cubicBezTo>
                    <a:pt x="80" y="202"/>
                    <a:pt x="80" y="202"/>
                    <a:pt x="80" y="202"/>
                  </a:cubicBezTo>
                  <a:cubicBezTo>
                    <a:pt x="80" y="202"/>
                    <a:pt x="80" y="202"/>
                    <a:pt x="80" y="202"/>
                  </a:cubicBezTo>
                  <a:cubicBezTo>
                    <a:pt x="79" y="202"/>
                    <a:pt x="79" y="202"/>
                    <a:pt x="79" y="202"/>
                  </a:cubicBezTo>
                  <a:cubicBezTo>
                    <a:pt x="79" y="203"/>
                    <a:pt x="79" y="203"/>
                    <a:pt x="79" y="203"/>
                  </a:cubicBezTo>
                  <a:cubicBezTo>
                    <a:pt x="79" y="203"/>
                    <a:pt x="79" y="203"/>
                    <a:pt x="79" y="203"/>
                  </a:cubicBezTo>
                  <a:cubicBezTo>
                    <a:pt x="79" y="204"/>
                    <a:pt x="79" y="204"/>
                    <a:pt x="79" y="204"/>
                  </a:cubicBezTo>
                  <a:cubicBezTo>
                    <a:pt x="79" y="204"/>
                    <a:pt x="79" y="204"/>
                    <a:pt x="79" y="204"/>
                  </a:cubicBezTo>
                  <a:cubicBezTo>
                    <a:pt x="79" y="204"/>
                    <a:pt x="79" y="204"/>
                    <a:pt x="79" y="204"/>
                  </a:cubicBezTo>
                  <a:lnTo>
                    <a:pt x="78" y="204"/>
                  </a:lnTo>
                  <a:close/>
                  <a:moveTo>
                    <a:pt x="75" y="214"/>
                  </a:moveTo>
                  <a:cubicBezTo>
                    <a:pt x="75" y="214"/>
                    <a:pt x="75" y="214"/>
                    <a:pt x="75" y="214"/>
                  </a:cubicBezTo>
                  <a:cubicBezTo>
                    <a:pt x="74" y="213"/>
                    <a:pt x="74" y="213"/>
                    <a:pt x="74" y="213"/>
                  </a:cubicBezTo>
                  <a:cubicBezTo>
                    <a:pt x="75" y="213"/>
                    <a:pt x="75" y="213"/>
                    <a:pt x="75" y="213"/>
                  </a:cubicBezTo>
                  <a:cubicBezTo>
                    <a:pt x="75" y="212"/>
                    <a:pt x="75" y="212"/>
                    <a:pt x="75" y="212"/>
                  </a:cubicBezTo>
                  <a:cubicBezTo>
                    <a:pt x="75" y="212"/>
                    <a:pt x="75" y="212"/>
                    <a:pt x="75" y="212"/>
                  </a:cubicBezTo>
                  <a:cubicBezTo>
                    <a:pt x="74" y="211"/>
                    <a:pt x="74" y="211"/>
                    <a:pt x="74" y="211"/>
                  </a:cubicBezTo>
                  <a:cubicBezTo>
                    <a:pt x="74" y="211"/>
                    <a:pt x="74" y="211"/>
                    <a:pt x="74" y="211"/>
                  </a:cubicBezTo>
                  <a:cubicBezTo>
                    <a:pt x="73" y="212"/>
                    <a:pt x="73" y="212"/>
                    <a:pt x="73" y="212"/>
                  </a:cubicBezTo>
                  <a:cubicBezTo>
                    <a:pt x="73" y="212"/>
                    <a:pt x="73" y="212"/>
                    <a:pt x="73" y="212"/>
                  </a:cubicBezTo>
                  <a:cubicBezTo>
                    <a:pt x="72" y="213"/>
                    <a:pt x="72" y="213"/>
                    <a:pt x="72" y="213"/>
                  </a:cubicBezTo>
                  <a:cubicBezTo>
                    <a:pt x="72" y="214"/>
                    <a:pt x="72" y="214"/>
                    <a:pt x="72" y="214"/>
                  </a:cubicBezTo>
                  <a:cubicBezTo>
                    <a:pt x="72" y="215"/>
                    <a:pt x="72" y="215"/>
                    <a:pt x="72" y="215"/>
                  </a:cubicBezTo>
                  <a:cubicBezTo>
                    <a:pt x="72" y="215"/>
                    <a:pt x="72" y="215"/>
                    <a:pt x="72" y="215"/>
                  </a:cubicBezTo>
                  <a:cubicBezTo>
                    <a:pt x="72" y="215"/>
                    <a:pt x="72" y="215"/>
                    <a:pt x="72" y="215"/>
                  </a:cubicBezTo>
                  <a:cubicBezTo>
                    <a:pt x="72" y="216"/>
                    <a:pt x="72" y="216"/>
                    <a:pt x="72" y="216"/>
                  </a:cubicBezTo>
                  <a:cubicBezTo>
                    <a:pt x="72" y="216"/>
                    <a:pt x="72" y="216"/>
                    <a:pt x="72" y="216"/>
                  </a:cubicBezTo>
                  <a:cubicBezTo>
                    <a:pt x="73" y="217"/>
                    <a:pt x="73" y="217"/>
                    <a:pt x="73" y="217"/>
                  </a:cubicBezTo>
                  <a:cubicBezTo>
                    <a:pt x="73" y="217"/>
                    <a:pt x="73" y="217"/>
                    <a:pt x="73" y="217"/>
                  </a:cubicBezTo>
                  <a:cubicBezTo>
                    <a:pt x="73" y="217"/>
                    <a:pt x="73" y="217"/>
                    <a:pt x="73" y="217"/>
                  </a:cubicBezTo>
                  <a:cubicBezTo>
                    <a:pt x="73" y="217"/>
                    <a:pt x="73" y="217"/>
                    <a:pt x="73" y="217"/>
                  </a:cubicBezTo>
                  <a:cubicBezTo>
                    <a:pt x="73" y="217"/>
                    <a:pt x="73" y="217"/>
                    <a:pt x="73" y="217"/>
                  </a:cubicBezTo>
                  <a:cubicBezTo>
                    <a:pt x="74" y="217"/>
                    <a:pt x="74" y="217"/>
                    <a:pt x="74" y="217"/>
                  </a:cubicBezTo>
                  <a:cubicBezTo>
                    <a:pt x="74" y="217"/>
                    <a:pt x="74" y="217"/>
                    <a:pt x="74" y="217"/>
                  </a:cubicBezTo>
                  <a:cubicBezTo>
                    <a:pt x="74" y="218"/>
                    <a:pt x="74" y="218"/>
                    <a:pt x="74" y="218"/>
                  </a:cubicBezTo>
                  <a:cubicBezTo>
                    <a:pt x="74" y="218"/>
                    <a:pt x="74" y="218"/>
                    <a:pt x="74" y="218"/>
                  </a:cubicBezTo>
                  <a:cubicBezTo>
                    <a:pt x="74" y="218"/>
                    <a:pt x="74" y="218"/>
                    <a:pt x="74" y="218"/>
                  </a:cubicBezTo>
                  <a:cubicBezTo>
                    <a:pt x="74" y="218"/>
                    <a:pt x="74" y="218"/>
                    <a:pt x="74" y="218"/>
                  </a:cubicBezTo>
                  <a:cubicBezTo>
                    <a:pt x="74" y="218"/>
                    <a:pt x="74" y="218"/>
                    <a:pt x="74" y="218"/>
                  </a:cubicBezTo>
                  <a:cubicBezTo>
                    <a:pt x="75" y="218"/>
                    <a:pt x="75" y="218"/>
                    <a:pt x="75" y="218"/>
                  </a:cubicBezTo>
                  <a:cubicBezTo>
                    <a:pt x="75" y="217"/>
                    <a:pt x="75" y="217"/>
                    <a:pt x="75" y="217"/>
                  </a:cubicBezTo>
                  <a:cubicBezTo>
                    <a:pt x="75" y="217"/>
                    <a:pt x="75" y="217"/>
                    <a:pt x="75" y="217"/>
                  </a:cubicBezTo>
                  <a:cubicBezTo>
                    <a:pt x="75" y="216"/>
                    <a:pt x="75" y="216"/>
                    <a:pt x="75" y="216"/>
                  </a:cubicBezTo>
                  <a:cubicBezTo>
                    <a:pt x="75" y="216"/>
                    <a:pt x="75" y="216"/>
                    <a:pt x="75" y="216"/>
                  </a:cubicBezTo>
                  <a:cubicBezTo>
                    <a:pt x="75" y="216"/>
                    <a:pt x="75" y="216"/>
                    <a:pt x="75" y="216"/>
                  </a:cubicBezTo>
                  <a:cubicBezTo>
                    <a:pt x="75" y="215"/>
                    <a:pt x="75" y="215"/>
                    <a:pt x="75" y="215"/>
                  </a:cubicBezTo>
                  <a:lnTo>
                    <a:pt x="75" y="214"/>
                  </a:lnTo>
                  <a:close/>
                  <a:moveTo>
                    <a:pt x="77" y="205"/>
                  </a:moveTo>
                  <a:cubicBezTo>
                    <a:pt x="77" y="205"/>
                    <a:pt x="77" y="205"/>
                    <a:pt x="77" y="205"/>
                  </a:cubicBezTo>
                  <a:cubicBezTo>
                    <a:pt x="76" y="205"/>
                    <a:pt x="76" y="205"/>
                    <a:pt x="76" y="205"/>
                  </a:cubicBezTo>
                  <a:cubicBezTo>
                    <a:pt x="76" y="205"/>
                    <a:pt x="76" y="205"/>
                    <a:pt x="76" y="205"/>
                  </a:cubicBezTo>
                  <a:cubicBezTo>
                    <a:pt x="75" y="204"/>
                    <a:pt x="75" y="204"/>
                    <a:pt x="75" y="204"/>
                  </a:cubicBezTo>
                  <a:cubicBezTo>
                    <a:pt x="75" y="204"/>
                    <a:pt x="75" y="204"/>
                    <a:pt x="75" y="204"/>
                  </a:cubicBezTo>
                  <a:cubicBezTo>
                    <a:pt x="75" y="205"/>
                    <a:pt x="75" y="205"/>
                    <a:pt x="75" y="205"/>
                  </a:cubicBezTo>
                  <a:cubicBezTo>
                    <a:pt x="75" y="205"/>
                    <a:pt x="75" y="205"/>
                    <a:pt x="75" y="205"/>
                  </a:cubicBezTo>
                  <a:cubicBezTo>
                    <a:pt x="74" y="205"/>
                    <a:pt x="74" y="205"/>
                    <a:pt x="74" y="205"/>
                  </a:cubicBezTo>
                  <a:cubicBezTo>
                    <a:pt x="74" y="205"/>
                    <a:pt x="74" y="205"/>
                    <a:pt x="74" y="205"/>
                  </a:cubicBezTo>
                  <a:cubicBezTo>
                    <a:pt x="73" y="206"/>
                    <a:pt x="73" y="206"/>
                    <a:pt x="73" y="206"/>
                  </a:cubicBezTo>
                  <a:cubicBezTo>
                    <a:pt x="73" y="206"/>
                    <a:pt x="73" y="206"/>
                    <a:pt x="73" y="206"/>
                  </a:cubicBezTo>
                  <a:cubicBezTo>
                    <a:pt x="73" y="206"/>
                    <a:pt x="73" y="206"/>
                    <a:pt x="73" y="206"/>
                  </a:cubicBezTo>
                  <a:cubicBezTo>
                    <a:pt x="73" y="206"/>
                    <a:pt x="73" y="206"/>
                    <a:pt x="73" y="206"/>
                  </a:cubicBezTo>
                  <a:cubicBezTo>
                    <a:pt x="73" y="207"/>
                    <a:pt x="73" y="207"/>
                    <a:pt x="73" y="207"/>
                  </a:cubicBezTo>
                  <a:cubicBezTo>
                    <a:pt x="73" y="207"/>
                    <a:pt x="73" y="207"/>
                    <a:pt x="73" y="207"/>
                  </a:cubicBezTo>
                  <a:cubicBezTo>
                    <a:pt x="73" y="207"/>
                    <a:pt x="73" y="207"/>
                    <a:pt x="73" y="207"/>
                  </a:cubicBezTo>
                  <a:cubicBezTo>
                    <a:pt x="72" y="207"/>
                    <a:pt x="72" y="207"/>
                    <a:pt x="72" y="207"/>
                  </a:cubicBezTo>
                  <a:cubicBezTo>
                    <a:pt x="72" y="208"/>
                    <a:pt x="72" y="208"/>
                    <a:pt x="72" y="208"/>
                  </a:cubicBezTo>
                  <a:cubicBezTo>
                    <a:pt x="72" y="208"/>
                    <a:pt x="72" y="208"/>
                    <a:pt x="72" y="208"/>
                  </a:cubicBezTo>
                  <a:cubicBezTo>
                    <a:pt x="72" y="208"/>
                    <a:pt x="72" y="208"/>
                    <a:pt x="72" y="208"/>
                  </a:cubicBezTo>
                  <a:cubicBezTo>
                    <a:pt x="73" y="208"/>
                    <a:pt x="73" y="208"/>
                    <a:pt x="73" y="208"/>
                  </a:cubicBezTo>
                  <a:cubicBezTo>
                    <a:pt x="73" y="208"/>
                    <a:pt x="73" y="208"/>
                    <a:pt x="73" y="208"/>
                  </a:cubicBezTo>
                  <a:cubicBezTo>
                    <a:pt x="73" y="208"/>
                    <a:pt x="73" y="208"/>
                    <a:pt x="73" y="208"/>
                  </a:cubicBezTo>
                  <a:cubicBezTo>
                    <a:pt x="74" y="208"/>
                    <a:pt x="74" y="208"/>
                    <a:pt x="74" y="208"/>
                  </a:cubicBezTo>
                  <a:cubicBezTo>
                    <a:pt x="74" y="208"/>
                    <a:pt x="74" y="208"/>
                    <a:pt x="74" y="208"/>
                  </a:cubicBezTo>
                  <a:cubicBezTo>
                    <a:pt x="74" y="208"/>
                    <a:pt x="74" y="208"/>
                    <a:pt x="74" y="208"/>
                  </a:cubicBezTo>
                  <a:cubicBezTo>
                    <a:pt x="74" y="208"/>
                    <a:pt x="74" y="208"/>
                    <a:pt x="74" y="208"/>
                  </a:cubicBezTo>
                  <a:cubicBezTo>
                    <a:pt x="74" y="209"/>
                    <a:pt x="74" y="209"/>
                    <a:pt x="74" y="209"/>
                  </a:cubicBezTo>
                  <a:cubicBezTo>
                    <a:pt x="73" y="209"/>
                    <a:pt x="73" y="209"/>
                    <a:pt x="73" y="209"/>
                  </a:cubicBezTo>
                  <a:cubicBezTo>
                    <a:pt x="74" y="209"/>
                    <a:pt x="74" y="209"/>
                    <a:pt x="74" y="209"/>
                  </a:cubicBezTo>
                  <a:cubicBezTo>
                    <a:pt x="74" y="209"/>
                    <a:pt x="74" y="209"/>
                    <a:pt x="74" y="209"/>
                  </a:cubicBezTo>
                  <a:cubicBezTo>
                    <a:pt x="74" y="209"/>
                    <a:pt x="74" y="209"/>
                    <a:pt x="74" y="209"/>
                  </a:cubicBezTo>
                  <a:cubicBezTo>
                    <a:pt x="73" y="210"/>
                    <a:pt x="73" y="210"/>
                    <a:pt x="73" y="210"/>
                  </a:cubicBezTo>
                  <a:cubicBezTo>
                    <a:pt x="73" y="210"/>
                    <a:pt x="73" y="210"/>
                    <a:pt x="73" y="210"/>
                  </a:cubicBezTo>
                  <a:cubicBezTo>
                    <a:pt x="73" y="210"/>
                    <a:pt x="73" y="210"/>
                    <a:pt x="73" y="210"/>
                  </a:cubicBezTo>
                  <a:cubicBezTo>
                    <a:pt x="73" y="210"/>
                    <a:pt x="73" y="210"/>
                    <a:pt x="73" y="210"/>
                  </a:cubicBezTo>
                  <a:cubicBezTo>
                    <a:pt x="73" y="210"/>
                    <a:pt x="73" y="210"/>
                    <a:pt x="73" y="210"/>
                  </a:cubicBezTo>
                  <a:cubicBezTo>
                    <a:pt x="73" y="210"/>
                    <a:pt x="73" y="210"/>
                    <a:pt x="73" y="210"/>
                  </a:cubicBezTo>
                  <a:cubicBezTo>
                    <a:pt x="73" y="211"/>
                    <a:pt x="73" y="211"/>
                    <a:pt x="73" y="211"/>
                  </a:cubicBezTo>
                  <a:cubicBezTo>
                    <a:pt x="73" y="211"/>
                    <a:pt x="73" y="211"/>
                    <a:pt x="73" y="211"/>
                  </a:cubicBezTo>
                  <a:cubicBezTo>
                    <a:pt x="74" y="210"/>
                    <a:pt x="74" y="210"/>
                    <a:pt x="74" y="210"/>
                  </a:cubicBezTo>
                  <a:cubicBezTo>
                    <a:pt x="74" y="210"/>
                    <a:pt x="74" y="210"/>
                    <a:pt x="74" y="210"/>
                  </a:cubicBezTo>
                  <a:cubicBezTo>
                    <a:pt x="74" y="211"/>
                    <a:pt x="74" y="211"/>
                    <a:pt x="74" y="211"/>
                  </a:cubicBezTo>
                  <a:cubicBezTo>
                    <a:pt x="74" y="211"/>
                    <a:pt x="74" y="211"/>
                    <a:pt x="74" y="211"/>
                  </a:cubicBezTo>
                  <a:cubicBezTo>
                    <a:pt x="75" y="210"/>
                    <a:pt x="75" y="210"/>
                    <a:pt x="75" y="210"/>
                  </a:cubicBezTo>
                  <a:cubicBezTo>
                    <a:pt x="75" y="210"/>
                    <a:pt x="75" y="210"/>
                    <a:pt x="75" y="210"/>
                  </a:cubicBezTo>
                  <a:cubicBezTo>
                    <a:pt x="75" y="210"/>
                    <a:pt x="75" y="210"/>
                    <a:pt x="75" y="210"/>
                  </a:cubicBezTo>
                  <a:cubicBezTo>
                    <a:pt x="75" y="210"/>
                    <a:pt x="75" y="210"/>
                    <a:pt x="75" y="210"/>
                  </a:cubicBezTo>
                  <a:cubicBezTo>
                    <a:pt x="75" y="209"/>
                    <a:pt x="75" y="209"/>
                    <a:pt x="75" y="209"/>
                  </a:cubicBezTo>
                  <a:cubicBezTo>
                    <a:pt x="75" y="209"/>
                    <a:pt x="75" y="209"/>
                    <a:pt x="75" y="209"/>
                  </a:cubicBezTo>
                  <a:cubicBezTo>
                    <a:pt x="75" y="209"/>
                    <a:pt x="75" y="209"/>
                    <a:pt x="75" y="209"/>
                  </a:cubicBezTo>
                  <a:cubicBezTo>
                    <a:pt x="75" y="209"/>
                    <a:pt x="75" y="209"/>
                    <a:pt x="75" y="209"/>
                  </a:cubicBezTo>
                  <a:cubicBezTo>
                    <a:pt x="76" y="208"/>
                    <a:pt x="76" y="208"/>
                    <a:pt x="76" y="208"/>
                  </a:cubicBezTo>
                  <a:cubicBezTo>
                    <a:pt x="76" y="207"/>
                    <a:pt x="76" y="207"/>
                    <a:pt x="76" y="207"/>
                  </a:cubicBezTo>
                  <a:cubicBezTo>
                    <a:pt x="76" y="207"/>
                    <a:pt x="76" y="207"/>
                    <a:pt x="76" y="207"/>
                  </a:cubicBezTo>
                  <a:cubicBezTo>
                    <a:pt x="77" y="206"/>
                    <a:pt x="77" y="206"/>
                    <a:pt x="77" y="206"/>
                  </a:cubicBezTo>
                  <a:cubicBezTo>
                    <a:pt x="77" y="206"/>
                    <a:pt x="77" y="206"/>
                    <a:pt x="77" y="206"/>
                  </a:cubicBezTo>
                  <a:cubicBezTo>
                    <a:pt x="77" y="206"/>
                    <a:pt x="77" y="206"/>
                    <a:pt x="77" y="206"/>
                  </a:cubicBezTo>
                  <a:lnTo>
                    <a:pt x="77" y="205"/>
                  </a:lnTo>
                  <a:close/>
                  <a:moveTo>
                    <a:pt x="73" y="230"/>
                  </a:moveTo>
                  <a:cubicBezTo>
                    <a:pt x="73" y="230"/>
                    <a:pt x="73" y="230"/>
                    <a:pt x="73" y="230"/>
                  </a:cubicBezTo>
                  <a:cubicBezTo>
                    <a:pt x="73" y="230"/>
                    <a:pt x="73" y="230"/>
                    <a:pt x="73" y="230"/>
                  </a:cubicBezTo>
                  <a:cubicBezTo>
                    <a:pt x="74" y="230"/>
                    <a:pt x="74" y="230"/>
                    <a:pt x="74" y="230"/>
                  </a:cubicBezTo>
                  <a:cubicBezTo>
                    <a:pt x="74" y="230"/>
                    <a:pt x="74" y="230"/>
                    <a:pt x="74" y="230"/>
                  </a:cubicBezTo>
                  <a:cubicBezTo>
                    <a:pt x="74" y="230"/>
                    <a:pt x="74" y="230"/>
                    <a:pt x="74" y="230"/>
                  </a:cubicBezTo>
                  <a:cubicBezTo>
                    <a:pt x="74" y="230"/>
                    <a:pt x="74" y="230"/>
                    <a:pt x="74" y="230"/>
                  </a:cubicBezTo>
                  <a:cubicBezTo>
                    <a:pt x="74" y="229"/>
                    <a:pt x="74" y="229"/>
                    <a:pt x="74" y="229"/>
                  </a:cubicBezTo>
                  <a:cubicBezTo>
                    <a:pt x="74" y="229"/>
                    <a:pt x="74" y="229"/>
                    <a:pt x="74" y="229"/>
                  </a:cubicBezTo>
                  <a:cubicBezTo>
                    <a:pt x="74" y="229"/>
                    <a:pt x="74" y="229"/>
                    <a:pt x="74" y="229"/>
                  </a:cubicBezTo>
                  <a:cubicBezTo>
                    <a:pt x="73" y="229"/>
                    <a:pt x="73" y="229"/>
                    <a:pt x="73" y="229"/>
                  </a:cubicBezTo>
                  <a:cubicBezTo>
                    <a:pt x="72" y="229"/>
                    <a:pt x="72" y="229"/>
                    <a:pt x="72" y="229"/>
                  </a:cubicBezTo>
                  <a:cubicBezTo>
                    <a:pt x="72" y="229"/>
                    <a:pt x="72" y="229"/>
                    <a:pt x="72" y="229"/>
                  </a:cubicBezTo>
                  <a:cubicBezTo>
                    <a:pt x="72" y="229"/>
                    <a:pt x="72" y="229"/>
                    <a:pt x="72" y="229"/>
                  </a:cubicBezTo>
                  <a:lnTo>
                    <a:pt x="73" y="230"/>
                  </a:lnTo>
                  <a:close/>
                  <a:moveTo>
                    <a:pt x="61" y="227"/>
                  </a:moveTo>
                  <a:cubicBezTo>
                    <a:pt x="61" y="227"/>
                    <a:pt x="61" y="227"/>
                    <a:pt x="61" y="227"/>
                  </a:cubicBezTo>
                  <a:cubicBezTo>
                    <a:pt x="61" y="227"/>
                    <a:pt x="61" y="227"/>
                    <a:pt x="61" y="227"/>
                  </a:cubicBezTo>
                  <a:cubicBezTo>
                    <a:pt x="61" y="227"/>
                    <a:pt x="61" y="227"/>
                    <a:pt x="61" y="227"/>
                  </a:cubicBezTo>
                  <a:cubicBezTo>
                    <a:pt x="61" y="227"/>
                    <a:pt x="61" y="227"/>
                    <a:pt x="61" y="227"/>
                  </a:cubicBezTo>
                  <a:cubicBezTo>
                    <a:pt x="61" y="227"/>
                    <a:pt x="61" y="227"/>
                    <a:pt x="61" y="227"/>
                  </a:cubicBezTo>
                  <a:cubicBezTo>
                    <a:pt x="61" y="227"/>
                    <a:pt x="61" y="227"/>
                    <a:pt x="61" y="227"/>
                  </a:cubicBezTo>
                  <a:cubicBezTo>
                    <a:pt x="61" y="227"/>
                    <a:pt x="61" y="227"/>
                    <a:pt x="61" y="227"/>
                  </a:cubicBezTo>
                  <a:cubicBezTo>
                    <a:pt x="61" y="227"/>
                    <a:pt x="61" y="227"/>
                    <a:pt x="61" y="227"/>
                  </a:cubicBezTo>
                  <a:cubicBezTo>
                    <a:pt x="61" y="228"/>
                    <a:pt x="61" y="228"/>
                    <a:pt x="61" y="228"/>
                  </a:cubicBezTo>
                  <a:cubicBezTo>
                    <a:pt x="61" y="228"/>
                    <a:pt x="61" y="228"/>
                    <a:pt x="61" y="228"/>
                  </a:cubicBezTo>
                  <a:cubicBezTo>
                    <a:pt x="61" y="228"/>
                    <a:pt x="61" y="228"/>
                    <a:pt x="61" y="228"/>
                  </a:cubicBezTo>
                  <a:cubicBezTo>
                    <a:pt x="61" y="228"/>
                    <a:pt x="61" y="228"/>
                    <a:pt x="61" y="228"/>
                  </a:cubicBezTo>
                  <a:cubicBezTo>
                    <a:pt x="61" y="228"/>
                    <a:pt x="61" y="228"/>
                    <a:pt x="61" y="228"/>
                  </a:cubicBezTo>
                  <a:cubicBezTo>
                    <a:pt x="61" y="228"/>
                    <a:pt x="61" y="228"/>
                    <a:pt x="61" y="228"/>
                  </a:cubicBezTo>
                  <a:lnTo>
                    <a:pt x="61" y="227"/>
                  </a:lnTo>
                  <a:close/>
                  <a:moveTo>
                    <a:pt x="60" y="151"/>
                  </a:moveTo>
                  <a:cubicBezTo>
                    <a:pt x="60" y="151"/>
                    <a:pt x="60" y="151"/>
                    <a:pt x="60" y="151"/>
                  </a:cubicBezTo>
                  <a:cubicBezTo>
                    <a:pt x="60" y="151"/>
                    <a:pt x="60" y="151"/>
                    <a:pt x="60" y="151"/>
                  </a:cubicBezTo>
                  <a:cubicBezTo>
                    <a:pt x="59" y="150"/>
                    <a:pt x="59" y="150"/>
                    <a:pt x="59" y="150"/>
                  </a:cubicBezTo>
                  <a:cubicBezTo>
                    <a:pt x="59" y="150"/>
                    <a:pt x="59" y="150"/>
                    <a:pt x="59" y="150"/>
                  </a:cubicBezTo>
                  <a:cubicBezTo>
                    <a:pt x="59" y="150"/>
                    <a:pt x="59" y="150"/>
                    <a:pt x="59" y="150"/>
                  </a:cubicBezTo>
                  <a:cubicBezTo>
                    <a:pt x="59" y="150"/>
                    <a:pt x="59" y="150"/>
                    <a:pt x="59" y="150"/>
                  </a:cubicBezTo>
                  <a:cubicBezTo>
                    <a:pt x="58" y="151"/>
                    <a:pt x="58" y="151"/>
                    <a:pt x="58" y="151"/>
                  </a:cubicBezTo>
                  <a:cubicBezTo>
                    <a:pt x="59" y="151"/>
                    <a:pt x="59" y="151"/>
                    <a:pt x="59" y="151"/>
                  </a:cubicBezTo>
                  <a:cubicBezTo>
                    <a:pt x="59" y="152"/>
                    <a:pt x="59" y="152"/>
                    <a:pt x="59" y="152"/>
                  </a:cubicBezTo>
                  <a:cubicBezTo>
                    <a:pt x="59" y="152"/>
                    <a:pt x="59" y="152"/>
                    <a:pt x="59" y="152"/>
                  </a:cubicBezTo>
                  <a:cubicBezTo>
                    <a:pt x="59" y="152"/>
                    <a:pt x="59" y="152"/>
                    <a:pt x="59" y="152"/>
                  </a:cubicBezTo>
                  <a:cubicBezTo>
                    <a:pt x="59" y="152"/>
                    <a:pt x="59" y="152"/>
                    <a:pt x="59" y="152"/>
                  </a:cubicBezTo>
                  <a:cubicBezTo>
                    <a:pt x="59" y="152"/>
                    <a:pt x="59" y="152"/>
                    <a:pt x="59" y="152"/>
                  </a:cubicBezTo>
                  <a:cubicBezTo>
                    <a:pt x="60" y="152"/>
                    <a:pt x="60" y="152"/>
                    <a:pt x="60" y="152"/>
                  </a:cubicBezTo>
                  <a:cubicBezTo>
                    <a:pt x="60" y="152"/>
                    <a:pt x="60" y="152"/>
                    <a:pt x="60" y="152"/>
                  </a:cubicBezTo>
                  <a:cubicBezTo>
                    <a:pt x="60" y="152"/>
                    <a:pt x="60" y="152"/>
                    <a:pt x="60" y="152"/>
                  </a:cubicBezTo>
                  <a:cubicBezTo>
                    <a:pt x="60" y="152"/>
                    <a:pt x="60" y="152"/>
                    <a:pt x="60" y="152"/>
                  </a:cubicBezTo>
                  <a:cubicBezTo>
                    <a:pt x="60" y="152"/>
                    <a:pt x="60" y="152"/>
                    <a:pt x="60" y="152"/>
                  </a:cubicBezTo>
                  <a:lnTo>
                    <a:pt x="60" y="151"/>
                  </a:lnTo>
                  <a:close/>
                  <a:moveTo>
                    <a:pt x="61" y="176"/>
                  </a:moveTo>
                  <a:cubicBezTo>
                    <a:pt x="61" y="175"/>
                    <a:pt x="61" y="175"/>
                    <a:pt x="61" y="175"/>
                  </a:cubicBezTo>
                  <a:cubicBezTo>
                    <a:pt x="61" y="175"/>
                    <a:pt x="61" y="175"/>
                    <a:pt x="61" y="175"/>
                  </a:cubicBezTo>
                  <a:cubicBezTo>
                    <a:pt x="61" y="175"/>
                    <a:pt x="61" y="175"/>
                    <a:pt x="61" y="175"/>
                  </a:cubicBezTo>
                  <a:cubicBezTo>
                    <a:pt x="61" y="174"/>
                    <a:pt x="61" y="174"/>
                    <a:pt x="61" y="174"/>
                  </a:cubicBezTo>
                  <a:cubicBezTo>
                    <a:pt x="60" y="172"/>
                    <a:pt x="60" y="172"/>
                    <a:pt x="60" y="172"/>
                  </a:cubicBezTo>
                  <a:cubicBezTo>
                    <a:pt x="60" y="172"/>
                    <a:pt x="60" y="172"/>
                    <a:pt x="60" y="172"/>
                  </a:cubicBezTo>
                  <a:cubicBezTo>
                    <a:pt x="60" y="171"/>
                    <a:pt x="60" y="171"/>
                    <a:pt x="60" y="171"/>
                  </a:cubicBezTo>
                  <a:cubicBezTo>
                    <a:pt x="60" y="171"/>
                    <a:pt x="60" y="171"/>
                    <a:pt x="60" y="171"/>
                  </a:cubicBezTo>
                  <a:cubicBezTo>
                    <a:pt x="60" y="171"/>
                    <a:pt x="60" y="171"/>
                    <a:pt x="60" y="171"/>
                  </a:cubicBezTo>
                  <a:cubicBezTo>
                    <a:pt x="60" y="170"/>
                    <a:pt x="60" y="170"/>
                    <a:pt x="60" y="170"/>
                  </a:cubicBezTo>
                  <a:cubicBezTo>
                    <a:pt x="60" y="170"/>
                    <a:pt x="60" y="170"/>
                    <a:pt x="60" y="170"/>
                  </a:cubicBezTo>
                  <a:cubicBezTo>
                    <a:pt x="59" y="169"/>
                    <a:pt x="59" y="169"/>
                    <a:pt x="59" y="169"/>
                  </a:cubicBezTo>
                  <a:cubicBezTo>
                    <a:pt x="58" y="168"/>
                    <a:pt x="58" y="168"/>
                    <a:pt x="58" y="168"/>
                  </a:cubicBezTo>
                  <a:cubicBezTo>
                    <a:pt x="58" y="167"/>
                    <a:pt x="58" y="167"/>
                    <a:pt x="58" y="167"/>
                  </a:cubicBezTo>
                  <a:cubicBezTo>
                    <a:pt x="57" y="166"/>
                    <a:pt x="57" y="166"/>
                    <a:pt x="57" y="166"/>
                  </a:cubicBezTo>
                  <a:cubicBezTo>
                    <a:pt x="57" y="166"/>
                    <a:pt x="57" y="166"/>
                    <a:pt x="57" y="166"/>
                  </a:cubicBezTo>
                  <a:cubicBezTo>
                    <a:pt x="56" y="166"/>
                    <a:pt x="56" y="166"/>
                    <a:pt x="56" y="166"/>
                  </a:cubicBezTo>
                  <a:cubicBezTo>
                    <a:pt x="56" y="165"/>
                    <a:pt x="56" y="165"/>
                    <a:pt x="56" y="165"/>
                  </a:cubicBezTo>
                  <a:cubicBezTo>
                    <a:pt x="55" y="165"/>
                    <a:pt x="55" y="165"/>
                    <a:pt x="55" y="165"/>
                  </a:cubicBezTo>
                  <a:cubicBezTo>
                    <a:pt x="55" y="165"/>
                    <a:pt x="55" y="165"/>
                    <a:pt x="55" y="165"/>
                  </a:cubicBezTo>
                  <a:cubicBezTo>
                    <a:pt x="55" y="164"/>
                    <a:pt x="55" y="164"/>
                    <a:pt x="55" y="164"/>
                  </a:cubicBezTo>
                  <a:cubicBezTo>
                    <a:pt x="54" y="164"/>
                    <a:pt x="54" y="164"/>
                    <a:pt x="54" y="164"/>
                  </a:cubicBezTo>
                  <a:cubicBezTo>
                    <a:pt x="54" y="164"/>
                    <a:pt x="54" y="164"/>
                    <a:pt x="54" y="164"/>
                  </a:cubicBezTo>
                  <a:cubicBezTo>
                    <a:pt x="54" y="165"/>
                    <a:pt x="54" y="165"/>
                    <a:pt x="54" y="165"/>
                  </a:cubicBezTo>
                  <a:cubicBezTo>
                    <a:pt x="54" y="165"/>
                    <a:pt x="54" y="165"/>
                    <a:pt x="54" y="165"/>
                  </a:cubicBezTo>
                  <a:cubicBezTo>
                    <a:pt x="53" y="166"/>
                    <a:pt x="53" y="166"/>
                    <a:pt x="53" y="166"/>
                  </a:cubicBezTo>
                  <a:cubicBezTo>
                    <a:pt x="53" y="166"/>
                    <a:pt x="53" y="166"/>
                    <a:pt x="53" y="166"/>
                  </a:cubicBezTo>
                  <a:cubicBezTo>
                    <a:pt x="54" y="166"/>
                    <a:pt x="54" y="166"/>
                    <a:pt x="54" y="166"/>
                  </a:cubicBezTo>
                  <a:cubicBezTo>
                    <a:pt x="54" y="166"/>
                    <a:pt x="54" y="166"/>
                    <a:pt x="54" y="166"/>
                  </a:cubicBezTo>
                  <a:cubicBezTo>
                    <a:pt x="54" y="166"/>
                    <a:pt x="54" y="166"/>
                    <a:pt x="54" y="166"/>
                  </a:cubicBezTo>
                  <a:cubicBezTo>
                    <a:pt x="54" y="167"/>
                    <a:pt x="54" y="167"/>
                    <a:pt x="54" y="167"/>
                  </a:cubicBezTo>
                  <a:cubicBezTo>
                    <a:pt x="54" y="167"/>
                    <a:pt x="54" y="167"/>
                    <a:pt x="54" y="167"/>
                  </a:cubicBezTo>
                  <a:cubicBezTo>
                    <a:pt x="54" y="167"/>
                    <a:pt x="54" y="167"/>
                    <a:pt x="54" y="167"/>
                  </a:cubicBezTo>
                  <a:cubicBezTo>
                    <a:pt x="54" y="167"/>
                    <a:pt x="54" y="167"/>
                    <a:pt x="54" y="167"/>
                  </a:cubicBezTo>
                  <a:cubicBezTo>
                    <a:pt x="55" y="167"/>
                    <a:pt x="55" y="167"/>
                    <a:pt x="55" y="167"/>
                  </a:cubicBezTo>
                  <a:cubicBezTo>
                    <a:pt x="55" y="167"/>
                    <a:pt x="55" y="167"/>
                    <a:pt x="55" y="167"/>
                  </a:cubicBezTo>
                  <a:cubicBezTo>
                    <a:pt x="55" y="167"/>
                    <a:pt x="55" y="167"/>
                    <a:pt x="55" y="167"/>
                  </a:cubicBezTo>
                  <a:cubicBezTo>
                    <a:pt x="56" y="167"/>
                    <a:pt x="56" y="167"/>
                    <a:pt x="56" y="167"/>
                  </a:cubicBezTo>
                  <a:cubicBezTo>
                    <a:pt x="55" y="167"/>
                    <a:pt x="55" y="167"/>
                    <a:pt x="55" y="167"/>
                  </a:cubicBezTo>
                  <a:cubicBezTo>
                    <a:pt x="55" y="167"/>
                    <a:pt x="55" y="167"/>
                    <a:pt x="55" y="167"/>
                  </a:cubicBezTo>
                  <a:cubicBezTo>
                    <a:pt x="54" y="167"/>
                    <a:pt x="54" y="167"/>
                    <a:pt x="54" y="167"/>
                  </a:cubicBezTo>
                  <a:cubicBezTo>
                    <a:pt x="54" y="168"/>
                    <a:pt x="54" y="168"/>
                    <a:pt x="54" y="168"/>
                  </a:cubicBezTo>
                  <a:cubicBezTo>
                    <a:pt x="55" y="168"/>
                    <a:pt x="55" y="168"/>
                    <a:pt x="55" y="168"/>
                  </a:cubicBezTo>
                  <a:cubicBezTo>
                    <a:pt x="55" y="168"/>
                    <a:pt x="55" y="168"/>
                    <a:pt x="55" y="168"/>
                  </a:cubicBezTo>
                  <a:cubicBezTo>
                    <a:pt x="55" y="170"/>
                    <a:pt x="55" y="170"/>
                    <a:pt x="55" y="170"/>
                  </a:cubicBezTo>
                  <a:cubicBezTo>
                    <a:pt x="55" y="170"/>
                    <a:pt x="55" y="170"/>
                    <a:pt x="55" y="170"/>
                  </a:cubicBezTo>
                  <a:cubicBezTo>
                    <a:pt x="56" y="170"/>
                    <a:pt x="56" y="170"/>
                    <a:pt x="56" y="170"/>
                  </a:cubicBezTo>
                  <a:cubicBezTo>
                    <a:pt x="56" y="170"/>
                    <a:pt x="56" y="170"/>
                    <a:pt x="56" y="170"/>
                  </a:cubicBezTo>
                  <a:cubicBezTo>
                    <a:pt x="56" y="171"/>
                    <a:pt x="56" y="171"/>
                    <a:pt x="56" y="171"/>
                  </a:cubicBezTo>
                  <a:cubicBezTo>
                    <a:pt x="56" y="171"/>
                    <a:pt x="56" y="171"/>
                    <a:pt x="56" y="171"/>
                  </a:cubicBezTo>
                  <a:cubicBezTo>
                    <a:pt x="56" y="171"/>
                    <a:pt x="56" y="171"/>
                    <a:pt x="56" y="171"/>
                  </a:cubicBezTo>
                  <a:cubicBezTo>
                    <a:pt x="57" y="171"/>
                    <a:pt x="57" y="171"/>
                    <a:pt x="57" y="171"/>
                  </a:cubicBezTo>
                  <a:cubicBezTo>
                    <a:pt x="57" y="171"/>
                    <a:pt x="57" y="171"/>
                    <a:pt x="57" y="171"/>
                  </a:cubicBezTo>
                  <a:cubicBezTo>
                    <a:pt x="57" y="171"/>
                    <a:pt x="57" y="171"/>
                    <a:pt x="57" y="171"/>
                  </a:cubicBezTo>
                  <a:cubicBezTo>
                    <a:pt x="57" y="171"/>
                    <a:pt x="57" y="171"/>
                    <a:pt x="57" y="171"/>
                  </a:cubicBezTo>
                  <a:cubicBezTo>
                    <a:pt x="57" y="172"/>
                    <a:pt x="57" y="172"/>
                    <a:pt x="57" y="172"/>
                  </a:cubicBezTo>
                  <a:cubicBezTo>
                    <a:pt x="57" y="172"/>
                    <a:pt x="57" y="172"/>
                    <a:pt x="57" y="172"/>
                  </a:cubicBezTo>
                  <a:cubicBezTo>
                    <a:pt x="57" y="172"/>
                    <a:pt x="57" y="172"/>
                    <a:pt x="57" y="172"/>
                  </a:cubicBezTo>
                  <a:cubicBezTo>
                    <a:pt x="57" y="172"/>
                    <a:pt x="57" y="172"/>
                    <a:pt x="57" y="172"/>
                  </a:cubicBezTo>
                  <a:cubicBezTo>
                    <a:pt x="57" y="172"/>
                    <a:pt x="57" y="172"/>
                    <a:pt x="57" y="172"/>
                  </a:cubicBezTo>
                  <a:cubicBezTo>
                    <a:pt x="57" y="173"/>
                    <a:pt x="57" y="173"/>
                    <a:pt x="57" y="173"/>
                  </a:cubicBezTo>
                  <a:cubicBezTo>
                    <a:pt x="57" y="173"/>
                    <a:pt x="57" y="173"/>
                    <a:pt x="57" y="173"/>
                  </a:cubicBezTo>
                  <a:cubicBezTo>
                    <a:pt x="58" y="173"/>
                    <a:pt x="58" y="173"/>
                    <a:pt x="58" y="173"/>
                  </a:cubicBezTo>
                  <a:cubicBezTo>
                    <a:pt x="58" y="174"/>
                    <a:pt x="58" y="174"/>
                    <a:pt x="58" y="174"/>
                  </a:cubicBezTo>
                  <a:cubicBezTo>
                    <a:pt x="58" y="174"/>
                    <a:pt x="58" y="174"/>
                    <a:pt x="58" y="174"/>
                  </a:cubicBezTo>
                  <a:cubicBezTo>
                    <a:pt x="58" y="174"/>
                    <a:pt x="58" y="174"/>
                    <a:pt x="58" y="174"/>
                  </a:cubicBezTo>
                  <a:cubicBezTo>
                    <a:pt x="58" y="176"/>
                    <a:pt x="58" y="176"/>
                    <a:pt x="58" y="176"/>
                  </a:cubicBezTo>
                  <a:cubicBezTo>
                    <a:pt x="59" y="176"/>
                    <a:pt x="59" y="176"/>
                    <a:pt x="59" y="176"/>
                  </a:cubicBezTo>
                  <a:cubicBezTo>
                    <a:pt x="59" y="176"/>
                    <a:pt x="59" y="176"/>
                    <a:pt x="59" y="176"/>
                  </a:cubicBezTo>
                  <a:cubicBezTo>
                    <a:pt x="59" y="176"/>
                    <a:pt x="59" y="176"/>
                    <a:pt x="59" y="176"/>
                  </a:cubicBezTo>
                  <a:cubicBezTo>
                    <a:pt x="59" y="176"/>
                    <a:pt x="59" y="176"/>
                    <a:pt x="59" y="176"/>
                  </a:cubicBezTo>
                  <a:cubicBezTo>
                    <a:pt x="59" y="176"/>
                    <a:pt x="59" y="176"/>
                    <a:pt x="59" y="176"/>
                  </a:cubicBezTo>
                  <a:cubicBezTo>
                    <a:pt x="60" y="176"/>
                    <a:pt x="60" y="176"/>
                    <a:pt x="60" y="176"/>
                  </a:cubicBezTo>
                  <a:cubicBezTo>
                    <a:pt x="60" y="176"/>
                    <a:pt x="60" y="176"/>
                    <a:pt x="60" y="176"/>
                  </a:cubicBezTo>
                  <a:cubicBezTo>
                    <a:pt x="60" y="176"/>
                    <a:pt x="60" y="176"/>
                    <a:pt x="60" y="176"/>
                  </a:cubicBezTo>
                  <a:cubicBezTo>
                    <a:pt x="60" y="176"/>
                    <a:pt x="60" y="176"/>
                    <a:pt x="60" y="176"/>
                  </a:cubicBezTo>
                  <a:cubicBezTo>
                    <a:pt x="60" y="176"/>
                    <a:pt x="60" y="176"/>
                    <a:pt x="60" y="176"/>
                  </a:cubicBezTo>
                  <a:cubicBezTo>
                    <a:pt x="60" y="176"/>
                    <a:pt x="60" y="176"/>
                    <a:pt x="60" y="176"/>
                  </a:cubicBezTo>
                  <a:cubicBezTo>
                    <a:pt x="60" y="176"/>
                    <a:pt x="60" y="176"/>
                    <a:pt x="60" y="176"/>
                  </a:cubicBezTo>
                  <a:cubicBezTo>
                    <a:pt x="61" y="176"/>
                    <a:pt x="61" y="176"/>
                    <a:pt x="61" y="176"/>
                  </a:cubicBezTo>
                  <a:close/>
                  <a:moveTo>
                    <a:pt x="61" y="178"/>
                  </a:moveTo>
                  <a:cubicBezTo>
                    <a:pt x="61" y="179"/>
                    <a:pt x="61" y="179"/>
                    <a:pt x="61" y="179"/>
                  </a:cubicBezTo>
                  <a:cubicBezTo>
                    <a:pt x="62" y="179"/>
                    <a:pt x="62" y="179"/>
                    <a:pt x="62" y="179"/>
                  </a:cubicBezTo>
                  <a:cubicBezTo>
                    <a:pt x="62" y="179"/>
                    <a:pt x="62" y="179"/>
                    <a:pt x="62" y="179"/>
                  </a:cubicBezTo>
                  <a:cubicBezTo>
                    <a:pt x="62" y="178"/>
                    <a:pt x="62" y="178"/>
                    <a:pt x="62" y="178"/>
                  </a:cubicBezTo>
                  <a:cubicBezTo>
                    <a:pt x="62" y="178"/>
                    <a:pt x="62" y="178"/>
                    <a:pt x="62" y="178"/>
                  </a:cubicBezTo>
                  <a:cubicBezTo>
                    <a:pt x="62" y="177"/>
                    <a:pt x="62" y="177"/>
                    <a:pt x="62" y="177"/>
                  </a:cubicBezTo>
                  <a:cubicBezTo>
                    <a:pt x="62" y="177"/>
                    <a:pt x="62" y="177"/>
                    <a:pt x="62" y="177"/>
                  </a:cubicBezTo>
                  <a:cubicBezTo>
                    <a:pt x="61" y="177"/>
                    <a:pt x="61" y="177"/>
                    <a:pt x="61" y="177"/>
                  </a:cubicBezTo>
                  <a:cubicBezTo>
                    <a:pt x="61" y="177"/>
                    <a:pt x="61" y="177"/>
                    <a:pt x="61" y="177"/>
                  </a:cubicBezTo>
                  <a:cubicBezTo>
                    <a:pt x="61" y="177"/>
                    <a:pt x="61" y="177"/>
                    <a:pt x="61" y="177"/>
                  </a:cubicBezTo>
                  <a:cubicBezTo>
                    <a:pt x="61" y="178"/>
                    <a:pt x="61" y="178"/>
                    <a:pt x="61" y="178"/>
                  </a:cubicBezTo>
                  <a:close/>
                  <a:moveTo>
                    <a:pt x="61" y="181"/>
                  </a:moveTo>
                  <a:cubicBezTo>
                    <a:pt x="62" y="181"/>
                    <a:pt x="62" y="181"/>
                    <a:pt x="62" y="181"/>
                  </a:cubicBezTo>
                  <a:cubicBezTo>
                    <a:pt x="62" y="181"/>
                    <a:pt x="62" y="181"/>
                    <a:pt x="62" y="181"/>
                  </a:cubicBezTo>
                  <a:cubicBezTo>
                    <a:pt x="62" y="181"/>
                    <a:pt x="62" y="181"/>
                    <a:pt x="62" y="181"/>
                  </a:cubicBezTo>
                  <a:cubicBezTo>
                    <a:pt x="62" y="181"/>
                    <a:pt x="62" y="181"/>
                    <a:pt x="62" y="181"/>
                  </a:cubicBezTo>
                  <a:cubicBezTo>
                    <a:pt x="62" y="181"/>
                    <a:pt x="62" y="181"/>
                    <a:pt x="62" y="181"/>
                  </a:cubicBezTo>
                  <a:cubicBezTo>
                    <a:pt x="62" y="181"/>
                    <a:pt x="62" y="181"/>
                    <a:pt x="62" y="181"/>
                  </a:cubicBezTo>
                  <a:cubicBezTo>
                    <a:pt x="62" y="181"/>
                    <a:pt x="62" y="181"/>
                    <a:pt x="62" y="181"/>
                  </a:cubicBezTo>
                  <a:cubicBezTo>
                    <a:pt x="62" y="180"/>
                    <a:pt x="62" y="180"/>
                    <a:pt x="62" y="180"/>
                  </a:cubicBezTo>
                  <a:cubicBezTo>
                    <a:pt x="62" y="180"/>
                    <a:pt x="62" y="180"/>
                    <a:pt x="62" y="180"/>
                  </a:cubicBezTo>
                  <a:cubicBezTo>
                    <a:pt x="62" y="180"/>
                    <a:pt x="62" y="180"/>
                    <a:pt x="62" y="180"/>
                  </a:cubicBezTo>
                  <a:cubicBezTo>
                    <a:pt x="61" y="180"/>
                    <a:pt x="61" y="180"/>
                    <a:pt x="61" y="180"/>
                  </a:cubicBezTo>
                  <a:cubicBezTo>
                    <a:pt x="61" y="180"/>
                    <a:pt x="61" y="180"/>
                    <a:pt x="61" y="180"/>
                  </a:cubicBezTo>
                  <a:cubicBezTo>
                    <a:pt x="61" y="180"/>
                    <a:pt x="61" y="180"/>
                    <a:pt x="61" y="180"/>
                  </a:cubicBezTo>
                  <a:cubicBezTo>
                    <a:pt x="61" y="181"/>
                    <a:pt x="61" y="181"/>
                    <a:pt x="61" y="181"/>
                  </a:cubicBezTo>
                  <a:close/>
                  <a:moveTo>
                    <a:pt x="76" y="192"/>
                  </a:moveTo>
                  <a:cubicBezTo>
                    <a:pt x="76" y="193"/>
                    <a:pt x="76" y="193"/>
                    <a:pt x="76" y="193"/>
                  </a:cubicBezTo>
                  <a:cubicBezTo>
                    <a:pt x="76" y="193"/>
                    <a:pt x="76" y="193"/>
                    <a:pt x="76" y="193"/>
                  </a:cubicBezTo>
                  <a:cubicBezTo>
                    <a:pt x="76" y="192"/>
                    <a:pt x="76" y="192"/>
                    <a:pt x="76" y="192"/>
                  </a:cubicBezTo>
                  <a:cubicBezTo>
                    <a:pt x="76" y="192"/>
                    <a:pt x="76" y="192"/>
                    <a:pt x="76" y="192"/>
                  </a:cubicBezTo>
                  <a:cubicBezTo>
                    <a:pt x="77" y="192"/>
                    <a:pt x="77" y="192"/>
                    <a:pt x="77" y="192"/>
                  </a:cubicBezTo>
                  <a:cubicBezTo>
                    <a:pt x="77" y="191"/>
                    <a:pt x="77" y="191"/>
                    <a:pt x="77" y="191"/>
                  </a:cubicBezTo>
                  <a:cubicBezTo>
                    <a:pt x="77" y="191"/>
                    <a:pt x="77" y="191"/>
                    <a:pt x="77" y="191"/>
                  </a:cubicBezTo>
                  <a:cubicBezTo>
                    <a:pt x="77" y="191"/>
                    <a:pt x="77" y="191"/>
                    <a:pt x="77" y="191"/>
                  </a:cubicBezTo>
                  <a:cubicBezTo>
                    <a:pt x="77" y="191"/>
                    <a:pt x="77" y="191"/>
                    <a:pt x="77" y="191"/>
                  </a:cubicBezTo>
                  <a:cubicBezTo>
                    <a:pt x="77" y="191"/>
                    <a:pt x="77" y="191"/>
                    <a:pt x="77" y="191"/>
                  </a:cubicBezTo>
                  <a:cubicBezTo>
                    <a:pt x="77" y="190"/>
                    <a:pt x="77" y="190"/>
                    <a:pt x="77" y="190"/>
                  </a:cubicBezTo>
                  <a:cubicBezTo>
                    <a:pt x="78" y="190"/>
                    <a:pt x="78" y="190"/>
                    <a:pt x="78" y="190"/>
                  </a:cubicBezTo>
                  <a:cubicBezTo>
                    <a:pt x="78" y="190"/>
                    <a:pt x="78" y="190"/>
                    <a:pt x="78" y="190"/>
                  </a:cubicBezTo>
                  <a:cubicBezTo>
                    <a:pt x="78" y="189"/>
                    <a:pt x="78" y="189"/>
                    <a:pt x="78" y="189"/>
                  </a:cubicBezTo>
                  <a:cubicBezTo>
                    <a:pt x="78" y="189"/>
                    <a:pt x="78" y="189"/>
                    <a:pt x="78" y="189"/>
                  </a:cubicBezTo>
                  <a:cubicBezTo>
                    <a:pt x="78" y="189"/>
                    <a:pt x="78" y="189"/>
                    <a:pt x="78" y="189"/>
                  </a:cubicBezTo>
                  <a:cubicBezTo>
                    <a:pt x="78" y="189"/>
                    <a:pt x="78" y="189"/>
                    <a:pt x="78" y="189"/>
                  </a:cubicBezTo>
                  <a:cubicBezTo>
                    <a:pt x="78" y="189"/>
                    <a:pt x="78" y="189"/>
                    <a:pt x="78" y="189"/>
                  </a:cubicBezTo>
                  <a:cubicBezTo>
                    <a:pt x="78" y="188"/>
                    <a:pt x="78" y="188"/>
                    <a:pt x="78" y="188"/>
                  </a:cubicBezTo>
                  <a:cubicBezTo>
                    <a:pt x="78" y="188"/>
                    <a:pt x="78" y="188"/>
                    <a:pt x="78" y="188"/>
                  </a:cubicBezTo>
                  <a:cubicBezTo>
                    <a:pt x="78" y="189"/>
                    <a:pt x="78" y="189"/>
                    <a:pt x="78" y="189"/>
                  </a:cubicBezTo>
                  <a:cubicBezTo>
                    <a:pt x="78" y="189"/>
                    <a:pt x="78" y="189"/>
                    <a:pt x="78" y="189"/>
                  </a:cubicBezTo>
                  <a:cubicBezTo>
                    <a:pt x="77" y="189"/>
                    <a:pt x="77" y="189"/>
                    <a:pt x="77" y="189"/>
                  </a:cubicBezTo>
                  <a:cubicBezTo>
                    <a:pt x="77" y="189"/>
                    <a:pt x="77" y="189"/>
                    <a:pt x="77" y="189"/>
                  </a:cubicBezTo>
                  <a:cubicBezTo>
                    <a:pt x="76" y="189"/>
                    <a:pt x="76" y="189"/>
                    <a:pt x="76" y="189"/>
                  </a:cubicBezTo>
                  <a:cubicBezTo>
                    <a:pt x="76" y="189"/>
                    <a:pt x="76" y="189"/>
                    <a:pt x="76" y="189"/>
                  </a:cubicBezTo>
                  <a:cubicBezTo>
                    <a:pt x="76" y="189"/>
                    <a:pt x="76" y="189"/>
                    <a:pt x="76" y="189"/>
                  </a:cubicBezTo>
                  <a:cubicBezTo>
                    <a:pt x="76" y="190"/>
                    <a:pt x="76" y="190"/>
                    <a:pt x="76" y="190"/>
                  </a:cubicBezTo>
                  <a:cubicBezTo>
                    <a:pt x="76" y="190"/>
                    <a:pt x="76" y="190"/>
                    <a:pt x="76" y="190"/>
                  </a:cubicBezTo>
                  <a:cubicBezTo>
                    <a:pt x="76" y="190"/>
                    <a:pt x="76" y="190"/>
                    <a:pt x="76" y="191"/>
                  </a:cubicBezTo>
                  <a:cubicBezTo>
                    <a:pt x="76" y="191"/>
                    <a:pt x="76" y="191"/>
                    <a:pt x="76" y="191"/>
                  </a:cubicBezTo>
                  <a:cubicBezTo>
                    <a:pt x="76" y="191"/>
                    <a:pt x="76" y="191"/>
                    <a:pt x="76" y="191"/>
                  </a:cubicBezTo>
                  <a:cubicBezTo>
                    <a:pt x="76" y="192"/>
                    <a:pt x="76" y="192"/>
                    <a:pt x="76" y="192"/>
                  </a:cubicBezTo>
                  <a:cubicBezTo>
                    <a:pt x="76" y="192"/>
                    <a:pt x="76" y="192"/>
                    <a:pt x="76" y="192"/>
                  </a:cubicBezTo>
                  <a:cubicBezTo>
                    <a:pt x="76" y="192"/>
                    <a:pt x="76" y="192"/>
                    <a:pt x="76" y="192"/>
                  </a:cubicBezTo>
                  <a:close/>
                  <a:moveTo>
                    <a:pt x="59" y="165"/>
                  </a:moveTo>
                  <a:cubicBezTo>
                    <a:pt x="59" y="164"/>
                    <a:pt x="59" y="164"/>
                    <a:pt x="59" y="164"/>
                  </a:cubicBezTo>
                  <a:cubicBezTo>
                    <a:pt x="59" y="164"/>
                    <a:pt x="59" y="164"/>
                    <a:pt x="59" y="164"/>
                  </a:cubicBezTo>
                  <a:cubicBezTo>
                    <a:pt x="59" y="164"/>
                    <a:pt x="59" y="164"/>
                    <a:pt x="59" y="164"/>
                  </a:cubicBezTo>
                  <a:cubicBezTo>
                    <a:pt x="59" y="164"/>
                    <a:pt x="59" y="164"/>
                    <a:pt x="59" y="164"/>
                  </a:cubicBezTo>
                  <a:cubicBezTo>
                    <a:pt x="58" y="164"/>
                    <a:pt x="58" y="164"/>
                    <a:pt x="58" y="164"/>
                  </a:cubicBezTo>
                  <a:cubicBezTo>
                    <a:pt x="58" y="163"/>
                    <a:pt x="58" y="163"/>
                    <a:pt x="58" y="163"/>
                  </a:cubicBezTo>
                  <a:cubicBezTo>
                    <a:pt x="58" y="163"/>
                    <a:pt x="58" y="163"/>
                    <a:pt x="58" y="163"/>
                  </a:cubicBezTo>
                  <a:cubicBezTo>
                    <a:pt x="58" y="163"/>
                    <a:pt x="58" y="163"/>
                    <a:pt x="58" y="163"/>
                  </a:cubicBezTo>
                  <a:cubicBezTo>
                    <a:pt x="58" y="163"/>
                    <a:pt x="58" y="163"/>
                    <a:pt x="58" y="163"/>
                  </a:cubicBezTo>
                  <a:cubicBezTo>
                    <a:pt x="58" y="162"/>
                    <a:pt x="58" y="162"/>
                    <a:pt x="58" y="162"/>
                  </a:cubicBezTo>
                  <a:cubicBezTo>
                    <a:pt x="58" y="162"/>
                    <a:pt x="58" y="162"/>
                    <a:pt x="58" y="162"/>
                  </a:cubicBezTo>
                  <a:cubicBezTo>
                    <a:pt x="58" y="162"/>
                    <a:pt x="58" y="162"/>
                    <a:pt x="58" y="162"/>
                  </a:cubicBezTo>
                  <a:cubicBezTo>
                    <a:pt x="58" y="162"/>
                    <a:pt x="58" y="162"/>
                    <a:pt x="58" y="162"/>
                  </a:cubicBezTo>
                  <a:cubicBezTo>
                    <a:pt x="58" y="161"/>
                    <a:pt x="58" y="161"/>
                    <a:pt x="58" y="161"/>
                  </a:cubicBezTo>
                  <a:cubicBezTo>
                    <a:pt x="58" y="161"/>
                    <a:pt x="58" y="161"/>
                    <a:pt x="58" y="161"/>
                  </a:cubicBezTo>
                  <a:cubicBezTo>
                    <a:pt x="58" y="162"/>
                    <a:pt x="58" y="162"/>
                    <a:pt x="58" y="162"/>
                  </a:cubicBezTo>
                  <a:cubicBezTo>
                    <a:pt x="57" y="162"/>
                    <a:pt x="57" y="162"/>
                    <a:pt x="57" y="162"/>
                  </a:cubicBezTo>
                  <a:cubicBezTo>
                    <a:pt x="57" y="162"/>
                    <a:pt x="57" y="162"/>
                    <a:pt x="57" y="162"/>
                  </a:cubicBezTo>
                  <a:cubicBezTo>
                    <a:pt x="57" y="163"/>
                    <a:pt x="57" y="163"/>
                    <a:pt x="57" y="163"/>
                  </a:cubicBezTo>
                  <a:cubicBezTo>
                    <a:pt x="56" y="163"/>
                    <a:pt x="56" y="163"/>
                    <a:pt x="56" y="163"/>
                  </a:cubicBezTo>
                  <a:cubicBezTo>
                    <a:pt x="56" y="163"/>
                    <a:pt x="56" y="163"/>
                    <a:pt x="56" y="163"/>
                  </a:cubicBezTo>
                  <a:cubicBezTo>
                    <a:pt x="56" y="164"/>
                    <a:pt x="56" y="164"/>
                    <a:pt x="56" y="164"/>
                  </a:cubicBezTo>
                  <a:cubicBezTo>
                    <a:pt x="56" y="164"/>
                    <a:pt x="56" y="164"/>
                    <a:pt x="56" y="164"/>
                  </a:cubicBezTo>
                  <a:cubicBezTo>
                    <a:pt x="56" y="164"/>
                    <a:pt x="56" y="164"/>
                    <a:pt x="56" y="164"/>
                  </a:cubicBezTo>
                  <a:cubicBezTo>
                    <a:pt x="56" y="164"/>
                    <a:pt x="56" y="164"/>
                    <a:pt x="56" y="164"/>
                  </a:cubicBezTo>
                  <a:cubicBezTo>
                    <a:pt x="56" y="165"/>
                    <a:pt x="56" y="165"/>
                    <a:pt x="56" y="165"/>
                  </a:cubicBezTo>
                  <a:cubicBezTo>
                    <a:pt x="56" y="165"/>
                    <a:pt x="56" y="165"/>
                    <a:pt x="56" y="165"/>
                  </a:cubicBezTo>
                  <a:cubicBezTo>
                    <a:pt x="57" y="165"/>
                    <a:pt x="57" y="165"/>
                    <a:pt x="57" y="165"/>
                  </a:cubicBezTo>
                  <a:cubicBezTo>
                    <a:pt x="57" y="166"/>
                    <a:pt x="57" y="166"/>
                    <a:pt x="57" y="166"/>
                  </a:cubicBezTo>
                  <a:cubicBezTo>
                    <a:pt x="58" y="166"/>
                    <a:pt x="58" y="166"/>
                    <a:pt x="58" y="166"/>
                  </a:cubicBezTo>
                  <a:cubicBezTo>
                    <a:pt x="59" y="167"/>
                    <a:pt x="59" y="167"/>
                    <a:pt x="59" y="167"/>
                  </a:cubicBezTo>
                  <a:cubicBezTo>
                    <a:pt x="59" y="167"/>
                    <a:pt x="59" y="167"/>
                    <a:pt x="59" y="167"/>
                  </a:cubicBezTo>
                  <a:cubicBezTo>
                    <a:pt x="59" y="166"/>
                    <a:pt x="59" y="166"/>
                    <a:pt x="59" y="166"/>
                  </a:cubicBezTo>
                  <a:cubicBezTo>
                    <a:pt x="59" y="166"/>
                    <a:pt x="59" y="166"/>
                    <a:pt x="59" y="166"/>
                  </a:cubicBezTo>
                  <a:cubicBezTo>
                    <a:pt x="59" y="166"/>
                    <a:pt x="59" y="166"/>
                    <a:pt x="59" y="166"/>
                  </a:cubicBezTo>
                  <a:cubicBezTo>
                    <a:pt x="59" y="165"/>
                    <a:pt x="59" y="165"/>
                    <a:pt x="59" y="165"/>
                  </a:cubicBezTo>
                  <a:cubicBezTo>
                    <a:pt x="59" y="165"/>
                    <a:pt x="59" y="165"/>
                    <a:pt x="59" y="165"/>
                  </a:cubicBezTo>
                  <a:cubicBezTo>
                    <a:pt x="59" y="165"/>
                    <a:pt x="59" y="165"/>
                    <a:pt x="59" y="165"/>
                  </a:cubicBezTo>
                  <a:close/>
                  <a:moveTo>
                    <a:pt x="74" y="200"/>
                  </a:moveTo>
                  <a:cubicBezTo>
                    <a:pt x="73" y="200"/>
                    <a:pt x="73" y="200"/>
                    <a:pt x="73" y="200"/>
                  </a:cubicBezTo>
                  <a:cubicBezTo>
                    <a:pt x="73" y="200"/>
                    <a:pt x="73" y="200"/>
                    <a:pt x="73" y="200"/>
                  </a:cubicBezTo>
                  <a:cubicBezTo>
                    <a:pt x="72" y="200"/>
                    <a:pt x="72" y="200"/>
                    <a:pt x="72" y="200"/>
                  </a:cubicBezTo>
                  <a:cubicBezTo>
                    <a:pt x="72" y="200"/>
                    <a:pt x="72" y="200"/>
                    <a:pt x="72" y="200"/>
                  </a:cubicBezTo>
                  <a:cubicBezTo>
                    <a:pt x="71" y="200"/>
                    <a:pt x="71" y="200"/>
                    <a:pt x="71" y="200"/>
                  </a:cubicBezTo>
                  <a:cubicBezTo>
                    <a:pt x="71" y="200"/>
                    <a:pt x="71" y="200"/>
                    <a:pt x="71" y="200"/>
                  </a:cubicBezTo>
                  <a:cubicBezTo>
                    <a:pt x="71" y="200"/>
                    <a:pt x="71" y="200"/>
                    <a:pt x="71" y="200"/>
                  </a:cubicBezTo>
                  <a:cubicBezTo>
                    <a:pt x="71" y="201"/>
                    <a:pt x="71" y="201"/>
                    <a:pt x="71" y="201"/>
                  </a:cubicBezTo>
                  <a:cubicBezTo>
                    <a:pt x="70" y="201"/>
                    <a:pt x="70" y="201"/>
                    <a:pt x="70" y="201"/>
                  </a:cubicBezTo>
                  <a:cubicBezTo>
                    <a:pt x="71" y="201"/>
                    <a:pt x="71" y="201"/>
                    <a:pt x="71" y="201"/>
                  </a:cubicBezTo>
                  <a:cubicBezTo>
                    <a:pt x="71" y="201"/>
                    <a:pt x="71" y="201"/>
                    <a:pt x="71" y="201"/>
                  </a:cubicBezTo>
                  <a:cubicBezTo>
                    <a:pt x="71" y="201"/>
                    <a:pt x="71" y="201"/>
                    <a:pt x="71" y="201"/>
                  </a:cubicBezTo>
                  <a:cubicBezTo>
                    <a:pt x="71" y="202"/>
                    <a:pt x="71" y="202"/>
                    <a:pt x="71" y="202"/>
                  </a:cubicBezTo>
                  <a:cubicBezTo>
                    <a:pt x="71" y="202"/>
                    <a:pt x="71" y="202"/>
                    <a:pt x="71" y="202"/>
                  </a:cubicBezTo>
                  <a:cubicBezTo>
                    <a:pt x="71" y="202"/>
                    <a:pt x="71" y="202"/>
                    <a:pt x="71" y="202"/>
                  </a:cubicBezTo>
                  <a:cubicBezTo>
                    <a:pt x="71" y="202"/>
                    <a:pt x="71" y="202"/>
                    <a:pt x="71" y="202"/>
                  </a:cubicBezTo>
                  <a:cubicBezTo>
                    <a:pt x="72" y="202"/>
                    <a:pt x="72" y="202"/>
                    <a:pt x="72" y="202"/>
                  </a:cubicBezTo>
                  <a:cubicBezTo>
                    <a:pt x="72" y="201"/>
                    <a:pt x="72" y="201"/>
                    <a:pt x="72" y="201"/>
                  </a:cubicBezTo>
                  <a:cubicBezTo>
                    <a:pt x="72" y="202"/>
                    <a:pt x="72" y="202"/>
                    <a:pt x="72" y="202"/>
                  </a:cubicBezTo>
                  <a:cubicBezTo>
                    <a:pt x="72" y="202"/>
                    <a:pt x="72" y="202"/>
                    <a:pt x="72" y="202"/>
                  </a:cubicBezTo>
                  <a:cubicBezTo>
                    <a:pt x="72" y="202"/>
                    <a:pt x="72" y="202"/>
                    <a:pt x="72" y="202"/>
                  </a:cubicBezTo>
                  <a:cubicBezTo>
                    <a:pt x="72" y="203"/>
                    <a:pt x="72" y="203"/>
                    <a:pt x="72" y="203"/>
                  </a:cubicBezTo>
                  <a:cubicBezTo>
                    <a:pt x="72" y="203"/>
                    <a:pt x="72" y="203"/>
                    <a:pt x="72" y="203"/>
                  </a:cubicBezTo>
                  <a:cubicBezTo>
                    <a:pt x="72" y="203"/>
                    <a:pt x="72" y="203"/>
                    <a:pt x="72" y="203"/>
                  </a:cubicBezTo>
                  <a:cubicBezTo>
                    <a:pt x="73" y="203"/>
                    <a:pt x="73" y="203"/>
                    <a:pt x="73" y="203"/>
                  </a:cubicBezTo>
                  <a:cubicBezTo>
                    <a:pt x="72" y="202"/>
                    <a:pt x="72" y="202"/>
                    <a:pt x="72" y="202"/>
                  </a:cubicBezTo>
                  <a:cubicBezTo>
                    <a:pt x="73" y="202"/>
                    <a:pt x="73" y="202"/>
                    <a:pt x="73" y="202"/>
                  </a:cubicBezTo>
                  <a:cubicBezTo>
                    <a:pt x="73" y="202"/>
                    <a:pt x="73" y="202"/>
                    <a:pt x="73" y="202"/>
                  </a:cubicBezTo>
                  <a:cubicBezTo>
                    <a:pt x="73" y="202"/>
                    <a:pt x="73" y="202"/>
                    <a:pt x="73" y="202"/>
                  </a:cubicBezTo>
                  <a:cubicBezTo>
                    <a:pt x="73" y="202"/>
                    <a:pt x="73" y="202"/>
                    <a:pt x="73" y="202"/>
                  </a:cubicBezTo>
                  <a:cubicBezTo>
                    <a:pt x="73" y="202"/>
                    <a:pt x="73" y="202"/>
                    <a:pt x="73" y="202"/>
                  </a:cubicBezTo>
                  <a:cubicBezTo>
                    <a:pt x="74" y="201"/>
                    <a:pt x="74" y="201"/>
                    <a:pt x="74" y="201"/>
                  </a:cubicBezTo>
                  <a:cubicBezTo>
                    <a:pt x="74" y="201"/>
                    <a:pt x="74" y="201"/>
                    <a:pt x="74" y="201"/>
                  </a:cubicBezTo>
                  <a:cubicBezTo>
                    <a:pt x="74" y="201"/>
                    <a:pt x="74" y="201"/>
                    <a:pt x="74" y="201"/>
                  </a:cubicBezTo>
                  <a:cubicBezTo>
                    <a:pt x="74" y="201"/>
                    <a:pt x="74" y="201"/>
                    <a:pt x="74" y="201"/>
                  </a:cubicBezTo>
                  <a:cubicBezTo>
                    <a:pt x="74" y="200"/>
                    <a:pt x="74" y="200"/>
                    <a:pt x="74" y="200"/>
                  </a:cubicBezTo>
                  <a:close/>
                  <a:moveTo>
                    <a:pt x="75" y="187"/>
                  </a:moveTo>
                  <a:cubicBezTo>
                    <a:pt x="74" y="186"/>
                    <a:pt x="74" y="186"/>
                    <a:pt x="74" y="186"/>
                  </a:cubicBezTo>
                  <a:cubicBezTo>
                    <a:pt x="74" y="187"/>
                    <a:pt x="74" y="187"/>
                    <a:pt x="74" y="187"/>
                  </a:cubicBezTo>
                  <a:cubicBezTo>
                    <a:pt x="74" y="188"/>
                    <a:pt x="74" y="188"/>
                    <a:pt x="74" y="188"/>
                  </a:cubicBezTo>
                  <a:cubicBezTo>
                    <a:pt x="74" y="188"/>
                    <a:pt x="74" y="188"/>
                    <a:pt x="74" y="188"/>
                  </a:cubicBezTo>
                  <a:cubicBezTo>
                    <a:pt x="73" y="189"/>
                    <a:pt x="73" y="189"/>
                    <a:pt x="73" y="189"/>
                  </a:cubicBezTo>
                  <a:cubicBezTo>
                    <a:pt x="73" y="189"/>
                    <a:pt x="73" y="189"/>
                    <a:pt x="73" y="189"/>
                  </a:cubicBezTo>
                  <a:cubicBezTo>
                    <a:pt x="73" y="189"/>
                    <a:pt x="73" y="189"/>
                    <a:pt x="73" y="189"/>
                  </a:cubicBezTo>
                  <a:cubicBezTo>
                    <a:pt x="73" y="189"/>
                    <a:pt x="73" y="189"/>
                    <a:pt x="73" y="189"/>
                  </a:cubicBezTo>
                  <a:cubicBezTo>
                    <a:pt x="73" y="190"/>
                    <a:pt x="73" y="190"/>
                    <a:pt x="73" y="190"/>
                  </a:cubicBezTo>
                  <a:cubicBezTo>
                    <a:pt x="73" y="190"/>
                    <a:pt x="73" y="190"/>
                    <a:pt x="73" y="190"/>
                  </a:cubicBezTo>
                  <a:cubicBezTo>
                    <a:pt x="73" y="190"/>
                    <a:pt x="73" y="190"/>
                    <a:pt x="73" y="190"/>
                  </a:cubicBezTo>
                  <a:cubicBezTo>
                    <a:pt x="73" y="190"/>
                    <a:pt x="73" y="190"/>
                    <a:pt x="73" y="190"/>
                  </a:cubicBezTo>
                  <a:cubicBezTo>
                    <a:pt x="73" y="191"/>
                    <a:pt x="73" y="191"/>
                    <a:pt x="73" y="191"/>
                  </a:cubicBezTo>
                  <a:cubicBezTo>
                    <a:pt x="73" y="191"/>
                    <a:pt x="73" y="191"/>
                    <a:pt x="73" y="191"/>
                  </a:cubicBezTo>
                  <a:cubicBezTo>
                    <a:pt x="73" y="191"/>
                    <a:pt x="73" y="191"/>
                    <a:pt x="73" y="191"/>
                  </a:cubicBezTo>
                  <a:cubicBezTo>
                    <a:pt x="74" y="190"/>
                    <a:pt x="74" y="190"/>
                    <a:pt x="74" y="190"/>
                  </a:cubicBezTo>
                  <a:cubicBezTo>
                    <a:pt x="74" y="190"/>
                    <a:pt x="74" y="190"/>
                    <a:pt x="74" y="190"/>
                  </a:cubicBezTo>
                  <a:cubicBezTo>
                    <a:pt x="74" y="188"/>
                    <a:pt x="74" y="188"/>
                    <a:pt x="74" y="188"/>
                  </a:cubicBezTo>
                  <a:cubicBezTo>
                    <a:pt x="74" y="189"/>
                    <a:pt x="74" y="189"/>
                    <a:pt x="74" y="189"/>
                  </a:cubicBezTo>
                  <a:cubicBezTo>
                    <a:pt x="75" y="188"/>
                    <a:pt x="75" y="188"/>
                    <a:pt x="75" y="188"/>
                  </a:cubicBezTo>
                  <a:cubicBezTo>
                    <a:pt x="75" y="188"/>
                    <a:pt x="75" y="188"/>
                    <a:pt x="75" y="188"/>
                  </a:cubicBezTo>
                  <a:cubicBezTo>
                    <a:pt x="75" y="187"/>
                    <a:pt x="75" y="187"/>
                    <a:pt x="75" y="187"/>
                  </a:cubicBezTo>
                  <a:cubicBezTo>
                    <a:pt x="75" y="187"/>
                    <a:pt x="75" y="187"/>
                    <a:pt x="75" y="187"/>
                  </a:cubicBezTo>
                  <a:close/>
                  <a:moveTo>
                    <a:pt x="75" y="201"/>
                  </a:moveTo>
                  <a:cubicBezTo>
                    <a:pt x="75" y="201"/>
                    <a:pt x="75" y="201"/>
                    <a:pt x="75" y="201"/>
                  </a:cubicBezTo>
                  <a:cubicBezTo>
                    <a:pt x="74" y="201"/>
                    <a:pt x="74" y="201"/>
                    <a:pt x="74" y="201"/>
                  </a:cubicBezTo>
                  <a:cubicBezTo>
                    <a:pt x="74" y="201"/>
                    <a:pt x="74" y="201"/>
                    <a:pt x="74" y="201"/>
                  </a:cubicBezTo>
                  <a:cubicBezTo>
                    <a:pt x="74" y="201"/>
                    <a:pt x="74" y="201"/>
                    <a:pt x="74" y="201"/>
                  </a:cubicBezTo>
                  <a:cubicBezTo>
                    <a:pt x="74" y="201"/>
                    <a:pt x="74" y="201"/>
                    <a:pt x="74" y="201"/>
                  </a:cubicBezTo>
                  <a:cubicBezTo>
                    <a:pt x="74" y="202"/>
                    <a:pt x="74" y="202"/>
                    <a:pt x="74" y="202"/>
                  </a:cubicBezTo>
                  <a:cubicBezTo>
                    <a:pt x="74" y="202"/>
                    <a:pt x="74" y="202"/>
                    <a:pt x="74" y="202"/>
                  </a:cubicBezTo>
                  <a:cubicBezTo>
                    <a:pt x="74" y="202"/>
                    <a:pt x="74" y="202"/>
                    <a:pt x="74" y="202"/>
                  </a:cubicBezTo>
                  <a:cubicBezTo>
                    <a:pt x="73" y="202"/>
                    <a:pt x="73" y="202"/>
                    <a:pt x="73" y="202"/>
                  </a:cubicBezTo>
                  <a:cubicBezTo>
                    <a:pt x="73" y="202"/>
                    <a:pt x="73" y="202"/>
                    <a:pt x="73" y="202"/>
                  </a:cubicBezTo>
                  <a:cubicBezTo>
                    <a:pt x="73" y="203"/>
                    <a:pt x="73" y="203"/>
                    <a:pt x="73" y="203"/>
                  </a:cubicBezTo>
                  <a:cubicBezTo>
                    <a:pt x="73" y="203"/>
                    <a:pt x="73" y="203"/>
                    <a:pt x="73" y="203"/>
                  </a:cubicBezTo>
                  <a:cubicBezTo>
                    <a:pt x="73" y="204"/>
                    <a:pt x="73" y="204"/>
                    <a:pt x="73" y="204"/>
                  </a:cubicBezTo>
                  <a:cubicBezTo>
                    <a:pt x="73" y="204"/>
                    <a:pt x="73" y="204"/>
                    <a:pt x="73" y="204"/>
                  </a:cubicBezTo>
                  <a:cubicBezTo>
                    <a:pt x="73" y="204"/>
                    <a:pt x="73" y="204"/>
                    <a:pt x="73" y="204"/>
                  </a:cubicBezTo>
                  <a:cubicBezTo>
                    <a:pt x="73" y="204"/>
                    <a:pt x="73" y="204"/>
                    <a:pt x="73" y="204"/>
                  </a:cubicBezTo>
                  <a:cubicBezTo>
                    <a:pt x="73" y="205"/>
                    <a:pt x="73" y="205"/>
                    <a:pt x="73" y="205"/>
                  </a:cubicBezTo>
                  <a:cubicBezTo>
                    <a:pt x="73" y="205"/>
                    <a:pt x="73" y="205"/>
                    <a:pt x="73" y="205"/>
                  </a:cubicBezTo>
                  <a:cubicBezTo>
                    <a:pt x="73" y="205"/>
                    <a:pt x="73" y="205"/>
                    <a:pt x="73" y="205"/>
                  </a:cubicBezTo>
                  <a:cubicBezTo>
                    <a:pt x="73" y="205"/>
                    <a:pt x="73" y="205"/>
                    <a:pt x="73" y="205"/>
                  </a:cubicBezTo>
                  <a:cubicBezTo>
                    <a:pt x="74" y="205"/>
                    <a:pt x="74" y="205"/>
                    <a:pt x="74" y="205"/>
                  </a:cubicBezTo>
                  <a:cubicBezTo>
                    <a:pt x="74" y="205"/>
                    <a:pt x="74" y="205"/>
                    <a:pt x="74" y="205"/>
                  </a:cubicBezTo>
                  <a:cubicBezTo>
                    <a:pt x="74" y="204"/>
                    <a:pt x="74" y="204"/>
                    <a:pt x="74" y="204"/>
                  </a:cubicBezTo>
                  <a:cubicBezTo>
                    <a:pt x="74" y="204"/>
                    <a:pt x="74" y="204"/>
                    <a:pt x="74" y="204"/>
                  </a:cubicBezTo>
                  <a:cubicBezTo>
                    <a:pt x="74" y="204"/>
                    <a:pt x="74" y="204"/>
                    <a:pt x="74" y="204"/>
                  </a:cubicBezTo>
                  <a:cubicBezTo>
                    <a:pt x="74" y="204"/>
                    <a:pt x="74" y="204"/>
                    <a:pt x="74" y="204"/>
                  </a:cubicBezTo>
                  <a:cubicBezTo>
                    <a:pt x="74" y="204"/>
                    <a:pt x="74" y="204"/>
                    <a:pt x="74" y="204"/>
                  </a:cubicBezTo>
                  <a:cubicBezTo>
                    <a:pt x="75" y="203"/>
                    <a:pt x="75" y="203"/>
                    <a:pt x="75" y="203"/>
                  </a:cubicBezTo>
                  <a:cubicBezTo>
                    <a:pt x="75" y="202"/>
                    <a:pt x="75" y="202"/>
                    <a:pt x="75" y="202"/>
                  </a:cubicBezTo>
                  <a:cubicBezTo>
                    <a:pt x="75" y="201"/>
                    <a:pt x="75" y="201"/>
                    <a:pt x="75" y="201"/>
                  </a:cubicBezTo>
                  <a:cubicBezTo>
                    <a:pt x="75" y="201"/>
                    <a:pt x="75" y="201"/>
                    <a:pt x="75" y="201"/>
                  </a:cubicBezTo>
                  <a:close/>
                  <a:moveTo>
                    <a:pt x="56" y="161"/>
                  </a:moveTo>
                  <a:cubicBezTo>
                    <a:pt x="55" y="160"/>
                    <a:pt x="55" y="160"/>
                    <a:pt x="55" y="160"/>
                  </a:cubicBezTo>
                  <a:cubicBezTo>
                    <a:pt x="55" y="160"/>
                    <a:pt x="55" y="160"/>
                    <a:pt x="55" y="160"/>
                  </a:cubicBezTo>
                  <a:cubicBezTo>
                    <a:pt x="54" y="160"/>
                    <a:pt x="54" y="160"/>
                    <a:pt x="54" y="160"/>
                  </a:cubicBezTo>
                  <a:cubicBezTo>
                    <a:pt x="54" y="160"/>
                    <a:pt x="54" y="160"/>
                    <a:pt x="54" y="160"/>
                  </a:cubicBezTo>
                  <a:cubicBezTo>
                    <a:pt x="54" y="161"/>
                    <a:pt x="54" y="161"/>
                    <a:pt x="54" y="161"/>
                  </a:cubicBezTo>
                  <a:cubicBezTo>
                    <a:pt x="55" y="161"/>
                    <a:pt x="55" y="161"/>
                    <a:pt x="55" y="161"/>
                  </a:cubicBezTo>
                  <a:cubicBezTo>
                    <a:pt x="55" y="162"/>
                    <a:pt x="55" y="162"/>
                    <a:pt x="55" y="162"/>
                  </a:cubicBezTo>
                  <a:cubicBezTo>
                    <a:pt x="56" y="162"/>
                    <a:pt x="56" y="162"/>
                    <a:pt x="56" y="162"/>
                  </a:cubicBezTo>
                  <a:cubicBezTo>
                    <a:pt x="56" y="161"/>
                    <a:pt x="56" y="161"/>
                    <a:pt x="56" y="161"/>
                  </a:cubicBezTo>
                  <a:close/>
                  <a:moveTo>
                    <a:pt x="60" y="152"/>
                  </a:moveTo>
                  <a:cubicBezTo>
                    <a:pt x="60" y="152"/>
                    <a:pt x="60" y="152"/>
                    <a:pt x="60" y="152"/>
                  </a:cubicBezTo>
                  <a:cubicBezTo>
                    <a:pt x="60" y="152"/>
                    <a:pt x="60" y="152"/>
                    <a:pt x="60" y="152"/>
                  </a:cubicBezTo>
                  <a:cubicBezTo>
                    <a:pt x="60" y="152"/>
                    <a:pt x="60" y="152"/>
                    <a:pt x="60" y="152"/>
                  </a:cubicBezTo>
                  <a:cubicBezTo>
                    <a:pt x="60" y="152"/>
                    <a:pt x="60" y="152"/>
                    <a:pt x="60" y="152"/>
                  </a:cubicBezTo>
                  <a:cubicBezTo>
                    <a:pt x="61" y="152"/>
                    <a:pt x="61" y="152"/>
                    <a:pt x="61" y="152"/>
                  </a:cubicBezTo>
                  <a:cubicBezTo>
                    <a:pt x="61" y="151"/>
                    <a:pt x="61" y="151"/>
                    <a:pt x="61" y="151"/>
                  </a:cubicBezTo>
                  <a:cubicBezTo>
                    <a:pt x="61" y="151"/>
                    <a:pt x="61" y="151"/>
                    <a:pt x="61" y="151"/>
                  </a:cubicBezTo>
                  <a:cubicBezTo>
                    <a:pt x="61" y="150"/>
                    <a:pt x="61" y="150"/>
                    <a:pt x="61" y="150"/>
                  </a:cubicBezTo>
                  <a:cubicBezTo>
                    <a:pt x="60" y="151"/>
                    <a:pt x="60" y="151"/>
                    <a:pt x="60" y="151"/>
                  </a:cubicBezTo>
                  <a:cubicBezTo>
                    <a:pt x="60" y="151"/>
                    <a:pt x="60" y="151"/>
                    <a:pt x="60" y="151"/>
                  </a:cubicBezTo>
                  <a:cubicBezTo>
                    <a:pt x="60" y="152"/>
                    <a:pt x="60" y="152"/>
                    <a:pt x="60" y="152"/>
                  </a:cubicBezTo>
                  <a:cubicBezTo>
                    <a:pt x="60" y="152"/>
                    <a:pt x="60" y="152"/>
                    <a:pt x="60" y="152"/>
                  </a:cubicBezTo>
                  <a:cubicBezTo>
                    <a:pt x="60" y="152"/>
                    <a:pt x="60" y="152"/>
                    <a:pt x="60" y="152"/>
                  </a:cubicBezTo>
                  <a:cubicBezTo>
                    <a:pt x="60" y="152"/>
                    <a:pt x="60" y="152"/>
                    <a:pt x="60" y="152"/>
                  </a:cubicBezTo>
                  <a:close/>
                  <a:moveTo>
                    <a:pt x="54" y="159"/>
                  </a:moveTo>
                  <a:cubicBezTo>
                    <a:pt x="54" y="159"/>
                    <a:pt x="54" y="159"/>
                    <a:pt x="54" y="159"/>
                  </a:cubicBezTo>
                  <a:cubicBezTo>
                    <a:pt x="54" y="159"/>
                    <a:pt x="54" y="159"/>
                    <a:pt x="54" y="159"/>
                  </a:cubicBezTo>
                  <a:cubicBezTo>
                    <a:pt x="54" y="159"/>
                    <a:pt x="54" y="159"/>
                    <a:pt x="54" y="159"/>
                  </a:cubicBezTo>
                  <a:cubicBezTo>
                    <a:pt x="54" y="159"/>
                    <a:pt x="54" y="159"/>
                    <a:pt x="54" y="159"/>
                  </a:cubicBezTo>
                  <a:cubicBezTo>
                    <a:pt x="54" y="158"/>
                    <a:pt x="54" y="158"/>
                    <a:pt x="54" y="158"/>
                  </a:cubicBezTo>
                  <a:cubicBezTo>
                    <a:pt x="54" y="158"/>
                    <a:pt x="54" y="158"/>
                    <a:pt x="54" y="158"/>
                  </a:cubicBezTo>
                  <a:cubicBezTo>
                    <a:pt x="54" y="158"/>
                    <a:pt x="54" y="158"/>
                    <a:pt x="54" y="158"/>
                  </a:cubicBezTo>
                  <a:cubicBezTo>
                    <a:pt x="53" y="158"/>
                    <a:pt x="53" y="158"/>
                    <a:pt x="53" y="158"/>
                  </a:cubicBezTo>
                  <a:cubicBezTo>
                    <a:pt x="54" y="157"/>
                    <a:pt x="54" y="157"/>
                    <a:pt x="54" y="157"/>
                  </a:cubicBezTo>
                  <a:cubicBezTo>
                    <a:pt x="54" y="157"/>
                    <a:pt x="54" y="157"/>
                    <a:pt x="54" y="157"/>
                  </a:cubicBezTo>
                  <a:cubicBezTo>
                    <a:pt x="54" y="157"/>
                    <a:pt x="54" y="157"/>
                    <a:pt x="54" y="157"/>
                  </a:cubicBezTo>
                  <a:cubicBezTo>
                    <a:pt x="54" y="157"/>
                    <a:pt x="54" y="157"/>
                    <a:pt x="54" y="157"/>
                  </a:cubicBezTo>
                  <a:cubicBezTo>
                    <a:pt x="54" y="157"/>
                    <a:pt x="54" y="157"/>
                    <a:pt x="54" y="157"/>
                  </a:cubicBezTo>
                  <a:cubicBezTo>
                    <a:pt x="54" y="157"/>
                    <a:pt x="54" y="157"/>
                    <a:pt x="54" y="157"/>
                  </a:cubicBezTo>
                  <a:cubicBezTo>
                    <a:pt x="54" y="157"/>
                    <a:pt x="54" y="157"/>
                    <a:pt x="54" y="157"/>
                  </a:cubicBezTo>
                  <a:cubicBezTo>
                    <a:pt x="55" y="157"/>
                    <a:pt x="55" y="157"/>
                    <a:pt x="55" y="157"/>
                  </a:cubicBezTo>
                  <a:cubicBezTo>
                    <a:pt x="55" y="157"/>
                    <a:pt x="55" y="157"/>
                    <a:pt x="55" y="157"/>
                  </a:cubicBezTo>
                  <a:cubicBezTo>
                    <a:pt x="55" y="157"/>
                    <a:pt x="55" y="157"/>
                    <a:pt x="55" y="157"/>
                  </a:cubicBezTo>
                  <a:cubicBezTo>
                    <a:pt x="55" y="158"/>
                    <a:pt x="55" y="158"/>
                    <a:pt x="55" y="158"/>
                  </a:cubicBezTo>
                  <a:cubicBezTo>
                    <a:pt x="55" y="158"/>
                    <a:pt x="55" y="158"/>
                    <a:pt x="55" y="158"/>
                  </a:cubicBezTo>
                  <a:cubicBezTo>
                    <a:pt x="56" y="159"/>
                    <a:pt x="56" y="159"/>
                    <a:pt x="56" y="159"/>
                  </a:cubicBezTo>
                  <a:cubicBezTo>
                    <a:pt x="56" y="159"/>
                    <a:pt x="56" y="159"/>
                    <a:pt x="56" y="159"/>
                  </a:cubicBezTo>
                  <a:cubicBezTo>
                    <a:pt x="56" y="159"/>
                    <a:pt x="56" y="159"/>
                    <a:pt x="56" y="159"/>
                  </a:cubicBezTo>
                  <a:cubicBezTo>
                    <a:pt x="56" y="158"/>
                    <a:pt x="56" y="158"/>
                    <a:pt x="56" y="158"/>
                  </a:cubicBezTo>
                  <a:cubicBezTo>
                    <a:pt x="57" y="158"/>
                    <a:pt x="57" y="158"/>
                    <a:pt x="57" y="158"/>
                  </a:cubicBezTo>
                  <a:cubicBezTo>
                    <a:pt x="57" y="157"/>
                    <a:pt x="57" y="157"/>
                    <a:pt x="57" y="157"/>
                  </a:cubicBezTo>
                  <a:cubicBezTo>
                    <a:pt x="57" y="157"/>
                    <a:pt x="57" y="157"/>
                    <a:pt x="57" y="157"/>
                  </a:cubicBezTo>
                  <a:cubicBezTo>
                    <a:pt x="58" y="157"/>
                    <a:pt x="58" y="157"/>
                    <a:pt x="58" y="157"/>
                  </a:cubicBezTo>
                  <a:cubicBezTo>
                    <a:pt x="58" y="157"/>
                    <a:pt x="58" y="157"/>
                    <a:pt x="58" y="157"/>
                  </a:cubicBezTo>
                  <a:cubicBezTo>
                    <a:pt x="58" y="157"/>
                    <a:pt x="58" y="157"/>
                    <a:pt x="58" y="157"/>
                  </a:cubicBezTo>
                  <a:cubicBezTo>
                    <a:pt x="58" y="157"/>
                    <a:pt x="58" y="157"/>
                    <a:pt x="58" y="157"/>
                  </a:cubicBezTo>
                  <a:cubicBezTo>
                    <a:pt x="58" y="157"/>
                    <a:pt x="58" y="157"/>
                    <a:pt x="58" y="157"/>
                  </a:cubicBezTo>
                  <a:cubicBezTo>
                    <a:pt x="58" y="158"/>
                    <a:pt x="58" y="158"/>
                    <a:pt x="58" y="158"/>
                  </a:cubicBezTo>
                  <a:cubicBezTo>
                    <a:pt x="58" y="158"/>
                    <a:pt x="58" y="158"/>
                    <a:pt x="58" y="158"/>
                  </a:cubicBezTo>
                  <a:cubicBezTo>
                    <a:pt x="58" y="158"/>
                    <a:pt x="58" y="158"/>
                    <a:pt x="58" y="158"/>
                  </a:cubicBezTo>
                  <a:cubicBezTo>
                    <a:pt x="58" y="158"/>
                    <a:pt x="58" y="158"/>
                    <a:pt x="58" y="158"/>
                  </a:cubicBezTo>
                  <a:cubicBezTo>
                    <a:pt x="58" y="158"/>
                    <a:pt x="58" y="158"/>
                    <a:pt x="58" y="158"/>
                  </a:cubicBezTo>
                  <a:cubicBezTo>
                    <a:pt x="57" y="158"/>
                    <a:pt x="57" y="158"/>
                    <a:pt x="57" y="158"/>
                  </a:cubicBezTo>
                  <a:cubicBezTo>
                    <a:pt x="57" y="158"/>
                    <a:pt x="57" y="158"/>
                    <a:pt x="57" y="158"/>
                  </a:cubicBezTo>
                  <a:cubicBezTo>
                    <a:pt x="56" y="159"/>
                    <a:pt x="56" y="159"/>
                    <a:pt x="56" y="159"/>
                  </a:cubicBezTo>
                  <a:cubicBezTo>
                    <a:pt x="56" y="159"/>
                    <a:pt x="56" y="159"/>
                    <a:pt x="56" y="159"/>
                  </a:cubicBezTo>
                  <a:cubicBezTo>
                    <a:pt x="56" y="159"/>
                    <a:pt x="56" y="159"/>
                    <a:pt x="56" y="159"/>
                  </a:cubicBezTo>
                  <a:cubicBezTo>
                    <a:pt x="56" y="159"/>
                    <a:pt x="56" y="159"/>
                    <a:pt x="56" y="159"/>
                  </a:cubicBezTo>
                  <a:cubicBezTo>
                    <a:pt x="56" y="159"/>
                    <a:pt x="56" y="159"/>
                    <a:pt x="56" y="159"/>
                  </a:cubicBezTo>
                  <a:cubicBezTo>
                    <a:pt x="56" y="159"/>
                    <a:pt x="56" y="159"/>
                    <a:pt x="56" y="159"/>
                  </a:cubicBezTo>
                  <a:cubicBezTo>
                    <a:pt x="56" y="159"/>
                    <a:pt x="56" y="159"/>
                    <a:pt x="56" y="159"/>
                  </a:cubicBezTo>
                  <a:cubicBezTo>
                    <a:pt x="56" y="160"/>
                    <a:pt x="56" y="160"/>
                    <a:pt x="56" y="160"/>
                  </a:cubicBezTo>
                  <a:cubicBezTo>
                    <a:pt x="56" y="160"/>
                    <a:pt x="56" y="160"/>
                    <a:pt x="56" y="160"/>
                  </a:cubicBezTo>
                  <a:cubicBezTo>
                    <a:pt x="56" y="160"/>
                    <a:pt x="56" y="160"/>
                    <a:pt x="56" y="160"/>
                  </a:cubicBezTo>
                  <a:cubicBezTo>
                    <a:pt x="57" y="160"/>
                    <a:pt x="57" y="160"/>
                    <a:pt x="57" y="160"/>
                  </a:cubicBezTo>
                  <a:cubicBezTo>
                    <a:pt x="57" y="160"/>
                    <a:pt x="57" y="160"/>
                    <a:pt x="57" y="160"/>
                  </a:cubicBezTo>
                  <a:cubicBezTo>
                    <a:pt x="57" y="160"/>
                    <a:pt x="57" y="160"/>
                    <a:pt x="57" y="160"/>
                  </a:cubicBezTo>
                  <a:cubicBezTo>
                    <a:pt x="57" y="160"/>
                    <a:pt x="57" y="160"/>
                    <a:pt x="57" y="160"/>
                  </a:cubicBezTo>
                  <a:cubicBezTo>
                    <a:pt x="57" y="160"/>
                    <a:pt x="57" y="160"/>
                    <a:pt x="57" y="160"/>
                  </a:cubicBezTo>
                  <a:cubicBezTo>
                    <a:pt x="57" y="161"/>
                    <a:pt x="57" y="161"/>
                    <a:pt x="57" y="161"/>
                  </a:cubicBezTo>
                  <a:cubicBezTo>
                    <a:pt x="57" y="161"/>
                    <a:pt x="57" y="161"/>
                    <a:pt x="57" y="161"/>
                  </a:cubicBezTo>
                  <a:cubicBezTo>
                    <a:pt x="57" y="160"/>
                    <a:pt x="57" y="160"/>
                    <a:pt x="57" y="160"/>
                  </a:cubicBezTo>
                  <a:cubicBezTo>
                    <a:pt x="57" y="160"/>
                    <a:pt x="57" y="160"/>
                    <a:pt x="57" y="160"/>
                  </a:cubicBezTo>
                  <a:cubicBezTo>
                    <a:pt x="58" y="160"/>
                    <a:pt x="58" y="160"/>
                    <a:pt x="58" y="160"/>
                  </a:cubicBezTo>
                  <a:cubicBezTo>
                    <a:pt x="58" y="160"/>
                    <a:pt x="58" y="160"/>
                    <a:pt x="58" y="160"/>
                  </a:cubicBezTo>
                  <a:cubicBezTo>
                    <a:pt x="58" y="159"/>
                    <a:pt x="58" y="159"/>
                    <a:pt x="58" y="159"/>
                  </a:cubicBezTo>
                  <a:cubicBezTo>
                    <a:pt x="58" y="159"/>
                    <a:pt x="58" y="159"/>
                    <a:pt x="58" y="159"/>
                  </a:cubicBezTo>
                  <a:cubicBezTo>
                    <a:pt x="59" y="159"/>
                    <a:pt x="59" y="159"/>
                    <a:pt x="59" y="159"/>
                  </a:cubicBezTo>
                  <a:cubicBezTo>
                    <a:pt x="59" y="159"/>
                    <a:pt x="59" y="159"/>
                    <a:pt x="59" y="159"/>
                  </a:cubicBezTo>
                  <a:cubicBezTo>
                    <a:pt x="59" y="158"/>
                    <a:pt x="59" y="158"/>
                    <a:pt x="59" y="158"/>
                  </a:cubicBezTo>
                  <a:cubicBezTo>
                    <a:pt x="59" y="158"/>
                    <a:pt x="59" y="158"/>
                    <a:pt x="59" y="158"/>
                  </a:cubicBezTo>
                  <a:cubicBezTo>
                    <a:pt x="59" y="157"/>
                    <a:pt x="59" y="157"/>
                    <a:pt x="59" y="157"/>
                  </a:cubicBezTo>
                  <a:cubicBezTo>
                    <a:pt x="59" y="157"/>
                    <a:pt x="59" y="157"/>
                    <a:pt x="59" y="157"/>
                  </a:cubicBezTo>
                  <a:cubicBezTo>
                    <a:pt x="59" y="157"/>
                    <a:pt x="59" y="157"/>
                    <a:pt x="59" y="157"/>
                  </a:cubicBezTo>
                  <a:cubicBezTo>
                    <a:pt x="59" y="156"/>
                    <a:pt x="59" y="156"/>
                    <a:pt x="59" y="156"/>
                  </a:cubicBezTo>
                  <a:cubicBezTo>
                    <a:pt x="58" y="155"/>
                    <a:pt x="58" y="155"/>
                    <a:pt x="58" y="155"/>
                  </a:cubicBezTo>
                  <a:cubicBezTo>
                    <a:pt x="58" y="155"/>
                    <a:pt x="58" y="155"/>
                    <a:pt x="58" y="155"/>
                  </a:cubicBezTo>
                  <a:cubicBezTo>
                    <a:pt x="58" y="155"/>
                    <a:pt x="58" y="155"/>
                    <a:pt x="58" y="155"/>
                  </a:cubicBezTo>
                  <a:cubicBezTo>
                    <a:pt x="57" y="155"/>
                    <a:pt x="57" y="155"/>
                    <a:pt x="57" y="155"/>
                  </a:cubicBezTo>
                  <a:cubicBezTo>
                    <a:pt x="57" y="155"/>
                    <a:pt x="57" y="155"/>
                    <a:pt x="57" y="155"/>
                  </a:cubicBezTo>
                  <a:cubicBezTo>
                    <a:pt x="56" y="155"/>
                    <a:pt x="56" y="155"/>
                    <a:pt x="56" y="155"/>
                  </a:cubicBezTo>
                  <a:cubicBezTo>
                    <a:pt x="56" y="156"/>
                    <a:pt x="56" y="156"/>
                    <a:pt x="56" y="156"/>
                  </a:cubicBezTo>
                  <a:cubicBezTo>
                    <a:pt x="56" y="156"/>
                    <a:pt x="56" y="156"/>
                    <a:pt x="56" y="156"/>
                  </a:cubicBezTo>
                  <a:cubicBezTo>
                    <a:pt x="55" y="156"/>
                    <a:pt x="55" y="156"/>
                    <a:pt x="55" y="156"/>
                  </a:cubicBezTo>
                  <a:cubicBezTo>
                    <a:pt x="55" y="156"/>
                    <a:pt x="55" y="156"/>
                    <a:pt x="55" y="156"/>
                  </a:cubicBezTo>
                  <a:cubicBezTo>
                    <a:pt x="55" y="156"/>
                    <a:pt x="55" y="156"/>
                    <a:pt x="55" y="156"/>
                  </a:cubicBezTo>
                  <a:cubicBezTo>
                    <a:pt x="55" y="156"/>
                    <a:pt x="55" y="156"/>
                    <a:pt x="55" y="156"/>
                  </a:cubicBezTo>
                  <a:cubicBezTo>
                    <a:pt x="55" y="156"/>
                    <a:pt x="55" y="156"/>
                    <a:pt x="55" y="156"/>
                  </a:cubicBezTo>
                  <a:cubicBezTo>
                    <a:pt x="54" y="156"/>
                    <a:pt x="54" y="156"/>
                    <a:pt x="54" y="156"/>
                  </a:cubicBezTo>
                  <a:cubicBezTo>
                    <a:pt x="54" y="156"/>
                    <a:pt x="54" y="156"/>
                    <a:pt x="54" y="156"/>
                  </a:cubicBezTo>
                  <a:cubicBezTo>
                    <a:pt x="54" y="156"/>
                    <a:pt x="54" y="156"/>
                    <a:pt x="54" y="156"/>
                  </a:cubicBezTo>
                  <a:cubicBezTo>
                    <a:pt x="54" y="156"/>
                    <a:pt x="54" y="156"/>
                    <a:pt x="54" y="156"/>
                  </a:cubicBezTo>
                  <a:cubicBezTo>
                    <a:pt x="54" y="157"/>
                    <a:pt x="54" y="157"/>
                    <a:pt x="54" y="157"/>
                  </a:cubicBezTo>
                  <a:cubicBezTo>
                    <a:pt x="54" y="157"/>
                    <a:pt x="54" y="157"/>
                    <a:pt x="54" y="157"/>
                  </a:cubicBezTo>
                  <a:cubicBezTo>
                    <a:pt x="54" y="157"/>
                    <a:pt x="54" y="157"/>
                    <a:pt x="54" y="157"/>
                  </a:cubicBezTo>
                  <a:cubicBezTo>
                    <a:pt x="53" y="157"/>
                    <a:pt x="53" y="157"/>
                    <a:pt x="53" y="157"/>
                  </a:cubicBezTo>
                  <a:cubicBezTo>
                    <a:pt x="53" y="158"/>
                    <a:pt x="53" y="158"/>
                    <a:pt x="53" y="158"/>
                  </a:cubicBezTo>
                  <a:cubicBezTo>
                    <a:pt x="53" y="158"/>
                    <a:pt x="53" y="158"/>
                    <a:pt x="53" y="158"/>
                  </a:cubicBezTo>
                  <a:cubicBezTo>
                    <a:pt x="53" y="158"/>
                    <a:pt x="53" y="158"/>
                    <a:pt x="53" y="158"/>
                  </a:cubicBezTo>
                  <a:cubicBezTo>
                    <a:pt x="53" y="158"/>
                    <a:pt x="53" y="158"/>
                    <a:pt x="53" y="158"/>
                  </a:cubicBezTo>
                  <a:cubicBezTo>
                    <a:pt x="53" y="159"/>
                    <a:pt x="53" y="159"/>
                    <a:pt x="53" y="159"/>
                  </a:cubicBezTo>
                  <a:cubicBezTo>
                    <a:pt x="53" y="159"/>
                    <a:pt x="53" y="159"/>
                    <a:pt x="53" y="159"/>
                  </a:cubicBezTo>
                  <a:cubicBezTo>
                    <a:pt x="53" y="159"/>
                    <a:pt x="53" y="159"/>
                    <a:pt x="53" y="159"/>
                  </a:cubicBezTo>
                  <a:cubicBezTo>
                    <a:pt x="53" y="159"/>
                    <a:pt x="53" y="159"/>
                    <a:pt x="53" y="159"/>
                  </a:cubicBezTo>
                  <a:cubicBezTo>
                    <a:pt x="53" y="159"/>
                    <a:pt x="53" y="159"/>
                    <a:pt x="53" y="159"/>
                  </a:cubicBezTo>
                  <a:cubicBezTo>
                    <a:pt x="54" y="159"/>
                    <a:pt x="54" y="159"/>
                    <a:pt x="54" y="159"/>
                  </a:cubicBezTo>
                  <a:close/>
                  <a:moveTo>
                    <a:pt x="76" y="188"/>
                  </a:moveTo>
                  <a:cubicBezTo>
                    <a:pt x="75" y="188"/>
                    <a:pt x="75" y="188"/>
                    <a:pt x="75" y="188"/>
                  </a:cubicBezTo>
                  <a:cubicBezTo>
                    <a:pt x="75" y="189"/>
                    <a:pt x="75" y="189"/>
                    <a:pt x="75" y="189"/>
                  </a:cubicBezTo>
                  <a:cubicBezTo>
                    <a:pt x="75" y="189"/>
                    <a:pt x="75" y="189"/>
                    <a:pt x="75" y="189"/>
                  </a:cubicBezTo>
                  <a:cubicBezTo>
                    <a:pt x="74" y="189"/>
                    <a:pt x="74" y="189"/>
                    <a:pt x="74" y="189"/>
                  </a:cubicBezTo>
                  <a:cubicBezTo>
                    <a:pt x="75" y="190"/>
                    <a:pt x="75" y="190"/>
                    <a:pt x="75" y="190"/>
                  </a:cubicBezTo>
                  <a:cubicBezTo>
                    <a:pt x="75" y="190"/>
                    <a:pt x="75" y="190"/>
                    <a:pt x="75" y="190"/>
                  </a:cubicBezTo>
                  <a:cubicBezTo>
                    <a:pt x="74" y="190"/>
                    <a:pt x="74" y="190"/>
                    <a:pt x="74" y="190"/>
                  </a:cubicBezTo>
                  <a:cubicBezTo>
                    <a:pt x="74" y="191"/>
                    <a:pt x="74" y="191"/>
                    <a:pt x="74" y="191"/>
                  </a:cubicBezTo>
                  <a:cubicBezTo>
                    <a:pt x="74" y="191"/>
                    <a:pt x="74" y="191"/>
                    <a:pt x="74" y="191"/>
                  </a:cubicBezTo>
                  <a:cubicBezTo>
                    <a:pt x="74" y="191"/>
                    <a:pt x="74" y="191"/>
                    <a:pt x="74" y="191"/>
                  </a:cubicBezTo>
                  <a:cubicBezTo>
                    <a:pt x="74" y="191"/>
                    <a:pt x="74" y="191"/>
                    <a:pt x="74" y="191"/>
                  </a:cubicBezTo>
                  <a:cubicBezTo>
                    <a:pt x="74" y="192"/>
                    <a:pt x="74" y="192"/>
                    <a:pt x="74" y="192"/>
                  </a:cubicBezTo>
                  <a:cubicBezTo>
                    <a:pt x="74" y="192"/>
                    <a:pt x="74" y="192"/>
                    <a:pt x="74" y="192"/>
                  </a:cubicBezTo>
                  <a:cubicBezTo>
                    <a:pt x="74" y="192"/>
                    <a:pt x="74" y="192"/>
                    <a:pt x="74" y="192"/>
                  </a:cubicBezTo>
                  <a:cubicBezTo>
                    <a:pt x="74" y="192"/>
                    <a:pt x="74" y="192"/>
                    <a:pt x="74" y="192"/>
                  </a:cubicBezTo>
                  <a:cubicBezTo>
                    <a:pt x="73" y="194"/>
                    <a:pt x="73" y="194"/>
                    <a:pt x="73" y="194"/>
                  </a:cubicBezTo>
                  <a:cubicBezTo>
                    <a:pt x="73" y="195"/>
                    <a:pt x="73" y="195"/>
                    <a:pt x="73" y="195"/>
                  </a:cubicBezTo>
                  <a:cubicBezTo>
                    <a:pt x="74" y="195"/>
                    <a:pt x="74" y="195"/>
                    <a:pt x="74" y="195"/>
                  </a:cubicBezTo>
                  <a:cubicBezTo>
                    <a:pt x="73" y="195"/>
                    <a:pt x="73" y="195"/>
                    <a:pt x="73" y="195"/>
                  </a:cubicBezTo>
                  <a:cubicBezTo>
                    <a:pt x="73" y="196"/>
                    <a:pt x="73" y="196"/>
                    <a:pt x="73" y="196"/>
                  </a:cubicBezTo>
                  <a:cubicBezTo>
                    <a:pt x="73" y="196"/>
                    <a:pt x="73" y="196"/>
                    <a:pt x="73" y="196"/>
                  </a:cubicBezTo>
                  <a:cubicBezTo>
                    <a:pt x="73" y="196"/>
                    <a:pt x="73" y="196"/>
                    <a:pt x="73" y="196"/>
                  </a:cubicBezTo>
                  <a:cubicBezTo>
                    <a:pt x="72" y="196"/>
                    <a:pt x="72" y="196"/>
                    <a:pt x="72" y="196"/>
                  </a:cubicBezTo>
                  <a:cubicBezTo>
                    <a:pt x="72" y="197"/>
                    <a:pt x="72" y="197"/>
                    <a:pt x="72" y="197"/>
                  </a:cubicBezTo>
                  <a:cubicBezTo>
                    <a:pt x="73" y="197"/>
                    <a:pt x="73" y="197"/>
                    <a:pt x="73" y="197"/>
                  </a:cubicBezTo>
                  <a:cubicBezTo>
                    <a:pt x="73" y="197"/>
                    <a:pt x="73" y="197"/>
                    <a:pt x="73" y="197"/>
                  </a:cubicBezTo>
                  <a:cubicBezTo>
                    <a:pt x="73" y="197"/>
                    <a:pt x="73" y="197"/>
                    <a:pt x="73" y="197"/>
                  </a:cubicBezTo>
                  <a:cubicBezTo>
                    <a:pt x="74" y="196"/>
                    <a:pt x="74" y="196"/>
                    <a:pt x="74" y="196"/>
                  </a:cubicBezTo>
                  <a:cubicBezTo>
                    <a:pt x="75" y="196"/>
                    <a:pt x="75" y="196"/>
                    <a:pt x="75" y="196"/>
                  </a:cubicBezTo>
                  <a:cubicBezTo>
                    <a:pt x="75" y="195"/>
                    <a:pt x="75" y="195"/>
                    <a:pt x="75" y="195"/>
                  </a:cubicBezTo>
                  <a:cubicBezTo>
                    <a:pt x="75" y="195"/>
                    <a:pt x="75" y="195"/>
                    <a:pt x="75" y="195"/>
                  </a:cubicBezTo>
                  <a:cubicBezTo>
                    <a:pt x="75" y="195"/>
                    <a:pt x="75" y="195"/>
                    <a:pt x="75" y="195"/>
                  </a:cubicBezTo>
                  <a:cubicBezTo>
                    <a:pt x="75" y="195"/>
                    <a:pt x="75" y="195"/>
                    <a:pt x="75" y="195"/>
                  </a:cubicBezTo>
                  <a:cubicBezTo>
                    <a:pt x="75" y="195"/>
                    <a:pt x="75" y="195"/>
                    <a:pt x="75" y="195"/>
                  </a:cubicBezTo>
                  <a:cubicBezTo>
                    <a:pt x="75" y="194"/>
                    <a:pt x="75" y="194"/>
                    <a:pt x="75" y="194"/>
                  </a:cubicBezTo>
                  <a:cubicBezTo>
                    <a:pt x="75" y="194"/>
                    <a:pt x="75" y="194"/>
                    <a:pt x="75" y="194"/>
                  </a:cubicBezTo>
                  <a:cubicBezTo>
                    <a:pt x="75" y="194"/>
                    <a:pt x="75" y="194"/>
                    <a:pt x="75" y="194"/>
                  </a:cubicBezTo>
                  <a:cubicBezTo>
                    <a:pt x="75" y="193"/>
                    <a:pt x="75" y="193"/>
                    <a:pt x="75" y="193"/>
                  </a:cubicBezTo>
                  <a:cubicBezTo>
                    <a:pt x="75" y="193"/>
                    <a:pt x="75" y="193"/>
                    <a:pt x="75" y="193"/>
                  </a:cubicBezTo>
                  <a:cubicBezTo>
                    <a:pt x="75" y="193"/>
                    <a:pt x="75" y="193"/>
                    <a:pt x="75" y="193"/>
                  </a:cubicBezTo>
                  <a:cubicBezTo>
                    <a:pt x="75" y="193"/>
                    <a:pt x="75" y="193"/>
                    <a:pt x="75" y="193"/>
                  </a:cubicBezTo>
                  <a:cubicBezTo>
                    <a:pt x="76" y="191"/>
                    <a:pt x="76" y="191"/>
                    <a:pt x="76" y="191"/>
                  </a:cubicBezTo>
                  <a:cubicBezTo>
                    <a:pt x="76" y="191"/>
                    <a:pt x="76" y="191"/>
                    <a:pt x="76" y="191"/>
                  </a:cubicBezTo>
                  <a:cubicBezTo>
                    <a:pt x="76" y="191"/>
                    <a:pt x="76" y="191"/>
                    <a:pt x="76" y="191"/>
                  </a:cubicBezTo>
                  <a:cubicBezTo>
                    <a:pt x="76" y="191"/>
                    <a:pt x="76" y="191"/>
                    <a:pt x="76" y="191"/>
                  </a:cubicBezTo>
                  <a:cubicBezTo>
                    <a:pt x="76" y="191"/>
                    <a:pt x="76" y="191"/>
                    <a:pt x="76" y="191"/>
                  </a:cubicBezTo>
                  <a:cubicBezTo>
                    <a:pt x="75" y="190"/>
                    <a:pt x="75" y="190"/>
                    <a:pt x="75" y="190"/>
                  </a:cubicBezTo>
                  <a:cubicBezTo>
                    <a:pt x="76" y="189"/>
                    <a:pt x="76" y="189"/>
                    <a:pt x="76" y="189"/>
                  </a:cubicBezTo>
                  <a:lnTo>
                    <a:pt x="76" y="188"/>
                  </a:lnTo>
                  <a:close/>
                  <a:moveTo>
                    <a:pt x="52" y="166"/>
                  </a:moveTo>
                  <a:cubicBezTo>
                    <a:pt x="52" y="167"/>
                    <a:pt x="52" y="167"/>
                    <a:pt x="52" y="167"/>
                  </a:cubicBezTo>
                  <a:cubicBezTo>
                    <a:pt x="52" y="167"/>
                    <a:pt x="52" y="167"/>
                    <a:pt x="52" y="167"/>
                  </a:cubicBezTo>
                  <a:cubicBezTo>
                    <a:pt x="52" y="167"/>
                    <a:pt x="52" y="167"/>
                    <a:pt x="52" y="167"/>
                  </a:cubicBezTo>
                  <a:cubicBezTo>
                    <a:pt x="52" y="167"/>
                    <a:pt x="52" y="167"/>
                    <a:pt x="52" y="167"/>
                  </a:cubicBezTo>
                  <a:cubicBezTo>
                    <a:pt x="52" y="167"/>
                    <a:pt x="52" y="167"/>
                    <a:pt x="52" y="167"/>
                  </a:cubicBezTo>
                  <a:cubicBezTo>
                    <a:pt x="52" y="166"/>
                    <a:pt x="52" y="166"/>
                    <a:pt x="52" y="166"/>
                  </a:cubicBezTo>
                  <a:close/>
                  <a:moveTo>
                    <a:pt x="53" y="142"/>
                  </a:moveTo>
                  <a:cubicBezTo>
                    <a:pt x="53" y="142"/>
                    <a:pt x="53" y="142"/>
                    <a:pt x="53" y="142"/>
                  </a:cubicBezTo>
                  <a:cubicBezTo>
                    <a:pt x="53" y="142"/>
                    <a:pt x="53" y="142"/>
                    <a:pt x="53" y="142"/>
                  </a:cubicBezTo>
                  <a:cubicBezTo>
                    <a:pt x="53" y="142"/>
                    <a:pt x="53" y="142"/>
                    <a:pt x="53" y="142"/>
                  </a:cubicBezTo>
                  <a:cubicBezTo>
                    <a:pt x="53" y="143"/>
                    <a:pt x="53" y="143"/>
                    <a:pt x="53" y="143"/>
                  </a:cubicBezTo>
                  <a:cubicBezTo>
                    <a:pt x="53" y="143"/>
                    <a:pt x="53" y="143"/>
                    <a:pt x="53" y="143"/>
                  </a:cubicBezTo>
                  <a:lnTo>
                    <a:pt x="53" y="142"/>
                  </a:lnTo>
                  <a:close/>
                  <a:moveTo>
                    <a:pt x="59" y="160"/>
                  </a:moveTo>
                  <a:cubicBezTo>
                    <a:pt x="59" y="160"/>
                    <a:pt x="59" y="160"/>
                    <a:pt x="59" y="160"/>
                  </a:cubicBezTo>
                  <a:cubicBezTo>
                    <a:pt x="59" y="160"/>
                    <a:pt x="59" y="160"/>
                    <a:pt x="59" y="160"/>
                  </a:cubicBezTo>
                  <a:cubicBezTo>
                    <a:pt x="58" y="160"/>
                    <a:pt x="58" y="160"/>
                    <a:pt x="58" y="160"/>
                  </a:cubicBezTo>
                  <a:cubicBezTo>
                    <a:pt x="58" y="161"/>
                    <a:pt x="58" y="161"/>
                    <a:pt x="58" y="161"/>
                  </a:cubicBezTo>
                  <a:cubicBezTo>
                    <a:pt x="59" y="161"/>
                    <a:pt x="59" y="161"/>
                    <a:pt x="59" y="161"/>
                  </a:cubicBezTo>
                  <a:cubicBezTo>
                    <a:pt x="59" y="161"/>
                    <a:pt x="59" y="161"/>
                    <a:pt x="59" y="161"/>
                  </a:cubicBezTo>
                  <a:cubicBezTo>
                    <a:pt x="59" y="162"/>
                    <a:pt x="59" y="162"/>
                    <a:pt x="59" y="162"/>
                  </a:cubicBezTo>
                  <a:cubicBezTo>
                    <a:pt x="59" y="162"/>
                    <a:pt x="59" y="162"/>
                    <a:pt x="59" y="162"/>
                  </a:cubicBezTo>
                  <a:cubicBezTo>
                    <a:pt x="59" y="162"/>
                    <a:pt x="59" y="162"/>
                    <a:pt x="59" y="162"/>
                  </a:cubicBezTo>
                  <a:cubicBezTo>
                    <a:pt x="58" y="163"/>
                    <a:pt x="58" y="163"/>
                    <a:pt x="58" y="163"/>
                  </a:cubicBezTo>
                  <a:cubicBezTo>
                    <a:pt x="58" y="163"/>
                    <a:pt x="58" y="163"/>
                    <a:pt x="58" y="163"/>
                  </a:cubicBezTo>
                  <a:cubicBezTo>
                    <a:pt x="58" y="163"/>
                    <a:pt x="58" y="163"/>
                    <a:pt x="58" y="163"/>
                  </a:cubicBezTo>
                  <a:cubicBezTo>
                    <a:pt x="59" y="163"/>
                    <a:pt x="59" y="163"/>
                    <a:pt x="59" y="163"/>
                  </a:cubicBezTo>
                  <a:cubicBezTo>
                    <a:pt x="60" y="164"/>
                    <a:pt x="60" y="164"/>
                    <a:pt x="60" y="164"/>
                  </a:cubicBezTo>
                  <a:cubicBezTo>
                    <a:pt x="60" y="164"/>
                    <a:pt x="60" y="164"/>
                    <a:pt x="60" y="164"/>
                  </a:cubicBezTo>
                  <a:cubicBezTo>
                    <a:pt x="59" y="165"/>
                    <a:pt x="59" y="165"/>
                    <a:pt x="59" y="165"/>
                  </a:cubicBezTo>
                  <a:cubicBezTo>
                    <a:pt x="59" y="165"/>
                    <a:pt x="59" y="165"/>
                    <a:pt x="59" y="165"/>
                  </a:cubicBezTo>
                  <a:cubicBezTo>
                    <a:pt x="59" y="166"/>
                    <a:pt x="59" y="166"/>
                    <a:pt x="59" y="166"/>
                  </a:cubicBezTo>
                  <a:cubicBezTo>
                    <a:pt x="60" y="166"/>
                    <a:pt x="60" y="166"/>
                    <a:pt x="60" y="166"/>
                  </a:cubicBezTo>
                  <a:cubicBezTo>
                    <a:pt x="60" y="165"/>
                    <a:pt x="60" y="165"/>
                    <a:pt x="60" y="165"/>
                  </a:cubicBezTo>
                  <a:cubicBezTo>
                    <a:pt x="61" y="165"/>
                    <a:pt x="61" y="165"/>
                    <a:pt x="61" y="165"/>
                  </a:cubicBezTo>
                  <a:cubicBezTo>
                    <a:pt x="61" y="165"/>
                    <a:pt x="61" y="165"/>
                    <a:pt x="61" y="165"/>
                  </a:cubicBezTo>
                  <a:cubicBezTo>
                    <a:pt x="62" y="166"/>
                    <a:pt x="62" y="166"/>
                    <a:pt x="62" y="166"/>
                  </a:cubicBezTo>
                  <a:cubicBezTo>
                    <a:pt x="62" y="166"/>
                    <a:pt x="62" y="166"/>
                    <a:pt x="62" y="166"/>
                  </a:cubicBezTo>
                  <a:cubicBezTo>
                    <a:pt x="62" y="166"/>
                    <a:pt x="62" y="166"/>
                    <a:pt x="62" y="166"/>
                  </a:cubicBezTo>
                  <a:cubicBezTo>
                    <a:pt x="61" y="166"/>
                    <a:pt x="61" y="166"/>
                    <a:pt x="61" y="166"/>
                  </a:cubicBezTo>
                  <a:cubicBezTo>
                    <a:pt x="61" y="166"/>
                    <a:pt x="61" y="166"/>
                    <a:pt x="61" y="166"/>
                  </a:cubicBezTo>
                  <a:cubicBezTo>
                    <a:pt x="60" y="166"/>
                    <a:pt x="60" y="166"/>
                    <a:pt x="60" y="166"/>
                  </a:cubicBezTo>
                  <a:cubicBezTo>
                    <a:pt x="59" y="166"/>
                    <a:pt x="59" y="166"/>
                    <a:pt x="59" y="166"/>
                  </a:cubicBezTo>
                  <a:cubicBezTo>
                    <a:pt x="59" y="167"/>
                    <a:pt x="59" y="167"/>
                    <a:pt x="59" y="167"/>
                  </a:cubicBezTo>
                  <a:cubicBezTo>
                    <a:pt x="60" y="167"/>
                    <a:pt x="60" y="167"/>
                    <a:pt x="60" y="167"/>
                  </a:cubicBezTo>
                  <a:cubicBezTo>
                    <a:pt x="60" y="167"/>
                    <a:pt x="60" y="167"/>
                    <a:pt x="60" y="167"/>
                  </a:cubicBezTo>
                  <a:cubicBezTo>
                    <a:pt x="60" y="167"/>
                    <a:pt x="60" y="167"/>
                    <a:pt x="60" y="167"/>
                  </a:cubicBezTo>
                  <a:cubicBezTo>
                    <a:pt x="61" y="167"/>
                    <a:pt x="61" y="167"/>
                    <a:pt x="61" y="167"/>
                  </a:cubicBezTo>
                  <a:cubicBezTo>
                    <a:pt x="61" y="166"/>
                    <a:pt x="61" y="166"/>
                    <a:pt x="61" y="166"/>
                  </a:cubicBezTo>
                  <a:cubicBezTo>
                    <a:pt x="61" y="167"/>
                    <a:pt x="61" y="167"/>
                    <a:pt x="61" y="167"/>
                  </a:cubicBezTo>
                  <a:cubicBezTo>
                    <a:pt x="61" y="167"/>
                    <a:pt x="61" y="167"/>
                    <a:pt x="61" y="167"/>
                  </a:cubicBezTo>
                  <a:cubicBezTo>
                    <a:pt x="61" y="167"/>
                    <a:pt x="61" y="167"/>
                    <a:pt x="61" y="167"/>
                  </a:cubicBezTo>
                  <a:cubicBezTo>
                    <a:pt x="61" y="167"/>
                    <a:pt x="61" y="167"/>
                    <a:pt x="61" y="167"/>
                  </a:cubicBezTo>
                  <a:cubicBezTo>
                    <a:pt x="61" y="167"/>
                    <a:pt x="61" y="167"/>
                    <a:pt x="61" y="167"/>
                  </a:cubicBezTo>
                  <a:cubicBezTo>
                    <a:pt x="61" y="167"/>
                    <a:pt x="61" y="167"/>
                    <a:pt x="61" y="167"/>
                  </a:cubicBezTo>
                  <a:cubicBezTo>
                    <a:pt x="61" y="167"/>
                    <a:pt x="61" y="167"/>
                    <a:pt x="61" y="167"/>
                  </a:cubicBezTo>
                  <a:cubicBezTo>
                    <a:pt x="61" y="167"/>
                    <a:pt x="61" y="167"/>
                    <a:pt x="61" y="167"/>
                  </a:cubicBezTo>
                  <a:cubicBezTo>
                    <a:pt x="61" y="167"/>
                    <a:pt x="61" y="167"/>
                    <a:pt x="61" y="167"/>
                  </a:cubicBezTo>
                  <a:cubicBezTo>
                    <a:pt x="61" y="168"/>
                    <a:pt x="61" y="168"/>
                    <a:pt x="61" y="168"/>
                  </a:cubicBezTo>
                  <a:cubicBezTo>
                    <a:pt x="61" y="168"/>
                    <a:pt x="61" y="168"/>
                    <a:pt x="61" y="168"/>
                  </a:cubicBezTo>
                  <a:cubicBezTo>
                    <a:pt x="61" y="168"/>
                    <a:pt x="61" y="168"/>
                    <a:pt x="61" y="168"/>
                  </a:cubicBezTo>
                  <a:cubicBezTo>
                    <a:pt x="61" y="168"/>
                    <a:pt x="61" y="168"/>
                    <a:pt x="61" y="168"/>
                  </a:cubicBezTo>
                  <a:cubicBezTo>
                    <a:pt x="61" y="168"/>
                    <a:pt x="61" y="168"/>
                    <a:pt x="61" y="168"/>
                  </a:cubicBezTo>
                  <a:cubicBezTo>
                    <a:pt x="61" y="169"/>
                    <a:pt x="61" y="169"/>
                    <a:pt x="61" y="169"/>
                  </a:cubicBezTo>
                  <a:cubicBezTo>
                    <a:pt x="61" y="169"/>
                    <a:pt x="61" y="169"/>
                    <a:pt x="61" y="169"/>
                  </a:cubicBezTo>
                  <a:cubicBezTo>
                    <a:pt x="61" y="169"/>
                    <a:pt x="61" y="169"/>
                    <a:pt x="61" y="169"/>
                  </a:cubicBezTo>
                  <a:cubicBezTo>
                    <a:pt x="61" y="170"/>
                    <a:pt x="61" y="170"/>
                    <a:pt x="61" y="170"/>
                  </a:cubicBezTo>
                  <a:cubicBezTo>
                    <a:pt x="61" y="170"/>
                    <a:pt x="61" y="170"/>
                    <a:pt x="61" y="170"/>
                  </a:cubicBezTo>
                  <a:cubicBezTo>
                    <a:pt x="61" y="170"/>
                    <a:pt x="61" y="170"/>
                    <a:pt x="61" y="170"/>
                  </a:cubicBezTo>
                  <a:cubicBezTo>
                    <a:pt x="62" y="170"/>
                    <a:pt x="62" y="170"/>
                    <a:pt x="62" y="170"/>
                  </a:cubicBezTo>
                  <a:cubicBezTo>
                    <a:pt x="62" y="170"/>
                    <a:pt x="62" y="170"/>
                    <a:pt x="62" y="170"/>
                  </a:cubicBezTo>
                  <a:cubicBezTo>
                    <a:pt x="61" y="170"/>
                    <a:pt x="61" y="170"/>
                    <a:pt x="61" y="170"/>
                  </a:cubicBezTo>
                  <a:cubicBezTo>
                    <a:pt x="61" y="171"/>
                    <a:pt x="61" y="171"/>
                    <a:pt x="61" y="171"/>
                  </a:cubicBezTo>
                  <a:cubicBezTo>
                    <a:pt x="61" y="171"/>
                    <a:pt x="61" y="171"/>
                    <a:pt x="61" y="171"/>
                  </a:cubicBezTo>
                  <a:cubicBezTo>
                    <a:pt x="61" y="172"/>
                    <a:pt x="61" y="172"/>
                    <a:pt x="61" y="172"/>
                  </a:cubicBezTo>
                  <a:cubicBezTo>
                    <a:pt x="61" y="172"/>
                    <a:pt x="61" y="172"/>
                    <a:pt x="61" y="172"/>
                  </a:cubicBezTo>
                  <a:cubicBezTo>
                    <a:pt x="62" y="172"/>
                    <a:pt x="62" y="172"/>
                    <a:pt x="62" y="172"/>
                  </a:cubicBezTo>
                  <a:cubicBezTo>
                    <a:pt x="62" y="172"/>
                    <a:pt x="62" y="172"/>
                    <a:pt x="62" y="172"/>
                  </a:cubicBezTo>
                  <a:cubicBezTo>
                    <a:pt x="62" y="172"/>
                    <a:pt x="62" y="172"/>
                    <a:pt x="62" y="172"/>
                  </a:cubicBezTo>
                  <a:cubicBezTo>
                    <a:pt x="62" y="172"/>
                    <a:pt x="62" y="172"/>
                    <a:pt x="62" y="172"/>
                  </a:cubicBezTo>
                  <a:cubicBezTo>
                    <a:pt x="62" y="172"/>
                    <a:pt x="62" y="172"/>
                    <a:pt x="62" y="172"/>
                  </a:cubicBezTo>
                  <a:cubicBezTo>
                    <a:pt x="62" y="173"/>
                    <a:pt x="62" y="173"/>
                    <a:pt x="62" y="173"/>
                  </a:cubicBezTo>
                  <a:cubicBezTo>
                    <a:pt x="62" y="173"/>
                    <a:pt x="62" y="173"/>
                    <a:pt x="62" y="173"/>
                  </a:cubicBezTo>
                  <a:cubicBezTo>
                    <a:pt x="62" y="173"/>
                    <a:pt x="62" y="173"/>
                    <a:pt x="62" y="173"/>
                  </a:cubicBezTo>
                  <a:cubicBezTo>
                    <a:pt x="63" y="173"/>
                    <a:pt x="63" y="173"/>
                    <a:pt x="63" y="173"/>
                  </a:cubicBezTo>
                  <a:cubicBezTo>
                    <a:pt x="63" y="173"/>
                    <a:pt x="63" y="173"/>
                    <a:pt x="63" y="173"/>
                  </a:cubicBezTo>
                  <a:cubicBezTo>
                    <a:pt x="63" y="173"/>
                    <a:pt x="63" y="173"/>
                    <a:pt x="63" y="173"/>
                  </a:cubicBezTo>
                  <a:cubicBezTo>
                    <a:pt x="63" y="173"/>
                    <a:pt x="63" y="173"/>
                    <a:pt x="63" y="173"/>
                  </a:cubicBezTo>
                  <a:cubicBezTo>
                    <a:pt x="63" y="173"/>
                    <a:pt x="63" y="173"/>
                    <a:pt x="63" y="173"/>
                  </a:cubicBezTo>
                  <a:cubicBezTo>
                    <a:pt x="63" y="174"/>
                    <a:pt x="63" y="174"/>
                    <a:pt x="63" y="174"/>
                  </a:cubicBezTo>
                  <a:cubicBezTo>
                    <a:pt x="63" y="174"/>
                    <a:pt x="63" y="174"/>
                    <a:pt x="63" y="174"/>
                  </a:cubicBezTo>
                  <a:cubicBezTo>
                    <a:pt x="63" y="174"/>
                    <a:pt x="63" y="174"/>
                    <a:pt x="63" y="174"/>
                  </a:cubicBezTo>
                  <a:cubicBezTo>
                    <a:pt x="63" y="174"/>
                    <a:pt x="63" y="174"/>
                    <a:pt x="63" y="174"/>
                  </a:cubicBezTo>
                  <a:cubicBezTo>
                    <a:pt x="63" y="174"/>
                    <a:pt x="63" y="174"/>
                    <a:pt x="63" y="174"/>
                  </a:cubicBezTo>
                  <a:cubicBezTo>
                    <a:pt x="63" y="175"/>
                    <a:pt x="63" y="175"/>
                    <a:pt x="63" y="175"/>
                  </a:cubicBezTo>
                  <a:cubicBezTo>
                    <a:pt x="63" y="175"/>
                    <a:pt x="63" y="175"/>
                    <a:pt x="63" y="175"/>
                  </a:cubicBezTo>
                  <a:cubicBezTo>
                    <a:pt x="63" y="176"/>
                    <a:pt x="63" y="176"/>
                    <a:pt x="63" y="176"/>
                  </a:cubicBezTo>
                  <a:cubicBezTo>
                    <a:pt x="63" y="176"/>
                    <a:pt x="63" y="176"/>
                    <a:pt x="63" y="176"/>
                  </a:cubicBezTo>
                  <a:cubicBezTo>
                    <a:pt x="64" y="176"/>
                    <a:pt x="64" y="176"/>
                    <a:pt x="64" y="176"/>
                  </a:cubicBezTo>
                  <a:cubicBezTo>
                    <a:pt x="64" y="176"/>
                    <a:pt x="64" y="176"/>
                    <a:pt x="64" y="176"/>
                  </a:cubicBezTo>
                  <a:cubicBezTo>
                    <a:pt x="64" y="176"/>
                    <a:pt x="64" y="176"/>
                    <a:pt x="64" y="176"/>
                  </a:cubicBezTo>
                  <a:cubicBezTo>
                    <a:pt x="64" y="176"/>
                    <a:pt x="64" y="176"/>
                    <a:pt x="64" y="176"/>
                  </a:cubicBezTo>
                  <a:cubicBezTo>
                    <a:pt x="64" y="176"/>
                    <a:pt x="64" y="176"/>
                    <a:pt x="64" y="176"/>
                  </a:cubicBezTo>
                  <a:cubicBezTo>
                    <a:pt x="64" y="175"/>
                    <a:pt x="64" y="175"/>
                    <a:pt x="64" y="175"/>
                  </a:cubicBezTo>
                  <a:cubicBezTo>
                    <a:pt x="64" y="175"/>
                    <a:pt x="64" y="175"/>
                    <a:pt x="64" y="175"/>
                  </a:cubicBezTo>
                  <a:cubicBezTo>
                    <a:pt x="64" y="174"/>
                    <a:pt x="64" y="174"/>
                    <a:pt x="64" y="174"/>
                  </a:cubicBezTo>
                  <a:cubicBezTo>
                    <a:pt x="64" y="174"/>
                    <a:pt x="64" y="174"/>
                    <a:pt x="64" y="174"/>
                  </a:cubicBezTo>
                  <a:cubicBezTo>
                    <a:pt x="65" y="174"/>
                    <a:pt x="65" y="174"/>
                    <a:pt x="65" y="174"/>
                  </a:cubicBezTo>
                  <a:cubicBezTo>
                    <a:pt x="65" y="175"/>
                    <a:pt x="65" y="175"/>
                    <a:pt x="65" y="175"/>
                  </a:cubicBezTo>
                  <a:cubicBezTo>
                    <a:pt x="65" y="175"/>
                    <a:pt x="65" y="175"/>
                    <a:pt x="65" y="175"/>
                  </a:cubicBezTo>
                  <a:cubicBezTo>
                    <a:pt x="65" y="174"/>
                    <a:pt x="65" y="174"/>
                    <a:pt x="65" y="174"/>
                  </a:cubicBezTo>
                  <a:cubicBezTo>
                    <a:pt x="66" y="174"/>
                    <a:pt x="66" y="174"/>
                    <a:pt x="66" y="174"/>
                  </a:cubicBezTo>
                  <a:cubicBezTo>
                    <a:pt x="66" y="174"/>
                    <a:pt x="66" y="174"/>
                    <a:pt x="66" y="174"/>
                  </a:cubicBezTo>
                  <a:cubicBezTo>
                    <a:pt x="66" y="175"/>
                    <a:pt x="66" y="175"/>
                    <a:pt x="66" y="175"/>
                  </a:cubicBezTo>
                  <a:cubicBezTo>
                    <a:pt x="66" y="175"/>
                    <a:pt x="66" y="175"/>
                    <a:pt x="66" y="175"/>
                  </a:cubicBezTo>
                  <a:cubicBezTo>
                    <a:pt x="66" y="175"/>
                    <a:pt x="66" y="175"/>
                    <a:pt x="66" y="175"/>
                  </a:cubicBezTo>
                  <a:cubicBezTo>
                    <a:pt x="66" y="176"/>
                    <a:pt x="66" y="176"/>
                    <a:pt x="66" y="176"/>
                  </a:cubicBezTo>
                  <a:cubicBezTo>
                    <a:pt x="66" y="176"/>
                    <a:pt x="66" y="176"/>
                    <a:pt x="66" y="176"/>
                  </a:cubicBezTo>
                  <a:cubicBezTo>
                    <a:pt x="67" y="175"/>
                    <a:pt x="67" y="175"/>
                    <a:pt x="67" y="175"/>
                  </a:cubicBezTo>
                  <a:cubicBezTo>
                    <a:pt x="67" y="174"/>
                    <a:pt x="67" y="174"/>
                    <a:pt x="67" y="174"/>
                  </a:cubicBezTo>
                  <a:cubicBezTo>
                    <a:pt x="67" y="174"/>
                    <a:pt x="67" y="174"/>
                    <a:pt x="67" y="174"/>
                  </a:cubicBezTo>
                  <a:cubicBezTo>
                    <a:pt x="67" y="173"/>
                    <a:pt x="67" y="173"/>
                    <a:pt x="67" y="173"/>
                  </a:cubicBezTo>
                  <a:cubicBezTo>
                    <a:pt x="66" y="173"/>
                    <a:pt x="66" y="173"/>
                    <a:pt x="66" y="173"/>
                  </a:cubicBezTo>
                  <a:cubicBezTo>
                    <a:pt x="66" y="172"/>
                    <a:pt x="66" y="172"/>
                    <a:pt x="66" y="172"/>
                  </a:cubicBezTo>
                  <a:cubicBezTo>
                    <a:pt x="66" y="172"/>
                    <a:pt x="66" y="172"/>
                    <a:pt x="66" y="172"/>
                  </a:cubicBezTo>
                  <a:cubicBezTo>
                    <a:pt x="66" y="171"/>
                    <a:pt x="66" y="171"/>
                    <a:pt x="66" y="171"/>
                  </a:cubicBezTo>
                  <a:cubicBezTo>
                    <a:pt x="66" y="171"/>
                    <a:pt x="66" y="171"/>
                    <a:pt x="66" y="171"/>
                  </a:cubicBezTo>
                  <a:cubicBezTo>
                    <a:pt x="66" y="171"/>
                    <a:pt x="66" y="171"/>
                    <a:pt x="66" y="171"/>
                  </a:cubicBezTo>
                  <a:cubicBezTo>
                    <a:pt x="65" y="171"/>
                    <a:pt x="65" y="171"/>
                    <a:pt x="65" y="171"/>
                  </a:cubicBezTo>
                  <a:cubicBezTo>
                    <a:pt x="64" y="171"/>
                    <a:pt x="64" y="171"/>
                    <a:pt x="64" y="171"/>
                  </a:cubicBezTo>
                  <a:cubicBezTo>
                    <a:pt x="64" y="170"/>
                    <a:pt x="64" y="170"/>
                    <a:pt x="64" y="170"/>
                  </a:cubicBezTo>
                  <a:cubicBezTo>
                    <a:pt x="64" y="170"/>
                    <a:pt x="64" y="170"/>
                    <a:pt x="64" y="170"/>
                  </a:cubicBezTo>
                  <a:cubicBezTo>
                    <a:pt x="64" y="170"/>
                    <a:pt x="64" y="170"/>
                    <a:pt x="64" y="170"/>
                  </a:cubicBezTo>
                  <a:cubicBezTo>
                    <a:pt x="64" y="170"/>
                    <a:pt x="64" y="170"/>
                    <a:pt x="64" y="170"/>
                  </a:cubicBezTo>
                  <a:cubicBezTo>
                    <a:pt x="64" y="170"/>
                    <a:pt x="64" y="170"/>
                    <a:pt x="64" y="170"/>
                  </a:cubicBezTo>
                  <a:cubicBezTo>
                    <a:pt x="65" y="170"/>
                    <a:pt x="65" y="170"/>
                    <a:pt x="65" y="170"/>
                  </a:cubicBezTo>
                  <a:cubicBezTo>
                    <a:pt x="65" y="171"/>
                    <a:pt x="65" y="171"/>
                    <a:pt x="65" y="171"/>
                  </a:cubicBezTo>
                  <a:cubicBezTo>
                    <a:pt x="65" y="171"/>
                    <a:pt x="65" y="171"/>
                    <a:pt x="65" y="171"/>
                  </a:cubicBezTo>
                  <a:cubicBezTo>
                    <a:pt x="65" y="171"/>
                    <a:pt x="65" y="171"/>
                    <a:pt x="65" y="171"/>
                  </a:cubicBezTo>
                  <a:cubicBezTo>
                    <a:pt x="65" y="170"/>
                    <a:pt x="65" y="170"/>
                    <a:pt x="65" y="170"/>
                  </a:cubicBezTo>
                  <a:cubicBezTo>
                    <a:pt x="65" y="170"/>
                    <a:pt x="65" y="170"/>
                    <a:pt x="65" y="170"/>
                  </a:cubicBezTo>
                  <a:cubicBezTo>
                    <a:pt x="64" y="168"/>
                    <a:pt x="64" y="168"/>
                    <a:pt x="64" y="168"/>
                  </a:cubicBezTo>
                  <a:cubicBezTo>
                    <a:pt x="63" y="166"/>
                    <a:pt x="63" y="166"/>
                    <a:pt x="63" y="166"/>
                  </a:cubicBezTo>
                  <a:cubicBezTo>
                    <a:pt x="63" y="166"/>
                    <a:pt x="63" y="166"/>
                    <a:pt x="63" y="166"/>
                  </a:cubicBezTo>
                  <a:cubicBezTo>
                    <a:pt x="63" y="166"/>
                    <a:pt x="63" y="166"/>
                    <a:pt x="63" y="166"/>
                  </a:cubicBezTo>
                  <a:cubicBezTo>
                    <a:pt x="63" y="164"/>
                    <a:pt x="63" y="164"/>
                    <a:pt x="63" y="164"/>
                  </a:cubicBezTo>
                  <a:cubicBezTo>
                    <a:pt x="63" y="164"/>
                    <a:pt x="63" y="164"/>
                    <a:pt x="63" y="164"/>
                  </a:cubicBezTo>
                  <a:cubicBezTo>
                    <a:pt x="63" y="164"/>
                    <a:pt x="63" y="164"/>
                    <a:pt x="63" y="164"/>
                  </a:cubicBezTo>
                  <a:cubicBezTo>
                    <a:pt x="62" y="164"/>
                    <a:pt x="62" y="164"/>
                    <a:pt x="62" y="164"/>
                  </a:cubicBezTo>
                  <a:cubicBezTo>
                    <a:pt x="62" y="164"/>
                    <a:pt x="62" y="164"/>
                    <a:pt x="62" y="164"/>
                  </a:cubicBezTo>
                  <a:cubicBezTo>
                    <a:pt x="62" y="163"/>
                    <a:pt x="62" y="163"/>
                    <a:pt x="62" y="163"/>
                  </a:cubicBezTo>
                  <a:cubicBezTo>
                    <a:pt x="62" y="163"/>
                    <a:pt x="62" y="163"/>
                    <a:pt x="62" y="163"/>
                  </a:cubicBezTo>
                  <a:cubicBezTo>
                    <a:pt x="61" y="162"/>
                    <a:pt x="61" y="162"/>
                    <a:pt x="61" y="162"/>
                  </a:cubicBezTo>
                  <a:cubicBezTo>
                    <a:pt x="61" y="162"/>
                    <a:pt x="61" y="162"/>
                    <a:pt x="61" y="162"/>
                  </a:cubicBezTo>
                  <a:cubicBezTo>
                    <a:pt x="61" y="162"/>
                    <a:pt x="61" y="162"/>
                    <a:pt x="61" y="162"/>
                  </a:cubicBezTo>
                  <a:cubicBezTo>
                    <a:pt x="61" y="161"/>
                    <a:pt x="61" y="161"/>
                    <a:pt x="61" y="161"/>
                  </a:cubicBezTo>
                  <a:cubicBezTo>
                    <a:pt x="61" y="161"/>
                    <a:pt x="61" y="161"/>
                    <a:pt x="61" y="161"/>
                  </a:cubicBezTo>
                  <a:cubicBezTo>
                    <a:pt x="61" y="161"/>
                    <a:pt x="61" y="161"/>
                    <a:pt x="61" y="161"/>
                  </a:cubicBezTo>
                  <a:cubicBezTo>
                    <a:pt x="61" y="161"/>
                    <a:pt x="61" y="161"/>
                    <a:pt x="61" y="161"/>
                  </a:cubicBezTo>
                  <a:cubicBezTo>
                    <a:pt x="60" y="160"/>
                    <a:pt x="60" y="160"/>
                    <a:pt x="60" y="160"/>
                  </a:cubicBezTo>
                  <a:cubicBezTo>
                    <a:pt x="60" y="160"/>
                    <a:pt x="60" y="160"/>
                    <a:pt x="60" y="160"/>
                  </a:cubicBezTo>
                  <a:cubicBezTo>
                    <a:pt x="60" y="160"/>
                    <a:pt x="60" y="160"/>
                    <a:pt x="60" y="160"/>
                  </a:cubicBezTo>
                  <a:cubicBezTo>
                    <a:pt x="60" y="159"/>
                    <a:pt x="60" y="159"/>
                    <a:pt x="60" y="159"/>
                  </a:cubicBezTo>
                  <a:lnTo>
                    <a:pt x="59" y="160"/>
                  </a:lnTo>
                  <a:close/>
                  <a:moveTo>
                    <a:pt x="67" y="176"/>
                  </a:moveTo>
                  <a:cubicBezTo>
                    <a:pt x="66" y="177"/>
                    <a:pt x="66" y="177"/>
                    <a:pt x="66" y="177"/>
                  </a:cubicBezTo>
                  <a:cubicBezTo>
                    <a:pt x="66" y="177"/>
                    <a:pt x="66" y="177"/>
                    <a:pt x="66" y="177"/>
                  </a:cubicBezTo>
                  <a:cubicBezTo>
                    <a:pt x="66" y="177"/>
                    <a:pt x="66" y="177"/>
                    <a:pt x="66" y="177"/>
                  </a:cubicBezTo>
                  <a:cubicBezTo>
                    <a:pt x="66" y="178"/>
                    <a:pt x="66" y="178"/>
                    <a:pt x="66" y="178"/>
                  </a:cubicBezTo>
                  <a:cubicBezTo>
                    <a:pt x="66" y="178"/>
                    <a:pt x="66" y="178"/>
                    <a:pt x="66" y="178"/>
                  </a:cubicBezTo>
                  <a:cubicBezTo>
                    <a:pt x="66" y="179"/>
                    <a:pt x="66" y="179"/>
                    <a:pt x="66" y="179"/>
                  </a:cubicBezTo>
                  <a:cubicBezTo>
                    <a:pt x="66" y="179"/>
                    <a:pt x="66" y="179"/>
                    <a:pt x="66" y="179"/>
                  </a:cubicBezTo>
                  <a:cubicBezTo>
                    <a:pt x="66" y="179"/>
                    <a:pt x="66" y="179"/>
                    <a:pt x="66" y="179"/>
                  </a:cubicBezTo>
                  <a:cubicBezTo>
                    <a:pt x="66" y="179"/>
                    <a:pt x="66" y="179"/>
                    <a:pt x="66" y="179"/>
                  </a:cubicBezTo>
                  <a:cubicBezTo>
                    <a:pt x="66" y="179"/>
                    <a:pt x="66" y="179"/>
                    <a:pt x="66" y="179"/>
                  </a:cubicBezTo>
                  <a:cubicBezTo>
                    <a:pt x="66" y="179"/>
                    <a:pt x="66" y="179"/>
                    <a:pt x="66" y="179"/>
                  </a:cubicBezTo>
                  <a:cubicBezTo>
                    <a:pt x="66" y="179"/>
                    <a:pt x="66" y="179"/>
                    <a:pt x="66" y="179"/>
                  </a:cubicBezTo>
                  <a:cubicBezTo>
                    <a:pt x="67" y="179"/>
                    <a:pt x="67" y="179"/>
                    <a:pt x="67" y="179"/>
                  </a:cubicBezTo>
                  <a:cubicBezTo>
                    <a:pt x="68" y="180"/>
                    <a:pt x="68" y="180"/>
                    <a:pt x="68" y="180"/>
                  </a:cubicBezTo>
                  <a:cubicBezTo>
                    <a:pt x="68" y="180"/>
                    <a:pt x="68" y="180"/>
                    <a:pt x="68" y="180"/>
                  </a:cubicBezTo>
                  <a:cubicBezTo>
                    <a:pt x="68" y="179"/>
                    <a:pt x="68" y="179"/>
                    <a:pt x="68" y="179"/>
                  </a:cubicBezTo>
                  <a:cubicBezTo>
                    <a:pt x="68" y="178"/>
                    <a:pt x="68" y="178"/>
                    <a:pt x="68" y="178"/>
                  </a:cubicBezTo>
                  <a:cubicBezTo>
                    <a:pt x="68" y="178"/>
                    <a:pt x="68" y="178"/>
                    <a:pt x="68" y="178"/>
                  </a:cubicBezTo>
                  <a:cubicBezTo>
                    <a:pt x="68" y="178"/>
                    <a:pt x="68" y="178"/>
                    <a:pt x="68" y="178"/>
                  </a:cubicBezTo>
                  <a:cubicBezTo>
                    <a:pt x="68" y="177"/>
                    <a:pt x="68" y="177"/>
                    <a:pt x="68" y="177"/>
                  </a:cubicBezTo>
                  <a:cubicBezTo>
                    <a:pt x="68" y="177"/>
                    <a:pt x="68" y="177"/>
                    <a:pt x="68" y="177"/>
                  </a:cubicBezTo>
                  <a:cubicBezTo>
                    <a:pt x="68" y="177"/>
                    <a:pt x="68" y="177"/>
                    <a:pt x="68" y="177"/>
                  </a:cubicBezTo>
                  <a:cubicBezTo>
                    <a:pt x="68" y="177"/>
                    <a:pt x="68" y="177"/>
                    <a:pt x="68" y="177"/>
                  </a:cubicBezTo>
                  <a:cubicBezTo>
                    <a:pt x="68" y="176"/>
                    <a:pt x="68" y="176"/>
                    <a:pt x="68" y="176"/>
                  </a:cubicBezTo>
                  <a:cubicBezTo>
                    <a:pt x="68" y="176"/>
                    <a:pt x="68" y="176"/>
                    <a:pt x="68" y="176"/>
                  </a:cubicBezTo>
                  <a:cubicBezTo>
                    <a:pt x="69" y="176"/>
                    <a:pt x="69" y="176"/>
                    <a:pt x="69" y="176"/>
                  </a:cubicBezTo>
                  <a:cubicBezTo>
                    <a:pt x="69" y="175"/>
                    <a:pt x="69" y="175"/>
                    <a:pt x="69" y="175"/>
                  </a:cubicBezTo>
                  <a:cubicBezTo>
                    <a:pt x="68" y="175"/>
                    <a:pt x="68" y="175"/>
                    <a:pt x="68" y="175"/>
                  </a:cubicBezTo>
                  <a:cubicBezTo>
                    <a:pt x="68" y="175"/>
                    <a:pt x="68" y="175"/>
                    <a:pt x="68" y="175"/>
                  </a:cubicBezTo>
                  <a:cubicBezTo>
                    <a:pt x="68" y="175"/>
                    <a:pt x="68" y="175"/>
                    <a:pt x="68" y="175"/>
                  </a:cubicBezTo>
                  <a:cubicBezTo>
                    <a:pt x="68" y="175"/>
                    <a:pt x="68" y="175"/>
                    <a:pt x="68" y="175"/>
                  </a:cubicBezTo>
                  <a:cubicBezTo>
                    <a:pt x="68" y="174"/>
                    <a:pt x="68" y="174"/>
                    <a:pt x="68" y="174"/>
                  </a:cubicBezTo>
                  <a:cubicBezTo>
                    <a:pt x="67" y="175"/>
                    <a:pt x="67" y="175"/>
                    <a:pt x="67" y="175"/>
                  </a:cubicBezTo>
                  <a:cubicBezTo>
                    <a:pt x="67" y="175"/>
                    <a:pt x="67" y="175"/>
                    <a:pt x="67" y="175"/>
                  </a:cubicBezTo>
                  <a:cubicBezTo>
                    <a:pt x="68" y="175"/>
                    <a:pt x="68" y="175"/>
                    <a:pt x="68" y="175"/>
                  </a:cubicBezTo>
                  <a:cubicBezTo>
                    <a:pt x="68" y="175"/>
                    <a:pt x="68" y="175"/>
                    <a:pt x="68" y="175"/>
                  </a:cubicBezTo>
                  <a:cubicBezTo>
                    <a:pt x="68" y="176"/>
                    <a:pt x="68" y="176"/>
                    <a:pt x="68" y="176"/>
                  </a:cubicBezTo>
                  <a:lnTo>
                    <a:pt x="67" y="176"/>
                  </a:lnTo>
                  <a:close/>
                  <a:moveTo>
                    <a:pt x="72" y="175"/>
                  </a:moveTo>
                  <a:cubicBezTo>
                    <a:pt x="72" y="175"/>
                    <a:pt x="72" y="175"/>
                    <a:pt x="72" y="175"/>
                  </a:cubicBezTo>
                  <a:cubicBezTo>
                    <a:pt x="72" y="174"/>
                    <a:pt x="72" y="174"/>
                    <a:pt x="72" y="174"/>
                  </a:cubicBezTo>
                  <a:cubicBezTo>
                    <a:pt x="72" y="172"/>
                    <a:pt x="72" y="172"/>
                    <a:pt x="72" y="172"/>
                  </a:cubicBezTo>
                  <a:cubicBezTo>
                    <a:pt x="72" y="172"/>
                    <a:pt x="72" y="172"/>
                    <a:pt x="72" y="172"/>
                  </a:cubicBezTo>
                  <a:cubicBezTo>
                    <a:pt x="72" y="171"/>
                    <a:pt x="72" y="171"/>
                    <a:pt x="72" y="171"/>
                  </a:cubicBezTo>
                  <a:cubicBezTo>
                    <a:pt x="72" y="171"/>
                    <a:pt x="72" y="171"/>
                    <a:pt x="72" y="171"/>
                  </a:cubicBezTo>
                  <a:cubicBezTo>
                    <a:pt x="72" y="171"/>
                    <a:pt x="72" y="171"/>
                    <a:pt x="72" y="171"/>
                  </a:cubicBezTo>
                  <a:cubicBezTo>
                    <a:pt x="71" y="172"/>
                    <a:pt x="71" y="172"/>
                    <a:pt x="71" y="172"/>
                  </a:cubicBezTo>
                  <a:cubicBezTo>
                    <a:pt x="71" y="172"/>
                    <a:pt x="71" y="172"/>
                    <a:pt x="71" y="172"/>
                  </a:cubicBezTo>
                  <a:cubicBezTo>
                    <a:pt x="71" y="173"/>
                    <a:pt x="71" y="173"/>
                    <a:pt x="71" y="173"/>
                  </a:cubicBezTo>
                  <a:cubicBezTo>
                    <a:pt x="70" y="173"/>
                    <a:pt x="70" y="173"/>
                    <a:pt x="70" y="173"/>
                  </a:cubicBezTo>
                  <a:cubicBezTo>
                    <a:pt x="69" y="174"/>
                    <a:pt x="69" y="174"/>
                    <a:pt x="69" y="174"/>
                  </a:cubicBezTo>
                  <a:cubicBezTo>
                    <a:pt x="69" y="175"/>
                    <a:pt x="69" y="175"/>
                    <a:pt x="69" y="175"/>
                  </a:cubicBezTo>
                  <a:cubicBezTo>
                    <a:pt x="69" y="175"/>
                    <a:pt x="69" y="175"/>
                    <a:pt x="69" y="175"/>
                  </a:cubicBezTo>
                  <a:cubicBezTo>
                    <a:pt x="70" y="175"/>
                    <a:pt x="70" y="175"/>
                    <a:pt x="70" y="175"/>
                  </a:cubicBezTo>
                  <a:cubicBezTo>
                    <a:pt x="70" y="175"/>
                    <a:pt x="70" y="175"/>
                    <a:pt x="70" y="175"/>
                  </a:cubicBezTo>
                  <a:cubicBezTo>
                    <a:pt x="71" y="175"/>
                    <a:pt x="71" y="175"/>
                    <a:pt x="71" y="175"/>
                  </a:cubicBezTo>
                  <a:cubicBezTo>
                    <a:pt x="71" y="175"/>
                    <a:pt x="71" y="175"/>
                    <a:pt x="71" y="175"/>
                  </a:cubicBezTo>
                  <a:cubicBezTo>
                    <a:pt x="71" y="176"/>
                    <a:pt x="71" y="176"/>
                    <a:pt x="71" y="176"/>
                  </a:cubicBezTo>
                  <a:cubicBezTo>
                    <a:pt x="72" y="176"/>
                    <a:pt x="72" y="176"/>
                    <a:pt x="72" y="176"/>
                  </a:cubicBezTo>
                  <a:cubicBezTo>
                    <a:pt x="72" y="176"/>
                    <a:pt x="72" y="176"/>
                    <a:pt x="72" y="176"/>
                  </a:cubicBezTo>
                  <a:cubicBezTo>
                    <a:pt x="72" y="176"/>
                    <a:pt x="72" y="176"/>
                    <a:pt x="72" y="176"/>
                  </a:cubicBezTo>
                  <a:cubicBezTo>
                    <a:pt x="72" y="175"/>
                    <a:pt x="72" y="175"/>
                    <a:pt x="72" y="175"/>
                  </a:cubicBezTo>
                  <a:cubicBezTo>
                    <a:pt x="72" y="175"/>
                    <a:pt x="72" y="175"/>
                    <a:pt x="72" y="175"/>
                  </a:cubicBezTo>
                  <a:cubicBezTo>
                    <a:pt x="72" y="175"/>
                    <a:pt x="72" y="175"/>
                    <a:pt x="72" y="175"/>
                  </a:cubicBezTo>
                  <a:close/>
                  <a:moveTo>
                    <a:pt x="69" y="179"/>
                  </a:moveTo>
                  <a:cubicBezTo>
                    <a:pt x="69" y="179"/>
                    <a:pt x="69" y="179"/>
                    <a:pt x="69" y="179"/>
                  </a:cubicBezTo>
                  <a:cubicBezTo>
                    <a:pt x="69" y="180"/>
                    <a:pt x="69" y="180"/>
                    <a:pt x="69" y="180"/>
                  </a:cubicBezTo>
                  <a:cubicBezTo>
                    <a:pt x="68" y="180"/>
                    <a:pt x="68" y="180"/>
                    <a:pt x="68" y="180"/>
                  </a:cubicBezTo>
                  <a:cubicBezTo>
                    <a:pt x="68" y="180"/>
                    <a:pt x="68" y="180"/>
                    <a:pt x="68" y="180"/>
                  </a:cubicBezTo>
                  <a:cubicBezTo>
                    <a:pt x="68" y="180"/>
                    <a:pt x="68" y="180"/>
                    <a:pt x="68" y="180"/>
                  </a:cubicBezTo>
                  <a:cubicBezTo>
                    <a:pt x="68" y="180"/>
                    <a:pt x="68" y="180"/>
                    <a:pt x="68" y="180"/>
                  </a:cubicBezTo>
                  <a:cubicBezTo>
                    <a:pt x="67" y="180"/>
                    <a:pt x="67" y="180"/>
                    <a:pt x="67" y="180"/>
                  </a:cubicBezTo>
                  <a:cubicBezTo>
                    <a:pt x="67" y="180"/>
                    <a:pt x="67" y="180"/>
                    <a:pt x="67" y="180"/>
                  </a:cubicBezTo>
                  <a:cubicBezTo>
                    <a:pt x="67" y="181"/>
                    <a:pt x="67" y="181"/>
                    <a:pt x="67" y="181"/>
                  </a:cubicBezTo>
                  <a:cubicBezTo>
                    <a:pt x="67" y="181"/>
                    <a:pt x="67" y="181"/>
                    <a:pt x="67" y="181"/>
                  </a:cubicBezTo>
                  <a:cubicBezTo>
                    <a:pt x="67" y="181"/>
                    <a:pt x="67" y="181"/>
                    <a:pt x="67" y="181"/>
                  </a:cubicBezTo>
                  <a:cubicBezTo>
                    <a:pt x="67" y="182"/>
                    <a:pt x="67" y="182"/>
                    <a:pt x="67" y="182"/>
                  </a:cubicBezTo>
                  <a:cubicBezTo>
                    <a:pt x="66" y="183"/>
                    <a:pt x="66" y="183"/>
                    <a:pt x="66" y="183"/>
                  </a:cubicBezTo>
                  <a:cubicBezTo>
                    <a:pt x="66" y="183"/>
                    <a:pt x="66" y="183"/>
                    <a:pt x="66" y="183"/>
                  </a:cubicBezTo>
                  <a:cubicBezTo>
                    <a:pt x="67" y="183"/>
                    <a:pt x="67" y="183"/>
                    <a:pt x="67" y="183"/>
                  </a:cubicBezTo>
                  <a:cubicBezTo>
                    <a:pt x="67" y="183"/>
                    <a:pt x="67" y="183"/>
                    <a:pt x="67" y="183"/>
                  </a:cubicBezTo>
                  <a:cubicBezTo>
                    <a:pt x="67" y="183"/>
                    <a:pt x="67" y="183"/>
                    <a:pt x="67" y="183"/>
                  </a:cubicBezTo>
                  <a:cubicBezTo>
                    <a:pt x="67" y="184"/>
                    <a:pt x="67" y="184"/>
                    <a:pt x="67" y="184"/>
                  </a:cubicBezTo>
                  <a:cubicBezTo>
                    <a:pt x="68" y="184"/>
                    <a:pt x="68" y="184"/>
                    <a:pt x="68" y="184"/>
                  </a:cubicBezTo>
                  <a:cubicBezTo>
                    <a:pt x="69" y="183"/>
                    <a:pt x="69" y="183"/>
                    <a:pt x="69" y="183"/>
                  </a:cubicBezTo>
                  <a:cubicBezTo>
                    <a:pt x="69" y="183"/>
                    <a:pt x="69" y="183"/>
                    <a:pt x="69" y="183"/>
                  </a:cubicBezTo>
                  <a:cubicBezTo>
                    <a:pt x="69" y="183"/>
                    <a:pt x="69" y="183"/>
                    <a:pt x="69" y="183"/>
                  </a:cubicBezTo>
                  <a:cubicBezTo>
                    <a:pt x="69" y="182"/>
                    <a:pt x="69" y="182"/>
                    <a:pt x="69" y="182"/>
                  </a:cubicBezTo>
                  <a:cubicBezTo>
                    <a:pt x="69" y="182"/>
                    <a:pt x="69" y="182"/>
                    <a:pt x="69" y="182"/>
                  </a:cubicBezTo>
                  <a:cubicBezTo>
                    <a:pt x="69" y="182"/>
                    <a:pt x="69" y="182"/>
                    <a:pt x="69" y="182"/>
                  </a:cubicBezTo>
                  <a:cubicBezTo>
                    <a:pt x="70" y="182"/>
                    <a:pt x="70" y="182"/>
                    <a:pt x="70" y="182"/>
                  </a:cubicBezTo>
                  <a:cubicBezTo>
                    <a:pt x="70" y="182"/>
                    <a:pt x="70" y="182"/>
                    <a:pt x="70" y="182"/>
                  </a:cubicBezTo>
                  <a:cubicBezTo>
                    <a:pt x="70" y="182"/>
                    <a:pt x="70" y="182"/>
                    <a:pt x="70" y="182"/>
                  </a:cubicBezTo>
                  <a:cubicBezTo>
                    <a:pt x="70" y="182"/>
                    <a:pt x="70" y="182"/>
                    <a:pt x="70" y="182"/>
                  </a:cubicBezTo>
                  <a:cubicBezTo>
                    <a:pt x="71" y="182"/>
                    <a:pt x="71" y="182"/>
                    <a:pt x="71" y="182"/>
                  </a:cubicBezTo>
                  <a:cubicBezTo>
                    <a:pt x="71" y="182"/>
                    <a:pt x="71" y="182"/>
                    <a:pt x="71" y="182"/>
                  </a:cubicBezTo>
                  <a:cubicBezTo>
                    <a:pt x="71" y="182"/>
                    <a:pt x="71" y="182"/>
                    <a:pt x="71" y="182"/>
                  </a:cubicBezTo>
                  <a:cubicBezTo>
                    <a:pt x="71" y="181"/>
                    <a:pt x="71" y="181"/>
                    <a:pt x="71" y="181"/>
                  </a:cubicBezTo>
                  <a:cubicBezTo>
                    <a:pt x="71" y="181"/>
                    <a:pt x="71" y="181"/>
                    <a:pt x="71" y="181"/>
                  </a:cubicBezTo>
                  <a:cubicBezTo>
                    <a:pt x="70" y="181"/>
                    <a:pt x="70" y="181"/>
                    <a:pt x="70" y="181"/>
                  </a:cubicBezTo>
                  <a:cubicBezTo>
                    <a:pt x="70" y="181"/>
                    <a:pt x="70" y="181"/>
                    <a:pt x="70" y="181"/>
                  </a:cubicBezTo>
                  <a:cubicBezTo>
                    <a:pt x="70" y="180"/>
                    <a:pt x="70" y="180"/>
                    <a:pt x="70" y="180"/>
                  </a:cubicBezTo>
                  <a:cubicBezTo>
                    <a:pt x="70" y="180"/>
                    <a:pt x="70" y="180"/>
                    <a:pt x="70" y="180"/>
                  </a:cubicBezTo>
                  <a:cubicBezTo>
                    <a:pt x="70" y="180"/>
                    <a:pt x="70" y="180"/>
                    <a:pt x="70" y="180"/>
                  </a:cubicBezTo>
                  <a:cubicBezTo>
                    <a:pt x="70" y="180"/>
                    <a:pt x="70" y="180"/>
                    <a:pt x="70" y="180"/>
                  </a:cubicBezTo>
                  <a:cubicBezTo>
                    <a:pt x="70" y="180"/>
                    <a:pt x="70" y="180"/>
                    <a:pt x="70" y="180"/>
                  </a:cubicBezTo>
                  <a:cubicBezTo>
                    <a:pt x="70" y="180"/>
                    <a:pt x="70" y="180"/>
                    <a:pt x="70" y="180"/>
                  </a:cubicBezTo>
                  <a:cubicBezTo>
                    <a:pt x="70" y="180"/>
                    <a:pt x="70" y="180"/>
                    <a:pt x="70" y="180"/>
                  </a:cubicBezTo>
                  <a:cubicBezTo>
                    <a:pt x="70" y="180"/>
                    <a:pt x="70" y="180"/>
                    <a:pt x="70" y="180"/>
                  </a:cubicBezTo>
                  <a:cubicBezTo>
                    <a:pt x="70" y="180"/>
                    <a:pt x="70" y="180"/>
                    <a:pt x="70" y="180"/>
                  </a:cubicBezTo>
                  <a:cubicBezTo>
                    <a:pt x="70" y="180"/>
                    <a:pt x="70" y="180"/>
                    <a:pt x="70" y="180"/>
                  </a:cubicBezTo>
                  <a:cubicBezTo>
                    <a:pt x="70" y="179"/>
                    <a:pt x="70" y="179"/>
                    <a:pt x="70" y="179"/>
                  </a:cubicBezTo>
                  <a:cubicBezTo>
                    <a:pt x="70" y="179"/>
                    <a:pt x="70" y="179"/>
                    <a:pt x="70" y="179"/>
                  </a:cubicBezTo>
                  <a:cubicBezTo>
                    <a:pt x="70" y="180"/>
                    <a:pt x="70" y="180"/>
                    <a:pt x="70" y="180"/>
                  </a:cubicBezTo>
                  <a:cubicBezTo>
                    <a:pt x="70" y="180"/>
                    <a:pt x="70" y="180"/>
                    <a:pt x="70" y="180"/>
                  </a:cubicBezTo>
                  <a:cubicBezTo>
                    <a:pt x="71" y="181"/>
                    <a:pt x="71" y="181"/>
                    <a:pt x="71" y="181"/>
                  </a:cubicBezTo>
                  <a:cubicBezTo>
                    <a:pt x="71" y="181"/>
                    <a:pt x="71" y="181"/>
                    <a:pt x="71" y="181"/>
                  </a:cubicBezTo>
                  <a:cubicBezTo>
                    <a:pt x="71" y="182"/>
                    <a:pt x="71" y="182"/>
                    <a:pt x="71" y="182"/>
                  </a:cubicBezTo>
                  <a:cubicBezTo>
                    <a:pt x="71" y="182"/>
                    <a:pt x="71" y="182"/>
                    <a:pt x="71" y="182"/>
                  </a:cubicBezTo>
                  <a:cubicBezTo>
                    <a:pt x="70" y="182"/>
                    <a:pt x="70" y="182"/>
                    <a:pt x="70" y="182"/>
                  </a:cubicBezTo>
                  <a:cubicBezTo>
                    <a:pt x="70" y="182"/>
                    <a:pt x="70" y="182"/>
                    <a:pt x="70" y="182"/>
                  </a:cubicBezTo>
                  <a:cubicBezTo>
                    <a:pt x="70" y="183"/>
                    <a:pt x="70" y="183"/>
                    <a:pt x="70" y="183"/>
                  </a:cubicBezTo>
                  <a:cubicBezTo>
                    <a:pt x="69" y="183"/>
                    <a:pt x="69" y="183"/>
                    <a:pt x="69" y="183"/>
                  </a:cubicBezTo>
                  <a:cubicBezTo>
                    <a:pt x="69" y="184"/>
                    <a:pt x="69" y="184"/>
                    <a:pt x="69" y="184"/>
                  </a:cubicBezTo>
                  <a:cubicBezTo>
                    <a:pt x="69" y="184"/>
                    <a:pt x="69" y="184"/>
                    <a:pt x="69" y="184"/>
                  </a:cubicBezTo>
                  <a:cubicBezTo>
                    <a:pt x="68" y="184"/>
                    <a:pt x="68" y="184"/>
                    <a:pt x="68" y="184"/>
                  </a:cubicBezTo>
                  <a:cubicBezTo>
                    <a:pt x="68" y="184"/>
                    <a:pt x="68" y="184"/>
                    <a:pt x="68" y="184"/>
                  </a:cubicBezTo>
                  <a:cubicBezTo>
                    <a:pt x="68" y="185"/>
                    <a:pt x="68" y="185"/>
                    <a:pt x="68" y="185"/>
                  </a:cubicBezTo>
                  <a:cubicBezTo>
                    <a:pt x="68" y="185"/>
                    <a:pt x="68" y="185"/>
                    <a:pt x="68" y="185"/>
                  </a:cubicBezTo>
                  <a:cubicBezTo>
                    <a:pt x="68" y="185"/>
                    <a:pt x="68" y="185"/>
                    <a:pt x="68" y="185"/>
                  </a:cubicBezTo>
                  <a:cubicBezTo>
                    <a:pt x="67" y="184"/>
                    <a:pt x="67" y="184"/>
                    <a:pt x="67" y="184"/>
                  </a:cubicBezTo>
                  <a:cubicBezTo>
                    <a:pt x="67" y="184"/>
                    <a:pt x="67" y="184"/>
                    <a:pt x="67" y="184"/>
                  </a:cubicBezTo>
                  <a:cubicBezTo>
                    <a:pt x="67" y="184"/>
                    <a:pt x="67" y="184"/>
                    <a:pt x="67" y="184"/>
                  </a:cubicBezTo>
                  <a:cubicBezTo>
                    <a:pt x="67" y="185"/>
                    <a:pt x="67" y="185"/>
                    <a:pt x="67" y="185"/>
                  </a:cubicBezTo>
                  <a:cubicBezTo>
                    <a:pt x="67" y="186"/>
                    <a:pt x="67" y="186"/>
                    <a:pt x="67" y="186"/>
                  </a:cubicBezTo>
                  <a:cubicBezTo>
                    <a:pt x="67" y="186"/>
                    <a:pt x="67" y="186"/>
                    <a:pt x="67" y="186"/>
                  </a:cubicBezTo>
                  <a:cubicBezTo>
                    <a:pt x="67" y="186"/>
                    <a:pt x="67" y="186"/>
                    <a:pt x="67" y="186"/>
                  </a:cubicBezTo>
                  <a:cubicBezTo>
                    <a:pt x="67" y="187"/>
                    <a:pt x="67" y="187"/>
                    <a:pt x="67" y="187"/>
                  </a:cubicBezTo>
                  <a:cubicBezTo>
                    <a:pt x="67" y="187"/>
                    <a:pt x="67" y="187"/>
                    <a:pt x="67" y="187"/>
                  </a:cubicBezTo>
                  <a:cubicBezTo>
                    <a:pt x="67" y="187"/>
                    <a:pt x="67" y="187"/>
                    <a:pt x="67" y="187"/>
                  </a:cubicBezTo>
                  <a:cubicBezTo>
                    <a:pt x="67" y="187"/>
                    <a:pt x="67" y="187"/>
                    <a:pt x="67" y="187"/>
                  </a:cubicBezTo>
                  <a:cubicBezTo>
                    <a:pt x="67" y="187"/>
                    <a:pt x="67" y="187"/>
                    <a:pt x="67" y="187"/>
                  </a:cubicBezTo>
                  <a:cubicBezTo>
                    <a:pt x="67" y="187"/>
                    <a:pt x="67" y="187"/>
                    <a:pt x="67" y="187"/>
                  </a:cubicBezTo>
                  <a:cubicBezTo>
                    <a:pt x="67" y="187"/>
                    <a:pt x="67" y="187"/>
                    <a:pt x="67" y="187"/>
                  </a:cubicBezTo>
                  <a:cubicBezTo>
                    <a:pt x="67" y="187"/>
                    <a:pt x="67" y="187"/>
                    <a:pt x="67" y="187"/>
                  </a:cubicBezTo>
                  <a:cubicBezTo>
                    <a:pt x="67" y="188"/>
                    <a:pt x="67" y="188"/>
                    <a:pt x="67" y="188"/>
                  </a:cubicBezTo>
                  <a:cubicBezTo>
                    <a:pt x="68" y="189"/>
                    <a:pt x="68" y="189"/>
                    <a:pt x="68" y="189"/>
                  </a:cubicBezTo>
                  <a:cubicBezTo>
                    <a:pt x="68" y="189"/>
                    <a:pt x="68" y="189"/>
                    <a:pt x="68" y="189"/>
                  </a:cubicBezTo>
                  <a:cubicBezTo>
                    <a:pt x="69" y="190"/>
                    <a:pt x="69" y="190"/>
                    <a:pt x="69" y="190"/>
                  </a:cubicBezTo>
                  <a:cubicBezTo>
                    <a:pt x="69" y="189"/>
                    <a:pt x="69" y="189"/>
                    <a:pt x="69" y="189"/>
                  </a:cubicBezTo>
                  <a:cubicBezTo>
                    <a:pt x="70" y="189"/>
                    <a:pt x="70" y="189"/>
                    <a:pt x="70" y="189"/>
                  </a:cubicBezTo>
                  <a:cubicBezTo>
                    <a:pt x="70" y="189"/>
                    <a:pt x="70" y="189"/>
                    <a:pt x="70" y="189"/>
                  </a:cubicBezTo>
                  <a:cubicBezTo>
                    <a:pt x="70" y="189"/>
                    <a:pt x="70" y="189"/>
                    <a:pt x="70" y="189"/>
                  </a:cubicBezTo>
                  <a:cubicBezTo>
                    <a:pt x="70" y="190"/>
                    <a:pt x="70" y="190"/>
                    <a:pt x="70" y="190"/>
                  </a:cubicBezTo>
                  <a:cubicBezTo>
                    <a:pt x="70" y="190"/>
                    <a:pt x="70" y="190"/>
                    <a:pt x="70" y="190"/>
                  </a:cubicBezTo>
                  <a:cubicBezTo>
                    <a:pt x="70" y="190"/>
                    <a:pt x="70" y="190"/>
                    <a:pt x="70" y="190"/>
                  </a:cubicBezTo>
                  <a:cubicBezTo>
                    <a:pt x="70" y="190"/>
                    <a:pt x="70" y="190"/>
                    <a:pt x="70" y="190"/>
                  </a:cubicBezTo>
                  <a:cubicBezTo>
                    <a:pt x="70" y="189"/>
                    <a:pt x="70" y="189"/>
                    <a:pt x="70" y="189"/>
                  </a:cubicBezTo>
                  <a:cubicBezTo>
                    <a:pt x="70" y="189"/>
                    <a:pt x="70" y="189"/>
                    <a:pt x="70" y="189"/>
                  </a:cubicBezTo>
                  <a:cubicBezTo>
                    <a:pt x="70" y="188"/>
                    <a:pt x="70" y="188"/>
                    <a:pt x="70" y="188"/>
                  </a:cubicBezTo>
                  <a:cubicBezTo>
                    <a:pt x="71" y="188"/>
                    <a:pt x="71" y="188"/>
                    <a:pt x="71" y="188"/>
                  </a:cubicBezTo>
                  <a:cubicBezTo>
                    <a:pt x="71" y="187"/>
                    <a:pt x="71" y="187"/>
                    <a:pt x="71" y="187"/>
                  </a:cubicBezTo>
                  <a:cubicBezTo>
                    <a:pt x="71" y="186"/>
                    <a:pt x="71" y="186"/>
                    <a:pt x="71" y="186"/>
                  </a:cubicBezTo>
                  <a:cubicBezTo>
                    <a:pt x="71" y="186"/>
                    <a:pt x="71" y="186"/>
                    <a:pt x="71" y="186"/>
                  </a:cubicBezTo>
                  <a:cubicBezTo>
                    <a:pt x="72" y="186"/>
                    <a:pt x="72" y="186"/>
                    <a:pt x="72" y="186"/>
                  </a:cubicBezTo>
                  <a:cubicBezTo>
                    <a:pt x="72" y="186"/>
                    <a:pt x="72" y="186"/>
                    <a:pt x="72" y="186"/>
                  </a:cubicBezTo>
                  <a:cubicBezTo>
                    <a:pt x="72" y="185"/>
                    <a:pt x="72" y="185"/>
                    <a:pt x="72" y="185"/>
                  </a:cubicBezTo>
                  <a:cubicBezTo>
                    <a:pt x="72" y="185"/>
                    <a:pt x="72" y="185"/>
                    <a:pt x="72" y="185"/>
                  </a:cubicBezTo>
                  <a:cubicBezTo>
                    <a:pt x="72" y="185"/>
                    <a:pt x="72" y="185"/>
                    <a:pt x="72" y="185"/>
                  </a:cubicBezTo>
                  <a:cubicBezTo>
                    <a:pt x="72" y="185"/>
                    <a:pt x="72" y="185"/>
                    <a:pt x="72" y="185"/>
                  </a:cubicBezTo>
                  <a:cubicBezTo>
                    <a:pt x="72" y="185"/>
                    <a:pt x="72" y="185"/>
                    <a:pt x="72" y="185"/>
                  </a:cubicBezTo>
                  <a:cubicBezTo>
                    <a:pt x="72" y="185"/>
                    <a:pt x="72" y="185"/>
                    <a:pt x="72" y="185"/>
                  </a:cubicBezTo>
                  <a:cubicBezTo>
                    <a:pt x="73" y="185"/>
                    <a:pt x="73" y="185"/>
                    <a:pt x="73" y="185"/>
                  </a:cubicBezTo>
                  <a:cubicBezTo>
                    <a:pt x="73" y="185"/>
                    <a:pt x="73" y="185"/>
                    <a:pt x="73" y="185"/>
                  </a:cubicBezTo>
                  <a:cubicBezTo>
                    <a:pt x="73" y="184"/>
                    <a:pt x="73" y="184"/>
                    <a:pt x="73" y="184"/>
                  </a:cubicBezTo>
                  <a:cubicBezTo>
                    <a:pt x="73" y="184"/>
                    <a:pt x="73" y="184"/>
                    <a:pt x="73" y="184"/>
                  </a:cubicBezTo>
                  <a:cubicBezTo>
                    <a:pt x="73" y="184"/>
                    <a:pt x="73" y="184"/>
                    <a:pt x="73" y="184"/>
                  </a:cubicBezTo>
                  <a:cubicBezTo>
                    <a:pt x="73" y="184"/>
                    <a:pt x="73" y="184"/>
                    <a:pt x="73" y="184"/>
                  </a:cubicBezTo>
                  <a:cubicBezTo>
                    <a:pt x="73" y="184"/>
                    <a:pt x="73" y="184"/>
                    <a:pt x="73" y="184"/>
                  </a:cubicBezTo>
                  <a:cubicBezTo>
                    <a:pt x="73" y="184"/>
                    <a:pt x="73" y="184"/>
                    <a:pt x="73" y="184"/>
                  </a:cubicBezTo>
                  <a:cubicBezTo>
                    <a:pt x="73" y="185"/>
                    <a:pt x="73" y="185"/>
                    <a:pt x="73" y="185"/>
                  </a:cubicBezTo>
                  <a:cubicBezTo>
                    <a:pt x="73" y="185"/>
                    <a:pt x="73" y="185"/>
                    <a:pt x="73" y="185"/>
                  </a:cubicBezTo>
                  <a:cubicBezTo>
                    <a:pt x="73" y="185"/>
                    <a:pt x="73" y="185"/>
                    <a:pt x="73" y="185"/>
                  </a:cubicBezTo>
                  <a:cubicBezTo>
                    <a:pt x="72" y="186"/>
                    <a:pt x="72" y="186"/>
                    <a:pt x="72" y="186"/>
                  </a:cubicBezTo>
                  <a:cubicBezTo>
                    <a:pt x="72" y="186"/>
                    <a:pt x="72" y="186"/>
                    <a:pt x="72" y="186"/>
                  </a:cubicBezTo>
                  <a:cubicBezTo>
                    <a:pt x="72" y="186"/>
                    <a:pt x="72" y="186"/>
                    <a:pt x="72" y="186"/>
                  </a:cubicBezTo>
                  <a:cubicBezTo>
                    <a:pt x="72" y="186"/>
                    <a:pt x="72" y="186"/>
                    <a:pt x="72" y="186"/>
                  </a:cubicBezTo>
                  <a:cubicBezTo>
                    <a:pt x="72" y="187"/>
                    <a:pt x="72" y="187"/>
                    <a:pt x="72" y="187"/>
                  </a:cubicBezTo>
                  <a:cubicBezTo>
                    <a:pt x="71" y="187"/>
                    <a:pt x="71" y="187"/>
                    <a:pt x="71" y="187"/>
                  </a:cubicBezTo>
                  <a:cubicBezTo>
                    <a:pt x="71" y="188"/>
                    <a:pt x="71" y="188"/>
                    <a:pt x="71" y="188"/>
                  </a:cubicBezTo>
                  <a:cubicBezTo>
                    <a:pt x="71" y="188"/>
                    <a:pt x="71" y="188"/>
                    <a:pt x="71" y="188"/>
                  </a:cubicBezTo>
                  <a:cubicBezTo>
                    <a:pt x="71" y="189"/>
                    <a:pt x="71" y="189"/>
                    <a:pt x="71" y="189"/>
                  </a:cubicBezTo>
                  <a:cubicBezTo>
                    <a:pt x="71" y="189"/>
                    <a:pt x="71" y="189"/>
                    <a:pt x="71" y="189"/>
                  </a:cubicBezTo>
                  <a:cubicBezTo>
                    <a:pt x="70" y="190"/>
                    <a:pt x="70" y="190"/>
                    <a:pt x="70" y="190"/>
                  </a:cubicBezTo>
                  <a:cubicBezTo>
                    <a:pt x="70" y="190"/>
                    <a:pt x="70" y="190"/>
                    <a:pt x="70" y="190"/>
                  </a:cubicBezTo>
                  <a:cubicBezTo>
                    <a:pt x="70" y="190"/>
                    <a:pt x="70" y="190"/>
                    <a:pt x="70" y="190"/>
                  </a:cubicBezTo>
                  <a:cubicBezTo>
                    <a:pt x="70" y="191"/>
                    <a:pt x="70" y="191"/>
                    <a:pt x="70" y="191"/>
                  </a:cubicBezTo>
                  <a:cubicBezTo>
                    <a:pt x="70" y="191"/>
                    <a:pt x="70" y="191"/>
                    <a:pt x="70" y="191"/>
                  </a:cubicBezTo>
                  <a:cubicBezTo>
                    <a:pt x="70" y="191"/>
                    <a:pt x="70" y="191"/>
                    <a:pt x="70" y="191"/>
                  </a:cubicBezTo>
                  <a:cubicBezTo>
                    <a:pt x="70" y="191"/>
                    <a:pt x="70" y="191"/>
                    <a:pt x="70" y="191"/>
                  </a:cubicBezTo>
                  <a:cubicBezTo>
                    <a:pt x="71" y="191"/>
                    <a:pt x="71" y="191"/>
                    <a:pt x="71" y="191"/>
                  </a:cubicBezTo>
                  <a:cubicBezTo>
                    <a:pt x="72" y="191"/>
                    <a:pt x="72" y="191"/>
                    <a:pt x="72" y="191"/>
                  </a:cubicBezTo>
                  <a:cubicBezTo>
                    <a:pt x="72" y="191"/>
                    <a:pt x="72" y="191"/>
                    <a:pt x="72" y="191"/>
                  </a:cubicBezTo>
                  <a:cubicBezTo>
                    <a:pt x="72" y="191"/>
                    <a:pt x="72" y="191"/>
                    <a:pt x="72" y="191"/>
                  </a:cubicBezTo>
                  <a:cubicBezTo>
                    <a:pt x="72" y="191"/>
                    <a:pt x="72" y="191"/>
                    <a:pt x="72" y="191"/>
                  </a:cubicBezTo>
                  <a:cubicBezTo>
                    <a:pt x="72" y="191"/>
                    <a:pt x="72" y="191"/>
                    <a:pt x="72" y="191"/>
                  </a:cubicBezTo>
                  <a:cubicBezTo>
                    <a:pt x="72" y="190"/>
                    <a:pt x="72" y="190"/>
                    <a:pt x="72" y="190"/>
                  </a:cubicBezTo>
                  <a:cubicBezTo>
                    <a:pt x="72" y="190"/>
                    <a:pt x="72" y="190"/>
                    <a:pt x="72" y="190"/>
                  </a:cubicBezTo>
                  <a:cubicBezTo>
                    <a:pt x="72" y="190"/>
                    <a:pt x="72" y="190"/>
                    <a:pt x="72" y="190"/>
                  </a:cubicBezTo>
                  <a:cubicBezTo>
                    <a:pt x="72" y="190"/>
                    <a:pt x="72" y="190"/>
                    <a:pt x="72" y="190"/>
                  </a:cubicBezTo>
                  <a:cubicBezTo>
                    <a:pt x="72" y="190"/>
                    <a:pt x="72" y="190"/>
                    <a:pt x="72" y="190"/>
                  </a:cubicBezTo>
                  <a:cubicBezTo>
                    <a:pt x="73" y="190"/>
                    <a:pt x="73" y="190"/>
                    <a:pt x="73" y="190"/>
                  </a:cubicBezTo>
                  <a:cubicBezTo>
                    <a:pt x="73" y="189"/>
                    <a:pt x="73" y="189"/>
                    <a:pt x="73" y="189"/>
                  </a:cubicBezTo>
                  <a:cubicBezTo>
                    <a:pt x="73" y="189"/>
                    <a:pt x="73" y="189"/>
                    <a:pt x="73" y="189"/>
                  </a:cubicBezTo>
                  <a:cubicBezTo>
                    <a:pt x="73" y="189"/>
                    <a:pt x="73" y="189"/>
                    <a:pt x="73" y="189"/>
                  </a:cubicBezTo>
                  <a:cubicBezTo>
                    <a:pt x="74" y="187"/>
                    <a:pt x="74" y="187"/>
                    <a:pt x="74" y="187"/>
                  </a:cubicBezTo>
                  <a:cubicBezTo>
                    <a:pt x="74" y="186"/>
                    <a:pt x="74" y="186"/>
                    <a:pt x="74" y="186"/>
                  </a:cubicBezTo>
                  <a:cubicBezTo>
                    <a:pt x="75" y="185"/>
                    <a:pt x="75" y="185"/>
                    <a:pt x="75" y="185"/>
                  </a:cubicBezTo>
                  <a:cubicBezTo>
                    <a:pt x="75" y="184"/>
                    <a:pt x="75" y="184"/>
                    <a:pt x="75" y="184"/>
                  </a:cubicBezTo>
                  <a:cubicBezTo>
                    <a:pt x="75" y="183"/>
                    <a:pt x="75" y="183"/>
                    <a:pt x="75" y="183"/>
                  </a:cubicBezTo>
                  <a:cubicBezTo>
                    <a:pt x="75" y="182"/>
                    <a:pt x="75" y="182"/>
                    <a:pt x="75" y="182"/>
                  </a:cubicBezTo>
                  <a:cubicBezTo>
                    <a:pt x="75" y="181"/>
                    <a:pt x="75" y="181"/>
                    <a:pt x="75" y="181"/>
                  </a:cubicBezTo>
                  <a:cubicBezTo>
                    <a:pt x="75" y="181"/>
                    <a:pt x="75" y="181"/>
                    <a:pt x="75" y="181"/>
                  </a:cubicBezTo>
                  <a:cubicBezTo>
                    <a:pt x="75" y="180"/>
                    <a:pt x="75" y="180"/>
                    <a:pt x="75" y="180"/>
                  </a:cubicBezTo>
                  <a:cubicBezTo>
                    <a:pt x="74" y="180"/>
                    <a:pt x="74" y="180"/>
                    <a:pt x="74" y="180"/>
                  </a:cubicBezTo>
                  <a:cubicBezTo>
                    <a:pt x="74" y="180"/>
                    <a:pt x="74" y="180"/>
                    <a:pt x="74" y="180"/>
                  </a:cubicBezTo>
                  <a:cubicBezTo>
                    <a:pt x="74" y="180"/>
                    <a:pt x="74" y="180"/>
                    <a:pt x="74" y="180"/>
                  </a:cubicBezTo>
                  <a:cubicBezTo>
                    <a:pt x="73" y="178"/>
                    <a:pt x="73" y="178"/>
                    <a:pt x="73" y="178"/>
                  </a:cubicBezTo>
                  <a:cubicBezTo>
                    <a:pt x="72" y="177"/>
                    <a:pt x="72" y="177"/>
                    <a:pt x="72" y="177"/>
                  </a:cubicBezTo>
                  <a:cubicBezTo>
                    <a:pt x="72" y="177"/>
                    <a:pt x="72" y="177"/>
                    <a:pt x="72" y="177"/>
                  </a:cubicBezTo>
                  <a:cubicBezTo>
                    <a:pt x="71" y="176"/>
                    <a:pt x="71" y="176"/>
                    <a:pt x="71" y="176"/>
                  </a:cubicBezTo>
                  <a:cubicBezTo>
                    <a:pt x="70" y="176"/>
                    <a:pt x="70" y="176"/>
                    <a:pt x="70" y="176"/>
                  </a:cubicBezTo>
                  <a:cubicBezTo>
                    <a:pt x="70" y="176"/>
                    <a:pt x="70" y="176"/>
                    <a:pt x="70" y="176"/>
                  </a:cubicBezTo>
                  <a:cubicBezTo>
                    <a:pt x="70" y="176"/>
                    <a:pt x="70" y="176"/>
                    <a:pt x="70" y="176"/>
                  </a:cubicBezTo>
                  <a:cubicBezTo>
                    <a:pt x="70" y="176"/>
                    <a:pt x="70" y="176"/>
                    <a:pt x="70" y="176"/>
                  </a:cubicBezTo>
                  <a:cubicBezTo>
                    <a:pt x="70" y="176"/>
                    <a:pt x="70" y="176"/>
                    <a:pt x="70" y="176"/>
                  </a:cubicBezTo>
                  <a:cubicBezTo>
                    <a:pt x="69" y="176"/>
                    <a:pt x="69" y="176"/>
                    <a:pt x="69" y="176"/>
                  </a:cubicBezTo>
                  <a:cubicBezTo>
                    <a:pt x="70" y="176"/>
                    <a:pt x="70" y="176"/>
                    <a:pt x="70" y="176"/>
                  </a:cubicBezTo>
                  <a:cubicBezTo>
                    <a:pt x="70" y="177"/>
                    <a:pt x="70" y="177"/>
                    <a:pt x="70" y="177"/>
                  </a:cubicBezTo>
                  <a:cubicBezTo>
                    <a:pt x="70" y="177"/>
                    <a:pt x="70" y="177"/>
                    <a:pt x="70" y="177"/>
                  </a:cubicBezTo>
                  <a:cubicBezTo>
                    <a:pt x="69" y="177"/>
                    <a:pt x="69" y="177"/>
                    <a:pt x="69" y="177"/>
                  </a:cubicBezTo>
                  <a:cubicBezTo>
                    <a:pt x="69" y="178"/>
                    <a:pt x="69" y="178"/>
                    <a:pt x="69" y="178"/>
                  </a:cubicBezTo>
                  <a:cubicBezTo>
                    <a:pt x="69" y="178"/>
                    <a:pt x="69" y="178"/>
                    <a:pt x="69" y="178"/>
                  </a:cubicBezTo>
                  <a:cubicBezTo>
                    <a:pt x="69" y="178"/>
                    <a:pt x="69" y="178"/>
                    <a:pt x="69" y="178"/>
                  </a:cubicBezTo>
                  <a:lnTo>
                    <a:pt x="69" y="179"/>
                  </a:lnTo>
                  <a:close/>
                  <a:moveTo>
                    <a:pt x="55" y="143"/>
                  </a:moveTo>
                  <a:cubicBezTo>
                    <a:pt x="54" y="143"/>
                    <a:pt x="54" y="143"/>
                    <a:pt x="54" y="143"/>
                  </a:cubicBezTo>
                  <a:cubicBezTo>
                    <a:pt x="54" y="144"/>
                    <a:pt x="54" y="144"/>
                    <a:pt x="54" y="144"/>
                  </a:cubicBezTo>
                  <a:cubicBezTo>
                    <a:pt x="54" y="144"/>
                    <a:pt x="54" y="144"/>
                    <a:pt x="54" y="144"/>
                  </a:cubicBezTo>
                  <a:cubicBezTo>
                    <a:pt x="54" y="144"/>
                    <a:pt x="54" y="144"/>
                    <a:pt x="54" y="144"/>
                  </a:cubicBezTo>
                  <a:cubicBezTo>
                    <a:pt x="54" y="145"/>
                    <a:pt x="54" y="145"/>
                    <a:pt x="54" y="145"/>
                  </a:cubicBezTo>
                  <a:cubicBezTo>
                    <a:pt x="54" y="145"/>
                    <a:pt x="54" y="145"/>
                    <a:pt x="54" y="145"/>
                  </a:cubicBezTo>
                  <a:cubicBezTo>
                    <a:pt x="53" y="145"/>
                    <a:pt x="53" y="145"/>
                    <a:pt x="53" y="145"/>
                  </a:cubicBezTo>
                  <a:cubicBezTo>
                    <a:pt x="53" y="146"/>
                    <a:pt x="53" y="146"/>
                    <a:pt x="53" y="146"/>
                  </a:cubicBezTo>
                  <a:cubicBezTo>
                    <a:pt x="53" y="146"/>
                    <a:pt x="53" y="146"/>
                    <a:pt x="53" y="146"/>
                  </a:cubicBezTo>
                  <a:cubicBezTo>
                    <a:pt x="55" y="145"/>
                    <a:pt x="55" y="145"/>
                    <a:pt x="55" y="145"/>
                  </a:cubicBezTo>
                  <a:cubicBezTo>
                    <a:pt x="55" y="145"/>
                    <a:pt x="55" y="145"/>
                    <a:pt x="55" y="145"/>
                  </a:cubicBezTo>
                  <a:cubicBezTo>
                    <a:pt x="56" y="144"/>
                    <a:pt x="56" y="144"/>
                    <a:pt x="56" y="144"/>
                  </a:cubicBezTo>
                  <a:cubicBezTo>
                    <a:pt x="56" y="144"/>
                    <a:pt x="56" y="144"/>
                    <a:pt x="56" y="144"/>
                  </a:cubicBezTo>
                  <a:cubicBezTo>
                    <a:pt x="57" y="144"/>
                    <a:pt x="57" y="144"/>
                    <a:pt x="57" y="144"/>
                  </a:cubicBezTo>
                  <a:cubicBezTo>
                    <a:pt x="57" y="143"/>
                    <a:pt x="57" y="143"/>
                    <a:pt x="57" y="143"/>
                  </a:cubicBezTo>
                  <a:cubicBezTo>
                    <a:pt x="57" y="143"/>
                    <a:pt x="57" y="143"/>
                    <a:pt x="57" y="143"/>
                  </a:cubicBezTo>
                  <a:cubicBezTo>
                    <a:pt x="57" y="143"/>
                    <a:pt x="57" y="143"/>
                    <a:pt x="57" y="143"/>
                  </a:cubicBezTo>
                  <a:cubicBezTo>
                    <a:pt x="57" y="143"/>
                    <a:pt x="57" y="143"/>
                    <a:pt x="57" y="143"/>
                  </a:cubicBezTo>
                  <a:cubicBezTo>
                    <a:pt x="57" y="143"/>
                    <a:pt x="57" y="143"/>
                    <a:pt x="57" y="143"/>
                  </a:cubicBezTo>
                  <a:cubicBezTo>
                    <a:pt x="57" y="143"/>
                    <a:pt x="57" y="143"/>
                    <a:pt x="57" y="143"/>
                  </a:cubicBezTo>
                  <a:cubicBezTo>
                    <a:pt x="56" y="143"/>
                    <a:pt x="56" y="143"/>
                    <a:pt x="56" y="143"/>
                  </a:cubicBezTo>
                  <a:cubicBezTo>
                    <a:pt x="56" y="143"/>
                    <a:pt x="56" y="143"/>
                    <a:pt x="56" y="143"/>
                  </a:cubicBezTo>
                  <a:cubicBezTo>
                    <a:pt x="56" y="143"/>
                    <a:pt x="56" y="143"/>
                    <a:pt x="56" y="143"/>
                  </a:cubicBezTo>
                  <a:cubicBezTo>
                    <a:pt x="56" y="143"/>
                    <a:pt x="56" y="143"/>
                    <a:pt x="56" y="143"/>
                  </a:cubicBezTo>
                  <a:cubicBezTo>
                    <a:pt x="56" y="143"/>
                    <a:pt x="56" y="143"/>
                    <a:pt x="56" y="143"/>
                  </a:cubicBezTo>
                  <a:cubicBezTo>
                    <a:pt x="56" y="143"/>
                    <a:pt x="56" y="143"/>
                    <a:pt x="56" y="143"/>
                  </a:cubicBezTo>
                  <a:cubicBezTo>
                    <a:pt x="55" y="142"/>
                    <a:pt x="55" y="142"/>
                    <a:pt x="55" y="142"/>
                  </a:cubicBezTo>
                  <a:cubicBezTo>
                    <a:pt x="55" y="142"/>
                    <a:pt x="55" y="142"/>
                    <a:pt x="55" y="142"/>
                  </a:cubicBezTo>
                  <a:cubicBezTo>
                    <a:pt x="55" y="142"/>
                    <a:pt x="55" y="142"/>
                    <a:pt x="55" y="142"/>
                  </a:cubicBezTo>
                  <a:cubicBezTo>
                    <a:pt x="55" y="142"/>
                    <a:pt x="55" y="142"/>
                    <a:pt x="55" y="142"/>
                  </a:cubicBezTo>
                  <a:cubicBezTo>
                    <a:pt x="55" y="143"/>
                    <a:pt x="55" y="143"/>
                    <a:pt x="55" y="143"/>
                  </a:cubicBezTo>
                  <a:cubicBezTo>
                    <a:pt x="55" y="143"/>
                    <a:pt x="55" y="143"/>
                    <a:pt x="55" y="143"/>
                  </a:cubicBezTo>
                  <a:cubicBezTo>
                    <a:pt x="55" y="143"/>
                    <a:pt x="55" y="143"/>
                    <a:pt x="55" y="143"/>
                  </a:cubicBezTo>
                  <a:cubicBezTo>
                    <a:pt x="55" y="143"/>
                    <a:pt x="55" y="143"/>
                    <a:pt x="55" y="143"/>
                  </a:cubicBezTo>
                  <a:close/>
                  <a:moveTo>
                    <a:pt x="73" y="170"/>
                  </a:moveTo>
                  <a:cubicBezTo>
                    <a:pt x="74" y="171"/>
                    <a:pt x="74" y="171"/>
                    <a:pt x="74" y="171"/>
                  </a:cubicBezTo>
                  <a:cubicBezTo>
                    <a:pt x="74" y="170"/>
                    <a:pt x="74" y="170"/>
                    <a:pt x="74" y="170"/>
                  </a:cubicBezTo>
                  <a:cubicBezTo>
                    <a:pt x="74" y="170"/>
                    <a:pt x="74" y="170"/>
                    <a:pt x="74" y="170"/>
                  </a:cubicBezTo>
                  <a:cubicBezTo>
                    <a:pt x="74" y="169"/>
                    <a:pt x="74" y="169"/>
                    <a:pt x="74" y="169"/>
                  </a:cubicBezTo>
                  <a:cubicBezTo>
                    <a:pt x="74" y="169"/>
                    <a:pt x="74" y="169"/>
                    <a:pt x="74" y="169"/>
                  </a:cubicBezTo>
                  <a:cubicBezTo>
                    <a:pt x="75" y="169"/>
                    <a:pt x="75" y="169"/>
                    <a:pt x="75" y="169"/>
                  </a:cubicBezTo>
                  <a:cubicBezTo>
                    <a:pt x="75" y="168"/>
                    <a:pt x="75" y="168"/>
                    <a:pt x="75" y="168"/>
                  </a:cubicBezTo>
                  <a:cubicBezTo>
                    <a:pt x="75" y="168"/>
                    <a:pt x="75" y="168"/>
                    <a:pt x="75" y="168"/>
                  </a:cubicBezTo>
                  <a:cubicBezTo>
                    <a:pt x="75" y="168"/>
                    <a:pt x="75" y="168"/>
                    <a:pt x="75" y="168"/>
                  </a:cubicBezTo>
                  <a:cubicBezTo>
                    <a:pt x="74" y="168"/>
                    <a:pt x="74" y="168"/>
                    <a:pt x="74" y="168"/>
                  </a:cubicBezTo>
                  <a:cubicBezTo>
                    <a:pt x="74" y="168"/>
                    <a:pt x="74" y="168"/>
                    <a:pt x="74" y="168"/>
                  </a:cubicBezTo>
                  <a:cubicBezTo>
                    <a:pt x="73" y="168"/>
                    <a:pt x="73" y="168"/>
                    <a:pt x="73" y="168"/>
                  </a:cubicBezTo>
                  <a:cubicBezTo>
                    <a:pt x="72" y="168"/>
                    <a:pt x="72" y="168"/>
                    <a:pt x="72" y="168"/>
                  </a:cubicBezTo>
                  <a:cubicBezTo>
                    <a:pt x="72" y="168"/>
                    <a:pt x="72" y="168"/>
                    <a:pt x="72" y="168"/>
                  </a:cubicBezTo>
                  <a:cubicBezTo>
                    <a:pt x="72" y="168"/>
                    <a:pt x="72" y="168"/>
                    <a:pt x="72" y="168"/>
                  </a:cubicBezTo>
                  <a:cubicBezTo>
                    <a:pt x="72" y="168"/>
                    <a:pt x="72" y="168"/>
                    <a:pt x="72" y="168"/>
                  </a:cubicBezTo>
                  <a:cubicBezTo>
                    <a:pt x="71" y="168"/>
                    <a:pt x="71" y="168"/>
                    <a:pt x="71" y="168"/>
                  </a:cubicBezTo>
                  <a:cubicBezTo>
                    <a:pt x="71" y="168"/>
                    <a:pt x="71" y="168"/>
                    <a:pt x="71" y="168"/>
                  </a:cubicBezTo>
                  <a:cubicBezTo>
                    <a:pt x="71" y="169"/>
                    <a:pt x="71" y="169"/>
                    <a:pt x="71" y="169"/>
                  </a:cubicBezTo>
                  <a:cubicBezTo>
                    <a:pt x="70" y="169"/>
                    <a:pt x="70" y="169"/>
                    <a:pt x="70" y="169"/>
                  </a:cubicBezTo>
                  <a:cubicBezTo>
                    <a:pt x="70" y="170"/>
                    <a:pt x="70" y="170"/>
                    <a:pt x="70" y="170"/>
                  </a:cubicBezTo>
                  <a:cubicBezTo>
                    <a:pt x="70" y="171"/>
                    <a:pt x="70" y="171"/>
                    <a:pt x="70" y="171"/>
                  </a:cubicBezTo>
                  <a:cubicBezTo>
                    <a:pt x="70" y="172"/>
                    <a:pt x="70" y="172"/>
                    <a:pt x="70" y="172"/>
                  </a:cubicBezTo>
                  <a:cubicBezTo>
                    <a:pt x="69" y="172"/>
                    <a:pt x="69" y="172"/>
                    <a:pt x="69" y="172"/>
                  </a:cubicBezTo>
                  <a:cubicBezTo>
                    <a:pt x="69" y="173"/>
                    <a:pt x="69" y="173"/>
                    <a:pt x="69" y="173"/>
                  </a:cubicBezTo>
                  <a:cubicBezTo>
                    <a:pt x="69" y="174"/>
                    <a:pt x="69" y="174"/>
                    <a:pt x="69" y="174"/>
                  </a:cubicBezTo>
                  <a:cubicBezTo>
                    <a:pt x="69" y="173"/>
                    <a:pt x="69" y="173"/>
                    <a:pt x="69" y="173"/>
                  </a:cubicBezTo>
                  <a:cubicBezTo>
                    <a:pt x="70" y="173"/>
                    <a:pt x="70" y="173"/>
                    <a:pt x="70" y="173"/>
                  </a:cubicBezTo>
                  <a:cubicBezTo>
                    <a:pt x="70" y="173"/>
                    <a:pt x="70" y="173"/>
                    <a:pt x="70" y="173"/>
                  </a:cubicBezTo>
                  <a:cubicBezTo>
                    <a:pt x="70" y="173"/>
                    <a:pt x="70" y="173"/>
                    <a:pt x="70" y="173"/>
                  </a:cubicBezTo>
                  <a:cubicBezTo>
                    <a:pt x="70" y="173"/>
                    <a:pt x="70" y="173"/>
                    <a:pt x="70" y="173"/>
                  </a:cubicBezTo>
                  <a:cubicBezTo>
                    <a:pt x="71" y="172"/>
                    <a:pt x="71" y="172"/>
                    <a:pt x="71" y="172"/>
                  </a:cubicBezTo>
                  <a:cubicBezTo>
                    <a:pt x="71" y="172"/>
                    <a:pt x="71" y="172"/>
                    <a:pt x="71" y="172"/>
                  </a:cubicBezTo>
                  <a:cubicBezTo>
                    <a:pt x="71" y="171"/>
                    <a:pt x="71" y="171"/>
                    <a:pt x="71" y="171"/>
                  </a:cubicBezTo>
                  <a:cubicBezTo>
                    <a:pt x="71" y="171"/>
                    <a:pt x="71" y="171"/>
                    <a:pt x="71" y="171"/>
                  </a:cubicBezTo>
                  <a:cubicBezTo>
                    <a:pt x="71" y="171"/>
                    <a:pt x="71" y="171"/>
                    <a:pt x="71" y="171"/>
                  </a:cubicBezTo>
                  <a:cubicBezTo>
                    <a:pt x="72" y="170"/>
                    <a:pt x="72" y="170"/>
                    <a:pt x="72" y="170"/>
                  </a:cubicBezTo>
                  <a:lnTo>
                    <a:pt x="73" y="170"/>
                  </a:lnTo>
                  <a:close/>
                  <a:moveTo>
                    <a:pt x="55" y="147"/>
                  </a:moveTo>
                  <a:cubicBezTo>
                    <a:pt x="56" y="147"/>
                    <a:pt x="56" y="147"/>
                    <a:pt x="56" y="147"/>
                  </a:cubicBezTo>
                  <a:cubicBezTo>
                    <a:pt x="56" y="147"/>
                    <a:pt x="56" y="147"/>
                    <a:pt x="56" y="147"/>
                  </a:cubicBezTo>
                  <a:cubicBezTo>
                    <a:pt x="56" y="146"/>
                    <a:pt x="56" y="146"/>
                    <a:pt x="56" y="146"/>
                  </a:cubicBezTo>
                  <a:cubicBezTo>
                    <a:pt x="56" y="146"/>
                    <a:pt x="56" y="146"/>
                    <a:pt x="56" y="146"/>
                  </a:cubicBezTo>
                  <a:cubicBezTo>
                    <a:pt x="55" y="146"/>
                    <a:pt x="55" y="146"/>
                    <a:pt x="55" y="146"/>
                  </a:cubicBezTo>
                  <a:cubicBezTo>
                    <a:pt x="55" y="146"/>
                    <a:pt x="55" y="146"/>
                    <a:pt x="55" y="146"/>
                  </a:cubicBezTo>
                  <a:cubicBezTo>
                    <a:pt x="54" y="146"/>
                    <a:pt x="54" y="146"/>
                    <a:pt x="54" y="146"/>
                  </a:cubicBezTo>
                  <a:cubicBezTo>
                    <a:pt x="55" y="147"/>
                    <a:pt x="55" y="147"/>
                    <a:pt x="55" y="147"/>
                  </a:cubicBezTo>
                  <a:cubicBezTo>
                    <a:pt x="55" y="147"/>
                    <a:pt x="55" y="147"/>
                    <a:pt x="55" y="147"/>
                  </a:cubicBezTo>
                  <a:close/>
                  <a:moveTo>
                    <a:pt x="54" y="152"/>
                  </a:moveTo>
                  <a:cubicBezTo>
                    <a:pt x="54" y="152"/>
                    <a:pt x="54" y="152"/>
                    <a:pt x="54" y="152"/>
                  </a:cubicBezTo>
                  <a:cubicBezTo>
                    <a:pt x="54" y="152"/>
                    <a:pt x="54" y="152"/>
                    <a:pt x="54" y="152"/>
                  </a:cubicBezTo>
                  <a:cubicBezTo>
                    <a:pt x="54" y="152"/>
                    <a:pt x="54" y="152"/>
                    <a:pt x="54" y="152"/>
                  </a:cubicBezTo>
                  <a:cubicBezTo>
                    <a:pt x="54" y="153"/>
                    <a:pt x="54" y="153"/>
                    <a:pt x="54" y="153"/>
                  </a:cubicBezTo>
                  <a:cubicBezTo>
                    <a:pt x="54" y="153"/>
                    <a:pt x="54" y="153"/>
                    <a:pt x="54" y="153"/>
                  </a:cubicBezTo>
                  <a:cubicBezTo>
                    <a:pt x="54" y="153"/>
                    <a:pt x="54" y="153"/>
                    <a:pt x="54" y="153"/>
                  </a:cubicBezTo>
                  <a:cubicBezTo>
                    <a:pt x="55" y="154"/>
                    <a:pt x="55" y="154"/>
                    <a:pt x="55" y="154"/>
                  </a:cubicBezTo>
                  <a:cubicBezTo>
                    <a:pt x="55" y="154"/>
                    <a:pt x="55" y="154"/>
                    <a:pt x="55" y="154"/>
                  </a:cubicBezTo>
                  <a:cubicBezTo>
                    <a:pt x="55" y="154"/>
                    <a:pt x="55" y="154"/>
                    <a:pt x="55" y="154"/>
                  </a:cubicBezTo>
                  <a:cubicBezTo>
                    <a:pt x="55" y="153"/>
                    <a:pt x="55" y="153"/>
                    <a:pt x="55" y="153"/>
                  </a:cubicBezTo>
                  <a:cubicBezTo>
                    <a:pt x="55" y="153"/>
                    <a:pt x="55" y="153"/>
                    <a:pt x="55" y="153"/>
                  </a:cubicBezTo>
                  <a:cubicBezTo>
                    <a:pt x="55" y="151"/>
                    <a:pt x="55" y="151"/>
                    <a:pt x="55" y="151"/>
                  </a:cubicBezTo>
                  <a:cubicBezTo>
                    <a:pt x="54" y="151"/>
                    <a:pt x="54" y="151"/>
                    <a:pt x="54" y="151"/>
                  </a:cubicBezTo>
                  <a:lnTo>
                    <a:pt x="54" y="152"/>
                  </a:lnTo>
                  <a:close/>
                  <a:moveTo>
                    <a:pt x="61" y="154"/>
                  </a:moveTo>
                  <a:cubicBezTo>
                    <a:pt x="61" y="154"/>
                    <a:pt x="61" y="154"/>
                    <a:pt x="61" y="154"/>
                  </a:cubicBezTo>
                  <a:cubicBezTo>
                    <a:pt x="60" y="154"/>
                    <a:pt x="60" y="154"/>
                    <a:pt x="60" y="154"/>
                  </a:cubicBezTo>
                  <a:cubicBezTo>
                    <a:pt x="60" y="154"/>
                    <a:pt x="60" y="154"/>
                    <a:pt x="60" y="154"/>
                  </a:cubicBezTo>
                  <a:cubicBezTo>
                    <a:pt x="60" y="154"/>
                    <a:pt x="60" y="154"/>
                    <a:pt x="60" y="154"/>
                  </a:cubicBezTo>
                  <a:cubicBezTo>
                    <a:pt x="60" y="155"/>
                    <a:pt x="60" y="155"/>
                    <a:pt x="60" y="155"/>
                  </a:cubicBezTo>
                  <a:cubicBezTo>
                    <a:pt x="60" y="155"/>
                    <a:pt x="60" y="155"/>
                    <a:pt x="60" y="155"/>
                  </a:cubicBezTo>
                  <a:cubicBezTo>
                    <a:pt x="60" y="155"/>
                    <a:pt x="60" y="155"/>
                    <a:pt x="60" y="155"/>
                  </a:cubicBezTo>
                  <a:cubicBezTo>
                    <a:pt x="60" y="155"/>
                    <a:pt x="60" y="155"/>
                    <a:pt x="60" y="155"/>
                  </a:cubicBezTo>
                  <a:cubicBezTo>
                    <a:pt x="61" y="155"/>
                    <a:pt x="61" y="155"/>
                    <a:pt x="61" y="155"/>
                  </a:cubicBezTo>
                  <a:cubicBezTo>
                    <a:pt x="61" y="155"/>
                    <a:pt x="61" y="155"/>
                    <a:pt x="61" y="155"/>
                  </a:cubicBezTo>
                  <a:cubicBezTo>
                    <a:pt x="61" y="155"/>
                    <a:pt x="61" y="155"/>
                    <a:pt x="61" y="155"/>
                  </a:cubicBezTo>
                  <a:cubicBezTo>
                    <a:pt x="61" y="154"/>
                    <a:pt x="61" y="154"/>
                    <a:pt x="61" y="154"/>
                  </a:cubicBezTo>
                  <a:cubicBezTo>
                    <a:pt x="61" y="154"/>
                    <a:pt x="61" y="154"/>
                    <a:pt x="61" y="154"/>
                  </a:cubicBezTo>
                  <a:cubicBezTo>
                    <a:pt x="61" y="154"/>
                    <a:pt x="61" y="154"/>
                    <a:pt x="61" y="154"/>
                  </a:cubicBezTo>
                  <a:close/>
                  <a:moveTo>
                    <a:pt x="56" y="149"/>
                  </a:moveTo>
                  <a:cubicBezTo>
                    <a:pt x="56" y="148"/>
                    <a:pt x="56" y="148"/>
                    <a:pt x="56" y="148"/>
                  </a:cubicBezTo>
                  <a:cubicBezTo>
                    <a:pt x="56" y="148"/>
                    <a:pt x="56" y="148"/>
                    <a:pt x="56" y="148"/>
                  </a:cubicBezTo>
                  <a:cubicBezTo>
                    <a:pt x="56" y="148"/>
                    <a:pt x="56" y="148"/>
                    <a:pt x="56" y="148"/>
                  </a:cubicBezTo>
                  <a:cubicBezTo>
                    <a:pt x="56" y="148"/>
                    <a:pt x="56" y="148"/>
                    <a:pt x="56" y="148"/>
                  </a:cubicBezTo>
                  <a:cubicBezTo>
                    <a:pt x="56" y="148"/>
                    <a:pt x="56" y="148"/>
                    <a:pt x="56" y="148"/>
                  </a:cubicBezTo>
                  <a:cubicBezTo>
                    <a:pt x="56" y="148"/>
                    <a:pt x="56" y="148"/>
                    <a:pt x="56" y="148"/>
                  </a:cubicBezTo>
                  <a:cubicBezTo>
                    <a:pt x="56" y="148"/>
                    <a:pt x="56" y="148"/>
                    <a:pt x="56" y="148"/>
                  </a:cubicBezTo>
                  <a:cubicBezTo>
                    <a:pt x="56" y="148"/>
                    <a:pt x="56" y="148"/>
                    <a:pt x="56" y="148"/>
                  </a:cubicBezTo>
                  <a:cubicBezTo>
                    <a:pt x="56" y="147"/>
                    <a:pt x="56" y="147"/>
                    <a:pt x="56" y="147"/>
                  </a:cubicBezTo>
                  <a:cubicBezTo>
                    <a:pt x="56" y="148"/>
                    <a:pt x="56" y="148"/>
                    <a:pt x="56" y="148"/>
                  </a:cubicBezTo>
                  <a:cubicBezTo>
                    <a:pt x="56" y="147"/>
                    <a:pt x="56" y="147"/>
                    <a:pt x="56" y="147"/>
                  </a:cubicBezTo>
                  <a:cubicBezTo>
                    <a:pt x="56" y="148"/>
                    <a:pt x="56" y="148"/>
                    <a:pt x="56" y="148"/>
                  </a:cubicBezTo>
                  <a:cubicBezTo>
                    <a:pt x="56" y="148"/>
                    <a:pt x="56" y="148"/>
                    <a:pt x="56" y="148"/>
                  </a:cubicBezTo>
                  <a:cubicBezTo>
                    <a:pt x="55" y="148"/>
                    <a:pt x="55" y="148"/>
                    <a:pt x="55" y="148"/>
                  </a:cubicBezTo>
                  <a:cubicBezTo>
                    <a:pt x="55" y="148"/>
                    <a:pt x="55" y="148"/>
                    <a:pt x="55" y="148"/>
                  </a:cubicBezTo>
                  <a:cubicBezTo>
                    <a:pt x="56" y="148"/>
                    <a:pt x="56" y="148"/>
                    <a:pt x="56" y="148"/>
                  </a:cubicBezTo>
                  <a:lnTo>
                    <a:pt x="56" y="149"/>
                  </a:lnTo>
                  <a:close/>
                  <a:moveTo>
                    <a:pt x="71" y="228"/>
                  </a:moveTo>
                  <a:cubicBezTo>
                    <a:pt x="71" y="228"/>
                    <a:pt x="71" y="228"/>
                    <a:pt x="71" y="228"/>
                  </a:cubicBezTo>
                  <a:cubicBezTo>
                    <a:pt x="72" y="229"/>
                    <a:pt x="72" y="229"/>
                    <a:pt x="72" y="229"/>
                  </a:cubicBezTo>
                  <a:cubicBezTo>
                    <a:pt x="72" y="229"/>
                    <a:pt x="72" y="229"/>
                    <a:pt x="72" y="229"/>
                  </a:cubicBezTo>
                  <a:cubicBezTo>
                    <a:pt x="72" y="229"/>
                    <a:pt x="72" y="229"/>
                    <a:pt x="72" y="229"/>
                  </a:cubicBezTo>
                  <a:cubicBezTo>
                    <a:pt x="72" y="229"/>
                    <a:pt x="72" y="229"/>
                    <a:pt x="72" y="229"/>
                  </a:cubicBezTo>
                  <a:cubicBezTo>
                    <a:pt x="72" y="229"/>
                    <a:pt x="72" y="229"/>
                    <a:pt x="72" y="229"/>
                  </a:cubicBezTo>
                  <a:cubicBezTo>
                    <a:pt x="72" y="229"/>
                    <a:pt x="72" y="229"/>
                    <a:pt x="72" y="229"/>
                  </a:cubicBezTo>
                  <a:cubicBezTo>
                    <a:pt x="72" y="228"/>
                    <a:pt x="72" y="228"/>
                    <a:pt x="72" y="228"/>
                  </a:cubicBezTo>
                  <a:cubicBezTo>
                    <a:pt x="72" y="228"/>
                    <a:pt x="72" y="228"/>
                    <a:pt x="72" y="228"/>
                  </a:cubicBezTo>
                  <a:cubicBezTo>
                    <a:pt x="72" y="228"/>
                    <a:pt x="72" y="228"/>
                    <a:pt x="72" y="228"/>
                  </a:cubicBezTo>
                  <a:cubicBezTo>
                    <a:pt x="72" y="228"/>
                    <a:pt x="72" y="228"/>
                    <a:pt x="72" y="228"/>
                  </a:cubicBezTo>
                  <a:cubicBezTo>
                    <a:pt x="72" y="228"/>
                    <a:pt x="72" y="228"/>
                    <a:pt x="72" y="228"/>
                  </a:cubicBezTo>
                  <a:cubicBezTo>
                    <a:pt x="72" y="228"/>
                    <a:pt x="72" y="228"/>
                    <a:pt x="72" y="228"/>
                  </a:cubicBezTo>
                  <a:cubicBezTo>
                    <a:pt x="71" y="228"/>
                    <a:pt x="71" y="228"/>
                    <a:pt x="71" y="228"/>
                  </a:cubicBezTo>
                  <a:cubicBezTo>
                    <a:pt x="71" y="228"/>
                    <a:pt x="71" y="228"/>
                    <a:pt x="71" y="228"/>
                  </a:cubicBezTo>
                  <a:cubicBezTo>
                    <a:pt x="71" y="228"/>
                    <a:pt x="71" y="228"/>
                    <a:pt x="71" y="228"/>
                  </a:cubicBezTo>
                  <a:cubicBezTo>
                    <a:pt x="71" y="228"/>
                    <a:pt x="71" y="228"/>
                    <a:pt x="71" y="228"/>
                  </a:cubicBezTo>
                  <a:cubicBezTo>
                    <a:pt x="71" y="228"/>
                    <a:pt x="71" y="228"/>
                    <a:pt x="71" y="228"/>
                  </a:cubicBezTo>
                  <a:cubicBezTo>
                    <a:pt x="71" y="228"/>
                    <a:pt x="71" y="228"/>
                    <a:pt x="71" y="228"/>
                  </a:cubicBezTo>
                  <a:close/>
                  <a:moveTo>
                    <a:pt x="62" y="228"/>
                  </a:moveTo>
                  <a:cubicBezTo>
                    <a:pt x="62" y="228"/>
                    <a:pt x="62" y="228"/>
                    <a:pt x="62" y="228"/>
                  </a:cubicBezTo>
                  <a:cubicBezTo>
                    <a:pt x="62" y="228"/>
                    <a:pt x="62" y="228"/>
                    <a:pt x="62" y="228"/>
                  </a:cubicBezTo>
                  <a:cubicBezTo>
                    <a:pt x="62" y="228"/>
                    <a:pt x="62" y="228"/>
                    <a:pt x="62" y="228"/>
                  </a:cubicBezTo>
                  <a:cubicBezTo>
                    <a:pt x="62" y="228"/>
                    <a:pt x="62" y="228"/>
                    <a:pt x="62" y="228"/>
                  </a:cubicBezTo>
                  <a:cubicBezTo>
                    <a:pt x="62" y="228"/>
                    <a:pt x="62" y="228"/>
                    <a:pt x="62" y="228"/>
                  </a:cubicBezTo>
                  <a:cubicBezTo>
                    <a:pt x="62" y="228"/>
                    <a:pt x="62" y="228"/>
                    <a:pt x="62" y="228"/>
                  </a:cubicBezTo>
                  <a:cubicBezTo>
                    <a:pt x="62" y="228"/>
                    <a:pt x="62" y="228"/>
                    <a:pt x="62" y="228"/>
                  </a:cubicBezTo>
                  <a:cubicBezTo>
                    <a:pt x="62" y="228"/>
                    <a:pt x="62" y="228"/>
                    <a:pt x="62" y="228"/>
                  </a:cubicBezTo>
                  <a:cubicBezTo>
                    <a:pt x="62" y="228"/>
                    <a:pt x="62" y="228"/>
                    <a:pt x="62" y="228"/>
                  </a:cubicBezTo>
                  <a:cubicBezTo>
                    <a:pt x="62" y="228"/>
                    <a:pt x="62" y="228"/>
                    <a:pt x="62" y="228"/>
                  </a:cubicBezTo>
                  <a:cubicBezTo>
                    <a:pt x="62" y="228"/>
                    <a:pt x="62" y="228"/>
                    <a:pt x="62" y="228"/>
                  </a:cubicBezTo>
                  <a:cubicBezTo>
                    <a:pt x="62" y="228"/>
                    <a:pt x="62" y="228"/>
                    <a:pt x="62" y="228"/>
                  </a:cubicBezTo>
                  <a:cubicBezTo>
                    <a:pt x="62" y="228"/>
                    <a:pt x="62" y="228"/>
                    <a:pt x="62" y="228"/>
                  </a:cubicBezTo>
                  <a:close/>
                  <a:moveTo>
                    <a:pt x="106" y="266"/>
                  </a:moveTo>
                  <a:cubicBezTo>
                    <a:pt x="106" y="266"/>
                    <a:pt x="106" y="266"/>
                    <a:pt x="106" y="266"/>
                  </a:cubicBezTo>
                  <a:cubicBezTo>
                    <a:pt x="106" y="266"/>
                    <a:pt x="106" y="266"/>
                    <a:pt x="106" y="266"/>
                  </a:cubicBezTo>
                  <a:cubicBezTo>
                    <a:pt x="106" y="267"/>
                    <a:pt x="106" y="267"/>
                    <a:pt x="106" y="267"/>
                  </a:cubicBezTo>
                  <a:cubicBezTo>
                    <a:pt x="106" y="267"/>
                    <a:pt x="106" y="267"/>
                    <a:pt x="106" y="267"/>
                  </a:cubicBezTo>
                  <a:cubicBezTo>
                    <a:pt x="107" y="267"/>
                    <a:pt x="107" y="267"/>
                    <a:pt x="107" y="267"/>
                  </a:cubicBezTo>
                  <a:cubicBezTo>
                    <a:pt x="107" y="267"/>
                    <a:pt x="107" y="267"/>
                    <a:pt x="107" y="267"/>
                  </a:cubicBezTo>
                  <a:cubicBezTo>
                    <a:pt x="107" y="266"/>
                    <a:pt x="107" y="266"/>
                    <a:pt x="107" y="266"/>
                  </a:cubicBezTo>
                  <a:cubicBezTo>
                    <a:pt x="107" y="266"/>
                    <a:pt x="107" y="266"/>
                    <a:pt x="107" y="266"/>
                  </a:cubicBezTo>
                  <a:cubicBezTo>
                    <a:pt x="107" y="266"/>
                    <a:pt x="107" y="266"/>
                    <a:pt x="107" y="266"/>
                  </a:cubicBezTo>
                  <a:cubicBezTo>
                    <a:pt x="108" y="267"/>
                    <a:pt x="108" y="267"/>
                    <a:pt x="108" y="267"/>
                  </a:cubicBezTo>
                  <a:cubicBezTo>
                    <a:pt x="107" y="266"/>
                    <a:pt x="107" y="266"/>
                    <a:pt x="107" y="266"/>
                  </a:cubicBezTo>
                  <a:cubicBezTo>
                    <a:pt x="107" y="266"/>
                    <a:pt x="107" y="266"/>
                    <a:pt x="107" y="266"/>
                  </a:cubicBezTo>
                  <a:cubicBezTo>
                    <a:pt x="107" y="266"/>
                    <a:pt x="107" y="266"/>
                    <a:pt x="107" y="266"/>
                  </a:cubicBezTo>
                  <a:cubicBezTo>
                    <a:pt x="106" y="266"/>
                    <a:pt x="106" y="266"/>
                    <a:pt x="106" y="266"/>
                  </a:cubicBezTo>
                  <a:close/>
                  <a:moveTo>
                    <a:pt x="116" y="276"/>
                  </a:moveTo>
                  <a:cubicBezTo>
                    <a:pt x="116" y="276"/>
                    <a:pt x="116" y="276"/>
                    <a:pt x="116" y="276"/>
                  </a:cubicBezTo>
                  <a:cubicBezTo>
                    <a:pt x="117" y="277"/>
                    <a:pt x="117" y="277"/>
                    <a:pt x="117" y="277"/>
                  </a:cubicBezTo>
                  <a:cubicBezTo>
                    <a:pt x="117" y="277"/>
                    <a:pt x="117" y="277"/>
                    <a:pt x="117" y="277"/>
                  </a:cubicBezTo>
                  <a:cubicBezTo>
                    <a:pt x="117" y="277"/>
                    <a:pt x="117" y="277"/>
                    <a:pt x="117" y="277"/>
                  </a:cubicBezTo>
                  <a:cubicBezTo>
                    <a:pt x="117" y="277"/>
                    <a:pt x="117" y="277"/>
                    <a:pt x="117" y="277"/>
                  </a:cubicBezTo>
                  <a:cubicBezTo>
                    <a:pt x="117" y="277"/>
                    <a:pt x="117" y="277"/>
                    <a:pt x="117" y="277"/>
                  </a:cubicBezTo>
                  <a:cubicBezTo>
                    <a:pt x="117" y="277"/>
                    <a:pt x="117" y="277"/>
                    <a:pt x="117" y="277"/>
                  </a:cubicBezTo>
                  <a:cubicBezTo>
                    <a:pt x="118" y="277"/>
                    <a:pt x="118" y="277"/>
                    <a:pt x="118" y="277"/>
                  </a:cubicBezTo>
                  <a:cubicBezTo>
                    <a:pt x="118" y="277"/>
                    <a:pt x="118" y="277"/>
                    <a:pt x="118" y="277"/>
                  </a:cubicBezTo>
                  <a:cubicBezTo>
                    <a:pt x="118" y="276"/>
                    <a:pt x="118" y="276"/>
                    <a:pt x="118" y="276"/>
                  </a:cubicBezTo>
                  <a:cubicBezTo>
                    <a:pt x="117" y="276"/>
                    <a:pt x="117" y="276"/>
                    <a:pt x="117" y="276"/>
                  </a:cubicBezTo>
                  <a:cubicBezTo>
                    <a:pt x="117" y="276"/>
                    <a:pt x="117" y="276"/>
                    <a:pt x="117" y="276"/>
                  </a:cubicBezTo>
                  <a:cubicBezTo>
                    <a:pt x="116" y="276"/>
                    <a:pt x="116" y="276"/>
                    <a:pt x="116" y="276"/>
                  </a:cubicBezTo>
                  <a:cubicBezTo>
                    <a:pt x="116" y="275"/>
                    <a:pt x="116" y="275"/>
                    <a:pt x="116" y="275"/>
                  </a:cubicBezTo>
                  <a:cubicBezTo>
                    <a:pt x="116" y="275"/>
                    <a:pt x="116" y="275"/>
                    <a:pt x="116" y="275"/>
                  </a:cubicBezTo>
                  <a:cubicBezTo>
                    <a:pt x="116" y="275"/>
                    <a:pt x="116" y="275"/>
                    <a:pt x="116" y="275"/>
                  </a:cubicBezTo>
                  <a:cubicBezTo>
                    <a:pt x="116" y="275"/>
                    <a:pt x="116" y="275"/>
                    <a:pt x="116" y="275"/>
                  </a:cubicBezTo>
                  <a:cubicBezTo>
                    <a:pt x="116" y="275"/>
                    <a:pt x="116" y="275"/>
                    <a:pt x="116" y="275"/>
                  </a:cubicBezTo>
                  <a:cubicBezTo>
                    <a:pt x="116" y="275"/>
                    <a:pt x="116" y="275"/>
                    <a:pt x="116" y="275"/>
                  </a:cubicBezTo>
                  <a:cubicBezTo>
                    <a:pt x="116" y="275"/>
                    <a:pt x="116" y="275"/>
                    <a:pt x="116" y="275"/>
                  </a:cubicBezTo>
                  <a:cubicBezTo>
                    <a:pt x="116" y="276"/>
                    <a:pt x="116" y="276"/>
                    <a:pt x="116" y="276"/>
                  </a:cubicBezTo>
                  <a:cubicBezTo>
                    <a:pt x="116" y="276"/>
                    <a:pt x="116" y="276"/>
                    <a:pt x="116" y="276"/>
                  </a:cubicBezTo>
                  <a:close/>
                  <a:moveTo>
                    <a:pt x="97" y="244"/>
                  </a:moveTo>
                  <a:cubicBezTo>
                    <a:pt x="97" y="244"/>
                    <a:pt x="97" y="244"/>
                    <a:pt x="97" y="244"/>
                  </a:cubicBezTo>
                  <a:cubicBezTo>
                    <a:pt x="97" y="244"/>
                    <a:pt x="97" y="244"/>
                    <a:pt x="97" y="244"/>
                  </a:cubicBezTo>
                  <a:cubicBezTo>
                    <a:pt x="97" y="244"/>
                    <a:pt x="97" y="244"/>
                    <a:pt x="97" y="244"/>
                  </a:cubicBezTo>
                  <a:cubicBezTo>
                    <a:pt x="96" y="244"/>
                    <a:pt x="96" y="244"/>
                    <a:pt x="96" y="244"/>
                  </a:cubicBezTo>
                  <a:cubicBezTo>
                    <a:pt x="96" y="244"/>
                    <a:pt x="96" y="244"/>
                    <a:pt x="96" y="244"/>
                  </a:cubicBezTo>
                  <a:cubicBezTo>
                    <a:pt x="96" y="244"/>
                    <a:pt x="96" y="244"/>
                    <a:pt x="96" y="244"/>
                  </a:cubicBezTo>
                  <a:cubicBezTo>
                    <a:pt x="95" y="244"/>
                    <a:pt x="95" y="244"/>
                    <a:pt x="95" y="244"/>
                  </a:cubicBezTo>
                  <a:cubicBezTo>
                    <a:pt x="94" y="244"/>
                    <a:pt x="94" y="244"/>
                    <a:pt x="94" y="244"/>
                  </a:cubicBezTo>
                  <a:cubicBezTo>
                    <a:pt x="94" y="244"/>
                    <a:pt x="94" y="244"/>
                    <a:pt x="94" y="244"/>
                  </a:cubicBezTo>
                  <a:cubicBezTo>
                    <a:pt x="94" y="244"/>
                    <a:pt x="94" y="244"/>
                    <a:pt x="94" y="244"/>
                  </a:cubicBezTo>
                  <a:cubicBezTo>
                    <a:pt x="94" y="244"/>
                    <a:pt x="94" y="244"/>
                    <a:pt x="94" y="244"/>
                  </a:cubicBezTo>
                  <a:cubicBezTo>
                    <a:pt x="95" y="245"/>
                    <a:pt x="95" y="245"/>
                    <a:pt x="95" y="245"/>
                  </a:cubicBezTo>
                  <a:cubicBezTo>
                    <a:pt x="95" y="245"/>
                    <a:pt x="95" y="245"/>
                    <a:pt x="95" y="245"/>
                  </a:cubicBezTo>
                  <a:cubicBezTo>
                    <a:pt x="96" y="245"/>
                    <a:pt x="96" y="245"/>
                    <a:pt x="96" y="245"/>
                  </a:cubicBezTo>
                  <a:cubicBezTo>
                    <a:pt x="96" y="245"/>
                    <a:pt x="96" y="245"/>
                    <a:pt x="96" y="245"/>
                  </a:cubicBezTo>
                  <a:cubicBezTo>
                    <a:pt x="96" y="245"/>
                    <a:pt x="96" y="245"/>
                    <a:pt x="96" y="245"/>
                  </a:cubicBezTo>
                  <a:cubicBezTo>
                    <a:pt x="97" y="245"/>
                    <a:pt x="97" y="245"/>
                    <a:pt x="97" y="245"/>
                  </a:cubicBezTo>
                  <a:cubicBezTo>
                    <a:pt x="97" y="245"/>
                    <a:pt x="97" y="245"/>
                    <a:pt x="97" y="245"/>
                  </a:cubicBezTo>
                  <a:cubicBezTo>
                    <a:pt x="97" y="245"/>
                    <a:pt x="97" y="245"/>
                    <a:pt x="97" y="245"/>
                  </a:cubicBezTo>
                  <a:cubicBezTo>
                    <a:pt x="97" y="245"/>
                    <a:pt x="97" y="245"/>
                    <a:pt x="97" y="245"/>
                  </a:cubicBezTo>
                  <a:lnTo>
                    <a:pt x="97" y="244"/>
                  </a:lnTo>
                  <a:close/>
                  <a:moveTo>
                    <a:pt x="110" y="268"/>
                  </a:moveTo>
                  <a:cubicBezTo>
                    <a:pt x="110" y="268"/>
                    <a:pt x="110" y="268"/>
                    <a:pt x="110" y="268"/>
                  </a:cubicBezTo>
                  <a:cubicBezTo>
                    <a:pt x="111" y="269"/>
                    <a:pt x="111" y="269"/>
                    <a:pt x="111" y="269"/>
                  </a:cubicBezTo>
                  <a:cubicBezTo>
                    <a:pt x="111" y="269"/>
                    <a:pt x="111" y="269"/>
                    <a:pt x="111" y="269"/>
                  </a:cubicBezTo>
                  <a:cubicBezTo>
                    <a:pt x="111" y="269"/>
                    <a:pt x="111" y="269"/>
                    <a:pt x="111" y="269"/>
                  </a:cubicBezTo>
                  <a:cubicBezTo>
                    <a:pt x="112" y="269"/>
                    <a:pt x="112" y="269"/>
                    <a:pt x="112" y="269"/>
                  </a:cubicBezTo>
                  <a:cubicBezTo>
                    <a:pt x="112" y="269"/>
                    <a:pt x="112" y="269"/>
                    <a:pt x="112" y="269"/>
                  </a:cubicBezTo>
                  <a:cubicBezTo>
                    <a:pt x="112" y="269"/>
                    <a:pt x="112" y="269"/>
                    <a:pt x="112" y="269"/>
                  </a:cubicBezTo>
                  <a:cubicBezTo>
                    <a:pt x="113" y="269"/>
                    <a:pt x="113" y="269"/>
                    <a:pt x="113" y="269"/>
                  </a:cubicBezTo>
                  <a:cubicBezTo>
                    <a:pt x="113" y="269"/>
                    <a:pt x="113" y="269"/>
                    <a:pt x="113" y="269"/>
                  </a:cubicBezTo>
                  <a:cubicBezTo>
                    <a:pt x="113" y="269"/>
                    <a:pt x="113" y="269"/>
                    <a:pt x="113" y="269"/>
                  </a:cubicBezTo>
                  <a:cubicBezTo>
                    <a:pt x="112" y="268"/>
                    <a:pt x="112" y="268"/>
                    <a:pt x="112" y="268"/>
                  </a:cubicBezTo>
                  <a:cubicBezTo>
                    <a:pt x="112" y="268"/>
                    <a:pt x="112" y="268"/>
                    <a:pt x="112" y="268"/>
                  </a:cubicBezTo>
                  <a:cubicBezTo>
                    <a:pt x="112" y="268"/>
                    <a:pt x="112" y="268"/>
                    <a:pt x="112" y="268"/>
                  </a:cubicBezTo>
                  <a:cubicBezTo>
                    <a:pt x="112" y="268"/>
                    <a:pt x="112" y="268"/>
                    <a:pt x="112" y="268"/>
                  </a:cubicBezTo>
                  <a:cubicBezTo>
                    <a:pt x="111" y="268"/>
                    <a:pt x="111" y="268"/>
                    <a:pt x="111" y="268"/>
                  </a:cubicBezTo>
                  <a:cubicBezTo>
                    <a:pt x="111" y="268"/>
                    <a:pt x="111" y="268"/>
                    <a:pt x="111" y="268"/>
                  </a:cubicBezTo>
                  <a:cubicBezTo>
                    <a:pt x="111" y="267"/>
                    <a:pt x="111" y="267"/>
                    <a:pt x="111" y="267"/>
                  </a:cubicBezTo>
                  <a:cubicBezTo>
                    <a:pt x="111" y="267"/>
                    <a:pt x="111" y="267"/>
                    <a:pt x="111" y="267"/>
                  </a:cubicBezTo>
                  <a:cubicBezTo>
                    <a:pt x="111" y="267"/>
                    <a:pt x="111" y="267"/>
                    <a:pt x="111" y="267"/>
                  </a:cubicBezTo>
                  <a:cubicBezTo>
                    <a:pt x="110" y="267"/>
                    <a:pt x="110" y="267"/>
                    <a:pt x="110" y="267"/>
                  </a:cubicBezTo>
                  <a:cubicBezTo>
                    <a:pt x="110" y="267"/>
                    <a:pt x="110" y="267"/>
                    <a:pt x="110" y="267"/>
                  </a:cubicBezTo>
                  <a:cubicBezTo>
                    <a:pt x="110" y="268"/>
                    <a:pt x="110" y="268"/>
                    <a:pt x="110" y="268"/>
                  </a:cubicBezTo>
                  <a:cubicBezTo>
                    <a:pt x="110" y="268"/>
                    <a:pt x="110" y="268"/>
                    <a:pt x="110" y="268"/>
                  </a:cubicBezTo>
                  <a:cubicBezTo>
                    <a:pt x="111" y="268"/>
                    <a:pt x="111" y="268"/>
                    <a:pt x="111" y="268"/>
                  </a:cubicBezTo>
                  <a:cubicBezTo>
                    <a:pt x="110" y="268"/>
                    <a:pt x="110" y="268"/>
                    <a:pt x="110" y="268"/>
                  </a:cubicBezTo>
                  <a:close/>
                  <a:moveTo>
                    <a:pt x="99" y="245"/>
                  </a:moveTo>
                  <a:cubicBezTo>
                    <a:pt x="99" y="245"/>
                    <a:pt x="99" y="245"/>
                    <a:pt x="99" y="245"/>
                  </a:cubicBezTo>
                  <a:cubicBezTo>
                    <a:pt x="99" y="245"/>
                    <a:pt x="99" y="245"/>
                    <a:pt x="99" y="245"/>
                  </a:cubicBezTo>
                  <a:cubicBezTo>
                    <a:pt x="98" y="245"/>
                    <a:pt x="98" y="245"/>
                    <a:pt x="98" y="245"/>
                  </a:cubicBezTo>
                  <a:cubicBezTo>
                    <a:pt x="98" y="245"/>
                    <a:pt x="98" y="245"/>
                    <a:pt x="98" y="245"/>
                  </a:cubicBezTo>
                  <a:cubicBezTo>
                    <a:pt x="98" y="245"/>
                    <a:pt x="98" y="245"/>
                    <a:pt x="98" y="245"/>
                  </a:cubicBezTo>
                  <a:cubicBezTo>
                    <a:pt x="97" y="245"/>
                    <a:pt x="97" y="245"/>
                    <a:pt x="97" y="245"/>
                  </a:cubicBezTo>
                  <a:cubicBezTo>
                    <a:pt x="97" y="245"/>
                    <a:pt x="97" y="245"/>
                    <a:pt x="97" y="245"/>
                  </a:cubicBezTo>
                  <a:cubicBezTo>
                    <a:pt x="96" y="245"/>
                    <a:pt x="96" y="245"/>
                    <a:pt x="96" y="245"/>
                  </a:cubicBezTo>
                  <a:cubicBezTo>
                    <a:pt x="96" y="245"/>
                    <a:pt x="96" y="245"/>
                    <a:pt x="96" y="245"/>
                  </a:cubicBezTo>
                  <a:cubicBezTo>
                    <a:pt x="96" y="245"/>
                    <a:pt x="96" y="245"/>
                    <a:pt x="96" y="245"/>
                  </a:cubicBezTo>
                  <a:cubicBezTo>
                    <a:pt x="96" y="245"/>
                    <a:pt x="96" y="245"/>
                    <a:pt x="96" y="245"/>
                  </a:cubicBezTo>
                  <a:cubicBezTo>
                    <a:pt x="96" y="245"/>
                    <a:pt x="96" y="245"/>
                    <a:pt x="96" y="245"/>
                  </a:cubicBezTo>
                  <a:cubicBezTo>
                    <a:pt x="96" y="246"/>
                    <a:pt x="96" y="246"/>
                    <a:pt x="96" y="246"/>
                  </a:cubicBezTo>
                  <a:cubicBezTo>
                    <a:pt x="96" y="246"/>
                    <a:pt x="96" y="246"/>
                    <a:pt x="96" y="246"/>
                  </a:cubicBezTo>
                  <a:cubicBezTo>
                    <a:pt x="96" y="246"/>
                    <a:pt x="96" y="246"/>
                    <a:pt x="96" y="246"/>
                  </a:cubicBezTo>
                  <a:cubicBezTo>
                    <a:pt x="97" y="246"/>
                    <a:pt x="97" y="246"/>
                    <a:pt x="97" y="246"/>
                  </a:cubicBezTo>
                  <a:cubicBezTo>
                    <a:pt x="98" y="246"/>
                    <a:pt x="98" y="246"/>
                    <a:pt x="98" y="246"/>
                  </a:cubicBezTo>
                  <a:cubicBezTo>
                    <a:pt x="98" y="246"/>
                    <a:pt x="98" y="246"/>
                    <a:pt x="98" y="246"/>
                  </a:cubicBezTo>
                  <a:cubicBezTo>
                    <a:pt x="98" y="246"/>
                    <a:pt x="98" y="246"/>
                    <a:pt x="98" y="246"/>
                  </a:cubicBezTo>
                  <a:cubicBezTo>
                    <a:pt x="99" y="246"/>
                    <a:pt x="99" y="246"/>
                    <a:pt x="99" y="246"/>
                  </a:cubicBezTo>
                  <a:cubicBezTo>
                    <a:pt x="100" y="246"/>
                    <a:pt x="100" y="246"/>
                    <a:pt x="100" y="246"/>
                  </a:cubicBezTo>
                  <a:cubicBezTo>
                    <a:pt x="100" y="246"/>
                    <a:pt x="100" y="246"/>
                    <a:pt x="100" y="246"/>
                  </a:cubicBezTo>
                  <a:cubicBezTo>
                    <a:pt x="100" y="245"/>
                    <a:pt x="100" y="245"/>
                    <a:pt x="100" y="245"/>
                  </a:cubicBezTo>
                  <a:cubicBezTo>
                    <a:pt x="100" y="245"/>
                    <a:pt x="100" y="245"/>
                    <a:pt x="100" y="245"/>
                  </a:cubicBezTo>
                  <a:lnTo>
                    <a:pt x="99" y="245"/>
                  </a:lnTo>
                  <a:close/>
                  <a:moveTo>
                    <a:pt x="103" y="252"/>
                  </a:moveTo>
                  <a:cubicBezTo>
                    <a:pt x="103" y="251"/>
                    <a:pt x="103" y="251"/>
                    <a:pt x="103" y="251"/>
                  </a:cubicBezTo>
                  <a:cubicBezTo>
                    <a:pt x="103" y="251"/>
                    <a:pt x="103" y="251"/>
                    <a:pt x="103" y="251"/>
                  </a:cubicBezTo>
                  <a:cubicBezTo>
                    <a:pt x="103" y="251"/>
                    <a:pt x="103" y="251"/>
                    <a:pt x="103" y="251"/>
                  </a:cubicBezTo>
                  <a:cubicBezTo>
                    <a:pt x="103" y="251"/>
                    <a:pt x="103" y="251"/>
                    <a:pt x="103" y="251"/>
                  </a:cubicBezTo>
                  <a:cubicBezTo>
                    <a:pt x="103" y="250"/>
                    <a:pt x="103" y="250"/>
                    <a:pt x="103" y="250"/>
                  </a:cubicBezTo>
                  <a:cubicBezTo>
                    <a:pt x="103" y="250"/>
                    <a:pt x="103" y="250"/>
                    <a:pt x="103" y="250"/>
                  </a:cubicBezTo>
                  <a:cubicBezTo>
                    <a:pt x="103" y="250"/>
                    <a:pt x="103" y="250"/>
                    <a:pt x="103" y="250"/>
                  </a:cubicBezTo>
                  <a:cubicBezTo>
                    <a:pt x="103" y="250"/>
                    <a:pt x="103" y="250"/>
                    <a:pt x="103" y="250"/>
                  </a:cubicBezTo>
                  <a:cubicBezTo>
                    <a:pt x="103" y="249"/>
                    <a:pt x="103" y="249"/>
                    <a:pt x="103" y="249"/>
                  </a:cubicBezTo>
                  <a:cubicBezTo>
                    <a:pt x="102" y="249"/>
                    <a:pt x="102" y="249"/>
                    <a:pt x="102" y="249"/>
                  </a:cubicBezTo>
                  <a:cubicBezTo>
                    <a:pt x="102" y="249"/>
                    <a:pt x="102" y="249"/>
                    <a:pt x="102" y="249"/>
                  </a:cubicBezTo>
                  <a:cubicBezTo>
                    <a:pt x="102" y="249"/>
                    <a:pt x="102" y="249"/>
                    <a:pt x="102" y="249"/>
                  </a:cubicBezTo>
                  <a:cubicBezTo>
                    <a:pt x="101" y="249"/>
                    <a:pt x="101" y="249"/>
                    <a:pt x="101" y="249"/>
                  </a:cubicBezTo>
                  <a:cubicBezTo>
                    <a:pt x="101" y="249"/>
                    <a:pt x="101" y="249"/>
                    <a:pt x="101" y="249"/>
                  </a:cubicBezTo>
                  <a:cubicBezTo>
                    <a:pt x="101" y="250"/>
                    <a:pt x="101" y="250"/>
                    <a:pt x="101" y="250"/>
                  </a:cubicBezTo>
                  <a:cubicBezTo>
                    <a:pt x="101" y="250"/>
                    <a:pt x="101" y="250"/>
                    <a:pt x="101" y="250"/>
                  </a:cubicBezTo>
                  <a:cubicBezTo>
                    <a:pt x="101" y="251"/>
                    <a:pt x="101" y="251"/>
                    <a:pt x="101" y="251"/>
                  </a:cubicBezTo>
                  <a:cubicBezTo>
                    <a:pt x="101" y="251"/>
                    <a:pt x="101" y="251"/>
                    <a:pt x="101" y="251"/>
                  </a:cubicBezTo>
                  <a:cubicBezTo>
                    <a:pt x="101" y="252"/>
                    <a:pt x="101" y="252"/>
                    <a:pt x="101" y="252"/>
                  </a:cubicBezTo>
                  <a:cubicBezTo>
                    <a:pt x="101" y="252"/>
                    <a:pt x="101" y="252"/>
                    <a:pt x="101" y="252"/>
                  </a:cubicBezTo>
                  <a:cubicBezTo>
                    <a:pt x="101" y="252"/>
                    <a:pt x="101" y="252"/>
                    <a:pt x="101" y="252"/>
                  </a:cubicBezTo>
                  <a:cubicBezTo>
                    <a:pt x="101" y="252"/>
                    <a:pt x="101" y="252"/>
                    <a:pt x="101" y="252"/>
                  </a:cubicBezTo>
                  <a:cubicBezTo>
                    <a:pt x="101" y="252"/>
                    <a:pt x="101" y="252"/>
                    <a:pt x="101" y="252"/>
                  </a:cubicBezTo>
                  <a:cubicBezTo>
                    <a:pt x="101" y="252"/>
                    <a:pt x="101" y="252"/>
                    <a:pt x="101" y="252"/>
                  </a:cubicBezTo>
                  <a:cubicBezTo>
                    <a:pt x="102" y="253"/>
                    <a:pt x="102" y="253"/>
                    <a:pt x="102" y="253"/>
                  </a:cubicBezTo>
                  <a:cubicBezTo>
                    <a:pt x="102" y="254"/>
                    <a:pt x="102" y="254"/>
                    <a:pt x="102" y="254"/>
                  </a:cubicBezTo>
                  <a:cubicBezTo>
                    <a:pt x="102" y="254"/>
                    <a:pt x="102" y="254"/>
                    <a:pt x="102" y="254"/>
                  </a:cubicBezTo>
                  <a:cubicBezTo>
                    <a:pt x="102" y="254"/>
                    <a:pt x="102" y="254"/>
                    <a:pt x="102" y="254"/>
                  </a:cubicBezTo>
                  <a:cubicBezTo>
                    <a:pt x="102" y="254"/>
                    <a:pt x="102" y="254"/>
                    <a:pt x="102" y="254"/>
                  </a:cubicBezTo>
                  <a:cubicBezTo>
                    <a:pt x="102" y="254"/>
                    <a:pt x="102" y="254"/>
                    <a:pt x="102" y="254"/>
                  </a:cubicBezTo>
                  <a:cubicBezTo>
                    <a:pt x="102" y="254"/>
                    <a:pt x="102" y="254"/>
                    <a:pt x="102" y="254"/>
                  </a:cubicBezTo>
                  <a:cubicBezTo>
                    <a:pt x="102" y="255"/>
                    <a:pt x="102" y="255"/>
                    <a:pt x="102" y="255"/>
                  </a:cubicBezTo>
                  <a:cubicBezTo>
                    <a:pt x="102" y="255"/>
                    <a:pt x="102" y="255"/>
                    <a:pt x="102" y="255"/>
                  </a:cubicBezTo>
                  <a:cubicBezTo>
                    <a:pt x="102" y="255"/>
                    <a:pt x="102" y="255"/>
                    <a:pt x="102" y="255"/>
                  </a:cubicBezTo>
                  <a:cubicBezTo>
                    <a:pt x="102" y="255"/>
                    <a:pt x="102" y="255"/>
                    <a:pt x="102" y="255"/>
                  </a:cubicBezTo>
                  <a:cubicBezTo>
                    <a:pt x="102" y="254"/>
                    <a:pt x="102" y="254"/>
                    <a:pt x="102" y="254"/>
                  </a:cubicBezTo>
                  <a:cubicBezTo>
                    <a:pt x="103" y="254"/>
                    <a:pt x="103" y="254"/>
                    <a:pt x="103" y="254"/>
                  </a:cubicBezTo>
                  <a:cubicBezTo>
                    <a:pt x="103" y="253"/>
                    <a:pt x="103" y="253"/>
                    <a:pt x="103" y="253"/>
                  </a:cubicBezTo>
                  <a:cubicBezTo>
                    <a:pt x="102" y="253"/>
                    <a:pt x="102" y="253"/>
                    <a:pt x="102" y="253"/>
                  </a:cubicBezTo>
                  <a:cubicBezTo>
                    <a:pt x="102" y="253"/>
                    <a:pt x="102" y="253"/>
                    <a:pt x="102" y="253"/>
                  </a:cubicBezTo>
                  <a:cubicBezTo>
                    <a:pt x="102" y="253"/>
                    <a:pt x="102" y="253"/>
                    <a:pt x="102" y="253"/>
                  </a:cubicBezTo>
                  <a:cubicBezTo>
                    <a:pt x="102" y="253"/>
                    <a:pt x="102" y="253"/>
                    <a:pt x="102" y="253"/>
                  </a:cubicBezTo>
                  <a:cubicBezTo>
                    <a:pt x="102" y="253"/>
                    <a:pt x="102" y="253"/>
                    <a:pt x="102" y="253"/>
                  </a:cubicBezTo>
                  <a:cubicBezTo>
                    <a:pt x="102" y="252"/>
                    <a:pt x="102" y="252"/>
                    <a:pt x="102" y="252"/>
                  </a:cubicBezTo>
                  <a:cubicBezTo>
                    <a:pt x="102" y="252"/>
                    <a:pt x="102" y="252"/>
                    <a:pt x="102" y="252"/>
                  </a:cubicBezTo>
                  <a:cubicBezTo>
                    <a:pt x="103" y="252"/>
                    <a:pt x="103" y="252"/>
                    <a:pt x="103" y="252"/>
                  </a:cubicBezTo>
                  <a:cubicBezTo>
                    <a:pt x="103" y="252"/>
                    <a:pt x="103" y="252"/>
                    <a:pt x="103" y="252"/>
                  </a:cubicBezTo>
                  <a:cubicBezTo>
                    <a:pt x="103" y="252"/>
                    <a:pt x="103" y="252"/>
                    <a:pt x="103" y="252"/>
                  </a:cubicBezTo>
                  <a:close/>
                  <a:moveTo>
                    <a:pt x="120" y="285"/>
                  </a:moveTo>
                  <a:cubicBezTo>
                    <a:pt x="120" y="285"/>
                    <a:pt x="120" y="285"/>
                    <a:pt x="120" y="285"/>
                  </a:cubicBezTo>
                  <a:cubicBezTo>
                    <a:pt x="119" y="284"/>
                    <a:pt x="119" y="284"/>
                    <a:pt x="119" y="284"/>
                  </a:cubicBezTo>
                  <a:cubicBezTo>
                    <a:pt x="119" y="283"/>
                    <a:pt x="119" y="283"/>
                    <a:pt x="119" y="283"/>
                  </a:cubicBezTo>
                  <a:cubicBezTo>
                    <a:pt x="119" y="283"/>
                    <a:pt x="119" y="283"/>
                    <a:pt x="119" y="283"/>
                  </a:cubicBezTo>
                  <a:cubicBezTo>
                    <a:pt x="119" y="283"/>
                    <a:pt x="119" y="283"/>
                    <a:pt x="119" y="283"/>
                  </a:cubicBezTo>
                  <a:cubicBezTo>
                    <a:pt x="119" y="283"/>
                    <a:pt x="119" y="283"/>
                    <a:pt x="119" y="283"/>
                  </a:cubicBezTo>
                  <a:cubicBezTo>
                    <a:pt x="119" y="283"/>
                    <a:pt x="119" y="283"/>
                    <a:pt x="119" y="283"/>
                  </a:cubicBezTo>
                  <a:cubicBezTo>
                    <a:pt x="119" y="283"/>
                    <a:pt x="119" y="283"/>
                    <a:pt x="119" y="283"/>
                  </a:cubicBezTo>
                  <a:cubicBezTo>
                    <a:pt x="119" y="283"/>
                    <a:pt x="119" y="283"/>
                    <a:pt x="119" y="283"/>
                  </a:cubicBezTo>
                  <a:cubicBezTo>
                    <a:pt x="119" y="283"/>
                    <a:pt x="119" y="283"/>
                    <a:pt x="119" y="283"/>
                  </a:cubicBezTo>
                  <a:cubicBezTo>
                    <a:pt x="120" y="284"/>
                    <a:pt x="120" y="284"/>
                    <a:pt x="120" y="284"/>
                  </a:cubicBezTo>
                  <a:cubicBezTo>
                    <a:pt x="120" y="284"/>
                    <a:pt x="120" y="284"/>
                    <a:pt x="120" y="284"/>
                  </a:cubicBezTo>
                  <a:cubicBezTo>
                    <a:pt x="119" y="282"/>
                    <a:pt x="119" y="282"/>
                    <a:pt x="119" y="282"/>
                  </a:cubicBezTo>
                  <a:cubicBezTo>
                    <a:pt x="118" y="281"/>
                    <a:pt x="118" y="281"/>
                    <a:pt x="118" y="281"/>
                  </a:cubicBezTo>
                  <a:cubicBezTo>
                    <a:pt x="118" y="281"/>
                    <a:pt x="118" y="281"/>
                    <a:pt x="118" y="281"/>
                  </a:cubicBezTo>
                  <a:cubicBezTo>
                    <a:pt x="118" y="281"/>
                    <a:pt x="118" y="281"/>
                    <a:pt x="118" y="281"/>
                  </a:cubicBezTo>
                  <a:cubicBezTo>
                    <a:pt x="118" y="281"/>
                    <a:pt x="118" y="281"/>
                    <a:pt x="118" y="281"/>
                  </a:cubicBezTo>
                  <a:cubicBezTo>
                    <a:pt x="118" y="282"/>
                    <a:pt x="118" y="282"/>
                    <a:pt x="118" y="282"/>
                  </a:cubicBezTo>
                  <a:cubicBezTo>
                    <a:pt x="118" y="282"/>
                    <a:pt x="118" y="282"/>
                    <a:pt x="118" y="282"/>
                  </a:cubicBezTo>
                  <a:cubicBezTo>
                    <a:pt x="118" y="282"/>
                    <a:pt x="118" y="282"/>
                    <a:pt x="118" y="282"/>
                  </a:cubicBezTo>
                  <a:cubicBezTo>
                    <a:pt x="118" y="283"/>
                    <a:pt x="118" y="283"/>
                    <a:pt x="118" y="283"/>
                  </a:cubicBezTo>
                  <a:cubicBezTo>
                    <a:pt x="118" y="283"/>
                    <a:pt x="118" y="283"/>
                    <a:pt x="118" y="283"/>
                  </a:cubicBezTo>
                  <a:cubicBezTo>
                    <a:pt x="118" y="283"/>
                    <a:pt x="118" y="283"/>
                    <a:pt x="118" y="283"/>
                  </a:cubicBezTo>
                  <a:cubicBezTo>
                    <a:pt x="118" y="284"/>
                    <a:pt x="118" y="284"/>
                    <a:pt x="118" y="284"/>
                  </a:cubicBezTo>
                  <a:cubicBezTo>
                    <a:pt x="118" y="284"/>
                    <a:pt x="118" y="284"/>
                    <a:pt x="118" y="284"/>
                  </a:cubicBezTo>
                  <a:cubicBezTo>
                    <a:pt x="118" y="284"/>
                    <a:pt x="118" y="284"/>
                    <a:pt x="118" y="284"/>
                  </a:cubicBezTo>
                  <a:cubicBezTo>
                    <a:pt x="118" y="284"/>
                    <a:pt x="118" y="284"/>
                    <a:pt x="118" y="284"/>
                  </a:cubicBezTo>
                  <a:cubicBezTo>
                    <a:pt x="118" y="285"/>
                    <a:pt x="118" y="285"/>
                    <a:pt x="118" y="285"/>
                  </a:cubicBezTo>
                  <a:cubicBezTo>
                    <a:pt x="118" y="285"/>
                    <a:pt x="118" y="285"/>
                    <a:pt x="118" y="285"/>
                  </a:cubicBezTo>
                  <a:cubicBezTo>
                    <a:pt x="118" y="285"/>
                    <a:pt x="118" y="285"/>
                    <a:pt x="118" y="285"/>
                  </a:cubicBezTo>
                  <a:cubicBezTo>
                    <a:pt x="118" y="285"/>
                    <a:pt x="118" y="285"/>
                    <a:pt x="118" y="285"/>
                  </a:cubicBezTo>
                  <a:cubicBezTo>
                    <a:pt x="118" y="286"/>
                    <a:pt x="118" y="286"/>
                    <a:pt x="118" y="286"/>
                  </a:cubicBezTo>
                  <a:cubicBezTo>
                    <a:pt x="118" y="286"/>
                    <a:pt x="118" y="286"/>
                    <a:pt x="118" y="286"/>
                  </a:cubicBezTo>
                  <a:cubicBezTo>
                    <a:pt x="118" y="286"/>
                    <a:pt x="118" y="286"/>
                    <a:pt x="118" y="286"/>
                  </a:cubicBezTo>
                  <a:cubicBezTo>
                    <a:pt x="119" y="286"/>
                    <a:pt x="119" y="286"/>
                    <a:pt x="119" y="286"/>
                  </a:cubicBezTo>
                  <a:cubicBezTo>
                    <a:pt x="119" y="286"/>
                    <a:pt x="119" y="286"/>
                    <a:pt x="119" y="286"/>
                  </a:cubicBezTo>
                  <a:cubicBezTo>
                    <a:pt x="119" y="286"/>
                    <a:pt x="119" y="286"/>
                    <a:pt x="119" y="286"/>
                  </a:cubicBezTo>
                  <a:cubicBezTo>
                    <a:pt x="119" y="286"/>
                    <a:pt x="119" y="286"/>
                    <a:pt x="119" y="286"/>
                  </a:cubicBezTo>
                  <a:cubicBezTo>
                    <a:pt x="119" y="286"/>
                    <a:pt x="119" y="286"/>
                    <a:pt x="119" y="286"/>
                  </a:cubicBezTo>
                  <a:cubicBezTo>
                    <a:pt x="119" y="285"/>
                    <a:pt x="119" y="285"/>
                    <a:pt x="119" y="285"/>
                  </a:cubicBezTo>
                  <a:cubicBezTo>
                    <a:pt x="119" y="285"/>
                    <a:pt x="119" y="285"/>
                    <a:pt x="119" y="285"/>
                  </a:cubicBezTo>
                  <a:cubicBezTo>
                    <a:pt x="120" y="285"/>
                    <a:pt x="120" y="285"/>
                    <a:pt x="120" y="285"/>
                  </a:cubicBezTo>
                  <a:close/>
                  <a:moveTo>
                    <a:pt x="106" y="267"/>
                  </a:moveTo>
                  <a:cubicBezTo>
                    <a:pt x="105" y="265"/>
                    <a:pt x="105" y="265"/>
                    <a:pt x="105" y="265"/>
                  </a:cubicBezTo>
                  <a:cubicBezTo>
                    <a:pt x="105" y="265"/>
                    <a:pt x="105" y="265"/>
                    <a:pt x="105" y="265"/>
                  </a:cubicBezTo>
                  <a:cubicBezTo>
                    <a:pt x="105" y="264"/>
                    <a:pt x="105" y="264"/>
                    <a:pt x="105" y="264"/>
                  </a:cubicBezTo>
                  <a:cubicBezTo>
                    <a:pt x="105" y="264"/>
                    <a:pt x="105" y="264"/>
                    <a:pt x="105" y="264"/>
                  </a:cubicBezTo>
                  <a:cubicBezTo>
                    <a:pt x="105" y="265"/>
                    <a:pt x="105" y="265"/>
                    <a:pt x="105" y="265"/>
                  </a:cubicBezTo>
                  <a:cubicBezTo>
                    <a:pt x="104" y="265"/>
                    <a:pt x="104" y="265"/>
                    <a:pt x="104" y="265"/>
                  </a:cubicBezTo>
                  <a:cubicBezTo>
                    <a:pt x="105" y="265"/>
                    <a:pt x="105" y="265"/>
                    <a:pt x="105" y="265"/>
                  </a:cubicBezTo>
                  <a:cubicBezTo>
                    <a:pt x="105" y="267"/>
                    <a:pt x="105" y="267"/>
                    <a:pt x="105" y="267"/>
                  </a:cubicBezTo>
                  <a:cubicBezTo>
                    <a:pt x="106" y="267"/>
                    <a:pt x="106" y="267"/>
                    <a:pt x="106" y="267"/>
                  </a:cubicBezTo>
                  <a:cubicBezTo>
                    <a:pt x="106" y="267"/>
                    <a:pt x="106" y="267"/>
                    <a:pt x="106" y="267"/>
                  </a:cubicBezTo>
                  <a:cubicBezTo>
                    <a:pt x="106" y="267"/>
                    <a:pt x="106" y="267"/>
                    <a:pt x="106" y="267"/>
                  </a:cubicBezTo>
                  <a:cubicBezTo>
                    <a:pt x="106" y="267"/>
                    <a:pt x="106" y="267"/>
                    <a:pt x="106" y="267"/>
                  </a:cubicBezTo>
                  <a:cubicBezTo>
                    <a:pt x="106" y="267"/>
                    <a:pt x="106" y="267"/>
                    <a:pt x="106" y="267"/>
                  </a:cubicBezTo>
                  <a:cubicBezTo>
                    <a:pt x="106" y="267"/>
                    <a:pt x="106" y="267"/>
                    <a:pt x="106" y="267"/>
                  </a:cubicBezTo>
                  <a:close/>
                  <a:moveTo>
                    <a:pt x="102" y="245"/>
                  </a:moveTo>
                  <a:cubicBezTo>
                    <a:pt x="102" y="245"/>
                    <a:pt x="102" y="245"/>
                    <a:pt x="102" y="245"/>
                  </a:cubicBezTo>
                  <a:cubicBezTo>
                    <a:pt x="101" y="245"/>
                    <a:pt x="101" y="245"/>
                    <a:pt x="101" y="245"/>
                  </a:cubicBezTo>
                  <a:cubicBezTo>
                    <a:pt x="101" y="245"/>
                    <a:pt x="101" y="245"/>
                    <a:pt x="101" y="245"/>
                  </a:cubicBezTo>
                  <a:cubicBezTo>
                    <a:pt x="100" y="246"/>
                    <a:pt x="100" y="246"/>
                    <a:pt x="100" y="246"/>
                  </a:cubicBezTo>
                  <a:cubicBezTo>
                    <a:pt x="100" y="246"/>
                    <a:pt x="100" y="246"/>
                    <a:pt x="100" y="246"/>
                  </a:cubicBezTo>
                  <a:cubicBezTo>
                    <a:pt x="100" y="246"/>
                    <a:pt x="100" y="246"/>
                    <a:pt x="100" y="246"/>
                  </a:cubicBezTo>
                  <a:cubicBezTo>
                    <a:pt x="100" y="246"/>
                    <a:pt x="100" y="246"/>
                    <a:pt x="100" y="246"/>
                  </a:cubicBezTo>
                  <a:cubicBezTo>
                    <a:pt x="100" y="246"/>
                    <a:pt x="100" y="246"/>
                    <a:pt x="100" y="246"/>
                  </a:cubicBezTo>
                  <a:cubicBezTo>
                    <a:pt x="99" y="246"/>
                    <a:pt x="99" y="246"/>
                    <a:pt x="99" y="246"/>
                  </a:cubicBezTo>
                  <a:cubicBezTo>
                    <a:pt x="99" y="246"/>
                    <a:pt x="99" y="246"/>
                    <a:pt x="99" y="246"/>
                  </a:cubicBezTo>
                  <a:cubicBezTo>
                    <a:pt x="99" y="247"/>
                    <a:pt x="99" y="247"/>
                    <a:pt x="99" y="247"/>
                  </a:cubicBezTo>
                  <a:cubicBezTo>
                    <a:pt x="100" y="247"/>
                    <a:pt x="100" y="247"/>
                    <a:pt x="100" y="247"/>
                  </a:cubicBezTo>
                  <a:cubicBezTo>
                    <a:pt x="100" y="247"/>
                    <a:pt x="100" y="247"/>
                    <a:pt x="100" y="247"/>
                  </a:cubicBezTo>
                  <a:cubicBezTo>
                    <a:pt x="100" y="247"/>
                    <a:pt x="100" y="247"/>
                    <a:pt x="100" y="247"/>
                  </a:cubicBezTo>
                  <a:cubicBezTo>
                    <a:pt x="101" y="247"/>
                    <a:pt x="101" y="247"/>
                    <a:pt x="101" y="247"/>
                  </a:cubicBezTo>
                  <a:cubicBezTo>
                    <a:pt x="101" y="247"/>
                    <a:pt x="101" y="247"/>
                    <a:pt x="101" y="247"/>
                  </a:cubicBezTo>
                  <a:cubicBezTo>
                    <a:pt x="101" y="247"/>
                    <a:pt x="101" y="247"/>
                    <a:pt x="101" y="247"/>
                  </a:cubicBezTo>
                  <a:cubicBezTo>
                    <a:pt x="101" y="247"/>
                    <a:pt x="101" y="247"/>
                    <a:pt x="101" y="247"/>
                  </a:cubicBezTo>
                  <a:cubicBezTo>
                    <a:pt x="101" y="247"/>
                    <a:pt x="101" y="247"/>
                    <a:pt x="101" y="247"/>
                  </a:cubicBezTo>
                  <a:cubicBezTo>
                    <a:pt x="101" y="247"/>
                    <a:pt x="101" y="247"/>
                    <a:pt x="101" y="247"/>
                  </a:cubicBezTo>
                  <a:cubicBezTo>
                    <a:pt x="102" y="247"/>
                    <a:pt x="102" y="247"/>
                    <a:pt x="102" y="247"/>
                  </a:cubicBezTo>
                  <a:cubicBezTo>
                    <a:pt x="102" y="247"/>
                    <a:pt x="102" y="247"/>
                    <a:pt x="102" y="247"/>
                  </a:cubicBezTo>
                  <a:cubicBezTo>
                    <a:pt x="102" y="246"/>
                    <a:pt x="102" y="246"/>
                    <a:pt x="102" y="246"/>
                  </a:cubicBezTo>
                  <a:cubicBezTo>
                    <a:pt x="102" y="246"/>
                    <a:pt x="102" y="246"/>
                    <a:pt x="102" y="246"/>
                  </a:cubicBezTo>
                  <a:cubicBezTo>
                    <a:pt x="102" y="246"/>
                    <a:pt x="102" y="246"/>
                    <a:pt x="102" y="246"/>
                  </a:cubicBezTo>
                  <a:lnTo>
                    <a:pt x="102" y="245"/>
                  </a:lnTo>
                  <a:close/>
                  <a:moveTo>
                    <a:pt x="114" y="265"/>
                  </a:moveTo>
                  <a:cubicBezTo>
                    <a:pt x="114" y="265"/>
                    <a:pt x="114" y="265"/>
                    <a:pt x="114" y="265"/>
                  </a:cubicBezTo>
                  <a:cubicBezTo>
                    <a:pt x="115" y="265"/>
                    <a:pt x="115" y="265"/>
                    <a:pt x="115" y="265"/>
                  </a:cubicBezTo>
                  <a:cubicBezTo>
                    <a:pt x="115" y="264"/>
                    <a:pt x="115" y="264"/>
                    <a:pt x="115" y="264"/>
                  </a:cubicBezTo>
                  <a:cubicBezTo>
                    <a:pt x="115" y="264"/>
                    <a:pt x="115" y="264"/>
                    <a:pt x="115" y="264"/>
                  </a:cubicBezTo>
                  <a:cubicBezTo>
                    <a:pt x="115" y="264"/>
                    <a:pt x="115" y="264"/>
                    <a:pt x="115" y="264"/>
                  </a:cubicBezTo>
                  <a:cubicBezTo>
                    <a:pt x="116" y="263"/>
                    <a:pt x="116" y="263"/>
                    <a:pt x="116" y="263"/>
                  </a:cubicBezTo>
                  <a:cubicBezTo>
                    <a:pt x="116" y="263"/>
                    <a:pt x="116" y="263"/>
                    <a:pt x="116" y="263"/>
                  </a:cubicBezTo>
                  <a:cubicBezTo>
                    <a:pt x="116" y="263"/>
                    <a:pt x="116" y="263"/>
                    <a:pt x="116" y="263"/>
                  </a:cubicBezTo>
                  <a:cubicBezTo>
                    <a:pt x="116" y="263"/>
                    <a:pt x="116" y="263"/>
                    <a:pt x="116" y="263"/>
                  </a:cubicBezTo>
                  <a:cubicBezTo>
                    <a:pt x="116" y="263"/>
                    <a:pt x="116" y="263"/>
                    <a:pt x="116" y="263"/>
                  </a:cubicBezTo>
                  <a:cubicBezTo>
                    <a:pt x="116" y="263"/>
                    <a:pt x="116" y="263"/>
                    <a:pt x="116" y="263"/>
                  </a:cubicBezTo>
                  <a:cubicBezTo>
                    <a:pt x="115" y="263"/>
                    <a:pt x="115" y="263"/>
                    <a:pt x="115" y="263"/>
                  </a:cubicBezTo>
                  <a:cubicBezTo>
                    <a:pt x="115" y="263"/>
                    <a:pt x="115" y="263"/>
                    <a:pt x="115" y="263"/>
                  </a:cubicBezTo>
                  <a:cubicBezTo>
                    <a:pt x="115" y="263"/>
                    <a:pt x="115" y="263"/>
                    <a:pt x="115" y="263"/>
                  </a:cubicBezTo>
                  <a:cubicBezTo>
                    <a:pt x="115" y="263"/>
                    <a:pt x="115" y="263"/>
                    <a:pt x="115" y="263"/>
                  </a:cubicBezTo>
                  <a:cubicBezTo>
                    <a:pt x="115" y="263"/>
                    <a:pt x="115" y="263"/>
                    <a:pt x="115" y="263"/>
                  </a:cubicBezTo>
                  <a:cubicBezTo>
                    <a:pt x="115" y="263"/>
                    <a:pt x="115" y="263"/>
                    <a:pt x="115" y="263"/>
                  </a:cubicBezTo>
                  <a:cubicBezTo>
                    <a:pt x="114" y="263"/>
                    <a:pt x="114" y="263"/>
                    <a:pt x="114" y="263"/>
                  </a:cubicBezTo>
                  <a:cubicBezTo>
                    <a:pt x="113" y="264"/>
                    <a:pt x="113" y="264"/>
                    <a:pt x="113" y="264"/>
                  </a:cubicBezTo>
                  <a:cubicBezTo>
                    <a:pt x="114" y="265"/>
                    <a:pt x="114" y="265"/>
                    <a:pt x="114" y="265"/>
                  </a:cubicBezTo>
                  <a:close/>
                  <a:moveTo>
                    <a:pt x="60" y="141"/>
                  </a:moveTo>
                  <a:cubicBezTo>
                    <a:pt x="60" y="141"/>
                    <a:pt x="60" y="141"/>
                    <a:pt x="60" y="141"/>
                  </a:cubicBezTo>
                  <a:cubicBezTo>
                    <a:pt x="60" y="142"/>
                    <a:pt x="60" y="142"/>
                    <a:pt x="60" y="142"/>
                  </a:cubicBezTo>
                  <a:cubicBezTo>
                    <a:pt x="60" y="142"/>
                    <a:pt x="60" y="142"/>
                    <a:pt x="60" y="142"/>
                  </a:cubicBezTo>
                  <a:cubicBezTo>
                    <a:pt x="60" y="142"/>
                    <a:pt x="60" y="142"/>
                    <a:pt x="60" y="142"/>
                  </a:cubicBezTo>
                  <a:cubicBezTo>
                    <a:pt x="60" y="142"/>
                    <a:pt x="60" y="142"/>
                    <a:pt x="60" y="142"/>
                  </a:cubicBezTo>
                  <a:cubicBezTo>
                    <a:pt x="60" y="142"/>
                    <a:pt x="60" y="142"/>
                    <a:pt x="60" y="142"/>
                  </a:cubicBezTo>
                  <a:cubicBezTo>
                    <a:pt x="60" y="142"/>
                    <a:pt x="60" y="142"/>
                    <a:pt x="60" y="142"/>
                  </a:cubicBezTo>
                  <a:cubicBezTo>
                    <a:pt x="61" y="142"/>
                    <a:pt x="61" y="142"/>
                    <a:pt x="61" y="142"/>
                  </a:cubicBezTo>
                  <a:cubicBezTo>
                    <a:pt x="61" y="142"/>
                    <a:pt x="61" y="142"/>
                    <a:pt x="61" y="142"/>
                  </a:cubicBezTo>
                  <a:cubicBezTo>
                    <a:pt x="61" y="142"/>
                    <a:pt x="61" y="142"/>
                    <a:pt x="61" y="142"/>
                  </a:cubicBezTo>
                  <a:cubicBezTo>
                    <a:pt x="61" y="142"/>
                    <a:pt x="61" y="142"/>
                    <a:pt x="61" y="142"/>
                  </a:cubicBezTo>
                  <a:cubicBezTo>
                    <a:pt x="62" y="141"/>
                    <a:pt x="62" y="141"/>
                    <a:pt x="62" y="141"/>
                  </a:cubicBezTo>
                  <a:cubicBezTo>
                    <a:pt x="62" y="141"/>
                    <a:pt x="62" y="141"/>
                    <a:pt x="62" y="141"/>
                  </a:cubicBezTo>
                  <a:cubicBezTo>
                    <a:pt x="62" y="140"/>
                    <a:pt x="62" y="140"/>
                    <a:pt x="62" y="140"/>
                  </a:cubicBezTo>
                  <a:cubicBezTo>
                    <a:pt x="62" y="140"/>
                    <a:pt x="62" y="140"/>
                    <a:pt x="62" y="140"/>
                  </a:cubicBezTo>
                  <a:cubicBezTo>
                    <a:pt x="61" y="140"/>
                    <a:pt x="61" y="140"/>
                    <a:pt x="61" y="140"/>
                  </a:cubicBezTo>
                  <a:cubicBezTo>
                    <a:pt x="61" y="140"/>
                    <a:pt x="61" y="140"/>
                    <a:pt x="61" y="140"/>
                  </a:cubicBezTo>
                  <a:cubicBezTo>
                    <a:pt x="60" y="140"/>
                    <a:pt x="60" y="140"/>
                    <a:pt x="60" y="140"/>
                  </a:cubicBezTo>
                  <a:cubicBezTo>
                    <a:pt x="60" y="141"/>
                    <a:pt x="60" y="141"/>
                    <a:pt x="60" y="141"/>
                  </a:cubicBezTo>
                  <a:cubicBezTo>
                    <a:pt x="60" y="140"/>
                    <a:pt x="60" y="140"/>
                    <a:pt x="60" y="140"/>
                  </a:cubicBezTo>
                  <a:cubicBezTo>
                    <a:pt x="59" y="141"/>
                    <a:pt x="59" y="141"/>
                    <a:pt x="59" y="141"/>
                  </a:cubicBezTo>
                  <a:cubicBezTo>
                    <a:pt x="59" y="141"/>
                    <a:pt x="59" y="141"/>
                    <a:pt x="59" y="141"/>
                  </a:cubicBezTo>
                  <a:cubicBezTo>
                    <a:pt x="60" y="141"/>
                    <a:pt x="60" y="141"/>
                    <a:pt x="60" y="141"/>
                  </a:cubicBezTo>
                  <a:close/>
                  <a:moveTo>
                    <a:pt x="246" y="301"/>
                  </a:moveTo>
                  <a:cubicBezTo>
                    <a:pt x="245" y="301"/>
                    <a:pt x="245" y="301"/>
                    <a:pt x="245" y="301"/>
                  </a:cubicBezTo>
                  <a:cubicBezTo>
                    <a:pt x="245" y="301"/>
                    <a:pt x="245" y="301"/>
                    <a:pt x="245" y="301"/>
                  </a:cubicBezTo>
                  <a:cubicBezTo>
                    <a:pt x="245" y="300"/>
                    <a:pt x="245" y="300"/>
                    <a:pt x="245" y="300"/>
                  </a:cubicBezTo>
                  <a:cubicBezTo>
                    <a:pt x="245" y="300"/>
                    <a:pt x="245" y="300"/>
                    <a:pt x="245" y="300"/>
                  </a:cubicBezTo>
                  <a:cubicBezTo>
                    <a:pt x="245" y="300"/>
                    <a:pt x="245" y="300"/>
                    <a:pt x="245" y="300"/>
                  </a:cubicBezTo>
                  <a:cubicBezTo>
                    <a:pt x="244" y="300"/>
                    <a:pt x="244" y="300"/>
                    <a:pt x="244" y="300"/>
                  </a:cubicBezTo>
                  <a:cubicBezTo>
                    <a:pt x="244" y="299"/>
                    <a:pt x="244" y="299"/>
                    <a:pt x="244" y="299"/>
                  </a:cubicBezTo>
                  <a:cubicBezTo>
                    <a:pt x="244" y="299"/>
                    <a:pt x="244" y="299"/>
                    <a:pt x="244" y="299"/>
                  </a:cubicBezTo>
                  <a:cubicBezTo>
                    <a:pt x="244" y="299"/>
                    <a:pt x="244" y="299"/>
                    <a:pt x="244" y="299"/>
                  </a:cubicBezTo>
                  <a:cubicBezTo>
                    <a:pt x="244" y="299"/>
                    <a:pt x="244" y="299"/>
                    <a:pt x="244" y="299"/>
                  </a:cubicBezTo>
                  <a:cubicBezTo>
                    <a:pt x="244" y="299"/>
                    <a:pt x="244" y="299"/>
                    <a:pt x="244" y="299"/>
                  </a:cubicBezTo>
                  <a:cubicBezTo>
                    <a:pt x="244" y="298"/>
                    <a:pt x="244" y="298"/>
                    <a:pt x="244" y="298"/>
                  </a:cubicBezTo>
                  <a:cubicBezTo>
                    <a:pt x="244" y="298"/>
                    <a:pt x="244" y="298"/>
                    <a:pt x="244" y="298"/>
                  </a:cubicBezTo>
                  <a:cubicBezTo>
                    <a:pt x="244" y="298"/>
                    <a:pt x="244" y="298"/>
                    <a:pt x="244" y="298"/>
                  </a:cubicBezTo>
                  <a:cubicBezTo>
                    <a:pt x="244" y="298"/>
                    <a:pt x="244" y="298"/>
                    <a:pt x="244" y="298"/>
                  </a:cubicBezTo>
                  <a:cubicBezTo>
                    <a:pt x="243" y="298"/>
                    <a:pt x="243" y="298"/>
                    <a:pt x="243" y="298"/>
                  </a:cubicBezTo>
                  <a:cubicBezTo>
                    <a:pt x="243" y="298"/>
                    <a:pt x="243" y="298"/>
                    <a:pt x="243" y="298"/>
                  </a:cubicBezTo>
                  <a:cubicBezTo>
                    <a:pt x="243" y="298"/>
                    <a:pt x="243" y="298"/>
                    <a:pt x="243" y="298"/>
                  </a:cubicBezTo>
                  <a:cubicBezTo>
                    <a:pt x="243" y="297"/>
                    <a:pt x="243" y="297"/>
                    <a:pt x="243" y="297"/>
                  </a:cubicBezTo>
                  <a:cubicBezTo>
                    <a:pt x="243" y="297"/>
                    <a:pt x="243" y="297"/>
                    <a:pt x="243" y="297"/>
                  </a:cubicBezTo>
                  <a:cubicBezTo>
                    <a:pt x="242" y="297"/>
                    <a:pt x="242" y="297"/>
                    <a:pt x="242" y="297"/>
                  </a:cubicBezTo>
                  <a:cubicBezTo>
                    <a:pt x="242" y="297"/>
                    <a:pt x="242" y="297"/>
                    <a:pt x="242" y="297"/>
                  </a:cubicBezTo>
                  <a:cubicBezTo>
                    <a:pt x="242" y="297"/>
                    <a:pt x="242" y="297"/>
                    <a:pt x="242" y="297"/>
                  </a:cubicBezTo>
                  <a:cubicBezTo>
                    <a:pt x="242" y="297"/>
                    <a:pt x="242" y="297"/>
                    <a:pt x="242" y="297"/>
                  </a:cubicBezTo>
                  <a:cubicBezTo>
                    <a:pt x="242" y="297"/>
                    <a:pt x="242" y="297"/>
                    <a:pt x="242" y="297"/>
                  </a:cubicBezTo>
                  <a:cubicBezTo>
                    <a:pt x="241" y="297"/>
                    <a:pt x="241" y="297"/>
                    <a:pt x="241" y="297"/>
                  </a:cubicBezTo>
                  <a:cubicBezTo>
                    <a:pt x="241" y="297"/>
                    <a:pt x="241" y="297"/>
                    <a:pt x="241" y="297"/>
                  </a:cubicBezTo>
                  <a:cubicBezTo>
                    <a:pt x="242" y="296"/>
                    <a:pt x="242" y="296"/>
                    <a:pt x="242" y="296"/>
                  </a:cubicBezTo>
                  <a:cubicBezTo>
                    <a:pt x="242" y="296"/>
                    <a:pt x="242" y="296"/>
                    <a:pt x="242" y="296"/>
                  </a:cubicBezTo>
                  <a:cubicBezTo>
                    <a:pt x="242" y="296"/>
                    <a:pt x="242" y="296"/>
                    <a:pt x="242" y="296"/>
                  </a:cubicBezTo>
                  <a:cubicBezTo>
                    <a:pt x="242" y="296"/>
                    <a:pt x="242" y="296"/>
                    <a:pt x="242" y="296"/>
                  </a:cubicBezTo>
                  <a:cubicBezTo>
                    <a:pt x="241" y="296"/>
                    <a:pt x="241" y="296"/>
                    <a:pt x="241" y="296"/>
                  </a:cubicBezTo>
                  <a:cubicBezTo>
                    <a:pt x="241" y="296"/>
                    <a:pt x="241" y="296"/>
                    <a:pt x="241" y="296"/>
                  </a:cubicBezTo>
                  <a:cubicBezTo>
                    <a:pt x="241" y="296"/>
                    <a:pt x="241" y="296"/>
                    <a:pt x="241" y="296"/>
                  </a:cubicBezTo>
                  <a:cubicBezTo>
                    <a:pt x="241" y="296"/>
                    <a:pt x="241" y="296"/>
                    <a:pt x="241" y="296"/>
                  </a:cubicBezTo>
                  <a:cubicBezTo>
                    <a:pt x="241" y="295"/>
                    <a:pt x="241" y="295"/>
                    <a:pt x="241" y="295"/>
                  </a:cubicBezTo>
                  <a:cubicBezTo>
                    <a:pt x="241" y="295"/>
                    <a:pt x="241" y="295"/>
                    <a:pt x="241" y="295"/>
                  </a:cubicBezTo>
                  <a:cubicBezTo>
                    <a:pt x="241" y="295"/>
                    <a:pt x="241" y="295"/>
                    <a:pt x="241" y="295"/>
                  </a:cubicBezTo>
                  <a:cubicBezTo>
                    <a:pt x="241" y="295"/>
                    <a:pt x="241" y="295"/>
                    <a:pt x="241" y="295"/>
                  </a:cubicBezTo>
                  <a:cubicBezTo>
                    <a:pt x="241" y="295"/>
                    <a:pt x="241" y="295"/>
                    <a:pt x="241" y="295"/>
                  </a:cubicBezTo>
                  <a:cubicBezTo>
                    <a:pt x="241" y="295"/>
                    <a:pt x="241" y="295"/>
                    <a:pt x="241" y="295"/>
                  </a:cubicBezTo>
                  <a:cubicBezTo>
                    <a:pt x="241" y="295"/>
                    <a:pt x="241" y="295"/>
                    <a:pt x="241" y="295"/>
                  </a:cubicBezTo>
                  <a:cubicBezTo>
                    <a:pt x="241" y="295"/>
                    <a:pt x="241" y="294"/>
                    <a:pt x="241" y="294"/>
                  </a:cubicBezTo>
                  <a:cubicBezTo>
                    <a:pt x="241" y="294"/>
                    <a:pt x="241" y="294"/>
                    <a:pt x="241" y="294"/>
                  </a:cubicBezTo>
                  <a:cubicBezTo>
                    <a:pt x="241" y="294"/>
                    <a:pt x="241" y="294"/>
                    <a:pt x="241" y="294"/>
                  </a:cubicBezTo>
                  <a:cubicBezTo>
                    <a:pt x="240" y="294"/>
                    <a:pt x="240" y="294"/>
                    <a:pt x="240" y="294"/>
                  </a:cubicBezTo>
                  <a:cubicBezTo>
                    <a:pt x="240" y="294"/>
                    <a:pt x="240" y="294"/>
                    <a:pt x="240" y="294"/>
                  </a:cubicBezTo>
                  <a:cubicBezTo>
                    <a:pt x="240" y="294"/>
                    <a:pt x="240" y="294"/>
                    <a:pt x="240" y="294"/>
                  </a:cubicBezTo>
                  <a:cubicBezTo>
                    <a:pt x="240" y="294"/>
                    <a:pt x="240" y="294"/>
                    <a:pt x="240" y="294"/>
                  </a:cubicBezTo>
                  <a:cubicBezTo>
                    <a:pt x="240" y="294"/>
                    <a:pt x="240" y="294"/>
                    <a:pt x="240" y="294"/>
                  </a:cubicBezTo>
                  <a:cubicBezTo>
                    <a:pt x="240" y="294"/>
                    <a:pt x="240" y="294"/>
                    <a:pt x="240" y="294"/>
                  </a:cubicBezTo>
                  <a:cubicBezTo>
                    <a:pt x="240" y="293"/>
                    <a:pt x="240" y="293"/>
                    <a:pt x="240" y="293"/>
                  </a:cubicBezTo>
                  <a:cubicBezTo>
                    <a:pt x="240" y="293"/>
                    <a:pt x="240" y="293"/>
                    <a:pt x="240" y="293"/>
                  </a:cubicBezTo>
                  <a:cubicBezTo>
                    <a:pt x="240" y="293"/>
                    <a:pt x="240" y="293"/>
                    <a:pt x="240" y="293"/>
                  </a:cubicBezTo>
                  <a:cubicBezTo>
                    <a:pt x="240" y="293"/>
                    <a:pt x="240" y="293"/>
                    <a:pt x="240" y="293"/>
                  </a:cubicBezTo>
                  <a:cubicBezTo>
                    <a:pt x="240" y="293"/>
                    <a:pt x="240" y="293"/>
                    <a:pt x="240" y="293"/>
                  </a:cubicBezTo>
                  <a:cubicBezTo>
                    <a:pt x="239" y="293"/>
                    <a:pt x="239" y="293"/>
                    <a:pt x="239" y="293"/>
                  </a:cubicBezTo>
                  <a:cubicBezTo>
                    <a:pt x="239" y="292"/>
                    <a:pt x="239" y="292"/>
                    <a:pt x="239" y="292"/>
                  </a:cubicBezTo>
                  <a:cubicBezTo>
                    <a:pt x="239" y="292"/>
                    <a:pt x="239" y="292"/>
                    <a:pt x="239" y="292"/>
                  </a:cubicBezTo>
                  <a:cubicBezTo>
                    <a:pt x="239" y="291"/>
                    <a:pt x="239" y="291"/>
                    <a:pt x="239" y="291"/>
                  </a:cubicBezTo>
                  <a:cubicBezTo>
                    <a:pt x="240" y="291"/>
                    <a:pt x="240" y="291"/>
                    <a:pt x="240" y="291"/>
                  </a:cubicBezTo>
                  <a:cubicBezTo>
                    <a:pt x="240" y="290"/>
                    <a:pt x="240" y="290"/>
                    <a:pt x="240" y="290"/>
                  </a:cubicBezTo>
                  <a:cubicBezTo>
                    <a:pt x="240" y="290"/>
                    <a:pt x="240" y="290"/>
                    <a:pt x="240" y="290"/>
                  </a:cubicBezTo>
                  <a:cubicBezTo>
                    <a:pt x="240" y="290"/>
                    <a:pt x="240" y="290"/>
                    <a:pt x="240" y="290"/>
                  </a:cubicBezTo>
                  <a:cubicBezTo>
                    <a:pt x="240" y="289"/>
                    <a:pt x="240" y="289"/>
                    <a:pt x="240" y="289"/>
                  </a:cubicBezTo>
                  <a:cubicBezTo>
                    <a:pt x="240" y="290"/>
                    <a:pt x="240" y="290"/>
                    <a:pt x="240" y="290"/>
                  </a:cubicBezTo>
                  <a:cubicBezTo>
                    <a:pt x="239" y="290"/>
                    <a:pt x="239" y="290"/>
                    <a:pt x="239" y="290"/>
                  </a:cubicBezTo>
                  <a:cubicBezTo>
                    <a:pt x="239" y="290"/>
                    <a:pt x="239" y="290"/>
                    <a:pt x="239" y="290"/>
                  </a:cubicBezTo>
                  <a:cubicBezTo>
                    <a:pt x="239" y="290"/>
                    <a:pt x="239" y="290"/>
                    <a:pt x="239" y="290"/>
                  </a:cubicBezTo>
                  <a:cubicBezTo>
                    <a:pt x="239" y="290"/>
                    <a:pt x="239" y="290"/>
                    <a:pt x="239" y="290"/>
                  </a:cubicBezTo>
                  <a:cubicBezTo>
                    <a:pt x="239" y="289"/>
                    <a:pt x="239" y="289"/>
                    <a:pt x="239" y="289"/>
                  </a:cubicBezTo>
                  <a:cubicBezTo>
                    <a:pt x="239" y="289"/>
                    <a:pt x="239" y="289"/>
                    <a:pt x="239" y="289"/>
                  </a:cubicBezTo>
                  <a:cubicBezTo>
                    <a:pt x="239" y="289"/>
                    <a:pt x="239" y="289"/>
                    <a:pt x="239" y="289"/>
                  </a:cubicBezTo>
                  <a:cubicBezTo>
                    <a:pt x="239" y="289"/>
                    <a:pt x="238" y="289"/>
                    <a:pt x="238" y="289"/>
                  </a:cubicBezTo>
                  <a:cubicBezTo>
                    <a:pt x="238" y="290"/>
                    <a:pt x="238" y="290"/>
                    <a:pt x="238" y="290"/>
                  </a:cubicBezTo>
                  <a:cubicBezTo>
                    <a:pt x="238" y="289"/>
                    <a:pt x="238" y="289"/>
                    <a:pt x="238" y="289"/>
                  </a:cubicBezTo>
                  <a:cubicBezTo>
                    <a:pt x="238" y="289"/>
                    <a:pt x="238" y="289"/>
                    <a:pt x="238" y="289"/>
                  </a:cubicBezTo>
                  <a:cubicBezTo>
                    <a:pt x="238" y="289"/>
                    <a:pt x="238" y="289"/>
                    <a:pt x="238" y="289"/>
                  </a:cubicBezTo>
                  <a:cubicBezTo>
                    <a:pt x="238" y="289"/>
                    <a:pt x="238" y="289"/>
                    <a:pt x="238" y="289"/>
                  </a:cubicBezTo>
                  <a:cubicBezTo>
                    <a:pt x="238" y="289"/>
                    <a:pt x="238" y="289"/>
                    <a:pt x="238" y="289"/>
                  </a:cubicBezTo>
                  <a:cubicBezTo>
                    <a:pt x="238" y="289"/>
                    <a:pt x="238" y="289"/>
                    <a:pt x="238" y="289"/>
                  </a:cubicBezTo>
                  <a:cubicBezTo>
                    <a:pt x="238" y="289"/>
                    <a:pt x="238" y="289"/>
                    <a:pt x="238" y="289"/>
                  </a:cubicBezTo>
                  <a:cubicBezTo>
                    <a:pt x="238" y="289"/>
                    <a:pt x="238" y="289"/>
                    <a:pt x="238" y="289"/>
                  </a:cubicBezTo>
                  <a:cubicBezTo>
                    <a:pt x="238" y="289"/>
                    <a:pt x="238" y="289"/>
                    <a:pt x="238" y="289"/>
                  </a:cubicBezTo>
                  <a:cubicBezTo>
                    <a:pt x="238" y="289"/>
                    <a:pt x="238" y="289"/>
                    <a:pt x="238" y="289"/>
                  </a:cubicBezTo>
                  <a:cubicBezTo>
                    <a:pt x="238" y="288"/>
                    <a:pt x="238" y="288"/>
                    <a:pt x="238" y="288"/>
                  </a:cubicBezTo>
                  <a:cubicBezTo>
                    <a:pt x="238" y="288"/>
                    <a:pt x="238" y="288"/>
                    <a:pt x="238" y="288"/>
                  </a:cubicBezTo>
                  <a:cubicBezTo>
                    <a:pt x="238" y="288"/>
                    <a:pt x="238" y="288"/>
                    <a:pt x="238" y="288"/>
                  </a:cubicBezTo>
                  <a:cubicBezTo>
                    <a:pt x="238" y="288"/>
                    <a:pt x="238" y="288"/>
                    <a:pt x="238" y="288"/>
                  </a:cubicBezTo>
                  <a:cubicBezTo>
                    <a:pt x="238" y="288"/>
                    <a:pt x="238" y="288"/>
                    <a:pt x="238" y="288"/>
                  </a:cubicBezTo>
                  <a:cubicBezTo>
                    <a:pt x="238" y="288"/>
                    <a:pt x="239" y="288"/>
                    <a:pt x="239" y="288"/>
                  </a:cubicBezTo>
                  <a:cubicBezTo>
                    <a:pt x="239" y="288"/>
                    <a:pt x="239" y="288"/>
                    <a:pt x="239" y="288"/>
                  </a:cubicBezTo>
                  <a:cubicBezTo>
                    <a:pt x="239" y="288"/>
                    <a:pt x="239" y="288"/>
                    <a:pt x="239" y="288"/>
                  </a:cubicBezTo>
                  <a:cubicBezTo>
                    <a:pt x="239" y="287"/>
                    <a:pt x="239" y="287"/>
                    <a:pt x="239" y="287"/>
                  </a:cubicBezTo>
                  <a:cubicBezTo>
                    <a:pt x="239" y="287"/>
                    <a:pt x="239" y="287"/>
                    <a:pt x="239" y="287"/>
                  </a:cubicBezTo>
                  <a:cubicBezTo>
                    <a:pt x="239" y="287"/>
                    <a:pt x="239" y="287"/>
                    <a:pt x="239" y="287"/>
                  </a:cubicBezTo>
                  <a:cubicBezTo>
                    <a:pt x="239" y="287"/>
                    <a:pt x="239" y="287"/>
                    <a:pt x="239" y="287"/>
                  </a:cubicBezTo>
                  <a:cubicBezTo>
                    <a:pt x="239" y="287"/>
                    <a:pt x="239" y="287"/>
                    <a:pt x="239" y="287"/>
                  </a:cubicBezTo>
                  <a:cubicBezTo>
                    <a:pt x="239" y="287"/>
                    <a:pt x="239" y="287"/>
                    <a:pt x="239" y="287"/>
                  </a:cubicBezTo>
                  <a:cubicBezTo>
                    <a:pt x="239" y="287"/>
                    <a:pt x="239" y="287"/>
                    <a:pt x="239" y="287"/>
                  </a:cubicBezTo>
                  <a:cubicBezTo>
                    <a:pt x="239" y="286"/>
                    <a:pt x="239" y="286"/>
                    <a:pt x="239" y="286"/>
                  </a:cubicBezTo>
                  <a:cubicBezTo>
                    <a:pt x="239" y="286"/>
                    <a:pt x="239" y="286"/>
                    <a:pt x="239" y="286"/>
                  </a:cubicBezTo>
                  <a:cubicBezTo>
                    <a:pt x="239" y="286"/>
                    <a:pt x="239" y="286"/>
                    <a:pt x="239" y="286"/>
                  </a:cubicBezTo>
                  <a:cubicBezTo>
                    <a:pt x="239" y="286"/>
                    <a:pt x="239" y="286"/>
                    <a:pt x="239" y="286"/>
                  </a:cubicBezTo>
                  <a:cubicBezTo>
                    <a:pt x="239" y="286"/>
                    <a:pt x="239" y="286"/>
                    <a:pt x="239" y="286"/>
                  </a:cubicBezTo>
                  <a:cubicBezTo>
                    <a:pt x="239" y="286"/>
                    <a:pt x="239" y="286"/>
                    <a:pt x="239" y="286"/>
                  </a:cubicBezTo>
                  <a:cubicBezTo>
                    <a:pt x="240" y="286"/>
                    <a:pt x="240" y="286"/>
                    <a:pt x="240" y="286"/>
                  </a:cubicBezTo>
                  <a:cubicBezTo>
                    <a:pt x="240" y="286"/>
                    <a:pt x="240" y="286"/>
                    <a:pt x="240" y="286"/>
                  </a:cubicBezTo>
                  <a:cubicBezTo>
                    <a:pt x="239" y="286"/>
                    <a:pt x="239" y="286"/>
                    <a:pt x="239" y="286"/>
                  </a:cubicBezTo>
                  <a:cubicBezTo>
                    <a:pt x="239" y="285"/>
                    <a:pt x="239" y="285"/>
                    <a:pt x="239" y="285"/>
                  </a:cubicBezTo>
                  <a:cubicBezTo>
                    <a:pt x="239" y="285"/>
                    <a:pt x="239" y="285"/>
                    <a:pt x="239" y="285"/>
                  </a:cubicBezTo>
                  <a:cubicBezTo>
                    <a:pt x="239" y="285"/>
                    <a:pt x="239" y="285"/>
                    <a:pt x="239" y="285"/>
                  </a:cubicBezTo>
                  <a:cubicBezTo>
                    <a:pt x="240" y="285"/>
                    <a:pt x="240" y="285"/>
                    <a:pt x="240" y="285"/>
                  </a:cubicBezTo>
                  <a:cubicBezTo>
                    <a:pt x="240" y="285"/>
                    <a:pt x="240" y="285"/>
                    <a:pt x="240" y="285"/>
                  </a:cubicBezTo>
                  <a:cubicBezTo>
                    <a:pt x="240" y="285"/>
                    <a:pt x="240" y="285"/>
                    <a:pt x="240" y="285"/>
                  </a:cubicBezTo>
                  <a:cubicBezTo>
                    <a:pt x="240" y="285"/>
                    <a:pt x="240" y="285"/>
                    <a:pt x="240" y="285"/>
                  </a:cubicBezTo>
                  <a:cubicBezTo>
                    <a:pt x="240" y="285"/>
                    <a:pt x="240" y="285"/>
                    <a:pt x="240" y="285"/>
                  </a:cubicBezTo>
                  <a:cubicBezTo>
                    <a:pt x="240" y="284"/>
                    <a:pt x="240" y="284"/>
                    <a:pt x="240" y="284"/>
                  </a:cubicBezTo>
                  <a:cubicBezTo>
                    <a:pt x="240" y="284"/>
                    <a:pt x="240" y="284"/>
                    <a:pt x="240" y="284"/>
                  </a:cubicBezTo>
                  <a:cubicBezTo>
                    <a:pt x="240" y="283"/>
                    <a:pt x="240" y="283"/>
                    <a:pt x="240" y="283"/>
                  </a:cubicBezTo>
                  <a:cubicBezTo>
                    <a:pt x="239" y="283"/>
                    <a:pt x="239" y="283"/>
                    <a:pt x="239" y="283"/>
                  </a:cubicBezTo>
                  <a:cubicBezTo>
                    <a:pt x="239" y="282"/>
                    <a:pt x="239" y="282"/>
                    <a:pt x="239" y="282"/>
                  </a:cubicBezTo>
                  <a:cubicBezTo>
                    <a:pt x="239" y="282"/>
                    <a:pt x="239" y="282"/>
                    <a:pt x="239" y="282"/>
                  </a:cubicBezTo>
                  <a:cubicBezTo>
                    <a:pt x="239" y="282"/>
                    <a:pt x="239" y="282"/>
                    <a:pt x="239" y="282"/>
                  </a:cubicBezTo>
                  <a:cubicBezTo>
                    <a:pt x="239" y="281"/>
                    <a:pt x="239" y="281"/>
                    <a:pt x="239" y="281"/>
                  </a:cubicBezTo>
                  <a:cubicBezTo>
                    <a:pt x="240" y="281"/>
                    <a:pt x="240" y="281"/>
                    <a:pt x="240" y="281"/>
                  </a:cubicBezTo>
                  <a:cubicBezTo>
                    <a:pt x="240" y="281"/>
                    <a:pt x="240" y="281"/>
                    <a:pt x="240" y="281"/>
                  </a:cubicBezTo>
                  <a:cubicBezTo>
                    <a:pt x="240" y="281"/>
                    <a:pt x="240" y="281"/>
                    <a:pt x="240" y="281"/>
                  </a:cubicBezTo>
                  <a:cubicBezTo>
                    <a:pt x="240" y="281"/>
                    <a:pt x="240" y="281"/>
                    <a:pt x="240" y="281"/>
                  </a:cubicBezTo>
                  <a:cubicBezTo>
                    <a:pt x="240" y="281"/>
                    <a:pt x="240" y="281"/>
                    <a:pt x="240" y="281"/>
                  </a:cubicBezTo>
                  <a:cubicBezTo>
                    <a:pt x="240" y="281"/>
                    <a:pt x="240" y="281"/>
                    <a:pt x="240" y="281"/>
                  </a:cubicBezTo>
                  <a:cubicBezTo>
                    <a:pt x="240" y="280"/>
                    <a:pt x="240" y="280"/>
                    <a:pt x="240" y="280"/>
                  </a:cubicBezTo>
                  <a:cubicBezTo>
                    <a:pt x="240" y="280"/>
                    <a:pt x="240" y="280"/>
                    <a:pt x="240" y="280"/>
                  </a:cubicBezTo>
                  <a:cubicBezTo>
                    <a:pt x="240" y="280"/>
                    <a:pt x="240" y="280"/>
                    <a:pt x="240" y="280"/>
                  </a:cubicBezTo>
                  <a:cubicBezTo>
                    <a:pt x="240" y="280"/>
                    <a:pt x="240" y="280"/>
                    <a:pt x="240" y="280"/>
                  </a:cubicBezTo>
                  <a:cubicBezTo>
                    <a:pt x="240" y="280"/>
                    <a:pt x="240" y="280"/>
                    <a:pt x="240" y="279"/>
                  </a:cubicBezTo>
                  <a:cubicBezTo>
                    <a:pt x="240" y="279"/>
                    <a:pt x="240" y="279"/>
                    <a:pt x="240" y="279"/>
                  </a:cubicBezTo>
                  <a:cubicBezTo>
                    <a:pt x="240" y="279"/>
                    <a:pt x="240" y="279"/>
                    <a:pt x="240" y="279"/>
                  </a:cubicBezTo>
                  <a:cubicBezTo>
                    <a:pt x="240" y="279"/>
                    <a:pt x="240" y="279"/>
                    <a:pt x="240" y="279"/>
                  </a:cubicBezTo>
                  <a:cubicBezTo>
                    <a:pt x="240" y="279"/>
                    <a:pt x="240" y="279"/>
                    <a:pt x="240" y="279"/>
                  </a:cubicBezTo>
                  <a:cubicBezTo>
                    <a:pt x="240" y="279"/>
                    <a:pt x="240" y="279"/>
                    <a:pt x="240" y="279"/>
                  </a:cubicBezTo>
                  <a:cubicBezTo>
                    <a:pt x="240" y="279"/>
                    <a:pt x="240" y="279"/>
                    <a:pt x="240" y="279"/>
                  </a:cubicBezTo>
                  <a:cubicBezTo>
                    <a:pt x="240" y="279"/>
                    <a:pt x="240" y="279"/>
                    <a:pt x="240" y="279"/>
                  </a:cubicBezTo>
                  <a:cubicBezTo>
                    <a:pt x="240" y="279"/>
                    <a:pt x="240" y="279"/>
                    <a:pt x="240" y="279"/>
                  </a:cubicBezTo>
                  <a:cubicBezTo>
                    <a:pt x="240" y="279"/>
                    <a:pt x="240" y="279"/>
                    <a:pt x="240" y="279"/>
                  </a:cubicBezTo>
                  <a:cubicBezTo>
                    <a:pt x="240" y="278"/>
                    <a:pt x="240" y="278"/>
                    <a:pt x="240" y="278"/>
                  </a:cubicBezTo>
                  <a:cubicBezTo>
                    <a:pt x="240" y="278"/>
                    <a:pt x="240" y="278"/>
                    <a:pt x="240" y="278"/>
                  </a:cubicBezTo>
                  <a:cubicBezTo>
                    <a:pt x="240" y="278"/>
                    <a:pt x="240" y="278"/>
                    <a:pt x="240" y="278"/>
                  </a:cubicBezTo>
                  <a:cubicBezTo>
                    <a:pt x="240" y="278"/>
                    <a:pt x="240" y="278"/>
                    <a:pt x="240" y="278"/>
                  </a:cubicBezTo>
                  <a:cubicBezTo>
                    <a:pt x="240" y="278"/>
                    <a:pt x="240" y="278"/>
                    <a:pt x="240" y="278"/>
                  </a:cubicBezTo>
                  <a:cubicBezTo>
                    <a:pt x="240" y="278"/>
                    <a:pt x="240" y="278"/>
                    <a:pt x="240" y="278"/>
                  </a:cubicBezTo>
                  <a:cubicBezTo>
                    <a:pt x="239" y="278"/>
                    <a:pt x="239" y="278"/>
                    <a:pt x="239" y="278"/>
                  </a:cubicBezTo>
                  <a:cubicBezTo>
                    <a:pt x="239" y="277"/>
                    <a:pt x="239" y="277"/>
                    <a:pt x="239" y="277"/>
                  </a:cubicBezTo>
                  <a:cubicBezTo>
                    <a:pt x="239" y="277"/>
                    <a:pt x="239" y="277"/>
                    <a:pt x="239" y="277"/>
                  </a:cubicBezTo>
                  <a:cubicBezTo>
                    <a:pt x="239" y="277"/>
                    <a:pt x="239" y="277"/>
                    <a:pt x="239" y="277"/>
                  </a:cubicBezTo>
                  <a:cubicBezTo>
                    <a:pt x="240" y="276"/>
                    <a:pt x="240" y="276"/>
                    <a:pt x="240" y="276"/>
                  </a:cubicBezTo>
                  <a:cubicBezTo>
                    <a:pt x="240" y="276"/>
                    <a:pt x="240" y="276"/>
                    <a:pt x="240" y="276"/>
                  </a:cubicBezTo>
                  <a:cubicBezTo>
                    <a:pt x="240" y="276"/>
                    <a:pt x="240" y="276"/>
                    <a:pt x="240" y="276"/>
                  </a:cubicBezTo>
                  <a:cubicBezTo>
                    <a:pt x="240" y="276"/>
                    <a:pt x="239" y="276"/>
                    <a:pt x="239" y="275"/>
                  </a:cubicBezTo>
                  <a:cubicBezTo>
                    <a:pt x="239" y="275"/>
                    <a:pt x="239" y="275"/>
                    <a:pt x="239" y="275"/>
                  </a:cubicBezTo>
                  <a:cubicBezTo>
                    <a:pt x="239" y="275"/>
                    <a:pt x="239" y="275"/>
                    <a:pt x="239" y="275"/>
                  </a:cubicBezTo>
                  <a:cubicBezTo>
                    <a:pt x="239" y="275"/>
                    <a:pt x="239" y="275"/>
                    <a:pt x="239" y="274"/>
                  </a:cubicBezTo>
                  <a:cubicBezTo>
                    <a:pt x="239" y="274"/>
                    <a:pt x="239" y="274"/>
                    <a:pt x="239" y="274"/>
                  </a:cubicBezTo>
                  <a:cubicBezTo>
                    <a:pt x="239" y="274"/>
                    <a:pt x="239" y="274"/>
                    <a:pt x="239" y="274"/>
                  </a:cubicBezTo>
                  <a:cubicBezTo>
                    <a:pt x="239" y="274"/>
                    <a:pt x="239" y="274"/>
                    <a:pt x="239" y="274"/>
                  </a:cubicBezTo>
                  <a:cubicBezTo>
                    <a:pt x="239" y="274"/>
                    <a:pt x="239" y="274"/>
                    <a:pt x="239" y="274"/>
                  </a:cubicBezTo>
                  <a:cubicBezTo>
                    <a:pt x="239" y="273"/>
                    <a:pt x="239" y="273"/>
                    <a:pt x="239" y="273"/>
                  </a:cubicBezTo>
                  <a:cubicBezTo>
                    <a:pt x="239" y="273"/>
                    <a:pt x="239" y="273"/>
                    <a:pt x="239" y="273"/>
                  </a:cubicBezTo>
                  <a:cubicBezTo>
                    <a:pt x="239" y="273"/>
                    <a:pt x="239" y="273"/>
                    <a:pt x="239" y="273"/>
                  </a:cubicBezTo>
                  <a:cubicBezTo>
                    <a:pt x="239" y="273"/>
                    <a:pt x="239" y="273"/>
                    <a:pt x="239" y="273"/>
                  </a:cubicBezTo>
                  <a:cubicBezTo>
                    <a:pt x="239" y="272"/>
                    <a:pt x="239" y="272"/>
                    <a:pt x="239" y="272"/>
                  </a:cubicBezTo>
                  <a:cubicBezTo>
                    <a:pt x="239" y="272"/>
                    <a:pt x="239" y="272"/>
                    <a:pt x="239" y="272"/>
                  </a:cubicBezTo>
                  <a:cubicBezTo>
                    <a:pt x="239" y="272"/>
                    <a:pt x="239" y="272"/>
                    <a:pt x="239" y="272"/>
                  </a:cubicBezTo>
                  <a:cubicBezTo>
                    <a:pt x="239" y="272"/>
                    <a:pt x="239" y="272"/>
                    <a:pt x="239" y="272"/>
                  </a:cubicBezTo>
                  <a:cubicBezTo>
                    <a:pt x="239" y="272"/>
                    <a:pt x="239" y="272"/>
                    <a:pt x="239" y="272"/>
                  </a:cubicBezTo>
                  <a:cubicBezTo>
                    <a:pt x="239" y="272"/>
                    <a:pt x="239" y="272"/>
                    <a:pt x="239" y="272"/>
                  </a:cubicBezTo>
                  <a:cubicBezTo>
                    <a:pt x="238" y="271"/>
                    <a:pt x="238" y="271"/>
                    <a:pt x="238" y="271"/>
                  </a:cubicBezTo>
                  <a:cubicBezTo>
                    <a:pt x="238" y="271"/>
                    <a:pt x="238" y="271"/>
                    <a:pt x="238" y="271"/>
                  </a:cubicBezTo>
                  <a:cubicBezTo>
                    <a:pt x="238" y="271"/>
                    <a:pt x="238" y="271"/>
                    <a:pt x="238" y="271"/>
                  </a:cubicBezTo>
                  <a:cubicBezTo>
                    <a:pt x="238" y="271"/>
                    <a:pt x="238" y="271"/>
                    <a:pt x="238" y="271"/>
                  </a:cubicBezTo>
                  <a:cubicBezTo>
                    <a:pt x="238" y="271"/>
                    <a:pt x="238" y="271"/>
                    <a:pt x="238" y="271"/>
                  </a:cubicBezTo>
                  <a:cubicBezTo>
                    <a:pt x="238" y="270"/>
                    <a:pt x="238" y="270"/>
                    <a:pt x="238" y="270"/>
                  </a:cubicBezTo>
                  <a:cubicBezTo>
                    <a:pt x="238" y="270"/>
                    <a:pt x="238" y="270"/>
                    <a:pt x="238" y="270"/>
                  </a:cubicBezTo>
                  <a:cubicBezTo>
                    <a:pt x="238" y="269"/>
                    <a:pt x="238" y="269"/>
                    <a:pt x="238" y="269"/>
                  </a:cubicBezTo>
                  <a:cubicBezTo>
                    <a:pt x="237" y="269"/>
                    <a:pt x="237" y="269"/>
                    <a:pt x="237" y="269"/>
                  </a:cubicBezTo>
                  <a:cubicBezTo>
                    <a:pt x="237" y="268"/>
                    <a:pt x="237" y="268"/>
                    <a:pt x="237" y="268"/>
                  </a:cubicBezTo>
                  <a:cubicBezTo>
                    <a:pt x="237" y="268"/>
                    <a:pt x="237" y="268"/>
                    <a:pt x="237" y="268"/>
                  </a:cubicBezTo>
                  <a:cubicBezTo>
                    <a:pt x="237" y="268"/>
                    <a:pt x="237" y="268"/>
                    <a:pt x="237" y="268"/>
                  </a:cubicBezTo>
                  <a:cubicBezTo>
                    <a:pt x="237" y="268"/>
                    <a:pt x="237" y="268"/>
                    <a:pt x="237" y="268"/>
                  </a:cubicBezTo>
                  <a:cubicBezTo>
                    <a:pt x="237" y="268"/>
                    <a:pt x="237" y="268"/>
                    <a:pt x="237" y="268"/>
                  </a:cubicBezTo>
                  <a:cubicBezTo>
                    <a:pt x="236" y="268"/>
                    <a:pt x="236" y="268"/>
                    <a:pt x="236" y="268"/>
                  </a:cubicBezTo>
                  <a:cubicBezTo>
                    <a:pt x="236" y="268"/>
                    <a:pt x="236" y="268"/>
                    <a:pt x="236" y="268"/>
                  </a:cubicBezTo>
                  <a:cubicBezTo>
                    <a:pt x="236" y="267"/>
                    <a:pt x="236" y="267"/>
                    <a:pt x="236" y="267"/>
                  </a:cubicBezTo>
                  <a:cubicBezTo>
                    <a:pt x="235" y="267"/>
                    <a:pt x="235" y="267"/>
                    <a:pt x="235" y="267"/>
                  </a:cubicBezTo>
                  <a:cubicBezTo>
                    <a:pt x="235" y="268"/>
                    <a:pt x="235" y="268"/>
                    <a:pt x="235" y="268"/>
                  </a:cubicBezTo>
                  <a:cubicBezTo>
                    <a:pt x="235" y="268"/>
                    <a:pt x="235" y="268"/>
                    <a:pt x="235" y="268"/>
                  </a:cubicBezTo>
                  <a:cubicBezTo>
                    <a:pt x="235" y="268"/>
                    <a:pt x="235" y="268"/>
                    <a:pt x="235" y="268"/>
                  </a:cubicBezTo>
                  <a:cubicBezTo>
                    <a:pt x="235" y="268"/>
                    <a:pt x="235" y="268"/>
                    <a:pt x="235" y="268"/>
                  </a:cubicBezTo>
                  <a:cubicBezTo>
                    <a:pt x="234" y="268"/>
                    <a:pt x="234" y="268"/>
                    <a:pt x="234" y="268"/>
                  </a:cubicBezTo>
                  <a:cubicBezTo>
                    <a:pt x="234" y="268"/>
                    <a:pt x="234" y="268"/>
                    <a:pt x="234" y="268"/>
                  </a:cubicBezTo>
                  <a:cubicBezTo>
                    <a:pt x="234" y="268"/>
                    <a:pt x="234" y="268"/>
                    <a:pt x="234" y="268"/>
                  </a:cubicBezTo>
                  <a:cubicBezTo>
                    <a:pt x="234" y="268"/>
                    <a:pt x="234" y="268"/>
                    <a:pt x="234" y="268"/>
                  </a:cubicBezTo>
                  <a:cubicBezTo>
                    <a:pt x="234" y="268"/>
                    <a:pt x="234" y="268"/>
                    <a:pt x="234" y="268"/>
                  </a:cubicBezTo>
                  <a:cubicBezTo>
                    <a:pt x="234" y="267"/>
                    <a:pt x="234" y="267"/>
                    <a:pt x="234" y="267"/>
                  </a:cubicBezTo>
                  <a:cubicBezTo>
                    <a:pt x="234" y="267"/>
                    <a:pt x="234" y="267"/>
                    <a:pt x="233" y="267"/>
                  </a:cubicBezTo>
                  <a:cubicBezTo>
                    <a:pt x="233" y="266"/>
                    <a:pt x="233" y="266"/>
                    <a:pt x="233" y="266"/>
                  </a:cubicBezTo>
                  <a:cubicBezTo>
                    <a:pt x="233" y="266"/>
                    <a:pt x="233" y="266"/>
                    <a:pt x="233" y="266"/>
                  </a:cubicBezTo>
                  <a:cubicBezTo>
                    <a:pt x="233" y="266"/>
                    <a:pt x="233" y="266"/>
                    <a:pt x="233" y="266"/>
                  </a:cubicBezTo>
                  <a:cubicBezTo>
                    <a:pt x="233" y="266"/>
                    <a:pt x="233" y="266"/>
                    <a:pt x="233" y="266"/>
                  </a:cubicBezTo>
                  <a:cubicBezTo>
                    <a:pt x="234" y="266"/>
                    <a:pt x="234" y="266"/>
                    <a:pt x="234" y="266"/>
                  </a:cubicBezTo>
                  <a:cubicBezTo>
                    <a:pt x="234" y="265"/>
                    <a:pt x="234" y="265"/>
                    <a:pt x="234" y="265"/>
                  </a:cubicBezTo>
                  <a:cubicBezTo>
                    <a:pt x="234" y="265"/>
                    <a:pt x="234" y="265"/>
                    <a:pt x="234" y="265"/>
                  </a:cubicBezTo>
                  <a:cubicBezTo>
                    <a:pt x="234" y="265"/>
                    <a:pt x="234" y="265"/>
                    <a:pt x="234" y="265"/>
                  </a:cubicBezTo>
                  <a:cubicBezTo>
                    <a:pt x="233" y="265"/>
                    <a:pt x="233" y="265"/>
                    <a:pt x="233" y="265"/>
                  </a:cubicBezTo>
                  <a:cubicBezTo>
                    <a:pt x="233" y="265"/>
                    <a:pt x="233" y="265"/>
                    <a:pt x="233" y="265"/>
                  </a:cubicBezTo>
                  <a:cubicBezTo>
                    <a:pt x="233" y="264"/>
                    <a:pt x="233" y="264"/>
                    <a:pt x="233" y="264"/>
                  </a:cubicBezTo>
                  <a:cubicBezTo>
                    <a:pt x="233" y="264"/>
                    <a:pt x="233" y="264"/>
                    <a:pt x="233" y="264"/>
                  </a:cubicBezTo>
                  <a:cubicBezTo>
                    <a:pt x="233" y="264"/>
                    <a:pt x="233" y="264"/>
                    <a:pt x="233" y="264"/>
                  </a:cubicBezTo>
                  <a:cubicBezTo>
                    <a:pt x="233" y="264"/>
                    <a:pt x="233" y="264"/>
                    <a:pt x="233" y="264"/>
                  </a:cubicBezTo>
                  <a:cubicBezTo>
                    <a:pt x="233" y="264"/>
                    <a:pt x="233" y="264"/>
                    <a:pt x="233" y="264"/>
                  </a:cubicBezTo>
                  <a:cubicBezTo>
                    <a:pt x="233" y="264"/>
                    <a:pt x="233" y="264"/>
                    <a:pt x="233" y="264"/>
                  </a:cubicBezTo>
                  <a:cubicBezTo>
                    <a:pt x="233" y="264"/>
                    <a:pt x="233" y="264"/>
                    <a:pt x="233" y="264"/>
                  </a:cubicBezTo>
                  <a:cubicBezTo>
                    <a:pt x="232" y="264"/>
                    <a:pt x="232" y="264"/>
                    <a:pt x="232" y="264"/>
                  </a:cubicBezTo>
                  <a:cubicBezTo>
                    <a:pt x="232" y="264"/>
                    <a:pt x="232" y="264"/>
                    <a:pt x="232" y="264"/>
                  </a:cubicBezTo>
                  <a:cubicBezTo>
                    <a:pt x="232" y="264"/>
                    <a:pt x="232" y="264"/>
                    <a:pt x="232" y="264"/>
                  </a:cubicBezTo>
                  <a:cubicBezTo>
                    <a:pt x="232" y="264"/>
                    <a:pt x="232" y="264"/>
                    <a:pt x="232" y="264"/>
                  </a:cubicBezTo>
                  <a:cubicBezTo>
                    <a:pt x="232" y="263"/>
                    <a:pt x="232" y="263"/>
                    <a:pt x="232" y="263"/>
                  </a:cubicBezTo>
                  <a:cubicBezTo>
                    <a:pt x="232" y="263"/>
                    <a:pt x="232" y="263"/>
                    <a:pt x="232" y="263"/>
                  </a:cubicBezTo>
                  <a:cubicBezTo>
                    <a:pt x="232" y="263"/>
                    <a:pt x="232" y="263"/>
                    <a:pt x="232" y="263"/>
                  </a:cubicBezTo>
                  <a:cubicBezTo>
                    <a:pt x="232" y="263"/>
                    <a:pt x="232" y="263"/>
                    <a:pt x="232" y="263"/>
                  </a:cubicBezTo>
                  <a:cubicBezTo>
                    <a:pt x="231" y="263"/>
                    <a:pt x="231" y="263"/>
                    <a:pt x="231" y="263"/>
                  </a:cubicBezTo>
                  <a:cubicBezTo>
                    <a:pt x="231" y="263"/>
                    <a:pt x="231" y="263"/>
                    <a:pt x="231" y="263"/>
                  </a:cubicBezTo>
                  <a:cubicBezTo>
                    <a:pt x="231" y="263"/>
                    <a:pt x="231" y="263"/>
                    <a:pt x="231" y="263"/>
                  </a:cubicBezTo>
                  <a:cubicBezTo>
                    <a:pt x="231" y="262"/>
                    <a:pt x="231" y="262"/>
                    <a:pt x="231" y="262"/>
                  </a:cubicBezTo>
                  <a:cubicBezTo>
                    <a:pt x="231" y="262"/>
                    <a:pt x="231" y="262"/>
                    <a:pt x="231" y="262"/>
                  </a:cubicBezTo>
                  <a:cubicBezTo>
                    <a:pt x="231" y="262"/>
                    <a:pt x="231" y="262"/>
                    <a:pt x="231" y="262"/>
                  </a:cubicBezTo>
                  <a:cubicBezTo>
                    <a:pt x="230" y="262"/>
                    <a:pt x="230" y="262"/>
                    <a:pt x="230" y="262"/>
                  </a:cubicBezTo>
                  <a:cubicBezTo>
                    <a:pt x="230" y="261"/>
                    <a:pt x="230" y="261"/>
                    <a:pt x="230" y="261"/>
                  </a:cubicBezTo>
                  <a:cubicBezTo>
                    <a:pt x="230" y="261"/>
                    <a:pt x="230" y="261"/>
                    <a:pt x="230" y="261"/>
                  </a:cubicBezTo>
                  <a:cubicBezTo>
                    <a:pt x="230" y="261"/>
                    <a:pt x="230" y="261"/>
                    <a:pt x="230" y="261"/>
                  </a:cubicBezTo>
                  <a:cubicBezTo>
                    <a:pt x="229" y="261"/>
                    <a:pt x="229" y="261"/>
                    <a:pt x="229" y="261"/>
                  </a:cubicBezTo>
                  <a:cubicBezTo>
                    <a:pt x="230" y="261"/>
                    <a:pt x="230" y="261"/>
                    <a:pt x="230" y="261"/>
                  </a:cubicBezTo>
                  <a:cubicBezTo>
                    <a:pt x="230" y="260"/>
                    <a:pt x="230" y="260"/>
                    <a:pt x="230" y="260"/>
                  </a:cubicBezTo>
                  <a:cubicBezTo>
                    <a:pt x="230" y="260"/>
                    <a:pt x="230" y="260"/>
                    <a:pt x="230" y="260"/>
                  </a:cubicBezTo>
                  <a:cubicBezTo>
                    <a:pt x="230" y="260"/>
                    <a:pt x="230" y="260"/>
                    <a:pt x="230" y="260"/>
                  </a:cubicBezTo>
                  <a:cubicBezTo>
                    <a:pt x="230" y="260"/>
                    <a:pt x="230" y="260"/>
                    <a:pt x="230" y="260"/>
                  </a:cubicBezTo>
                  <a:cubicBezTo>
                    <a:pt x="231" y="260"/>
                    <a:pt x="231" y="260"/>
                    <a:pt x="231" y="260"/>
                  </a:cubicBezTo>
                  <a:cubicBezTo>
                    <a:pt x="231" y="260"/>
                    <a:pt x="231" y="260"/>
                    <a:pt x="231" y="260"/>
                  </a:cubicBezTo>
                  <a:cubicBezTo>
                    <a:pt x="230" y="260"/>
                    <a:pt x="230" y="260"/>
                    <a:pt x="230" y="260"/>
                  </a:cubicBezTo>
                  <a:cubicBezTo>
                    <a:pt x="230" y="260"/>
                    <a:pt x="230" y="260"/>
                    <a:pt x="230" y="260"/>
                  </a:cubicBezTo>
                  <a:cubicBezTo>
                    <a:pt x="230" y="259"/>
                    <a:pt x="230" y="259"/>
                    <a:pt x="230" y="259"/>
                  </a:cubicBezTo>
                  <a:cubicBezTo>
                    <a:pt x="230" y="259"/>
                    <a:pt x="230" y="259"/>
                    <a:pt x="230" y="259"/>
                  </a:cubicBezTo>
                  <a:cubicBezTo>
                    <a:pt x="230" y="259"/>
                    <a:pt x="230" y="259"/>
                    <a:pt x="230" y="259"/>
                  </a:cubicBezTo>
                  <a:cubicBezTo>
                    <a:pt x="230" y="259"/>
                    <a:pt x="230" y="259"/>
                    <a:pt x="230" y="259"/>
                  </a:cubicBezTo>
                  <a:cubicBezTo>
                    <a:pt x="230" y="259"/>
                    <a:pt x="230" y="259"/>
                    <a:pt x="230" y="259"/>
                  </a:cubicBezTo>
                  <a:cubicBezTo>
                    <a:pt x="230" y="259"/>
                    <a:pt x="230" y="259"/>
                    <a:pt x="230" y="259"/>
                  </a:cubicBezTo>
                  <a:cubicBezTo>
                    <a:pt x="230" y="258"/>
                    <a:pt x="230" y="258"/>
                    <a:pt x="230" y="258"/>
                  </a:cubicBezTo>
                  <a:cubicBezTo>
                    <a:pt x="230" y="258"/>
                    <a:pt x="230" y="258"/>
                    <a:pt x="230" y="258"/>
                  </a:cubicBezTo>
                  <a:cubicBezTo>
                    <a:pt x="230" y="258"/>
                    <a:pt x="230" y="258"/>
                    <a:pt x="230" y="258"/>
                  </a:cubicBezTo>
                  <a:cubicBezTo>
                    <a:pt x="230" y="258"/>
                    <a:pt x="230" y="258"/>
                    <a:pt x="230" y="258"/>
                  </a:cubicBezTo>
                  <a:cubicBezTo>
                    <a:pt x="230" y="258"/>
                    <a:pt x="230" y="258"/>
                    <a:pt x="230" y="258"/>
                  </a:cubicBezTo>
                  <a:cubicBezTo>
                    <a:pt x="229" y="258"/>
                    <a:pt x="229" y="258"/>
                    <a:pt x="229" y="258"/>
                  </a:cubicBezTo>
                  <a:cubicBezTo>
                    <a:pt x="229" y="258"/>
                    <a:pt x="229" y="258"/>
                    <a:pt x="229" y="258"/>
                  </a:cubicBezTo>
                  <a:cubicBezTo>
                    <a:pt x="229" y="257"/>
                    <a:pt x="229" y="257"/>
                    <a:pt x="229" y="257"/>
                  </a:cubicBezTo>
                  <a:cubicBezTo>
                    <a:pt x="229" y="257"/>
                    <a:pt x="229" y="257"/>
                    <a:pt x="229" y="257"/>
                  </a:cubicBezTo>
                  <a:cubicBezTo>
                    <a:pt x="229" y="257"/>
                    <a:pt x="229" y="257"/>
                    <a:pt x="229" y="257"/>
                  </a:cubicBezTo>
                  <a:cubicBezTo>
                    <a:pt x="228" y="257"/>
                    <a:pt x="228" y="257"/>
                    <a:pt x="228" y="257"/>
                  </a:cubicBezTo>
                  <a:cubicBezTo>
                    <a:pt x="228" y="257"/>
                    <a:pt x="228" y="257"/>
                    <a:pt x="228" y="257"/>
                  </a:cubicBezTo>
                  <a:cubicBezTo>
                    <a:pt x="228" y="257"/>
                    <a:pt x="228" y="257"/>
                    <a:pt x="228" y="257"/>
                  </a:cubicBezTo>
                  <a:cubicBezTo>
                    <a:pt x="228" y="256"/>
                    <a:pt x="228" y="256"/>
                    <a:pt x="228" y="256"/>
                  </a:cubicBezTo>
                  <a:cubicBezTo>
                    <a:pt x="228" y="256"/>
                    <a:pt x="228" y="256"/>
                    <a:pt x="228" y="256"/>
                  </a:cubicBezTo>
                  <a:cubicBezTo>
                    <a:pt x="228" y="256"/>
                    <a:pt x="228" y="256"/>
                    <a:pt x="228" y="256"/>
                  </a:cubicBezTo>
                  <a:cubicBezTo>
                    <a:pt x="228" y="256"/>
                    <a:pt x="228" y="256"/>
                    <a:pt x="228" y="256"/>
                  </a:cubicBezTo>
                  <a:cubicBezTo>
                    <a:pt x="228" y="256"/>
                    <a:pt x="228" y="256"/>
                    <a:pt x="228" y="256"/>
                  </a:cubicBezTo>
                  <a:cubicBezTo>
                    <a:pt x="228" y="256"/>
                    <a:pt x="228" y="256"/>
                    <a:pt x="228" y="256"/>
                  </a:cubicBezTo>
                  <a:cubicBezTo>
                    <a:pt x="227" y="256"/>
                    <a:pt x="227" y="256"/>
                    <a:pt x="227" y="256"/>
                  </a:cubicBezTo>
                  <a:cubicBezTo>
                    <a:pt x="227" y="256"/>
                    <a:pt x="227" y="256"/>
                    <a:pt x="227" y="256"/>
                  </a:cubicBezTo>
                  <a:cubicBezTo>
                    <a:pt x="226" y="255"/>
                    <a:pt x="226" y="255"/>
                    <a:pt x="226" y="255"/>
                  </a:cubicBezTo>
                  <a:cubicBezTo>
                    <a:pt x="226" y="255"/>
                    <a:pt x="226" y="255"/>
                    <a:pt x="226" y="255"/>
                  </a:cubicBezTo>
                  <a:cubicBezTo>
                    <a:pt x="226" y="255"/>
                    <a:pt x="226" y="255"/>
                    <a:pt x="226" y="255"/>
                  </a:cubicBezTo>
                  <a:cubicBezTo>
                    <a:pt x="226" y="255"/>
                    <a:pt x="226" y="255"/>
                    <a:pt x="226" y="255"/>
                  </a:cubicBezTo>
                  <a:cubicBezTo>
                    <a:pt x="225" y="254"/>
                    <a:pt x="225" y="254"/>
                    <a:pt x="225" y="254"/>
                  </a:cubicBezTo>
                  <a:cubicBezTo>
                    <a:pt x="225" y="254"/>
                    <a:pt x="225" y="254"/>
                    <a:pt x="225" y="254"/>
                  </a:cubicBezTo>
                  <a:cubicBezTo>
                    <a:pt x="226" y="254"/>
                    <a:pt x="226" y="253"/>
                    <a:pt x="226" y="253"/>
                  </a:cubicBezTo>
                  <a:cubicBezTo>
                    <a:pt x="226" y="253"/>
                    <a:pt x="226" y="253"/>
                    <a:pt x="226" y="253"/>
                  </a:cubicBezTo>
                  <a:cubicBezTo>
                    <a:pt x="225" y="252"/>
                    <a:pt x="225" y="252"/>
                    <a:pt x="225" y="252"/>
                  </a:cubicBezTo>
                  <a:cubicBezTo>
                    <a:pt x="225" y="252"/>
                    <a:pt x="225" y="252"/>
                    <a:pt x="225" y="252"/>
                  </a:cubicBezTo>
                  <a:cubicBezTo>
                    <a:pt x="225" y="252"/>
                    <a:pt x="225" y="252"/>
                    <a:pt x="225" y="252"/>
                  </a:cubicBezTo>
                  <a:cubicBezTo>
                    <a:pt x="224" y="252"/>
                    <a:pt x="224" y="252"/>
                    <a:pt x="224" y="252"/>
                  </a:cubicBezTo>
                  <a:cubicBezTo>
                    <a:pt x="224" y="251"/>
                    <a:pt x="224" y="251"/>
                    <a:pt x="224" y="251"/>
                  </a:cubicBezTo>
                  <a:cubicBezTo>
                    <a:pt x="224" y="251"/>
                    <a:pt x="224" y="251"/>
                    <a:pt x="224" y="251"/>
                  </a:cubicBezTo>
                  <a:cubicBezTo>
                    <a:pt x="224" y="251"/>
                    <a:pt x="224" y="251"/>
                    <a:pt x="224" y="251"/>
                  </a:cubicBezTo>
                  <a:cubicBezTo>
                    <a:pt x="224" y="251"/>
                    <a:pt x="224" y="251"/>
                    <a:pt x="224" y="251"/>
                  </a:cubicBezTo>
                  <a:cubicBezTo>
                    <a:pt x="224" y="251"/>
                    <a:pt x="224" y="251"/>
                    <a:pt x="224" y="251"/>
                  </a:cubicBezTo>
                  <a:cubicBezTo>
                    <a:pt x="223" y="251"/>
                    <a:pt x="223" y="251"/>
                    <a:pt x="223" y="251"/>
                  </a:cubicBezTo>
                  <a:cubicBezTo>
                    <a:pt x="223" y="251"/>
                    <a:pt x="223" y="251"/>
                    <a:pt x="223" y="251"/>
                  </a:cubicBezTo>
                  <a:cubicBezTo>
                    <a:pt x="223" y="250"/>
                    <a:pt x="223" y="250"/>
                    <a:pt x="223" y="250"/>
                  </a:cubicBezTo>
                  <a:cubicBezTo>
                    <a:pt x="223" y="250"/>
                    <a:pt x="223" y="250"/>
                    <a:pt x="223" y="250"/>
                  </a:cubicBezTo>
                  <a:cubicBezTo>
                    <a:pt x="223" y="250"/>
                    <a:pt x="223" y="250"/>
                    <a:pt x="223" y="250"/>
                  </a:cubicBezTo>
                  <a:cubicBezTo>
                    <a:pt x="223" y="250"/>
                    <a:pt x="223" y="250"/>
                    <a:pt x="223" y="250"/>
                  </a:cubicBezTo>
                  <a:cubicBezTo>
                    <a:pt x="223" y="250"/>
                    <a:pt x="223" y="250"/>
                    <a:pt x="223" y="250"/>
                  </a:cubicBezTo>
                  <a:cubicBezTo>
                    <a:pt x="223" y="250"/>
                    <a:pt x="223" y="250"/>
                    <a:pt x="223" y="249"/>
                  </a:cubicBezTo>
                  <a:cubicBezTo>
                    <a:pt x="223" y="249"/>
                    <a:pt x="223" y="249"/>
                    <a:pt x="223" y="249"/>
                  </a:cubicBezTo>
                  <a:cubicBezTo>
                    <a:pt x="223" y="249"/>
                    <a:pt x="223" y="249"/>
                    <a:pt x="223" y="249"/>
                  </a:cubicBezTo>
                  <a:cubicBezTo>
                    <a:pt x="223" y="249"/>
                    <a:pt x="223" y="249"/>
                    <a:pt x="223" y="249"/>
                  </a:cubicBezTo>
                  <a:cubicBezTo>
                    <a:pt x="223" y="249"/>
                    <a:pt x="223" y="249"/>
                    <a:pt x="223" y="249"/>
                  </a:cubicBezTo>
                  <a:cubicBezTo>
                    <a:pt x="223" y="248"/>
                    <a:pt x="223" y="248"/>
                    <a:pt x="223" y="248"/>
                  </a:cubicBezTo>
                  <a:cubicBezTo>
                    <a:pt x="223" y="248"/>
                    <a:pt x="223" y="248"/>
                    <a:pt x="223" y="248"/>
                  </a:cubicBezTo>
                  <a:cubicBezTo>
                    <a:pt x="223" y="247"/>
                    <a:pt x="223" y="247"/>
                    <a:pt x="223" y="247"/>
                  </a:cubicBezTo>
                  <a:cubicBezTo>
                    <a:pt x="223" y="247"/>
                    <a:pt x="223" y="247"/>
                    <a:pt x="223" y="247"/>
                  </a:cubicBezTo>
                  <a:cubicBezTo>
                    <a:pt x="222" y="247"/>
                    <a:pt x="222" y="247"/>
                    <a:pt x="222" y="247"/>
                  </a:cubicBezTo>
                  <a:cubicBezTo>
                    <a:pt x="222" y="247"/>
                    <a:pt x="222" y="247"/>
                    <a:pt x="222" y="247"/>
                  </a:cubicBezTo>
                  <a:cubicBezTo>
                    <a:pt x="222" y="246"/>
                    <a:pt x="222" y="246"/>
                    <a:pt x="222" y="246"/>
                  </a:cubicBezTo>
                  <a:cubicBezTo>
                    <a:pt x="222" y="246"/>
                    <a:pt x="222" y="246"/>
                    <a:pt x="222" y="246"/>
                  </a:cubicBezTo>
                  <a:cubicBezTo>
                    <a:pt x="222" y="246"/>
                    <a:pt x="222" y="246"/>
                    <a:pt x="222" y="246"/>
                  </a:cubicBezTo>
                  <a:cubicBezTo>
                    <a:pt x="222" y="245"/>
                    <a:pt x="222" y="245"/>
                    <a:pt x="222" y="245"/>
                  </a:cubicBezTo>
                  <a:cubicBezTo>
                    <a:pt x="222" y="245"/>
                    <a:pt x="222" y="245"/>
                    <a:pt x="222" y="245"/>
                  </a:cubicBezTo>
                  <a:cubicBezTo>
                    <a:pt x="222" y="245"/>
                    <a:pt x="222" y="245"/>
                    <a:pt x="222" y="245"/>
                  </a:cubicBezTo>
                  <a:cubicBezTo>
                    <a:pt x="221" y="245"/>
                    <a:pt x="221" y="245"/>
                    <a:pt x="221" y="245"/>
                  </a:cubicBezTo>
                  <a:cubicBezTo>
                    <a:pt x="221" y="245"/>
                    <a:pt x="221" y="245"/>
                    <a:pt x="221" y="245"/>
                  </a:cubicBezTo>
                  <a:cubicBezTo>
                    <a:pt x="221" y="245"/>
                    <a:pt x="221" y="245"/>
                    <a:pt x="221" y="245"/>
                  </a:cubicBezTo>
                  <a:cubicBezTo>
                    <a:pt x="221" y="244"/>
                    <a:pt x="221" y="244"/>
                    <a:pt x="221" y="244"/>
                  </a:cubicBezTo>
                  <a:cubicBezTo>
                    <a:pt x="221" y="244"/>
                    <a:pt x="221" y="244"/>
                    <a:pt x="221" y="244"/>
                  </a:cubicBezTo>
                  <a:cubicBezTo>
                    <a:pt x="221" y="244"/>
                    <a:pt x="221" y="244"/>
                    <a:pt x="221" y="244"/>
                  </a:cubicBezTo>
                  <a:cubicBezTo>
                    <a:pt x="221" y="244"/>
                    <a:pt x="221" y="244"/>
                    <a:pt x="221" y="244"/>
                  </a:cubicBezTo>
                  <a:cubicBezTo>
                    <a:pt x="221" y="244"/>
                    <a:pt x="221" y="244"/>
                    <a:pt x="221" y="244"/>
                  </a:cubicBezTo>
                  <a:cubicBezTo>
                    <a:pt x="221" y="243"/>
                    <a:pt x="221" y="243"/>
                    <a:pt x="221" y="243"/>
                  </a:cubicBezTo>
                  <a:cubicBezTo>
                    <a:pt x="220" y="243"/>
                    <a:pt x="220" y="243"/>
                    <a:pt x="220" y="243"/>
                  </a:cubicBezTo>
                  <a:cubicBezTo>
                    <a:pt x="220" y="243"/>
                    <a:pt x="220" y="243"/>
                    <a:pt x="220" y="243"/>
                  </a:cubicBezTo>
                  <a:cubicBezTo>
                    <a:pt x="220" y="242"/>
                    <a:pt x="220" y="242"/>
                    <a:pt x="220" y="242"/>
                  </a:cubicBezTo>
                  <a:cubicBezTo>
                    <a:pt x="220" y="242"/>
                    <a:pt x="220" y="242"/>
                    <a:pt x="220" y="242"/>
                  </a:cubicBezTo>
                  <a:cubicBezTo>
                    <a:pt x="220" y="242"/>
                    <a:pt x="220" y="242"/>
                    <a:pt x="220" y="242"/>
                  </a:cubicBezTo>
                  <a:cubicBezTo>
                    <a:pt x="220" y="241"/>
                    <a:pt x="220" y="241"/>
                    <a:pt x="220" y="241"/>
                  </a:cubicBezTo>
                  <a:cubicBezTo>
                    <a:pt x="220" y="241"/>
                    <a:pt x="220" y="241"/>
                    <a:pt x="220" y="241"/>
                  </a:cubicBezTo>
                  <a:cubicBezTo>
                    <a:pt x="220" y="241"/>
                    <a:pt x="219" y="241"/>
                    <a:pt x="219" y="241"/>
                  </a:cubicBezTo>
                  <a:cubicBezTo>
                    <a:pt x="219" y="241"/>
                    <a:pt x="219" y="241"/>
                    <a:pt x="219" y="241"/>
                  </a:cubicBezTo>
                  <a:cubicBezTo>
                    <a:pt x="219" y="240"/>
                    <a:pt x="219" y="240"/>
                    <a:pt x="219" y="240"/>
                  </a:cubicBezTo>
                  <a:cubicBezTo>
                    <a:pt x="219" y="240"/>
                    <a:pt x="219" y="240"/>
                    <a:pt x="219" y="240"/>
                  </a:cubicBezTo>
                  <a:cubicBezTo>
                    <a:pt x="219" y="240"/>
                    <a:pt x="219" y="240"/>
                    <a:pt x="219" y="240"/>
                  </a:cubicBezTo>
                  <a:cubicBezTo>
                    <a:pt x="219" y="240"/>
                    <a:pt x="219" y="240"/>
                    <a:pt x="219" y="240"/>
                  </a:cubicBezTo>
                  <a:cubicBezTo>
                    <a:pt x="219" y="240"/>
                    <a:pt x="219" y="240"/>
                    <a:pt x="219" y="240"/>
                  </a:cubicBezTo>
                  <a:cubicBezTo>
                    <a:pt x="219" y="239"/>
                    <a:pt x="219" y="239"/>
                    <a:pt x="219" y="239"/>
                  </a:cubicBezTo>
                  <a:cubicBezTo>
                    <a:pt x="219" y="239"/>
                    <a:pt x="219" y="239"/>
                    <a:pt x="219" y="239"/>
                  </a:cubicBezTo>
                  <a:cubicBezTo>
                    <a:pt x="219" y="239"/>
                    <a:pt x="219" y="239"/>
                    <a:pt x="219" y="239"/>
                  </a:cubicBezTo>
                  <a:cubicBezTo>
                    <a:pt x="219" y="239"/>
                    <a:pt x="219" y="239"/>
                    <a:pt x="219" y="239"/>
                  </a:cubicBezTo>
                  <a:cubicBezTo>
                    <a:pt x="218" y="239"/>
                    <a:pt x="218" y="239"/>
                    <a:pt x="218" y="239"/>
                  </a:cubicBezTo>
                  <a:cubicBezTo>
                    <a:pt x="218" y="239"/>
                    <a:pt x="218" y="239"/>
                    <a:pt x="218" y="239"/>
                  </a:cubicBezTo>
                  <a:cubicBezTo>
                    <a:pt x="218" y="239"/>
                    <a:pt x="218" y="239"/>
                    <a:pt x="218" y="239"/>
                  </a:cubicBezTo>
                  <a:cubicBezTo>
                    <a:pt x="218" y="239"/>
                    <a:pt x="218" y="239"/>
                    <a:pt x="218" y="239"/>
                  </a:cubicBezTo>
                  <a:cubicBezTo>
                    <a:pt x="218" y="240"/>
                    <a:pt x="218" y="240"/>
                    <a:pt x="218" y="240"/>
                  </a:cubicBezTo>
                  <a:cubicBezTo>
                    <a:pt x="218" y="240"/>
                    <a:pt x="217" y="240"/>
                    <a:pt x="217" y="240"/>
                  </a:cubicBezTo>
                  <a:cubicBezTo>
                    <a:pt x="217" y="240"/>
                    <a:pt x="217" y="240"/>
                    <a:pt x="217" y="240"/>
                  </a:cubicBezTo>
                  <a:cubicBezTo>
                    <a:pt x="217" y="240"/>
                    <a:pt x="217" y="240"/>
                    <a:pt x="217" y="240"/>
                  </a:cubicBezTo>
                  <a:cubicBezTo>
                    <a:pt x="217" y="240"/>
                    <a:pt x="217" y="240"/>
                    <a:pt x="217" y="240"/>
                  </a:cubicBezTo>
                  <a:cubicBezTo>
                    <a:pt x="217" y="240"/>
                    <a:pt x="217" y="240"/>
                    <a:pt x="217" y="240"/>
                  </a:cubicBezTo>
                  <a:cubicBezTo>
                    <a:pt x="217" y="240"/>
                    <a:pt x="217" y="240"/>
                    <a:pt x="217" y="240"/>
                  </a:cubicBezTo>
                  <a:cubicBezTo>
                    <a:pt x="217" y="241"/>
                    <a:pt x="217" y="241"/>
                    <a:pt x="217" y="241"/>
                  </a:cubicBezTo>
                  <a:cubicBezTo>
                    <a:pt x="217" y="241"/>
                    <a:pt x="217" y="241"/>
                    <a:pt x="217" y="241"/>
                  </a:cubicBezTo>
                  <a:cubicBezTo>
                    <a:pt x="217" y="241"/>
                    <a:pt x="217" y="241"/>
                    <a:pt x="217" y="241"/>
                  </a:cubicBezTo>
                  <a:cubicBezTo>
                    <a:pt x="217" y="241"/>
                    <a:pt x="217" y="241"/>
                    <a:pt x="217" y="241"/>
                  </a:cubicBezTo>
                  <a:cubicBezTo>
                    <a:pt x="216" y="241"/>
                    <a:pt x="216" y="241"/>
                    <a:pt x="216" y="241"/>
                  </a:cubicBezTo>
                  <a:cubicBezTo>
                    <a:pt x="216" y="241"/>
                    <a:pt x="216" y="241"/>
                    <a:pt x="216" y="241"/>
                  </a:cubicBezTo>
                  <a:cubicBezTo>
                    <a:pt x="216" y="241"/>
                    <a:pt x="216" y="241"/>
                    <a:pt x="216" y="241"/>
                  </a:cubicBezTo>
                  <a:cubicBezTo>
                    <a:pt x="215" y="241"/>
                    <a:pt x="215" y="241"/>
                    <a:pt x="215" y="241"/>
                  </a:cubicBezTo>
                  <a:cubicBezTo>
                    <a:pt x="215" y="240"/>
                    <a:pt x="215" y="240"/>
                    <a:pt x="215" y="240"/>
                  </a:cubicBezTo>
                  <a:cubicBezTo>
                    <a:pt x="215" y="240"/>
                    <a:pt x="215" y="240"/>
                    <a:pt x="215" y="240"/>
                  </a:cubicBezTo>
                  <a:cubicBezTo>
                    <a:pt x="215" y="239"/>
                    <a:pt x="215" y="239"/>
                    <a:pt x="215" y="239"/>
                  </a:cubicBezTo>
                  <a:cubicBezTo>
                    <a:pt x="215" y="239"/>
                    <a:pt x="215" y="239"/>
                    <a:pt x="215" y="239"/>
                  </a:cubicBezTo>
                  <a:cubicBezTo>
                    <a:pt x="215" y="239"/>
                    <a:pt x="215" y="239"/>
                    <a:pt x="215" y="239"/>
                  </a:cubicBezTo>
                  <a:cubicBezTo>
                    <a:pt x="215" y="239"/>
                    <a:pt x="215" y="239"/>
                    <a:pt x="215" y="239"/>
                  </a:cubicBezTo>
                  <a:cubicBezTo>
                    <a:pt x="215" y="238"/>
                    <a:pt x="215" y="238"/>
                    <a:pt x="215" y="238"/>
                  </a:cubicBezTo>
                  <a:cubicBezTo>
                    <a:pt x="215" y="238"/>
                    <a:pt x="215" y="238"/>
                    <a:pt x="215" y="238"/>
                  </a:cubicBezTo>
                  <a:cubicBezTo>
                    <a:pt x="215" y="238"/>
                    <a:pt x="215" y="238"/>
                    <a:pt x="215" y="238"/>
                  </a:cubicBezTo>
                  <a:cubicBezTo>
                    <a:pt x="215" y="238"/>
                    <a:pt x="215" y="238"/>
                    <a:pt x="215" y="238"/>
                  </a:cubicBezTo>
                  <a:cubicBezTo>
                    <a:pt x="215" y="238"/>
                    <a:pt x="215" y="238"/>
                    <a:pt x="215" y="238"/>
                  </a:cubicBezTo>
                  <a:cubicBezTo>
                    <a:pt x="215" y="237"/>
                    <a:pt x="215" y="237"/>
                    <a:pt x="215" y="237"/>
                  </a:cubicBezTo>
                  <a:cubicBezTo>
                    <a:pt x="215" y="237"/>
                    <a:pt x="215" y="237"/>
                    <a:pt x="215" y="237"/>
                  </a:cubicBezTo>
                  <a:cubicBezTo>
                    <a:pt x="215" y="237"/>
                    <a:pt x="215" y="237"/>
                    <a:pt x="215" y="237"/>
                  </a:cubicBezTo>
                  <a:cubicBezTo>
                    <a:pt x="215" y="237"/>
                    <a:pt x="215" y="237"/>
                    <a:pt x="215" y="237"/>
                  </a:cubicBezTo>
                  <a:cubicBezTo>
                    <a:pt x="215" y="236"/>
                    <a:pt x="215" y="236"/>
                    <a:pt x="215" y="236"/>
                  </a:cubicBezTo>
                  <a:cubicBezTo>
                    <a:pt x="214" y="236"/>
                    <a:pt x="214" y="236"/>
                    <a:pt x="214" y="236"/>
                  </a:cubicBezTo>
                  <a:cubicBezTo>
                    <a:pt x="214" y="236"/>
                    <a:pt x="214" y="236"/>
                    <a:pt x="214" y="236"/>
                  </a:cubicBezTo>
                  <a:cubicBezTo>
                    <a:pt x="214" y="236"/>
                    <a:pt x="214" y="236"/>
                    <a:pt x="214" y="236"/>
                  </a:cubicBezTo>
                  <a:cubicBezTo>
                    <a:pt x="214" y="236"/>
                    <a:pt x="214" y="235"/>
                    <a:pt x="214" y="235"/>
                  </a:cubicBezTo>
                  <a:cubicBezTo>
                    <a:pt x="214" y="235"/>
                    <a:pt x="214" y="235"/>
                    <a:pt x="214" y="235"/>
                  </a:cubicBezTo>
                  <a:cubicBezTo>
                    <a:pt x="214" y="235"/>
                    <a:pt x="214" y="235"/>
                    <a:pt x="214" y="235"/>
                  </a:cubicBezTo>
                  <a:cubicBezTo>
                    <a:pt x="214" y="235"/>
                    <a:pt x="214" y="235"/>
                    <a:pt x="214" y="235"/>
                  </a:cubicBezTo>
                  <a:cubicBezTo>
                    <a:pt x="213" y="235"/>
                    <a:pt x="213" y="235"/>
                    <a:pt x="213" y="235"/>
                  </a:cubicBezTo>
                  <a:cubicBezTo>
                    <a:pt x="213" y="235"/>
                    <a:pt x="213" y="235"/>
                    <a:pt x="213" y="235"/>
                  </a:cubicBezTo>
                  <a:cubicBezTo>
                    <a:pt x="213" y="234"/>
                    <a:pt x="213" y="234"/>
                    <a:pt x="213" y="234"/>
                  </a:cubicBezTo>
                  <a:cubicBezTo>
                    <a:pt x="213" y="234"/>
                    <a:pt x="213" y="234"/>
                    <a:pt x="213" y="234"/>
                  </a:cubicBezTo>
                  <a:cubicBezTo>
                    <a:pt x="213" y="234"/>
                    <a:pt x="213" y="234"/>
                    <a:pt x="213" y="234"/>
                  </a:cubicBezTo>
                  <a:cubicBezTo>
                    <a:pt x="213" y="234"/>
                    <a:pt x="213" y="234"/>
                    <a:pt x="213" y="234"/>
                  </a:cubicBezTo>
                  <a:cubicBezTo>
                    <a:pt x="213" y="234"/>
                    <a:pt x="212" y="234"/>
                    <a:pt x="212" y="233"/>
                  </a:cubicBezTo>
                  <a:cubicBezTo>
                    <a:pt x="212" y="233"/>
                    <a:pt x="212" y="233"/>
                    <a:pt x="212" y="233"/>
                  </a:cubicBezTo>
                  <a:cubicBezTo>
                    <a:pt x="212" y="233"/>
                    <a:pt x="212" y="233"/>
                    <a:pt x="212" y="233"/>
                  </a:cubicBezTo>
                  <a:cubicBezTo>
                    <a:pt x="212" y="233"/>
                    <a:pt x="212" y="233"/>
                    <a:pt x="212" y="233"/>
                  </a:cubicBezTo>
                  <a:cubicBezTo>
                    <a:pt x="212" y="233"/>
                    <a:pt x="212" y="233"/>
                    <a:pt x="212" y="233"/>
                  </a:cubicBezTo>
                  <a:cubicBezTo>
                    <a:pt x="212" y="233"/>
                    <a:pt x="212" y="233"/>
                    <a:pt x="212" y="233"/>
                  </a:cubicBezTo>
                  <a:cubicBezTo>
                    <a:pt x="212" y="233"/>
                    <a:pt x="212" y="233"/>
                    <a:pt x="212" y="233"/>
                  </a:cubicBezTo>
                  <a:cubicBezTo>
                    <a:pt x="212" y="233"/>
                    <a:pt x="212" y="233"/>
                    <a:pt x="212" y="233"/>
                  </a:cubicBezTo>
                  <a:cubicBezTo>
                    <a:pt x="212" y="233"/>
                    <a:pt x="212" y="233"/>
                    <a:pt x="212" y="233"/>
                  </a:cubicBezTo>
                  <a:cubicBezTo>
                    <a:pt x="212" y="233"/>
                    <a:pt x="212" y="233"/>
                    <a:pt x="212" y="233"/>
                  </a:cubicBezTo>
                  <a:cubicBezTo>
                    <a:pt x="212" y="233"/>
                    <a:pt x="212" y="233"/>
                    <a:pt x="212" y="233"/>
                  </a:cubicBezTo>
                  <a:cubicBezTo>
                    <a:pt x="212" y="233"/>
                    <a:pt x="212" y="233"/>
                    <a:pt x="212" y="233"/>
                  </a:cubicBezTo>
                  <a:cubicBezTo>
                    <a:pt x="212" y="232"/>
                    <a:pt x="212" y="232"/>
                    <a:pt x="212" y="232"/>
                  </a:cubicBezTo>
                  <a:cubicBezTo>
                    <a:pt x="212" y="232"/>
                    <a:pt x="212" y="232"/>
                    <a:pt x="212" y="232"/>
                  </a:cubicBezTo>
                  <a:cubicBezTo>
                    <a:pt x="212" y="232"/>
                    <a:pt x="212" y="232"/>
                    <a:pt x="212" y="232"/>
                  </a:cubicBezTo>
                  <a:cubicBezTo>
                    <a:pt x="212" y="232"/>
                    <a:pt x="212" y="232"/>
                    <a:pt x="212" y="232"/>
                  </a:cubicBezTo>
                  <a:cubicBezTo>
                    <a:pt x="212" y="231"/>
                    <a:pt x="212" y="231"/>
                    <a:pt x="212" y="231"/>
                  </a:cubicBezTo>
                  <a:cubicBezTo>
                    <a:pt x="212" y="231"/>
                    <a:pt x="212" y="231"/>
                    <a:pt x="212" y="231"/>
                  </a:cubicBezTo>
                  <a:cubicBezTo>
                    <a:pt x="212" y="231"/>
                    <a:pt x="212" y="231"/>
                    <a:pt x="212" y="231"/>
                  </a:cubicBezTo>
                  <a:cubicBezTo>
                    <a:pt x="212" y="231"/>
                    <a:pt x="212" y="231"/>
                    <a:pt x="212" y="231"/>
                  </a:cubicBezTo>
                  <a:cubicBezTo>
                    <a:pt x="212" y="231"/>
                    <a:pt x="212" y="231"/>
                    <a:pt x="212" y="231"/>
                  </a:cubicBezTo>
                  <a:cubicBezTo>
                    <a:pt x="212" y="230"/>
                    <a:pt x="212" y="230"/>
                    <a:pt x="212" y="230"/>
                  </a:cubicBezTo>
                  <a:cubicBezTo>
                    <a:pt x="212" y="230"/>
                    <a:pt x="212" y="230"/>
                    <a:pt x="212" y="230"/>
                  </a:cubicBezTo>
                  <a:cubicBezTo>
                    <a:pt x="212" y="230"/>
                    <a:pt x="212" y="230"/>
                    <a:pt x="212" y="230"/>
                  </a:cubicBezTo>
                  <a:cubicBezTo>
                    <a:pt x="212" y="230"/>
                    <a:pt x="212" y="230"/>
                    <a:pt x="212" y="230"/>
                  </a:cubicBezTo>
                  <a:cubicBezTo>
                    <a:pt x="212" y="231"/>
                    <a:pt x="212" y="231"/>
                    <a:pt x="212" y="231"/>
                  </a:cubicBezTo>
                  <a:cubicBezTo>
                    <a:pt x="212" y="231"/>
                    <a:pt x="212" y="231"/>
                    <a:pt x="212" y="231"/>
                  </a:cubicBezTo>
                  <a:cubicBezTo>
                    <a:pt x="211" y="231"/>
                    <a:pt x="211" y="231"/>
                    <a:pt x="211" y="231"/>
                  </a:cubicBezTo>
                  <a:cubicBezTo>
                    <a:pt x="211" y="231"/>
                    <a:pt x="211" y="231"/>
                    <a:pt x="211" y="231"/>
                  </a:cubicBezTo>
                  <a:cubicBezTo>
                    <a:pt x="210" y="231"/>
                    <a:pt x="210" y="231"/>
                    <a:pt x="210" y="231"/>
                  </a:cubicBezTo>
                  <a:cubicBezTo>
                    <a:pt x="210" y="231"/>
                    <a:pt x="210" y="231"/>
                    <a:pt x="210" y="231"/>
                  </a:cubicBezTo>
                  <a:cubicBezTo>
                    <a:pt x="209" y="231"/>
                    <a:pt x="209" y="231"/>
                    <a:pt x="209" y="231"/>
                  </a:cubicBezTo>
                  <a:cubicBezTo>
                    <a:pt x="209" y="231"/>
                    <a:pt x="209" y="231"/>
                    <a:pt x="209" y="231"/>
                  </a:cubicBezTo>
                  <a:cubicBezTo>
                    <a:pt x="208" y="231"/>
                    <a:pt x="208" y="231"/>
                    <a:pt x="208" y="231"/>
                  </a:cubicBezTo>
                  <a:cubicBezTo>
                    <a:pt x="208" y="231"/>
                    <a:pt x="208" y="231"/>
                    <a:pt x="208" y="231"/>
                  </a:cubicBezTo>
                  <a:cubicBezTo>
                    <a:pt x="208" y="230"/>
                    <a:pt x="208" y="230"/>
                    <a:pt x="208" y="230"/>
                  </a:cubicBezTo>
                  <a:cubicBezTo>
                    <a:pt x="208" y="230"/>
                    <a:pt x="208" y="230"/>
                    <a:pt x="208" y="230"/>
                  </a:cubicBezTo>
                  <a:cubicBezTo>
                    <a:pt x="207" y="229"/>
                    <a:pt x="207" y="229"/>
                    <a:pt x="207" y="229"/>
                  </a:cubicBezTo>
                  <a:cubicBezTo>
                    <a:pt x="207" y="229"/>
                    <a:pt x="207" y="229"/>
                    <a:pt x="207" y="229"/>
                  </a:cubicBezTo>
                  <a:cubicBezTo>
                    <a:pt x="207" y="229"/>
                    <a:pt x="207" y="229"/>
                    <a:pt x="207" y="229"/>
                  </a:cubicBezTo>
                  <a:cubicBezTo>
                    <a:pt x="206" y="229"/>
                    <a:pt x="206" y="229"/>
                    <a:pt x="206" y="229"/>
                  </a:cubicBezTo>
                  <a:cubicBezTo>
                    <a:pt x="206" y="228"/>
                    <a:pt x="206" y="228"/>
                    <a:pt x="206" y="228"/>
                  </a:cubicBezTo>
                  <a:cubicBezTo>
                    <a:pt x="206" y="227"/>
                    <a:pt x="206" y="227"/>
                    <a:pt x="206" y="227"/>
                  </a:cubicBezTo>
                  <a:cubicBezTo>
                    <a:pt x="206" y="227"/>
                    <a:pt x="206" y="227"/>
                    <a:pt x="206" y="227"/>
                  </a:cubicBezTo>
                  <a:cubicBezTo>
                    <a:pt x="207" y="227"/>
                    <a:pt x="207" y="227"/>
                    <a:pt x="207" y="227"/>
                  </a:cubicBezTo>
                  <a:cubicBezTo>
                    <a:pt x="207" y="226"/>
                    <a:pt x="207" y="226"/>
                    <a:pt x="207" y="226"/>
                  </a:cubicBezTo>
                  <a:cubicBezTo>
                    <a:pt x="207" y="226"/>
                    <a:pt x="207" y="226"/>
                    <a:pt x="207" y="226"/>
                  </a:cubicBezTo>
                  <a:cubicBezTo>
                    <a:pt x="207" y="225"/>
                    <a:pt x="207" y="225"/>
                    <a:pt x="207" y="225"/>
                  </a:cubicBezTo>
                  <a:cubicBezTo>
                    <a:pt x="207" y="225"/>
                    <a:pt x="207" y="225"/>
                    <a:pt x="207" y="225"/>
                  </a:cubicBezTo>
                  <a:cubicBezTo>
                    <a:pt x="207" y="225"/>
                    <a:pt x="207" y="225"/>
                    <a:pt x="207" y="225"/>
                  </a:cubicBezTo>
                  <a:cubicBezTo>
                    <a:pt x="207" y="224"/>
                    <a:pt x="207" y="224"/>
                    <a:pt x="207" y="224"/>
                  </a:cubicBezTo>
                  <a:cubicBezTo>
                    <a:pt x="206" y="224"/>
                    <a:pt x="206" y="224"/>
                    <a:pt x="206" y="224"/>
                  </a:cubicBezTo>
                  <a:cubicBezTo>
                    <a:pt x="206" y="224"/>
                    <a:pt x="206" y="224"/>
                    <a:pt x="206" y="224"/>
                  </a:cubicBezTo>
                  <a:cubicBezTo>
                    <a:pt x="205" y="224"/>
                    <a:pt x="205" y="224"/>
                    <a:pt x="205" y="224"/>
                  </a:cubicBezTo>
                  <a:cubicBezTo>
                    <a:pt x="205" y="223"/>
                    <a:pt x="205" y="223"/>
                    <a:pt x="205" y="223"/>
                  </a:cubicBezTo>
                  <a:cubicBezTo>
                    <a:pt x="205" y="223"/>
                    <a:pt x="205" y="223"/>
                    <a:pt x="205" y="223"/>
                  </a:cubicBezTo>
                  <a:cubicBezTo>
                    <a:pt x="204" y="223"/>
                    <a:pt x="204" y="223"/>
                    <a:pt x="204" y="223"/>
                  </a:cubicBezTo>
                  <a:cubicBezTo>
                    <a:pt x="204" y="223"/>
                    <a:pt x="204" y="223"/>
                    <a:pt x="204" y="223"/>
                  </a:cubicBezTo>
                  <a:cubicBezTo>
                    <a:pt x="204" y="223"/>
                    <a:pt x="204" y="223"/>
                    <a:pt x="204" y="223"/>
                  </a:cubicBezTo>
                  <a:cubicBezTo>
                    <a:pt x="204" y="223"/>
                    <a:pt x="204" y="223"/>
                    <a:pt x="204" y="223"/>
                  </a:cubicBezTo>
                  <a:cubicBezTo>
                    <a:pt x="204" y="223"/>
                    <a:pt x="204" y="223"/>
                    <a:pt x="204" y="223"/>
                  </a:cubicBezTo>
                  <a:cubicBezTo>
                    <a:pt x="204" y="223"/>
                    <a:pt x="204" y="223"/>
                    <a:pt x="204" y="223"/>
                  </a:cubicBezTo>
                  <a:cubicBezTo>
                    <a:pt x="204" y="223"/>
                    <a:pt x="204" y="223"/>
                    <a:pt x="204" y="223"/>
                  </a:cubicBezTo>
                  <a:cubicBezTo>
                    <a:pt x="204" y="223"/>
                    <a:pt x="204" y="223"/>
                    <a:pt x="204" y="223"/>
                  </a:cubicBezTo>
                  <a:cubicBezTo>
                    <a:pt x="204" y="223"/>
                    <a:pt x="204" y="223"/>
                    <a:pt x="204" y="223"/>
                  </a:cubicBezTo>
                  <a:cubicBezTo>
                    <a:pt x="204" y="223"/>
                    <a:pt x="204" y="223"/>
                    <a:pt x="204" y="223"/>
                  </a:cubicBezTo>
                  <a:cubicBezTo>
                    <a:pt x="204" y="224"/>
                    <a:pt x="204" y="224"/>
                    <a:pt x="204" y="224"/>
                  </a:cubicBezTo>
                  <a:cubicBezTo>
                    <a:pt x="204" y="224"/>
                    <a:pt x="204" y="224"/>
                    <a:pt x="204" y="224"/>
                  </a:cubicBezTo>
                  <a:cubicBezTo>
                    <a:pt x="204" y="224"/>
                    <a:pt x="204" y="224"/>
                    <a:pt x="204" y="224"/>
                  </a:cubicBezTo>
                  <a:cubicBezTo>
                    <a:pt x="204" y="224"/>
                    <a:pt x="204" y="224"/>
                    <a:pt x="204" y="224"/>
                  </a:cubicBezTo>
                  <a:cubicBezTo>
                    <a:pt x="203" y="224"/>
                    <a:pt x="203" y="224"/>
                    <a:pt x="203" y="224"/>
                  </a:cubicBezTo>
                  <a:cubicBezTo>
                    <a:pt x="203" y="224"/>
                    <a:pt x="203" y="224"/>
                    <a:pt x="203" y="224"/>
                  </a:cubicBezTo>
                  <a:cubicBezTo>
                    <a:pt x="202" y="224"/>
                    <a:pt x="202" y="224"/>
                    <a:pt x="202" y="224"/>
                  </a:cubicBezTo>
                  <a:cubicBezTo>
                    <a:pt x="202" y="224"/>
                    <a:pt x="202" y="224"/>
                    <a:pt x="202" y="224"/>
                  </a:cubicBezTo>
                  <a:cubicBezTo>
                    <a:pt x="202" y="224"/>
                    <a:pt x="202" y="224"/>
                    <a:pt x="202" y="224"/>
                  </a:cubicBezTo>
                  <a:cubicBezTo>
                    <a:pt x="202" y="224"/>
                    <a:pt x="202" y="224"/>
                    <a:pt x="202" y="224"/>
                  </a:cubicBezTo>
                  <a:cubicBezTo>
                    <a:pt x="201" y="225"/>
                    <a:pt x="201" y="225"/>
                    <a:pt x="201" y="225"/>
                  </a:cubicBezTo>
                  <a:cubicBezTo>
                    <a:pt x="201" y="224"/>
                    <a:pt x="201" y="224"/>
                    <a:pt x="201" y="224"/>
                  </a:cubicBezTo>
                  <a:cubicBezTo>
                    <a:pt x="201" y="224"/>
                    <a:pt x="201" y="224"/>
                    <a:pt x="201" y="224"/>
                  </a:cubicBezTo>
                  <a:cubicBezTo>
                    <a:pt x="201" y="224"/>
                    <a:pt x="201" y="224"/>
                    <a:pt x="201" y="224"/>
                  </a:cubicBezTo>
                  <a:cubicBezTo>
                    <a:pt x="201" y="224"/>
                    <a:pt x="201" y="224"/>
                    <a:pt x="201" y="224"/>
                  </a:cubicBezTo>
                  <a:cubicBezTo>
                    <a:pt x="201" y="224"/>
                    <a:pt x="201" y="224"/>
                    <a:pt x="201" y="224"/>
                  </a:cubicBezTo>
                  <a:cubicBezTo>
                    <a:pt x="201" y="223"/>
                    <a:pt x="201" y="223"/>
                    <a:pt x="201" y="223"/>
                  </a:cubicBezTo>
                  <a:cubicBezTo>
                    <a:pt x="201" y="223"/>
                    <a:pt x="201" y="223"/>
                    <a:pt x="201" y="223"/>
                  </a:cubicBezTo>
                  <a:cubicBezTo>
                    <a:pt x="201" y="223"/>
                    <a:pt x="201" y="223"/>
                    <a:pt x="201" y="223"/>
                  </a:cubicBezTo>
                  <a:cubicBezTo>
                    <a:pt x="201" y="223"/>
                    <a:pt x="201" y="223"/>
                    <a:pt x="201" y="223"/>
                  </a:cubicBezTo>
                  <a:cubicBezTo>
                    <a:pt x="201" y="223"/>
                    <a:pt x="201" y="223"/>
                    <a:pt x="201" y="223"/>
                  </a:cubicBezTo>
                  <a:cubicBezTo>
                    <a:pt x="201" y="223"/>
                    <a:pt x="201" y="223"/>
                    <a:pt x="201" y="223"/>
                  </a:cubicBezTo>
                  <a:cubicBezTo>
                    <a:pt x="202" y="222"/>
                    <a:pt x="202" y="222"/>
                    <a:pt x="202" y="222"/>
                  </a:cubicBezTo>
                  <a:cubicBezTo>
                    <a:pt x="202" y="222"/>
                    <a:pt x="202" y="222"/>
                    <a:pt x="202" y="222"/>
                  </a:cubicBezTo>
                  <a:cubicBezTo>
                    <a:pt x="202" y="222"/>
                    <a:pt x="202" y="222"/>
                    <a:pt x="202" y="222"/>
                  </a:cubicBezTo>
                  <a:cubicBezTo>
                    <a:pt x="201" y="222"/>
                    <a:pt x="201" y="222"/>
                    <a:pt x="201" y="222"/>
                  </a:cubicBezTo>
                  <a:cubicBezTo>
                    <a:pt x="201" y="222"/>
                    <a:pt x="201" y="222"/>
                    <a:pt x="201" y="222"/>
                  </a:cubicBezTo>
                  <a:cubicBezTo>
                    <a:pt x="201" y="222"/>
                    <a:pt x="201" y="222"/>
                    <a:pt x="201" y="222"/>
                  </a:cubicBezTo>
                  <a:cubicBezTo>
                    <a:pt x="201" y="222"/>
                    <a:pt x="201" y="222"/>
                    <a:pt x="201" y="222"/>
                  </a:cubicBezTo>
                  <a:cubicBezTo>
                    <a:pt x="201" y="221"/>
                    <a:pt x="201" y="221"/>
                    <a:pt x="201" y="221"/>
                  </a:cubicBezTo>
                  <a:cubicBezTo>
                    <a:pt x="201" y="221"/>
                    <a:pt x="201" y="221"/>
                    <a:pt x="201" y="221"/>
                  </a:cubicBezTo>
                  <a:cubicBezTo>
                    <a:pt x="201" y="221"/>
                    <a:pt x="201" y="221"/>
                    <a:pt x="201" y="221"/>
                  </a:cubicBezTo>
                  <a:cubicBezTo>
                    <a:pt x="201" y="221"/>
                    <a:pt x="201" y="221"/>
                    <a:pt x="201" y="221"/>
                  </a:cubicBezTo>
                  <a:cubicBezTo>
                    <a:pt x="201" y="221"/>
                    <a:pt x="201" y="221"/>
                    <a:pt x="201" y="221"/>
                  </a:cubicBezTo>
                  <a:cubicBezTo>
                    <a:pt x="201" y="220"/>
                    <a:pt x="201" y="220"/>
                    <a:pt x="201" y="220"/>
                  </a:cubicBezTo>
                  <a:cubicBezTo>
                    <a:pt x="201" y="220"/>
                    <a:pt x="201" y="220"/>
                    <a:pt x="201" y="220"/>
                  </a:cubicBezTo>
                  <a:cubicBezTo>
                    <a:pt x="201" y="220"/>
                    <a:pt x="201" y="220"/>
                    <a:pt x="201" y="220"/>
                  </a:cubicBezTo>
                  <a:cubicBezTo>
                    <a:pt x="201" y="220"/>
                    <a:pt x="201" y="220"/>
                    <a:pt x="201" y="220"/>
                  </a:cubicBezTo>
                  <a:cubicBezTo>
                    <a:pt x="201" y="220"/>
                    <a:pt x="201" y="220"/>
                    <a:pt x="201" y="220"/>
                  </a:cubicBezTo>
                  <a:cubicBezTo>
                    <a:pt x="200" y="220"/>
                    <a:pt x="200" y="220"/>
                    <a:pt x="200" y="220"/>
                  </a:cubicBezTo>
                  <a:cubicBezTo>
                    <a:pt x="200" y="219"/>
                    <a:pt x="200" y="219"/>
                    <a:pt x="200" y="219"/>
                  </a:cubicBezTo>
                  <a:cubicBezTo>
                    <a:pt x="200" y="219"/>
                    <a:pt x="200" y="219"/>
                    <a:pt x="200" y="219"/>
                  </a:cubicBezTo>
                  <a:cubicBezTo>
                    <a:pt x="200" y="219"/>
                    <a:pt x="200" y="219"/>
                    <a:pt x="200" y="219"/>
                  </a:cubicBezTo>
                  <a:cubicBezTo>
                    <a:pt x="201" y="219"/>
                    <a:pt x="201" y="219"/>
                    <a:pt x="201" y="219"/>
                  </a:cubicBezTo>
                  <a:cubicBezTo>
                    <a:pt x="201" y="218"/>
                    <a:pt x="201" y="218"/>
                    <a:pt x="201" y="218"/>
                  </a:cubicBezTo>
                  <a:cubicBezTo>
                    <a:pt x="201" y="218"/>
                    <a:pt x="201" y="218"/>
                    <a:pt x="201" y="218"/>
                  </a:cubicBezTo>
                  <a:cubicBezTo>
                    <a:pt x="201" y="218"/>
                    <a:pt x="201" y="218"/>
                    <a:pt x="201" y="218"/>
                  </a:cubicBezTo>
                  <a:cubicBezTo>
                    <a:pt x="201" y="218"/>
                    <a:pt x="201" y="218"/>
                    <a:pt x="201" y="218"/>
                  </a:cubicBezTo>
                  <a:cubicBezTo>
                    <a:pt x="201" y="218"/>
                    <a:pt x="201" y="218"/>
                    <a:pt x="201" y="218"/>
                  </a:cubicBezTo>
                  <a:cubicBezTo>
                    <a:pt x="201" y="218"/>
                    <a:pt x="201" y="218"/>
                    <a:pt x="201" y="218"/>
                  </a:cubicBezTo>
                  <a:cubicBezTo>
                    <a:pt x="201" y="217"/>
                    <a:pt x="201" y="217"/>
                    <a:pt x="201" y="217"/>
                  </a:cubicBezTo>
                  <a:cubicBezTo>
                    <a:pt x="201" y="217"/>
                    <a:pt x="201" y="217"/>
                    <a:pt x="201" y="217"/>
                  </a:cubicBezTo>
                  <a:cubicBezTo>
                    <a:pt x="201" y="216"/>
                    <a:pt x="201" y="216"/>
                    <a:pt x="201" y="216"/>
                  </a:cubicBezTo>
                  <a:cubicBezTo>
                    <a:pt x="201" y="216"/>
                    <a:pt x="201" y="216"/>
                    <a:pt x="201" y="216"/>
                  </a:cubicBezTo>
                  <a:cubicBezTo>
                    <a:pt x="200" y="216"/>
                    <a:pt x="200" y="216"/>
                    <a:pt x="200" y="216"/>
                  </a:cubicBezTo>
                  <a:cubicBezTo>
                    <a:pt x="200" y="216"/>
                    <a:pt x="200" y="216"/>
                    <a:pt x="200" y="216"/>
                  </a:cubicBezTo>
                  <a:cubicBezTo>
                    <a:pt x="200" y="216"/>
                    <a:pt x="200" y="216"/>
                    <a:pt x="200" y="216"/>
                  </a:cubicBezTo>
                  <a:cubicBezTo>
                    <a:pt x="200" y="215"/>
                    <a:pt x="200" y="215"/>
                    <a:pt x="200" y="215"/>
                  </a:cubicBezTo>
                  <a:cubicBezTo>
                    <a:pt x="200" y="215"/>
                    <a:pt x="200" y="215"/>
                    <a:pt x="200" y="215"/>
                  </a:cubicBezTo>
                  <a:cubicBezTo>
                    <a:pt x="200" y="215"/>
                    <a:pt x="200" y="215"/>
                    <a:pt x="200" y="215"/>
                  </a:cubicBezTo>
                  <a:cubicBezTo>
                    <a:pt x="200" y="215"/>
                    <a:pt x="200" y="215"/>
                    <a:pt x="200" y="215"/>
                  </a:cubicBezTo>
                  <a:cubicBezTo>
                    <a:pt x="200" y="214"/>
                    <a:pt x="200" y="214"/>
                    <a:pt x="200" y="214"/>
                  </a:cubicBezTo>
                  <a:cubicBezTo>
                    <a:pt x="200" y="214"/>
                    <a:pt x="200" y="214"/>
                    <a:pt x="200" y="214"/>
                  </a:cubicBezTo>
                  <a:cubicBezTo>
                    <a:pt x="200" y="214"/>
                    <a:pt x="200" y="214"/>
                    <a:pt x="200" y="214"/>
                  </a:cubicBezTo>
                  <a:cubicBezTo>
                    <a:pt x="200" y="214"/>
                    <a:pt x="200" y="214"/>
                    <a:pt x="200" y="214"/>
                  </a:cubicBezTo>
                  <a:cubicBezTo>
                    <a:pt x="200" y="214"/>
                    <a:pt x="200" y="214"/>
                    <a:pt x="200" y="214"/>
                  </a:cubicBezTo>
                  <a:cubicBezTo>
                    <a:pt x="200" y="214"/>
                    <a:pt x="200" y="214"/>
                    <a:pt x="200" y="214"/>
                  </a:cubicBezTo>
                  <a:cubicBezTo>
                    <a:pt x="200" y="213"/>
                    <a:pt x="200" y="213"/>
                    <a:pt x="200" y="213"/>
                  </a:cubicBezTo>
                  <a:cubicBezTo>
                    <a:pt x="200" y="213"/>
                    <a:pt x="200" y="213"/>
                    <a:pt x="200" y="213"/>
                  </a:cubicBezTo>
                  <a:cubicBezTo>
                    <a:pt x="199" y="213"/>
                    <a:pt x="199" y="213"/>
                    <a:pt x="199" y="213"/>
                  </a:cubicBezTo>
                  <a:cubicBezTo>
                    <a:pt x="199" y="213"/>
                    <a:pt x="199" y="213"/>
                    <a:pt x="199" y="213"/>
                  </a:cubicBezTo>
                  <a:cubicBezTo>
                    <a:pt x="199" y="213"/>
                    <a:pt x="199" y="213"/>
                    <a:pt x="199" y="213"/>
                  </a:cubicBezTo>
                  <a:cubicBezTo>
                    <a:pt x="199" y="213"/>
                    <a:pt x="199" y="213"/>
                    <a:pt x="199" y="213"/>
                  </a:cubicBezTo>
                  <a:cubicBezTo>
                    <a:pt x="199" y="213"/>
                    <a:pt x="199" y="213"/>
                    <a:pt x="199" y="213"/>
                  </a:cubicBezTo>
                  <a:cubicBezTo>
                    <a:pt x="198" y="213"/>
                    <a:pt x="198" y="213"/>
                    <a:pt x="198" y="213"/>
                  </a:cubicBezTo>
                  <a:cubicBezTo>
                    <a:pt x="198" y="213"/>
                    <a:pt x="198" y="213"/>
                    <a:pt x="198" y="213"/>
                  </a:cubicBezTo>
                  <a:cubicBezTo>
                    <a:pt x="198" y="213"/>
                    <a:pt x="198" y="213"/>
                    <a:pt x="198" y="213"/>
                  </a:cubicBezTo>
                  <a:cubicBezTo>
                    <a:pt x="198" y="213"/>
                    <a:pt x="198" y="213"/>
                    <a:pt x="198" y="213"/>
                  </a:cubicBezTo>
                  <a:cubicBezTo>
                    <a:pt x="198" y="212"/>
                    <a:pt x="198" y="212"/>
                    <a:pt x="198" y="212"/>
                  </a:cubicBezTo>
                  <a:cubicBezTo>
                    <a:pt x="198" y="212"/>
                    <a:pt x="198" y="212"/>
                    <a:pt x="198" y="212"/>
                  </a:cubicBezTo>
                  <a:cubicBezTo>
                    <a:pt x="198" y="212"/>
                    <a:pt x="198" y="212"/>
                    <a:pt x="198" y="212"/>
                  </a:cubicBezTo>
                  <a:cubicBezTo>
                    <a:pt x="198" y="211"/>
                    <a:pt x="198" y="211"/>
                    <a:pt x="198" y="211"/>
                  </a:cubicBezTo>
                  <a:cubicBezTo>
                    <a:pt x="198" y="211"/>
                    <a:pt x="198" y="211"/>
                    <a:pt x="198" y="211"/>
                  </a:cubicBezTo>
                  <a:cubicBezTo>
                    <a:pt x="198" y="211"/>
                    <a:pt x="198" y="211"/>
                    <a:pt x="198" y="211"/>
                  </a:cubicBezTo>
                  <a:cubicBezTo>
                    <a:pt x="198" y="210"/>
                    <a:pt x="198" y="210"/>
                    <a:pt x="198" y="210"/>
                  </a:cubicBezTo>
                  <a:cubicBezTo>
                    <a:pt x="198" y="210"/>
                    <a:pt x="198" y="210"/>
                    <a:pt x="198" y="210"/>
                  </a:cubicBezTo>
                  <a:cubicBezTo>
                    <a:pt x="198" y="210"/>
                    <a:pt x="198" y="210"/>
                    <a:pt x="198" y="210"/>
                  </a:cubicBezTo>
                  <a:cubicBezTo>
                    <a:pt x="197" y="210"/>
                    <a:pt x="197" y="210"/>
                    <a:pt x="197" y="210"/>
                  </a:cubicBezTo>
                  <a:cubicBezTo>
                    <a:pt x="197" y="210"/>
                    <a:pt x="197" y="210"/>
                    <a:pt x="197" y="210"/>
                  </a:cubicBezTo>
                  <a:cubicBezTo>
                    <a:pt x="197" y="209"/>
                    <a:pt x="197" y="209"/>
                    <a:pt x="197" y="209"/>
                  </a:cubicBezTo>
                  <a:cubicBezTo>
                    <a:pt x="197" y="209"/>
                    <a:pt x="197" y="209"/>
                    <a:pt x="197" y="209"/>
                  </a:cubicBezTo>
                  <a:cubicBezTo>
                    <a:pt x="197" y="209"/>
                    <a:pt x="197" y="209"/>
                    <a:pt x="197" y="209"/>
                  </a:cubicBezTo>
                  <a:cubicBezTo>
                    <a:pt x="197" y="209"/>
                    <a:pt x="197" y="209"/>
                    <a:pt x="197" y="209"/>
                  </a:cubicBezTo>
                  <a:cubicBezTo>
                    <a:pt x="197" y="209"/>
                    <a:pt x="197" y="209"/>
                    <a:pt x="197" y="209"/>
                  </a:cubicBezTo>
                  <a:cubicBezTo>
                    <a:pt x="197" y="209"/>
                    <a:pt x="197" y="209"/>
                    <a:pt x="197" y="209"/>
                  </a:cubicBezTo>
                  <a:cubicBezTo>
                    <a:pt x="197" y="209"/>
                    <a:pt x="197" y="209"/>
                    <a:pt x="197" y="209"/>
                  </a:cubicBezTo>
                  <a:cubicBezTo>
                    <a:pt x="197" y="209"/>
                    <a:pt x="197" y="209"/>
                    <a:pt x="197" y="209"/>
                  </a:cubicBezTo>
                  <a:cubicBezTo>
                    <a:pt x="197" y="209"/>
                    <a:pt x="197" y="209"/>
                    <a:pt x="197" y="209"/>
                  </a:cubicBezTo>
                  <a:cubicBezTo>
                    <a:pt x="197" y="208"/>
                    <a:pt x="197" y="208"/>
                    <a:pt x="197" y="208"/>
                  </a:cubicBezTo>
                  <a:cubicBezTo>
                    <a:pt x="197" y="208"/>
                    <a:pt x="197" y="208"/>
                    <a:pt x="197" y="208"/>
                  </a:cubicBezTo>
                  <a:cubicBezTo>
                    <a:pt x="197" y="208"/>
                    <a:pt x="197" y="208"/>
                    <a:pt x="197" y="208"/>
                  </a:cubicBezTo>
                  <a:cubicBezTo>
                    <a:pt x="197" y="208"/>
                    <a:pt x="197" y="208"/>
                    <a:pt x="197" y="208"/>
                  </a:cubicBezTo>
                  <a:cubicBezTo>
                    <a:pt x="197" y="208"/>
                    <a:pt x="197" y="208"/>
                    <a:pt x="197" y="208"/>
                  </a:cubicBezTo>
                  <a:cubicBezTo>
                    <a:pt x="197" y="208"/>
                    <a:pt x="197" y="208"/>
                    <a:pt x="197" y="208"/>
                  </a:cubicBezTo>
                  <a:cubicBezTo>
                    <a:pt x="197" y="207"/>
                    <a:pt x="197" y="207"/>
                    <a:pt x="197" y="207"/>
                  </a:cubicBezTo>
                  <a:cubicBezTo>
                    <a:pt x="197" y="207"/>
                    <a:pt x="197" y="207"/>
                    <a:pt x="197" y="207"/>
                  </a:cubicBezTo>
                  <a:cubicBezTo>
                    <a:pt x="196" y="207"/>
                    <a:pt x="196" y="207"/>
                    <a:pt x="196" y="207"/>
                  </a:cubicBezTo>
                  <a:cubicBezTo>
                    <a:pt x="196" y="206"/>
                    <a:pt x="196" y="206"/>
                    <a:pt x="196" y="206"/>
                  </a:cubicBezTo>
                  <a:cubicBezTo>
                    <a:pt x="196" y="206"/>
                    <a:pt x="196" y="206"/>
                    <a:pt x="196" y="206"/>
                  </a:cubicBezTo>
                  <a:cubicBezTo>
                    <a:pt x="196" y="206"/>
                    <a:pt x="196" y="206"/>
                    <a:pt x="196" y="206"/>
                  </a:cubicBezTo>
                  <a:cubicBezTo>
                    <a:pt x="195" y="206"/>
                    <a:pt x="195" y="206"/>
                    <a:pt x="195" y="206"/>
                  </a:cubicBezTo>
                  <a:cubicBezTo>
                    <a:pt x="195" y="206"/>
                    <a:pt x="195" y="206"/>
                    <a:pt x="195" y="206"/>
                  </a:cubicBezTo>
                  <a:cubicBezTo>
                    <a:pt x="195" y="205"/>
                    <a:pt x="195" y="205"/>
                    <a:pt x="195" y="205"/>
                  </a:cubicBezTo>
                  <a:cubicBezTo>
                    <a:pt x="195" y="205"/>
                    <a:pt x="195" y="205"/>
                    <a:pt x="195" y="205"/>
                  </a:cubicBezTo>
                  <a:cubicBezTo>
                    <a:pt x="195" y="205"/>
                    <a:pt x="195" y="205"/>
                    <a:pt x="195" y="205"/>
                  </a:cubicBezTo>
                  <a:cubicBezTo>
                    <a:pt x="195" y="205"/>
                    <a:pt x="195" y="205"/>
                    <a:pt x="195" y="205"/>
                  </a:cubicBezTo>
                  <a:cubicBezTo>
                    <a:pt x="194" y="205"/>
                    <a:pt x="194" y="205"/>
                    <a:pt x="194" y="205"/>
                  </a:cubicBezTo>
                  <a:cubicBezTo>
                    <a:pt x="194" y="205"/>
                    <a:pt x="194" y="205"/>
                    <a:pt x="194" y="205"/>
                  </a:cubicBezTo>
                  <a:cubicBezTo>
                    <a:pt x="194" y="205"/>
                    <a:pt x="194" y="205"/>
                    <a:pt x="194" y="205"/>
                  </a:cubicBezTo>
                  <a:cubicBezTo>
                    <a:pt x="194" y="205"/>
                    <a:pt x="194" y="205"/>
                    <a:pt x="194" y="205"/>
                  </a:cubicBezTo>
                  <a:cubicBezTo>
                    <a:pt x="194" y="205"/>
                    <a:pt x="194" y="205"/>
                    <a:pt x="194" y="205"/>
                  </a:cubicBezTo>
                  <a:cubicBezTo>
                    <a:pt x="194" y="206"/>
                    <a:pt x="194" y="206"/>
                    <a:pt x="194" y="206"/>
                  </a:cubicBezTo>
                  <a:cubicBezTo>
                    <a:pt x="194" y="206"/>
                    <a:pt x="194" y="206"/>
                    <a:pt x="194" y="206"/>
                  </a:cubicBezTo>
                  <a:cubicBezTo>
                    <a:pt x="194" y="206"/>
                    <a:pt x="194" y="206"/>
                    <a:pt x="194" y="206"/>
                  </a:cubicBezTo>
                  <a:cubicBezTo>
                    <a:pt x="194" y="206"/>
                    <a:pt x="194" y="206"/>
                    <a:pt x="194" y="206"/>
                  </a:cubicBezTo>
                  <a:cubicBezTo>
                    <a:pt x="194" y="206"/>
                    <a:pt x="194" y="206"/>
                    <a:pt x="194" y="206"/>
                  </a:cubicBezTo>
                  <a:cubicBezTo>
                    <a:pt x="194" y="206"/>
                    <a:pt x="194" y="206"/>
                    <a:pt x="194" y="206"/>
                  </a:cubicBezTo>
                  <a:cubicBezTo>
                    <a:pt x="194" y="207"/>
                    <a:pt x="194" y="207"/>
                    <a:pt x="194" y="207"/>
                  </a:cubicBezTo>
                  <a:cubicBezTo>
                    <a:pt x="194" y="207"/>
                    <a:pt x="194" y="207"/>
                    <a:pt x="194" y="207"/>
                  </a:cubicBezTo>
                  <a:cubicBezTo>
                    <a:pt x="194" y="207"/>
                    <a:pt x="194" y="207"/>
                    <a:pt x="194" y="207"/>
                  </a:cubicBezTo>
                  <a:cubicBezTo>
                    <a:pt x="193" y="207"/>
                    <a:pt x="193" y="207"/>
                    <a:pt x="193" y="207"/>
                  </a:cubicBezTo>
                  <a:cubicBezTo>
                    <a:pt x="193" y="207"/>
                    <a:pt x="193" y="206"/>
                    <a:pt x="193" y="206"/>
                  </a:cubicBezTo>
                  <a:cubicBezTo>
                    <a:pt x="193" y="206"/>
                    <a:pt x="193" y="206"/>
                    <a:pt x="193" y="206"/>
                  </a:cubicBezTo>
                  <a:cubicBezTo>
                    <a:pt x="193" y="206"/>
                    <a:pt x="193" y="206"/>
                    <a:pt x="193" y="206"/>
                  </a:cubicBezTo>
                  <a:cubicBezTo>
                    <a:pt x="193" y="206"/>
                    <a:pt x="193" y="206"/>
                    <a:pt x="193" y="206"/>
                  </a:cubicBezTo>
                  <a:cubicBezTo>
                    <a:pt x="193" y="206"/>
                    <a:pt x="193" y="206"/>
                    <a:pt x="193" y="206"/>
                  </a:cubicBezTo>
                  <a:cubicBezTo>
                    <a:pt x="192" y="206"/>
                    <a:pt x="192" y="206"/>
                    <a:pt x="192" y="206"/>
                  </a:cubicBezTo>
                  <a:cubicBezTo>
                    <a:pt x="192" y="206"/>
                    <a:pt x="192" y="206"/>
                    <a:pt x="192" y="206"/>
                  </a:cubicBezTo>
                  <a:cubicBezTo>
                    <a:pt x="192" y="206"/>
                    <a:pt x="192" y="206"/>
                    <a:pt x="192" y="206"/>
                  </a:cubicBezTo>
                  <a:cubicBezTo>
                    <a:pt x="192" y="206"/>
                    <a:pt x="192" y="206"/>
                    <a:pt x="192" y="206"/>
                  </a:cubicBezTo>
                  <a:cubicBezTo>
                    <a:pt x="192" y="205"/>
                    <a:pt x="192" y="205"/>
                    <a:pt x="192" y="205"/>
                  </a:cubicBezTo>
                  <a:cubicBezTo>
                    <a:pt x="192" y="205"/>
                    <a:pt x="192" y="205"/>
                    <a:pt x="192" y="205"/>
                  </a:cubicBezTo>
                  <a:cubicBezTo>
                    <a:pt x="192" y="205"/>
                    <a:pt x="192" y="205"/>
                    <a:pt x="192" y="205"/>
                  </a:cubicBezTo>
                  <a:cubicBezTo>
                    <a:pt x="191" y="205"/>
                    <a:pt x="191" y="205"/>
                    <a:pt x="191" y="205"/>
                  </a:cubicBezTo>
                  <a:cubicBezTo>
                    <a:pt x="191" y="205"/>
                    <a:pt x="191" y="205"/>
                    <a:pt x="191" y="205"/>
                  </a:cubicBezTo>
                  <a:cubicBezTo>
                    <a:pt x="191" y="205"/>
                    <a:pt x="191" y="205"/>
                    <a:pt x="191" y="205"/>
                  </a:cubicBezTo>
                  <a:cubicBezTo>
                    <a:pt x="191" y="205"/>
                    <a:pt x="191" y="205"/>
                    <a:pt x="191" y="205"/>
                  </a:cubicBezTo>
                  <a:cubicBezTo>
                    <a:pt x="191" y="205"/>
                    <a:pt x="191" y="205"/>
                    <a:pt x="191" y="205"/>
                  </a:cubicBezTo>
                  <a:cubicBezTo>
                    <a:pt x="191" y="204"/>
                    <a:pt x="191" y="204"/>
                    <a:pt x="191" y="204"/>
                  </a:cubicBezTo>
                  <a:cubicBezTo>
                    <a:pt x="190" y="204"/>
                    <a:pt x="190" y="204"/>
                    <a:pt x="190" y="204"/>
                  </a:cubicBezTo>
                  <a:cubicBezTo>
                    <a:pt x="190" y="204"/>
                    <a:pt x="190" y="203"/>
                    <a:pt x="190" y="203"/>
                  </a:cubicBezTo>
                  <a:cubicBezTo>
                    <a:pt x="190" y="203"/>
                    <a:pt x="190" y="203"/>
                    <a:pt x="190" y="203"/>
                  </a:cubicBezTo>
                  <a:cubicBezTo>
                    <a:pt x="190" y="203"/>
                    <a:pt x="190" y="203"/>
                    <a:pt x="190" y="203"/>
                  </a:cubicBezTo>
                  <a:cubicBezTo>
                    <a:pt x="190" y="202"/>
                    <a:pt x="190" y="202"/>
                    <a:pt x="190" y="202"/>
                  </a:cubicBezTo>
                  <a:cubicBezTo>
                    <a:pt x="190" y="202"/>
                    <a:pt x="190" y="202"/>
                    <a:pt x="190" y="202"/>
                  </a:cubicBezTo>
                  <a:cubicBezTo>
                    <a:pt x="190" y="202"/>
                    <a:pt x="190" y="202"/>
                    <a:pt x="190" y="202"/>
                  </a:cubicBezTo>
                  <a:cubicBezTo>
                    <a:pt x="190" y="202"/>
                    <a:pt x="190" y="202"/>
                    <a:pt x="190" y="202"/>
                  </a:cubicBezTo>
                  <a:cubicBezTo>
                    <a:pt x="190" y="201"/>
                    <a:pt x="190" y="201"/>
                    <a:pt x="190" y="201"/>
                  </a:cubicBezTo>
                  <a:cubicBezTo>
                    <a:pt x="190" y="201"/>
                    <a:pt x="190" y="201"/>
                    <a:pt x="190" y="201"/>
                  </a:cubicBezTo>
                  <a:cubicBezTo>
                    <a:pt x="190" y="201"/>
                    <a:pt x="190" y="201"/>
                    <a:pt x="190" y="201"/>
                  </a:cubicBezTo>
                  <a:cubicBezTo>
                    <a:pt x="190" y="201"/>
                    <a:pt x="190" y="201"/>
                    <a:pt x="190" y="201"/>
                  </a:cubicBezTo>
                  <a:cubicBezTo>
                    <a:pt x="189" y="201"/>
                    <a:pt x="189" y="201"/>
                    <a:pt x="189" y="201"/>
                  </a:cubicBezTo>
                  <a:cubicBezTo>
                    <a:pt x="189" y="201"/>
                    <a:pt x="189" y="201"/>
                    <a:pt x="189" y="201"/>
                  </a:cubicBezTo>
                  <a:cubicBezTo>
                    <a:pt x="189" y="201"/>
                    <a:pt x="189" y="201"/>
                    <a:pt x="189" y="201"/>
                  </a:cubicBezTo>
                  <a:cubicBezTo>
                    <a:pt x="189" y="201"/>
                    <a:pt x="189" y="201"/>
                    <a:pt x="189" y="201"/>
                  </a:cubicBezTo>
                  <a:cubicBezTo>
                    <a:pt x="188" y="201"/>
                    <a:pt x="188" y="201"/>
                    <a:pt x="188" y="201"/>
                  </a:cubicBezTo>
                  <a:cubicBezTo>
                    <a:pt x="188" y="201"/>
                    <a:pt x="188" y="201"/>
                    <a:pt x="188" y="201"/>
                  </a:cubicBezTo>
                  <a:cubicBezTo>
                    <a:pt x="188" y="201"/>
                    <a:pt x="188" y="201"/>
                    <a:pt x="188" y="201"/>
                  </a:cubicBezTo>
                  <a:cubicBezTo>
                    <a:pt x="188" y="201"/>
                    <a:pt x="188" y="201"/>
                    <a:pt x="188" y="201"/>
                  </a:cubicBezTo>
                  <a:cubicBezTo>
                    <a:pt x="188" y="201"/>
                    <a:pt x="188" y="201"/>
                    <a:pt x="188" y="201"/>
                  </a:cubicBezTo>
                  <a:cubicBezTo>
                    <a:pt x="187" y="200"/>
                    <a:pt x="187" y="200"/>
                    <a:pt x="187" y="200"/>
                  </a:cubicBezTo>
                  <a:cubicBezTo>
                    <a:pt x="187" y="201"/>
                    <a:pt x="187" y="201"/>
                    <a:pt x="187" y="201"/>
                  </a:cubicBezTo>
                  <a:cubicBezTo>
                    <a:pt x="187" y="201"/>
                    <a:pt x="187" y="201"/>
                    <a:pt x="187" y="201"/>
                  </a:cubicBezTo>
                  <a:cubicBezTo>
                    <a:pt x="187" y="201"/>
                    <a:pt x="187" y="201"/>
                    <a:pt x="187" y="201"/>
                  </a:cubicBezTo>
                  <a:cubicBezTo>
                    <a:pt x="187" y="201"/>
                    <a:pt x="187" y="201"/>
                    <a:pt x="187" y="201"/>
                  </a:cubicBezTo>
                  <a:cubicBezTo>
                    <a:pt x="187" y="201"/>
                    <a:pt x="187" y="201"/>
                    <a:pt x="187" y="201"/>
                  </a:cubicBezTo>
                  <a:cubicBezTo>
                    <a:pt x="186" y="200"/>
                    <a:pt x="186" y="200"/>
                    <a:pt x="186" y="200"/>
                  </a:cubicBezTo>
                  <a:cubicBezTo>
                    <a:pt x="186" y="200"/>
                    <a:pt x="186" y="200"/>
                    <a:pt x="186" y="200"/>
                  </a:cubicBezTo>
                  <a:cubicBezTo>
                    <a:pt x="186" y="200"/>
                    <a:pt x="186" y="200"/>
                    <a:pt x="186" y="200"/>
                  </a:cubicBezTo>
                  <a:cubicBezTo>
                    <a:pt x="186" y="199"/>
                    <a:pt x="186" y="199"/>
                    <a:pt x="186" y="199"/>
                  </a:cubicBezTo>
                  <a:cubicBezTo>
                    <a:pt x="186" y="199"/>
                    <a:pt x="186" y="199"/>
                    <a:pt x="186" y="199"/>
                  </a:cubicBezTo>
                  <a:cubicBezTo>
                    <a:pt x="185" y="199"/>
                    <a:pt x="185" y="199"/>
                    <a:pt x="185" y="199"/>
                  </a:cubicBezTo>
                  <a:cubicBezTo>
                    <a:pt x="185" y="198"/>
                    <a:pt x="185" y="198"/>
                    <a:pt x="185" y="198"/>
                  </a:cubicBezTo>
                  <a:cubicBezTo>
                    <a:pt x="185" y="198"/>
                    <a:pt x="185" y="198"/>
                    <a:pt x="185" y="198"/>
                  </a:cubicBezTo>
                  <a:cubicBezTo>
                    <a:pt x="185" y="197"/>
                    <a:pt x="185" y="197"/>
                    <a:pt x="185" y="197"/>
                  </a:cubicBezTo>
                  <a:cubicBezTo>
                    <a:pt x="185" y="197"/>
                    <a:pt x="185" y="197"/>
                    <a:pt x="185" y="197"/>
                  </a:cubicBezTo>
                  <a:cubicBezTo>
                    <a:pt x="185" y="197"/>
                    <a:pt x="185" y="197"/>
                    <a:pt x="185" y="197"/>
                  </a:cubicBezTo>
                  <a:cubicBezTo>
                    <a:pt x="184" y="197"/>
                    <a:pt x="184" y="197"/>
                    <a:pt x="184" y="197"/>
                  </a:cubicBezTo>
                  <a:cubicBezTo>
                    <a:pt x="184" y="197"/>
                    <a:pt x="184" y="197"/>
                    <a:pt x="184" y="197"/>
                  </a:cubicBezTo>
                  <a:cubicBezTo>
                    <a:pt x="184" y="197"/>
                    <a:pt x="184" y="197"/>
                    <a:pt x="184" y="197"/>
                  </a:cubicBezTo>
                  <a:cubicBezTo>
                    <a:pt x="184" y="197"/>
                    <a:pt x="184" y="197"/>
                    <a:pt x="184" y="197"/>
                  </a:cubicBezTo>
                  <a:cubicBezTo>
                    <a:pt x="184" y="196"/>
                    <a:pt x="184" y="196"/>
                    <a:pt x="184" y="196"/>
                  </a:cubicBezTo>
                  <a:cubicBezTo>
                    <a:pt x="184" y="196"/>
                    <a:pt x="184" y="196"/>
                    <a:pt x="184" y="196"/>
                  </a:cubicBezTo>
                  <a:cubicBezTo>
                    <a:pt x="185" y="196"/>
                    <a:pt x="185" y="196"/>
                    <a:pt x="185" y="196"/>
                  </a:cubicBezTo>
                  <a:cubicBezTo>
                    <a:pt x="185" y="196"/>
                    <a:pt x="185" y="196"/>
                    <a:pt x="185" y="196"/>
                  </a:cubicBezTo>
                  <a:cubicBezTo>
                    <a:pt x="184" y="196"/>
                    <a:pt x="184" y="196"/>
                    <a:pt x="184" y="196"/>
                  </a:cubicBezTo>
                  <a:cubicBezTo>
                    <a:pt x="184" y="195"/>
                    <a:pt x="184" y="195"/>
                    <a:pt x="184" y="195"/>
                  </a:cubicBezTo>
                  <a:cubicBezTo>
                    <a:pt x="184" y="195"/>
                    <a:pt x="184" y="195"/>
                    <a:pt x="184" y="195"/>
                  </a:cubicBezTo>
                  <a:cubicBezTo>
                    <a:pt x="184" y="195"/>
                    <a:pt x="184" y="195"/>
                    <a:pt x="184" y="195"/>
                  </a:cubicBezTo>
                  <a:cubicBezTo>
                    <a:pt x="184" y="195"/>
                    <a:pt x="184" y="195"/>
                    <a:pt x="184" y="195"/>
                  </a:cubicBezTo>
                  <a:cubicBezTo>
                    <a:pt x="185" y="195"/>
                    <a:pt x="185" y="195"/>
                    <a:pt x="185" y="195"/>
                  </a:cubicBezTo>
                  <a:cubicBezTo>
                    <a:pt x="185" y="195"/>
                    <a:pt x="185" y="195"/>
                    <a:pt x="185" y="195"/>
                  </a:cubicBezTo>
                  <a:cubicBezTo>
                    <a:pt x="185" y="195"/>
                    <a:pt x="185" y="195"/>
                    <a:pt x="185" y="195"/>
                  </a:cubicBezTo>
                  <a:cubicBezTo>
                    <a:pt x="185" y="195"/>
                    <a:pt x="185" y="195"/>
                    <a:pt x="185" y="195"/>
                  </a:cubicBezTo>
                  <a:cubicBezTo>
                    <a:pt x="186" y="195"/>
                    <a:pt x="186" y="195"/>
                    <a:pt x="186" y="195"/>
                  </a:cubicBezTo>
                  <a:cubicBezTo>
                    <a:pt x="186" y="195"/>
                    <a:pt x="186" y="195"/>
                    <a:pt x="186" y="195"/>
                  </a:cubicBezTo>
                  <a:cubicBezTo>
                    <a:pt x="187" y="195"/>
                    <a:pt x="187" y="195"/>
                    <a:pt x="187" y="195"/>
                  </a:cubicBezTo>
                  <a:cubicBezTo>
                    <a:pt x="187" y="195"/>
                    <a:pt x="187" y="195"/>
                    <a:pt x="187" y="195"/>
                  </a:cubicBezTo>
                  <a:cubicBezTo>
                    <a:pt x="187" y="194"/>
                    <a:pt x="187" y="194"/>
                    <a:pt x="187" y="194"/>
                  </a:cubicBezTo>
                  <a:cubicBezTo>
                    <a:pt x="186" y="194"/>
                    <a:pt x="186" y="194"/>
                    <a:pt x="186" y="194"/>
                  </a:cubicBezTo>
                  <a:cubicBezTo>
                    <a:pt x="186" y="194"/>
                    <a:pt x="186" y="194"/>
                    <a:pt x="186" y="194"/>
                  </a:cubicBezTo>
                  <a:cubicBezTo>
                    <a:pt x="186" y="194"/>
                    <a:pt x="186" y="194"/>
                    <a:pt x="186" y="194"/>
                  </a:cubicBezTo>
                  <a:cubicBezTo>
                    <a:pt x="186" y="193"/>
                    <a:pt x="186" y="193"/>
                    <a:pt x="186" y="193"/>
                  </a:cubicBezTo>
                  <a:cubicBezTo>
                    <a:pt x="186" y="193"/>
                    <a:pt x="186" y="193"/>
                    <a:pt x="186" y="193"/>
                  </a:cubicBezTo>
                  <a:cubicBezTo>
                    <a:pt x="186" y="193"/>
                    <a:pt x="186" y="193"/>
                    <a:pt x="186" y="193"/>
                  </a:cubicBezTo>
                  <a:cubicBezTo>
                    <a:pt x="186" y="193"/>
                    <a:pt x="186" y="193"/>
                    <a:pt x="186" y="193"/>
                  </a:cubicBezTo>
                  <a:cubicBezTo>
                    <a:pt x="186" y="193"/>
                    <a:pt x="186" y="193"/>
                    <a:pt x="186" y="193"/>
                  </a:cubicBezTo>
                  <a:cubicBezTo>
                    <a:pt x="185" y="193"/>
                    <a:pt x="185" y="193"/>
                    <a:pt x="185" y="193"/>
                  </a:cubicBezTo>
                  <a:cubicBezTo>
                    <a:pt x="185" y="193"/>
                    <a:pt x="185" y="193"/>
                    <a:pt x="185" y="193"/>
                  </a:cubicBezTo>
                  <a:cubicBezTo>
                    <a:pt x="185" y="193"/>
                    <a:pt x="185" y="193"/>
                    <a:pt x="185" y="193"/>
                  </a:cubicBezTo>
                  <a:cubicBezTo>
                    <a:pt x="185" y="193"/>
                    <a:pt x="185" y="193"/>
                    <a:pt x="185" y="193"/>
                  </a:cubicBezTo>
                  <a:cubicBezTo>
                    <a:pt x="185" y="193"/>
                    <a:pt x="185" y="193"/>
                    <a:pt x="185" y="193"/>
                  </a:cubicBezTo>
                  <a:cubicBezTo>
                    <a:pt x="185" y="193"/>
                    <a:pt x="185" y="193"/>
                    <a:pt x="185" y="193"/>
                  </a:cubicBezTo>
                  <a:cubicBezTo>
                    <a:pt x="185" y="193"/>
                    <a:pt x="185" y="193"/>
                    <a:pt x="185" y="193"/>
                  </a:cubicBezTo>
                  <a:cubicBezTo>
                    <a:pt x="185" y="192"/>
                    <a:pt x="185" y="192"/>
                    <a:pt x="185" y="192"/>
                  </a:cubicBezTo>
                  <a:cubicBezTo>
                    <a:pt x="185" y="192"/>
                    <a:pt x="185" y="192"/>
                    <a:pt x="185" y="192"/>
                  </a:cubicBezTo>
                  <a:cubicBezTo>
                    <a:pt x="185" y="192"/>
                    <a:pt x="185" y="192"/>
                    <a:pt x="185" y="192"/>
                  </a:cubicBezTo>
                  <a:cubicBezTo>
                    <a:pt x="185" y="192"/>
                    <a:pt x="185" y="192"/>
                    <a:pt x="185" y="192"/>
                  </a:cubicBezTo>
                  <a:cubicBezTo>
                    <a:pt x="185" y="192"/>
                    <a:pt x="185" y="192"/>
                    <a:pt x="185" y="192"/>
                  </a:cubicBezTo>
                  <a:cubicBezTo>
                    <a:pt x="185" y="192"/>
                    <a:pt x="185" y="192"/>
                    <a:pt x="185" y="192"/>
                  </a:cubicBezTo>
                  <a:cubicBezTo>
                    <a:pt x="185" y="192"/>
                    <a:pt x="185" y="192"/>
                    <a:pt x="185" y="192"/>
                  </a:cubicBezTo>
                  <a:cubicBezTo>
                    <a:pt x="185" y="191"/>
                    <a:pt x="185" y="191"/>
                    <a:pt x="185" y="191"/>
                  </a:cubicBezTo>
                  <a:cubicBezTo>
                    <a:pt x="185" y="191"/>
                    <a:pt x="185" y="191"/>
                    <a:pt x="185" y="191"/>
                  </a:cubicBezTo>
                  <a:cubicBezTo>
                    <a:pt x="184" y="191"/>
                    <a:pt x="184" y="191"/>
                    <a:pt x="184" y="191"/>
                  </a:cubicBezTo>
                  <a:cubicBezTo>
                    <a:pt x="184" y="191"/>
                    <a:pt x="184" y="191"/>
                    <a:pt x="184" y="191"/>
                  </a:cubicBezTo>
                  <a:cubicBezTo>
                    <a:pt x="184" y="191"/>
                    <a:pt x="184" y="191"/>
                    <a:pt x="184" y="191"/>
                  </a:cubicBezTo>
                  <a:cubicBezTo>
                    <a:pt x="184" y="190"/>
                    <a:pt x="184" y="190"/>
                    <a:pt x="184" y="190"/>
                  </a:cubicBezTo>
                  <a:cubicBezTo>
                    <a:pt x="184" y="190"/>
                    <a:pt x="184" y="190"/>
                    <a:pt x="184" y="190"/>
                  </a:cubicBezTo>
                  <a:cubicBezTo>
                    <a:pt x="184" y="189"/>
                    <a:pt x="184" y="189"/>
                    <a:pt x="184" y="189"/>
                  </a:cubicBezTo>
                  <a:cubicBezTo>
                    <a:pt x="190" y="156"/>
                    <a:pt x="196" y="123"/>
                    <a:pt x="203" y="90"/>
                  </a:cubicBezTo>
                  <a:cubicBezTo>
                    <a:pt x="205" y="79"/>
                    <a:pt x="207" y="68"/>
                    <a:pt x="209" y="57"/>
                  </a:cubicBezTo>
                  <a:cubicBezTo>
                    <a:pt x="176" y="51"/>
                    <a:pt x="145" y="44"/>
                    <a:pt x="113" y="36"/>
                  </a:cubicBezTo>
                  <a:cubicBezTo>
                    <a:pt x="81" y="27"/>
                    <a:pt x="50" y="17"/>
                    <a:pt x="19" y="7"/>
                  </a:cubicBezTo>
                  <a:cubicBezTo>
                    <a:pt x="12" y="4"/>
                    <a:pt x="6" y="2"/>
                    <a:pt x="0" y="0"/>
                  </a:cubicBezTo>
                  <a:cubicBezTo>
                    <a:pt x="0" y="0"/>
                    <a:pt x="0" y="0"/>
                    <a:pt x="0" y="0"/>
                  </a:cubicBezTo>
                  <a:cubicBezTo>
                    <a:pt x="0" y="0"/>
                    <a:pt x="0" y="0"/>
                    <a:pt x="0" y="0"/>
                  </a:cubicBezTo>
                  <a:cubicBezTo>
                    <a:pt x="1" y="1"/>
                    <a:pt x="2" y="2"/>
                    <a:pt x="3" y="3"/>
                  </a:cubicBezTo>
                  <a:cubicBezTo>
                    <a:pt x="3" y="3"/>
                    <a:pt x="3" y="3"/>
                    <a:pt x="3" y="3"/>
                  </a:cubicBezTo>
                  <a:cubicBezTo>
                    <a:pt x="3" y="3"/>
                    <a:pt x="3" y="3"/>
                    <a:pt x="3" y="3"/>
                  </a:cubicBezTo>
                  <a:cubicBezTo>
                    <a:pt x="3" y="4"/>
                    <a:pt x="3" y="4"/>
                    <a:pt x="3" y="4"/>
                  </a:cubicBezTo>
                  <a:cubicBezTo>
                    <a:pt x="3" y="5"/>
                    <a:pt x="3" y="5"/>
                    <a:pt x="3" y="5"/>
                  </a:cubicBezTo>
                  <a:cubicBezTo>
                    <a:pt x="3" y="6"/>
                    <a:pt x="3" y="6"/>
                    <a:pt x="3" y="6"/>
                  </a:cubicBezTo>
                  <a:cubicBezTo>
                    <a:pt x="3" y="7"/>
                    <a:pt x="3" y="7"/>
                    <a:pt x="3" y="7"/>
                  </a:cubicBezTo>
                  <a:cubicBezTo>
                    <a:pt x="5" y="12"/>
                    <a:pt x="7" y="17"/>
                    <a:pt x="10" y="21"/>
                  </a:cubicBezTo>
                  <a:cubicBezTo>
                    <a:pt x="10" y="22"/>
                    <a:pt x="10" y="22"/>
                    <a:pt x="10" y="22"/>
                  </a:cubicBezTo>
                  <a:cubicBezTo>
                    <a:pt x="10" y="22"/>
                    <a:pt x="10" y="22"/>
                    <a:pt x="10" y="22"/>
                  </a:cubicBezTo>
                  <a:cubicBezTo>
                    <a:pt x="9" y="24"/>
                    <a:pt x="9" y="26"/>
                    <a:pt x="9" y="27"/>
                  </a:cubicBezTo>
                  <a:cubicBezTo>
                    <a:pt x="8" y="28"/>
                    <a:pt x="8" y="28"/>
                    <a:pt x="8" y="28"/>
                  </a:cubicBezTo>
                  <a:cubicBezTo>
                    <a:pt x="8" y="29"/>
                    <a:pt x="8" y="29"/>
                    <a:pt x="8" y="29"/>
                  </a:cubicBezTo>
                  <a:cubicBezTo>
                    <a:pt x="8" y="29"/>
                    <a:pt x="8" y="29"/>
                    <a:pt x="8" y="29"/>
                  </a:cubicBezTo>
                  <a:cubicBezTo>
                    <a:pt x="9" y="29"/>
                    <a:pt x="9" y="29"/>
                    <a:pt x="9" y="29"/>
                  </a:cubicBezTo>
                  <a:cubicBezTo>
                    <a:pt x="9" y="29"/>
                    <a:pt x="9" y="29"/>
                    <a:pt x="9" y="29"/>
                  </a:cubicBezTo>
                  <a:cubicBezTo>
                    <a:pt x="10" y="29"/>
                    <a:pt x="11" y="28"/>
                    <a:pt x="11" y="28"/>
                  </a:cubicBezTo>
                  <a:cubicBezTo>
                    <a:pt x="12" y="28"/>
                    <a:pt x="13" y="27"/>
                    <a:pt x="14" y="27"/>
                  </a:cubicBezTo>
                  <a:cubicBezTo>
                    <a:pt x="15" y="27"/>
                    <a:pt x="16" y="27"/>
                    <a:pt x="17" y="26"/>
                  </a:cubicBezTo>
                  <a:cubicBezTo>
                    <a:pt x="18" y="26"/>
                    <a:pt x="18" y="26"/>
                    <a:pt x="18" y="26"/>
                  </a:cubicBezTo>
                  <a:cubicBezTo>
                    <a:pt x="19" y="27"/>
                    <a:pt x="19" y="27"/>
                    <a:pt x="19" y="27"/>
                  </a:cubicBezTo>
                  <a:cubicBezTo>
                    <a:pt x="20" y="27"/>
                    <a:pt x="20" y="27"/>
                    <a:pt x="20" y="27"/>
                  </a:cubicBezTo>
                  <a:cubicBezTo>
                    <a:pt x="20" y="27"/>
                    <a:pt x="20" y="27"/>
                    <a:pt x="20" y="27"/>
                  </a:cubicBezTo>
                  <a:cubicBezTo>
                    <a:pt x="22" y="25"/>
                    <a:pt x="22" y="25"/>
                    <a:pt x="22" y="25"/>
                  </a:cubicBezTo>
                  <a:cubicBezTo>
                    <a:pt x="22" y="25"/>
                    <a:pt x="22" y="25"/>
                    <a:pt x="22" y="25"/>
                  </a:cubicBezTo>
                  <a:cubicBezTo>
                    <a:pt x="22" y="25"/>
                    <a:pt x="22" y="25"/>
                    <a:pt x="22" y="25"/>
                  </a:cubicBezTo>
                  <a:cubicBezTo>
                    <a:pt x="23" y="24"/>
                    <a:pt x="23" y="22"/>
                    <a:pt x="24" y="21"/>
                  </a:cubicBezTo>
                  <a:cubicBezTo>
                    <a:pt x="24" y="21"/>
                    <a:pt x="24" y="21"/>
                    <a:pt x="24" y="21"/>
                  </a:cubicBezTo>
                  <a:cubicBezTo>
                    <a:pt x="25" y="22"/>
                    <a:pt x="25" y="22"/>
                    <a:pt x="25" y="22"/>
                  </a:cubicBezTo>
                  <a:cubicBezTo>
                    <a:pt x="25" y="22"/>
                    <a:pt x="25" y="22"/>
                    <a:pt x="25" y="22"/>
                  </a:cubicBezTo>
                  <a:cubicBezTo>
                    <a:pt x="26" y="21"/>
                    <a:pt x="26" y="21"/>
                    <a:pt x="26" y="21"/>
                  </a:cubicBezTo>
                  <a:cubicBezTo>
                    <a:pt x="27" y="21"/>
                    <a:pt x="27" y="21"/>
                    <a:pt x="27" y="21"/>
                  </a:cubicBezTo>
                  <a:cubicBezTo>
                    <a:pt x="27" y="20"/>
                    <a:pt x="27" y="20"/>
                    <a:pt x="27" y="20"/>
                  </a:cubicBezTo>
                  <a:cubicBezTo>
                    <a:pt x="26" y="19"/>
                    <a:pt x="26" y="19"/>
                    <a:pt x="26" y="19"/>
                  </a:cubicBezTo>
                  <a:cubicBezTo>
                    <a:pt x="26" y="19"/>
                    <a:pt x="26" y="19"/>
                    <a:pt x="26" y="19"/>
                  </a:cubicBezTo>
                  <a:cubicBezTo>
                    <a:pt x="27" y="18"/>
                    <a:pt x="27" y="18"/>
                    <a:pt x="27" y="18"/>
                  </a:cubicBezTo>
                  <a:cubicBezTo>
                    <a:pt x="28" y="19"/>
                    <a:pt x="30" y="19"/>
                    <a:pt x="31" y="19"/>
                  </a:cubicBezTo>
                  <a:cubicBezTo>
                    <a:pt x="33" y="18"/>
                    <a:pt x="35" y="18"/>
                    <a:pt x="37" y="18"/>
                  </a:cubicBezTo>
                  <a:cubicBezTo>
                    <a:pt x="37" y="18"/>
                    <a:pt x="37" y="18"/>
                    <a:pt x="37" y="18"/>
                  </a:cubicBezTo>
                  <a:cubicBezTo>
                    <a:pt x="37" y="19"/>
                    <a:pt x="37" y="19"/>
                    <a:pt x="37" y="19"/>
                  </a:cubicBezTo>
                  <a:cubicBezTo>
                    <a:pt x="38" y="19"/>
                    <a:pt x="38" y="20"/>
                    <a:pt x="38" y="20"/>
                  </a:cubicBezTo>
                  <a:cubicBezTo>
                    <a:pt x="39" y="21"/>
                    <a:pt x="39" y="21"/>
                    <a:pt x="39" y="21"/>
                  </a:cubicBezTo>
                  <a:cubicBezTo>
                    <a:pt x="39" y="22"/>
                    <a:pt x="39" y="22"/>
                    <a:pt x="39" y="22"/>
                  </a:cubicBezTo>
                  <a:cubicBezTo>
                    <a:pt x="39" y="22"/>
                    <a:pt x="39" y="22"/>
                    <a:pt x="39" y="22"/>
                  </a:cubicBezTo>
                  <a:cubicBezTo>
                    <a:pt x="39" y="23"/>
                    <a:pt x="39" y="23"/>
                    <a:pt x="39" y="23"/>
                  </a:cubicBezTo>
                  <a:cubicBezTo>
                    <a:pt x="40" y="23"/>
                    <a:pt x="40" y="23"/>
                    <a:pt x="40" y="23"/>
                  </a:cubicBezTo>
                  <a:cubicBezTo>
                    <a:pt x="40" y="24"/>
                    <a:pt x="40" y="24"/>
                    <a:pt x="40" y="24"/>
                  </a:cubicBezTo>
                  <a:cubicBezTo>
                    <a:pt x="40" y="24"/>
                    <a:pt x="40" y="24"/>
                    <a:pt x="40" y="24"/>
                  </a:cubicBezTo>
                  <a:cubicBezTo>
                    <a:pt x="40" y="25"/>
                    <a:pt x="40" y="25"/>
                    <a:pt x="40" y="25"/>
                  </a:cubicBezTo>
                  <a:cubicBezTo>
                    <a:pt x="40" y="26"/>
                    <a:pt x="40" y="26"/>
                    <a:pt x="40" y="26"/>
                  </a:cubicBezTo>
                  <a:cubicBezTo>
                    <a:pt x="39" y="26"/>
                    <a:pt x="39" y="26"/>
                    <a:pt x="39" y="26"/>
                  </a:cubicBezTo>
                  <a:cubicBezTo>
                    <a:pt x="39" y="26"/>
                    <a:pt x="39" y="26"/>
                    <a:pt x="39" y="26"/>
                  </a:cubicBezTo>
                  <a:cubicBezTo>
                    <a:pt x="39" y="27"/>
                    <a:pt x="39" y="27"/>
                    <a:pt x="39" y="27"/>
                  </a:cubicBezTo>
                  <a:cubicBezTo>
                    <a:pt x="38" y="27"/>
                    <a:pt x="38" y="27"/>
                    <a:pt x="38" y="27"/>
                  </a:cubicBezTo>
                  <a:cubicBezTo>
                    <a:pt x="39" y="28"/>
                    <a:pt x="39" y="28"/>
                    <a:pt x="39" y="28"/>
                  </a:cubicBezTo>
                  <a:cubicBezTo>
                    <a:pt x="39" y="28"/>
                    <a:pt x="39" y="28"/>
                    <a:pt x="39" y="28"/>
                  </a:cubicBezTo>
                  <a:cubicBezTo>
                    <a:pt x="39" y="29"/>
                    <a:pt x="39" y="29"/>
                    <a:pt x="39" y="29"/>
                  </a:cubicBezTo>
                  <a:cubicBezTo>
                    <a:pt x="39" y="29"/>
                    <a:pt x="39" y="29"/>
                    <a:pt x="39" y="29"/>
                  </a:cubicBezTo>
                  <a:cubicBezTo>
                    <a:pt x="39" y="30"/>
                    <a:pt x="39" y="30"/>
                    <a:pt x="39" y="30"/>
                  </a:cubicBezTo>
                  <a:cubicBezTo>
                    <a:pt x="39" y="30"/>
                    <a:pt x="39" y="30"/>
                    <a:pt x="39" y="30"/>
                  </a:cubicBezTo>
                  <a:cubicBezTo>
                    <a:pt x="39" y="31"/>
                    <a:pt x="39" y="31"/>
                    <a:pt x="39" y="31"/>
                  </a:cubicBezTo>
                  <a:cubicBezTo>
                    <a:pt x="40" y="31"/>
                    <a:pt x="41" y="32"/>
                    <a:pt x="41" y="32"/>
                  </a:cubicBezTo>
                  <a:cubicBezTo>
                    <a:pt x="41" y="32"/>
                    <a:pt x="41" y="32"/>
                    <a:pt x="41" y="32"/>
                  </a:cubicBezTo>
                  <a:cubicBezTo>
                    <a:pt x="41" y="33"/>
                    <a:pt x="41" y="33"/>
                    <a:pt x="41" y="33"/>
                  </a:cubicBezTo>
                  <a:cubicBezTo>
                    <a:pt x="41" y="33"/>
                    <a:pt x="41" y="33"/>
                    <a:pt x="41" y="33"/>
                  </a:cubicBezTo>
                  <a:cubicBezTo>
                    <a:pt x="41" y="34"/>
                    <a:pt x="41" y="34"/>
                    <a:pt x="41" y="34"/>
                  </a:cubicBezTo>
                  <a:cubicBezTo>
                    <a:pt x="42" y="35"/>
                    <a:pt x="42" y="35"/>
                    <a:pt x="42" y="35"/>
                  </a:cubicBezTo>
                  <a:cubicBezTo>
                    <a:pt x="42" y="35"/>
                    <a:pt x="42" y="35"/>
                    <a:pt x="42" y="35"/>
                  </a:cubicBezTo>
                  <a:cubicBezTo>
                    <a:pt x="42" y="35"/>
                    <a:pt x="42" y="35"/>
                    <a:pt x="42" y="35"/>
                  </a:cubicBezTo>
                  <a:cubicBezTo>
                    <a:pt x="43" y="35"/>
                    <a:pt x="43" y="35"/>
                    <a:pt x="43" y="35"/>
                  </a:cubicBezTo>
                  <a:cubicBezTo>
                    <a:pt x="43" y="36"/>
                    <a:pt x="43" y="36"/>
                    <a:pt x="43" y="36"/>
                  </a:cubicBezTo>
                  <a:cubicBezTo>
                    <a:pt x="43" y="36"/>
                    <a:pt x="43" y="36"/>
                    <a:pt x="43" y="36"/>
                  </a:cubicBezTo>
                  <a:cubicBezTo>
                    <a:pt x="43" y="37"/>
                    <a:pt x="43" y="37"/>
                    <a:pt x="43" y="37"/>
                  </a:cubicBezTo>
                  <a:cubicBezTo>
                    <a:pt x="43" y="38"/>
                    <a:pt x="43" y="38"/>
                    <a:pt x="43" y="38"/>
                  </a:cubicBezTo>
                  <a:cubicBezTo>
                    <a:pt x="43" y="38"/>
                    <a:pt x="43" y="38"/>
                    <a:pt x="43" y="38"/>
                  </a:cubicBezTo>
                  <a:cubicBezTo>
                    <a:pt x="43" y="39"/>
                    <a:pt x="43" y="39"/>
                    <a:pt x="43" y="39"/>
                  </a:cubicBezTo>
                  <a:cubicBezTo>
                    <a:pt x="43" y="39"/>
                    <a:pt x="43" y="39"/>
                    <a:pt x="43" y="39"/>
                  </a:cubicBezTo>
                  <a:cubicBezTo>
                    <a:pt x="43" y="40"/>
                    <a:pt x="43" y="40"/>
                    <a:pt x="43" y="40"/>
                  </a:cubicBezTo>
                  <a:cubicBezTo>
                    <a:pt x="44" y="40"/>
                    <a:pt x="44" y="40"/>
                    <a:pt x="44" y="40"/>
                  </a:cubicBezTo>
                  <a:cubicBezTo>
                    <a:pt x="43" y="40"/>
                    <a:pt x="43" y="40"/>
                    <a:pt x="43" y="40"/>
                  </a:cubicBezTo>
                  <a:cubicBezTo>
                    <a:pt x="43" y="40"/>
                    <a:pt x="43" y="40"/>
                    <a:pt x="43" y="40"/>
                  </a:cubicBezTo>
                  <a:cubicBezTo>
                    <a:pt x="43" y="40"/>
                    <a:pt x="43" y="40"/>
                    <a:pt x="43" y="40"/>
                  </a:cubicBezTo>
                  <a:cubicBezTo>
                    <a:pt x="43" y="41"/>
                    <a:pt x="43" y="41"/>
                    <a:pt x="43" y="41"/>
                  </a:cubicBezTo>
                  <a:cubicBezTo>
                    <a:pt x="43" y="41"/>
                    <a:pt x="43" y="41"/>
                    <a:pt x="43" y="41"/>
                  </a:cubicBezTo>
                  <a:cubicBezTo>
                    <a:pt x="44" y="42"/>
                    <a:pt x="44" y="42"/>
                    <a:pt x="44" y="42"/>
                  </a:cubicBezTo>
                  <a:cubicBezTo>
                    <a:pt x="45" y="44"/>
                    <a:pt x="46" y="45"/>
                    <a:pt x="47" y="46"/>
                  </a:cubicBezTo>
                  <a:cubicBezTo>
                    <a:pt x="47" y="47"/>
                    <a:pt x="47" y="47"/>
                    <a:pt x="47" y="47"/>
                  </a:cubicBezTo>
                  <a:cubicBezTo>
                    <a:pt x="48" y="47"/>
                    <a:pt x="48" y="47"/>
                    <a:pt x="48" y="47"/>
                  </a:cubicBezTo>
                  <a:cubicBezTo>
                    <a:pt x="48" y="49"/>
                    <a:pt x="48" y="49"/>
                    <a:pt x="48" y="49"/>
                  </a:cubicBezTo>
                  <a:cubicBezTo>
                    <a:pt x="48" y="51"/>
                    <a:pt x="48" y="51"/>
                    <a:pt x="48" y="51"/>
                  </a:cubicBezTo>
                  <a:cubicBezTo>
                    <a:pt x="49" y="52"/>
                    <a:pt x="49" y="52"/>
                    <a:pt x="50" y="53"/>
                  </a:cubicBezTo>
                  <a:cubicBezTo>
                    <a:pt x="50" y="55"/>
                    <a:pt x="50" y="55"/>
                    <a:pt x="50" y="55"/>
                  </a:cubicBezTo>
                  <a:cubicBezTo>
                    <a:pt x="49" y="55"/>
                    <a:pt x="49" y="55"/>
                    <a:pt x="49" y="55"/>
                  </a:cubicBezTo>
                  <a:cubicBezTo>
                    <a:pt x="49" y="56"/>
                    <a:pt x="49" y="56"/>
                    <a:pt x="49" y="56"/>
                  </a:cubicBezTo>
                  <a:cubicBezTo>
                    <a:pt x="50" y="57"/>
                    <a:pt x="50" y="57"/>
                    <a:pt x="50" y="57"/>
                  </a:cubicBezTo>
                  <a:cubicBezTo>
                    <a:pt x="50" y="58"/>
                    <a:pt x="50" y="60"/>
                    <a:pt x="51" y="61"/>
                  </a:cubicBezTo>
                  <a:cubicBezTo>
                    <a:pt x="51" y="62"/>
                    <a:pt x="51" y="62"/>
                    <a:pt x="51" y="62"/>
                  </a:cubicBezTo>
                  <a:cubicBezTo>
                    <a:pt x="51" y="64"/>
                    <a:pt x="51" y="64"/>
                    <a:pt x="51" y="64"/>
                  </a:cubicBezTo>
                  <a:cubicBezTo>
                    <a:pt x="51" y="64"/>
                    <a:pt x="51" y="64"/>
                    <a:pt x="51" y="64"/>
                  </a:cubicBezTo>
                  <a:cubicBezTo>
                    <a:pt x="51" y="65"/>
                    <a:pt x="52" y="66"/>
                    <a:pt x="52" y="67"/>
                  </a:cubicBezTo>
                  <a:cubicBezTo>
                    <a:pt x="53" y="71"/>
                    <a:pt x="53" y="74"/>
                    <a:pt x="54" y="77"/>
                  </a:cubicBezTo>
                  <a:cubicBezTo>
                    <a:pt x="54" y="78"/>
                    <a:pt x="54" y="79"/>
                    <a:pt x="55" y="81"/>
                  </a:cubicBezTo>
                  <a:cubicBezTo>
                    <a:pt x="55" y="82"/>
                    <a:pt x="55" y="83"/>
                    <a:pt x="55" y="84"/>
                  </a:cubicBezTo>
                  <a:cubicBezTo>
                    <a:pt x="55" y="85"/>
                    <a:pt x="54" y="86"/>
                    <a:pt x="53" y="86"/>
                  </a:cubicBezTo>
                  <a:cubicBezTo>
                    <a:pt x="54" y="87"/>
                    <a:pt x="56" y="88"/>
                    <a:pt x="57" y="89"/>
                  </a:cubicBezTo>
                  <a:cubicBezTo>
                    <a:pt x="55" y="92"/>
                    <a:pt x="55" y="92"/>
                    <a:pt x="55" y="92"/>
                  </a:cubicBezTo>
                  <a:cubicBezTo>
                    <a:pt x="57" y="94"/>
                    <a:pt x="57" y="94"/>
                    <a:pt x="57" y="94"/>
                  </a:cubicBezTo>
                  <a:cubicBezTo>
                    <a:pt x="57" y="94"/>
                    <a:pt x="57" y="94"/>
                    <a:pt x="57" y="94"/>
                  </a:cubicBezTo>
                  <a:cubicBezTo>
                    <a:pt x="57" y="94"/>
                    <a:pt x="57" y="94"/>
                    <a:pt x="57" y="94"/>
                  </a:cubicBezTo>
                  <a:cubicBezTo>
                    <a:pt x="57" y="95"/>
                    <a:pt x="57" y="95"/>
                    <a:pt x="57" y="95"/>
                  </a:cubicBezTo>
                  <a:cubicBezTo>
                    <a:pt x="57" y="95"/>
                    <a:pt x="57" y="95"/>
                    <a:pt x="57" y="95"/>
                  </a:cubicBezTo>
                  <a:cubicBezTo>
                    <a:pt x="56" y="95"/>
                    <a:pt x="56" y="95"/>
                    <a:pt x="56" y="95"/>
                  </a:cubicBezTo>
                  <a:cubicBezTo>
                    <a:pt x="56" y="95"/>
                    <a:pt x="56" y="95"/>
                    <a:pt x="56" y="95"/>
                  </a:cubicBezTo>
                  <a:cubicBezTo>
                    <a:pt x="57" y="96"/>
                    <a:pt x="57" y="96"/>
                    <a:pt x="57" y="96"/>
                  </a:cubicBezTo>
                  <a:cubicBezTo>
                    <a:pt x="57" y="96"/>
                    <a:pt x="57" y="96"/>
                    <a:pt x="57" y="96"/>
                  </a:cubicBezTo>
                  <a:cubicBezTo>
                    <a:pt x="57" y="97"/>
                    <a:pt x="57" y="97"/>
                    <a:pt x="57" y="97"/>
                  </a:cubicBezTo>
                  <a:cubicBezTo>
                    <a:pt x="57" y="97"/>
                    <a:pt x="57" y="97"/>
                    <a:pt x="57" y="97"/>
                  </a:cubicBezTo>
                  <a:cubicBezTo>
                    <a:pt x="56" y="98"/>
                    <a:pt x="56" y="98"/>
                    <a:pt x="56" y="98"/>
                  </a:cubicBezTo>
                  <a:cubicBezTo>
                    <a:pt x="56" y="98"/>
                    <a:pt x="56" y="98"/>
                    <a:pt x="56" y="98"/>
                  </a:cubicBezTo>
                  <a:cubicBezTo>
                    <a:pt x="57" y="99"/>
                    <a:pt x="57" y="99"/>
                    <a:pt x="57" y="99"/>
                  </a:cubicBezTo>
                  <a:cubicBezTo>
                    <a:pt x="58" y="99"/>
                    <a:pt x="58" y="99"/>
                    <a:pt x="58" y="99"/>
                  </a:cubicBezTo>
                  <a:cubicBezTo>
                    <a:pt x="59" y="99"/>
                    <a:pt x="59" y="99"/>
                    <a:pt x="59" y="99"/>
                  </a:cubicBezTo>
                  <a:cubicBezTo>
                    <a:pt x="59" y="99"/>
                    <a:pt x="59" y="99"/>
                    <a:pt x="59" y="99"/>
                  </a:cubicBezTo>
                  <a:cubicBezTo>
                    <a:pt x="60" y="100"/>
                    <a:pt x="60" y="100"/>
                    <a:pt x="60" y="100"/>
                  </a:cubicBezTo>
                  <a:cubicBezTo>
                    <a:pt x="60" y="100"/>
                    <a:pt x="60" y="100"/>
                    <a:pt x="60" y="100"/>
                  </a:cubicBezTo>
                  <a:cubicBezTo>
                    <a:pt x="61" y="102"/>
                    <a:pt x="62" y="103"/>
                    <a:pt x="64" y="105"/>
                  </a:cubicBezTo>
                  <a:cubicBezTo>
                    <a:pt x="64" y="105"/>
                    <a:pt x="64" y="105"/>
                    <a:pt x="64" y="105"/>
                  </a:cubicBezTo>
                  <a:cubicBezTo>
                    <a:pt x="66" y="106"/>
                    <a:pt x="66" y="106"/>
                    <a:pt x="66" y="106"/>
                  </a:cubicBezTo>
                  <a:cubicBezTo>
                    <a:pt x="67" y="107"/>
                    <a:pt x="67" y="107"/>
                    <a:pt x="67" y="107"/>
                  </a:cubicBezTo>
                  <a:cubicBezTo>
                    <a:pt x="68" y="109"/>
                    <a:pt x="68" y="109"/>
                    <a:pt x="68" y="109"/>
                  </a:cubicBezTo>
                  <a:cubicBezTo>
                    <a:pt x="68" y="110"/>
                    <a:pt x="68" y="110"/>
                    <a:pt x="68" y="110"/>
                  </a:cubicBezTo>
                  <a:cubicBezTo>
                    <a:pt x="70" y="110"/>
                    <a:pt x="70" y="110"/>
                    <a:pt x="70" y="110"/>
                  </a:cubicBezTo>
                  <a:cubicBezTo>
                    <a:pt x="70" y="111"/>
                    <a:pt x="70" y="111"/>
                    <a:pt x="70" y="111"/>
                  </a:cubicBezTo>
                  <a:cubicBezTo>
                    <a:pt x="70" y="111"/>
                    <a:pt x="70" y="111"/>
                    <a:pt x="70" y="111"/>
                  </a:cubicBezTo>
                  <a:cubicBezTo>
                    <a:pt x="70" y="112"/>
                    <a:pt x="70" y="112"/>
                    <a:pt x="70" y="112"/>
                  </a:cubicBezTo>
                  <a:cubicBezTo>
                    <a:pt x="70" y="113"/>
                    <a:pt x="70" y="113"/>
                    <a:pt x="70" y="113"/>
                  </a:cubicBezTo>
                  <a:cubicBezTo>
                    <a:pt x="70" y="113"/>
                    <a:pt x="70" y="113"/>
                    <a:pt x="70" y="113"/>
                  </a:cubicBezTo>
                  <a:cubicBezTo>
                    <a:pt x="71" y="113"/>
                    <a:pt x="71" y="114"/>
                    <a:pt x="72" y="114"/>
                  </a:cubicBezTo>
                  <a:cubicBezTo>
                    <a:pt x="72" y="114"/>
                    <a:pt x="72" y="114"/>
                    <a:pt x="72" y="114"/>
                  </a:cubicBezTo>
                  <a:cubicBezTo>
                    <a:pt x="73" y="114"/>
                    <a:pt x="73" y="114"/>
                    <a:pt x="73" y="114"/>
                  </a:cubicBezTo>
                  <a:cubicBezTo>
                    <a:pt x="73" y="114"/>
                    <a:pt x="73" y="114"/>
                    <a:pt x="73" y="114"/>
                  </a:cubicBezTo>
                  <a:cubicBezTo>
                    <a:pt x="74" y="115"/>
                    <a:pt x="74" y="115"/>
                    <a:pt x="74" y="115"/>
                  </a:cubicBezTo>
                  <a:cubicBezTo>
                    <a:pt x="74" y="116"/>
                    <a:pt x="74" y="116"/>
                    <a:pt x="74" y="116"/>
                  </a:cubicBezTo>
                  <a:cubicBezTo>
                    <a:pt x="74" y="116"/>
                    <a:pt x="74" y="116"/>
                    <a:pt x="74" y="116"/>
                  </a:cubicBezTo>
                  <a:cubicBezTo>
                    <a:pt x="74" y="117"/>
                    <a:pt x="74" y="117"/>
                    <a:pt x="74" y="117"/>
                  </a:cubicBezTo>
                  <a:cubicBezTo>
                    <a:pt x="74" y="118"/>
                    <a:pt x="74" y="118"/>
                    <a:pt x="74" y="118"/>
                  </a:cubicBezTo>
                  <a:cubicBezTo>
                    <a:pt x="73" y="119"/>
                    <a:pt x="73" y="119"/>
                    <a:pt x="73" y="119"/>
                  </a:cubicBezTo>
                  <a:cubicBezTo>
                    <a:pt x="73" y="119"/>
                    <a:pt x="73" y="119"/>
                    <a:pt x="73" y="119"/>
                  </a:cubicBezTo>
                  <a:cubicBezTo>
                    <a:pt x="73" y="119"/>
                    <a:pt x="73" y="119"/>
                    <a:pt x="73" y="119"/>
                  </a:cubicBezTo>
                  <a:cubicBezTo>
                    <a:pt x="73" y="119"/>
                    <a:pt x="73" y="119"/>
                    <a:pt x="73" y="119"/>
                  </a:cubicBezTo>
                  <a:cubicBezTo>
                    <a:pt x="73" y="118"/>
                    <a:pt x="73" y="118"/>
                    <a:pt x="73" y="118"/>
                  </a:cubicBezTo>
                  <a:cubicBezTo>
                    <a:pt x="74" y="118"/>
                    <a:pt x="74" y="118"/>
                    <a:pt x="74" y="118"/>
                  </a:cubicBezTo>
                  <a:cubicBezTo>
                    <a:pt x="74" y="118"/>
                    <a:pt x="74" y="118"/>
                    <a:pt x="74" y="118"/>
                  </a:cubicBezTo>
                  <a:cubicBezTo>
                    <a:pt x="74" y="118"/>
                    <a:pt x="74" y="118"/>
                    <a:pt x="74" y="118"/>
                  </a:cubicBezTo>
                  <a:cubicBezTo>
                    <a:pt x="74" y="119"/>
                    <a:pt x="74" y="119"/>
                    <a:pt x="74" y="119"/>
                  </a:cubicBezTo>
                  <a:cubicBezTo>
                    <a:pt x="74" y="119"/>
                    <a:pt x="74" y="119"/>
                    <a:pt x="74" y="119"/>
                  </a:cubicBezTo>
                  <a:cubicBezTo>
                    <a:pt x="73" y="120"/>
                    <a:pt x="73" y="120"/>
                    <a:pt x="73" y="120"/>
                  </a:cubicBezTo>
                  <a:cubicBezTo>
                    <a:pt x="71" y="121"/>
                    <a:pt x="71" y="121"/>
                    <a:pt x="71" y="121"/>
                  </a:cubicBezTo>
                  <a:cubicBezTo>
                    <a:pt x="71" y="122"/>
                    <a:pt x="71" y="122"/>
                    <a:pt x="71" y="122"/>
                  </a:cubicBezTo>
                  <a:cubicBezTo>
                    <a:pt x="71" y="122"/>
                    <a:pt x="71" y="122"/>
                    <a:pt x="71" y="122"/>
                  </a:cubicBezTo>
                  <a:cubicBezTo>
                    <a:pt x="71" y="122"/>
                    <a:pt x="71" y="122"/>
                    <a:pt x="71" y="122"/>
                  </a:cubicBezTo>
                  <a:cubicBezTo>
                    <a:pt x="71" y="123"/>
                    <a:pt x="71" y="123"/>
                    <a:pt x="71" y="123"/>
                  </a:cubicBezTo>
                  <a:cubicBezTo>
                    <a:pt x="71" y="123"/>
                    <a:pt x="71" y="123"/>
                    <a:pt x="71" y="123"/>
                  </a:cubicBezTo>
                  <a:cubicBezTo>
                    <a:pt x="71" y="123"/>
                    <a:pt x="71" y="123"/>
                    <a:pt x="71" y="123"/>
                  </a:cubicBezTo>
                  <a:cubicBezTo>
                    <a:pt x="71" y="123"/>
                    <a:pt x="71" y="123"/>
                    <a:pt x="71" y="123"/>
                  </a:cubicBezTo>
                  <a:cubicBezTo>
                    <a:pt x="71" y="124"/>
                    <a:pt x="71" y="124"/>
                    <a:pt x="71" y="124"/>
                  </a:cubicBezTo>
                  <a:cubicBezTo>
                    <a:pt x="71" y="124"/>
                    <a:pt x="71" y="124"/>
                    <a:pt x="71" y="124"/>
                  </a:cubicBezTo>
                  <a:cubicBezTo>
                    <a:pt x="71" y="124"/>
                    <a:pt x="71" y="124"/>
                    <a:pt x="71" y="124"/>
                  </a:cubicBezTo>
                  <a:cubicBezTo>
                    <a:pt x="70" y="125"/>
                    <a:pt x="70" y="125"/>
                    <a:pt x="70" y="125"/>
                  </a:cubicBezTo>
                  <a:cubicBezTo>
                    <a:pt x="70" y="126"/>
                    <a:pt x="70" y="126"/>
                    <a:pt x="70" y="126"/>
                  </a:cubicBezTo>
                  <a:cubicBezTo>
                    <a:pt x="70" y="127"/>
                    <a:pt x="70" y="127"/>
                    <a:pt x="70" y="127"/>
                  </a:cubicBezTo>
                  <a:cubicBezTo>
                    <a:pt x="70" y="127"/>
                    <a:pt x="70" y="127"/>
                    <a:pt x="70" y="127"/>
                  </a:cubicBezTo>
                  <a:cubicBezTo>
                    <a:pt x="70" y="128"/>
                    <a:pt x="70" y="128"/>
                    <a:pt x="70" y="128"/>
                  </a:cubicBezTo>
                  <a:cubicBezTo>
                    <a:pt x="71" y="128"/>
                    <a:pt x="71" y="128"/>
                    <a:pt x="71" y="128"/>
                  </a:cubicBezTo>
                  <a:cubicBezTo>
                    <a:pt x="71" y="128"/>
                    <a:pt x="71" y="128"/>
                    <a:pt x="71" y="128"/>
                  </a:cubicBezTo>
                  <a:cubicBezTo>
                    <a:pt x="70" y="128"/>
                    <a:pt x="70" y="128"/>
                    <a:pt x="70" y="128"/>
                  </a:cubicBezTo>
                  <a:cubicBezTo>
                    <a:pt x="70" y="129"/>
                    <a:pt x="70" y="129"/>
                    <a:pt x="70" y="129"/>
                  </a:cubicBezTo>
                  <a:cubicBezTo>
                    <a:pt x="70" y="129"/>
                    <a:pt x="70" y="129"/>
                    <a:pt x="70" y="129"/>
                  </a:cubicBezTo>
                  <a:cubicBezTo>
                    <a:pt x="70" y="129"/>
                    <a:pt x="70" y="129"/>
                    <a:pt x="70" y="129"/>
                  </a:cubicBezTo>
                  <a:cubicBezTo>
                    <a:pt x="70" y="130"/>
                    <a:pt x="70" y="130"/>
                    <a:pt x="70" y="130"/>
                  </a:cubicBezTo>
                  <a:cubicBezTo>
                    <a:pt x="70" y="131"/>
                    <a:pt x="70" y="131"/>
                    <a:pt x="70" y="131"/>
                  </a:cubicBezTo>
                  <a:cubicBezTo>
                    <a:pt x="70" y="131"/>
                    <a:pt x="70" y="131"/>
                    <a:pt x="70" y="131"/>
                  </a:cubicBezTo>
                  <a:cubicBezTo>
                    <a:pt x="70" y="132"/>
                    <a:pt x="70" y="132"/>
                    <a:pt x="70" y="132"/>
                  </a:cubicBezTo>
                  <a:cubicBezTo>
                    <a:pt x="70" y="132"/>
                    <a:pt x="70" y="132"/>
                    <a:pt x="70" y="132"/>
                  </a:cubicBezTo>
                  <a:cubicBezTo>
                    <a:pt x="69" y="133"/>
                    <a:pt x="69" y="133"/>
                    <a:pt x="69" y="133"/>
                  </a:cubicBezTo>
                  <a:cubicBezTo>
                    <a:pt x="68" y="133"/>
                    <a:pt x="68" y="133"/>
                    <a:pt x="68" y="133"/>
                  </a:cubicBezTo>
                  <a:cubicBezTo>
                    <a:pt x="68" y="134"/>
                    <a:pt x="68" y="134"/>
                    <a:pt x="68" y="134"/>
                  </a:cubicBezTo>
                  <a:cubicBezTo>
                    <a:pt x="68" y="134"/>
                    <a:pt x="68" y="134"/>
                    <a:pt x="68" y="134"/>
                  </a:cubicBezTo>
                  <a:cubicBezTo>
                    <a:pt x="68" y="134"/>
                    <a:pt x="68" y="134"/>
                    <a:pt x="68" y="134"/>
                  </a:cubicBezTo>
                  <a:cubicBezTo>
                    <a:pt x="68" y="134"/>
                    <a:pt x="68" y="134"/>
                    <a:pt x="68" y="134"/>
                  </a:cubicBezTo>
                  <a:cubicBezTo>
                    <a:pt x="68" y="134"/>
                    <a:pt x="68" y="134"/>
                    <a:pt x="68" y="134"/>
                  </a:cubicBezTo>
                  <a:cubicBezTo>
                    <a:pt x="67" y="135"/>
                    <a:pt x="67" y="135"/>
                    <a:pt x="67" y="135"/>
                  </a:cubicBezTo>
                  <a:cubicBezTo>
                    <a:pt x="67" y="135"/>
                    <a:pt x="67" y="135"/>
                    <a:pt x="67" y="135"/>
                  </a:cubicBezTo>
                  <a:cubicBezTo>
                    <a:pt x="67" y="137"/>
                    <a:pt x="67" y="137"/>
                    <a:pt x="67" y="137"/>
                  </a:cubicBezTo>
                  <a:cubicBezTo>
                    <a:pt x="67" y="137"/>
                    <a:pt x="67" y="137"/>
                    <a:pt x="67" y="137"/>
                  </a:cubicBezTo>
                  <a:cubicBezTo>
                    <a:pt x="67" y="137"/>
                    <a:pt x="67" y="137"/>
                    <a:pt x="67" y="137"/>
                  </a:cubicBezTo>
                  <a:cubicBezTo>
                    <a:pt x="67" y="137"/>
                    <a:pt x="67" y="137"/>
                    <a:pt x="67" y="137"/>
                  </a:cubicBezTo>
                  <a:cubicBezTo>
                    <a:pt x="67" y="138"/>
                    <a:pt x="67" y="138"/>
                    <a:pt x="67" y="138"/>
                  </a:cubicBezTo>
                  <a:cubicBezTo>
                    <a:pt x="67" y="137"/>
                    <a:pt x="67" y="137"/>
                    <a:pt x="67" y="137"/>
                  </a:cubicBezTo>
                  <a:cubicBezTo>
                    <a:pt x="68" y="137"/>
                    <a:pt x="68" y="137"/>
                    <a:pt x="68" y="137"/>
                  </a:cubicBezTo>
                  <a:cubicBezTo>
                    <a:pt x="68" y="137"/>
                    <a:pt x="68" y="137"/>
                    <a:pt x="68" y="137"/>
                  </a:cubicBezTo>
                  <a:cubicBezTo>
                    <a:pt x="68" y="136"/>
                    <a:pt x="68" y="136"/>
                    <a:pt x="68" y="136"/>
                  </a:cubicBezTo>
                  <a:cubicBezTo>
                    <a:pt x="69" y="136"/>
                    <a:pt x="69" y="136"/>
                    <a:pt x="69" y="136"/>
                  </a:cubicBezTo>
                  <a:cubicBezTo>
                    <a:pt x="70" y="135"/>
                    <a:pt x="70" y="135"/>
                    <a:pt x="70" y="135"/>
                  </a:cubicBezTo>
                  <a:cubicBezTo>
                    <a:pt x="70" y="134"/>
                    <a:pt x="70" y="134"/>
                    <a:pt x="70" y="134"/>
                  </a:cubicBezTo>
                  <a:cubicBezTo>
                    <a:pt x="71" y="133"/>
                    <a:pt x="71" y="133"/>
                    <a:pt x="71" y="133"/>
                  </a:cubicBezTo>
                  <a:cubicBezTo>
                    <a:pt x="71" y="133"/>
                    <a:pt x="71" y="133"/>
                    <a:pt x="71" y="133"/>
                  </a:cubicBezTo>
                  <a:cubicBezTo>
                    <a:pt x="71" y="133"/>
                    <a:pt x="71" y="133"/>
                    <a:pt x="71" y="133"/>
                  </a:cubicBezTo>
                  <a:cubicBezTo>
                    <a:pt x="72" y="132"/>
                    <a:pt x="72" y="132"/>
                    <a:pt x="72" y="132"/>
                  </a:cubicBezTo>
                  <a:cubicBezTo>
                    <a:pt x="72" y="132"/>
                    <a:pt x="72" y="132"/>
                    <a:pt x="72" y="132"/>
                  </a:cubicBezTo>
                  <a:cubicBezTo>
                    <a:pt x="72" y="132"/>
                    <a:pt x="72" y="132"/>
                    <a:pt x="72" y="132"/>
                  </a:cubicBezTo>
                  <a:cubicBezTo>
                    <a:pt x="72" y="132"/>
                    <a:pt x="72" y="132"/>
                    <a:pt x="72" y="132"/>
                  </a:cubicBezTo>
                  <a:cubicBezTo>
                    <a:pt x="72" y="132"/>
                    <a:pt x="72" y="132"/>
                    <a:pt x="72" y="132"/>
                  </a:cubicBezTo>
                  <a:cubicBezTo>
                    <a:pt x="72" y="131"/>
                    <a:pt x="72" y="131"/>
                    <a:pt x="72" y="131"/>
                  </a:cubicBezTo>
                  <a:cubicBezTo>
                    <a:pt x="73" y="131"/>
                    <a:pt x="73" y="131"/>
                    <a:pt x="73" y="131"/>
                  </a:cubicBezTo>
                  <a:cubicBezTo>
                    <a:pt x="73" y="131"/>
                    <a:pt x="73" y="131"/>
                    <a:pt x="73" y="131"/>
                  </a:cubicBezTo>
                  <a:cubicBezTo>
                    <a:pt x="73" y="131"/>
                    <a:pt x="73" y="131"/>
                    <a:pt x="73" y="131"/>
                  </a:cubicBezTo>
                  <a:cubicBezTo>
                    <a:pt x="73" y="131"/>
                    <a:pt x="73" y="131"/>
                    <a:pt x="73" y="131"/>
                  </a:cubicBezTo>
                  <a:cubicBezTo>
                    <a:pt x="73" y="131"/>
                    <a:pt x="73" y="131"/>
                    <a:pt x="73" y="131"/>
                  </a:cubicBezTo>
                  <a:cubicBezTo>
                    <a:pt x="73" y="131"/>
                    <a:pt x="73" y="131"/>
                    <a:pt x="73" y="131"/>
                  </a:cubicBezTo>
                  <a:cubicBezTo>
                    <a:pt x="73" y="131"/>
                    <a:pt x="73" y="131"/>
                    <a:pt x="73" y="131"/>
                  </a:cubicBezTo>
                  <a:cubicBezTo>
                    <a:pt x="73" y="130"/>
                    <a:pt x="73" y="130"/>
                    <a:pt x="73" y="130"/>
                  </a:cubicBezTo>
                  <a:cubicBezTo>
                    <a:pt x="73" y="130"/>
                    <a:pt x="73" y="130"/>
                    <a:pt x="73" y="130"/>
                  </a:cubicBezTo>
                  <a:cubicBezTo>
                    <a:pt x="73" y="130"/>
                    <a:pt x="73" y="130"/>
                    <a:pt x="73" y="130"/>
                  </a:cubicBezTo>
                  <a:cubicBezTo>
                    <a:pt x="73" y="130"/>
                    <a:pt x="73" y="130"/>
                    <a:pt x="73" y="130"/>
                  </a:cubicBezTo>
                  <a:cubicBezTo>
                    <a:pt x="73" y="130"/>
                    <a:pt x="73" y="130"/>
                    <a:pt x="73" y="130"/>
                  </a:cubicBezTo>
                  <a:cubicBezTo>
                    <a:pt x="73" y="130"/>
                    <a:pt x="73" y="130"/>
                    <a:pt x="73" y="130"/>
                  </a:cubicBezTo>
                  <a:cubicBezTo>
                    <a:pt x="73" y="130"/>
                    <a:pt x="73" y="130"/>
                    <a:pt x="73" y="130"/>
                  </a:cubicBezTo>
                  <a:cubicBezTo>
                    <a:pt x="72" y="130"/>
                    <a:pt x="72" y="130"/>
                    <a:pt x="72" y="130"/>
                  </a:cubicBezTo>
                  <a:cubicBezTo>
                    <a:pt x="72" y="131"/>
                    <a:pt x="72" y="131"/>
                    <a:pt x="72" y="131"/>
                  </a:cubicBezTo>
                  <a:cubicBezTo>
                    <a:pt x="72" y="131"/>
                    <a:pt x="72" y="131"/>
                    <a:pt x="72" y="131"/>
                  </a:cubicBezTo>
                  <a:cubicBezTo>
                    <a:pt x="72" y="131"/>
                    <a:pt x="72" y="131"/>
                    <a:pt x="72" y="131"/>
                  </a:cubicBezTo>
                  <a:cubicBezTo>
                    <a:pt x="72" y="131"/>
                    <a:pt x="72" y="131"/>
                    <a:pt x="72" y="131"/>
                  </a:cubicBezTo>
                  <a:cubicBezTo>
                    <a:pt x="72" y="130"/>
                    <a:pt x="72" y="130"/>
                    <a:pt x="72" y="130"/>
                  </a:cubicBezTo>
                  <a:cubicBezTo>
                    <a:pt x="72" y="130"/>
                    <a:pt x="72" y="130"/>
                    <a:pt x="72" y="130"/>
                  </a:cubicBezTo>
                  <a:cubicBezTo>
                    <a:pt x="72" y="130"/>
                    <a:pt x="72" y="130"/>
                    <a:pt x="72" y="130"/>
                  </a:cubicBezTo>
                  <a:cubicBezTo>
                    <a:pt x="73" y="130"/>
                    <a:pt x="73" y="130"/>
                    <a:pt x="73" y="130"/>
                  </a:cubicBezTo>
                  <a:cubicBezTo>
                    <a:pt x="73" y="130"/>
                    <a:pt x="73" y="130"/>
                    <a:pt x="73" y="130"/>
                  </a:cubicBezTo>
                  <a:cubicBezTo>
                    <a:pt x="73" y="130"/>
                    <a:pt x="73" y="130"/>
                    <a:pt x="73" y="130"/>
                  </a:cubicBezTo>
                  <a:cubicBezTo>
                    <a:pt x="73" y="129"/>
                    <a:pt x="73" y="129"/>
                    <a:pt x="73" y="129"/>
                  </a:cubicBezTo>
                  <a:cubicBezTo>
                    <a:pt x="73" y="129"/>
                    <a:pt x="73" y="129"/>
                    <a:pt x="73" y="129"/>
                  </a:cubicBezTo>
                  <a:cubicBezTo>
                    <a:pt x="73" y="129"/>
                    <a:pt x="73" y="129"/>
                    <a:pt x="73" y="129"/>
                  </a:cubicBezTo>
                  <a:cubicBezTo>
                    <a:pt x="73" y="129"/>
                    <a:pt x="73" y="129"/>
                    <a:pt x="73" y="129"/>
                  </a:cubicBezTo>
                  <a:cubicBezTo>
                    <a:pt x="73" y="129"/>
                    <a:pt x="73" y="129"/>
                    <a:pt x="73" y="129"/>
                  </a:cubicBezTo>
                  <a:cubicBezTo>
                    <a:pt x="74" y="129"/>
                    <a:pt x="74" y="129"/>
                    <a:pt x="74" y="129"/>
                  </a:cubicBezTo>
                  <a:cubicBezTo>
                    <a:pt x="74" y="128"/>
                    <a:pt x="74" y="128"/>
                    <a:pt x="74" y="128"/>
                  </a:cubicBezTo>
                  <a:cubicBezTo>
                    <a:pt x="74" y="127"/>
                    <a:pt x="74" y="127"/>
                    <a:pt x="74" y="127"/>
                  </a:cubicBezTo>
                  <a:cubicBezTo>
                    <a:pt x="74" y="126"/>
                    <a:pt x="74" y="126"/>
                    <a:pt x="74" y="126"/>
                  </a:cubicBezTo>
                  <a:cubicBezTo>
                    <a:pt x="74" y="126"/>
                    <a:pt x="74" y="126"/>
                    <a:pt x="74" y="126"/>
                  </a:cubicBezTo>
                  <a:cubicBezTo>
                    <a:pt x="74" y="125"/>
                    <a:pt x="74" y="125"/>
                    <a:pt x="74" y="125"/>
                  </a:cubicBezTo>
                  <a:cubicBezTo>
                    <a:pt x="74" y="125"/>
                    <a:pt x="74" y="125"/>
                    <a:pt x="74" y="125"/>
                  </a:cubicBezTo>
                  <a:cubicBezTo>
                    <a:pt x="74" y="126"/>
                    <a:pt x="74" y="126"/>
                    <a:pt x="74" y="126"/>
                  </a:cubicBezTo>
                  <a:cubicBezTo>
                    <a:pt x="74" y="128"/>
                    <a:pt x="74" y="128"/>
                    <a:pt x="74" y="128"/>
                  </a:cubicBezTo>
                  <a:cubicBezTo>
                    <a:pt x="74" y="129"/>
                    <a:pt x="74" y="129"/>
                    <a:pt x="74" y="129"/>
                  </a:cubicBezTo>
                  <a:cubicBezTo>
                    <a:pt x="74" y="129"/>
                    <a:pt x="74" y="129"/>
                    <a:pt x="74" y="129"/>
                  </a:cubicBezTo>
                  <a:cubicBezTo>
                    <a:pt x="74" y="130"/>
                    <a:pt x="74" y="130"/>
                    <a:pt x="74" y="130"/>
                  </a:cubicBezTo>
                  <a:cubicBezTo>
                    <a:pt x="74" y="130"/>
                    <a:pt x="74" y="130"/>
                    <a:pt x="74" y="130"/>
                  </a:cubicBezTo>
                  <a:cubicBezTo>
                    <a:pt x="74" y="130"/>
                    <a:pt x="74" y="130"/>
                    <a:pt x="74" y="130"/>
                  </a:cubicBezTo>
                  <a:cubicBezTo>
                    <a:pt x="75" y="129"/>
                    <a:pt x="75" y="129"/>
                    <a:pt x="75" y="129"/>
                  </a:cubicBezTo>
                  <a:cubicBezTo>
                    <a:pt x="75" y="129"/>
                    <a:pt x="75" y="129"/>
                    <a:pt x="75" y="129"/>
                  </a:cubicBezTo>
                  <a:cubicBezTo>
                    <a:pt x="75" y="129"/>
                    <a:pt x="75" y="129"/>
                    <a:pt x="75" y="129"/>
                  </a:cubicBezTo>
                  <a:cubicBezTo>
                    <a:pt x="76" y="130"/>
                    <a:pt x="76" y="130"/>
                    <a:pt x="76" y="130"/>
                  </a:cubicBezTo>
                  <a:cubicBezTo>
                    <a:pt x="76" y="130"/>
                    <a:pt x="76" y="130"/>
                    <a:pt x="76" y="130"/>
                  </a:cubicBezTo>
                  <a:cubicBezTo>
                    <a:pt x="76" y="130"/>
                    <a:pt x="76" y="130"/>
                    <a:pt x="76" y="130"/>
                  </a:cubicBezTo>
                  <a:cubicBezTo>
                    <a:pt x="76" y="130"/>
                    <a:pt x="76" y="130"/>
                    <a:pt x="76" y="130"/>
                  </a:cubicBezTo>
                  <a:cubicBezTo>
                    <a:pt x="77" y="130"/>
                    <a:pt x="77" y="130"/>
                    <a:pt x="77" y="130"/>
                  </a:cubicBezTo>
                  <a:cubicBezTo>
                    <a:pt x="77" y="130"/>
                    <a:pt x="77" y="130"/>
                    <a:pt x="77" y="130"/>
                  </a:cubicBezTo>
                  <a:cubicBezTo>
                    <a:pt x="77" y="129"/>
                    <a:pt x="77" y="129"/>
                    <a:pt x="77" y="129"/>
                  </a:cubicBezTo>
                  <a:cubicBezTo>
                    <a:pt x="77" y="129"/>
                    <a:pt x="77" y="129"/>
                    <a:pt x="77" y="129"/>
                  </a:cubicBezTo>
                  <a:cubicBezTo>
                    <a:pt x="77" y="129"/>
                    <a:pt x="77" y="129"/>
                    <a:pt x="77" y="129"/>
                  </a:cubicBezTo>
                  <a:cubicBezTo>
                    <a:pt x="77" y="130"/>
                    <a:pt x="77" y="130"/>
                    <a:pt x="77" y="130"/>
                  </a:cubicBezTo>
                  <a:cubicBezTo>
                    <a:pt x="77" y="130"/>
                    <a:pt x="77" y="130"/>
                    <a:pt x="77" y="130"/>
                  </a:cubicBezTo>
                  <a:cubicBezTo>
                    <a:pt x="77" y="130"/>
                    <a:pt x="77" y="130"/>
                    <a:pt x="77" y="130"/>
                  </a:cubicBezTo>
                  <a:cubicBezTo>
                    <a:pt x="77" y="130"/>
                    <a:pt x="77" y="130"/>
                    <a:pt x="77" y="130"/>
                  </a:cubicBezTo>
                  <a:cubicBezTo>
                    <a:pt x="76" y="130"/>
                    <a:pt x="76" y="130"/>
                    <a:pt x="76" y="130"/>
                  </a:cubicBezTo>
                  <a:cubicBezTo>
                    <a:pt x="76" y="130"/>
                    <a:pt x="76" y="130"/>
                    <a:pt x="76" y="130"/>
                  </a:cubicBezTo>
                  <a:cubicBezTo>
                    <a:pt x="75" y="130"/>
                    <a:pt x="75" y="130"/>
                    <a:pt x="75" y="130"/>
                  </a:cubicBezTo>
                  <a:cubicBezTo>
                    <a:pt x="75" y="130"/>
                    <a:pt x="75" y="130"/>
                    <a:pt x="75" y="130"/>
                  </a:cubicBezTo>
                  <a:cubicBezTo>
                    <a:pt x="75" y="130"/>
                    <a:pt x="75" y="130"/>
                    <a:pt x="75" y="130"/>
                  </a:cubicBezTo>
                  <a:cubicBezTo>
                    <a:pt x="75" y="130"/>
                    <a:pt x="75" y="130"/>
                    <a:pt x="75" y="130"/>
                  </a:cubicBezTo>
                  <a:cubicBezTo>
                    <a:pt x="74" y="130"/>
                    <a:pt x="74" y="130"/>
                    <a:pt x="74" y="130"/>
                  </a:cubicBezTo>
                  <a:cubicBezTo>
                    <a:pt x="74" y="130"/>
                    <a:pt x="74" y="130"/>
                    <a:pt x="74" y="130"/>
                  </a:cubicBezTo>
                  <a:cubicBezTo>
                    <a:pt x="74" y="131"/>
                    <a:pt x="74" y="131"/>
                    <a:pt x="74" y="131"/>
                  </a:cubicBezTo>
                  <a:cubicBezTo>
                    <a:pt x="74" y="131"/>
                    <a:pt x="74" y="131"/>
                    <a:pt x="74" y="131"/>
                  </a:cubicBezTo>
                  <a:cubicBezTo>
                    <a:pt x="74" y="131"/>
                    <a:pt x="74" y="131"/>
                    <a:pt x="74" y="131"/>
                  </a:cubicBezTo>
                  <a:cubicBezTo>
                    <a:pt x="74" y="131"/>
                    <a:pt x="74" y="131"/>
                    <a:pt x="74" y="131"/>
                  </a:cubicBezTo>
                  <a:cubicBezTo>
                    <a:pt x="73" y="131"/>
                    <a:pt x="73" y="131"/>
                    <a:pt x="73" y="131"/>
                  </a:cubicBezTo>
                  <a:cubicBezTo>
                    <a:pt x="73" y="132"/>
                    <a:pt x="73" y="132"/>
                    <a:pt x="73" y="132"/>
                  </a:cubicBezTo>
                  <a:cubicBezTo>
                    <a:pt x="73" y="132"/>
                    <a:pt x="73" y="132"/>
                    <a:pt x="73" y="132"/>
                  </a:cubicBezTo>
                  <a:cubicBezTo>
                    <a:pt x="73" y="132"/>
                    <a:pt x="73" y="132"/>
                    <a:pt x="73" y="132"/>
                  </a:cubicBezTo>
                  <a:cubicBezTo>
                    <a:pt x="73" y="132"/>
                    <a:pt x="73" y="132"/>
                    <a:pt x="73" y="132"/>
                  </a:cubicBezTo>
                  <a:cubicBezTo>
                    <a:pt x="73" y="133"/>
                    <a:pt x="73" y="133"/>
                    <a:pt x="73" y="133"/>
                  </a:cubicBezTo>
                  <a:cubicBezTo>
                    <a:pt x="73" y="133"/>
                    <a:pt x="73" y="133"/>
                    <a:pt x="73" y="133"/>
                  </a:cubicBezTo>
                  <a:cubicBezTo>
                    <a:pt x="73" y="133"/>
                    <a:pt x="73" y="133"/>
                    <a:pt x="73" y="133"/>
                  </a:cubicBezTo>
                  <a:cubicBezTo>
                    <a:pt x="72" y="133"/>
                    <a:pt x="72" y="133"/>
                    <a:pt x="72" y="133"/>
                  </a:cubicBezTo>
                  <a:cubicBezTo>
                    <a:pt x="72" y="133"/>
                    <a:pt x="72" y="133"/>
                    <a:pt x="72" y="133"/>
                  </a:cubicBezTo>
                  <a:cubicBezTo>
                    <a:pt x="72" y="133"/>
                    <a:pt x="72" y="133"/>
                    <a:pt x="72" y="133"/>
                  </a:cubicBezTo>
                  <a:cubicBezTo>
                    <a:pt x="72" y="133"/>
                    <a:pt x="72" y="133"/>
                    <a:pt x="72" y="133"/>
                  </a:cubicBezTo>
                  <a:cubicBezTo>
                    <a:pt x="72" y="133"/>
                    <a:pt x="72" y="133"/>
                    <a:pt x="72" y="133"/>
                  </a:cubicBezTo>
                  <a:cubicBezTo>
                    <a:pt x="71" y="134"/>
                    <a:pt x="71" y="134"/>
                    <a:pt x="71" y="134"/>
                  </a:cubicBezTo>
                  <a:cubicBezTo>
                    <a:pt x="71" y="134"/>
                    <a:pt x="71" y="134"/>
                    <a:pt x="71" y="134"/>
                  </a:cubicBezTo>
                  <a:cubicBezTo>
                    <a:pt x="71" y="134"/>
                    <a:pt x="71" y="134"/>
                    <a:pt x="71" y="134"/>
                  </a:cubicBezTo>
                  <a:cubicBezTo>
                    <a:pt x="71" y="134"/>
                    <a:pt x="71" y="134"/>
                    <a:pt x="71" y="134"/>
                  </a:cubicBezTo>
                  <a:cubicBezTo>
                    <a:pt x="71" y="134"/>
                    <a:pt x="71" y="134"/>
                    <a:pt x="71" y="134"/>
                  </a:cubicBezTo>
                  <a:cubicBezTo>
                    <a:pt x="71" y="134"/>
                    <a:pt x="71" y="134"/>
                    <a:pt x="71" y="134"/>
                  </a:cubicBezTo>
                  <a:cubicBezTo>
                    <a:pt x="71" y="135"/>
                    <a:pt x="71" y="135"/>
                    <a:pt x="71" y="135"/>
                  </a:cubicBezTo>
                  <a:cubicBezTo>
                    <a:pt x="71" y="135"/>
                    <a:pt x="71" y="135"/>
                    <a:pt x="71" y="135"/>
                  </a:cubicBezTo>
                  <a:cubicBezTo>
                    <a:pt x="71" y="135"/>
                    <a:pt x="71" y="135"/>
                    <a:pt x="71" y="135"/>
                  </a:cubicBezTo>
                  <a:cubicBezTo>
                    <a:pt x="70" y="135"/>
                    <a:pt x="70" y="135"/>
                    <a:pt x="70" y="135"/>
                  </a:cubicBezTo>
                  <a:cubicBezTo>
                    <a:pt x="70" y="135"/>
                    <a:pt x="70" y="135"/>
                    <a:pt x="70" y="135"/>
                  </a:cubicBezTo>
                  <a:cubicBezTo>
                    <a:pt x="70" y="135"/>
                    <a:pt x="70" y="135"/>
                    <a:pt x="70" y="135"/>
                  </a:cubicBezTo>
                  <a:cubicBezTo>
                    <a:pt x="69" y="136"/>
                    <a:pt x="69" y="136"/>
                    <a:pt x="69" y="136"/>
                  </a:cubicBezTo>
                  <a:cubicBezTo>
                    <a:pt x="69" y="137"/>
                    <a:pt x="69" y="137"/>
                    <a:pt x="69" y="137"/>
                  </a:cubicBezTo>
                  <a:cubicBezTo>
                    <a:pt x="68" y="137"/>
                    <a:pt x="68" y="137"/>
                    <a:pt x="68" y="137"/>
                  </a:cubicBezTo>
                  <a:cubicBezTo>
                    <a:pt x="68" y="137"/>
                    <a:pt x="68" y="137"/>
                    <a:pt x="68" y="137"/>
                  </a:cubicBezTo>
                  <a:cubicBezTo>
                    <a:pt x="68" y="137"/>
                    <a:pt x="68" y="137"/>
                    <a:pt x="68" y="137"/>
                  </a:cubicBezTo>
                  <a:cubicBezTo>
                    <a:pt x="68" y="138"/>
                    <a:pt x="68" y="138"/>
                    <a:pt x="68" y="138"/>
                  </a:cubicBezTo>
                  <a:cubicBezTo>
                    <a:pt x="68" y="138"/>
                    <a:pt x="68" y="138"/>
                    <a:pt x="68" y="138"/>
                  </a:cubicBezTo>
                  <a:cubicBezTo>
                    <a:pt x="69" y="138"/>
                    <a:pt x="69" y="138"/>
                    <a:pt x="69" y="138"/>
                  </a:cubicBezTo>
                  <a:cubicBezTo>
                    <a:pt x="72" y="139"/>
                    <a:pt x="72" y="139"/>
                    <a:pt x="72" y="139"/>
                  </a:cubicBezTo>
                  <a:cubicBezTo>
                    <a:pt x="73" y="139"/>
                    <a:pt x="73" y="139"/>
                    <a:pt x="73" y="139"/>
                  </a:cubicBezTo>
                  <a:cubicBezTo>
                    <a:pt x="72" y="139"/>
                    <a:pt x="72" y="139"/>
                    <a:pt x="72" y="139"/>
                  </a:cubicBezTo>
                  <a:cubicBezTo>
                    <a:pt x="72" y="139"/>
                    <a:pt x="72" y="139"/>
                    <a:pt x="72" y="139"/>
                  </a:cubicBezTo>
                  <a:cubicBezTo>
                    <a:pt x="71" y="139"/>
                    <a:pt x="71" y="139"/>
                    <a:pt x="71" y="139"/>
                  </a:cubicBezTo>
                  <a:cubicBezTo>
                    <a:pt x="71" y="139"/>
                    <a:pt x="71" y="139"/>
                    <a:pt x="71" y="139"/>
                  </a:cubicBezTo>
                  <a:cubicBezTo>
                    <a:pt x="71" y="139"/>
                    <a:pt x="71" y="139"/>
                    <a:pt x="71" y="139"/>
                  </a:cubicBezTo>
                  <a:cubicBezTo>
                    <a:pt x="71" y="139"/>
                    <a:pt x="71" y="139"/>
                    <a:pt x="71" y="139"/>
                  </a:cubicBezTo>
                  <a:cubicBezTo>
                    <a:pt x="71" y="139"/>
                    <a:pt x="71" y="139"/>
                    <a:pt x="71" y="139"/>
                  </a:cubicBezTo>
                  <a:cubicBezTo>
                    <a:pt x="70" y="139"/>
                    <a:pt x="70" y="139"/>
                    <a:pt x="70" y="139"/>
                  </a:cubicBezTo>
                  <a:cubicBezTo>
                    <a:pt x="70" y="138"/>
                    <a:pt x="70" y="138"/>
                    <a:pt x="70" y="138"/>
                  </a:cubicBezTo>
                  <a:cubicBezTo>
                    <a:pt x="70" y="139"/>
                    <a:pt x="70" y="139"/>
                    <a:pt x="70" y="139"/>
                  </a:cubicBezTo>
                  <a:cubicBezTo>
                    <a:pt x="69" y="139"/>
                    <a:pt x="69" y="139"/>
                    <a:pt x="69" y="139"/>
                  </a:cubicBezTo>
                  <a:cubicBezTo>
                    <a:pt x="69" y="139"/>
                    <a:pt x="69" y="139"/>
                    <a:pt x="69" y="139"/>
                  </a:cubicBezTo>
                  <a:cubicBezTo>
                    <a:pt x="69" y="139"/>
                    <a:pt x="69" y="139"/>
                    <a:pt x="69" y="139"/>
                  </a:cubicBezTo>
                  <a:cubicBezTo>
                    <a:pt x="69" y="139"/>
                    <a:pt x="69" y="139"/>
                    <a:pt x="69" y="139"/>
                  </a:cubicBezTo>
                  <a:cubicBezTo>
                    <a:pt x="69" y="139"/>
                    <a:pt x="69" y="139"/>
                    <a:pt x="69" y="139"/>
                  </a:cubicBezTo>
                  <a:cubicBezTo>
                    <a:pt x="68" y="139"/>
                    <a:pt x="68" y="139"/>
                    <a:pt x="68" y="139"/>
                  </a:cubicBezTo>
                  <a:cubicBezTo>
                    <a:pt x="68" y="139"/>
                    <a:pt x="68" y="139"/>
                    <a:pt x="68" y="139"/>
                  </a:cubicBezTo>
                  <a:cubicBezTo>
                    <a:pt x="68" y="139"/>
                    <a:pt x="68" y="139"/>
                    <a:pt x="68" y="139"/>
                  </a:cubicBezTo>
                  <a:cubicBezTo>
                    <a:pt x="68" y="139"/>
                    <a:pt x="68" y="139"/>
                    <a:pt x="68" y="139"/>
                  </a:cubicBezTo>
                  <a:cubicBezTo>
                    <a:pt x="68" y="139"/>
                    <a:pt x="68" y="139"/>
                    <a:pt x="68" y="139"/>
                  </a:cubicBezTo>
                  <a:cubicBezTo>
                    <a:pt x="68" y="139"/>
                    <a:pt x="68" y="139"/>
                    <a:pt x="68" y="139"/>
                  </a:cubicBezTo>
                  <a:cubicBezTo>
                    <a:pt x="68" y="139"/>
                    <a:pt x="68" y="139"/>
                    <a:pt x="68" y="139"/>
                  </a:cubicBezTo>
                  <a:cubicBezTo>
                    <a:pt x="68" y="139"/>
                    <a:pt x="68" y="139"/>
                    <a:pt x="68" y="139"/>
                  </a:cubicBezTo>
                  <a:cubicBezTo>
                    <a:pt x="68" y="138"/>
                    <a:pt x="68" y="138"/>
                    <a:pt x="68" y="138"/>
                  </a:cubicBezTo>
                  <a:cubicBezTo>
                    <a:pt x="68" y="138"/>
                    <a:pt x="68" y="138"/>
                    <a:pt x="68" y="138"/>
                  </a:cubicBezTo>
                  <a:cubicBezTo>
                    <a:pt x="68" y="138"/>
                    <a:pt x="68" y="138"/>
                    <a:pt x="68" y="138"/>
                  </a:cubicBezTo>
                  <a:cubicBezTo>
                    <a:pt x="67" y="138"/>
                    <a:pt x="67" y="138"/>
                    <a:pt x="67" y="138"/>
                  </a:cubicBezTo>
                  <a:cubicBezTo>
                    <a:pt x="67" y="138"/>
                    <a:pt x="67" y="138"/>
                    <a:pt x="67" y="138"/>
                  </a:cubicBezTo>
                  <a:cubicBezTo>
                    <a:pt x="66" y="139"/>
                    <a:pt x="66" y="139"/>
                    <a:pt x="66" y="139"/>
                  </a:cubicBezTo>
                  <a:cubicBezTo>
                    <a:pt x="66" y="140"/>
                    <a:pt x="66" y="140"/>
                    <a:pt x="66" y="140"/>
                  </a:cubicBezTo>
                  <a:cubicBezTo>
                    <a:pt x="66" y="140"/>
                    <a:pt x="66" y="140"/>
                    <a:pt x="66" y="140"/>
                  </a:cubicBezTo>
                  <a:cubicBezTo>
                    <a:pt x="65" y="140"/>
                    <a:pt x="65" y="140"/>
                    <a:pt x="65" y="140"/>
                  </a:cubicBezTo>
                  <a:cubicBezTo>
                    <a:pt x="65" y="140"/>
                    <a:pt x="65" y="140"/>
                    <a:pt x="65" y="140"/>
                  </a:cubicBezTo>
                  <a:cubicBezTo>
                    <a:pt x="65" y="140"/>
                    <a:pt x="65" y="140"/>
                    <a:pt x="65" y="140"/>
                  </a:cubicBezTo>
                  <a:cubicBezTo>
                    <a:pt x="66" y="140"/>
                    <a:pt x="66" y="140"/>
                    <a:pt x="66" y="140"/>
                  </a:cubicBezTo>
                  <a:cubicBezTo>
                    <a:pt x="66" y="140"/>
                    <a:pt x="66" y="140"/>
                    <a:pt x="66" y="140"/>
                  </a:cubicBezTo>
                  <a:cubicBezTo>
                    <a:pt x="67" y="140"/>
                    <a:pt x="67" y="140"/>
                    <a:pt x="67" y="140"/>
                  </a:cubicBezTo>
                  <a:cubicBezTo>
                    <a:pt x="67" y="140"/>
                    <a:pt x="67" y="140"/>
                    <a:pt x="67" y="140"/>
                  </a:cubicBezTo>
                  <a:cubicBezTo>
                    <a:pt x="67" y="140"/>
                    <a:pt x="67" y="140"/>
                    <a:pt x="67" y="140"/>
                  </a:cubicBezTo>
                  <a:cubicBezTo>
                    <a:pt x="67" y="140"/>
                    <a:pt x="67" y="140"/>
                    <a:pt x="67" y="140"/>
                  </a:cubicBezTo>
                  <a:cubicBezTo>
                    <a:pt x="67" y="140"/>
                    <a:pt x="67" y="140"/>
                    <a:pt x="67" y="140"/>
                  </a:cubicBezTo>
                  <a:cubicBezTo>
                    <a:pt x="66" y="140"/>
                    <a:pt x="66" y="140"/>
                    <a:pt x="66" y="140"/>
                  </a:cubicBezTo>
                  <a:cubicBezTo>
                    <a:pt x="66" y="141"/>
                    <a:pt x="66" y="141"/>
                    <a:pt x="66" y="141"/>
                  </a:cubicBezTo>
                  <a:cubicBezTo>
                    <a:pt x="66" y="141"/>
                    <a:pt x="66" y="141"/>
                    <a:pt x="66" y="141"/>
                  </a:cubicBezTo>
                  <a:cubicBezTo>
                    <a:pt x="66" y="141"/>
                    <a:pt x="66" y="141"/>
                    <a:pt x="66" y="141"/>
                  </a:cubicBezTo>
                  <a:cubicBezTo>
                    <a:pt x="65" y="141"/>
                    <a:pt x="65" y="141"/>
                    <a:pt x="65" y="141"/>
                  </a:cubicBezTo>
                  <a:cubicBezTo>
                    <a:pt x="65" y="141"/>
                    <a:pt x="65" y="141"/>
                    <a:pt x="65" y="141"/>
                  </a:cubicBezTo>
                  <a:cubicBezTo>
                    <a:pt x="65" y="141"/>
                    <a:pt x="65" y="141"/>
                    <a:pt x="65" y="141"/>
                  </a:cubicBezTo>
                  <a:cubicBezTo>
                    <a:pt x="65" y="141"/>
                    <a:pt x="65" y="141"/>
                    <a:pt x="65" y="141"/>
                  </a:cubicBezTo>
                  <a:cubicBezTo>
                    <a:pt x="65" y="141"/>
                    <a:pt x="65" y="141"/>
                    <a:pt x="65" y="141"/>
                  </a:cubicBezTo>
                  <a:cubicBezTo>
                    <a:pt x="65" y="142"/>
                    <a:pt x="65" y="142"/>
                    <a:pt x="65" y="142"/>
                  </a:cubicBezTo>
                  <a:cubicBezTo>
                    <a:pt x="65" y="142"/>
                    <a:pt x="65" y="142"/>
                    <a:pt x="65" y="142"/>
                  </a:cubicBezTo>
                  <a:cubicBezTo>
                    <a:pt x="65" y="142"/>
                    <a:pt x="65" y="142"/>
                    <a:pt x="65" y="142"/>
                  </a:cubicBezTo>
                  <a:cubicBezTo>
                    <a:pt x="64" y="142"/>
                    <a:pt x="64" y="142"/>
                    <a:pt x="64" y="142"/>
                  </a:cubicBezTo>
                  <a:cubicBezTo>
                    <a:pt x="64" y="143"/>
                    <a:pt x="64" y="143"/>
                    <a:pt x="64" y="143"/>
                  </a:cubicBezTo>
                  <a:cubicBezTo>
                    <a:pt x="64" y="143"/>
                    <a:pt x="64" y="143"/>
                    <a:pt x="64" y="143"/>
                  </a:cubicBezTo>
                  <a:cubicBezTo>
                    <a:pt x="65" y="143"/>
                    <a:pt x="65" y="143"/>
                    <a:pt x="65" y="143"/>
                  </a:cubicBezTo>
                  <a:cubicBezTo>
                    <a:pt x="65" y="143"/>
                    <a:pt x="65" y="143"/>
                    <a:pt x="65" y="143"/>
                  </a:cubicBezTo>
                  <a:cubicBezTo>
                    <a:pt x="65" y="143"/>
                    <a:pt x="65" y="143"/>
                    <a:pt x="65" y="143"/>
                  </a:cubicBezTo>
                  <a:cubicBezTo>
                    <a:pt x="65" y="144"/>
                    <a:pt x="65" y="144"/>
                    <a:pt x="65" y="144"/>
                  </a:cubicBezTo>
                  <a:cubicBezTo>
                    <a:pt x="65" y="144"/>
                    <a:pt x="65" y="144"/>
                    <a:pt x="65" y="144"/>
                  </a:cubicBezTo>
                  <a:cubicBezTo>
                    <a:pt x="65" y="144"/>
                    <a:pt x="65" y="144"/>
                    <a:pt x="65" y="144"/>
                  </a:cubicBezTo>
                  <a:cubicBezTo>
                    <a:pt x="66" y="145"/>
                    <a:pt x="66" y="145"/>
                    <a:pt x="66" y="145"/>
                  </a:cubicBezTo>
                  <a:cubicBezTo>
                    <a:pt x="66" y="145"/>
                    <a:pt x="66" y="145"/>
                    <a:pt x="66" y="145"/>
                  </a:cubicBezTo>
                  <a:cubicBezTo>
                    <a:pt x="66" y="145"/>
                    <a:pt x="66" y="145"/>
                    <a:pt x="66" y="145"/>
                  </a:cubicBezTo>
                  <a:cubicBezTo>
                    <a:pt x="66" y="146"/>
                    <a:pt x="66" y="146"/>
                    <a:pt x="66" y="146"/>
                  </a:cubicBezTo>
                  <a:cubicBezTo>
                    <a:pt x="67" y="146"/>
                    <a:pt x="67" y="146"/>
                    <a:pt x="67" y="146"/>
                  </a:cubicBezTo>
                  <a:cubicBezTo>
                    <a:pt x="67" y="146"/>
                    <a:pt x="67" y="146"/>
                    <a:pt x="67" y="146"/>
                  </a:cubicBezTo>
                  <a:cubicBezTo>
                    <a:pt x="67" y="146"/>
                    <a:pt x="67" y="146"/>
                    <a:pt x="67" y="146"/>
                  </a:cubicBezTo>
                  <a:cubicBezTo>
                    <a:pt x="67" y="146"/>
                    <a:pt x="67" y="146"/>
                    <a:pt x="67" y="146"/>
                  </a:cubicBezTo>
                  <a:cubicBezTo>
                    <a:pt x="67" y="146"/>
                    <a:pt x="67" y="146"/>
                    <a:pt x="67" y="146"/>
                  </a:cubicBezTo>
                  <a:cubicBezTo>
                    <a:pt x="67" y="146"/>
                    <a:pt x="67" y="146"/>
                    <a:pt x="67" y="146"/>
                  </a:cubicBezTo>
                  <a:cubicBezTo>
                    <a:pt x="66" y="146"/>
                    <a:pt x="66" y="146"/>
                    <a:pt x="66" y="146"/>
                  </a:cubicBezTo>
                  <a:cubicBezTo>
                    <a:pt x="66" y="145"/>
                    <a:pt x="66" y="145"/>
                    <a:pt x="66" y="145"/>
                  </a:cubicBezTo>
                  <a:cubicBezTo>
                    <a:pt x="65" y="145"/>
                    <a:pt x="65" y="145"/>
                    <a:pt x="65" y="145"/>
                  </a:cubicBezTo>
                  <a:cubicBezTo>
                    <a:pt x="65" y="144"/>
                    <a:pt x="65" y="144"/>
                    <a:pt x="65" y="144"/>
                  </a:cubicBezTo>
                  <a:cubicBezTo>
                    <a:pt x="65" y="144"/>
                    <a:pt x="65" y="144"/>
                    <a:pt x="65" y="144"/>
                  </a:cubicBezTo>
                  <a:cubicBezTo>
                    <a:pt x="65" y="144"/>
                    <a:pt x="65" y="144"/>
                    <a:pt x="65" y="144"/>
                  </a:cubicBezTo>
                  <a:cubicBezTo>
                    <a:pt x="65" y="144"/>
                    <a:pt x="65" y="144"/>
                    <a:pt x="65" y="144"/>
                  </a:cubicBezTo>
                  <a:cubicBezTo>
                    <a:pt x="64" y="143"/>
                    <a:pt x="64" y="143"/>
                    <a:pt x="64" y="143"/>
                  </a:cubicBezTo>
                  <a:cubicBezTo>
                    <a:pt x="64" y="143"/>
                    <a:pt x="64" y="143"/>
                    <a:pt x="64" y="143"/>
                  </a:cubicBezTo>
                  <a:cubicBezTo>
                    <a:pt x="63" y="143"/>
                    <a:pt x="63" y="143"/>
                    <a:pt x="63" y="143"/>
                  </a:cubicBezTo>
                  <a:cubicBezTo>
                    <a:pt x="62" y="143"/>
                    <a:pt x="62" y="143"/>
                    <a:pt x="62" y="143"/>
                  </a:cubicBezTo>
                  <a:cubicBezTo>
                    <a:pt x="62" y="143"/>
                    <a:pt x="62" y="143"/>
                    <a:pt x="62" y="143"/>
                  </a:cubicBezTo>
                  <a:cubicBezTo>
                    <a:pt x="62" y="144"/>
                    <a:pt x="62" y="144"/>
                    <a:pt x="62" y="144"/>
                  </a:cubicBezTo>
                  <a:cubicBezTo>
                    <a:pt x="62" y="145"/>
                    <a:pt x="62" y="145"/>
                    <a:pt x="62" y="145"/>
                  </a:cubicBezTo>
                  <a:cubicBezTo>
                    <a:pt x="62" y="145"/>
                    <a:pt x="62" y="145"/>
                    <a:pt x="62" y="145"/>
                  </a:cubicBezTo>
                  <a:cubicBezTo>
                    <a:pt x="62" y="146"/>
                    <a:pt x="62" y="146"/>
                    <a:pt x="62" y="146"/>
                  </a:cubicBezTo>
                  <a:cubicBezTo>
                    <a:pt x="62" y="146"/>
                    <a:pt x="62" y="146"/>
                    <a:pt x="62" y="146"/>
                  </a:cubicBezTo>
                  <a:cubicBezTo>
                    <a:pt x="63" y="148"/>
                    <a:pt x="63" y="148"/>
                    <a:pt x="63" y="148"/>
                  </a:cubicBezTo>
                  <a:cubicBezTo>
                    <a:pt x="63" y="148"/>
                    <a:pt x="63" y="148"/>
                    <a:pt x="63" y="148"/>
                  </a:cubicBezTo>
                  <a:cubicBezTo>
                    <a:pt x="63" y="149"/>
                    <a:pt x="63" y="149"/>
                    <a:pt x="63" y="149"/>
                  </a:cubicBezTo>
                  <a:cubicBezTo>
                    <a:pt x="64" y="149"/>
                    <a:pt x="64" y="149"/>
                    <a:pt x="64" y="149"/>
                  </a:cubicBezTo>
                  <a:cubicBezTo>
                    <a:pt x="64" y="149"/>
                    <a:pt x="64" y="149"/>
                    <a:pt x="64" y="149"/>
                  </a:cubicBezTo>
                  <a:cubicBezTo>
                    <a:pt x="64" y="149"/>
                    <a:pt x="64" y="149"/>
                    <a:pt x="64" y="149"/>
                  </a:cubicBezTo>
                  <a:cubicBezTo>
                    <a:pt x="64" y="148"/>
                    <a:pt x="64" y="148"/>
                    <a:pt x="64" y="148"/>
                  </a:cubicBezTo>
                  <a:cubicBezTo>
                    <a:pt x="64" y="148"/>
                    <a:pt x="64" y="148"/>
                    <a:pt x="64" y="148"/>
                  </a:cubicBezTo>
                  <a:cubicBezTo>
                    <a:pt x="65" y="148"/>
                    <a:pt x="65" y="148"/>
                    <a:pt x="65" y="148"/>
                  </a:cubicBezTo>
                  <a:cubicBezTo>
                    <a:pt x="65" y="148"/>
                    <a:pt x="65" y="148"/>
                    <a:pt x="65" y="148"/>
                  </a:cubicBezTo>
                  <a:cubicBezTo>
                    <a:pt x="65" y="148"/>
                    <a:pt x="65" y="148"/>
                    <a:pt x="65" y="148"/>
                  </a:cubicBezTo>
                  <a:cubicBezTo>
                    <a:pt x="66" y="148"/>
                    <a:pt x="66" y="148"/>
                    <a:pt x="66" y="148"/>
                  </a:cubicBezTo>
                  <a:cubicBezTo>
                    <a:pt x="65" y="148"/>
                    <a:pt x="65" y="148"/>
                    <a:pt x="65" y="148"/>
                  </a:cubicBezTo>
                  <a:cubicBezTo>
                    <a:pt x="65" y="148"/>
                    <a:pt x="65" y="148"/>
                    <a:pt x="65" y="148"/>
                  </a:cubicBezTo>
                  <a:cubicBezTo>
                    <a:pt x="65" y="148"/>
                    <a:pt x="65" y="148"/>
                    <a:pt x="65" y="148"/>
                  </a:cubicBezTo>
                  <a:cubicBezTo>
                    <a:pt x="65" y="148"/>
                    <a:pt x="65" y="148"/>
                    <a:pt x="65" y="148"/>
                  </a:cubicBezTo>
                  <a:cubicBezTo>
                    <a:pt x="64" y="148"/>
                    <a:pt x="64" y="148"/>
                    <a:pt x="64" y="148"/>
                  </a:cubicBezTo>
                  <a:cubicBezTo>
                    <a:pt x="64" y="149"/>
                    <a:pt x="64" y="149"/>
                    <a:pt x="64" y="149"/>
                  </a:cubicBezTo>
                  <a:cubicBezTo>
                    <a:pt x="64" y="149"/>
                    <a:pt x="64" y="149"/>
                    <a:pt x="64" y="149"/>
                  </a:cubicBezTo>
                  <a:cubicBezTo>
                    <a:pt x="64" y="150"/>
                    <a:pt x="64" y="150"/>
                    <a:pt x="64" y="150"/>
                  </a:cubicBezTo>
                  <a:cubicBezTo>
                    <a:pt x="64" y="150"/>
                    <a:pt x="64" y="150"/>
                    <a:pt x="64" y="150"/>
                  </a:cubicBezTo>
                  <a:cubicBezTo>
                    <a:pt x="64" y="150"/>
                    <a:pt x="64" y="150"/>
                    <a:pt x="64" y="150"/>
                  </a:cubicBezTo>
                  <a:cubicBezTo>
                    <a:pt x="64" y="151"/>
                    <a:pt x="64" y="151"/>
                    <a:pt x="64" y="151"/>
                  </a:cubicBezTo>
                  <a:cubicBezTo>
                    <a:pt x="64" y="151"/>
                    <a:pt x="64" y="151"/>
                    <a:pt x="64" y="151"/>
                  </a:cubicBezTo>
                  <a:cubicBezTo>
                    <a:pt x="64" y="152"/>
                    <a:pt x="64" y="152"/>
                    <a:pt x="64" y="152"/>
                  </a:cubicBezTo>
                  <a:cubicBezTo>
                    <a:pt x="64" y="152"/>
                    <a:pt x="64" y="152"/>
                    <a:pt x="64" y="152"/>
                  </a:cubicBezTo>
                  <a:cubicBezTo>
                    <a:pt x="65" y="152"/>
                    <a:pt x="65" y="152"/>
                    <a:pt x="65" y="152"/>
                  </a:cubicBezTo>
                  <a:cubicBezTo>
                    <a:pt x="65" y="152"/>
                    <a:pt x="65" y="152"/>
                    <a:pt x="65" y="152"/>
                  </a:cubicBezTo>
                  <a:cubicBezTo>
                    <a:pt x="65" y="152"/>
                    <a:pt x="65" y="152"/>
                    <a:pt x="65" y="152"/>
                  </a:cubicBezTo>
                  <a:cubicBezTo>
                    <a:pt x="65" y="152"/>
                    <a:pt x="65" y="152"/>
                    <a:pt x="65" y="152"/>
                  </a:cubicBezTo>
                  <a:cubicBezTo>
                    <a:pt x="64" y="152"/>
                    <a:pt x="64" y="152"/>
                    <a:pt x="64" y="152"/>
                  </a:cubicBezTo>
                  <a:cubicBezTo>
                    <a:pt x="64" y="152"/>
                    <a:pt x="64" y="152"/>
                    <a:pt x="64" y="152"/>
                  </a:cubicBezTo>
                  <a:cubicBezTo>
                    <a:pt x="64" y="152"/>
                    <a:pt x="64" y="152"/>
                    <a:pt x="64" y="152"/>
                  </a:cubicBezTo>
                  <a:cubicBezTo>
                    <a:pt x="64" y="151"/>
                    <a:pt x="64" y="151"/>
                    <a:pt x="64" y="151"/>
                  </a:cubicBezTo>
                  <a:cubicBezTo>
                    <a:pt x="62" y="147"/>
                    <a:pt x="62" y="147"/>
                    <a:pt x="62" y="147"/>
                  </a:cubicBezTo>
                  <a:cubicBezTo>
                    <a:pt x="62" y="146"/>
                    <a:pt x="62" y="146"/>
                    <a:pt x="62" y="146"/>
                  </a:cubicBezTo>
                  <a:cubicBezTo>
                    <a:pt x="62" y="146"/>
                    <a:pt x="62" y="146"/>
                    <a:pt x="62" y="146"/>
                  </a:cubicBezTo>
                  <a:cubicBezTo>
                    <a:pt x="62" y="146"/>
                    <a:pt x="62" y="146"/>
                    <a:pt x="62" y="146"/>
                  </a:cubicBezTo>
                  <a:cubicBezTo>
                    <a:pt x="62" y="145"/>
                    <a:pt x="62" y="145"/>
                    <a:pt x="62" y="145"/>
                  </a:cubicBezTo>
                  <a:cubicBezTo>
                    <a:pt x="62" y="145"/>
                    <a:pt x="62" y="145"/>
                    <a:pt x="62" y="145"/>
                  </a:cubicBezTo>
                  <a:cubicBezTo>
                    <a:pt x="61" y="144"/>
                    <a:pt x="61" y="144"/>
                    <a:pt x="61" y="144"/>
                  </a:cubicBezTo>
                  <a:cubicBezTo>
                    <a:pt x="61" y="144"/>
                    <a:pt x="61" y="144"/>
                    <a:pt x="61" y="144"/>
                  </a:cubicBezTo>
                  <a:cubicBezTo>
                    <a:pt x="61" y="144"/>
                    <a:pt x="61" y="144"/>
                    <a:pt x="61" y="144"/>
                  </a:cubicBezTo>
                  <a:cubicBezTo>
                    <a:pt x="61" y="144"/>
                    <a:pt x="61" y="144"/>
                    <a:pt x="61" y="144"/>
                  </a:cubicBezTo>
                  <a:cubicBezTo>
                    <a:pt x="61" y="145"/>
                    <a:pt x="61" y="145"/>
                    <a:pt x="61" y="145"/>
                  </a:cubicBezTo>
                  <a:cubicBezTo>
                    <a:pt x="61" y="145"/>
                    <a:pt x="61" y="145"/>
                    <a:pt x="61" y="145"/>
                  </a:cubicBezTo>
                  <a:cubicBezTo>
                    <a:pt x="61" y="145"/>
                    <a:pt x="61" y="145"/>
                    <a:pt x="61" y="145"/>
                  </a:cubicBezTo>
                  <a:cubicBezTo>
                    <a:pt x="61" y="145"/>
                    <a:pt x="61" y="145"/>
                    <a:pt x="61" y="145"/>
                  </a:cubicBezTo>
                  <a:cubicBezTo>
                    <a:pt x="61" y="145"/>
                    <a:pt x="61" y="145"/>
                    <a:pt x="61" y="145"/>
                  </a:cubicBezTo>
                  <a:cubicBezTo>
                    <a:pt x="61" y="145"/>
                    <a:pt x="61" y="145"/>
                    <a:pt x="61" y="145"/>
                  </a:cubicBezTo>
                  <a:cubicBezTo>
                    <a:pt x="60" y="145"/>
                    <a:pt x="60" y="145"/>
                    <a:pt x="60" y="145"/>
                  </a:cubicBezTo>
                  <a:cubicBezTo>
                    <a:pt x="60" y="145"/>
                    <a:pt x="60" y="145"/>
                    <a:pt x="60" y="145"/>
                  </a:cubicBezTo>
                  <a:cubicBezTo>
                    <a:pt x="60" y="146"/>
                    <a:pt x="60" y="146"/>
                    <a:pt x="60" y="146"/>
                  </a:cubicBezTo>
                  <a:cubicBezTo>
                    <a:pt x="60" y="146"/>
                    <a:pt x="60" y="146"/>
                    <a:pt x="60" y="146"/>
                  </a:cubicBezTo>
                  <a:cubicBezTo>
                    <a:pt x="60" y="147"/>
                    <a:pt x="60" y="147"/>
                    <a:pt x="60" y="147"/>
                  </a:cubicBezTo>
                  <a:cubicBezTo>
                    <a:pt x="60" y="147"/>
                    <a:pt x="60" y="147"/>
                    <a:pt x="60" y="147"/>
                  </a:cubicBezTo>
                  <a:cubicBezTo>
                    <a:pt x="60" y="148"/>
                    <a:pt x="60" y="148"/>
                    <a:pt x="60" y="148"/>
                  </a:cubicBezTo>
                  <a:cubicBezTo>
                    <a:pt x="60" y="148"/>
                    <a:pt x="60" y="148"/>
                    <a:pt x="60" y="148"/>
                  </a:cubicBezTo>
                  <a:cubicBezTo>
                    <a:pt x="60" y="148"/>
                    <a:pt x="60" y="148"/>
                    <a:pt x="60" y="148"/>
                  </a:cubicBezTo>
                  <a:cubicBezTo>
                    <a:pt x="59" y="148"/>
                    <a:pt x="59" y="148"/>
                    <a:pt x="59" y="148"/>
                  </a:cubicBezTo>
                  <a:cubicBezTo>
                    <a:pt x="59" y="148"/>
                    <a:pt x="59" y="148"/>
                    <a:pt x="59" y="148"/>
                  </a:cubicBezTo>
                  <a:cubicBezTo>
                    <a:pt x="59" y="148"/>
                    <a:pt x="59" y="148"/>
                    <a:pt x="59" y="148"/>
                  </a:cubicBezTo>
                  <a:cubicBezTo>
                    <a:pt x="59" y="148"/>
                    <a:pt x="59" y="148"/>
                    <a:pt x="59" y="148"/>
                  </a:cubicBezTo>
                  <a:cubicBezTo>
                    <a:pt x="59" y="149"/>
                    <a:pt x="59" y="149"/>
                    <a:pt x="59" y="149"/>
                  </a:cubicBezTo>
                  <a:cubicBezTo>
                    <a:pt x="59" y="149"/>
                    <a:pt x="59" y="149"/>
                    <a:pt x="59" y="149"/>
                  </a:cubicBezTo>
                  <a:cubicBezTo>
                    <a:pt x="59" y="149"/>
                    <a:pt x="59" y="149"/>
                    <a:pt x="59" y="149"/>
                  </a:cubicBezTo>
                  <a:cubicBezTo>
                    <a:pt x="59" y="150"/>
                    <a:pt x="59" y="150"/>
                    <a:pt x="59" y="150"/>
                  </a:cubicBezTo>
                  <a:cubicBezTo>
                    <a:pt x="59" y="150"/>
                    <a:pt x="59" y="150"/>
                    <a:pt x="59" y="150"/>
                  </a:cubicBezTo>
                  <a:cubicBezTo>
                    <a:pt x="59" y="150"/>
                    <a:pt x="59" y="150"/>
                    <a:pt x="59" y="150"/>
                  </a:cubicBezTo>
                  <a:cubicBezTo>
                    <a:pt x="60" y="150"/>
                    <a:pt x="60" y="150"/>
                    <a:pt x="60" y="150"/>
                  </a:cubicBezTo>
                  <a:cubicBezTo>
                    <a:pt x="60" y="150"/>
                    <a:pt x="60" y="150"/>
                    <a:pt x="60" y="150"/>
                  </a:cubicBezTo>
                  <a:cubicBezTo>
                    <a:pt x="61" y="150"/>
                    <a:pt x="61" y="150"/>
                    <a:pt x="61" y="150"/>
                  </a:cubicBezTo>
                  <a:cubicBezTo>
                    <a:pt x="61" y="150"/>
                    <a:pt x="61" y="150"/>
                    <a:pt x="61" y="150"/>
                  </a:cubicBezTo>
                  <a:cubicBezTo>
                    <a:pt x="61" y="150"/>
                    <a:pt x="61" y="150"/>
                    <a:pt x="61" y="150"/>
                  </a:cubicBezTo>
                  <a:cubicBezTo>
                    <a:pt x="61" y="150"/>
                    <a:pt x="61" y="150"/>
                    <a:pt x="61" y="150"/>
                  </a:cubicBezTo>
                  <a:cubicBezTo>
                    <a:pt x="62" y="149"/>
                    <a:pt x="62" y="149"/>
                    <a:pt x="62" y="149"/>
                  </a:cubicBezTo>
                  <a:cubicBezTo>
                    <a:pt x="62" y="149"/>
                    <a:pt x="62" y="149"/>
                    <a:pt x="62" y="149"/>
                  </a:cubicBezTo>
                  <a:cubicBezTo>
                    <a:pt x="62" y="150"/>
                    <a:pt x="62" y="150"/>
                    <a:pt x="62" y="150"/>
                  </a:cubicBezTo>
                  <a:cubicBezTo>
                    <a:pt x="61" y="150"/>
                    <a:pt x="61" y="150"/>
                    <a:pt x="61" y="150"/>
                  </a:cubicBezTo>
                  <a:cubicBezTo>
                    <a:pt x="61" y="151"/>
                    <a:pt x="61" y="151"/>
                    <a:pt x="61" y="151"/>
                  </a:cubicBezTo>
                  <a:cubicBezTo>
                    <a:pt x="61" y="151"/>
                    <a:pt x="61" y="151"/>
                    <a:pt x="61" y="151"/>
                  </a:cubicBezTo>
                  <a:cubicBezTo>
                    <a:pt x="61" y="151"/>
                    <a:pt x="61" y="151"/>
                    <a:pt x="61" y="151"/>
                  </a:cubicBezTo>
                  <a:cubicBezTo>
                    <a:pt x="61" y="151"/>
                    <a:pt x="61" y="151"/>
                    <a:pt x="61" y="151"/>
                  </a:cubicBezTo>
                  <a:cubicBezTo>
                    <a:pt x="61" y="152"/>
                    <a:pt x="61" y="152"/>
                    <a:pt x="61" y="152"/>
                  </a:cubicBezTo>
                  <a:cubicBezTo>
                    <a:pt x="61" y="152"/>
                    <a:pt x="61" y="152"/>
                    <a:pt x="61" y="152"/>
                  </a:cubicBezTo>
                  <a:cubicBezTo>
                    <a:pt x="61" y="152"/>
                    <a:pt x="61" y="152"/>
                    <a:pt x="61" y="152"/>
                  </a:cubicBezTo>
                  <a:cubicBezTo>
                    <a:pt x="62" y="152"/>
                    <a:pt x="62" y="152"/>
                    <a:pt x="62" y="152"/>
                  </a:cubicBezTo>
                  <a:cubicBezTo>
                    <a:pt x="61" y="152"/>
                    <a:pt x="61" y="152"/>
                    <a:pt x="61" y="152"/>
                  </a:cubicBezTo>
                  <a:cubicBezTo>
                    <a:pt x="60" y="152"/>
                    <a:pt x="60" y="152"/>
                    <a:pt x="60" y="152"/>
                  </a:cubicBezTo>
                  <a:cubicBezTo>
                    <a:pt x="60" y="153"/>
                    <a:pt x="60" y="153"/>
                    <a:pt x="60" y="153"/>
                  </a:cubicBezTo>
                  <a:cubicBezTo>
                    <a:pt x="60" y="153"/>
                    <a:pt x="60" y="153"/>
                    <a:pt x="60" y="153"/>
                  </a:cubicBezTo>
                  <a:cubicBezTo>
                    <a:pt x="60" y="153"/>
                    <a:pt x="60" y="153"/>
                    <a:pt x="60" y="153"/>
                  </a:cubicBezTo>
                  <a:cubicBezTo>
                    <a:pt x="60" y="153"/>
                    <a:pt x="60" y="153"/>
                    <a:pt x="60" y="153"/>
                  </a:cubicBezTo>
                  <a:cubicBezTo>
                    <a:pt x="60" y="153"/>
                    <a:pt x="60" y="153"/>
                    <a:pt x="60" y="153"/>
                  </a:cubicBezTo>
                  <a:cubicBezTo>
                    <a:pt x="61" y="154"/>
                    <a:pt x="61" y="154"/>
                    <a:pt x="61" y="154"/>
                  </a:cubicBezTo>
                  <a:cubicBezTo>
                    <a:pt x="62" y="154"/>
                    <a:pt x="62" y="154"/>
                    <a:pt x="62" y="154"/>
                  </a:cubicBezTo>
                  <a:cubicBezTo>
                    <a:pt x="62" y="154"/>
                    <a:pt x="62" y="154"/>
                    <a:pt x="62" y="154"/>
                  </a:cubicBezTo>
                  <a:cubicBezTo>
                    <a:pt x="62" y="154"/>
                    <a:pt x="62" y="154"/>
                    <a:pt x="62" y="154"/>
                  </a:cubicBezTo>
                  <a:cubicBezTo>
                    <a:pt x="62" y="155"/>
                    <a:pt x="62" y="155"/>
                    <a:pt x="62" y="155"/>
                  </a:cubicBezTo>
                  <a:cubicBezTo>
                    <a:pt x="62" y="155"/>
                    <a:pt x="62" y="155"/>
                    <a:pt x="62" y="155"/>
                  </a:cubicBezTo>
                  <a:cubicBezTo>
                    <a:pt x="62" y="155"/>
                    <a:pt x="62" y="155"/>
                    <a:pt x="62" y="155"/>
                  </a:cubicBezTo>
                  <a:cubicBezTo>
                    <a:pt x="62" y="154"/>
                    <a:pt x="62" y="154"/>
                    <a:pt x="62" y="154"/>
                  </a:cubicBezTo>
                  <a:cubicBezTo>
                    <a:pt x="62" y="154"/>
                    <a:pt x="62" y="154"/>
                    <a:pt x="62" y="154"/>
                  </a:cubicBezTo>
                  <a:cubicBezTo>
                    <a:pt x="63" y="154"/>
                    <a:pt x="63" y="154"/>
                    <a:pt x="63" y="154"/>
                  </a:cubicBezTo>
                  <a:cubicBezTo>
                    <a:pt x="63" y="155"/>
                    <a:pt x="63" y="155"/>
                    <a:pt x="63" y="155"/>
                  </a:cubicBezTo>
                  <a:cubicBezTo>
                    <a:pt x="63" y="155"/>
                    <a:pt x="63" y="155"/>
                    <a:pt x="63" y="155"/>
                  </a:cubicBezTo>
                  <a:cubicBezTo>
                    <a:pt x="64" y="154"/>
                    <a:pt x="64" y="154"/>
                    <a:pt x="64" y="154"/>
                  </a:cubicBezTo>
                  <a:cubicBezTo>
                    <a:pt x="64" y="154"/>
                    <a:pt x="64" y="154"/>
                    <a:pt x="64" y="154"/>
                  </a:cubicBezTo>
                  <a:cubicBezTo>
                    <a:pt x="64" y="154"/>
                    <a:pt x="64" y="154"/>
                    <a:pt x="64" y="154"/>
                  </a:cubicBezTo>
                  <a:cubicBezTo>
                    <a:pt x="65" y="154"/>
                    <a:pt x="65" y="154"/>
                    <a:pt x="65" y="154"/>
                  </a:cubicBezTo>
                  <a:cubicBezTo>
                    <a:pt x="66" y="154"/>
                    <a:pt x="66" y="154"/>
                    <a:pt x="66" y="154"/>
                  </a:cubicBezTo>
                  <a:cubicBezTo>
                    <a:pt x="67" y="154"/>
                    <a:pt x="67" y="154"/>
                    <a:pt x="67" y="154"/>
                  </a:cubicBezTo>
                  <a:cubicBezTo>
                    <a:pt x="68" y="155"/>
                    <a:pt x="68" y="155"/>
                    <a:pt x="68" y="155"/>
                  </a:cubicBezTo>
                  <a:cubicBezTo>
                    <a:pt x="68" y="156"/>
                    <a:pt x="68" y="156"/>
                    <a:pt x="68" y="156"/>
                  </a:cubicBezTo>
                  <a:cubicBezTo>
                    <a:pt x="69" y="156"/>
                    <a:pt x="69" y="156"/>
                    <a:pt x="69" y="156"/>
                  </a:cubicBezTo>
                  <a:cubicBezTo>
                    <a:pt x="69" y="155"/>
                    <a:pt x="69" y="155"/>
                    <a:pt x="69" y="155"/>
                  </a:cubicBezTo>
                  <a:cubicBezTo>
                    <a:pt x="69" y="155"/>
                    <a:pt x="69" y="155"/>
                    <a:pt x="69" y="155"/>
                  </a:cubicBezTo>
                  <a:cubicBezTo>
                    <a:pt x="70" y="155"/>
                    <a:pt x="70" y="155"/>
                    <a:pt x="70" y="155"/>
                  </a:cubicBezTo>
                  <a:cubicBezTo>
                    <a:pt x="70" y="155"/>
                    <a:pt x="70" y="155"/>
                    <a:pt x="70" y="155"/>
                  </a:cubicBezTo>
                  <a:cubicBezTo>
                    <a:pt x="70" y="155"/>
                    <a:pt x="70" y="155"/>
                    <a:pt x="70" y="155"/>
                  </a:cubicBezTo>
                  <a:cubicBezTo>
                    <a:pt x="70" y="155"/>
                    <a:pt x="70" y="155"/>
                    <a:pt x="70" y="155"/>
                  </a:cubicBezTo>
                  <a:cubicBezTo>
                    <a:pt x="70" y="155"/>
                    <a:pt x="70" y="155"/>
                    <a:pt x="70" y="155"/>
                  </a:cubicBezTo>
                  <a:cubicBezTo>
                    <a:pt x="69" y="155"/>
                    <a:pt x="69" y="155"/>
                    <a:pt x="69" y="155"/>
                  </a:cubicBezTo>
                  <a:cubicBezTo>
                    <a:pt x="69" y="155"/>
                    <a:pt x="69" y="155"/>
                    <a:pt x="69" y="155"/>
                  </a:cubicBezTo>
                  <a:cubicBezTo>
                    <a:pt x="69" y="155"/>
                    <a:pt x="69" y="155"/>
                    <a:pt x="69" y="155"/>
                  </a:cubicBezTo>
                  <a:cubicBezTo>
                    <a:pt x="69" y="156"/>
                    <a:pt x="69" y="156"/>
                    <a:pt x="69" y="156"/>
                  </a:cubicBezTo>
                  <a:cubicBezTo>
                    <a:pt x="68" y="156"/>
                    <a:pt x="68" y="156"/>
                    <a:pt x="68" y="156"/>
                  </a:cubicBezTo>
                  <a:cubicBezTo>
                    <a:pt x="68" y="156"/>
                    <a:pt x="68" y="156"/>
                    <a:pt x="68" y="156"/>
                  </a:cubicBezTo>
                  <a:cubicBezTo>
                    <a:pt x="67" y="155"/>
                    <a:pt x="67" y="155"/>
                    <a:pt x="67" y="155"/>
                  </a:cubicBezTo>
                  <a:cubicBezTo>
                    <a:pt x="67" y="155"/>
                    <a:pt x="67" y="155"/>
                    <a:pt x="67" y="155"/>
                  </a:cubicBezTo>
                  <a:cubicBezTo>
                    <a:pt x="66" y="155"/>
                    <a:pt x="66" y="155"/>
                    <a:pt x="66" y="155"/>
                  </a:cubicBezTo>
                  <a:cubicBezTo>
                    <a:pt x="66" y="155"/>
                    <a:pt x="66" y="155"/>
                    <a:pt x="66" y="155"/>
                  </a:cubicBezTo>
                  <a:cubicBezTo>
                    <a:pt x="66" y="154"/>
                    <a:pt x="66" y="154"/>
                    <a:pt x="66" y="154"/>
                  </a:cubicBezTo>
                  <a:cubicBezTo>
                    <a:pt x="66" y="154"/>
                    <a:pt x="66" y="154"/>
                    <a:pt x="66" y="154"/>
                  </a:cubicBezTo>
                  <a:cubicBezTo>
                    <a:pt x="65" y="154"/>
                    <a:pt x="65" y="154"/>
                    <a:pt x="65" y="154"/>
                  </a:cubicBezTo>
                  <a:cubicBezTo>
                    <a:pt x="65" y="154"/>
                    <a:pt x="65" y="154"/>
                    <a:pt x="65" y="154"/>
                  </a:cubicBezTo>
                  <a:cubicBezTo>
                    <a:pt x="65" y="155"/>
                    <a:pt x="65" y="155"/>
                    <a:pt x="65" y="155"/>
                  </a:cubicBezTo>
                  <a:cubicBezTo>
                    <a:pt x="64" y="155"/>
                    <a:pt x="64" y="155"/>
                    <a:pt x="64" y="155"/>
                  </a:cubicBezTo>
                  <a:cubicBezTo>
                    <a:pt x="64" y="155"/>
                    <a:pt x="64" y="155"/>
                    <a:pt x="64" y="155"/>
                  </a:cubicBezTo>
                  <a:cubicBezTo>
                    <a:pt x="64" y="155"/>
                    <a:pt x="64" y="155"/>
                    <a:pt x="64" y="155"/>
                  </a:cubicBezTo>
                  <a:cubicBezTo>
                    <a:pt x="64" y="156"/>
                    <a:pt x="64" y="156"/>
                    <a:pt x="64" y="156"/>
                  </a:cubicBezTo>
                  <a:cubicBezTo>
                    <a:pt x="64" y="156"/>
                    <a:pt x="64" y="156"/>
                    <a:pt x="64" y="156"/>
                  </a:cubicBezTo>
                  <a:cubicBezTo>
                    <a:pt x="64" y="156"/>
                    <a:pt x="64" y="156"/>
                    <a:pt x="64" y="156"/>
                  </a:cubicBezTo>
                  <a:cubicBezTo>
                    <a:pt x="65" y="157"/>
                    <a:pt x="65" y="157"/>
                    <a:pt x="65" y="157"/>
                  </a:cubicBezTo>
                  <a:cubicBezTo>
                    <a:pt x="65" y="157"/>
                    <a:pt x="65" y="157"/>
                    <a:pt x="65" y="157"/>
                  </a:cubicBezTo>
                  <a:cubicBezTo>
                    <a:pt x="65" y="157"/>
                    <a:pt x="65" y="157"/>
                    <a:pt x="65" y="157"/>
                  </a:cubicBezTo>
                  <a:cubicBezTo>
                    <a:pt x="65" y="158"/>
                    <a:pt x="65" y="158"/>
                    <a:pt x="65" y="158"/>
                  </a:cubicBezTo>
                  <a:cubicBezTo>
                    <a:pt x="65" y="158"/>
                    <a:pt x="65" y="158"/>
                    <a:pt x="65" y="158"/>
                  </a:cubicBezTo>
                  <a:cubicBezTo>
                    <a:pt x="65" y="159"/>
                    <a:pt x="65" y="159"/>
                    <a:pt x="65" y="159"/>
                  </a:cubicBezTo>
                  <a:cubicBezTo>
                    <a:pt x="66" y="159"/>
                    <a:pt x="66" y="159"/>
                    <a:pt x="66" y="159"/>
                  </a:cubicBezTo>
                  <a:cubicBezTo>
                    <a:pt x="66" y="159"/>
                    <a:pt x="66" y="159"/>
                    <a:pt x="66" y="159"/>
                  </a:cubicBezTo>
                  <a:cubicBezTo>
                    <a:pt x="66" y="160"/>
                    <a:pt x="66" y="160"/>
                    <a:pt x="66" y="160"/>
                  </a:cubicBezTo>
                  <a:cubicBezTo>
                    <a:pt x="66" y="160"/>
                    <a:pt x="66" y="160"/>
                    <a:pt x="66" y="160"/>
                  </a:cubicBezTo>
                  <a:cubicBezTo>
                    <a:pt x="65" y="160"/>
                    <a:pt x="65" y="160"/>
                    <a:pt x="65" y="160"/>
                  </a:cubicBezTo>
                  <a:cubicBezTo>
                    <a:pt x="65" y="160"/>
                    <a:pt x="65" y="160"/>
                    <a:pt x="65" y="160"/>
                  </a:cubicBezTo>
                  <a:cubicBezTo>
                    <a:pt x="65" y="160"/>
                    <a:pt x="65" y="160"/>
                    <a:pt x="65" y="160"/>
                  </a:cubicBezTo>
                  <a:cubicBezTo>
                    <a:pt x="65" y="160"/>
                    <a:pt x="65" y="160"/>
                    <a:pt x="65" y="160"/>
                  </a:cubicBezTo>
                  <a:cubicBezTo>
                    <a:pt x="65" y="159"/>
                    <a:pt x="65" y="159"/>
                    <a:pt x="65" y="159"/>
                  </a:cubicBezTo>
                  <a:cubicBezTo>
                    <a:pt x="65" y="159"/>
                    <a:pt x="65" y="159"/>
                    <a:pt x="65" y="159"/>
                  </a:cubicBezTo>
                  <a:cubicBezTo>
                    <a:pt x="65" y="159"/>
                    <a:pt x="65" y="159"/>
                    <a:pt x="65" y="159"/>
                  </a:cubicBezTo>
                  <a:cubicBezTo>
                    <a:pt x="65" y="159"/>
                    <a:pt x="65" y="159"/>
                    <a:pt x="65" y="159"/>
                  </a:cubicBezTo>
                  <a:cubicBezTo>
                    <a:pt x="65" y="159"/>
                    <a:pt x="65" y="159"/>
                    <a:pt x="65" y="159"/>
                  </a:cubicBezTo>
                  <a:cubicBezTo>
                    <a:pt x="65" y="159"/>
                    <a:pt x="65" y="159"/>
                    <a:pt x="65" y="159"/>
                  </a:cubicBezTo>
                  <a:cubicBezTo>
                    <a:pt x="65" y="159"/>
                    <a:pt x="65" y="159"/>
                    <a:pt x="65" y="159"/>
                  </a:cubicBezTo>
                  <a:cubicBezTo>
                    <a:pt x="65" y="159"/>
                    <a:pt x="65" y="159"/>
                    <a:pt x="65" y="159"/>
                  </a:cubicBezTo>
                  <a:cubicBezTo>
                    <a:pt x="65" y="159"/>
                    <a:pt x="65" y="159"/>
                    <a:pt x="65" y="159"/>
                  </a:cubicBezTo>
                  <a:cubicBezTo>
                    <a:pt x="65" y="158"/>
                    <a:pt x="65" y="158"/>
                    <a:pt x="65" y="158"/>
                  </a:cubicBezTo>
                  <a:cubicBezTo>
                    <a:pt x="65" y="158"/>
                    <a:pt x="65" y="158"/>
                    <a:pt x="65" y="158"/>
                  </a:cubicBezTo>
                  <a:cubicBezTo>
                    <a:pt x="65" y="158"/>
                    <a:pt x="65" y="158"/>
                    <a:pt x="65" y="158"/>
                  </a:cubicBezTo>
                  <a:cubicBezTo>
                    <a:pt x="64" y="158"/>
                    <a:pt x="64" y="158"/>
                    <a:pt x="64" y="158"/>
                  </a:cubicBezTo>
                  <a:cubicBezTo>
                    <a:pt x="64" y="158"/>
                    <a:pt x="64" y="158"/>
                    <a:pt x="64" y="158"/>
                  </a:cubicBezTo>
                  <a:cubicBezTo>
                    <a:pt x="65" y="158"/>
                    <a:pt x="65" y="158"/>
                    <a:pt x="65" y="158"/>
                  </a:cubicBezTo>
                  <a:cubicBezTo>
                    <a:pt x="65" y="158"/>
                    <a:pt x="65" y="158"/>
                    <a:pt x="65" y="158"/>
                  </a:cubicBezTo>
                  <a:cubicBezTo>
                    <a:pt x="64" y="157"/>
                    <a:pt x="64" y="157"/>
                    <a:pt x="64" y="157"/>
                  </a:cubicBezTo>
                  <a:cubicBezTo>
                    <a:pt x="64" y="156"/>
                    <a:pt x="64" y="156"/>
                    <a:pt x="64" y="156"/>
                  </a:cubicBezTo>
                  <a:cubicBezTo>
                    <a:pt x="64" y="156"/>
                    <a:pt x="64" y="156"/>
                    <a:pt x="64" y="156"/>
                  </a:cubicBezTo>
                  <a:cubicBezTo>
                    <a:pt x="64" y="156"/>
                    <a:pt x="64" y="156"/>
                    <a:pt x="64" y="156"/>
                  </a:cubicBezTo>
                  <a:cubicBezTo>
                    <a:pt x="64" y="156"/>
                    <a:pt x="64" y="156"/>
                    <a:pt x="64" y="156"/>
                  </a:cubicBezTo>
                  <a:cubicBezTo>
                    <a:pt x="64" y="156"/>
                    <a:pt x="64" y="156"/>
                    <a:pt x="64" y="156"/>
                  </a:cubicBezTo>
                  <a:cubicBezTo>
                    <a:pt x="64" y="155"/>
                    <a:pt x="64" y="155"/>
                    <a:pt x="64" y="155"/>
                  </a:cubicBezTo>
                  <a:cubicBezTo>
                    <a:pt x="64" y="155"/>
                    <a:pt x="64" y="155"/>
                    <a:pt x="64" y="155"/>
                  </a:cubicBezTo>
                  <a:cubicBezTo>
                    <a:pt x="64" y="155"/>
                    <a:pt x="64" y="155"/>
                    <a:pt x="64" y="155"/>
                  </a:cubicBezTo>
                  <a:cubicBezTo>
                    <a:pt x="64" y="155"/>
                    <a:pt x="64" y="155"/>
                    <a:pt x="64" y="155"/>
                  </a:cubicBezTo>
                  <a:cubicBezTo>
                    <a:pt x="63" y="155"/>
                    <a:pt x="63" y="155"/>
                    <a:pt x="63" y="155"/>
                  </a:cubicBezTo>
                  <a:cubicBezTo>
                    <a:pt x="63" y="155"/>
                    <a:pt x="63" y="155"/>
                    <a:pt x="63" y="155"/>
                  </a:cubicBezTo>
                  <a:cubicBezTo>
                    <a:pt x="63" y="155"/>
                    <a:pt x="63" y="155"/>
                    <a:pt x="63" y="155"/>
                  </a:cubicBezTo>
                  <a:cubicBezTo>
                    <a:pt x="62" y="156"/>
                    <a:pt x="62" y="156"/>
                    <a:pt x="62" y="156"/>
                  </a:cubicBezTo>
                  <a:cubicBezTo>
                    <a:pt x="62" y="156"/>
                    <a:pt x="62" y="156"/>
                    <a:pt x="62" y="156"/>
                  </a:cubicBezTo>
                  <a:cubicBezTo>
                    <a:pt x="61" y="158"/>
                    <a:pt x="61" y="158"/>
                    <a:pt x="61" y="158"/>
                  </a:cubicBezTo>
                  <a:cubicBezTo>
                    <a:pt x="61" y="159"/>
                    <a:pt x="61" y="159"/>
                    <a:pt x="61" y="159"/>
                  </a:cubicBezTo>
                  <a:cubicBezTo>
                    <a:pt x="61" y="159"/>
                    <a:pt x="61" y="159"/>
                    <a:pt x="61" y="159"/>
                  </a:cubicBezTo>
                  <a:cubicBezTo>
                    <a:pt x="61" y="159"/>
                    <a:pt x="61" y="159"/>
                    <a:pt x="61" y="159"/>
                  </a:cubicBezTo>
                  <a:cubicBezTo>
                    <a:pt x="61" y="160"/>
                    <a:pt x="61" y="160"/>
                    <a:pt x="61" y="160"/>
                  </a:cubicBezTo>
                  <a:cubicBezTo>
                    <a:pt x="61" y="160"/>
                    <a:pt x="61" y="160"/>
                    <a:pt x="61" y="160"/>
                  </a:cubicBezTo>
                  <a:cubicBezTo>
                    <a:pt x="61" y="161"/>
                    <a:pt x="61" y="161"/>
                    <a:pt x="61" y="161"/>
                  </a:cubicBezTo>
                  <a:cubicBezTo>
                    <a:pt x="61" y="161"/>
                    <a:pt x="61" y="161"/>
                    <a:pt x="61" y="161"/>
                  </a:cubicBezTo>
                  <a:cubicBezTo>
                    <a:pt x="62" y="161"/>
                    <a:pt x="62" y="161"/>
                    <a:pt x="62" y="161"/>
                  </a:cubicBezTo>
                  <a:cubicBezTo>
                    <a:pt x="62" y="161"/>
                    <a:pt x="62" y="161"/>
                    <a:pt x="62" y="161"/>
                  </a:cubicBezTo>
                  <a:cubicBezTo>
                    <a:pt x="62" y="161"/>
                    <a:pt x="62" y="161"/>
                    <a:pt x="62" y="161"/>
                  </a:cubicBezTo>
                  <a:cubicBezTo>
                    <a:pt x="62" y="161"/>
                    <a:pt x="62" y="161"/>
                    <a:pt x="62" y="161"/>
                  </a:cubicBezTo>
                  <a:cubicBezTo>
                    <a:pt x="62" y="161"/>
                    <a:pt x="62" y="161"/>
                    <a:pt x="62" y="161"/>
                  </a:cubicBezTo>
                  <a:cubicBezTo>
                    <a:pt x="62" y="161"/>
                    <a:pt x="62" y="161"/>
                    <a:pt x="62" y="161"/>
                  </a:cubicBezTo>
                  <a:cubicBezTo>
                    <a:pt x="62" y="162"/>
                    <a:pt x="62" y="162"/>
                    <a:pt x="62" y="162"/>
                  </a:cubicBezTo>
                  <a:cubicBezTo>
                    <a:pt x="62" y="162"/>
                    <a:pt x="62" y="162"/>
                    <a:pt x="62" y="162"/>
                  </a:cubicBezTo>
                  <a:cubicBezTo>
                    <a:pt x="62" y="162"/>
                    <a:pt x="62" y="162"/>
                    <a:pt x="62" y="162"/>
                  </a:cubicBezTo>
                  <a:cubicBezTo>
                    <a:pt x="62" y="162"/>
                    <a:pt x="62" y="162"/>
                    <a:pt x="62" y="162"/>
                  </a:cubicBezTo>
                  <a:cubicBezTo>
                    <a:pt x="62" y="163"/>
                    <a:pt x="62" y="163"/>
                    <a:pt x="62" y="163"/>
                  </a:cubicBezTo>
                  <a:cubicBezTo>
                    <a:pt x="62" y="163"/>
                    <a:pt x="62" y="163"/>
                    <a:pt x="62" y="163"/>
                  </a:cubicBezTo>
                  <a:cubicBezTo>
                    <a:pt x="63" y="163"/>
                    <a:pt x="63" y="163"/>
                    <a:pt x="63" y="163"/>
                  </a:cubicBezTo>
                  <a:cubicBezTo>
                    <a:pt x="63" y="164"/>
                    <a:pt x="63" y="164"/>
                    <a:pt x="63" y="164"/>
                  </a:cubicBezTo>
                  <a:cubicBezTo>
                    <a:pt x="63" y="164"/>
                    <a:pt x="63" y="164"/>
                    <a:pt x="63" y="164"/>
                  </a:cubicBezTo>
                  <a:cubicBezTo>
                    <a:pt x="63" y="164"/>
                    <a:pt x="63" y="164"/>
                    <a:pt x="63" y="164"/>
                  </a:cubicBezTo>
                  <a:cubicBezTo>
                    <a:pt x="63" y="164"/>
                    <a:pt x="63" y="164"/>
                    <a:pt x="63" y="164"/>
                  </a:cubicBezTo>
                  <a:cubicBezTo>
                    <a:pt x="63" y="164"/>
                    <a:pt x="63" y="164"/>
                    <a:pt x="63" y="164"/>
                  </a:cubicBezTo>
                  <a:cubicBezTo>
                    <a:pt x="63" y="165"/>
                    <a:pt x="63" y="165"/>
                    <a:pt x="63" y="165"/>
                  </a:cubicBezTo>
                  <a:cubicBezTo>
                    <a:pt x="64" y="165"/>
                    <a:pt x="64" y="165"/>
                    <a:pt x="64" y="165"/>
                  </a:cubicBezTo>
                  <a:cubicBezTo>
                    <a:pt x="64" y="165"/>
                    <a:pt x="64" y="165"/>
                    <a:pt x="64" y="165"/>
                  </a:cubicBezTo>
                  <a:cubicBezTo>
                    <a:pt x="64" y="165"/>
                    <a:pt x="64" y="165"/>
                    <a:pt x="64" y="165"/>
                  </a:cubicBezTo>
                  <a:cubicBezTo>
                    <a:pt x="64" y="166"/>
                    <a:pt x="64" y="166"/>
                    <a:pt x="64" y="166"/>
                  </a:cubicBezTo>
                  <a:cubicBezTo>
                    <a:pt x="64" y="166"/>
                    <a:pt x="64" y="166"/>
                    <a:pt x="64" y="166"/>
                  </a:cubicBezTo>
                  <a:cubicBezTo>
                    <a:pt x="64" y="166"/>
                    <a:pt x="64" y="166"/>
                    <a:pt x="64" y="166"/>
                  </a:cubicBezTo>
                  <a:cubicBezTo>
                    <a:pt x="64" y="166"/>
                    <a:pt x="64" y="166"/>
                    <a:pt x="64" y="166"/>
                  </a:cubicBezTo>
                  <a:cubicBezTo>
                    <a:pt x="64" y="166"/>
                    <a:pt x="64" y="166"/>
                    <a:pt x="64" y="166"/>
                  </a:cubicBezTo>
                  <a:cubicBezTo>
                    <a:pt x="64" y="166"/>
                    <a:pt x="64" y="166"/>
                    <a:pt x="64" y="166"/>
                  </a:cubicBezTo>
                  <a:cubicBezTo>
                    <a:pt x="64" y="166"/>
                    <a:pt x="64" y="166"/>
                    <a:pt x="64" y="166"/>
                  </a:cubicBezTo>
                  <a:cubicBezTo>
                    <a:pt x="64" y="167"/>
                    <a:pt x="64" y="167"/>
                    <a:pt x="64" y="167"/>
                  </a:cubicBezTo>
                  <a:cubicBezTo>
                    <a:pt x="64" y="167"/>
                    <a:pt x="64" y="167"/>
                    <a:pt x="64" y="167"/>
                  </a:cubicBezTo>
                  <a:cubicBezTo>
                    <a:pt x="64" y="167"/>
                    <a:pt x="64" y="167"/>
                    <a:pt x="64" y="167"/>
                  </a:cubicBezTo>
                  <a:cubicBezTo>
                    <a:pt x="65" y="168"/>
                    <a:pt x="65" y="168"/>
                    <a:pt x="65" y="168"/>
                  </a:cubicBezTo>
                  <a:cubicBezTo>
                    <a:pt x="65" y="169"/>
                    <a:pt x="65" y="169"/>
                    <a:pt x="65" y="169"/>
                  </a:cubicBezTo>
                  <a:cubicBezTo>
                    <a:pt x="67" y="173"/>
                    <a:pt x="67" y="173"/>
                    <a:pt x="67" y="173"/>
                  </a:cubicBezTo>
                  <a:cubicBezTo>
                    <a:pt x="68" y="173"/>
                    <a:pt x="68" y="173"/>
                    <a:pt x="68" y="173"/>
                  </a:cubicBezTo>
                  <a:cubicBezTo>
                    <a:pt x="68" y="173"/>
                    <a:pt x="68" y="173"/>
                    <a:pt x="68" y="173"/>
                  </a:cubicBezTo>
                  <a:cubicBezTo>
                    <a:pt x="68" y="173"/>
                    <a:pt x="68" y="173"/>
                    <a:pt x="68" y="173"/>
                  </a:cubicBezTo>
                  <a:cubicBezTo>
                    <a:pt x="68" y="173"/>
                    <a:pt x="68" y="173"/>
                    <a:pt x="68" y="173"/>
                  </a:cubicBezTo>
                  <a:cubicBezTo>
                    <a:pt x="69" y="172"/>
                    <a:pt x="69" y="172"/>
                    <a:pt x="69" y="172"/>
                  </a:cubicBezTo>
                  <a:cubicBezTo>
                    <a:pt x="69" y="172"/>
                    <a:pt x="69" y="172"/>
                    <a:pt x="69" y="172"/>
                  </a:cubicBezTo>
                  <a:cubicBezTo>
                    <a:pt x="69" y="171"/>
                    <a:pt x="69" y="171"/>
                    <a:pt x="69" y="171"/>
                  </a:cubicBezTo>
                  <a:cubicBezTo>
                    <a:pt x="69" y="171"/>
                    <a:pt x="69" y="171"/>
                    <a:pt x="69" y="171"/>
                  </a:cubicBezTo>
                  <a:cubicBezTo>
                    <a:pt x="69" y="171"/>
                    <a:pt x="69" y="171"/>
                    <a:pt x="69" y="171"/>
                  </a:cubicBezTo>
                  <a:cubicBezTo>
                    <a:pt x="69" y="171"/>
                    <a:pt x="69" y="171"/>
                    <a:pt x="69" y="171"/>
                  </a:cubicBezTo>
                  <a:cubicBezTo>
                    <a:pt x="69" y="171"/>
                    <a:pt x="69" y="171"/>
                    <a:pt x="69" y="171"/>
                  </a:cubicBezTo>
                  <a:cubicBezTo>
                    <a:pt x="69" y="170"/>
                    <a:pt x="69" y="170"/>
                    <a:pt x="69" y="170"/>
                  </a:cubicBezTo>
                  <a:cubicBezTo>
                    <a:pt x="69" y="169"/>
                    <a:pt x="69" y="169"/>
                    <a:pt x="69" y="169"/>
                  </a:cubicBezTo>
                  <a:cubicBezTo>
                    <a:pt x="70" y="169"/>
                    <a:pt x="70" y="169"/>
                    <a:pt x="70" y="169"/>
                  </a:cubicBezTo>
                  <a:cubicBezTo>
                    <a:pt x="70" y="168"/>
                    <a:pt x="70" y="168"/>
                    <a:pt x="70" y="168"/>
                  </a:cubicBezTo>
                  <a:cubicBezTo>
                    <a:pt x="70" y="168"/>
                    <a:pt x="70" y="168"/>
                    <a:pt x="70" y="168"/>
                  </a:cubicBezTo>
                  <a:cubicBezTo>
                    <a:pt x="71" y="168"/>
                    <a:pt x="71" y="168"/>
                    <a:pt x="71" y="168"/>
                  </a:cubicBezTo>
                  <a:cubicBezTo>
                    <a:pt x="71" y="168"/>
                    <a:pt x="71" y="168"/>
                    <a:pt x="71" y="168"/>
                  </a:cubicBezTo>
                  <a:cubicBezTo>
                    <a:pt x="71" y="168"/>
                    <a:pt x="71" y="168"/>
                    <a:pt x="71" y="168"/>
                  </a:cubicBezTo>
                  <a:cubicBezTo>
                    <a:pt x="71" y="168"/>
                    <a:pt x="71" y="168"/>
                    <a:pt x="71" y="168"/>
                  </a:cubicBezTo>
                  <a:cubicBezTo>
                    <a:pt x="71" y="168"/>
                    <a:pt x="71" y="168"/>
                    <a:pt x="71" y="168"/>
                  </a:cubicBezTo>
                  <a:cubicBezTo>
                    <a:pt x="71" y="167"/>
                    <a:pt x="71" y="167"/>
                    <a:pt x="71" y="167"/>
                  </a:cubicBezTo>
                  <a:cubicBezTo>
                    <a:pt x="71" y="167"/>
                    <a:pt x="71" y="167"/>
                    <a:pt x="71" y="167"/>
                  </a:cubicBezTo>
                  <a:cubicBezTo>
                    <a:pt x="72" y="167"/>
                    <a:pt x="72" y="167"/>
                    <a:pt x="72" y="167"/>
                  </a:cubicBezTo>
                  <a:cubicBezTo>
                    <a:pt x="72" y="167"/>
                    <a:pt x="72" y="167"/>
                    <a:pt x="72" y="167"/>
                  </a:cubicBezTo>
                  <a:cubicBezTo>
                    <a:pt x="72" y="167"/>
                    <a:pt x="72" y="167"/>
                    <a:pt x="72" y="167"/>
                  </a:cubicBezTo>
                  <a:cubicBezTo>
                    <a:pt x="73" y="167"/>
                    <a:pt x="73" y="167"/>
                    <a:pt x="73" y="167"/>
                  </a:cubicBezTo>
                  <a:cubicBezTo>
                    <a:pt x="73" y="167"/>
                    <a:pt x="73" y="167"/>
                    <a:pt x="73" y="167"/>
                  </a:cubicBezTo>
                  <a:cubicBezTo>
                    <a:pt x="73" y="166"/>
                    <a:pt x="73" y="166"/>
                    <a:pt x="73" y="166"/>
                  </a:cubicBezTo>
                  <a:cubicBezTo>
                    <a:pt x="73" y="165"/>
                    <a:pt x="73" y="165"/>
                    <a:pt x="73" y="165"/>
                  </a:cubicBezTo>
                  <a:cubicBezTo>
                    <a:pt x="73" y="165"/>
                    <a:pt x="73" y="165"/>
                    <a:pt x="73" y="165"/>
                  </a:cubicBezTo>
                  <a:cubicBezTo>
                    <a:pt x="73" y="166"/>
                    <a:pt x="73" y="166"/>
                    <a:pt x="73" y="166"/>
                  </a:cubicBezTo>
                  <a:cubicBezTo>
                    <a:pt x="73" y="167"/>
                    <a:pt x="73" y="167"/>
                    <a:pt x="73" y="167"/>
                  </a:cubicBezTo>
                  <a:cubicBezTo>
                    <a:pt x="74" y="166"/>
                    <a:pt x="74" y="166"/>
                    <a:pt x="74" y="166"/>
                  </a:cubicBezTo>
                  <a:cubicBezTo>
                    <a:pt x="74" y="166"/>
                    <a:pt x="74" y="166"/>
                    <a:pt x="74" y="166"/>
                  </a:cubicBezTo>
                  <a:cubicBezTo>
                    <a:pt x="74" y="165"/>
                    <a:pt x="74" y="165"/>
                    <a:pt x="74" y="165"/>
                  </a:cubicBezTo>
                  <a:cubicBezTo>
                    <a:pt x="74" y="164"/>
                    <a:pt x="74" y="164"/>
                    <a:pt x="74" y="164"/>
                  </a:cubicBezTo>
                  <a:cubicBezTo>
                    <a:pt x="74" y="164"/>
                    <a:pt x="74" y="164"/>
                    <a:pt x="74" y="164"/>
                  </a:cubicBezTo>
                  <a:cubicBezTo>
                    <a:pt x="74" y="164"/>
                    <a:pt x="74" y="164"/>
                    <a:pt x="74" y="164"/>
                  </a:cubicBezTo>
                  <a:cubicBezTo>
                    <a:pt x="74" y="164"/>
                    <a:pt x="74" y="164"/>
                    <a:pt x="74" y="164"/>
                  </a:cubicBezTo>
                  <a:cubicBezTo>
                    <a:pt x="75" y="165"/>
                    <a:pt x="75" y="165"/>
                    <a:pt x="75" y="165"/>
                  </a:cubicBezTo>
                  <a:cubicBezTo>
                    <a:pt x="74" y="165"/>
                    <a:pt x="74" y="165"/>
                    <a:pt x="74" y="165"/>
                  </a:cubicBezTo>
                  <a:cubicBezTo>
                    <a:pt x="74" y="165"/>
                    <a:pt x="74" y="165"/>
                    <a:pt x="74" y="165"/>
                  </a:cubicBezTo>
                  <a:cubicBezTo>
                    <a:pt x="74" y="166"/>
                    <a:pt x="74" y="166"/>
                    <a:pt x="74" y="166"/>
                  </a:cubicBezTo>
                  <a:cubicBezTo>
                    <a:pt x="75" y="165"/>
                    <a:pt x="75" y="165"/>
                    <a:pt x="75" y="165"/>
                  </a:cubicBezTo>
                  <a:cubicBezTo>
                    <a:pt x="75" y="165"/>
                    <a:pt x="75" y="165"/>
                    <a:pt x="75" y="165"/>
                  </a:cubicBezTo>
                  <a:cubicBezTo>
                    <a:pt x="75" y="165"/>
                    <a:pt x="75" y="165"/>
                    <a:pt x="75" y="165"/>
                  </a:cubicBezTo>
                  <a:cubicBezTo>
                    <a:pt x="75" y="166"/>
                    <a:pt x="75" y="166"/>
                    <a:pt x="75" y="166"/>
                  </a:cubicBezTo>
                  <a:cubicBezTo>
                    <a:pt x="74" y="166"/>
                    <a:pt x="74" y="166"/>
                    <a:pt x="74" y="166"/>
                  </a:cubicBezTo>
                  <a:cubicBezTo>
                    <a:pt x="74" y="167"/>
                    <a:pt x="74" y="167"/>
                    <a:pt x="74" y="167"/>
                  </a:cubicBezTo>
                  <a:cubicBezTo>
                    <a:pt x="75" y="166"/>
                    <a:pt x="75" y="166"/>
                    <a:pt x="75" y="166"/>
                  </a:cubicBezTo>
                  <a:cubicBezTo>
                    <a:pt x="76" y="165"/>
                    <a:pt x="76" y="165"/>
                    <a:pt x="76" y="165"/>
                  </a:cubicBezTo>
                  <a:cubicBezTo>
                    <a:pt x="76" y="165"/>
                    <a:pt x="76" y="165"/>
                    <a:pt x="76" y="165"/>
                  </a:cubicBezTo>
                  <a:cubicBezTo>
                    <a:pt x="76" y="165"/>
                    <a:pt x="76" y="165"/>
                    <a:pt x="76" y="165"/>
                  </a:cubicBezTo>
                  <a:cubicBezTo>
                    <a:pt x="77" y="164"/>
                    <a:pt x="77" y="164"/>
                    <a:pt x="77" y="164"/>
                  </a:cubicBezTo>
                  <a:cubicBezTo>
                    <a:pt x="77" y="164"/>
                    <a:pt x="77" y="164"/>
                    <a:pt x="77" y="164"/>
                  </a:cubicBezTo>
                  <a:cubicBezTo>
                    <a:pt x="77" y="164"/>
                    <a:pt x="77" y="164"/>
                    <a:pt x="77" y="164"/>
                  </a:cubicBezTo>
                  <a:cubicBezTo>
                    <a:pt x="77" y="164"/>
                    <a:pt x="77" y="164"/>
                    <a:pt x="77" y="164"/>
                  </a:cubicBezTo>
                  <a:cubicBezTo>
                    <a:pt x="77" y="164"/>
                    <a:pt x="77" y="164"/>
                    <a:pt x="77" y="164"/>
                  </a:cubicBezTo>
                  <a:cubicBezTo>
                    <a:pt x="77" y="164"/>
                    <a:pt x="77" y="164"/>
                    <a:pt x="77" y="164"/>
                  </a:cubicBezTo>
                  <a:cubicBezTo>
                    <a:pt x="77" y="164"/>
                    <a:pt x="77" y="164"/>
                    <a:pt x="77" y="164"/>
                  </a:cubicBezTo>
                  <a:cubicBezTo>
                    <a:pt x="78" y="164"/>
                    <a:pt x="78" y="164"/>
                    <a:pt x="78" y="164"/>
                  </a:cubicBezTo>
                  <a:cubicBezTo>
                    <a:pt x="78" y="163"/>
                    <a:pt x="78" y="163"/>
                    <a:pt x="78" y="163"/>
                  </a:cubicBezTo>
                  <a:cubicBezTo>
                    <a:pt x="78" y="163"/>
                    <a:pt x="78" y="163"/>
                    <a:pt x="78" y="163"/>
                  </a:cubicBezTo>
                  <a:cubicBezTo>
                    <a:pt x="79" y="162"/>
                    <a:pt x="79" y="162"/>
                    <a:pt x="79" y="162"/>
                  </a:cubicBezTo>
                  <a:cubicBezTo>
                    <a:pt x="79" y="162"/>
                    <a:pt x="79" y="162"/>
                    <a:pt x="79" y="162"/>
                  </a:cubicBezTo>
                  <a:cubicBezTo>
                    <a:pt x="80" y="162"/>
                    <a:pt x="80" y="162"/>
                    <a:pt x="80" y="162"/>
                  </a:cubicBezTo>
                  <a:cubicBezTo>
                    <a:pt x="79" y="163"/>
                    <a:pt x="79" y="163"/>
                    <a:pt x="79" y="163"/>
                  </a:cubicBezTo>
                  <a:cubicBezTo>
                    <a:pt x="79" y="163"/>
                    <a:pt x="79" y="163"/>
                    <a:pt x="79" y="163"/>
                  </a:cubicBezTo>
                  <a:cubicBezTo>
                    <a:pt x="79" y="163"/>
                    <a:pt x="79" y="163"/>
                    <a:pt x="79" y="163"/>
                  </a:cubicBezTo>
                  <a:cubicBezTo>
                    <a:pt x="79" y="163"/>
                    <a:pt x="79" y="163"/>
                    <a:pt x="79" y="163"/>
                  </a:cubicBezTo>
                  <a:cubicBezTo>
                    <a:pt x="79" y="163"/>
                    <a:pt x="79" y="163"/>
                    <a:pt x="79" y="163"/>
                  </a:cubicBezTo>
                  <a:cubicBezTo>
                    <a:pt x="79" y="163"/>
                    <a:pt x="79" y="163"/>
                    <a:pt x="79" y="163"/>
                  </a:cubicBezTo>
                  <a:cubicBezTo>
                    <a:pt x="78" y="164"/>
                    <a:pt x="78" y="164"/>
                    <a:pt x="78" y="164"/>
                  </a:cubicBezTo>
                  <a:cubicBezTo>
                    <a:pt x="78" y="165"/>
                    <a:pt x="78" y="165"/>
                    <a:pt x="78" y="165"/>
                  </a:cubicBezTo>
                  <a:cubicBezTo>
                    <a:pt x="78" y="165"/>
                    <a:pt x="78" y="165"/>
                    <a:pt x="78" y="165"/>
                  </a:cubicBezTo>
                  <a:cubicBezTo>
                    <a:pt x="78" y="165"/>
                    <a:pt x="78" y="165"/>
                    <a:pt x="78" y="165"/>
                  </a:cubicBezTo>
                  <a:cubicBezTo>
                    <a:pt x="78" y="165"/>
                    <a:pt x="78" y="165"/>
                    <a:pt x="78" y="165"/>
                  </a:cubicBezTo>
                  <a:cubicBezTo>
                    <a:pt x="78" y="165"/>
                    <a:pt x="78" y="165"/>
                    <a:pt x="78" y="165"/>
                  </a:cubicBezTo>
                  <a:cubicBezTo>
                    <a:pt x="78" y="165"/>
                    <a:pt x="78" y="165"/>
                    <a:pt x="78" y="165"/>
                  </a:cubicBezTo>
                  <a:cubicBezTo>
                    <a:pt x="78" y="165"/>
                    <a:pt x="78" y="165"/>
                    <a:pt x="78" y="165"/>
                  </a:cubicBezTo>
                  <a:cubicBezTo>
                    <a:pt x="78" y="165"/>
                    <a:pt x="78" y="165"/>
                    <a:pt x="78" y="165"/>
                  </a:cubicBezTo>
                  <a:cubicBezTo>
                    <a:pt x="78" y="165"/>
                    <a:pt x="78" y="165"/>
                    <a:pt x="78" y="165"/>
                  </a:cubicBezTo>
                  <a:cubicBezTo>
                    <a:pt x="78" y="165"/>
                    <a:pt x="78" y="165"/>
                    <a:pt x="78" y="165"/>
                  </a:cubicBezTo>
                  <a:cubicBezTo>
                    <a:pt x="78" y="165"/>
                    <a:pt x="78" y="165"/>
                    <a:pt x="78" y="165"/>
                  </a:cubicBezTo>
                  <a:cubicBezTo>
                    <a:pt x="78" y="165"/>
                    <a:pt x="78" y="165"/>
                    <a:pt x="78" y="165"/>
                  </a:cubicBezTo>
                  <a:cubicBezTo>
                    <a:pt x="79" y="166"/>
                    <a:pt x="79" y="166"/>
                    <a:pt x="79" y="166"/>
                  </a:cubicBezTo>
                  <a:cubicBezTo>
                    <a:pt x="79" y="166"/>
                    <a:pt x="79" y="166"/>
                    <a:pt x="79" y="166"/>
                  </a:cubicBezTo>
                  <a:cubicBezTo>
                    <a:pt x="80" y="166"/>
                    <a:pt x="80" y="166"/>
                    <a:pt x="80" y="166"/>
                  </a:cubicBezTo>
                  <a:cubicBezTo>
                    <a:pt x="80" y="166"/>
                    <a:pt x="80" y="166"/>
                    <a:pt x="80" y="166"/>
                  </a:cubicBezTo>
                  <a:cubicBezTo>
                    <a:pt x="80" y="166"/>
                    <a:pt x="80" y="166"/>
                    <a:pt x="80" y="166"/>
                  </a:cubicBezTo>
                  <a:cubicBezTo>
                    <a:pt x="80" y="167"/>
                    <a:pt x="80" y="167"/>
                    <a:pt x="80" y="167"/>
                  </a:cubicBezTo>
                  <a:cubicBezTo>
                    <a:pt x="80" y="167"/>
                    <a:pt x="80" y="167"/>
                    <a:pt x="80" y="167"/>
                  </a:cubicBezTo>
                  <a:cubicBezTo>
                    <a:pt x="79" y="166"/>
                    <a:pt x="79" y="166"/>
                    <a:pt x="79" y="166"/>
                  </a:cubicBezTo>
                  <a:cubicBezTo>
                    <a:pt x="78" y="166"/>
                    <a:pt x="78" y="166"/>
                    <a:pt x="78" y="166"/>
                  </a:cubicBezTo>
                  <a:cubicBezTo>
                    <a:pt x="78" y="166"/>
                    <a:pt x="78" y="166"/>
                    <a:pt x="78" y="166"/>
                  </a:cubicBezTo>
                  <a:cubicBezTo>
                    <a:pt x="77" y="166"/>
                    <a:pt x="77" y="166"/>
                    <a:pt x="77" y="166"/>
                  </a:cubicBezTo>
                  <a:cubicBezTo>
                    <a:pt x="77" y="166"/>
                    <a:pt x="77" y="166"/>
                    <a:pt x="77" y="166"/>
                  </a:cubicBezTo>
                  <a:cubicBezTo>
                    <a:pt x="77" y="166"/>
                    <a:pt x="77" y="166"/>
                    <a:pt x="77" y="166"/>
                  </a:cubicBezTo>
                  <a:cubicBezTo>
                    <a:pt x="77" y="166"/>
                    <a:pt x="77" y="166"/>
                    <a:pt x="77" y="166"/>
                  </a:cubicBezTo>
                  <a:cubicBezTo>
                    <a:pt x="76" y="166"/>
                    <a:pt x="76" y="166"/>
                    <a:pt x="76" y="166"/>
                  </a:cubicBezTo>
                  <a:cubicBezTo>
                    <a:pt x="76" y="167"/>
                    <a:pt x="76" y="167"/>
                    <a:pt x="76" y="167"/>
                  </a:cubicBezTo>
                  <a:cubicBezTo>
                    <a:pt x="76" y="167"/>
                    <a:pt x="76" y="167"/>
                    <a:pt x="76" y="167"/>
                  </a:cubicBezTo>
                  <a:cubicBezTo>
                    <a:pt x="76" y="167"/>
                    <a:pt x="76" y="167"/>
                    <a:pt x="76" y="167"/>
                  </a:cubicBezTo>
                  <a:cubicBezTo>
                    <a:pt x="76" y="168"/>
                    <a:pt x="76" y="168"/>
                    <a:pt x="76" y="168"/>
                  </a:cubicBezTo>
                  <a:cubicBezTo>
                    <a:pt x="76" y="169"/>
                    <a:pt x="76" y="169"/>
                    <a:pt x="76" y="169"/>
                  </a:cubicBezTo>
                  <a:cubicBezTo>
                    <a:pt x="75" y="169"/>
                    <a:pt x="75" y="169"/>
                    <a:pt x="75" y="169"/>
                  </a:cubicBezTo>
                  <a:cubicBezTo>
                    <a:pt x="75" y="169"/>
                    <a:pt x="75" y="169"/>
                    <a:pt x="75" y="169"/>
                  </a:cubicBezTo>
                  <a:cubicBezTo>
                    <a:pt x="75" y="169"/>
                    <a:pt x="75" y="169"/>
                    <a:pt x="75" y="169"/>
                  </a:cubicBezTo>
                  <a:cubicBezTo>
                    <a:pt x="75" y="170"/>
                    <a:pt x="75" y="170"/>
                    <a:pt x="75" y="170"/>
                  </a:cubicBezTo>
                  <a:cubicBezTo>
                    <a:pt x="75" y="170"/>
                    <a:pt x="75" y="170"/>
                    <a:pt x="75" y="170"/>
                  </a:cubicBezTo>
                  <a:cubicBezTo>
                    <a:pt x="75" y="170"/>
                    <a:pt x="75" y="170"/>
                    <a:pt x="75" y="170"/>
                  </a:cubicBezTo>
                  <a:cubicBezTo>
                    <a:pt x="75" y="170"/>
                    <a:pt x="75" y="170"/>
                    <a:pt x="75" y="170"/>
                  </a:cubicBezTo>
                  <a:cubicBezTo>
                    <a:pt x="75" y="171"/>
                    <a:pt x="75" y="171"/>
                    <a:pt x="75" y="171"/>
                  </a:cubicBezTo>
                  <a:cubicBezTo>
                    <a:pt x="75" y="171"/>
                    <a:pt x="75" y="171"/>
                    <a:pt x="75" y="171"/>
                  </a:cubicBezTo>
                  <a:cubicBezTo>
                    <a:pt x="75" y="171"/>
                    <a:pt x="75" y="171"/>
                    <a:pt x="75" y="171"/>
                  </a:cubicBezTo>
                  <a:cubicBezTo>
                    <a:pt x="75" y="172"/>
                    <a:pt x="75" y="172"/>
                    <a:pt x="75" y="172"/>
                  </a:cubicBezTo>
                  <a:cubicBezTo>
                    <a:pt x="75" y="171"/>
                    <a:pt x="75" y="171"/>
                    <a:pt x="75" y="171"/>
                  </a:cubicBezTo>
                  <a:cubicBezTo>
                    <a:pt x="76" y="172"/>
                    <a:pt x="76" y="172"/>
                    <a:pt x="76" y="172"/>
                  </a:cubicBezTo>
                  <a:cubicBezTo>
                    <a:pt x="76" y="172"/>
                    <a:pt x="76" y="172"/>
                    <a:pt x="76" y="172"/>
                  </a:cubicBezTo>
                  <a:cubicBezTo>
                    <a:pt x="76" y="173"/>
                    <a:pt x="76" y="173"/>
                    <a:pt x="76" y="173"/>
                  </a:cubicBezTo>
                  <a:cubicBezTo>
                    <a:pt x="76" y="173"/>
                    <a:pt x="76" y="173"/>
                    <a:pt x="76" y="173"/>
                  </a:cubicBezTo>
                  <a:cubicBezTo>
                    <a:pt x="76" y="173"/>
                    <a:pt x="76" y="173"/>
                    <a:pt x="76" y="173"/>
                  </a:cubicBezTo>
                  <a:cubicBezTo>
                    <a:pt x="77" y="173"/>
                    <a:pt x="77" y="173"/>
                    <a:pt x="77" y="173"/>
                  </a:cubicBezTo>
                  <a:cubicBezTo>
                    <a:pt x="77" y="174"/>
                    <a:pt x="77" y="174"/>
                    <a:pt x="77" y="174"/>
                  </a:cubicBezTo>
                  <a:cubicBezTo>
                    <a:pt x="77" y="174"/>
                    <a:pt x="77" y="174"/>
                    <a:pt x="77" y="174"/>
                  </a:cubicBezTo>
                  <a:cubicBezTo>
                    <a:pt x="77" y="174"/>
                    <a:pt x="77" y="174"/>
                    <a:pt x="77" y="174"/>
                  </a:cubicBezTo>
                  <a:cubicBezTo>
                    <a:pt x="77" y="174"/>
                    <a:pt x="77" y="174"/>
                    <a:pt x="77" y="174"/>
                  </a:cubicBezTo>
                  <a:cubicBezTo>
                    <a:pt x="77" y="174"/>
                    <a:pt x="77" y="174"/>
                    <a:pt x="77" y="174"/>
                  </a:cubicBezTo>
                  <a:cubicBezTo>
                    <a:pt x="77" y="174"/>
                    <a:pt x="77" y="174"/>
                    <a:pt x="77" y="174"/>
                  </a:cubicBezTo>
                  <a:cubicBezTo>
                    <a:pt x="77" y="175"/>
                    <a:pt x="77" y="175"/>
                    <a:pt x="77" y="175"/>
                  </a:cubicBezTo>
                  <a:cubicBezTo>
                    <a:pt x="77" y="175"/>
                    <a:pt x="77" y="175"/>
                    <a:pt x="77" y="175"/>
                  </a:cubicBezTo>
                  <a:cubicBezTo>
                    <a:pt x="77" y="175"/>
                    <a:pt x="77" y="175"/>
                    <a:pt x="77" y="175"/>
                  </a:cubicBezTo>
                  <a:cubicBezTo>
                    <a:pt x="77" y="175"/>
                    <a:pt x="77" y="175"/>
                    <a:pt x="77" y="175"/>
                  </a:cubicBezTo>
                  <a:cubicBezTo>
                    <a:pt x="78" y="175"/>
                    <a:pt x="78" y="175"/>
                    <a:pt x="78" y="175"/>
                  </a:cubicBezTo>
                  <a:cubicBezTo>
                    <a:pt x="78" y="175"/>
                    <a:pt x="78" y="175"/>
                    <a:pt x="78" y="175"/>
                  </a:cubicBezTo>
                  <a:cubicBezTo>
                    <a:pt x="78" y="175"/>
                    <a:pt x="78" y="175"/>
                    <a:pt x="78" y="175"/>
                  </a:cubicBezTo>
                  <a:cubicBezTo>
                    <a:pt x="78" y="175"/>
                    <a:pt x="78" y="175"/>
                    <a:pt x="78" y="175"/>
                  </a:cubicBezTo>
                  <a:cubicBezTo>
                    <a:pt x="79" y="175"/>
                    <a:pt x="79" y="175"/>
                    <a:pt x="79" y="175"/>
                  </a:cubicBezTo>
                  <a:cubicBezTo>
                    <a:pt x="79" y="175"/>
                    <a:pt x="79" y="175"/>
                    <a:pt x="79" y="175"/>
                  </a:cubicBezTo>
                  <a:cubicBezTo>
                    <a:pt x="79" y="174"/>
                    <a:pt x="79" y="174"/>
                    <a:pt x="79" y="174"/>
                  </a:cubicBezTo>
                  <a:cubicBezTo>
                    <a:pt x="79" y="174"/>
                    <a:pt x="79" y="174"/>
                    <a:pt x="79" y="174"/>
                  </a:cubicBezTo>
                  <a:cubicBezTo>
                    <a:pt x="79" y="174"/>
                    <a:pt x="79" y="174"/>
                    <a:pt x="79" y="174"/>
                  </a:cubicBezTo>
                  <a:cubicBezTo>
                    <a:pt x="80" y="174"/>
                    <a:pt x="80" y="174"/>
                    <a:pt x="80" y="174"/>
                  </a:cubicBezTo>
                  <a:cubicBezTo>
                    <a:pt x="80" y="175"/>
                    <a:pt x="80" y="175"/>
                    <a:pt x="80" y="175"/>
                  </a:cubicBezTo>
                  <a:cubicBezTo>
                    <a:pt x="81" y="175"/>
                    <a:pt x="81" y="175"/>
                    <a:pt x="81" y="175"/>
                  </a:cubicBezTo>
                  <a:cubicBezTo>
                    <a:pt x="82" y="175"/>
                    <a:pt x="82" y="175"/>
                    <a:pt x="82" y="175"/>
                  </a:cubicBezTo>
                  <a:cubicBezTo>
                    <a:pt x="83" y="175"/>
                    <a:pt x="83" y="175"/>
                    <a:pt x="83" y="175"/>
                  </a:cubicBezTo>
                  <a:cubicBezTo>
                    <a:pt x="82" y="175"/>
                    <a:pt x="82" y="175"/>
                    <a:pt x="82" y="175"/>
                  </a:cubicBezTo>
                  <a:cubicBezTo>
                    <a:pt x="82" y="176"/>
                    <a:pt x="82" y="176"/>
                    <a:pt x="82" y="176"/>
                  </a:cubicBezTo>
                  <a:cubicBezTo>
                    <a:pt x="83" y="176"/>
                    <a:pt x="83" y="176"/>
                    <a:pt x="83" y="176"/>
                  </a:cubicBezTo>
                  <a:cubicBezTo>
                    <a:pt x="83" y="176"/>
                    <a:pt x="83" y="176"/>
                    <a:pt x="83" y="176"/>
                  </a:cubicBezTo>
                  <a:cubicBezTo>
                    <a:pt x="83" y="176"/>
                    <a:pt x="83" y="176"/>
                    <a:pt x="83" y="176"/>
                  </a:cubicBezTo>
                  <a:cubicBezTo>
                    <a:pt x="83" y="177"/>
                    <a:pt x="83" y="177"/>
                    <a:pt x="83" y="177"/>
                  </a:cubicBezTo>
                  <a:cubicBezTo>
                    <a:pt x="83" y="177"/>
                    <a:pt x="83" y="177"/>
                    <a:pt x="83" y="177"/>
                  </a:cubicBezTo>
                  <a:cubicBezTo>
                    <a:pt x="83" y="177"/>
                    <a:pt x="83" y="177"/>
                    <a:pt x="83" y="177"/>
                  </a:cubicBezTo>
                  <a:cubicBezTo>
                    <a:pt x="83" y="177"/>
                    <a:pt x="83" y="177"/>
                    <a:pt x="83" y="177"/>
                  </a:cubicBezTo>
                  <a:cubicBezTo>
                    <a:pt x="83" y="178"/>
                    <a:pt x="83" y="178"/>
                    <a:pt x="83" y="178"/>
                  </a:cubicBezTo>
                  <a:cubicBezTo>
                    <a:pt x="83" y="178"/>
                    <a:pt x="83" y="178"/>
                    <a:pt x="83" y="178"/>
                  </a:cubicBezTo>
                  <a:cubicBezTo>
                    <a:pt x="83" y="178"/>
                    <a:pt x="83" y="178"/>
                    <a:pt x="83" y="178"/>
                  </a:cubicBezTo>
                  <a:cubicBezTo>
                    <a:pt x="83" y="178"/>
                    <a:pt x="83" y="178"/>
                    <a:pt x="83" y="178"/>
                  </a:cubicBezTo>
                  <a:cubicBezTo>
                    <a:pt x="84" y="179"/>
                    <a:pt x="84" y="179"/>
                    <a:pt x="84" y="179"/>
                  </a:cubicBezTo>
                  <a:cubicBezTo>
                    <a:pt x="84" y="179"/>
                    <a:pt x="84" y="179"/>
                    <a:pt x="84" y="179"/>
                  </a:cubicBezTo>
                  <a:cubicBezTo>
                    <a:pt x="84" y="179"/>
                    <a:pt x="84" y="179"/>
                    <a:pt x="84" y="179"/>
                  </a:cubicBezTo>
                  <a:cubicBezTo>
                    <a:pt x="84" y="179"/>
                    <a:pt x="84" y="179"/>
                    <a:pt x="84" y="179"/>
                  </a:cubicBezTo>
                  <a:cubicBezTo>
                    <a:pt x="84" y="180"/>
                    <a:pt x="84" y="180"/>
                    <a:pt x="84" y="180"/>
                  </a:cubicBezTo>
                  <a:cubicBezTo>
                    <a:pt x="84" y="180"/>
                    <a:pt x="84" y="180"/>
                    <a:pt x="84" y="180"/>
                  </a:cubicBezTo>
                  <a:cubicBezTo>
                    <a:pt x="84" y="180"/>
                    <a:pt x="84" y="180"/>
                    <a:pt x="84" y="180"/>
                  </a:cubicBezTo>
                  <a:cubicBezTo>
                    <a:pt x="84" y="181"/>
                    <a:pt x="84" y="181"/>
                    <a:pt x="84" y="181"/>
                  </a:cubicBezTo>
                  <a:cubicBezTo>
                    <a:pt x="84" y="181"/>
                    <a:pt x="84" y="181"/>
                    <a:pt x="84" y="181"/>
                  </a:cubicBezTo>
                  <a:cubicBezTo>
                    <a:pt x="83" y="180"/>
                    <a:pt x="83" y="180"/>
                    <a:pt x="83" y="180"/>
                  </a:cubicBezTo>
                  <a:cubicBezTo>
                    <a:pt x="83" y="180"/>
                    <a:pt x="83" y="180"/>
                    <a:pt x="83" y="180"/>
                  </a:cubicBezTo>
                  <a:cubicBezTo>
                    <a:pt x="84" y="179"/>
                    <a:pt x="84" y="179"/>
                    <a:pt x="84" y="179"/>
                  </a:cubicBezTo>
                  <a:cubicBezTo>
                    <a:pt x="84" y="179"/>
                    <a:pt x="84" y="179"/>
                    <a:pt x="84" y="179"/>
                  </a:cubicBezTo>
                  <a:cubicBezTo>
                    <a:pt x="83" y="179"/>
                    <a:pt x="83" y="179"/>
                    <a:pt x="83" y="179"/>
                  </a:cubicBezTo>
                  <a:cubicBezTo>
                    <a:pt x="83" y="178"/>
                    <a:pt x="83" y="178"/>
                    <a:pt x="83" y="178"/>
                  </a:cubicBezTo>
                  <a:cubicBezTo>
                    <a:pt x="83" y="178"/>
                    <a:pt x="83" y="178"/>
                    <a:pt x="83" y="178"/>
                  </a:cubicBezTo>
                  <a:cubicBezTo>
                    <a:pt x="83" y="178"/>
                    <a:pt x="83" y="178"/>
                    <a:pt x="83" y="178"/>
                  </a:cubicBezTo>
                  <a:cubicBezTo>
                    <a:pt x="82" y="178"/>
                    <a:pt x="82" y="178"/>
                    <a:pt x="82" y="178"/>
                  </a:cubicBezTo>
                  <a:cubicBezTo>
                    <a:pt x="82" y="178"/>
                    <a:pt x="82" y="178"/>
                    <a:pt x="82" y="178"/>
                  </a:cubicBezTo>
                  <a:cubicBezTo>
                    <a:pt x="82" y="178"/>
                    <a:pt x="82" y="178"/>
                    <a:pt x="82" y="178"/>
                  </a:cubicBezTo>
                  <a:cubicBezTo>
                    <a:pt x="82" y="177"/>
                    <a:pt x="82" y="177"/>
                    <a:pt x="82" y="177"/>
                  </a:cubicBezTo>
                  <a:cubicBezTo>
                    <a:pt x="82" y="177"/>
                    <a:pt x="82" y="177"/>
                    <a:pt x="82" y="177"/>
                  </a:cubicBezTo>
                  <a:cubicBezTo>
                    <a:pt x="83" y="177"/>
                    <a:pt x="83" y="177"/>
                    <a:pt x="83" y="177"/>
                  </a:cubicBezTo>
                  <a:cubicBezTo>
                    <a:pt x="83" y="177"/>
                    <a:pt x="83" y="177"/>
                    <a:pt x="83" y="177"/>
                  </a:cubicBezTo>
                  <a:cubicBezTo>
                    <a:pt x="83" y="177"/>
                    <a:pt x="83" y="177"/>
                    <a:pt x="83" y="177"/>
                  </a:cubicBezTo>
                  <a:cubicBezTo>
                    <a:pt x="83" y="177"/>
                    <a:pt x="83" y="177"/>
                    <a:pt x="83" y="177"/>
                  </a:cubicBezTo>
                  <a:cubicBezTo>
                    <a:pt x="83" y="176"/>
                    <a:pt x="83" y="176"/>
                    <a:pt x="83" y="176"/>
                  </a:cubicBezTo>
                  <a:cubicBezTo>
                    <a:pt x="82" y="176"/>
                    <a:pt x="82" y="176"/>
                    <a:pt x="82" y="176"/>
                  </a:cubicBezTo>
                  <a:cubicBezTo>
                    <a:pt x="82" y="176"/>
                    <a:pt x="82" y="176"/>
                    <a:pt x="82" y="176"/>
                  </a:cubicBezTo>
                  <a:cubicBezTo>
                    <a:pt x="82" y="176"/>
                    <a:pt x="82" y="176"/>
                    <a:pt x="82" y="176"/>
                  </a:cubicBezTo>
                  <a:cubicBezTo>
                    <a:pt x="81" y="175"/>
                    <a:pt x="81" y="175"/>
                    <a:pt x="81" y="175"/>
                  </a:cubicBezTo>
                  <a:cubicBezTo>
                    <a:pt x="80" y="175"/>
                    <a:pt x="80" y="175"/>
                    <a:pt x="80" y="175"/>
                  </a:cubicBezTo>
                  <a:cubicBezTo>
                    <a:pt x="80" y="174"/>
                    <a:pt x="80" y="174"/>
                    <a:pt x="80" y="174"/>
                  </a:cubicBezTo>
                  <a:cubicBezTo>
                    <a:pt x="79" y="175"/>
                    <a:pt x="79" y="175"/>
                    <a:pt x="79" y="175"/>
                  </a:cubicBezTo>
                  <a:cubicBezTo>
                    <a:pt x="79" y="175"/>
                    <a:pt x="79" y="175"/>
                    <a:pt x="79" y="175"/>
                  </a:cubicBezTo>
                  <a:cubicBezTo>
                    <a:pt x="78" y="175"/>
                    <a:pt x="78" y="175"/>
                    <a:pt x="78" y="175"/>
                  </a:cubicBezTo>
                  <a:cubicBezTo>
                    <a:pt x="78" y="175"/>
                    <a:pt x="78" y="175"/>
                    <a:pt x="78" y="175"/>
                  </a:cubicBezTo>
                  <a:cubicBezTo>
                    <a:pt x="77" y="175"/>
                    <a:pt x="77" y="175"/>
                    <a:pt x="77" y="175"/>
                  </a:cubicBezTo>
                  <a:cubicBezTo>
                    <a:pt x="77" y="175"/>
                    <a:pt x="77" y="175"/>
                    <a:pt x="77" y="175"/>
                  </a:cubicBezTo>
                  <a:cubicBezTo>
                    <a:pt x="77" y="175"/>
                    <a:pt x="77" y="175"/>
                    <a:pt x="77" y="175"/>
                  </a:cubicBezTo>
                  <a:cubicBezTo>
                    <a:pt x="77" y="176"/>
                    <a:pt x="77" y="176"/>
                    <a:pt x="77" y="176"/>
                  </a:cubicBezTo>
                  <a:cubicBezTo>
                    <a:pt x="78" y="176"/>
                    <a:pt x="78" y="176"/>
                    <a:pt x="78" y="176"/>
                  </a:cubicBezTo>
                  <a:cubicBezTo>
                    <a:pt x="78" y="176"/>
                    <a:pt x="78" y="176"/>
                    <a:pt x="78" y="176"/>
                  </a:cubicBezTo>
                  <a:cubicBezTo>
                    <a:pt x="77" y="177"/>
                    <a:pt x="77" y="177"/>
                    <a:pt x="77" y="177"/>
                  </a:cubicBezTo>
                  <a:cubicBezTo>
                    <a:pt x="77" y="177"/>
                    <a:pt x="77" y="177"/>
                    <a:pt x="77" y="177"/>
                  </a:cubicBezTo>
                  <a:cubicBezTo>
                    <a:pt x="77" y="177"/>
                    <a:pt x="77" y="177"/>
                    <a:pt x="77" y="177"/>
                  </a:cubicBezTo>
                  <a:cubicBezTo>
                    <a:pt x="77" y="177"/>
                    <a:pt x="77" y="177"/>
                    <a:pt x="77" y="177"/>
                  </a:cubicBezTo>
                  <a:cubicBezTo>
                    <a:pt x="77" y="176"/>
                    <a:pt x="77" y="176"/>
                    <a:pt x="77" y="176"/>
                  </a:cubicBezTo>
                  <a:cubicBezTo>
                    <a:pt x="77" y="176"/>
                    <a:pt x="77" y="176"/>
                    <a:pt x="77" y="176"/>
                  </a:cubicBezTo>
                  <a:cubicBezTo>
                    <a:pt x="77" y="176"/>
                    <a:pt x="77" y="176"/>
                    <a:pt x="77" y="176"/>
                  </a:cubicBezTo>
                  <a:cubicBezTo>
                    <a:pt x="77" y="176"/>
                    <a:pt x="77" y="176"/>
                    <a:pt x="77" y="176"/>
                  </a:cubicBezTo>
                  <a:cubicBezTo>
                    <a:pt x="77" y="176"/>
                    <a:pt x="77" y="176"/>
                    <a:pt x="77" y="176"/>
                  </a:cubicBezTo>
                  <a:cubicBezTo>
                    <a:pt x="77" y="176"/>
                    <a:pt x="77" y="176"/>
                    <a:pt x="77" y="176"/>
                  </a:cubicBezTo>
                  <a:cubicBezTo>
                    <a:pt x="77" y="176"/>
                    <a:pt x="77" y="176"/>
                    <a:pt x="77" y="176"/>
                  </a:cubicBezTo>
                  <a:cubicBezTo>
                    <a:pt x="77" y="176"/>
                    <a:pt x="77" y="176"/>
                    <a:pt x="77" y="176"/>
                  </a:cubicBezTo>
                  <a:cubicBezTo>
                    <a:pt x="77" y="176"/>
                    <a:pt x="77" y="176"/>
                    <a:pt x="77" y="176"/>
                  </a:cubicBezTo>
                  <a:cubicBezTo>
                    <a:pt x="77" y="175"/>
                    <a:pt x="77" y="175"/>
                    <a:pt x="77" y="175"/>
                  </a:cubicBezTo>
                  <a:cubicBezTo>
                    <a:pt x="76" y="174"/>
                    <a:pt x="76" y="174"/>
                    <a:pt x="76" y="174"/>
                  </a:cubicBezTo>
                  <a:cubicBezTo>
                    <a:pt x="76" y="173"/>
                    <a:pt x="76" y="173"/>
                    <a:pt x="76" y="173"/>
                  </a:cubicBezTo>
                  <a:cubicBezTo>
                    <a:pt x="76" y="173"/>
                    <a:pt x="76" y="173"/>
                    <a:pt x="76" y="173"/>
                  </a:cubicBezTo>
                  <a:cubicBezTo>
                    <a:pt x="75" y="173"/>
                    <a:pt x="75" y="173"/>
                    <a:pt x="75" y="173"/>
                  </a:cubicBezTo>
                  <a:cubicBezTo>
                    <a:pt x="75" y="173"/>
                    <a:pt x="75" y="173"/>
                    <a:pt x="75" y="173"/>
                  </a:cubicBezTo>
                  <a:cubicBezTo>
                    <a:pt x="75" y="174"/>
                    <a:pt x="75" y="174"/>
                    <a:pt x="75" y="174"/>
                  </a:cubicBezTo>
                  <a:cubicBezTo>
                    <a:pt x="76" y="174"/>
                    <a:pt x="76" y="174"/>
                    <a:pt x="76" y="174"/>
                  </a:cubicBezTo>
                  <a:cubicBezTo>
                    <a:pt x="76" y="174"/>
                    <a:pt x="76" y="174"/>
                    <a:pt x="76" y="174"/>
                  </a:cubicBezTo>
                  <a:cubicBezTo>
                    <a:pt x="75" y="173"/>
                    <a:pt x="75" y="173"/>
                    <a:pt x="75" y="173"/>
                  </a:cubicBezTo>
                  <a:cubicBezTo>
                    <a:pt x="75" y="173"/>
                    <a:pt x="75" y="173"/>
                    <a:pt x="75" y="173"/>
                  </a:cubicBezTo>
                  <a:cubicBezTo>
                    <a:pt x="75" y="173"/>
                    <a:pt x="75" y="173"/>
                    <a:pt x="75" y="173"/>
                  </a:cubicBezTo>
                  <a:cubicBezTo>
                    <a:pt x="75" y="173"/>
                    <a:pt x="75" y="173"/>
                    <a:pt x="75" y="173"/>
                  </a:cubicBezTo>
                  <a:cubicBezTo>
                    <a:pt x="75" y="173"/>
                    <a:pt x="75" y="173"/>
                    <a:pt x="75" y="173"/>
                  </a:cubicBezTo>
                  <a:cubicBezTo>
                    <a:pt x="75" y="172"/>
                    <a:pt x="75" y="172"/>
                    <a:pt x="75" y="172"/>
                  </a:cubicBezTo>
                  <a:cubicBezTo>
                    <a:pt x="75" y="171"/>
                    <a:pt x="75" y="171"/>
                    <a:pt x="75" y="171"/>
                  </a:cubicBezTo>
                  <a:cubicBezTo>
                    <a:pt x="74" y="171"/>
                    <a:pt x="74" y="171"/>
                    <a:pt x="74" y="171"/>
                  </a:cubicBezTo>
                  <a:cubicBezTo>
                    <a:pt x="74" y="171"/>
                    <a:pt x="74" y="171"/>
                    <a:pt x="74" y="171"/>
                  </a:cubicBezTo>
                  <a:cubicBezTo>
                    <a:pt x="74" y="172"/>
                    <a:pt x="74" y="172"/>
                    <a:pt x="74" y="172"/>
                  </a:cubicBezTo>
                  <a:cubicBezTo>
                    <a:pt x="74" y="172"/>
                    <a:pt x="74" y="172"/>
                    <a:pt x="74" y="172"/>
                  </a:cubicBezTo>
                  <a:cubicBezTo>
                    <a:pt x="73" y="172"/>
                    <a:pt x="73" y="172"/>
                    <a:pt x="73" y="172"/>
                  </a:cubicBezTo>
                  <a:cubicBezTo>
                    <a:pt x="73" y="171"/>
                    <a:pt x="73" y="171"/>
                    <a:pt x="73" y="171"/>
                  </a:cubicBezTo>
                  <a:cubicBezTo>
                    <a:pt x="72" y="171"/>
                    <a:pt x="72" y="171"/>
                    <a:pt x="72" y="171"/>
                  </a:cubicBezTo>
                  <a:cubicBezTo>
                    <a:pt x="72" y="171"/>
                    <a:pt x="72" y="171"/>
                    <a:pt x="72" y="171"/>
                  </a:cubicBezTo>
                  <a:cubicBezTo>
                    <a:pt x="72" y="172"/>
                    <a:pt x="72" y="172"/>
                    <a:pt x="72" y="172"/>
                  </a:cubicBezTo>
                  <a:cubicBezTo>
                    <a:pt x="72" y="173"/>
                    <a:pt x="72" y="173"/>
                    <a:pt x="72" y="173"/>
                  </a:cubicBezTo>
                  <a:cubicBezTo>
                    <a:pt x="73" y="173"/>
                    <a:pt x="73" y="173"/>
                    <a:pt x="73" y="173"/>
                  </a:cubicBezTo>
                  <a:cubicBezTo>
                    <a:pt x="73" y="173"/>
                    <a:pt x="73" y="173"/>
                    <a:pt x="73" y="173"/>
                  </a:cubicBezTo>
                  <a:cubicBezTo>
                    <a:pt x="73" y="173"/>
                    <a:pt x="73" y="173"/>
                    <a:pt x="73" y="173"/>
                  </a:cubicBezTo>
                  <a:cubicBezTo>
                    <a:pt x="73" y="173"/>
                    <a:pt x="73" y="173"/>
                    <a:pt x="73" y="173"/>
                  </a:cubicBezTo>
                  <a:cubicBezTo>
                    <a:pt x="73" y="173"/>
                    <a:pt x="73" y="173"/>
                    <a:pt x="73" y="173"/>
                  </a:cubicBezTo>
                  <a:cubicBezTo>
                    <a:pt x="73" y="173"/>
                    <a:pt x="73" y="173"/>
                    <a:pt x="73" y="173"/>
                  </a:cubicBezTo>
                  <a:cubicBezTo>
                    <a:pt x="74" y="173"/>
                    <a:pt x="74" y="173"/>
                    <a:pt x="74" y="173"/>
                  </a:cubicBezTo>
                  <a:cubicBezTo>
                    <a:pt x="74" y="173"/>
                    <a:pt x="74" y="173"/>
                    <a:pt x="74" y="173"/>
                  </a:cubicBezTo>
                  <a:cubicBezTo>
                    <a:pt x="73" y="173"/>
                    <a:pt x="73" y="173"/>
                    <a:pt x="73" y="173"/>
                  </a:cubicBezTo>
                  <a:cubicBezTo>
                    <a:pt x="73" y="174"/>
                    <a:pt x="73" y="174"/>
                    <a:pt x="73" y="174"/>
                  </a:cubicBezTo>
                  <a:cubicBezTo>
                    <a:pt x="73" y="174"/>
                    <a:pt x="73" y="174"/>
                    <a:pt x="73" y="174"/>
                  </a:cubicBezTo>
                  <a:cubicBezTo>
                    <a:pt x="73" y="174"/>
                    <a:pt x="73" y="174"/>
                    <a:pt x="73" y="174"/>
                  </a:cubicBezTo>
                  <a:cubicBezTo>
                    <a:pt x="73" y="174"/>
                    <a:pt x="73" y="174"/>
                    <a:pt x="73" y="174"/>
                  </a:cubicBezTo>
                  <a:cubicBezTo>
                    <a:pt x="73" y="175"/>
                    <a:pt x="73" y="175"/>
                    <a:pt x="73" y="175"/>
                  </a:cubicBezTo>
                  <a:cubicBezTo>
                    <a:pt x="72" y="175"/>
                    <a:pt x="72" y="175"/>
                    <a:pt x="72" y="175"/>
                  </a:cubicBezTo>
                  <a:cubicBezTo>
                    <a:pt x="73" y="175"/>
                    <a:pt x="73" y="175"/>
                    <a:pt x="73" y="175"/>
                  </a:cubicBezTo>
                  <a:cubicBezTo>
                    <a:pt x="73" y="175"/>
                    <a:pt x="73" y="175"/>
                    <a:pt x="73" y="175"/>
                  </a:cubicBezTo>
                  <a:cubicBezTo>
                    <a:pt x="73" y="175"/>
                    <a:pt x="73" y="175"/>
                    <a:pt x="73" y="175"/>
                  </a:cubicBezTo>
                  <a:cubicBezTo>
                    <a:pt x="72" y="176"/>
                    <a:pt x="72" y="176"/>
                    <a:pt x="72" y="176"/>
                  </a:cubicBezTo>
                  <a:cubicBezTo>
                    <a:pt x="72" y="176"/>
                    <a:pt x="72" y="176"/>
                    <a:pt x="72" y="176"/>
                  </a:cubicBezTo>
                  <a:cubicBezTo>
                    <a:pt x="72" y="176"/>
                    <a:pt x="72" y="176"/>
                    <a:pt x="72" y="176"/>
                  </a:cubicBezTo>
                  <a:cubicBezTo>
                    <a:pt x="72" y="177"/>
                    <a:pt x="72" y="177"/>
                    <a:pt x="72" y="177"/>
                  </a:cubicBezTo>
                  <a:cubicBezTo>
                    <a:pt x="73" y="177"/>
                    <a:pt x="73" y="177"/>
                    <a:pt x="73" y="177"/>
                  </a:cubicBezTo>
                  <a:cubicBezTo>
                    <a:pt x="73" y="177"/>
                    <a:pt x="73" y="177"/>
                    <a:pt x="73" y="177"/>
                  </a:cubicBezTo>
                  <a:cubicBezTo>
                    <a:pt x="73" y="178"/>
                    <a:pt x="73" y="178"/>
                    <a:pt x="73" y="178"/>
                  </a:cubicBezTo>
                  <a:cubicBezTo>
                    <a:pt x="74" y="179"/>
                    <a:pt x="74" y="179"/>
                    <a:pt x="74" y="179"/>
                  </a:cubicBezTo>
                  <a:cubicBezTo>
                    <a:pt x="74" y="179"/>
                    <a:pt x="74" y="179"/>
                    <a:pt x="74" y="179"/>
                  </a:cubicBezTo>
                  <a:cubicBezTo>
                    <a:pt x="74" y="179"/>
                    <a:pt x="74" y="179"/>
                    <a:pt x="74" y="179"/>
                  </a:cubicBezTo>
                  <a:cubicBezTo>
                    <a:pt x="74" y="179"/>
                    <a:pt x="74" y="179"/>
                    <a:pt x="74" y="179"/>
                  </a:cubicBezTo>
                  <a:cubicBezTo>
                    <a:pt x="74" y="179"/>
                    <a:pt x="74" y="179"/>
                    <a:pt x="74" y="179"/>
                  </a:cubicBezTo>
                  <a:cubicBezTo>
                    <a:pt x="74" y="178"/>
                    <a:pt x="74" y="178"/>
                    <a:pt x="74" y="178"/>
                  </a:cubicBezTo>
                  <a:cubicBezTo>
                    <a:pt x="74" y="178"/>
                    <a:pt x="74" y="178"/>
                    <a:pt x="74" y="178"/>
                  </a:cubicBezTo>
                  <a:cubicBezTo>
                    <a:pt x="74" y="178"/>
                    <a:pt x="74" y="178"/>
                    <a:pt x="74" y="178"/>
                  </a:cubicBezTo>
                  <a:cubicBezTo>
                    <a:pt x="75" y="178"/>
                    <a:pt x="75" y="178"/>
                    <a:pt x="75" y="178"/>
                  </a:cubicBezTo>
                  <a:cubicBezTo>
                    <a:pt x="75" y="179"/>
                    <a:pt x="75" y="179"/>
                    <a:pt x="75" y="179"/>
                  </a:cubicBezTo>
                  <a:cubicBezTo>
                    <a:pt x="75" y="179"/>
                    <a:pt x="75" y="179"/>
                    <a:pt x="75" y="179"/>
                  </a:cubicBezTo>
                  <a:cubicBezTo>
                    <a:pt x="75" y="180"/>
                    <a:pt x="75" y="180"/>
                    <a:pt x="75" y="180"/>
                  </a:cubicBezTo>
                  <a:cubicBezTo>
                    <a:pt x="75" y="181"/>
                    <a:pt x="75" y="181"/>
                    <a:pt x="75" y="181"/>
                  </a:cubicBezTo>
                  <a:cubicBezTo>
                    <a:pt x="75" y="181"/>
                    <a:pt x="75" y="181"/>
                    <a:pt x="75" y="181"/>
                  </a:cubicBezTo>
                  <a:cubicBezTo>
                    <a:pt x="76" y="181"/>
                    <a:pt x="76" y="181"/>
                    <a:pt x="76" y="181"/>
                  </a:cubicBezTo>
                  <a:cubicBezTo>
                    <a:pt x="76" y="181"/>
                    <a:pt x="76" y="181"/>
                    <a:pt x="76" y="181"/>
                  </a:cubicBezTo>
                  <a:cubicBezTo>
                    <a:pt x="76" y="181"/>
                    <a:pt x="76" y="181"/>
                    <a:pt x="76" y="181"/>
                  </a:cubicBezTo>
                  <a:cubicBezTo>
                    <a:pt x="75" y="181"/>
                    <a:pt x="75" y="181"/>
                    <a:pt x="75" y="181"/>
                  </a:cubicBezTo>
                  <a:cubicBezTo>
                    <a:pt x="75" y="181"/>
                    <a:pt x="75" y="181"/>
                    <a:pt x="75" y="181"/>
                  </a:cubicBezTo>
                  <a:cubicBezTo>
                    <a:pt x="75" y="181"/>
                    <a:pt x="75" y="181"/>
                    <a:pt x="75" y="181"/>
                  </a:cubicBezTo>
                  <a:cubicBezTo>
                    <a:pt x="75" y="182"/>
                    <a:pt x="75" y="182"/>
                    <a:pt x="75" y="182"/>
                  </a:cubicBezTo>
                  <a:cubicBezTo>
                    <a:pt x="76" y="182"/>
                    <a:pt x="76" y="182"/>
                    <a:pt x="76" y="182"/>
                  </a:cubicBezTo>
                  <a:cubicBezTo>
                    <a:pt x="76" y="182"/>
                    <a:pt x="76" y="182"/>
                    <a:pt x="76" y="182"/>
                  </a:cubicBezTo>
                  <a:cubicBezTo>
                    <a:pt x="76" y="182"/>
                    <a:pt x="76" y="182"/>
                    <a:pt x="76" y="182"/>
                  </a:cubicBezTo>
                  <a:cubicBezTo>
                    <a:pt x="75" y="182"/>
                    <a:pt x="75" y="182"/>
                    <a:pt x="75" y="182"/>
                  </a:cubicBezTo>
                  <a:cubicBezTo>
                    <a:pt x="75" y="182"/>
                    <a:pt x="75" y="182"/>
                    <a:pt x="75" y="182"/>
                  </a:cubicBezTo>
                  <a:cubicBezTo>
                    <a:pt x="75" y="182"/>
                    <a:pt x="75" y="182"/>
                    <a:pt x="75" y="182"/>
                  </a:cubicBezTo>
                  <a:cubicBezTo>
                    <a:pt x="75" y="182"/>
                    <a:pt x="75" y="182"/>
                    <a:pt x="75" y="182"/>
                  </a:cubicBezTo>
                  <a:cubicBezTo>
                    <a:pt x="75" y="183"/>
                    <a:pt x="75" y="183"/>
                    <a:pt x="75" y="183"/>
                  </a:cubicBezTo>
                  <a:cubicBezTo>
                    <a:pt x="75" y="183"/>
                    <a:pt x="75" y="183"/>
                    <a:pt x="75" y="183"/>
                  </a:cubicBezTo>
                  <a:cubicBezTo>
                    <a:pt x="75" y="183"/>
                    <a:pt x="75" y="183"/>
                    <a:pt x="75" y="183"/>
                  </a:cubicBezTo>
                  <a:cubicBezTo>
                    <a:pt x="75" y="184"/>
                    <a:pt x="75" y="184"/>
                    <a:pt x="75" y="184"/>
                  </a:cubicBezTo>
                  <a:cubicBezTo>
                    <a:pt x="75" y="185"/>
                    <a:pt x="75" y="185"/>
                    <a:pt x="75" y="185"/>
                  </a:cubicBezTo>
                  <a:cubicBezTo>
                    <a:pt x="75" y="185"/>
                    <a:pt x="75" y="185"/>
                    <a:pt x="75" y="185"/>
                  </a:cubicBezTo>
                  <a:cubicBezTo>
                    <a:pt x="75" y="186"/>
                    <a:pt x="75" y="186"/>
                    <a:pt x="75" y="186"/>
                  </a:cubicBezTo>
                  <a:cubicBezTo>
                    <a:pt x="75" y="186"/>
                    <a:pt x="75" y="186"/>
                    <a:pt x="75" y="186"/>
                  </a:cubicBezTo>
                  <a:cubicBezTo>
                    <a:pt x="75" y="186"/>
                    <a:pt x="75" y="186"/>
                    <a:pt x="75" y="186"/>
                  </a:cubicBezTo>
                  <a:cubicBezTo>
                    <a:pt x="75" y="187"/>
                    <a:pt x="75" y="187"/>
                    <a:pt x="75" y="187"/>
                  </a:cubicBezTo>
                  <a:cubicBezTo>
                    <a:pt x="75" y="187"/>
                    <a:pt x="75" y="187"/>
                    <a:pt x="75" y="187"/>
                  </a:cubicBezTo>
                  <a:cubicBezTo>
                    <a:pt x="75" y="187"/>
                    <a:pt x="75" y="187"/>
                    <a:pt x="75" y="187"/>
                  </a:cubicBezTo>
                  <a:cubicBezTo>
                    <a:pt x="75" y="187"/>
                    <a:pt x="75" y="187"/>
                    <a:pt x="75" y="187"/>
                  </a:cubicBezTo>
                  <a:cubicBezTo>
                    <a:pt x="75" y="188"/>
                    <a:pt x="75" y="188"/>
                    <a:pt x="75" y="188"/>
                  </a:cubicBezTo>
                  <a:cubicBezTo>
                    <a:pt x="75" y="188"/>
                    <a:pt x="75" y="188"/>
                    <a:pt x="75" y="188"/>
                  </a:cubicBezTo>
                  <a:cubicBezTo>
                    <a:pt x="76" y="188"/>
                    <a:pt x="76" y="188"/>
                    <a:pt x="76" y="188"/>
                  </a:cubicBezTo>
                  <a:cubicBezTo>
                    <a:pt x="77" y="189"/>
                    <a:pt x="77" y="189"/>
                    <a:pt x="77" y="189"/>
                  </a:cubicBezTo>
                  <a:cubicBezTo>
                    <a:pt x="77" y="189"/>
                    <a:pt x="77" y="189"/>
                    <a:pt x="77" y="189"/>
                  </a:cubicBezTo>
                  <a:cubicBezTo>
                    <a:pt x="77" y="189"/>
                    <a:pt x="77" y="189"/>
                    <a:pt x="77" y="189"/>
                  </a:cubicBezTo>
                  <a:cubicBezTo>
                    <a:pt x="77" y="189"/>
                    <a:pt x="77" y="189"/>
                    <a:pt x="77" y="189"/>
                  </a:cubicBezTo>
                  <a:cubicBezTo>
                    <a:pt x="78" y="189"/>
                    <a:pt x="78" y="189"/>
                    <a:pt x="78" y="189"/>
                  </a:cubicBezTo>
                  <a:cubicBezTo>
                    <a:pt x="78" y="188"/>
                    <a:pt x="78" y="188"/>
                    <a:pt x="78" y="188"/>
                  </a:cubicBezTo>
                  <a:cubicBezTo>
                    <a:pt x="78" y="188"/>
                    <a:pt x="78" y="188"/>
                    <a:pt x="78" y="188"/>
                  </a:cubicBezTo>
                  <a:cubicBezTo>
                    <a:pt x="78" y="188"/>
                    <a:pt x="78" y="188"/>
                    <a:pt x="78" y="188"/>
                  </a:cubicBezTo>
                  <a:cubicBezTo>
                    <a:pt x="79" y="188"/>
                    <a:pt x="79" y="188"/>
                    <a:pt x="79" y="188"/>
                  </a:cubicBezTo>
                  <a:cubicBezTo>
                    <a:pt x="79" y="187"/>
                    <a:pt x="79" y="187"/>
                    <a:pt x="79" y="187"/>
                  </a:cubicBezTo>
                  <a:cubicBezTo>
                    <a:pt x="79" y="187"/>
                    <a:pt x="79" y="187"/>
                    <a:pt x="79" y="187"/>
                  </a:cubicBezTo>
                  <a:cubicBezTo>
                    <a:pt x="79" y="187"/>
                    <a:pt x="79" y="187"/>
                    <a:pt x="79" y="187"/>
                  </a:cubicBezTo>
                  <a:cubicBezTo>
                    <a:pt x="79" y="187"/>
                    <a:pt x="79" y="187"/>
                    <a:pt x="79" y="187"/>
                  </a:cubicBezTo>
                  <a:cubicBezTo>
                    <a:pt x="79" y="187"/>
                    <a:pt x="79" y="187"/>
                    <a:pt x="79" y="187"/>
                  </a:cubicBezTo>
                  <a:cubicBezTo>
                    <a:pt x="80" y="187"/>
                    <a:pt x="80" y="187"/>
                    <a:pt x="80" y="187"/>
                  </a:cubicBezTo>
                  <a:cubicBezTo>
                    <a:pt x="80" y="187"/>
                    <a:pt x="80" y="187"/>
                    <a:pt x="80" y="187"/>
                  </a:cubicBezTo>
                  <a:cubicBezTo>
                    <a:pt x="80" y="187"/>
                    <a:pt x="80" y="187"/>
                    <a:pt x="80" y="187"/>
                  </a:cubicBezTo>
                  <a:cubicBezTo>
                    <a:pt x="81" y="187"/>
                    <a:pt x="81" y="187"/>
                    <a:pt x="81" y="187"/>
                  </a:cubicBezTo>
                  <a:cubicBezTo>
                    <a:pt x="80" y="187"/>
                    <a:pt x="80" y="187"/>
                    <a:pt x="80" y="187"/>
                  </a:cubicBezTo>
                  <a:cubicBezTo>
                    <a:pt x="80" y="187"/>
                    <a:pt x="80" y="187"/>
                    <a:pt x="80" y="187"/>
                  </a:cubicBezTo>
                  <a:cubicBezTo>
                    <a:pt x="80" y="187"/>
                    <a:pt x="80" y="187"/>
                    <a:pt x="80" y="187"/>
                  </a:cubicBezTo>
                  <a:cubicBezTo>
                    <a:pt x="79" y="187"/>
                    <a:pt x="79" y="187"/>
                    <a:pt x="79" y="187"/>
                  </a:cubicBezTo>
                  <a:cubicBezTo>
                    <a:pt x="79" y="188"/>
                    <a:pt x="79" y="188"/>
                    <a:pt x="79" y="188"/>
                  </a:cubicBezTo>
                  <a:cubicBezTo>
                    <a:pt x="79" y="188"/>
                    <a:pt x="79" y="188"/>
                    <a:pt x="79" y="188"/>
                  </a:cubicBezTo>
                  <a:cubicBezTo>
                    <a:pt x="79" y="189"/>
                    <a:pt x="79" y="189"/>
                    <a:pt x="79" y="189"/>
                  </a:cubicBezTo>
                  <a:cubicBezTo>
                    <a:pt x="79" y="189"/>
                    <a:pt x="79" y="189"/>
                    <a:pt x="79" y="189"/>
                  </a:cubicBezTo>
                  <a:cubicBezTo>
                    <a:pt x="79" y="190"/>
                    <a:pt x="79" y="190"/>
                    <a:pt x="79" y="190"/>
                  </a:cubicBezTo>
                  <a:cubicBezTo>
                    <a:pt x="78" y="190"/>
                    <a:pt x="78" y="190"/>
                    <a:pt x="78" y="190"/>
                  </a:cubicBezTo>
                  <a:cubicBezTo>
                    <a:pt x="78" y="190"/>
                    <a:pt x="78" y="190"/>
                    <a:pt x="78" y="190"/>
                  </a:cubicBezTo>
                  <a:cubicBezTo>
                    <a:pt x="78" y="190"/>
                    <a:pt x="78" y="190"/>
                    <a:pt x="78" y="190"/>
                  </a:cubicBezTo>
                  <a:cubicBezTo>
                    <a:pt x="78" y="191"/>
                    <a:pt x="78" y="191"/>
                    <a:pt x="78" y="191"/>
                  </a:cubicBezTo>
                  <a:cubicBezTo>
                    <a:pt x="78" y="191"/>
                    <a:pt x="78" y="191"/>
                    <a:pt x="78" y="191"/>
                  </a:cubicBezTo>
                  <a:cubicBezTo>
                    <a:pt x="78" y="191"/>
                    <a:pt x="78" y="191"/>
                    <a:pt x="78" y="191"/>
                  </a:cubicBezTo>
                  <a:cubicBezTo>
                    <a:pt x="78" y="191"/>
                    <a:pt x="78" y="191"/>
                    <a:pt x="78" y="191"/>
                  </a:cubicBezTo>
                  <a:cubicBezTo>
                    <a:pt x="78" y="191"/>
                    <a:pt x="78" y="191"/>
                    <a:pt x="78" y="191"/>
                  </a:cubicBezTo>
                  <a:cubicBezTo>
                    <a:pt x="77" y="191"/>
                    <a:pt x="77" y="191"/>
                    <a:pt x="77" y="191"/>
                  </a:cubicBezTo>
                  <a:cubicBezTo>
                    <a:pt x="77" y="192"/>
                    <a:pt x="77" y="192"/>
                    <a:pt x="77" y="192"/>
                  </a:cubicBezTo>
                  <a:cubicBezTo>
                    <a:pt x="77" y="192"/>
                    <a:pt x="77" y="192"/>
                    <a:pt x="77" y="192"/>
                  </a:cubicBezTo>
                  <a:cubicBezTo>
                    <a:pt x="77" y="192"/>
                    <a:pt x="77" y="192"/>
                    <a:pt x="77" y="192"/>
                  </a:cubicBezTo>
                  <a:cubicBezTo>
                    <a:pt x="77" y="192"/>
                    <a:pt x="77" y="192"/>
                    <a:pt x="77" y="192"/>
                  </a:cubicBezTo>
                  <a:cubicBezTo>
                    <a:pt x="76" y="193"/>
                    <a:pt x="76" y="193"/>
                    <a:pt x="76" y="193"/>
                  </a:cubicBezTo>
                  <a:cubicBezTo>
                    <a:pt x="76" y="193"/>
                    <a:pt x="76" y="193"/>
                    <a:pt x="76" y="193"/>
                  </a:cubicBezTo>
                  <a:cubicBezTo>
                    <a:pt x="76" y="194"/>
                    <a:pt x="76" y="194"/>
                    <a:pt x="76" y="194"/>
                  </a:cubicBezTo>
                  <a:cubicBezTo>
                    <a:pt x="76" y="194"/>
                    <a:pt x="76" y="194"/>
                    <a:pt x="76" y="194"/>
                  </a:cubicBezTo>
                  <a:cubicBezTo>
                    <a:pt x="76" y="194"/>
                    <a:pt x="76" y="194"/>
                    <a:pt x="76" y="194"/>
                  </a:cubicBezTo>
                  <a:cubicBezTo>
                    <a:pt x="76" y="195"/>
                    <a:pt x="76" y="195"/>
                    <a:pt x="76" y="195"/>
                  </a:cubicBezTo>
                  <a:cubicBezTo>
                    <a:pt x="76" y="195"/>
                    <a:pt x="76" y="195"/>
                    <a:pt x="76" y="195"/>
                  </a:cubicBezTo>
                  <a:cubicBezTo>
                    <a:pt x="76" y="196"/>
                    <a:pt x="76" y="196"/>
                    <a:pt x="76" y="196"/>
                  </a:cubicBezTo>
                  <a:cubicBezTo>
                    <a:pt x="75" y="196"/>
                    <a:pt x="75" y="196"/>
                    <a:pt x="75" y="196"/>
                  </a:cubicBezTo>
                  <a:cubicBezTo>
                    <a:pt x="75" y="196"/>
                    <a:pt x="75" y="196"/>
                    <a:pt x="75" y="196"/>
                  </a:cubicBezTo>
                  <a:cubicBezTo>
                    <a:pt x="75" y="196"/>
                    <a:pt x="75" y="196"/>
                    <a:pt x="75" y="196"/>
                  </a:cubicBezTo>
                  <a:cubicBezTo>
                    <a:pt x="75" y="197"/>
                    <a:pt x="75" y="197"/>
                    <a:pt x="75" y="197"/>
                  </a:cubicBezTo>
                  <a:cubicBezTo>
                    <a:pt x="75" y="197"/>
                    <a:pt x="75" y="197"/>
                    <a:pt x="75" y="197"/>
                  </a:cubicBezTo>
                  <a:cubicBezTo>
                    <a:pt x="75" y="197"/>
                    <a:pt x="75" y="197"/>
                    <a:pt x="75" y="197"/>
                  </a:cubicBezTo>
                  <a:cubicBezTo>
                    <a:pt x="75" y="197"/>
                    <a:pt x="75" y="197"/>
                    <a:pt x="75" y="197"/>
                  </a:cubicBezTo>
                  <a:cubicBezTo>
                    <a:pt x="75" y="197"/>
                    <a:pt x="75" y="197"/>
                    <a:pt x="75" y="197"/>
                  </a:cubicBezTo>
                  <a:cubicBezTo>
                    <a:pt x="74" y="197"/>
                    <a:pt x="74" y="197"/>
                    <a:pt x="74" y="197"/>
                  </a:cubicBezTo>
                  <a:cubicBezTo>
                    <a:pt x="74" y="197"/>
                    <a:pt x="74" y="197"/>
                    <a:pt x="74" y="197"/>
                  </a:cubicBezTo>
                  <a:cubicBezTo>
                    <a:pt x="74" y="197"/>
                    <a:pt x="74" y="197"/>
                    <a:pt x="74" y="197"/>
                  </a:cubicBezTo>
                  <a:cubicBezTo>
                    <a:pt x="74" y="197"/>
                    <a:pt x="74" y="197"/>
                    <a:pt x="74" y="197"/>
                  </a:cubicBezTo>
                  <a:cubicBezTo>
                    <a:pt x="74" y="198"/>
                    <a:pt x="74" y="198"/>
                    <a:pt x="74" y="198"/>
                  </a:cubicBezTo>
                  <a:cubicBezTo>
                    <a:pt x="74" y="198"/>
                    <a:pt x="74" y="198"/>
                    <a:pt x="74" y="198"/>
                  </a:cubicBezTo>
                  <a:cubicBezTo>
                    <a:pt x="73" y="198"/>
                    <a:pt x="73" y="198"/>
                    <a:pt x="73" y="198"/>
                  </a:cubicBezTo>
                  <a:cubicBezTo>
                    <a:pt x="73" y="198"/>
                    <a:pt x="73" y="198"/>
                    <a:pt x="73" y="198"/>
                  </a:cubicBezTo>
                  <a:cubicBezTo>
                    <a:pt x="73" y="199"/>
                    <a:pt x="73" y="199"/>
                    <a:pt x="73" y="199"/>
                  </a:cubicBezTo>
                  <a:cubicBezTo>
                    <a:pt x="73" y="199"/>
                    <a:pt x="73" y="199"/>
                    <a:pt x="73" y="199"/>
                  </a:cubicBezTo>
                  <a:cubicBezTo>
                    <a:pt x="73" y="199"/>
                    <a:pt x="73" y="199"/>
                    <a:pt x="73" y="199"/>
                  </a:cubicBezTo>
                  <a:cubicBezTo>
                    <a:pt x="73" y="199"/>
                    <a:pt x="73" y="199"/>
                    <a:pt x="73" y="199"/>
                  </a:cubicBezTo>
                  <a:cubicBezTo>
                    <a:pt x="73" y="199"/>
                    <a:pt x="73" y="199"/>
                    <a:pt x="73" y="199"/>
                  </a:cubicBezTo>
                  <a:cubicBezTo>
                    <a:pt x="74" y="199"/>
                    <a:pt x="74" y="199"/>
                    <a:pt x="74" y="199"/>
                  </a:cubicBezTo>
                  <a:cubicBezTo>
                    <a:pt x="74" y="199"/>
                    <a:pt x="74" y="199"/>
                    <a:pt x="74" y="199"/>
                  </a:cubicBezTo>
                  <a:cubicBezTo>
                    <a:pt x="74" y="199"/>
                    <a:pt x="74" y="199"/>
                    <a:pt x="74" y="199"/>
                  </a:cubicBezTo>
                  <a:cubicBezTo>
                    <a:pt x="74" y="199"/>
                    <a:pt x="74" y="199"/>
                    <a:pt x="74" y="199"/>
                  </a:cubicBezTo>
                  <a:cubicBezTo>
                    <a:pt x="75" y="198"/>
                    <a:pt x="75" y="198"/>
                    <a:pt x="75" y="198"/>
                  </a:cubicBezTo>
                  <a:cubicBezTo>
                    <a:pt x="76" y="197"/>
                    <a:pt x="76" y="197"/>
                    <a:pt x="76" y="197"/>
                  </a:cubicBezTo>
                  <a:cubicBezTo>
                    <a:pt x="76" y="197"/>
                    <a:pt x="76" y="197"/>
                    <a:pt x="76" y="197"/>
                  </a:cubicBezTo>
                  <a:cubicBezTo>
                    <a:pt x="76" y="197"/>
                    <a:pt x="76" y="197"/>
                    <a:pt x="76" y="197"/>
                  </a:cubicBezTo>
                  <a:cubicBezTo>
                    <a:pt x="76" y="197"/>
                    <a:pt x="76" y="197"/>
                    <a:pt x="76" y="197"/>
                  </a:cubicBezTo>
                  <a:cubicBezTo>
                    <a:pt x="76" y="197"/>
                    <a:pt x="76" y="197"/>
                    <a:pt x="76" y="197"/>
                  </a:cubicBezTo>
                  <a:cubicBezTo>
                    <a:pt x="76" y="197"/>
                    <a:pt x="76" y="197"/>
                    <a:pt x="76" y="197"/>
                  </a:cubicBezTo>
                  <a:cubicBezTo>
                    <a:pt x="76" y="197"/>
                    <a:pt x="76" y="197"/>
                    <a:pt x="76" y="197"/>
                  </a:cubicBezTo>
                  <a:cubicBezTo>
                    <a:pt x="77" y="195"/>
                    <a:pt x="77" y="195"/>
                    <a:pt x="77" y="195"/>
                  </a:cubicBezTo>
                  <a:cubicBezTo>
                    <a:pt x="77" y="195"/>
                    <a:pt x="77" y="195"/>
                    <a:pt x="77" y="195"/>
                  </a:cubicBezTo>
                  <a:cubicBezTo>
                    <a:pt x="78" y="195"/>
                    <a:pt x="78" y="195"/>
                    <a:pt x="78" y="195"/>
                  </a:cubicBezTo>
                  <a:cubicBezTo>
                    <a:pt x="78" y="195"/>
                    <a:pt x="78" y="195"/>
                    <a:pt x="78" y="195"/>
                  </a:cubicBezTo>
                  <a:cubicBezTo>
                    <a:pt x="78" y="195"/>
                    <a:pt x="78" y="195"/>
                    <a:pt x="78" y="195"/>
                  </a:cubicBezTo>
                  <a:cubicBezTo>
                    <a:pt x="78" y="195"/>
                    <a:pt x="78" y="195"/>
                    <a:pt x="78" y="195"/>
                  </a:cubicBezTo>
                  <a:cubicBezTo>
                    <a:pt x="78" y="195"/>
                    <a:pt x="78" y="195"/>
                    <a:pt x="78" y="195"/>
                  </a:cubicBezTo>
                  <a:cubicBezTo>
                    <a:pt x="78" y="195"/>
                    <a:pt x="78" y="195"/>
                    <a:pt x="78" y="195"/>
                  </a:cubicBezTo>
                  <a:cubicBezTo>
                    <a:pt x="79" y="195"/>
                    <a:pt x="79" y="195"/>
                    <a:pt x="79" y="195"/>
                  </a:cubicBezTo>
                  <a:cubicBezTo>
                    <a:pt x="80" y="195"/>
                    <a:pt x="80" y="195"/>
                    <a:pt x="80" y="195"/>
                  </a:cubicBezTo>
                  <a:cubicBezTo>
                    <a:pt x="80" y="194"/>
                    <a:pt x="80" y="194"/>
                    <a:pt x="80" y="194"/>
                  </a:cubicBezTo>
                  <a:cubicBezTo>
                    <a:pt x="81" y="194"/>
                    <a:pt x="81" y="194"/>
                    <a:pt x="81" y="194"/>
                  </a:cubicBezTo>
                  <a:cubicBezTo>
                    <a:pt x="80" y="195"/>
                    <a:pt x="80" y="195"/>
                    <a:pt x="80" y="195"/>
                  </a:cubicBezTo>
                  <a:cubicBezTo>
                    <a:pt x="80" y="195"/>
                    <a:pt x="80" y="195"/>
                    <a:pt x="80" y="195"/>
                  </a:cubicBezTo>
                  <a:cubicBezTo>
                    <a:pt x="80" y="195"/>
                    <a:pt x="80" y="195"/>
                    <a:pt x="80" y="195"/>
                  </a:cubicBezTo>
                  <a:cubicBezTo>
                    <a:pt x="80" y="195"/>
                    <a:pt x="80" y="195"/>
                    <a:pt x="80" y="195"/>
                  </a:cubicBezTo>
                  <a:cubicBezTo>
                    <a:pt x="80" y="195"/>
                    <a:pt x="80" y="195"/>
                    <a:pt x="80" y="195"/>
                  </a:cubicBezTo>
                  <a:cubicBezTo>
                    <a:pt x="80" y="195"/>
                    <a:pt x="80" y="195"/>
                    <a:pt x="80" y="195"/>
                  </a:cubicBezTo>
                  <a:cubicBezTo>
                    <a:pt x="80" y="195"/>
                    <a:pt x="80" y="195"/>
                    <a:pt x="80" y="195"/>
                  </a:cubicBezTo>
                  <a:cubicBezTo>
                    <a:pt x="80" y="196"/>
                    <a:pt x="80" y="196"/>
                    <a:pt x="80" y="196"/>
                  </a:cubicBezTo>
                  <a:cubicBezTo>
                    <a:pt x="80" y="196"/>
                    <a:pt x="80" y="196"/>
                    <a:pt x="80" y="196"/>
                  </a:cubicBezTo>
                  <a:cubicBezTo>
                    <a:pt x="79" y="196"/>
                    <a:pt x="79" y="196"/>
                    <a:pt x="79" y="196"/>
                  </a:cubicBezTo>
                  <a:cubicBezTo>
                    <a:pt x="79" y="196"/>
                    <a:pt x="79" y="196"/>
                    <a:pt x="79" y="196"/>
                  </a:cubicBezTo>
                  <a:cubicBezTo>
                    <a:pt x="79" y="196"/>
                    <a:pt x="79" y="196"/>
                    <a:pt x="79" y="196"/>
                  </a:cubicBezTo>
                  <a:cubicBezTo>
                    <a:pt x="79" y="195"/>
                    <a:pt x="79" y="195"/>
                    <a:pt x="79" y="195"/>
                  </a:cubicBezTo>
                  <a:cubicBezTo>
                    <a:pt x="79" y="195"/>
                    <a:pt x="79" y="195"/>
                    <a:pt x="79" y="195"/>
                  </a:cubicBezTo>
                  <a:cubicBezTo>
                    <a:pt x="78" y="195"/>
                    <a:pt x="78" y="195"/>
                    <a:pt x="78" y="195"/>
                  </a:cubicBezTo>
                  <a:cubicBezTo>
                    <a:pt x="78" y="196"/>
                    <a:pt x="78" y="196"/>
                    <a:pt x="78" y="196"/>
                  </a:cubicBezTo>
                  <a:cubicBezTo>
                    <a:pt x="78" y="196"/>
                    <a:pt x="78" y="196"/>
                    <a:pt x="78" y="196"/>
                  </a:cubicBezTo>
                  <a:cubicBezTo>
                    <a:pt x="78" y="197"/>
                    <a:pt x="78" y="197"/>
                    <a:pt x="78" y="197"/>
                  </a:cubicBezTo>
                  <a:cubicBezTo>
                    <a:pt x="77" y="197"/>
                    <a:pt x="77" y="197"/>
                    <a:pt x="77" y="197"/>
                  </a:cubicBezTo>
                  <a:cubicBezTo>
                    <a:pt x="77" y="198"/>
                    <a:pt x="77" y="198"/>
                    <a:pt x="77" y="198"/>
                  </a:cubicBezTo>
                  <a:cubicBezTo>
                    <a:pt x="78" y="198"/>
                    <a:pt x="78" y="198"/>
                    <a:pt x="78" y="198"/>
                  </a:cubicBezTo>
                  <a:cubicBezTo>
                    <a:pt x="78" y="198"/>
                    <a:pt x="78" y="198"/>
                    <a:pt x="78" y="198"/>
                  </a:cubicBezTo>
                  <a:cubicBezTo>
                    <a:pt x="78" y="199"/>
                    <a:pt x="78" y="199"/>
                    <a:pt x="78" y="199"/>
                  </a:cubicBezTo>
                  <a:cubicBezTo>
                    <a:pt x="78" y="199"/>
                    <a:pt x="78" y="199"/>
                    <a:pt x="78" y="199"/>
                  </a:cubicBezTo>
                  <a:cubicBezTo>
                    <a:pt x="78" y="199"/>
                    <a:pt x="78" y="199"/>
                    <a:pt x="78" y="199"/>
                  </a:cubicBezTo>
                  <a:cubicBezTo>
                    <a:pt x="79" y="199"/>
                    <a:pt x="79" y="199"/>
                    <a:pt x="79" y="199"/>
                  </a:cubicBezTo>
                  <a:cubicBezTo>
                    <a:pt x="79" y="198"/>
                    <a:pt x="79" y="198"/>
                    <a:pt x="79" y="198"/>
                  </a:cubicBezTo>
                  <a:cubicBezTo>
                    <a:pt x="79" y="198"/>
                    <a:pt x="79" y="198"/>
                    <a:pt x="79" y="198"/>
                  </a:cubicBezTo>
                  <a:cubicBezTo>
                    <a:pt x="79" y="198"/>
                    <a:pt x="79" y="198"/>
                    <a:pt x="79" y="198"/>
                  </a:cubicBezTo>
                  <a:cubicBezTo>
                    <a:pt x="79" y="197"/>
                    <a:pt x="79" y="197"/>
                    <a:pt x="79" y="197"/>
                  </a:cubicBezTo>
                  <a:cubicBezTo>
                    <a:pt x="79" y="197"/>
                    <a:pt x="79" y="197"/>
                    <a:pt x="79" y="197"/>
                  </a:cubicBezTo>
                  <a:cubicBezTo>
                    <a:pt x="79" y="197"/>
                    <a:pt x="79" y="197"/>
                    <a:pt x="79" y="197"/>
                  </a:cubicBezTo>
                  <a:cubicBezTo>
                    <a:pt x="79" y="197"/>
                    <a:pt x="79" y="197"/>
                    <a:pt x="79" y="197"/>
                  </a:cubicBezTo>
                  <a:cubicBezTo>
                    <a:pt x="80" y="197"/>
                    <a:pt x="80" y="197"/>
                    <a:pt x="80" y="197"/>
                  </a:cubicBezTo>
                  <a:cubicBezTo>
                    <a:pt x="80" y="196"/>
                    <a:pt x="80" y="196"/>
                    <a:pt x="80" y="196"/>
                  </a:cubicBezTo>
                  <a:cubicBezTo>
                    <a:pt x="80" y="196"/>
                    <a:pt x="80" y="196"/>
                    <a:pt x="80" y="196"/>
                  </a:cubicBezTo>
                  <a:cubicBezTo>
                    <a:pt x="80" y="196"/>
                    <a:pt x="80" y="196"/>
                    <a:pt x="80" y="196"/>
                  </a:cubicBezTo>
                  <a:cubicBezTo>
                    <a:pt x="80" y="196"/>
                    <a:pt x="80" y="196"/>
                    <a:pt x="80" y="196"/>
                  </a:cubicBezTo>
                  <a:cubicBezTo>
                    <a:pt x="80" y="196"/>
                    <a:pt x="80" y="196"/>
                    <a:pt x="80" y="196"/>
                  </a:cubicBezTo>
                  <a:cubicBezTo>
                    <a:pt x="80" y="196"/>
                    <a:pt x="80" y="196"/>
                    <a:pt x="80" y="196"/>
                  </a:cubicBezTo>
                  <a:cubicBezTo>
                    <a:pt x="80" y="196"/>
                    <a:pt x="80" y="196"/>
                    <a:pt x="80" y="196"/>
                  </a:cubicBezTo>
                  <a:cubicBezTo>
                    <a:pt x="80" y="196"/>
                    <a:pt x="80" y="196"/>
                    <a:pt x="80" y="196"/>
                  </a:cubicBezTo>
                  <a:cubicBezTo>
                    <a:pt x="80" y="196"/>
                    <a:pt x="80" y="196"/>
                    <a:pt x="80" y="196"/>
                  </a:cubicBezTo>
                  <a:cubicBezTo>
                    <a:pt x="80" y="196"/>
                    <a:pt x="80" y="196"/>
                    <a:pt x="80" y="196"/>
                  </a:cubicBezTo>
                  <a:cubicBezTo>
                    <a:pt x="80" y="197"/>
                    <a:pt x="80" y="197"/>
                    <a:pt x="80" y="197"/>
                  </a:cubicBezTo>
                  <a:cubicBezTo>
                    <a:pt x="80" y="197"/>
                    <a:pt x="80" y="197"/>
                    <a:pt x="80" y="197"/>
                  </a:cubicBezTo>
                  <a:cubicBezTo>
                    <a:pt x="79" y="197"/>
                    <a:pt x="79" y="197"/>
                    <a:pt x="79" y="197"/>
                  </a:cubicBezTo>
                  <a:cubicBezTo>
                    <a:pt x="79" y="197"/>
                    <a:pt x="79" y="197"/>
                    <a:pt x="79" y="197"/>
                  </a:cubicBezTo>
                  <a:cubicBezTo>
                    <a:pt x="80" y="198"/>
                    <a:pt x="80" y="198"/>
                    <a:pt x="80" y="198"/>
                  </a:cubicBezTo>
                  <a:cubicBezTo>
                    <a:pt x="80" y="198"/>
                    <a:pt x="80" y="198"/>
                    <a:pt x="80" y="198"/>
                  </a:cubicBezTo>
                  <a:cubicBezTo>
                    <a:pt x="80" y="199"/>
                    <a:pt x="80" y="199"/>
                    <a:pt x="80" y="199"/>
                  </a:cubicBezTo>
                  <a:cubicBezTo>
                    <a:pt x="80" y="199"/>
                    <a:pt x="80" y="199"/>
                    <a:pt x="80" y="199"/>
                  </a:cubicBezTo>
                  <a:cubicBezTo>
                    <a:pt x="80" y="199"/>
                    <a:pt x="80" y="199"/>
                    <a:pt x="80" y="199"/>
                  </a:cubicBezTo>
                  <a:cubicBezTo>
                    <a:pt x="79" y="199"/>
                    <a:pt x="79" y="199"/>
                    <a:pt x="79" y="199"/>
                  </a:cubicBezTo>
                  <a:cubicBezTo>
                    <a:pt x="79" y="199"/>
                    <a:pt x="79" y="199"/>
                    <a:pt x="79" y="199"/>
                  </a:cubicBezTo>
                  <a:cubicBezTo>
                    <a:pt x="79" y="199"/>
                    <a:pt x="79" y="199"/>
                    <a:pt x="79" y="199"/>
                  </a:cubicBezTo>
                  <a:cubicBezTo>
                    <a:pt x="79" y="199"/>
                    <a:pt x="79" y="199"/>
                    <a:pt x="79" y="199"/>
                  </a:cubicBezTo>
                  <a:cubicBezTo>
                    <a:pt x="79" y="200"/>
                    <a:pt x="79" y="200"/>
                    <a:pt x="79" y="200"/>
                  </a:cubicBezTo>
                  <a:cubicBezTo>
                    <a:pt x="79" y="200"/>
                    <a:pt x="79" y="200"/>
                    <a:pt x="79" y="200"/>
                  </a:cubicBezTo>
                  <a:cubicBezTo>
                    <a:pt x="79" y="200"/>
                    <a:pt x="79" y="200"/>
                    <a:pt x="79" y="200"/>
                  </a:cubicBezTo>
                  <a:cubicBezTo>
                    <a:pt x="79" y="200"/>
                    <a:pt x="79" y="200"/>
                    <a:pt x="79" y="200"/>
                  </a:cubicBezTo>
                  <a:cubicBezTo>
                    <a:pt x="79" y="200"/>
                    <a:pt x="79" y="200"/>
                    <a:pt x="79" y="200"/>
                  </a:cubicBezTo>
                  <a:cubicBezTo>
                    <a:pt x="79" y="201"/>
                    <a:pt x="79" y="201"/>
                    <a:pt x="79" y="201"/>
                  </a:cubicBezTo>
                  <a:cubicBezTo>
                    <a:pt x="79" y="201"/>
                    <a:pt x="79" y="201"/>
                    <a:pt x="79" y="201"/>
                  </a:cubicBezTo>
                  <a:cubicBezTo>
                    <a:pt x="79" y="201"/>
                    <a:pt x="79" y="201"/>
                    <a:pt x="79" y="201"/>
                  </a:cubicBezTo>
                  <a:cubicBezTo>
                    <a:pt x="79" y="201"/>
                    <a:pt x="79" y="201"/>
                    <a:pt x="79" y="201"/>
                  </a:cubicBezTo>
                  <a:cubicBezTo>
                    <a:pt x="79" y="202"/>
                    <a:pt x="79" y="202"/>
                    <a:pt x="79" y="202"/>
                  </a:cubicBezTo>
                  <a:cubicBezTo>
                    <a:pt x="79" y="202"/>
                    <a:pt x="79" y="202"/>
                    <a:pt x="79" y="202"/>
                  </a:cubicBezTo>
                  <a:cubicBezTo>
                    <a:pt x="79" y="202"/>
                    <a:pt x="79" y="202"/>
                    <a:pt x="79" y="202"/>
                  </a:cubicBezTo>
                  <a:cubicBezTo>
                    <a:pt x="79" y="202"/>
                    <a:pt x="79" y="202"/>
                    <a:pt x="79" y="202"/>
                  </a:cubicBezTo>
                  <a:cubicBezTo>
                    <a:pt x="80" y="201"/>
                    <a:pt x="80" y="201"/>
                    <a:pt x="80" y="201"/>
                  </a:cubicBezTo>
                  <a:cubicBezTo>
                    <a:pt x="80" y="201"/>
                    <a:pt x="80" y="201"/>
                    <a:pt x="80" y="201"/>
                  </a:cubicBezTo>
                  <a:cubicBezTo>
                    <a:pt x="80" y="201"/>
                    <a:pt x="80" y="201"/>
                    <a:pt x="80" y="201"/>
                  </a:cubicBezTo>
                  <a:cubicBezTo>
                    <a:pt x="80" y="201"/>
                    <a:pt x="80" y="201"/>
                    <a:pt x="80" y="201"/>
                  </a:cubicBezTo>
                  <a:cubicBezTo>
                    <a:pt x="80" y="201"/>
                    <a:pt x="80" y="201"/>
                    <a:pt x="80" y="201"/>
                  </a:cubicBezTo>
                  <a:cubicBezTo>
                    <a:pt x="80" y="201"/>
                    <a:pt x="80" y="201"/>
                    <a:pt x="80" y="201"/>
                  </a:cubicBezTo>
                  <a:cubicBezTo>
                    <a:pt x="80" y="200"/>
                    <a:pt x="80" y="200"/>
                    <a:pt x="80" y="200"/>
                  </a:cubicBezTo>
                  <a:cubicBezTo>
                    <a:pt x="81" y="200"/>
                    <a:pt x="81" y="200"/>
                    <a:pt x="81" y="200"/>
                  </a:cubicBezTo>
                  <a:cubicBezTo>
                    <a:pt x="81" y="199"/>
                    <a:pt x="81" y="199"/>
                    <a:pt x="81" y="199"/>
                  </a:cubicBezTo>
                  <a:cubicBezTo>
                    <a:pt x="82" y="199"/>
                    <a:pt x="82" y="199"/>
                    <a:pt x="82" y="199"/>
                  </a:cubicBezTo>
                  <a:cubicBezTo>
                    <a:pt x="81" y="200"/>
                    <a:pt x="81" y="200"/>
                    <a:pt x="81" y="200"/>
                  </a:cubicBezTo>
                  <a:cubicBezTo>
                    <a:pt x="81" y="200"/>
                    <a:pt x="81" y="200"/>
                    <a:pt x="81" y="200"/>
                  </a:cubicBezTo>
                  <a:cubicBezTo>
                    <a:pt x="81" y="200"/>
                    <a:pt x="81" y="200"/>
                    <a:pt x="81" y="200"/>
                  </a:cubicBezTo>
                  <a:cubicBezTo>
                    <a:pt x="81" y="201"/>
                    <a:pt x="81" y="201"/>
                    <a:pt x="81" y="201"/>
                  </a:cubicBezTo>
                  <a:cubicBezTo>
                    <a:pt x="81" y="201"/>
                    <a:pt x="81" y="201"/>
                    <a:pt x="81" y="201"/>
                  </a:cubicBezTo>
                  <a:cubicBezTo>
                    <a:pt x="81" y="201"/>
                    <a:pt x="81" y="201"/>
                    <a:pt x="81" y="201"/>
                  </a:cubicBezTo>
                  <a:cubicBezTo>
                    <a:pt x="81" y="201"/>
                    <a:pt x="81" y="201"/>
                    <a:pt x="81" y="201"/>
                  </a:cubicBezTo>
                  <a:cubicBezTo>
                    <a:pt x="81" y="201"/>
                    <a:pt x="81" y="201"/>
                    <a:pt x="81" y="201"/>
                  </a:cubicBezTo>
                  <a:cubicBezTo>
                    <a:pt x="82" y="201"/>
                    <a:pt x="82" y="201"/>
                    <a:pt x="82" y="201"/>
                  </a:cubicBezTo>
                  <a:cubicBezTo>
                    <a:pt x="82" y="201"/>
                    <a:pt x="82" y="201"/>
                    <a:pt x="82" y="201"/>
                  </a:cubicBezTo>
                  <a:cubicBezTo>
                    <a:pt x="82" y="201"/>
                    <a:pt x="82" y="201"/>
                    <a:pt x="82" y="201"/>
                  </a:cubicBezTo>
                  <a:cubicBezTo>
                    <a:pt x="82" y="201"/>
                    <a:pt x="82" y="201"/>
                    <a:pt x="82" y="201"/>
                  </a:cubicBezTo>
                  <a:cubicBezTo>
                    <a:pt x="83" y="201"/>
                    <a:pt x="83" y="201"/>
                    <a:pt x="83" y="201"/>
                  </a:cubicBezTo>
                  <a:cubicBezTo>
                    <a:pt x="83" y="200"/>
                    <a:pt x="83" y="200"/>
                    <a:pt x="83" y="200"/>
                  </a:cubicBezTo>
                  <a:cubicBezTo>
                    <a:pt x="84" y="200"/>
                    <a:pt x="84" y="200"/>
                    <a:pt x="84" y="200"/>
                  </a:cubicBezTo>
                  <a:cubicBezTo>
                    <a:pt x="84" y="200"/>
                    <a:pt x="84" y="200"/>
                    <a:pt x="84" y="200"/>
                  </a:cubicBezTo>
                  <a:cubicBezTo>
                    <a:pt x="85" y="200"/>
                    <a:pt x="85" y="200"/>
                    <a:pt x="85" y="200"/>
                  </a:cubicBezTo>
                  <a:cubicBezTo>
                    <a:pt x="85" y="199"/>
                    <a:pt x="85" y="199"/>
                    <a:pt x="85" y="199"/>
                  </a:cubicBezTo>
                  <a:cubicBezTo>
                    <a:pt x="87" y="199"/>
                    <a:pt x="87" y="199"/>
                    <a:pt x="87" y="199"/>
                  </a:cubicBezTo>
                  <a:cubicBezTo>
                    <a:pt x="88" y="199"/>
                    <a:pt x="88" y="199"/>
                    <a:pt x="88" y="199"/>
                  </a:cubicBezTo>
                  <a:cubicBezTo>
                    <a:pt x="88" y="198"/>
                    <a:pt x="88" y="198"/>
                    <a:pt x="88" y="198"/>
                  </a:cubicBezTo>
                  <a:cubicBezTo>
                    <a:pt x="88" y="198"/>
                    <a:pt x="88" y="198"/>
                    <a:pt x="88" y="198"/>
                  </a:cubicBezTo>
                  <a:cubicBezTo>
                    <a:pt x="88" y="198"/>
                    <a:pt x="88" y="198"/>
                    <a:pt x="88" y="198"/>
                  </a:cubicBezTo>
                  <a:cubicBezTo>
                    <a:pt x="88" y="198"/>
                    <a:pt x="88" y="198"/>
                    <a:pt x="88" y="198"/>
                  </a:cubicBezTo>
                  <a:cubicBezTo>
                    <a:pt x="88" y="198"/>
                    <a:pt x="88" y="198"/>
                    <a:pt x="88" y="198"/>
                  </a:cubicBezTo>
                  <a:cubicBezTo>
                    <a:pt x="88" y="198"/>
                    <a:pt x="88" y="198"/>
                    <a:pt x="88" y="198"/>
                  </a:cubicBezTo>
                  <a:cubicBezTo>
                    <a:pt x="88" y="197"/>
                    <a:pt x="88" y="197"/>
                    <a:pt x="88" y="197"/>
                  </a:cubicBezTo>
                  <a:cubicBezTo>
                    <a:pt x="88" y="197"/>
                    <a:pt x="88" y="197"/>
                    <a:pt x="88" y="197"/>
                  </a:cubicBezTo>
                  <a:cubicBezTo>
                    <a:pt x="88" y="197"/>
                    <a:pt x="88" y="197"/>
                    <a:pt x="88" y="197"/>
                  </a:cubicBezTo>
                  <a:cubicBezTo>
                    <a:pt x="88" y="197"/>
                    <a:pt x="88" y="197"/>
                    <a:pt x="88" y="197"/>
                  </a:cubicBezTo>
                  <a:cubicBezTo>
                    <a:pt x="89" y="197"/>
                    <a:pt x="89" y="197"/>
                    <a:pt x="89" y="197"/>
                  </a:cubicBezTo>
                  <a:cubicBezTo>
                    <a:pt x="89" y="197"/>
                    <a:pt x="89" y="197"/>
                    <a:pt x="89" y="197"/>
                  </a:cubicBezTo>
                  <a:cubicBezTo>
                    <a:pt x="90" y="196"/>
                    <a:pt x="90" y="196"/>
                    <a:pt x="90" y="196"/>
                  </a:cubicBezTo>
                  <a:cubicBezTo>
                    <a:pt x="91" y="196"/>
                    <a:pt x="91" y="196"/>
                    <a:pt x="91" y="196"/>
                  </a:cubicBezTo>
                  <a:cubicBezTo>
                    <a:pt x="92" y="195"/>
                    <a:pt x="92" y="195"/>
                    <a:pt x="92" y="195"/>
                  </a:cubicBezTo>
                  <a:cubicBezTo>
                    <a:pt x="93" y="194"/>
                    <a:pt x="93" y="194"/>
                    <a:pt x="93" y="194"/>
                  </a:cubicBezTo>
                  <a:cubicBezTo>
                    <a:pt x="93" y="194"/>
                    <a:pt x="93" y="194"/>
                    <a:pt x="93" y="194"/>
                  </a:cubicBezTo>
                  <a:cubicBezTo>
                    <a:pt x="92" y="194"/>
                    <a:pt x="92" y="194"/>
                    <a:pt x="92" y="194"/>
                  </a:cubicBezTo>
                  <a:cubicBezTo>
                    <a:pt x="92" y="194"/>
                    <a:pt x="92" y="194"/>
                    <a:pt x="92" y="194"/>
                  </a:cubicBezTo>
                  <a:cubicBezTo>
                    <a:pt x="93" y="193"/>
                    <a:pt x="93" y="193"/>
                    <a:pt x="93" y="193"/>
                  </a:cubicBezTo>
                  <a:cubicBezTo>
                    <a:pt x="93" y="193"/>
                    <a:pt x="93" y="193"/>
                    <a:pt x="93" y="193"/>
                  </a:cubicBezTo>
                  <a:cubicBezTo>
                    <a:pt x="93" y="192"/>
                    <a:pt x="93" y="192"/>
                    <a:pt x="93" y="192"/>
                  </a:cubicBezTo>
                  <a:cubicBezTo>
                    <a:pt x="92" y="191"/>
                    <a:pt x="92" y="191"/>
                    <a:pt x="92" y="191"/>
                  </a:cubicBezTo>
                  <a:cubicBezTo>
                    <a:pt x="92" y="191"/>
                    <a:pt x="92" y="191"/>
                    <a:pt x="92" y="191"/>
                  </a:cubicBezTo>
                  <a:cubicBezTo>
                    <a:pt x="92" y="191"/>
                    <a:pt x="92" y="191"/>
                    <a:pt x="92" y="191"/>
                  </a:cubicBezTo>
                  <a:cubicBezTo>
                    <a:pt x="92" y="191"/>
                    <a:pt x="92" y="191"/>
                    <a:pt x="92" y="191"/>
                  </a:cubicBezTo>
                  <a:cubicBezTo>
                    <a:pt x="92" y="191"/>
                    <a:pt x="92" y="191"/>
                    <a:pt x="92" y="191"/>
                  </a:cubicBezTo>
                  <a:cubicBezTo>
                    <a:pt x="92" y="191"/>
                    <a:pt x="92" y="191"/>
                    <a:pt x="92" y="191"/>
                  </a:cubicBezTo>
                  <a:cubicBezTo>
                    <a:pt x="93" y="192"/>
                    <a:pt x="93" y="192"/>
                    <a:pt x="93" y="192"/>
                  </a:cubicBezTo>
                  <a:cubicBezTo>
                    <a:pt x="93" y="192"/>
                    <a:pt x="93" y="192"/>
                    <a:pt x="93" y="192"/>
                  </a:cubicBezTo>
                  <a:cubicBezTo>
                    <a:pt x="93" y="193"/>
                    <a:pt x="93" y="193"/>
                    <a:pt x="93" y="193"/>
                  </a:cubicBezTo>
                  <a:cubicBezTo>
                    <a:pt x="93" y="194"/>
                    <a:pt x="93" y="194"/>
                    <a:pt x="93" y="194"/>
                  </a:cubicBezTo>
                  <a:cubicBezTo>
                    <a:pt x="93" y="194"/>
                    <a:pt x="93" y="194"/>
                    <a:pt x="93" y="194"/>
                  </a:cubicBezTo>
                  <a:cubicBezTo>
                    <a:pt x="93" y="195"/>
                    <a:pt x="93" y="195"/>
                    <a:pt x="93" y="195"/>
                  </a:cubicBezTo>
                  <a:cubicBezTo>
                    <a:pt x="93" y="195"/>
                    <a:pt x="93" y="195"/>
                    <a:pt x="93" y="195"/>
                  </a:cubicBezTo>
                  <a:cubicBezTo>
                    <a:pt x="92" y="195"/>
                    <a:pt x="92" y="195"/>
                    <a:pt x="92" y="195"/>
                  </a:cubicBezTo>
                  <a:cubicBezTo>
                    <a:pt x="92" y="196"/>
                    <a:pt x="92" y="196"/>
                    <a:pt x="92" y="196"/>
                  </a:cubicBezTo>
                  <a:cubicBezTo>
                    <a:pt x="92" y="196"/>
                    <a:pt x="92" y="196"/>
                    <a:pt x="92" y="196"/>
                  </a:cubicBezTo>
                  <a:cubicBezTo>
                    <a:pt x="91" y="196"/>
                    <a:pt x="91" y="196"/>
                    <a:pt x="91" y="196"/>
                  </a:cubicBezTo>
                  <a:cubicBezTo>
                    <a:pt x="91" y="196"/>
                    <a:pt x="91" y="196"/>
                    <a:pt x="91" y="196"/>
                  </a:cubicBezTo>
                  <a:cubicBezTo>
                    <a:pt x="90" y="197"/>
                    <a:pt x="90" y="197"/>
                    <a:pt x="90" y="197"/>
                  </a:cubicBezTo>
                  <a:cubicBezTo>
                    <a:pt x="90" y="197"/>
                    <a:pt x="90" y="197"/>
                    <a:pt x="90" y="197"/>
                  </a:cubicBezTo>
                  <a:cubicBezTo>
                    <a:pt x="89" y="197"/>
                    <a:pt x="89" y="197"/>
                    <a:pt x="89" y="197"/>
                  </a:cubicBezTo>
                  <a:cubicBezTo>
                    <a:pt x="89" y="197"/>
                    <a:pt x="89" y="197"/>
                    <a:pt x="89" y="197"/>
                  </a:cubicBezTo>
                  <a:cubicBezTo>
                    <a:pt x="88" y="198"/>
                    <a:pt x="88" y="198"/>
                    <a:pt x="88" y="198"/>
                  </a:cubicBezTo>
                  <a:cubicBezTo>
                    <a:pt x="88" y="198"/>
                    <a:pt x="88" y="198"/>
                    <a:pt x="88" y="198"/>
                  </a:cubicBezTo>
                  <a:cubicBezTo>
                    <a:pt x="88" y="199"/>
                    <a:pt x="88" y="199"/>
                    <a:pt x="88" y="199"/>
                  </a:cubicBezTo>
                  <a:cubicBezTo>
                    <a:pt x="88" y="199"/>
                    <a:pt x="88" y="199"/>
                    <a:pt x="88" y="199"/>
                  </a:cubicBezTo>
                  <a:cubicBezTo>
                    <a:pt x="88" y="199"/>
                    <a:pt x="88" y="199"/>
                    <a:pt x="88" y="199"/>
                  </a:cubicBezTo>
                  <a:cubicBezTo>
                    <a:pt x="88" y="199"/>
                    <a:pt x="88" y="199"/>
                    <a:pt x="88" y="199"/>
                  </a:cubicBezTo>
                  <a:cubicBezTo>
                    <a:pt x="88" y="200"/>
                    <a:pt x="88" y="200"/>
                    <a:pt x="88" y="200"/>
                  </a:cubicBezTo>
                  <a:cubicBezTo>
                    <a:pt x="88" y="200"/>
                    <a:pt x="88" y="200"/>
                    <a:pt x="88" y="200"/>
                  </a:cubicBezTo>
                  <a:cubicBezTo>
                    <a:pt x="88" y="201"/>
                    <a:pt x="88" y="201"/>
                    <a:pt x="88" y="201"/>
                  </a:cubicBezTo>
                  <a:cubicBezTo>
                    <a:pt x="88" y="201"/>
                    <a:pt x="88" y="201"/>
                    <a:pt x="88" y="201"/>
                  </a:cubicBezTo>
                  <a:cubicBezTo>
                    <a:pt x="88" y="201"/>
                    <a:pt x="88" y="201"/>
                    <a:pt x="88" y="201"/>
                  </a:cubicBezTo>
                  <a:cubicBezTo>
                    <a:pt x="88" y="201"/>
                    <a:pt x="88" y="201"/>
                    <a:pt x="88" y="201"/>
                  </a:cubicBezTo>
                  <a:cubicBezTo>
                    <a:pt x="88" y="201"/>
                    <a:pt x="88" y="201"/>
                    <a:pt x="88" y="201"/>
                  </a:cubicBezTo>
                  <a:cubicBezTo>
                    <a:pt x="88" y="201"/>
                    <a:pt x="88" y="201"/>
                    <a:pt x="88" y="201"/>
                  </a:cubicBezTo>
                  <a:cubicBezTo>
                    <a:pt x="89" y="201"/>
                    <a:pt x="89" y="201"/>
                    <a:pt x="89" y="201"/>
                  </a:cubicBezTo>
                  <a:cubicBezTo>
                    <a:pt x="89" y="201"/>
                    <a:pt x="89" y="201"/>
                    <a:pt x="89" y="201"/>
                  </a:cubicBezTo>
                  <a:cubicBezTo>
                    <a:pt x="89" y="202"/>
                    <a:pt x="89" y="202"/>
                    <a:pt x="89" y="202"/>
                  </a:cubicBezTo>
                  <a:cubicBezTo>
                    <a:pt x="90" y="202"/>
                    <a:pt x="90" y="202"/>
                    <a:pt x="90" y="202"/>
                  </a:cubicBezTo>
                  <a:cubicBezTo>
                    <a:pt x="90" y="202"/>
                    <a:pt x="90" y="202"/>
                    <a:pt x="90" y="202"/>
                  </a:cubicBezTo>
                  <a:cubicBezTo>
                    <a:pt x="91" y="202"/>
                    <a:pt x="91" y="202"/>
                    <a:pt x="91" y="202"/>
                  </a:cubicBezTo>
                  <a:cubicBezTo>
                    <a:pt x="91" y="202"/>
                    <a:pt x="91" y="202"/>
                    <a:pt x="91" y="202"/>
                  </a:cubicBezTo>
                  <a:cubicBezTo>
                    <a:pt x="92" y="202"/>
                    <a:pt x="92" y="202"/>
                    <a:pt x="92" y="202"/>
                  </a:cubicBezTo>
                  <a:cubicBezTo>
                    <a:pt x="93" y="202"/>
                    <a:pt x="93" y="202"/>
                    <a:pt x="93" y="202"/>
                  </a:cubicBezTo>
                  <a:cubicBezTo>
                    <a:pt x="94" y="202"/>
                    <a:pt x="94" y="202"/>
                    <a:pt x="94" y="202"/>
                  </a:cubicBezTo>
                  <a:cubicBezTo>
                    <a:pt x="94" y="202"/>
                    <a:pt x="94" y="202"/>
                    <a:pt x="94" y="202"/>
                  </a:cubicBezTo>
                  <a:cubicBezTo>
                    <a:pt x="93" y="202"/>
                    <a:pt x="93" y="202"/>
                    <a:pt x="93" y="202"/>
                  </a:cubicBezTo>
                  <a:cubicBezTo>
                    <a:pt x="93" y="202"/>
                    <a:pt x="93" y="202"/>
                    <a:pt x="93" y="202"/>
                  </a:cubicBezTo>
                  <a:cubicBezTo>
                    <a:pt x="92" y="202"/>
                    <a:pt x="92" y="202"/>
                    <a:pt x="92" y="202"/>
                  </a:cubicBezTo>
                  <a:cubicBezTo>
                    <a:pt x="92" y="202"/>
                    <a:pt x="92" y="202"/>
                    <a:pt x="92" y="202"/>
                  </a:cubicBezTo>
                  <a:cubicBezTo>
                    <a:pt x="92" y="202"/>
                    <a:pt x="92" y="202"/>
                    <a:pt x="92" y="202"/>
                  </a:cubicBezTo>
                  <a:cubicBezTo>
                    <a:pt x="92" y="202"/>
                    <a:pt x="92" y="202"/>
                    <a:pt x="92" y="202"/>
                  </a:cubicBezTo>
                  <a:cubicBezTo>
                    <a:pt x="92" y="202"/>
                    <a:pt x="92" y="202"/>
                    <a:pt x="92" y="202"/>
                  </a:cubicBezTo>
                  <a:cubicBezTo>
                    <a:pt x="91" y="202"/>
                    <a:pt x="91" y="202"/>
                    <a:pt x="91" y="202"/>
                  </a:cubicBezTo>
                  <a:cubicBezTo>
                    <a:pt x="91" y="202"/>
                    <a:pt x="91" y="202"/>
                    <a:pt x="91" y="202"/>
                  </a:cubicBezTo>
                  <a:cubicBezTo>
                    <a:pt x="91" y="203"/>
                    <a:pt x="91" y="203"/>
                    <a:pt x="91" y="203"/>
                  </a:cubicBezTo>
                  <a:cubicBezTo>
                    <a:pt x="91" y="203"/>
                    <a:pt x="91" y="203"/>
                    <a:pt x="91" y="203"/>
                  </a:cubicBezTo>
                  <a:cubicBezTo>
                    <a:pt x="91" y="203"/>
                    <a:pt x="91" y="203"/>
                    <a:pt x="91" y="203"/>
                  </a:cubicBezTo>
                  <a:cubicBezTo>
                    <a:pt x="91" y="204"/>
                    <a:pt x="91" y="204"/>
                    <a:pt x="91" y="204"/>
                  </a:cubicBezTo>
                  <a:cubicBezTo>
                    <a:pt x="91" y="204"/>
                    <a:pt x="91" y="204"/>
                    <a:pt x="91" y="204"/>
                  </a:cubicBezTo>
                  <a:cubicBezTo>
                    <a:pt x="91" y="204"/>
                    <a:pt x="91" y="204"/>
                    <a:pt x="91" y="204"/>
                  </a:cubicBezTo>
                  <a:cubicBezTo>
                    <a:pt x="91" y="205"/>
                    <a:pt x="91" y="205"/>
                    <a:pt x="91" y="205"/>
                  </a:cubicBezTo>
                  <a:cubicBezTo>
                    <a:pt x="91" y="205"/>
                    <a:pt x="91" y="205"/>
                    <a:pt x="91" y="205"/>
                  </a:cubicBezTo>
                  <a:cubicBezTo>
                    <a:pt x="92" y="207"/>
                    <a:pt x="92" y="207"/>
                    <a:pt x="92" y="207"/>
                  </a:cubicBezTo>
                  <a:cubicBezTo>
                    <a:pt x="92" y="207"/>
                    <a:pt x="92" y="207"/>
                    <a:pt x="92" y="207"/>
                  </a:cubicBezTo>
                  <a:cubicBezTo>
                    <a:pt x="92" y="207"/>
                    <a:pt x="92" y="207"/>
                    <a:pt x="92" y="207"/>
                  </a:cubicBezTo>
                  <a:cubicBezTo>
                    <a:pt x="93" y="208"/>
                    <a:pt x="93" y="208"/>
                    <a:pt x="93" y="208"/>
                  </a:cubicBezTo>
                  <a:cubicBezTo>
                    <a:pt x="93" y="208"/>
                    <a:pt x="93" y="208"/>
                    <a:pt x="93" y="208"/>
                  </a:cubicBezTo>
                  <a:cubicBezTo>
                    <a:pt x="93" y="209"/>
                    <a:pt x="93" y="209"/>
                    <a:pt x="93" y="209"/>
                  </a:cubicBezTo>
                  <a:cubicBezTo>
                    <a:pt x="93" y="209"/>
                    <a:pt x="93" y="209"/>
                    <a:pt x="93" y="209"/>
                  </a:cubicBezTo>
                  <a:cubicBezTo>
                    <a:pt x="93" y="209"/>
                    <a:pt x="93" y="209"/>
                    <a:pt x="93" y="209"/>
                  </a:cubicBezTo>
                  <a:cubicBezTo>
                    <a:pt x="93" y="209"/>
                    <a:pt x="93" y="209"/>
                    <a:pt x="93" y="209"/>
                  </a:cubicBezTo>
                  <a:cubicBezTo>
                    <a:pt x="93" y="209"/>
                    <a:pt x="93" y="209"/>
                    <a:pt x="93" y="209"/>
                  </a:cubicBezTo>
                  <a:cubicBezTo>
                    <a:pt x="93" y="210"/>
                    <a:pt x="93" y="210"/>
                    <a:pt x="93" y="210"/>
                  </a:cubicBezTo>
                  <a:cubicBezTo>
                    <a:pt x="93" y="210"/>
                    <a:pt x="93" y="210"/>
                    <a:pt x="93" y="210"/>
                  </a:cubicBezTo>
                  <a:cubicBezTo>
                    <a:pt x="93" y="210"/>
                    <a:pt x="93" y="210"/>
                    <a:pt x="93" y="210"/>
                  </a:cubicBezTo>
                  <a:cubicBezTo>
                    <a:pt x="93" y="209"/>
                    <a:pt x="93" y="209"/>
                    <a:pt x="93" y="209"/>
                  </a:cubicBezTo>
                  <a:cubicBezTo>
                    <a:pt x="92" y="209"/>
                    <a:pt x="92" y="209"/>
                    <a:pt x="92" y="209"/>
                  </a:cubicBezTo>
                  <a:cubicBezTo>
                    <a:pt x="92" y="208"/>
                    <a:pt x="92" y="208"/>
                    <a:pt x="92" y="208"/>
                  </a:cubicBezTo>
                  <a:cubicBezTo>
                    <a:pt x="92" y="208"/>
                    <a:pt x="92" y="208"/>
                    <a:pt x="92" y="208"/>
                  </a:cubicBezTo>
                  <a:cubicBezTo>
                    <a:pt x="92" y="208"/>
                    <a:pt x="92" y="208"/>
                    <a:pt x="92" y="208"/>
                  </a:cubicBezTo>
                  <a:cubicBezTo>
                    <a:pt x="91" y="206"/>
                    <a:pt x="91" y="206"/>
                    <a:pt x="91" y="206"/>
                  </a:cubicBezTo>
                  <a:cubicBezTo>
                    <a:pt x="90" y="205"/>
                    <a:pt x="90" y="205"/>
                    <a:pt x="90" y="205"/>
                  </a:cubicBezTo>
                  <a:cubicBezTo>
                    <a:pt x="91" y="204"/>
                    <a:pt x="91" y="204"/>
                    <a:pt x="91" y="204"/>
                  </a:cubicBezTo>
                  <a:cubicBezTo>
                    <a:pt x="91" y="204"/>
                    <a:pt x="91" y="204"/>
                    <a:pt x="91" y="204"/>
                  </a:cubicBezTo>
                  <a:cubicBezTo>
                    <a:pt x="91" y="204"/>
                    <a:pt x="91" y="204"/>
                    <a:pt x="91" y="204"/>
                  </a:cubicBezTo>
                  <a:cubicBezTo>
                    <a:pt x="90" y="203"/>
                    <a:pt x="90" y="203"/>
                    <a:pt x="90" y="203"/>
                  </a:cubicBezTo>
                  <a:cubicBezTo>
                    <a:pt x="90" y="203"/>
                    <a:pt x="90" y="203"/>
                    <a:pt x="90" y="203"/>
                  </a:cubicBezTo>
                  <a:cubicBezTo>
                    <a:pt x="90" y="203"/>
                    <a:pt x="90" y="203"/>
                    <a:pt x="90" y="203"/>
                  </a:cubicBezTo>
                  <a:cubicBezTo>
                    <a:pt x="89" y="202"/>
                    <a:pt x="89" y="202"/>
                    <a:pt x="89" y="202"/>
                  </a:cubicBezTo>
                  <a:cubicBezTo>
                    <a:pt x="88" y="202"/>
                    <a:pt x="88" y="202"/>
                    <a:pt x="88" y="202"/>
                  </a:cubicBezTo>
                  <a:cubicBezTo>
                    <a:pt x="88" y="202"/>
                    <a:pt x="88" y="202"/>
                    <a:pt x="88" y="202"/>
                  </a:cubicBezTo>
                  <a:cubicBezTo>
                    <a:pt x="88" y="202"/>
                    <a:pt x="88" y="202"/>
                    <a:pt x="88" y="202"/>
                  </a:cubicBezTo>
                  <a:cubicBezTo>
                    <a:pt x="87" y="203"/>
                    <a:pt x="87" y="203"/>
                    <a:pt x="87" y="203"/>
                  </a:cubicBezTo>
                  <a:cubicBezTo>
                    <a:pt x="87" y="203"/>
                    <a:pt x="87" y="203"/>
                    <a:pt x="87" y="203"/>
                  </a:cubicBezTo>
                  <a:cubicBezTo>
                    <a:pt x="86" y="203"/>
                    <a:pt x="86" y="203"/>
                    <a:pt x="86" y="203"/>
                  </a:cubicBezTo>
                  <a:cubicBezTo>
                    <a:pt x="85" y="203"/>
                    <a:pt x="85" y="203"/>
                    <a:pt x="85" y="203"/>
                  </a:cubicBezTo>
                  <a:cubicBezTo>
                    <a:pt x="85" y="203"/>
                    <a:pt x="85" y="203"/>
                    <a:pt x="85" y="203"/>
                  </a:cubicBezTo>
                  <a:cubicBezTo>
                    <a:pt x="85" y="204"/>
                    <a:pt x="85" y="204"/>
                    <a:pt x="85" y="204"/>
                  </a:cubicBezTo>
                  <a:cubicBezTo>
                    <a:pt x="85" y="204"/>
                    <a:pt x="85" y="204"/>
                    <a:pt x="85" y="204"/>
                  </a:cubicBezTo>
                  <a:cubicBezTo>
                    <a:pt x="84" y="204"/>
                    <a:pt x="84" y="204"/>
                    <a:pt x="84" y="204"/>
                  </a:cubicBezTo>
                  <a:cubicBezTo>
                    <a:pt x="84" y="204"/>
                    <a:pt x="84" y="204"/>
                    <a:pt x="84" y="204"/>
                  </a:cubicBezTo>
                  <a:cubicBezTo>
                    <a:pt x="84" y="204"/>
                    <a:pt x="84" y="204"/>
                    <a:pt x="84" y="204"/>
                  </a:cubicBezTo>
                  <a:cubicBezTo>
                    <a:pt x="84" y="204"/>
                    <a:pt x="84" y="204"/>
                    <a:pt x="84" y="204"/>
                  </a:cubicBezTo>
                  <a:cubicBezTo>
                    <a:pt x="84" y="204"/>
                    <a:pt x="84" y="204"/>
                    <a:pt x="84" y="204"/>
                  </a:cubicBezTo>
                  <a:cubicBezTo>
                    <a:pt x="84" y="204"/>
                    <a:pt x="84" y="204"/>
                    <a:pt x="84" y="204"/>
                  </a:cubicBezTo>
                  <a:cubicBezTo>
                    <a:pt x="84" y="205"/>
                    <a:pt x="84" y="205"/>
                    <a:pt x="84" y="205"/>
                  </a:cubicBezTo>
                  <a:cubicBezTo>
                    <a:pt x="84" y="206"/>
                    <a:pt x="84" y="206"/>
                    <a:pt x="84" y="206"/>
                  </a:cubicBezTo>
                  <a:cubicBezTo>
                    <a:pt x="84" y="206"/>
                    <a:pt x="84" y="206"/>
                    <a:pt x="84" y="206"/>
                  </a:cubicBezTo>
                  <a:cubicBezTo>
                    <a:pt x="83" y="206"/>
                    <a:pt x="83" y="206"/>
                    <a:pt x="83" y="206"/>
                  </a:cubicBezTo>
                  <a:cubicBezTo>
                    <a:pt x="82" y="206"/>
                    <a:pt x="82" y="206"/>
                    <a:pt x="82" y="206"/>
                  </a:cubicBezTo>
                  <a:cubicBezTo>
                    <a:pt x="82" y="206"/>
                    <a:pt x="82" y="206"/>
                    <a:pt x="82" y="206"/>
                  </a:cubicBezTo>
                  <a:cubicBezTo>
                    <a:pt x="81" y="206"/>
                    <a:pt x="81" y="206"/>
                    <a:pt x="81" y="206"/>
                  </a:cubicBezTo>
                  <a:cubicBezTo>
                    <a:pt x="81" y="206"/>
                    <a:pt x="81" y="206"/>
                    <a:pt x="81" y="206"/>
                  </a:cubicBezTo>
                  <a:cubicBezTo>
                    <a:pt x="82" y="205"/>
                    <a:pt x="82" y="205"/>
                    <a:pt x="82" y="205"/>
                  </a:cubicBezTo>
                  <a:cubicBezTo>
                    <a:pt x="82" y="205"/>
                    <a:pt x="82" y="205"/>
                    <a:pt x="82" y="205"/>
                  </a:cubicBezTo>
                  <a:cubicBezTo>
                    <a:pt x="83" y="205"/>
                    <a:pt x="83" y="205"/>
                    <a:pt x="83" y="205"/>
                  </a:cubicBezTo>
                  <a:cubicBezTo>
                    <a:pt x="83" y="206"/>
                    <a:pt x="83" y="206"/>
                    <a:pt x="83" y="206"/>
                  </a:cubicBezTo>
                  <a:cubicBezTo>
                    <a:pt x="83" y="205"/>
                    <a:pt x="83" y="205"/>
                    <a:pt x="83" y="205"/>
                  </a:cubicBezTo>
                  <a:cubicBezTo>
                    <a:pt x="83" y="205"/>
                    <a:pt x="83" y="205"/>
                    <a:pt x="83" y="205"/>
                  </a:cubicBezTo>
                  <a:cubicBezTo>
                    <a:pt x="83" y="205"/>
                    <a:pt x="83" y="205"/>
                    <a:pt x="83" y="205"/>
                  </a:cubicBezTo>
                  <a:cubicBezTo>
                    <a:pt x="83" y="204"/>
                    <a:pt x="83" y="204"/>
                    <a:pt x="83" y="204"/>
                  </a:cubicBezTo>
                  <a:cubicBezTo>
                    <a:pt x="83" y="204"/>
                    <a:pt x="83" y="204"/>
                    <a:pt x="83" y="204"/>
                  </a:cubicBezTo>
                  <a:cubicBezTo>
                    <a:pt x="83" y="204"/>
                    <a:pt x="83" y="204"/>
                    <a:pt x="83" y="204"/>
                  </a:cubicBezTo>
                  <a:cubicBezTo>
                    <a:pt x="82" y="204"/>
                    <a:pt x="82" y="204"/>
                    <a:pt x="82" y="204"/>
                  </a:cubicBezTo>
                  <a:cubicBezTo>
                    <a:pt x="82" y="205"/>
                    <a:pt x="82" y="205"/>
                    <a:pt x="82" y="205"/>
                  </a:cubicBezTo>
                  <a:cubicBezTo>
                    <a:pt x="81" y="205"/>
                    <a:pt x="81" y="205"/>
                    <a:pt x="81" y="205"/>
                  </a:cubicBezTo>
                  <a:cubicBezTo>
                    <a:pt x="81" y="205"/>
                    <a:pt x="81" y="205"/>
                    <a:pt x="81" y="205"/>
                  </a:cubicBezTo>
                  <a:cubicBezTo>
                    <a:pt x="81" y="206"/>
                    <a:pt x="81" y="206"/>
                    <a:pt x="81" y="206"/>
                  </a:cubicBezTo>
                  <a:cubicBezTo>
                    <a:pt x="80" y="207"/>
                    <a:pt x="80" y="207"/>
                    <a:pt x="80" y="207"/>
                  </a:cubicBezTo>
                  <a:cubicBezTo>
                    <a:pt x="80" y="208"/>
                    <a:pt x="80" y="208"/>
                    <a:pt x="80" y="208"/>
                  </a:cubicBezTo>
                  <a:cubicBezTo>
                    <a:pt x="80" y="208"/>
                    <a:pt x="80" y="208"/>
                    <a:pt x="80" y="208"/>
                  </a:cubicBezTo>
                  <a:cubicBezTo>
                    <a:pt x="80" y="208"/>
                    <a:pt x="80" y="208"/>
                    <a:pt x="80" y="208"/>
                  </a:cubicBezTo>
                  <a:cubicBezTo>
                    <a:pt x="79" y="208"/>
                    <a:pt x="79" y="208"/>
                    <a:pt x="79" y="208"/>
                  </a:cubicBezTo>
                  <a:cubicBezTo>
                    <a:pt x="79" y="208"/>
                    <a:pt x="79" y="208"/>
                    <a:pt x="79" y="208"/>
                  </a:cubicBezTo>
                  <a:cubicBezTo>
                    <a:pt x="79" y="208"/>
                    <a:pt x="79" y="208"/>
                    <a:pt x="79" y="208"/>
                  </a:cubicBezTo>
                  <a:cubicBezTo>
                    <a:pt x="78" y="208"/>
                    <a:pt x="78" y="208"/>
                    <a:pt x="78" y="208"/>
                  </a:cubicBezTo>
                  <a:cubicBezTo>
                    <a:pt x="78" y="208"/>
                    <a:pt x="78" y="208"/>
                    <a:pt x="78" y="208"/>
                  </a:cubicBezTo>
                  <a:cubicBezTo>
                    <a:pt x="77" y="208"/>
                    <a:pt x="77" y="208"/>
                    <a:pt x="77" y="208"/>
                  </a:cubicBezTo>
                  <a:cubicBezTo>
                    <a:pt x="77" y="209"/>
                    <a:pt x="77" y="209"/>
                    <a:pt x="77" y="209"/>
                  </a:cubicBezTo>
                  <a:cubicBezTo>
                    <a:pt x="77" y="209"/>
                    <a:pt x="77" y="209"/>
                    <a:pt x="77" y="209"/>
                  </a:cubicBezTo>
                  <a:cubicBezTo>
                    <a:pt x="77" y="209"/>
                    <a:pt x="77" y="209"/>
                    <a:pt x="77" y="209"/>
                  </a:cubicBezTo>
                  <a:cubicBezTo>
                    <a:pt x="77" y="209"/>
                    <a:pt x="77" y="209"/>
                    <a:pt x="77" y="209"/>
                  </a:cubicBezTo>
                  <a:cubicBezTo>
                    <a:pt x="77" y="209"/>
                    <a:pt x="77" y="209"/>
                    <a:pt x="77" y="209"/>
                  </a:cubicBezTo>
                  <a:cubicBezTo>
                    <a:pt x="77" y="209"/>
                    <a:pt x="77" y="209"/>
                    <a:pt x="77" y="209"/>
                  </a:cubicBezTo>
                  <a:cubicBezTo>
                    <a:pt x="77" y="209"/>
                    <a:pt x="77" y="209"/>
                    <a:pt x="77" y="209"/>
                  </a:cubicBezTo>
                  <a:cubicBezTo>
                    <a:pt x="77" y="209"/>
                    <a:pt x="77" y="209"/>
                    <a:pt x="77" y="209"/>
                  </a:cubicBezTo>
                  <a:cubicBezTo>
                    <a:pt x="76" y="210"/>
                    <a:pt x="76" y="210"/>
                    <a:pt x="76" y="210"/>
                  </a:cubicBezTo>
                  <a:cubicBezTo>
                    <a:pt x="76" y="210"/>
                    <a:pt x="76" y="210"/>
                    <a:pt x="76" y="210"/>
                  </a:cubicBezTo>
                  <a:cubicBezTo>
                    <a:pt x="76" y="210"/>
                    <a:pt x="76" y="210"/>
                    <a:pt x="76" y="210"/>
                  </a:cubicBezTo>
                  <a:cubicBezTo>
                    <a:pt x="76" y="210"/>
                    <a:pt x="76" y="210"/>
                    <a:pt x="76" y="210"/>
                  </a:cubicBezTo>
                  <a:cubicBezTo>
                    <a:pt x="76" y="211"/>
                    <a:pt x="76" y="211"/>
                    <a:pt x="76" y="211"/>
                  </a:cubicBezTo>
                  <a:cubicBezTo>
                    <a:pt x="76" y="211"/>
                    <a:pt x="76" y="211"/>
                    <a:pt x="76" y="211"/>
                  </a:cubicBezTo>
                  <a:cubicBezTo>
                    <a:pt x="76" y="211"/>
                    <a:pt x="76" y="211"/>
                    <a:pt x="76" y="211"/>
                  </a:cubicBezTo>
                  <a:cubicBezTo>
                    <a:pt x="76" y="211"/>
                    <a:pt x="76" y="211"/>
                    <a:pt x="76" y="211"/>
                  </a:cubicBezTo>
                  <a:cubicBezTo>
                    <a:pt x="76" y="212"/>
                    <a:pt x="76" y="212"/>
                    <a:pt x="76" y="212"/>
                  </a:cubicBezTo>
                  <a:cubicBezTo>
                    <a:pt x="76" y="212"/>
                    <a:pt x="76" y="212"/>
                    <a:pt x="76" y="212"/>
                  </a:cubicBezTo>
                  <a:cubicBezTo>
                    <a:pt x="76" y="212"/>
                    <a:pt x="76" y="212"/>
                    <a:pt x="76" y="212"/>
                  </a:cubicBezTo>
                  <a:cubicBezTo>
                    <a:pt x="76" y="212"/>
                    <a:pt x="76" y="212"/>
                    <a:pt x="76" y="212"/>
                  </a:cubicBezTo>
                  <a:cubicBezTo>
                    <a:pt x="76" y="212"/>
                    <a:pt x="76" y="212"/>
                    <a:pt x="76" y="212"/>
                  </a:cubicBezTo>
                  <a:cubicBezTo>
                    <a:pt x="76" y="213"/>
                    <a:pt x="76" y="213"/>
                    <a:pt x="76" y="213"/>
                  </a:cubicBezTo>
                  <a:cubicBezTo>
                    <a:pt x="76" y="213"/>
                    <a:pt x="76" y="213"/>
                    <a:pt x="76" y="213"/>
                  </a:cubicBezTo>
                  <a:cubicBezTo>
                    <a:pt x="76" y="213"/>
                    <a:pt x="76" y="213"/>
                    <a:pt x="76" y="213"/>
                  </a:cubicBezTo>
                  <a:cubicBezTo>
                    <a:pt x="76" y="214"/>
                    <a:pt x="76" y="214"/>
                    <a:pt x="76" y="214"/>
                  </a:cubicBezTo>
                  <a:cubicBezTo>
                    <a:pt x="76" y="214"/>
                    <a:pt x="76" y="214"/>
                    <a:pt x="76" y="214"/>
                  </a:cubicBezTo>
                  <a:cubicBezTo>
                    <a:pt x="76" y="214"/>
                    <a:pt x="76" y="214"/>
                    <a:pt x="76" y="214"/>
                  </a:cubicBezTo>
                  <a:cubicBezTo>
                    <a:pt x="76" y="215"/>
                    <a:pt x="76" y="215"/>
                    <a:pt x="76" y="215"/>
                  </a:cubicBezTo>
                  <a:cubicBezTo>
                    <a:pt x="76" y="215"/>
                    <a:pt x="76" y="215"/>
                    <a:pt x="76" y="215"/>
                  </a:cubicBezTo>
                  <a:cubicBezTo>
                    <a:pt x="76" y="215"/>
                    <a:pt x="76" y="215"/>
                    <a:pt x="76" y="215"/>
                  </a:cubicBezTo>
                  <a:cubicBezTo>
                    <a:pt x="76" y="215"/>
                    <a:pt x="76" y="215"/>
                    <a:pt x="76" y="215"/>
                  </a:cubicBezTo>
                  <a:cubicBezTo>
                    <a:pt x="76" y="215"/>
                    <a:pt x="76" y="215"/>
                    <a:pt x="76" y="215"/>
                  </a:cubicBezTo>
                  <a:cubicBezTo>
                    <a:pt x="76" y="216"/>
                    <a:pt x="76" y="216"/>
                    <a:pt x="76" y="216"/>
                  </a:cubicBezTo>
                  <a:cubicBezTo>
                    <a:pt x="76" y="216"/>
                    <a:pt x="76" y="216"/>
                    <a:pt x="76" y="216"/>
                  </a:cubicBezTo>
                  <a:cubicBezTo>
                    <a:pt x="76" y="216"/>
                    <a:pt x="76" y="216"/>
                    <a:pt x="76" y="216"/>
                  </a:cubicBezTo>
                  <a:cubicBezTo>
                    <a:pt x="76" y="216"/>
                    <a:pt x="76" y="216"/>
                    <a:pt x="76" y="216"/>
                  </a:cubicBezTo>
                  <a:cubicBezTo>
                    <a:pt x="76" y="216"/>
                    <a:pt x="76" y="216"/>
                    <a:pt x="76" y="216"/>
                  </a:cubicBezTo>
                  <a:cubicBezTo>
                    <a:pt x="76" y="216"/>
                    <a:pt x="76" y="216"/>
                    <a:pt x="76" y="216"/>
                  </a:cubicBezTo>
                  <a:cubicBezTo>
                    <a:pt x="77" y="216"/>
                    <a:pt x="77" y="216"/>
                    <a:pt x="77" y="216"/>
                  </a:cubicBezTo>
                  <a:cubicBezTo>
                    <a:pt x="77" y="216"/>
                    <a:pt x="77" y="216"/>
                    <a:pt x="77" y="216"/>
                  </a:cubicBezTo>
                  <a:cubicBezTo>
                    <a:pt x="78" y="216"/>
                    <a:pt x="78" y="216"/>
                    <a:pt x="78" y="216"/>
                  </a:cubicBezTo>
                  <a:cubicBezTo>
                    <a:pt x="78" y="217"/>
                    <a:pt x="78" y="217"/>
                    <a:pt x="78" y="217"/>
                  </a:cubicBezTo>
                  <a:cubicBezTo>
                    <a:pt x="78" y="217"/>
                    <a:pt x="78" y="217"/>
                    <a:pt x="78" y="217"/>
                  </a:cubicBezTo>
                  <a:cubicBezTo>
                    <a:pt x="78" y="217"/>
                    <a:pt x="78" y="217"/>
                    <a:pt x="78" y="217"/>
                  </a:cubicBezTo>
                  <a:cubicBezTo>
                    <a:pt x="77" y="217"/>
                    <a:pt x="77" y="217"/>
                    <a:pt x="77" y="217"/>
                  </a:cubicBezTo>
                  <a:cubicBezTo>
                    <a:pt x="77" y="217"/>
                    <a:pt x="77" y="217"/>
                    <a:pt x="77" y="217"/>
                  </a:cubicBezTo>
                  <a:cubicBezTo>
                    <a:pt x="76" y="217"/>
                    <a:pt x="76" y="217"/>
                    <a:pt x="76" y="217"/>
                  </a:cubicBezTo>
                  <a:cubicBezTo>
                    <a:pt x="76" y="217"/>
                    <a:pt x="76" y="217"/>
                    <a:pt x="76" y="217"/>
                  </a:cubicBezTo>
                  <a:cubicBezTo>
                    <a:pt x="77" y="218"/>
                    <a:pt x="77" y="218"/>
                    <a:pt x="77" y="218"/>
                  </a:cubicBezTo>
                  <a:cubicBezTo>
                    <a:pt x="77" y="218"/>
                    <a:pt x="77" y="218"/>
                    <a:pt x="77" y="218"/>
                  </a:cubicBezTo>
                  <a:cubicBezTo>
                    <a:pt x="77" y="218"/>
                    <a:pt x="77" y="218"/>
                    <a:pt x="77" y="218"/>
                  </a:cubicBezTo>
                  <a:cubicBezTo>
                    <a:pt x="78" y="218"/>
                    <a:pt x="78" y="218"/>
                    <a:pt x="78" y="218"/>
                  </a:cubicBezTo>
                  <a:cubicBezTo>
                    <a:pt x="78" y="218"/>
                    <a:pt x="78" y="218"/>
                    <a:pt x="78" y="218"/>
                  </a:cubicBezTo>
                  <a:cubicBezTo>
                    <a:pt x="79" y="217"/>
                    <a:pt x="79" y="217"/>
                    <a:pt x="79" y="217"/>
                  </a:cubicBezTo>
                  <a:cubicBezTo>
                    <a:pt x="79" y="217"/>
                    <a:pt x="79" y="217"/>
                    <a:pt x="79" y="217"/>
                  </a:cubicBezTo>
                  <a:cubicBezTo>
                    <a:pt x="79" y="216"/>
                    <a:pt x="79" y="216"/>
                    <a:pt x="79" y="216"/>
                  </a:cubicBezTo>
                  <a:cubicBezTo>
                    <a:pt x="79" y="216"/>
                    <a:pt x="79" y="216"/>
                    <a:pt x="79" y="216"/>
                  </a:cubicBezTo>
                  <a:cubicBezTo>
                    <a:pt x="79" y="216"/>
                    <a:pt x="79" y="216"/>
                    <a:pt x="79" y="216"/>
                  </a:cubicBezTo>
                  <a:cubicBezTo>
                    <a:pt x="79" y="216"/>
                    <a:pt x="79" y="216"/>
                    <a:pt x="79" y="216"/>
                  </a:cubicBezTo>
                  <a:cubicBezTo>
                    <a:pt x="80" y="215"/>
                    <a:pt x="80" y="215"/>
                    <a:pt x="80" y="215"/>
                  </a:cubicBezTo>
                  <a:cubicBezTo>
                    <a:pt x="80" y="215"/>
                    <a:pt x="80" y="215"/>
                    <a:pt x="80" y="215"/>
                  </a:cubicBezTo>
                  <a:cubicBezTo>
                    <a:pt x="81" y="215"/>
                    <a:pt x="81" y="215"/>
                    <a:pt x="81" y="215"/>
                  </a:cubicBezTo>
                  <a:cubicBezTo>
                    <a:pt x="81" y="214"/>
                    <a:pt x="81" y="214"/>
                    <a:pt x="81" y="214"/>
                  </a:cubicBezTo>
                  <a:cubicBezTo>
                    <a:pt x="81" y="214"/>
                    <a:pt x="81" y="214"/>
                    <a:pt x="81" y="214"/>
                  </a:cubicBezTo>
                  <a:cubicBezTo>
                    <a:pt x="81" y="214"/>
                    <a:pt x="81" y="214"/>
                    <a:pt x="81" y="214"/>
                  </a:cubicBezTo>
                  <a:cubicBezTo>
                    <a:pt x="80" y="214"/>
                    <a:pt x="80" y="214"/>
                    <a:pt x="80" y="214"/>
                  </a:cubicBezTo>
                  <a:cubicBezTo>
                    <a:pt x="80" y="214"/>
                    <a:pt x="80" y="214"/>
                    <a:pt x="80" y="214"/>
                  </a:cubicBezTo>
                  <a:cubicBezTo>
                    <a:pt x="79" y="213"/>
                    <a:pt x="79" y="213"/>
                    <a:pt x="79" y="213"/>
                  </a:cubicBezTo>
                  <a:cubicBezTo>
                    <a:pt x="79" y="213"/>
                    <a:pt x="79" y="213"/>
                    <a:pt x="79" y="213"/>
                  </a:cubicBezTo>
                  <a:cubicBezTo>
                    <a:pt x="79" y="213"/>
                    <a:pt x="79" y="213"/>
                    <a:pt x="79" y="213"/>
                  </a:cubicBezTo>
                  <a:cubicBezTo>
                    <a:pt x="79" y="213"/>
                    <a:pt x="79" y="213"/>
                    <a:pt x="79" y="213"/>
                  </a:cubicBezTo>
                  <a:cubicBezTo>
                    <a:pt x="80" y="213"/>
                    <a:pt x="80" y="213"/>
                    <a:pt x="80" y="213"/>
                  </a:cubicBezTo>
                  <a:cubicBezTo>
                    <a:pt x="80" y="213"/>
                    <a:pt x="80" y="213"/>
                    <a:pt x="80" y="213"/>
                  </a:cubicBezTo>
                  <a:cubicBezTo>
                    <a:pt x="81" y="213"/>
                    <a:pt x="81" y="213"/>
                    <a:pt x="81" y="213"/>
                  </a:cubicBezTo>
                  <a:cubicBezTo>
                    <a:pt x="81" y="214"/>
                    <a:pt x="81" y="214"/>
                    <a:pt x="81" y="214"/>
                  </a:cubicBezTo>
                  <a:cubicBezTo>
                    <a:pt x="81" y="213"/>
                    <a:pt x="81" y="213"/>
                    <a:pt x="81" y="213"/>
                  </a:cubicBezTo>
                  <a:cubicBezTo>
                    <a:pt x="82" y="212"/>
                    <a:pt x="82" y="212"/>
                    <a:pt x="82" y="212"/>
                  </a:cubicBezTo>
                  <a:cubicBezTo>
                    <a:pt x="82" y="212"/>
                    <a:pt x="82" y="212"/>
                    <a:pt x="82" y="212"/>
                  </a:cubicBezTo>
                  <a:cubicBezTo>
                    <a:pt x="82" y="212"/>
                    <a:pt x="82" y="212"/>
                    <a:pt x="82" y="212"/>
                  </a:cubicBezTo>
                  <a:cubicBezTo>
                    <a:pt x="82" y="212"/>
                    <a:pt x="82" y="212"/>
                    <a:pt x="82" y="212"/>
                  </a:cubicBezTo>
                  <a:cubicBezTo>
                    <a:pt x="82" y="212"/>
                    <a:pt x="82" y="212"/>
                    <a:pt x="82" y="212"/>
                  </a:cubicBezTo>
                  <a:cubicBezTo>
                    <a:pt x="83" y="212"/>
                    <a:pt x="83" y="212"/>
                    <a:pt x="83" y="212"/>
                  </a:cubicBezTo>
                  <a:cubicBezTo>
                    <a:pt x="83" y="212"/>
                    <a:pt x="83" y="212"/>
                    <a:pt x="83" y="212"/>
                  </a:cubicBezTo>
                  <a:cubicBezTo>
                    <a:pt x="83" y="212"/>
                    <a:pt x="83" y="212"/>
                    <a:pt x="83" y="212"/>
                  </a:cubicBezTo>
                  <a:cubicBezTo>
                    <a:pt x="83" y="211"/>
                    <a:pt x="83" y="211"/>
                    <a:pt x="83" y="211"/>
                  </a:cubicBezTo>
                  <a:cubicBezTo>
                    <a:pt x="83" y="211"/>
                    <a:pt x="83" y="211"/>
                    <a:pt x="83" y="211"/>
                  </a:cubicBezTo>
                  <a:cubicBezTo>
                    <a:pt x="84" y="211"/>
                    <a:pt x="84" y="211"/>
                    <a:pt x="84" y="211"/>
                  </a:cubicBezTo>
                  <a:cubicBezTo>
                    <a:pt x="84" y="211"/>
                    <a:pt x="84" y="211"/>
                    <a:pt x="84" y="211"/>
                  </a:cubicBezTo>
                  <a:cubicBezTo>
                    <a:pt x="83" y="212"/>
                    <a:pt x="83" y="212"/>
                    <a:pt x="83" y="212"/>
                  </a:cubicBezTo>
                  <a:cubicBezTo>
                    <a:pt x="83" y="213"/>
                    <a:pt x="83" y="213"/>
                    <a:pt x="83" y="213"/>
                  </a:cubicBezTo>
                  <a:cubicBezTo>
                    <a:pt x="83" y="213"/>
                    <a:pt x="83" y="213"/>
                    <a:pt x="83" y="213"/>
                  </a:cubicBezTo>
                  <a:cubicBezTo>
                    <a:pt x="82" y="213"/>
                    <a:pt x="82" y="213"/>
                    <a:pt x="82" y="213"/>
                  </a:cubicBezTo>
                  <a:cubicBezTo>
                    <a:pt x="82" y="213"/>
                    <a:pt x="82" y="213"/>
                    <a:pt x="82" y="213"/>
                  </a:cubicBezTo>
                  <a:cubicBezTo>
                    <a:pt x="82" y="213"/>
                    <a:pt x="82" y="213"/>
                    <a:pt x="82" y="213"/>
                  </a:cubicBezTo>
                  <a:cubicBezTo>
                    <a:pt x="82" y="214"/>
                    <a:pt x="82" y="214"/>
                    <a:pt x="82" y="214"/>
                  </a:cubicBezTo>
                  <a:cubicBezTo>
                    <a:pt x="82" y="214"/>
                    <a:pt x="82" y="214"/>
                    <a:pt x="82" y="214"/>
                  </a:cubicBezTo>
                  <a:cubicBezTo>
                    <a:pt x="82" y="214"/>
                    <a:pt x="82" y="214"/>
                    <a:pt x="82" y="214"/>
                  </a:cubicBezTo>
                  <a:cubicBezTo>
                    <a:pt x="82" y="214"/>
                    <a:pt x="82" y="214"/>
                    <a:pt x="82" y="214"/>
                  </a:cubicBezTo>
                  <a:cubicBezTo>
                    <a:pt x="81" y="214"/>
                    <a:pt x="81" y="214"/>
                    <a:pt x="81" y="214"/>
                  </a:cubicBezTo>
                  <a:cubicBezTo>
                    <a:pt x="82" y="214"/>
                    <a:pt x="82" y="214"/>
                    <a:pt x="82" y="214"/>
                  </a:cubicBezTo>
                  <a:cubicBezTo>
                    <a:pt x="82" y="214"/>
                    <a:pt x="82" y="214"/>
                    <a:pt x="82" y="214"/>
                  </a:cubicBezTo>
                  <a:cubicBezTo>
                    <a:pt x="81" y="214"/>
                    <a:pt x="81" y="214"/>
                    <a:pt x="81" y="214"/>
                  </a:cubicBezTo>
                  <a:cubicBezTo>
                    <a:pt x="81" y="214"/>
                    <a:pt x="81" y="214"/>
                    <a:pt x="81" y="214"/>
                  </a:cubicBezTo>
                  <a:cubicBezTo>
                    <a:pt x="82" y="214"/>
                    <a:pt x="82" y="214"/>
                    <a:pt x="82" y="214"/>
                  </a:cubicBezTo>
                  <a:cubicBezTo>
                    <a:pt x="82" y="214"/>
                    <a:pt x="82" y="214"/>
                    <a:pt x="82" y="214"/>
                  </a:cubicBezTo>
                  <a:cubicBezTo>
                    <a:pt x="83" y="214"/>
                    <a:pt x="83" y="214"/>
                    <a:pt x="83" y="214"/>
                  </a:cubicBezTo>
                  <a:cubicBezTo>
                    <a:pt x="83" y="214"/>
                    <a:pt x="83" y="214"/>
                    <a:pt x="83" y="214"/>
                  </a:cubicBezTo>
                  <a:cubicBezTo>
                    <a:pt x="83" y="214"/>
                    <a:pt x="83" y="214"/>
                    <a:pt x="83" y="214"/>
                  </a:cubicBezTo>
                  <a:cubicBezTo>
                    <a:pt x="83" y="214"/>
                    <a:pt x="83" y="214"/>
                    <a:pt x="83" y="214"/>
                  </a:cubicBezTo>
                  <a:cubicBezTo>
                    <a:pt x="84" y="215"/>
                    <a:pt x="84" y="215"/>
                    <a:pt x="84" y="215"/>
                  </a:cubicBezTo>
                  <a:cubicBezTo>
                    <a:pt x="86" y="215"/>
                    <a:pt x="86" y="215"/>
                    <a:pt x="86" y="215"/>
                  </a:cubicBezTo>
                  <a:cubicBezTo>
                    <a:pt x="91" y="217"/>
                    <a:pt x="91" y="217"/>
                    <a:pt x="91" y="217"/>
                  </a:cubicBezTo>
                  <a:cubicBezTo>
                    <a:pt x="91" y="216"/>
                    <a:pt x="91" y="216"/>
                    <a:pt x="91" y="216"/>
                  </a:cubicBezTo>
                  <a:cubicBezTo>
                    <a:pt x="91" y="216"/>
                    <a:pt x="91" y="216"/>
                    <a:pt x="91" y="216"/>
                  </a:cubicBezTo>
                  <a:cubicBezTo>
                    <a:pt x="91" y="216"/>
                    <a:pt x="91" y="216"/>
                    <a:pt x="91" y="216"/>
                  </a:cubicBezTo>
                  <a:cubicBezTo>
                    <a:pt x="92" y="216"/>
                    <a:pt x="92" y="216"/>
                    <a:pt x="92" y="216"/>
                  </a:cubicBezTo>
                  <a:cubicBezTo>
                    <a:pt x="92" y="216"/>
                    <a:pt x="92" y="216"/>
                    <a:pt x="92" y="216"/>
                  </a:cubicBezTo>
                  <a:cubicBezTo>
                    <a:pt x="92" y="216"/>
                    <a:pt x="92" y="216"/>
                    <a:pt x="92" y="216"/>
                  </a:cubicBezTo>
                  <a:cubicBezTo>
                    <a:pt x="92" y="215"/>
                    <a:pt x="92" y="215"/>
                    <a:pt x="92" y="215"/>
                  </a:cubicBezTo>
                  <a:cubicBezTo>
                    <a:pt x="92" y="215"/>
                    <a:pt x="92" y="215"/>
                    <a:pt x="92" y="215"/>
                  </a:cubicBezTo>
                  <a:cubicBezTo>
                    <a:pt x="92" y="214"/>
                    <a:pt x="92" y="214"/>
                    <a:pt x="92" y="214"/>
                  </a:cubicBezTo>
                  <a:cubicBezTo>
                    <a:pt x="92" y="214"/>
                    <a:pt x="92" y="214"/>
                    <a:pt x="92" y="214"/>
                  </a:cubicBezTo>
                  <a:cubicBezTo>
                    <a:pt x="92" y="214"/>
                    <a:pt x="92" y="214"/>
                    <a:pt x="92" y="214"/>
                  </a:cubicBezTo>
                  <a:cubicBezTo>
                    <a:pt x="92" y="214"/>
                    <a:pt x="92" y="214"/>
                    <a:pt x="92" y="214"/>
                  </a:cubicBezTo>
                  <a:cubicBezTo>
                    <a:pt x="92" y="214"/>
                    <a:pt x="92" y="214"/>
                    <a:pt x="92" y="214"/>
                  </a:cubicBezTo>
                  <a:cubicBezTo>
                    <a:pt x="92" y="215"/>
                    <a:pt x="92" y="215"/>
                    <a:pt x="92" y="215"/>
                  </a:cubicBezTo>
                  <a:cubicBezTo>
                    <a:pt x="92" y="215"/>
                    <a:pt x="92" y="215"/>
                    <a:pt x="92" y="215"/>
                  </a:cubicBezTo>
                  <a:cubicBezTo>
                    <a:pt x="92" y="215"/>
                    <a:pt x="92" y="215"/>
                    <a:pt x="92" y="215"/>
                  </a:cubicBezTo>
                  <a:cubicBezTo>
                    <a:pt x="92" y="216"/>
                    <a:pt x="92" y="216"/>
                    <a:pt x="92" y="216"/>
                  </a:cubicBezTo>
                  <a:cubicBezTo>
                    <a:pt x="92" y="216"/>
                    <a:pt x="92" y="216"/>
                    <a:pt x="92" y="216"/>
                  </a:cubicBezTo>
                  <a:cubicBezTo>
                    <a:pt x="92" y="216"/>
                    <a:pt x="92" y="216"/>
                    <a:pt x="92" y="216"/>
                  </a:cubicBezTo>
                  <a:cubicBezTo>
                    <a:pt x="92" y="217"/>
                    <a:pt x="92" y="217"/>
                    <a:pt x="92" y="217"/>
                  </a:cubicBezTo>
                  <a:cubicBezTo>
                    <a:pt x="92" y="217"/>
                    <a:pt x="92" y="217"/>
                    <a:pt x="92" y="217"/>
                  </a:cubicBezTo>
                  <a:cubicBezTo>
                    <a:pt x="92" y="217"/>
                    <a:pt x="92" y="217"/>
                    <a:pt x="92" y="217"/>
                  </a:cubicBezTo>
                  <a:cubicBezTo>
                    <a:pt x="91" y="217"/>
                    <a:pt x="91" y="217"/>
                    <a:pt x="91" y="217"/>
                  </a:cubicBezTo>
                  <a:cubicBezTo>
                    <a:pt x="91" y="217"/>
                    <a:pt x="91" y="217"/>
                    <a:pt x="91" y="217"/>
                  </a:cubicBezTo>
                  <a:cubicBezTo>
                    <a:pt x="91" y="217"/>
                    <a:pt x="91" y="217"/>
                    <a:pt x="91" y="217"/>
                  </a:cubicBezTo>
                  <a:cubicBezTo>
                    <a:pt x="91" y="217"/>
                    <a:pt x="91" y="217"/>
                    <a:pt x="91" y="217"/>
                  </a:cubicBezTo>
                  <a:cubicBezTo>
                    <a:pt x="91" y="217"/>
                    <a:pt x="91" y="217"/>
                    <a:pt x="91" y="217"/>
                  </a:cubicBezTo>
                  <a:cubicBezTo>
                    <a:pt x="91" y="217"/>
                    <a:pt x="91" y="217"/>
                    <a:pt x="91" y="217"/>
                  </a:cubicBezTo>
                  <a:cubicBezTo>
                    <a:pt x="90" y="217"/>
                    <a:pt x="90" y="217"/>
                    <a:pt x="90" y="217"/>
                  </a:cubicBezTo>
                  <a:cubicBezTo>
                    <a:pt x="86" y="216"/>
                    <a:pt x="86" y="216"/>
                    <a:pt x="86" y="216"/>
                  </a:cubicBezTo>
                  <a:cubicBezTo>
                    <a:pt x="83" y="215"/>
                    <a:pt x="83" y="215"/>
                    <a:pt x="83" y="215"/>
                  </a:cubicBezTo>
                  <a:cubicBezTo>
                    <a:pt x="81" y="215"/>
                    <a:pt x="81" y="215"/>
                    <a:pt x="81" y="215"/>
                  </a:cubicBezTo>
                  <a:cubicBezTo>
                    <a:pt x="80" y="215"/>
                    <a:pt x="80" y="215"/>
                    <a:pt x="80" y="215"/>
                  </a:cubicBezTo>
                  <a:cubicBezTo>
                    <a:pt x="80" y="215"/>
                    <a:pt x="80" y="215"/>
                    <a:pt x="80" y="215"/>
                  </a:cubicBezTo>
                  <a:cubicBezTo>
                    <a:pt x="80" y="216"/>
                    <a:pt x="80" y="216"/>
                    <a:pt x="80" y="216"/>
                  </a:cubicBezTo>
                  <a:cubicBezTo>
                    <a:pt x="80" y="216"/>
                    <a:pt x="80" y="216"/>
                    <a:pt x="80" y="216"/>
                  </a:cubicBezTo>
                  <a:cubicBezTo>
                    <a:pt x="80" y="217"/>
                    <a:pt x="80" y="217"/>
                    <a:pt x="80" y="217"/>
                  </a:cubicBezTo>
                  <a:cubicBezTo>
                    <a:pt x="80" y="217"/>
                    <a:pt x="80" y="217"/>
                    <a:pt x="80" y="217"/>
                  </a:cubicBezTo>
                  <a:cubicBezTo>
                    <a:pt x="80" y="217"/>
                    <a:pt x="80" y="217"/>
                    <a:pt x="80" y="217"/>
                  </a:cubicBezTo>
                  <a:cubicBezTo>
                    <a:pt x="79" y="217"/>
                    <a:pt x="79" y="217"/>
                    <a:pt x="79" y="217"/>
                  </a:cubicBezTo>
                  <a:cubicBezTo>
                    <a:pt x="79" y="217"/>
                    <a:pt x="79" y="217"/>
                    <a:pt x="79" y="217"/>
                  </a:cubicBezTo>
                  <a:cubicBezTo>
                    <a:pt x="79" y="217"/>
                    <a:pt x="79" y="217"/>
                    <a:pt x="79" y="217"/>
                  </a:cubicBezTo>
                  <a:cubicBezTo>
                    <a:pt x="79" y="218"/>
                    <a:pt x="79" y="218"/>
                    <a:pt x="79" y="218"/>
                  </a:cubicBezTo>
                  <a:cubicBezTo>
                    <a:pt x="79" y="218"/>
                    <a:pt x="79" y="218"/>
                    <a:pt x="79" y="218"/>
                  </a:cubicBezTo>
                  <a:cubicBezTo>
                    <a:pt x="79" y="218"/>
                    <a:pt x="79" y="218"/>
                    <a:pt x="79" y="218"/>
                  </a:cubicBezTo>
                  <a:cubicBezTo>
                    <a:pt x="79" y="218"/>
                    <a:pt x="79" y="218"/>
                    <a:pt x="79" y="218"/>
                  </a:cubicBezTo>
                  <a:cubicBezTo>
                    <a:pt x="78" y="218"/>
                    <a:pt x="78" y="218"/>
                    <a:pt x="78" y="218"/>
                  </a:cubicBezTo>
                  <a:cubicBezTo>
                    <a:pt x="78" y="218"/>
                    <a:pt x="78" y="218"/>
                    <a:pt x="78" y="218"/>
                  </a:cubicBezTo>
                  <a:cubicBezTo>
                    <a:pt x="78" y="218"/>
                    <a:pt x="78" y="218"/>
                    <a:pt x="78" y="218"/>
                  </a:cubicBezTo>
                  <a:cubicBezTo>
                    <a:pt x="77" y="219"/>
                    <a:pt x="77" y="219"/>
                    <a:pt x="77" y="219"/>
                  </a:cubicBezTo>
                  <a:cubicBezTo>
                    <a:pt x="77" y="219"/>
                    <a:pt x="77" y="219"/>
                    <a:pt x="77" y="219"/>
                  </a:cubicBezTo>
                  <a:cubicBezTo>
                    <a:pt x="77" y="219"/>
                    <a:pt x="77" y="219"/>
                    <a:pt x="77" y="219"/>
                  </a:cubicBezTo>
                  <a:cubicBezTo>
                    <a:pt x="76" y="219"/>
                    <a:pt x="76" y="219"/>
                    <a:pt x="76" y="219"/>
                  </a:cubicBezTo>
                  <a:cubicBezTo>
                    <a:pt x="76" y="219"/>
                    <a:pt x="76" y="219"/>
                    <a:pt x="76" y="219"/>
                  </a:cubicBezTo>
                  <a:cubicBezTo>
                    <a:pt x="76" y="219"/>
                    <a:pt x="76" y="219"/>
                    <a:pt x="76" y="219"/>
                  </a:cubicBezTo>
                  <a:cubicBezTo>
                    <a:pt x="75" y="220"/>
                    <a:pt x="75" y="220"/>
                    <a:pt x="75" y="220"/>
                  </a:cubicBezTo>
                  <a:cubicBezTo>
                    <a:pt x="75" y="220"/>
                    <a:pt x="75" y="220"/>
                    <a:pt x="75" y="220"/>
                  </a:cubicBezTo>
                  <a:cubicBezTo>
                    <a:pt x="76" y="220"/>
                    <a:pt x="76" y="220"/>
                    <a:pt x="76" y="220"/>
                  </a:cubicBezTo>
                  <a:cubicBezTo>
                    <a:pt x="76" y="221"/>
                    <a:pt x="76" y="221"/>
                    <a:pt x="76" y="221"/>
                  </a:cubicBezTo>
                  <a:cubicBezTo>
                    <a:pt x="76" y="220"/>
                    <a:pt x="76" y="220"/>
                    <a:pt x="76" y="220"/>
                  </a:cubicBezTo>
                  <a:cubicBezTo>
                    <a:pt x="77" y="220"/>
                    <a:pt x="77" y="220"/>
                    <a:pt x="77" y="220"/>
                  </a:cubicBezTo>
                  <a:cubicBezTo>
                    <a:pt x="77" y="220"/>
                    <a:pt x="77" y="220"/>
                    <a:pt x="77" y="220"/>
                  </a:cubicBezTo>
                  <a:cubicBezTo>
                    <a:pt x="78" y="221"/>
                    <a:pt x="78" y="221"/>
                    <a:pt x="78" y="221"/>
                  </a:cubicBezTo>
                  <a:cubicBezTo>
                    <a:pt x="78" y="221"/>
                    <a:pt x="78" y="221"/>
                    <a:pt x="78" y="221"/>
                  </a:cubicBezTo>
                  <a:cubicBezTo>
                    <a:pt x="79" y="221"/>
                    <a:pt x="79" y="221"/>
                    <a:pt x="79" y="221"/>
                  </a:cubicBezTo>
                  <a:cubicBezTo>
                    <a:pt x="79" y="221"/>
                    <a:pt x="79" y="221"/>
                    <a:pt x="79" y="221"/>
                  </a:cubicBezTo>
                  <a:cubicBezTo>
                    <a:pt x="79" y="221"/>
                    <a:pt x="79" y="221"/>
                    <a:pt x="79" y="221"/>
                  </a:cubicBezTo>
                  <a:cubicBezTo>
                    <a:pt x="79" y="221"/>
                    <a:pt x="79" y="221"/>
                    <a:pt x="79" y="221"/>
                  </a:cubicBezTo>
                  <a:cubicBezTo>
                    <a:pt x="79" y="221"/>
                    <a:pt x="79" y="221"/>
                    <a:pt x="79" y="221"/>
                  </a:cubicBezTo>
                  <a:cubicBezTo>
                    <a:pt x="79" y="221"/>
                    <a:pt x="79" y="221"/>
                    <a:pt x="79" y="221"/>
                  </a:cubicBezTo>
                  <a:cubicBezTo>
                    <a:pt x="79" y="221"/>
                    <a:pt x="79" y="221"/>
                    <a:pt x="79" y="221"/>
                  </a:cubicBezTo>
                  <a:cubicBezTo>
                    <a:pt x="81" y="222"/>
                    <a:pt x="81" y="222"/>
                    <a:pt x="81" y="222"/>
                  </a:cubicBezTo>
                  <a:cubicBezTo>
                    <a:pt x="82" y="222"/>
                    <a:pt x="82" y="222"/>
                    <a:pt x="82" y="222"/>
                  </a:cubicBezTo>
                  <a:cubicBezTo>
                    <a:pt x="83" y="222"/>
                    <a:pt x="83" y="222"/>
                    <a:pt x="83" y="222"/>
                  </a:cubicBezTo>
                  <a:cubicBezTo>
                    <a:pt x="83" y="222"/>
                    <a:pt x="83" y="222"/>
                    <a:pt x="83" y="222"/>
                  </a:cubicBezTo>
                  <a:cubicBezTo>
                    <a:pt x="83" y="222"/>
                    <a:pt x="83" y="222"/>
                    <a:pt x="83" y="222"/>
                  </a:cubicBezTo>
                  <a:cubicBezTo>
                    <a:pt x="84" y="221"/>
                    <a:pt x="84" y="221"/>
                    <a:pt x="84" y="221"/>
                  </a:cubicBezTo>
                  <a:cubicBezTo>
                    <a:pt x="84" y="221"/>
                    <a:pt x="84" y="221"/>
                    <a:pt x="84" y="221"/>
                  </a:cubicBezTo>
                  <a:cubicBezTo>
                    <a:pt x="84" y="221"/>
                    <a:pt x="84" y="221"/>
                    <a:pt x="84" y="221"/>
                  </a:cubicBezTo>
                  <a:cubicBezTo>
                    <a:pt x="84" y="222"/>
                    <a:pt x="84" y="222"/>
                    <a:pt x="84" y="222"/>
                  </a:cubicBezTo>
                  <a:cubicBezTo>
                    <a:pt x="84" y="222"/>
                    <a:pt x="84" y="222"/>
                    <a:pt x="84" y="222"/>
                  </a:cubicBezTo>
                  <a:cubicBezTo>
                    <a:pt x="83" y="222"/>
                    <a:pt x="83" y="222"/>
                    <a:pt x="83" y="222"/>
                  </a:cubicBezTo>
                  <a:cubicBezTo>
                    <a:pt x="83" y="222"/>
                    <a:pt x="83" y="222"/>
                    <a:pt x="83" y="222"/>
                  </a:cubicBezTo>
                  <a:cubicBezTo>
                    <a:pt x="83" y="223"/>
                    <a:pt x="83" y="223"/>
                    <a:pt x="83" y="223"/>
                  </a:cubicBezTo>
                  <a:cubicBezTo>
                    <a:pt x="82" y="223"/>
                    <a:pt x="82" y="223"/>
                    <a:pt x="82" y="223"/>
                  </a:cubicBezTo>
                  <a:cubicBezTo>
                    <a:pt x="80" y="223"/>
                    <a:pt x="80" y="223"/>
                    <a:pt x="80" y="223"/>
                  </a:cubicBezTo>
                  <a:cubicBezTo>
                    <a:pt x="80" y="222"/>
                    <a:pt x="80" y="222"/>
                    <a:pt x="80" y="222"/>
                  </a:cubicBezTo>
                  <a:cubicBezTo>
                    <a:pt x="80" y="222"/>
                    <a:pt x="80" y="222"/>
                    <a:pt x="80" y="222"/>
                  </a:cubicBezTo>
                  <a:cubicBezTo>
                    <a:pt x="80" y="222"/>
                    <a:pt x="80" y="222"/>
                    <a:pt x="80" y="222"/>
                  </a:cubicBezTo>
                  <a:cubicBezTo>
                    <a:pt x="78" y="221"/>
                    <a:pt x="78" y="221"/>
                    <a:pt x="78" y="221"/>
                  </a:cubicBezTo>
                  <a:cubicBezTo>
                    <a:pt x="77" y="222"/>
                    <a:pt x="77" y="222"/>
                    <a:pt x="77" y="222"/>
                  </a:cubicBezTo>
                  <a:cubicBezTo>
                    <a:pt x="77" y="222"/>
                    <a:pt x="77" y="222"/>
                    <a:pt x="77" y="222"/>
                  </a:cubicBezTo>
                  <a:cubicBezTo>
                    <a:pt x="75" y="222"/>
                    <a:pt x="75" y="222"/>
                    <a:pt x="75" y="222"/>
                  </a:cubicBezTo>
                  <a:cubicBezTo>
                    <a:pt x="75" y="222"/>
                    <a:pt x="75" y="222"/>
                    <a:pt x="75" y="222"/>
                  </a:cubicBezTo>
                  <a:cubicBezTo>
                    <a:pt x="75" y="222"/>
                    <a:pt x="75" y="222"/>
                    <a:pt x="75" y="222"/>
                  </a:cubicBezTo>
                  <a:cubicBezTo>
                    <a:pt x="75" y="222"/>
                    <a:pt x="75" y="222"/>
                    <a:pt x="75" y="222"/>
                  </a:cubicBezTo>
                  <a:cubicBezTo>
                    <a:pt x="75" y="222"/>
                    <a:pt x="75" y="222"/>
                    <a:pt x="75" y="222"/>
                  </a:cubicBezTo>
                  <a:cubicBezTo>
                    <a:pt x="75" y="223"/>
                    <a:pt x="75" y="223"/>
                    <a:pt x="75" y="223"/>
                  </a:cubicBezTo>
                  <a:cubicBezTo>
                    <a:pt x="74" y="223"/>
                    <a:pt x="74" y="223"/>
                    <a:pt x="74" y="223"/>
                  </a:cubicBezTo>
                  <a:cubicBezTo>
                    <a:pt x="75" y="223"/>
                    <a:pt x="75" y="223"/>
                    <a:pt x="75" y="223"/>
                  </a:cubicBezTo>
                  <a:cubicBezTo>
                    <a:pt x="75" y="223"/>
                    <a:pt x="75" y="223"/>
                    <a:pt x="75" y="223"/>
                  </a:cubicBezTo>
                  <a:cubicBezTo>
                    <a:pt x="75" y="224"/>
                    <a:pt x="75" y="224"/>
                    <a:pt x="75" y="224"/>
                  </a:cubicBezTo>
                  <a:cubicBezTo>
                    <a:pt x="75" y="225"/>
                    <a:pt x="75" y="225"/>
                    <a:pt x="75" y="225"/>
                  </a:cubicBezTo>
                  <a:cubicBezTo>
                    <a:pt x="76" y="225"/>
                    <a:pt x="76" y="225"/>
                    <a:pt x="76" y="225"/>
                  </a:cubicBezTo>
                  <a:cubicBezTo>
                    <a:pt x="76" y="225"/>
                    <a:pt x="76" y="225"/>
                    <a:pt x="76" y="225"/>
                  </a:cubicBezTo>
                  <a:cubicBezTo>
                    <a:pt x="77" y="225"/>
                    <a:pt x="77" y="225"/>
                    <a:pt x="77" y="225"/>
                  </a:cubicBezTo>
                  <a:cubicBezTo>
                    <a:pt x="77" y="225"/>
                    <a:pt x="77" y="225"/>
                    <a:pt x="77" y="225"/>
                  </a:cubicBezTo>
                  <a:cubicBezTo>
                    <a:pt x="78" y="225"/>
                    <a:pt x="78" y="225"/>
                    <a:pt x="78" y="225"/>
                  </a:cubicBezTo>
                  <a:cubicBezTo>
                    <a:pt x="78" y="226"/>
                    <a:pt x="78" y="226"/>
                    <a:pt x="78" y="226"/>
                  </a:cubicBezTo>
                  <a:cubicBezTo>
                    <a:pt x="78" y="226"/>
                    <a:pt x="78" y="226"/>
                    <a:pt x="78" y="226"/>
                  </a:cubicBezTo>
                  <a:cubicBezTo>
                    <a:pt x="78" y="226"/>
                    <a:pt x="78" y="226"/>
                    <a:pt x="78" y="226"/>
                  </a:cubicBezTo>
                  <a:cubicBezTo>
                    <a:pt x="77" y="226"/>
                    <a:pt x="77" y="226"/>
                    <a:pt x="77" y="226"/>
                  </a:cubicBezTo>
                  <a:cubicBezTo>
                    <a:pt x="77" y="227"/>
                    <a:pt x="77" y="227"/>
                    <a:pt x="77" y="227"/>
                  </a:cubicBezTo>
                  <a:cubicBezTo>
                    <a:pt x="77" y="227"/>
                    <a:pt x="77" y="227"/>
                    <a:pt x="77" y="227"/>
                  </a:cubicBezTo>
                  <a:cubicBezTo>
                    <a:pt x="77" y="228"/>
                    <a:pt x="77" y="228"/>
                    <a:pt x="77" y="228"/>
                  </a:cubicBezTo>
                  <a:cubicBezTo>
                    <a:pt x="77" y="228"/>
                    <a:pt x="77" y="228"/>
                    <a:pt x="77" y="228"/>
                  </a:cubicBezTo>
                  <a:cubicBezTo>
                    <a:pt x="77" y="228"/>
                    <a:pt x="77" y="228"/>
                    <a:pt x="77" y="228"/>
                  </a:cubicBezTo>
                  <a:cubicBezTo>
                    <a:pt x="78" y="228"/>
                    <a:pt x="78" y="228"/>
                    <a:pt x="78" y="228"/>
                  </a:cubicBezTo>
                  <a:cubicBezTo>
                    <a:pt x="78" y="228"/>
                    <a:pt x="78" y="228"/>
                    <a:pt x="78" y="228"/>
                  </a:cubicBezTo>
                  <a:cubicBezTo>
                    <a:pt x="78" y="228"/>
                    <a:pt x="78" y="228"/>
                    <a:pt x="78" y="228"/>
                  </a:cubicBezTo>
                  <a:cubicBezTo>
                    <a:pt x="78" y="228"/>
                    <a:pt x="78" y="228"/>
                    <a:pt x="78" y="228"/>
                  </a:cubicBezTo>
                  <a:cubicBezTo>
                    <a:pt x="78" y="228"/>
                    <a:pt x="78" y="228"/>
                    <a:pt x="78" y="228"/>
                  </a:cubicBezTo>
                  <a:cubicBezTo>
                    <a:pt x="78" y="228"/>
                    <a:pt x="78" y="228"/>
                    <a:pt x="78" y="228"/>
                  </a:cubicBezTo>
                  <a:cubicBezTo>
                    <a:pt x="78" y="229"/>
                    <a:pt x="78" y="229"/>
                    <a:pt x="78" y="229"/>
                  </a:cubicBezTo>
                  <a:cubicBezTo>
                    <a:pt x="78" y="229"/>
                    <a:pt x="78" y="229"/>
                    <a:pt x="78" y="229"/>
                  </a:cubicBezTo>
                  <a:cubicBezTo>
                    <a:pt x="78" y="229"/>
                    <a:pt x="78" y="229"/>
                    <a:pt x="78" y="229"/>
                  </a:cubicBezTo>
                  <a:cubicBezTo>
                    <a:pt x="78" y="229"/>
                    <a:pt x="78" y="229"/>
                    <a:pt x="78" y="229"/>
                  </a:cubicBezTo>
                  <a:cubicBezTo>
                    <a:pt x="79" y="230"/>
                    <a:pt x="79" y="230"/>
                    <a:pt x="79" y="230"/>
                  </a:cubicBezTo>
                  <a:cubicBezTo>
                    <a:pt x="79" y="230"/>
                    <a:pt x="79" y="230"/>
                    <a:pt x="79" y="230"/>
                  </a:cubicBezTo>
                  <a:cubicBezTo>
                    <a:pt x="79" y="230"/>
                    <a:pt x="79" y="230"/>
                    <a:pt x="79" y="230"/>
                  </a:cubicBezTo>
                  <a:cubicBezTo>
                    <a:pt x="80" y="230"/>
                    <a:pt x="80" y="230"/>
                    <a:pt x="80" y="230"/>
                  </a:cubicBezTo>
                  <a:cubicBezTo>
                    <a:pt x="80" y="230"/>
                    <a:pt x="80" y="230"/>
                    <a:pt x="80" y="230"/>
                  </a:cubicBezTo>
                  <a:cubicBezTo>
                    <a:pt x="80" y="230"/>
                    <a:pt x="80" y="230"/>
                    <a:pt x="80" y="230"/>
                  </a:cubicBezTo>
                  <a:cubicBezTo>
                    <a:pt x="80" y="231"/>
                    <a:pt x="80" y="231"/>
                    <a:pt x="80" y="231"/>
                  </a:cubicBezTo>
                  <a:cubicBezTo>
                    <a:pt x="80" y="231"/>
                    <a:pt x="80" y="231"/>
                    <a:pt x="80" y="231"/>
                  </a:cubicBezTo>
                  <a:cubicBezTo>
                    <a:pt x="80" y="231"/>
                    <a:pt x="80" y="231"/>
                    <a:pt x="80" y="231"/>
                  </a:cubicBezTo>
                  <a:cubicBezTo>
                    <a:pt x="81" y="232"/>
                    <a:pt x="81" y="232"/>
                    <a:pt x="81" y="232"/>
                  </a:cubicBezTo>
                  <a:cubicBezTo>
                    <a:pt x="82" y="233"/>
                    <a:pt x="82" y="233"/>
                    <a:pt x="82" y="233"/>
                  </a:cubicBezTo>
                  <a:cubicBezTo>
                    <a:pt x="82" y="233"/>
                    <a:pt x="82" y="233"/>
                    <a:pt x="82" y="233"/>
                  </a:cubicBezTo>
                  <a:cubicBezTo>
                    <a:pt x="82" y="233"/>
                    <a:pt x="82" y="233"/>
                    <a:pt x="82" y="233"/>
                  </a:cubicBezTo>
                  <a:cubicBezTo>
                    <a:pt x="83" y="233"/>
                    <a:pt x="83" y="233"/>
                    <a:pt x="83" y="233"/>
                  </a:cubicBezTo>
                  <a:cubicBezTo>
                    <a:pt x="83" y="232"/>
                    <a:pt x="83" y="232"/>
                    <a:pt x="83" y="232"/>
                  </a:cubicBezTo>
                  <a:cubicBezTo>
                    <a:pt x="84" y="232"/>
                    <a:pt x="84" y="232"/>
                    <a:pt x="84" y="232"/>
                  </a:cubicBezTo>
                  <a:cubicBezTo>
                    <a:pt x="84" y="232"/>
                    <a:pt x="84" y="232"/>
                    <a:pt x="84" y="232"/>
                  </a:cubicBezTo>
                  <a:cubicBezTo>
                    <a:pt x="84" y="232"/>
                    <a:pt x="84" y="232"/>
                    <a:pt x="84" y="232"/>
                  </a:cubicBezTo>
                  <a:cubicBezTo>
                    <a:pt x="84" y="232"/>
                    <a:pt x="84" y="232"/>
                    <a:pt x="84" y="232"/>
                  </a:cubicBezTo>
                  <a:cubicBezTo>
                    <a:pt x="84" y="232"/>
                    <a:pt x="84" y="232"/>
                    <a:pt x="84" y="232"/>
                  </a:cubicBezTo>
                  <a:cubicBezTo>
                    <a:pt x="83" y="232"/>
                    <a:pt x="83" y="232"/>
                    <a:pt x="83" y="232"/>
                  </a:cubicBezTo>
                  <a:cubicBezTo>
                    <a:pt x="83" y="231"/>
                    <a:pt x="83" y="231"/>
                    <a:pt x="83" y="231"/>
                  </a:cubicBezTo>
                  <a:cubicBezTo>
                    <a:pt x="82" y="231"/>
                    <a:pt x="82" y="231"/>
                    <a:pt x="82" y="231"/>
                  </a:cubicBezTo>
                  <a:cubicBezTo>
                    <a:pt x="81" y="231"/>
                    <a:pt x="81" y="231"/>
                    <a:pt x="81" y="231"/>
                  </a:cubicBezTo>
                  <a:cubicBezTo>
                    <a:pt x="81" y="231"/>
                    <a:pt x="81" y="231"/>
                    <a:pt x="81" y="231"/>
                  </a:cubicBezTo>
                  <a:cubicBezTo>
                    <a:pt x="81" y="230"/>
                    <a:pt x="81" y="230"/>
                    <a:pt x="81" y="230"/>
                  </a:cubicBezTo>
                  <a:cubicBezTo>
                    <a:pt x="81" y="230"/>
                    <a:pt x="81" y="230"/>
                    <a:pt x="81" y="230"/>
                  </a:cubicBezTo>
                  <a:cubicBezTo>
                    <a:pt x="81" y="230"/>
                    <a:pt x="81" y="230"/>
                    <a:pt x="81" y="230"/>
                  </a:cubicBezTo>
                  <a:cubicBezTo>
                    <a:pt x="81" y="230"/>
                    <a:pt x="81" y="230"/>
                    <a:pt x="81" y="230"/>
                  </a:cubicBezTo>
                  <a:cubicBezTo>
                    <a:pt x="82" y="230"/>
                    <a:pt x="82" y="230"/>
                    <a:pt x="82" y="230"/>
                  </a:cubicBezTo>
                  <a:cubicBezTo>
                    <a:pt x="82" y="231"/>
                    <a:pt x="82" y="231"/>
                    <a:pt x="82" y="231"/>
                  </a:cubicBezTo>
                  <a:cubicBezTo>
                    <a:pt x="82" y="231"/>
                    <a:pt x="82" y="231"/>
                    <a:pt x="82" y="231"/>
                  </a:cubicBezTo>
                  <a:cubicBezTo>
                    <a:pt x="82" y="231"/>
                    <a:pt x="82" y="231"/>
                    <a:pt x="82" y="231"/>
                  </a:cubicBezTo>
                  <a:cubicBezTo>
                    <a:pt x="83" y="231"/>
                    <a:pt x="83" y="231"/>
                    <a:pt x="83" y="231"/>
                  </a:cubicBezTo>
                  <a:cubicBezTo>
                    <a:pt x="84" y="232"/>
                    <a:pt x="84" y="232"/>
                    <a:pt x="84" y="232"/>
                  </a:cubicBezTo>
                  <a:cubicBezTo>
                    <a:pt x="84" y="231"/>
                    <a:pt x="84" y="231"/>
                    <a:pt x="84" y="231"/>
                  </a:cubicBezTo>
                  <a:cubicBezTo>
                    <a:pt x="85" y="231"/>
                    <a:pt x="85" y="231"/>
                    <a:pt x="85" y="231"/>
                  </a:cubicBezTo>
                  <a:cubicBezTo>
                    <a:pt x="85" y="231"/>
                    <a:pt x="85" y="231"/>
                    <a:pt x="85" y="231"/>
                  </a:cubicBezTo>
                  <a:cubicBezTo>
                    <a:pt x="85" y="231"/>
                    <a:pt x="85" y="231"/>
                    <a:pt x="85" y="231"/>
                  </a:cubicBezTo>
                  <a:cubicBezTo>
                    <a:pt x="85" y="231"/>
                    <a:pt x="85" y="231"/>
                    <a:pt x="85" y="231"/>
                  </a:cubicBezTo>
                  <a:cubicBezTo>
                    <a:pt x="85" y="231"/>
                    <a:pt x="85" y="231"/>
                    <a:pt x="85" y="231"/>
                  </a:cubicBezTo>
                  <a:cubicBezTo>
                    <a:pt x="85" y="231"/>
                    <a:pt x="85" y="231"/>
                    <a:pt x="85" y="231"/>
                  </a:cubicBezTo>
                  <a:cubicBezTo>
                    <a:pt x="85" y="232"/>
                    <a:pt x="85" y="232"/>
                    <a:pt x="85" y="232"/>
                  </a:cubicBezTo>
                  <a:cubicBezTo>
                    <a:pt x="86" y="232"/>
                    <a:pt x="86" y="232"/>
                    <a:pt x="86" y="232"/>
                  </a:cubicBezTo>
                  <a:cubicBezTo>
                    <a:pt x="86" y="232"/>
                    <a:pt x="86" y="232"/>
                    <a:pt x="86" y="232"/>
                  </a:cubicBezTo>
                  <a:cubicBezTo>
                    <a:pt x="86" y="232"/>
                    <a:pt x="86" y="232"/>
                    <a:pt x="86" y="232"/>
                  </a:cubicBezTo>
                  <a:cubicBezTo>
                    <a:pt x="86" y="232"/>
                    <a:pt x="86" y="232"/>
                    <a:pt x="86" y="232"/>
                  </a:cubicBezTo>
                  <a:cubicBezTo>
                    <a:pt x="86" y="232"/>
                    <a:pt x="86" y="232"/>
                    <a:pt x="86" y="232"/>
                  </a:cubicBezTo>
                  <a:cubicBezTo>
                    <a:pt x="87" y="233"/>
                    <a:pt x="87" y="233"/>
                    <a:pt x="87" y="233"/>
                  </a:cubicBezTo>
                  <a:cubicBezTo>
                    <a:pt x="87" y="233"/>
                    <a:pt x="87" y="233"/>
                    <a:pt x="87" y="233"/>
                  </a:cubicBezTo>
                  <a:cubicBezTo>
                    <a:pt x="87" y="233"/>
                    <a:pt x="87" y="233"/>
                    <a:pt x="87" y="233"/>
                  </a:cubicBezTo>
                  <a:cubicBezTo>
                    <a:pt x="88" y="233"/>
                    <a:pt x="88" y="233"/>
                    <a:pt x="88" y="233"/>
                  </a:cubicBezTo>
                  <a:cubicBezTo>
                    <a:pt x="89" y="232"/>
                    <a:pt x="89" y="232"/>
                    <a:pt x="89" y="232"/>
                  </a:cubicBezTo>
                  <a:cubicBezTo>
                    <a:pt x="89" y="232"/>
                    <a:pt x="89" y="232"/>
                    <a:pt x="89" y="232"/>
                  </a:cubicBezTo>
                  <a:cubicBezTo>
                    <a:pt x="89" y="232"/>
                    <a:pt x="89" y="232"/>
                    <a:pt x="89" y="232"/>
                  </a:cubicBezTo>
                  <a:cubicBezTo>
                    <a:pt x="89" y="232"/>
                    <a:pt x="89" y="232"/>
                    <a:pt x="89" y="232"/>
                  </a:cubicBezTo>
                  <a:cubicBezTo>
                    <a:pt x="89" y="231"/>
                    <a:pt x="89" y="231"/>
                    <a:pt x="89" y="231"/>
                  </a:cubicBezTo>
                  <a:cubicBezTo>
                    <a:pt x="89" y="231"/>
                    <a:pt x="89" y="231"/>
                    <a:pt x="89" y="231"/>
                  </a:cubicBezTo>
                  <a:cubicBezTo>
                    <a:pt x="90" y="230"/>
                    <a:pt x="90" y="230"/>
                    <a:pt x="90" y="230"/>
                  </a:cubicBezTo>
                  <a:cubicBezTo>
                    <a:pt x="90" y="229"/>
                    <a:pt x="90" y="229"/>
                    <a:pt x="90" y="229"/>
                  </a:cubicBezTo>
                  <a:cubicBezTo>
                    <a:pt x="90" y="229"/>
                    <a:pt x="90" y="229"/>
                    <a:pt x="90" y="229"/>
                  </a:cubicBezTo>
                  <a:cubicBezTo>
                    <a:pt x="90" y="230"/>
                    <a:pt x="90" y="230"/>
                    <a:pt x="90" y="230"/>
                  </a:cubicBezTo>
                  <a:cubicBezTo>
                    <a:pt x="90" y="231"/>
                    <a:pt x="90" y="231"/>
                    <a:pt x="90" y="231"/>
                  </a:cubicBezTo>
                  <a:cubicBezTo>
                    <a:pt x="90" y="232"/>
                    <a:pt x="90" y="232"/>
                    <a:pt x="90" y="232"/>
                  </a:cubicBezTo>
                  <a:cubicBezTo>
                    <a:pt x="90" y="232"/>
                    <a:pt x="90" y="232"/>
                    <a:pt x="90" y="232"/>
                  </a:cubicBezTo>
                  <a:cubicBezTo>
                    <a:pt x="91" y="232"/>
                    <a:pt x="91" y="232"/>
                    <a:pt x="91" y="232"/>
                  </a:cubicBezTo>
                  <a:cubicBezTo>
                    <a:pt x="93" y="233"/>
                    <a:pt x="93" y="233"/>
                    <a:pt x="93" y="233"/>
                  </a:cubicBezTo>
                  <a:cubicBezTo>
                    <a:pt x="93" y="233"/>
                    <a:pt x="93" y="233"/>
                    <a:pt x="93" y="233"/>
                  </a:cubicBezTo>
                  <a:cubicBezTo>
                    <a:pt x="94" y="233"/>
                    <a:pt x="94" y="233"/>
                    <a:pt x="94" y="233"/>
                  </a:cubicBezTo>
                  <a:cubicBezTo>
                    <a:pt x="94" y="233"/>
                    <a:pt x="94" y="233"/>
                    <a:pt x="94" y="233"/>
                  </a:cubicBezTo>
                  <a:cubicBezTo>
                    <a:pt x="94" y="233"/>
                    <a:pt x="94" y="233"/>
                    <a:pt x="94" y="233"/>
                  </a:cubicBezTo>
                  <a:cubicBezTo>
                    <a:pt x="94" y="233"/>
                    <a:pt x="94" y="233"/>
                    <a:pt x="94" y="233"/>
                  </a:cubicBezTo>
                  <a:cubicBezTo>
                    <a:pt x="93" y="234"/>
                    <a:pt x="93" y="234"/>
                    <a:pt x="93" y="234"/>
                  </a:cubicBezTo>
                  <a:cubicBezTo>
                    <a:pt x="93" y="234"/>
                    <a:pt x="93" y="234"/>
                    <a:pt x="93" y="234"/>
                  </a:cubicBezTo>
                  <a:cubicBezTo>
                    <a:pt x="92" y="233"/>
                    <a:pt x="92" y="233"/>
                    <a:pt x="92" y="233"/>
                  </a:cubicBezTo>
                  <a:cubicBezTo>
                    <a:pt x="91" y="233"/>
                    <a:pt x="91" y="233"/>
                    <a:pt x="91" y="233"/>
                  </a:cubicBezTo>
                  <a:cubicBezTo>
                    <a:pt x="90" y="233"/>
                    <a:pt x="90" y="233"/>
                    <a:pt x="90" y="233"/>
                  </a:cubicBezTo>
                  <a:cubicBezTo>
                    <a:pt x="90" y="233"/>
                    <a:pt x="90" y="233"/>
                    <a:pt x="90" y="233"/>
                  </a:cubicBezTo>
                  <a:cubicBezTo>
                    <a:pt x="90" y="233"/>
                    <a:pt x="90" y="233"/>
                    <a:pt x="90" y="233"/>
                  </a:cubicBezTo>
                  <a:cubicBezTo>
                    <a:pt x="90" y="232"/>
                    <a:pt x="90" y="232"/>
                    <a:pt x="90" y="232"/>
                  </a:cubicBezTo>
                  <a:cubicBezTo>
                    <a:pt x="89" y="233"/>
                    <a:pt x="89" y="233"/>
                    <a:pt x="89" y="233"/>
                  </a:cubicBezTo>
                  <a:cubicBezTo>
                    <a:pt x="89" y="233"/>
                    <a:pt x="89" y="233"/>
                    <a:pt x="89" y="233"/>
                  </a:cubicBezTo>
                  <a:cubicBezTo>
                    <a:pt x="89" y="233"/>
                    <a:pt x="89" y="233"/>
                    <a:pt x="89" y="233"/>
                  </a:cubicBezTo>
                  <a:cubicBezTo>
                    <a:pt x="88" y="234"/>
                    <a:pt x="88" y="234"/>
                    <a:pt x="88" y="234"/>
                  </a:cubicBezTo>
                  <a:cubicBezTo>
                    <a:pt x="88" y="234"/>
                    <a:pt x="88" y="234"/>
                    <a:pt x="88" y="234"/>
                  </a:cubicBezTo>
                  <a:cubicBezTo>
                    <a:pt x="89" y="234"/>
                    <a:pt x="89" y="234"/>
                    <a:pt x="89" y="234"/>
                  </a:cubicBezTo>
                  <a:cubicBezTo>
                    <a:pt x="89" y="234"/>
                    <a:pt x="89" y="234"/>
                    <a:pt x="89" y="234"/>
                  </a:cubicBezTo>
                  <a:cubicBezTo>
                    <a:pt x="89" y="234"/>
                    <a:pt x="89" y="234"/>
                    <a:pt x="89" y="234"/>
                  </a:cubicBezTo>
                  <a:cubicBezTo>
                    <a:pt x="89" y="235"/>
                    <a:pt x="89" y="235"/>
                    <a:pt x="89" y="235"/>
                  </a:cubicBezTo>
                  <a:cubicBezTo>
                    <a:pt x="90" y="235"/>
                    <a:pt x="90" y="235"/>
                    <a:pt x="90" y="235"/>
                  </a:cubicBezTo>
                  <a:cubicBezTo>
                    <a:pt x="91" y="234"/>
                    <a:pt x="91" y="234"/>
                    <a:pt x="91" y="234"/>
                  </a:cubicBezTo>
                  <a:cubicBezTo>
                    <a:pt x="91" y="234"/>
                    <a:pt x="91" y="234"/>
                    <a:pt x="91" y="234"/>
                  </a:cubicBezTo>
                  <a:cubicBezTo>
                    <a:pt x="92" y="234"/>
                    <a:pt x="92" y="234"/>
                    <a:pt x="92" y="234"/>
                  </a:cubicBezTo>
                  <a:cubicBezTo>
                    <a:pt x="92" y="234"/>
                    <a:pt x="92" y="234"/>
                    <a:pt x="92" y="234"/>
                  </a:cubicBezTo>
                  <a:cubicBezTo>
                    <a:pt x="92" y="234"/>
                    <a:pt x="92" y="234"/>
                    <a:pt x="92" y="234"/>
                  </a:cubicBezTo>
                  <a:cubicBezTo>
                    <a:pt x="92" y="234"/>
                    <a:pt x="92" y="234"/>
                    <a:pt x="92" y="234"/>
                  </a:cubicBezTo>
                  <a:cubicBezTo>
                    <a:pt x="93" y="234"/>
                    <a:pt x="93" y="234"/>
                    <a:pt x="93" y="234"/>
                  </a:cubicBezTo>
                  <a:cubicBezTo>
                    <a:pt x="93" y="235"/>
                    <a:pt x="93" y="235"/>
                    <a:pt x="93" y="235"/>
                  </a:cubicBezTo>
                  <a:cubicBezTo>
                    <a:pt x="93" y="235"/>
                    <a:pt x="93" y="235"/>
                    <a:pt x="93" y="235"/>
                  </a:cubicBezTo>
                  <a:cubicBezTo>
                    <a:pt x="93" y="235"/>
                    <a:pt x="93" y="235"/>
                    <a:pt x="93" y="235"/>
                  </a:cubicBezTo>
                  <a:cubicBezTo>
                    <a:pt x="93" y="235"/>
                    <a:pt x="93" y="235"/>
                    <a:pt x="93" y="235"/>
                  </a:cubicBezTo>
                  <a:cubicBezTo>
                    <a:pt x="93" y="235"/>
                    <a:pt x="93" y="235"/>
                    <a:pt x="93" y="235"/>
                  </a:cubicBezTo>
                  <a:cubicBezTo>
                    <a:pt x="93" y="235"/>
                    <a:pt x="93" y="235"/>
                    <a:pt x="93" y="235"/>
                  </a:cubicBezTo>
                  <a:cubicBezTo>
                    <a:pt x="93" y="235"/>
                    <a:pt x="93" y="235"/>
                    <a:pt x="93" y="235"/>
                  </a:cubicBezTo>
                  <a:cubicBezTo>
                    <a:pt x="93" y="235"/>
                    <a:pt x="93" y="235"/>
                    <a:pt x="93" y="235"/>
                  </a:cubicBezTo>
                  <a:cubicBezTo>
                    <a:pt x="93" y="235"/>
                    <a:pt x="93" y="235"/>
                    <a:pt x="93" y="235"/>
                  </a:cubicBezTo>
                  <a:cubicBezTo>
                    <a:pt x="93" y="236"/>
                    <a:pt x="93" y="236"/>
                    <a:pt x="93" y="236"/>
                  </a:cubicBezTo>
                  <a:cubicBezTo>
                    <a:pt x="93" y="236"/>
                    <a:pt x="93" y="236"/>
                    <a:pt x="93" y="236"/>
                  </a:cubicBezTo>
                  <a:cubicBezTo>
                    <a:pt x="93" y="236"/>
                    <a:pt x="93" y="236"/>
                    <a:pt x="93" y="236"/>
                  </a:cubicBezTo>
                  <a:cubicBezTo>
                    <a:pt x="93" y="237"/>
                    <a:pt x="93" y="237"/>
                    <a:pt x="93" y="237"/>
                  </a:cubicBezTo>
                  <a:cubicBezTo>
                    <a:pt x="94" y="237"/>
                    <a:pt x="94" y="237"/>
                    <a:pt x="94" y="237"/>
                  </a:cubicBezTo>
                  <a:cubicBezTo>
                    <a:pt x="94" y="236"/>
                    <a:pt x="94" y="236"/>
                    <a:pt x="94" y="236"/>
                  </a:cubicBezTo>
                  <a:cubicBezTo>
                    <a:pt x="94" y="236"/>
                    <a:pt x="94" y="236"/>
                    <a:pt x="94" y="236"/>
                  </a:cubicBezTo>
                  <a:cubicBezTo>
                    <a:pt x="95" y="236"/>
                    <a:pt x="95" y="236"/>
                    <a:pt x="95" y="236"/>
                  </a:cubicBezTo>
                  <a:cubicBezTo>
                    <a:pt x="95" y="237"/>
                    <a:pt x="95" y="237"/>
                    <a:pt x="95" y="237"/>
                  </a:cubicBezTo>
                  <a:cubicBezTo>
                    <a:pt x="95" y="237"/>
                    <a:pt x="95" y="237"/>
                    <a:pt x="95" y="237"/>
                  </a:cubicBezTo>
                  <a:cubicBezTo>
                    <a:pt x="93" y="237"/>
                    <a:pt x="93" y="237"/>
                    <a:pt x="93" y="237"/>
                  </a:cubicBezTo>
                  <a:cubicBezTo>
                    <a:pt x="93" y="237"/>
                    <a:pt x="93" y="237"/>
                    <a:pt x="93" y="237"/>
                  </a:cubicBezTo>
                  <a:cubicBezTo>
                    <a:pt x="93" y="238"/>
                    <a:pt x="93" y="238"/>
                    <a:pt x="93" y="238"/>
                  </a:cubicBezTo>
                  <a:cubicBezTo>
                    <a:pt x="92" y="238"/>
                    <a:pt x="92" y="238"/>
                    <a:pt x="92" y="238"/>
                  </a:cubicBezTo>
                  <a:cubicBezTo>
                    <a:pt x="92" y="238"/>
                    <a:pt x="92" y="238"/>
                    <a:pt x="92" y="238"/>
                  </a:cubicBezTo>
                  <a:cubicBezTo>
                    <a:pt x="92" y="238"/>
                    <a:pt x="92" y="238"/>
                    <a:pt x="92" y="238"/>
                  </a:cubicBezTo>
                  <a:cubicBezTo>
                    <a:pt x="92" y="239"/>
                    <a:pt x="92" y="239"/>
                    <a:pt x="92" y="239"/>
                  </a:cubicBezTo>
                  <a:cubicBezTo>
                    <a:pt x="94" y="239"/>
                    <a:pt x="94" y="239"/>
                    <a:pt x="94" y="239"/>
                  </a:cubicBezTo>
                  <a:cubicBezTo>
                    <a:pt x="94" y="239"/>
                    <a:pt x="94" y="239"/>
                    <a:pt x="94" y="239"/>
                  </a:cubicBezTo>
                  <a:cubicBezTo>
                    <a:pt x="95" y="238"/>
                    <a:pt x="95" y="238"/>
                    <a:pt x="95" y="238"/>
                  </a:cubicBezTo>
                  <a:cubicBezTo>
                    <a:pt x="95" y="238"/>
                    <a:pt x="95" y="238"/>
                    <a:pt x="95" y="238"/>
                  </a:cubicBezTo>
                  <a:cubicBezTo>
                    <a:pt x="95" y="238"/>
                    <a:pt x="95" y="238"/>
                    <a:pt x="95" y="238"/>
                  </a:cubicBezTo>
                  <a:cubicBezTo>
                    <a:pt x="95" y="238"/>
                    <a:pt x="95" y="238"/>
                    <a:pt x="95" y="238"/>
                  </a:cubicBezTo>
                  <a:cubicBezTo>
                    <a:pt x="95" y="239"/>
                    <a:pt x="95" y="239"/>
                    <a:pt x="95" y="239"/>
                  </a:cubicBezTo>
                  <a:cubicBezTo>
                    <a:pt x="95" y="239"/>
                    <a:pt x="95" y="239"/>
                    <a:pt x="95" y="239"/>
                  </a:cubicBezTo>
                  <a:cubicBezTo>
                    <a:pt x="96" y="239"/>
                    <a:pt x="96" y="239"/>
                    <a:pt x="96" y="239"/>
                  </a:cubicBezTo>
                  <a:cubicBezTo>
                    <a:pt x="96" y="239"/>
                    <a:pt x="96" y="239"/>
                    <a:pt x="96" y="239"/>
                  </a:cubicBezTo>
                  <a:cubicBezTo>
                    <a:pt x="96" y="239"/>
                    <a:pt x="96" y="239"/>
                    <a:pt x="96" y="239"/>
                  </a:cubicBezTo>
                  <a:cubicBezTo>
                    <a:pt x="96" y="239"/>
                    <a:pt x="96" y="239"/>
                    <a:pt x="96" y="239"/>
                  </a:cubicBezTo>
                  <a:cubicBezTo>
                    <a:pt x="96" y="239"/>
                    <a:pt x="96" y="239"/>
                    <a:pt x="96" y="239"/>
                  </a:cubicBezTo>
                  <a:cubicBezTo>
                    <a:pt x="98" y="239"/>
                    <a:pt x="98" y="239"/>
                    <a:pt x="98" y="239"/>
                  </a:cubicBezTo>
                  <a:cubicBezTo>
                    <a:pt x="98" y="239"/>
                    <a:pt x="98" y="239"/>
                    <a:pt x="98" y="239"/>
                  </a:cubicBezTo>
                  <a:cubicBezTo>
                    <a:pt x="98" y="239"/>
                    <a:pt x="98" y="239"/>
                    <a:pt x="98" y="239"/>
                  </a:cubicBezTo>
                  <a:cubicBezTo>
                    <a:pt x="99" y="238"/>
                    <a:pt x="99" y="238"/>
                    <a:pt x="99" y="238"/>
                  </a:cubicBezTo>
                  <a:cubicBezTo>
                    <a:pt x="99" y="238"/>
                    <a:pt x="99" y="238"/>
                    <a:pt x="99" y="238"/>
                  </a:cubicBezTo>
                  <a:cubicBezTo>
                    <a:pt x="99" y="238"/>
                    <a:pt x="99" y="238"/>
                    <a:pt x="99" y="238"/>
                  </a:cubicBezTo>
                  <a:cubicBezTo>
                    <a:pt x="100" y="238"/>
                    <a:pt x="100" y="238"/>
                    <a:pt x="100" y="238"/>
                  </a:cubicBezTo>
                  <a:cubicBezTo>
                    <a:pt x="100" y="238"/>
                    <a:pt x="100" y="238"/>
                    <a:pt x="100" y="238"/>
                  </a:cubicBezTo>
                  <a:cubicBezTo>
                    <a:pt x="100" y="238"/>
                    <a:pt x="100" y="238"/>
                    <a:pt x="100" y="238"/>
                  </a:cubicBezTo>
                  <a:cubicBezTo>
                    <a:pt x="100" y="237"/>
                    <a:pt x="100" y="237"/>
                    <a:pt x="100" y="237"/>
                  </a:cubicBezTo>
                  <a:cubicBezTo>
                    <a:pt x="100" y="237"/>
                    <a:pt x="100" y="237"/>
                    <a:pt x="100" y="237"/>
                  </a:cubicBezTo>
                  <a:cubicBezTo>
                    <a:pt x="99" y="237"/>
                    <a:pt x="99" y="237"/>
                    <a:pt x="99" y="237"/>
                  </a:cubicBezTo>
                  <a:cubicBezTo>
                    <a:pt x="100" y="237"/>
                    <a:pt x="100" y="237"/>
                    <a:pt x="100" y="237"/>
                  </a:cubicBezTo>
                  <a:cubicBezTo>
                    <a:pt x="100" y="236"/>
                    <a:pt x="100" y="236"/>
                    <a:pt x="100" y="236"/>
                  </a:cubicBezTo>
                  <a:cubicBezTo>
                    <a:pt x="100" y="236"/>
                    <a:pt x="100" y="236"/>
                    <a:pt x="100" y="236"/>
                  </a:cubicBezTo>
                  <a:cubicBezTo>
                    <a:pt x="100" y="236"/>
                    <a:pt x="100" y="236"/>
                    <a:pt x="100" y="236"/>
                  </a:cubicBezTo>
                  <a:cubicBezTo>
                    <a:pt x="100" y="236"/>
                    <a:pt x="100" y="236"/>
                    <a:pt x="100" y="236"/>
                  </a:cubicBezTo>
                  <a:cubicBezTo>
                    <a:pt x="100" y="236"/>
                    <a:pt x="100" y="236"/>
                    <a:pt x="100" y="236"/>
                  </a:cubicBezTo>
                  <a:cubicBezTo>
                    <a:pt x="101" y="236"/>
                    <a:pt x="101" y="236"/>
                    <a:pt x="101" y="236"/>
                  </a:cubicBezTo>
                  <a:cubicBezTo>
                    <a:pt x="101" y="236"/>
                    <a:pt x="101" y="236"/>
                    <a:pt x="101" y="236"/>
                  </a:cubicBezTo>
                  <a:cubicBezTo>
                    <a:pt x="101" y="236"/>
                    <a:pt x="101" y="236"/>
                    <a:pt x="101" y="236"/>
                  </a:cubicBezTo>
                  <a:cubicBezTo>
                    <a:pt x="102" y="235"/>
                    <a:pt x="102" y="235"/>
                    <a:pt x="102" y="235"/>
                  </a:cubicBezTo>
                  <a:cubicBezTo>
                    <a:pt x="102" y="235"/>
                    <a:pt x="102" y="235"/>
                    <a:pt x="102" y="235"/>
                  </a:cubicBezTo>
                  <a:cubicBezTo>
                    <a:pt x="102" y="235"/>
                    <a:pt x="102" y="235"/>
                    <a:pt x="102" y="235"/>
                  </a:cubicBezTo>
                  <a:cubicBezTo>
                    <a:pt x="102" y="235"/>
                    <a:pt x="102" y="235"/>
                    <a:pt x="102" y="235"/>
                  </a:cubicBezTo>
                  <a:cubicBezTo>
                    <a:pt x="101" y="234"/>
                    <a:pt x="101" y="234"/>
                    <a:pt x="101" y="234"/>
                  </a:cubicBezTo>
                  <a:cubicBezTo>
                    <a:pt x="101" y="233"/>
                    <a:pt x="101" y="233"/>
                    <a:pt x="101" y="233"/>
                  </a:cubicBezTo>
                  <a:cubicBezTo>
                    <a:pt x="101" y="232"/>
                    <a:pt x="101" y="232"/>
                    <a:pt x="101" y="232"/>
                  </a:cubicBezTo>
                  <a:cubicBezTo>
                    <a:pt x="101" y="232"/>
                    <a:pt x="101" y="232"/>
                    <a:pt x="101" y="232"/>
                  </a:cubicBezTo>
                  <a:cubicBezTo>
                    <a:pt x="101" y="231"/>
                    <a:pt x="101" y="231"/>
                    <a:pt x="101" y="231"/>
                  </a:cubicBezTo>
                  <a:cubicBezTo>
                    <a:pt x="102" y="232"/>
                    <a:pt x="102" y="232"/>
                    <a:pt x="102" y="232"/>
                  </a:cubicBezTo>
                  <a:cubicBezTo>
                    <a:pt x="102" y="233"/>
                    <a:pt x="102" y="233"/>
                    <a:pt x="102" y="233"/>
                  </a:cubicBezTo>
                  <a:cubicBezTo>
                    <a:pt x="102" y="234"/>
                    <a:pt x="102" y="234"/>
                    <a:pt x="102" y="234"/>
                  </a:cubicBezTo>
                  <a:cubicBezTo>
                    <a:pt x="102" y="234"/>
                    <a:pt x="102" y="234"/>
                    <a:pt x="102" y="234"/>
                  </a:cubicBezTo>
                  <a:cubicBezTo>
                    <a:pt x="102" y="235"/>
                    <a:pt x="102" y="235"/>
                    <a:pt x="102" y="235"/>
                  </a:cubicBezTo>
                  <a:cubicBezTo>
                    <a:pt x="102" y="235"/>
                    <a:pt x="102" y="235"/>
                    <a:pt x="102" y="235"/>
                  </a:cubicBezTo>
                  <a:cubicBezTo>
                    <a:pt x="102" y="235"/>
                    <a:pt x="102" y="235"/>
                    <a:pt x="102" y="235"/>
                  </a:cubicBezTo>
                  <a:cubicBezTo>
                    <a:pt x="102" y="235"/>
                    <a:pt x="102" y="235"/>
                    <a:pt x="102" y="235"/>
                  </a:cubicBezTo>
                  <a:cubicBezTo>
                    <a:pt x="102" y="235"/>
                    <a:pt x="102" y="235"/>
                    <a:pt x="102" y="235"/>
                  </a:cubicBezTo>
                  <a:cubicBezTo>
                    <a:pt x="102" y="235"/>
                    <a:pt x="102" y="235"/>
                    <a:pt x="102" y="235"/>
                  </a:cubicBezTo>
                  <a:cubicBezTo>
                    <a:pt x="102" y="236"/>
                    <a:pt x="102" y="236"/>
                    <a:pt x="102" y="236"/>
                  </a:cubicBezTo>
                  <a:cubicBezTo>
                    <a:pt x="102" y="236"/>
                    <a:pt x="102" y="236"/>
                    <a:pt x="102" y="236"/>
                  </a:cubicBezTo>
                  <a:cubicBezTo>
                    <a:pt x="102" y="236"/>
                    <a:pt x="102" y="236"/>
                    <a:pt x="102" y="236"/>
                  </a:cubicBezTo>
                  <a:cubicBezTo>
                    <a:pt x="101" y="236"/>
                    <a:pt x="101" y="236"/>
                    <a:pt x="101" y="236"/>
                  </a:cubicBezTo>
                  <a:cubicBezTo>
                    <a:pt x="101" y="237"/>
                    <a:pt x="101" y="237"/>
                    <a:pt x="101" y="237"/>
                  </a:cubicBezTo>
                  <a:cubicBezTo>
                    <a:pt x="100" y="236"/>
                    <a:pt x="100" y="236"/>
                    <a:pt x="100" y="236"/>
                  </a:cubicBezTo>
                  <a:cubicBezTo>
                    <a:pt x="100" y="236"/>
                    <a:pt x="100" y="236"/>
                    <a:pt x="100" y="236"/>
                  </a:cubicBezTo>
                  <a:cubicBezTo>
                    <a:pt x="100" y="237"/>
                    <a:pt x="100" y="237"/>
                    <a:pt x="100" y="237"/>
                  </a:cubicBezTo>
                  <a:cubicBezTo>
                    <a:pt x="100" y="237"/>
                    <a:pt x="100" y="237"/>
                    <a:pt x="100" y="237"/>
                  </a:cubicBezTo>
                  <a:cubicBezTo>
                    <a:pt x="100" y="238"/>
                    <a:pt x="100" y="238"/>
                    <a:pt x="100" y="238"/>
                  </a:cubicBezTo>
                  <a:cubicBezTo>
                    <a:pt x="100" y="238"/>
                    <a:pt x="100" y="238"/>
                    <a:pt x="100" y="238"/>
                  </a:cubicBezTo>
                  <a:cubicBezTo>
                    <a:pt x="100" y="239"/>
                    <a:pt x="100" y="239"/>
                    <a:pt x="100" y="239"/>
                  </a:cubicBezTo>
                  <a:cubicBezTo>
                    <a:pt x="100" y="239"/>
                    <a:pt x="100" y="239"/>
                    <a:pt x="100" y="239"/>
                  </a:cubicBezTo>
                  <a:cubicBezTo>
                    <a:pt x="99" y="239"/>
                    <a:pt x="99" y="239"/>
                    <a:pt x="99" y="239"/>
                  </a:cubicBezTo>
                  <a:cubicBezTo>
                    <a:pt x="99" y="239"/>
                    <a:pt x="99" y="239"/>
                    <a:pt x="99" y="239"/>
                  </a:cubicBezTo>
                  <a:cubicBezTo>
                    <a:pt x="99" y="239"/>
                    <a:pt x="99" y="239"/>
                    <a:pt x="99" y="239"/>
                  </a:cubicBezTo>
                  <a:cubicBezTo>
                    <a:pt x="99" y="239"/>
                    <a:pt x="99" y="239"/>
                    <a:pt x="99" y="239"/>
                  </a:cubicBezTo>
                  <a:cubicBezTo>
                    <a:pt x="99" y="240"/>
                    <a:pt x="99" y="240"/>
                    <a:pt x="99" y="240"/>
                  </a:cubicBezTo>
                  <a:cubicBezTo>
                    <a:pt x="99" y="240"/>
                    <a:pt x="99" y="240"/>
                    <a:pt x="99" y="240"/>
                  </a:cubicBezTo>
                  <a:cubicBezTo>
                    <a:pt x="98" y="240"/>
                    <a:pt x="98" y="240"/>
                    <a:pt x="98" y="240"/>
                  </a:cubicBezTo>
                  <a:cubicBezTo>
                    <a:pt x="98" y="240"/>
                    <a:pt x="98" y="240"/>
                    <a:pt x="98" y="240"/>
                  </a:cubicBezTo>
                  <a:cubicBezTo>
                    <a:pt x="98" y="240"/>
                    <a:pt x="98" y="240"/>
                    <a:pt x="98" y="240"/>
                  </a:cubicBezTo>
                  <a:cubicBezTo>
                    <a:pt x="98" y="240"/>
                    <a:pt x="98" y="240"/>
                    <a:pt x="98" y="240"/>
                  </a:cubicBezTo>
                  <a:cubicBezTo>
                    <a:pt x="97" y="240"/>
                    <a:pt x="97" y="240"/>
                    <a:pt x="97" y="240"/>
                  </a:cubicBezTo>
                  <a:cubicBezTo>
                    <a:pt x="96" y="240"/>
                    <a:pt x="96" y="240"/>
                    <a:pt x="96" y="240"/>
                  </a:cubicBezTo>
                  <a:cubicBezTo>
                    <a:pt x="95" y="240"/>
                    <a:pt x="95" y="240"/>
                    <a:pt x="95" y="240"/>
                  </a:cubicBezTo>
                  <a:cubicBezTo>
                    <a:pt x="94" y="239"/>
                    <a:pt x="94" y="239"/>
                    <a:pt x="94" y="239"/>
                  </a:cubicBezTo>
                  <a:cubicBezTo>
                    <a:pt x="94" y="239"/>
                    <a:pt x="94" y="239"/>
                    <a:pt x="94" y="239"/>
                  </a:cubicBezTo>
                  <a:cubicBezTo>
                    <a:pt x="93" y="239"/>
                    <a:pt x="93" y="239"/>
                    <a:pt x="93" y="239"/>
                  </a:cubicBezTo>
                  <a:cubicBezTo>
                    <a:pt x="92" y="239"/>
                    <a:pt x="92" y="239"/>
                    <a:pt x="92" y="239"/>
                  </a:cubicBezTo>
                  <a:cubicBezTo>
                    <a:pt x="91" y="239"/>
                    <a:pt x="91" y="239"/>
                    <a:pt x="91" y="239"/>
                  </a:cubicBezTo>
                  <a:cubicBezTo>
                    <a:pt x="91" y="239"/>
                    <a:pt x="91" y="239"/>
                    <a:pt x="91" y="239"/>
                  </a:cubicBezTo>
                  <a:cubicBezTo>
                    <a:pt x="91" y="239"/>
                    <a:pt x="91" y="239"/>
                    <a:pt x="91" y="239"/>
                  </a:cubicBezTo>
                  <a:cubicBezTo>
                    <a:pt x="91" y="239"/>
                    <a:pt x="91" y="239"/>
                    <a:pt x="91" y="239"/>
                  </a:cubicBezTo>
                  <a:cubicBezTo>
                    <a:pt x="91" y="239"/>
                    <a:pt x="91" y="239"/>
                    <a:pt x="91" y="239"/>
                  </a:cubicBezTo>
                  <a:cubicBezTo>
                    <a:pt x="91" y="240"/>
                    <a:pt x="91" y="240"/>
                    <a:pt x="91" y="240"/>
                  </a:cubicBezTo>
                  <a:cubicBezTo>
                    <a:pt x="91" y="240"/>
                    <a:pt x="91" y="240"/>
                    <a:pt x="91" y="240"/>
                  </a:cubicBezTo>
                  <a:cubicBezTo>
                    <a:pt x="92" y="240"/>
                    <a:pt x="92" y="240"/>
                    <a:pt x="92" y="240"/>
                  </a:cubicBezTo>
                  <a:cubicBezTo>
                    <a:pt x="93" y="240"/>
                    <a:pt x="93" y="240"/>
                    <a:pt x="93" y="240"/>
                  </a:cubicBezTo>
                  <a:cubicBezTo>
                    <a:pt x="94" y="240"/>
                    <a:pt x="94" y="240"/>
                    <a:pt x="94" y="240"/>
                  </a:cubicBezTo>
                  <a:cubicBezTo>
                    <a:pt x="94" y="240"/>
                    <a:pt x="94" y="240"/>
                    <a:pt x="94" y="240"/>
                  </a:cubicBezTo>
                  <a:cubicBezTo>
                    <a:pt x="95" y="240"/>
                    <a:pt x="95" y="240"/>
                    <a:pt x="95" y="240"/>
                  </a:cubicBezTo>
                  <a:cubicBezTo>
                    <a:pt x="95" y="240"/>
                    <a:pt x="95" y="240"/>
                    <a:pt x="95" y="240"/>
                  </a:cubicBezTo>
                  <a:cubicBezTo>
                    <a:pt x="95" y="240"/>
                    <a:pt x="95" y="240"/>
                    <a:pt x="95" y="240"/>
                  </a:cubicBezTo>
                  <a:cubicBezTo>
                    <a:pt x="95" y="240"/>
                    <a:pt x="95" y="240"/>
                    <a:pt x="95" y="240"/>
                  </a:cubicBezTo>
                  <a:cubicBezTo>
                    <a:pt x="95" y="240"/>
                    <a:pt x="95" y="240"/>
                    <a:pt x="95" y="240"/>
                  </a:cubicBezTo>
                  <a:cubicBezTo>
                    <a:pt x="94" y="240"/>
                    <a:pt x="94" y="240"/>
                    <a:pt x="94" y="240"/>
                  </a:cubicBezTo>
                  <a:cubicBezTo>
                    <a:pt x="93" y="240"/>
                    <a:pt x="93" y="240"/>
                    <a:pt x="93" y="240"/>
                  </a:cubicBezTo>
                  <a:cubicBezTo>
                    <a:pt x="93" y="240"/>
                    <a:pt x="93" y="240"/>
                    <a:pt x="93" y="240"/>
                  </a:cubicBezTo>
                  <a:cubicBezTo>
                    <a:pt x="93" y="240"/>
                    <a:pt x="93" y="240"/>
                    <a:pt x="93" y="240"/>
                  </a:cubicBezTo>
                  <a:cubicBezTo>
                    <a:pt x="93" y="240"/>
                    <a:pt x="93" y="240"/>
                    <a:pt x="93" y="240"/>
                  </a:cubicBezTo>
                  <a:cubicBezTo>
                    <a:pt x="93" y="240"/>
                    <a:pt x="93" y="240"/>
                    <a:pt x="93" y="240"/>
                  </a:cubicBezTo>
                  <a:cubicBezTo>
                    <a:pt x="93" y="240"/>
                    <a:pt x="93" y="240"/>
                    <a:pt x="93" y="240"/>
                  </a:cubicBezTo>
                  <a:cubicBezTo>
                    <a:pt x="92" y="240"/>
                    <a:pt x="92" y="240"/>
                    <a:pt x="92" y="240"/>
                  </a:cubicBezTo>
                  <a:cubicBezTo>
                    <a:pt x="92" y="240"/>
                    <a:pt x="92" y="240"/>
                    <a:pt x="92" y="240"/>
                  </a:cubicBezTo>
                  <a:cubicBezTo>
                    <a:pt x="92" y="241"/>
                    <a:pt x="92" y="241"/>
                    <a:pt x="92" y="241"/>
                  </a:cubicBezTo>
                  <a:cubicBezTo>
                    <a:pt x="92" y="241"/>
                    <a:pt x="92" y="241"/>
                    <a:pt x="92" y="241"/>
                  </a:cubicBezTo>
                  <a:cubicBezTo>
                    <a:pt x="92" y="242"/>
                    <a:pt x="92" y="242"/>
                    <a:pt x="92" y="242"/>
                  </a:cubicBezTo>
                  <a:cubicBezTo>
                    <a:pt x="91" y="241"/>
                    <a:pt x="91" y="241"/>
                    <a:pt x="91" y="241"/>
                  </a:cubicBezTo>
                  <a:cubicBezTo>
                    <a:pt x="91" y="241"/>
                    <a:pt x="91" y="241"/>
                    <a:pt x="91" y="241"/>
                  </a:cubicBezTo>
                  <a:cubicBezTo>
                    <a:pt x="91" y="241"/>
                    <a:pt x="91" y="241"/>
                    <a:pt x="91" y="241"/>
                  </a:cubicBezTo>
                  <a:cubicBezTo>
                    <a:pt x="91" y="241"/>
                    <a:pt x="91" y="241"/>
                    <a:pt x="91" y="241"/>
                  </a:cubicBezTo>
                  <a:cubicBezTo>
                    <a:pt x="90" y="241"/>
                    <a:pt x="90" y="241"/>
                    <a:pt x="90" y="241"/>
                  </a:cubicBezTo>
                  <a:cubicBezTo>
                    <a:pt x="90" y="241"/>
                    <a:pt x="90" y="241"/>
                    <a:pt x="90" y="241"/>
                  </a:cubicBezTo>
                  <a:cubicBezTo>
                    <a:pt x="91" y="242"/>
                    <a:pt x="91" y="242"/>
                    <a:pt x="91" y="242"/>
                  </a:cubicBezTo>
                  <a:cubicBezTo>
                    <a:pt x="91" y="242"/>
                    <a:pt x="91" y="242"/>
                    <a:pt x="91" y="242"/>
                  </a:cubicBezTo>
                  <a:cubicBezTo>
                    <a:pt x="92" y="242"/>
                    <a:pt x="92" y="242"/>
                    <a:pt x="92" y="242"/>
                  </a:cubicBezTo>
                  <a:cubicBezTo>
                    <a:pt x="92" y="242"/>
                    <a:pt x="92" y="242"/>
                    <a:pt x="92" y="242"/>
                  </a:cubicBezTo>
                  <a:cubicBezTo>
                    <a:pt x="93" y="242"/>
                    <a:pt x="93" y="242"/>
                    <a:pt x="93" y="242"/>
                  </a:cubicBezTo>
                  <a:cubicBezTo>
                    <a:pt x="93" y="243"/>
                    <a:pt x="93" y="243"/>
                    <a:pt x="93" y="243"/>
                  </a:cubicBezTo>
                  <a:cubicBezTo>
                    <a:pt x="94" y="243"/>
                    <a:pt x="94" y="243"/>
                    <a:pt x="94" y="243"/>
                  </a:cubicBezTo>
                  <a:cubicBezTo>
                    <a:pt x="94" y="243"/>
                    <a:pt x="94" y="243"/>
                    <a:pt x="94" y="243"/>
                  </a:cubicBezTo>
                  <a:cubicBezTo>
                    <a:pt x="96" y="243"/>
                    <a:pt x="96" y="243"/>
                    <a:pt x="96" y="243"/>
                  </a:cubicBezTo>
                  <a:cubicBezTo>
                    <a:pt x="96" y="243"/>
                    <a:pt x="96" y="243"/>
                    <a:pt x="96" y="243"/>
                  </a:cubicBezTo>
                  <a:cubicBezTo>
                    <a:pt x="96" y="243"/>
                    <a:pt x="96" y="243"/>
                    <a:pt x="96" y="243"/>
                  </a:cubicBezTo>
                  <a:cubicBezTo>
                    <a:pt x="96" y="242"/>
                    <a:pt x="96" y="242"/>
                    <a:pt x="96" y="242"/>
                  </a:cubicBezTo>
                  <a:cubicBezTo>
                    <a:pt x="96" y="242"/>
                    <a:pt x="96" y="242"/>
                    <a:pt x="96" y="242"/>
                  </a:cubicBezTo>
                  <a:cubicBezTo>
                    <a:pt x="97" y="243"/>
                    <a:pt x="97" y="243"/>
                    <a:pt x="97" y="243"/>
                  </a:cubicBezTo>
                  <a:cubicBezTo>
                    <a:pt x="97" y="243"/>
                    <a:pt x="97" y="243"/>
                    <a:pt x="97" y="243"/>
                  </a:cubicBezTo>
                  <a:cubicBezTo>
                    <a:pt x="97" y="243"/>
                    <a:pt x="97" y="243"/>
                    <a:pt x="97" y="243"/>
                  </a:cubicBezTo>
                  <a:cubicBezTo>
                    <a:pt x="97" y="243"/>
                    <a:pt x="97" y="243"/>
                    <a:pt x="97" y="243"/>
                  </a:cubicBezTo>
                  <a:cubicBezTo>
                    <a:pt x="96" y="243"/>
                    <a:pt x="96" y="243"/>
                    <a:pt x="96" y="243"/>
                  </a:cubicBezTo>
                  <a:cubicBezTo>
                    <a:pt x="97" y="243"/>
                    <a:pt x="97" y="243"/>
                    <a:pt x="97" y="243"/>
                  </a:cubicBezTo>
                  <a:cubicBezTo>
                    <a:pt x="97" y="245"/>
                    <a:pt x="97" y="245"/>
                    <a:pt x="97" y="245"/>
                  </a:cubicBezTo>
                  <a:cubicBezTo>
                    <a:pt x="97" y="245"/>
                    <a:pt x="97" y="245"/>
                    <a:pt x="97" y="245"/>
                  </a:cubicBezTo>
                  <a:cubicBezTo>
                    <a:pt x="97" y="245"/>
                    <a:pt x="97" y="245"/>
                    <a:pt x="97" y="245"/>
                  </a:cubicBezTo>
                  <a:cubicBezTo>
                    <a:pt x="98" y="245"/>
                    <a:pt x="98" y="245"/>
                    <a:pt x="98" y="245"/>
                  </a:cubicBezTo>
                  <a:cubicBezTo>
                    <a:pt x="98" y="245"/>
                    <a:pt x="98" y="245"/>
                    <a:pt x="98" y="245"/>
                  </a:cubicBezTo>
                  <a:cubicBezTo>
                    <a:pt x="98" y="245"/>
                    <a:pt x="98" y="245"/>
                    <a:pt x="98" y="245"/>
                  </a:cubicBezTo>
                  <a:cubicBezTo>
                    <a:pt x="98" y="245"/>
                    <a:pt x="98" y="245"/>
                    <a:pt x="98" y="245"/>
                  </a:cubicBezTo>
                  <a:cubicBezTo>
                    <a:pt x="99" y="244"/>
                    <a:pt x="99" y="244"/>
                    <a:pt x="99" y="244"/>
                  </a:cubicBezTo>
                  <a:cubicBezTo>
                    <a:pt x="99" y="244"/>
                    <a:pt x="99" y="244"/>
                    <a:pt x="99" y="244"/>
                  </a:cubicBezTo>
                  <a:cubicBezTo>
                    <a:pt x="99" y="244"/>
                    <a:pt x="99" y="244"/>
                    <a:pt x="99" y="244"/>
                  </a:cubicBezTo>
                  <a:cubicBezTo>
                    <a:pt x="99" y="244"/>
                    <a:pt x="99" y="244"/>
                    <a:pt x="99" y="244"/>
                  </a:cubicBezTo>
                  <a:cubicBezTo>
                    <a:pt x="99" y="243"/>
                    <a:pt x="99" y="243"/>
                    <a:pt x="99" y="243"/>
                  </a:cubicBezTo>
                  <a:cubicBezTo>
                    <a:pt x="99" y="243"/>
                    <a:pt x="99" y="243"/>
                    <a:pt x="99" y="243"/>
                  </a:cubicBezTo>
                  <a:cubicBezTo>
                    <a:pt x="99" y="243"/>
                    <a:pt x="99" y="243"/>
                    <a:pt x="99" y="243"/>
                  </a:cubicBezTo>
                  <a:cubicBezTo>
                    <a:pt x="100" y="243"/>
                    <a:pt x="100" y="243"/>
                    <a:pt x="100" y="243"/>
                  </a:cubicBezTo>
                  <a:cubicBezTo>
                    <a:pt x="100" y="242"/>
                    <a:pt x="100" y="242"/>
                    <a:pt x="100" y="242"/>
                  </a:cubicBezTo>
                  <a:cubicBezTo>
                    <a:pt x="100" y="242"/>
                    <a:pt x="100" y="242"/>
                    <a:pt x="100" y="242"/>
                  </a:cubicBezTo>
                  <a:cubicBezTo>
                    <a:pt x="100" y="242"/>
                    <a:pt x="100" y="242"/>
                    <a:pt x="100" y="242"/>
                  </a:cubicBezTo>
                  <a:cubicBezTo>
                    <a:pt x="100" y="241"/>
                    <a:pt x="100" y="241"/>
                    <a:pt x="100" y="241"/>
                  </a:cubicBezTo>
                  <a:cubicBezTo>
                    <a:pt x="100" y="241"/>
                    <a:pt x="100" y="241"/>
                    <a:pt x="100" y="241"/>
                  </a:cubicBezTo>
                  <a:cubicBezTo>
                    <a:pt x="101" y="240"/>
                    <a:pt x="101" y="240"/>
                    <a:pt x="101" y="240"/>
                  </a:cubicBezTo>
                  <a:cubicBezTo>
                    <a:pt x="101" y="240"/>
                    <a:pt x="101" y="240"/>
                    <a:pt x="101" y="240"/>
                  </a:cubicBezTo>
                  <a:cubicBezTo>
                    <a:pt x="102" y="240"/>
                    <a:pt x="102" y="240"/>
                    <a:pt x="102" y="240"/>
                  </a:cubicBezTo>
                  <a:cubicBezTo>
                    <a:pt x="102" y="240"/>
                    <a:pt x="102" y="240"/>
                    <a:pt x="102" y="240"/>
                  </a:cubicBezTo>
                  <a:cubicBezTo>
                    <a:pt x="102" y="240"/>
                    <a:pt x="102" y="240"/>
                    <a:pt x="102" y="240"/>
                  </a:cubicBezTo>
                  <a:cubicBezTo>
                    <a:pt x="102" y="240"/>
                    <a:pt x="102" y="240"/>
                    <a:pt x="102" y="240"/>
                  </a:cubicBezTo>
                  <a:cubicBezTo>
                    <a:pt x="102" y="240"/>
                    <a:pt x="102" y="240"/>
                    <a:pt x="102" y="240"/>
                  </a:cubicBezTo>
                  <a:cubicBezTo>
                    <a:pt x="102" y="240"/>
                    <a:pt x="102" y="240"/>
                    <a:pt x="102" y="240"/>
                  </a:cubicBezTo>
                  <a:cubicBezTo>
                    <a:pt x="102" y="241"/>
                    <a:pt x="102" y="241"/>
                    <a:pt x="102" y="241"/>
                  </a:cubicBezTo>
                  <a:cubicBezTo>
                    <a:pt x="101" y="241"/>
                    <a:pt x="101" y="241"/>
                    <a:pt x="101" y="241"/>
                  </a:cubicBezTo>
                  <a:cubicBezTo>
                    <a:pt x="101" y="241"/>
                    <a:pt x="101" y="241"/>
                    <a:pt x="101" y="241"/>
                  </a:cubicBezTo>
                  <a:cubicBezTo>
                    <a:pt x="101" y="241"/>
                    <a:pt x="101" y="241"/>
                    <a:pt x="101" y="241"/>
                  </a:cubicBezTo>
                  <a:cubicBezTo>
                    <a:pt x="101" y="241"/>
                    <a:pt x="101" y="241"/>
                    <a:pt x="101" y="241"/>
                  </a:cubicBezTo>
                  <a:cubicBezTo>
                    <a:pt x="100" y="242"/>
                    <a:pt x="100" y="242"/>
                    <a:pt x="100" y="242"/>
                  </a:cubicBezTo>
                  <a:cubicBezTo>
                    <a:pt x="100" y="242"/>
                    <a:pt x="100" y="242"/>
                    <a:pt x="100" y="242"/>
                  </a:cubicBezTo>
                  <a:cubicBezTo>
                    <a:pt x="100" y="242"/>
                    <a:pt x="100" y="242"/>
                    <a:pt x="100" y="242"/>
                  </a:cubicBezTo>
                  <a:cubicBezTo>
                    <a:pt x="100" y="243"/>
                    <a:pt x="100" y="243"/>
                    <a:pt x="100" y="243"/>
                  </a:cubicBezTo>
                  <a:cubicBezTo>
                    <a:pt x="100" y="243"/>
                    <a:pt x="100" y="243"/>
                    <a:pt x="100" y="243"/>
                  </a:cubicBezTo>
                  <a:cubicBezTo>
                    <a:pt x="100" y="243"/>
                    <a:pt x="100" y="243"/>
                    <a:pt x="100" y="243"/>
                  </a:cubicBezTo>
                  <a:cubicBezTo>
                    <a:pt x="100" y="244"/>
                    <a:pt x="100" y="244"/>
                    <a:pt x="100" y="244"/>
                  </a:cubicBezTo>
                  <a:cubicBezTo>
                    <a:pt x="100" y="244"/>
                    <a:pt x="100" y="244"/>
                    <a:pt x="100" y="244"/>
                  </a:cubicBezTo>
                  <a:cubicBezTo>
                    <a:pt x="99" y="244"/>
                    <a:pt x="99" y="244"/>
                    <a:pt x="99" y="244"/>
                  </a:cubicBezTo>
                  <a:cubicBezTo>
                    <a:pt x="99" y="244"/>
                    <a:pt x="99" y="244"/>
                    <a:pt x="99" y="244"/>
                  </a:cubicBezTo>
                  <a:cubicBezTo>
                    <a:pt x="99" y="244"/>
                    <a:pt x="99" y="244"/>
                    <a:pt x="99" y="244"/>
                  </a:cubicBezTo>
                  <a:cubicBezTo>
                    <a:pt x="99" y="245"/>
                    <a:pt x="99" y="245"/>
                    <a:pt x="99" y="245"/>
                  </a:cubicBezTo>
                  <a:cubicBezTo>
                    <a:pt x="100" y="245"/>
                    <a:pt x="100" y="245"/>
                    <a:pt x="100" y="245"/>
                  </a:cubicBezTo>
                  <a:cubicBezTo>
                    <a:pt x="100" y="245"/>
                    <a:pt x="100" y="245"/>
                    <a:pt x="100" y="245"/>
                  </a:cubicBezTo>
                  <a:cubicBezTo>
                    <a:pt x="101" y="245"/>
                    <a:pt x="101" y="245"/>
                    <a:pt x="101" y="245"/>
                  </a:cubicBezTo>
                  <a:cubicBezTo>
                    <a:pt x="101" y="245"/>
                    <a:pt x="101" y="245"/>
                    <a:pt x="101" y="245"/>
                  </a:cubicBezTo>
                  <a:cubicBezTo>
                    <a:pt x="102" y="245"/>
                    <a:pt x="102" y="245"/>
                    <a:pt x="102" y="245"/>
                  </a:cubicBezTo>
                  <a:cubicBezTo>
                    <a:pt x="102" y="244"/>
                    <a:pt x="102" y="244"/>
                    <a:pt x="102" y="244"/>
                  </a:cubicBezTo>
                  <a:cubicBezTo>
                    <a:pt x="102" y="244"/>
                    <a:pt x="102" y="244"/>
                    <a:pt x="102" y="244"/>
                  </a:cubicBezTo>
                  <a:cubicBezTo>
                    <a:pt x="102" y="244"/>
                    <a:pt x="102" y="244"/>
                    <a:pt x="102" y="244"/>
                  </a:cubicBezTo>
                  <a:cubicBezTo>
                    <a:pt x="102" y="244"/>
                    <a:pt x="102" y="244"/>
                    <a:pt x="102" y="244"/>
                  </a:cubicBezTo>
                  <a:cubicBezTo>
                    <a:pt x="102" y="244"/>
                    <a:pt x="102" y="244"/>
                    <a:pt x="102" y="244"/>
                  </a:cubicBezTo>
                  <a:cubicBezTo>
                    <a:pt x="102" y="244"/>
                    <a:pt x="102" y="244"/>
                    <a:pt x="102" y="244"/>
                  </a:cubicBezTo>
                  <a:cubicBezTo>
                    <a:pt x="102" y="245"/>
                    <a:pt x="102" y="245"/>
                    <a:pt x="102" y="245"/>
                  </a:cubicBezTo>
                  <a:cubicBezTo>
                    <a:pt x="102" y="245"/>
                    <a:pt x="102" y="245"/>
                    <a:pt x="102" y="245"/>
                  </a:cubicBezTo>
                  <a:cubicBezTo>
                    <a:pt x="103" y="245"/>
                    <a:pt x="103" y="245"/>
                    <a:pt x="103" y="245"/>
                  </a:cubicBezTo>
                  <a:cubicBezTo>
                    <a:pt x="103" y="245"/>
                    <a:pt x="103" y="245"/>
                    <a:pt x="103" y="245"/>
                  </a:cubicBezTo>
                  <a:cubicBezTo>
                    <a:pt x="103" y="245"/>
                    <a:pt x="103" y="245"/>
                    <a:pt x="103" y="245"/>
                  </a:cubicBezTo>
                  <a:cubicBezTo>
                    <a:pt x="103" y="245"/>
                    <a:pt x="103" y="245"/>
                    <a:pt x="103" y="245"/>
                  </a:cubicBezTo>
                  <a:cubicBezTo>
                    <a:pt x="103" y="245"/>
                    <a:pt x="103" y="245"/>
                    <a:pt x="103" y="245"/>
                  </a:cubicBezTo>
                  <a:cubicBezTo>
                    <a:pt x="103" y="245"/>
                    <a:pt x="103" y="245"/>
                    <a:pt x="103" y="245"/>
                  </a:cubicBezTo>
                  <a:cubicBezTo>
                    <a:pt x="104" y="245"/>
                    <a:pt x="104" y="245"/>
                    <a:pt x="104" y="245"/>
                  </a:cubicBezTo>
                  <a:cubicBezTo>
                    <a:pt x="104" y="245"/>
                    <a:pt x="104" y="245"/>
                    <a:pt x="104" y="245"/>
                  </a:cubicBezTo>
                  <a:cubicBezTo>
                    <a:pt x="104" y="245"/>
                    <a:pt x="104" y="245"/>
                    <a:pt x="104" y="245"/>
                  </a:cubicBezTo>
                  <a:cubicBezTo>
                    <a:pt x="103" y="245"/>
                    <a:pt x="103" y="245"/>
                    <a:pt x="103" y="245"/>
                  </a:cubicBezTo>
                  <a:cubicBezTo>
                    <a:pt x="103" y="245"/>
                    <a:pt x="103" y="245"/>
                    <a:pt x="103" y="245"/>
                  </a:cubicBezTo>
                  <a:cubicBezTo>
                    <a:pt x="103" y="246"/>
                    <a:pt x="103" y="246"/>
                    <a:pt x="103" y="246"/>
                  </a:cubicBezTo>
                  <a:cubicBezTo>
                    <a:pt x="104" y="246"/>
                    <a:pt x="104" y="246"/>
                    <a:pt x="104" y="246"/>
                  </a:cubicBezTo>
                  <a:cubicBezTo>
                    <a:pt x="104" y="246"/>
                    <a:pt x="104" y="246"/>
                    <a:pt x="104" y="246"/>
                  </a:cubicBezTo>
                  <a:cubicBezTo>
                    <a:pt x="104" y="247"/>
                    <a:pt x="104" y="247"/>
                    <a:pt x="104" y="247"/>
                  </a:cubicBezTo>
                  <a:cubicBezTo>
                    <a:pt x="104" y="247"/>
                    <a:pt x="104" y="247"/>
                    <a:pt x="104" y="247"/>
                  </a:cubicBezTo>
                  <a:cubicBezTo>
                    <a:pt x="104" y="247"/>
                    <a:pt x="104" y="247"/>
                    <a:pt x="104" y="247"/>
                  </a:cubicBezTo>
                  <a:cubicBezTo>
                    <a:pt x="105" y="246"/>
                    <a:pt x="105" y="246"/>
                    <a:pt x="105" y="246"/>
                  </a:cubicBezTo>
                  <a:cubicBezTo>
                    <a:pt x="105" y="246"/>
                    <a:pt x="105" y="246"/>
                    <a:pt x="105" y="246"/>
                  </a:cubicBezTo>
                  <a:cubicBezTo>
                    <a:pt x="105" y="246"/>
                    <a:pt x="105" y="246"/>
                    <a:pt x="105" y="246"/>
                  </a:cubicBezTo>
                  <a:cubicBezTo>
                    <a:pt x="105" y="245"/>
                    <a:pt x="105" y="245"/>
                    <a:pt x="105" y="245"/>
                  </a:cubicBezTo>
                  <a:cubicBezTo>
                    <a:pt x="106" y="245"/>
                    <a:pt x="106" y="245"/>
                    <a:pt x="106" y="245"/>
                  </a:cubicBezTo>
                  <a:cubicBezTo>
                    <a:pt x="107" y="244"/>
                    <a:pt x="107" y="244"/>
                    <a:pt x="107" y="244"/>
                  </a:cubicBezTo>
                  <a:cubicBezTo>
                    <a:pt x="108" y="244"/>
                    <a:pt x="108" y="244"/>
                    <a:pt x="108" y="244"/>
                  </a:cubicBezTo>
                  <a:cubicBezTo>
                    <a:pt x="108" y="244"/>
                    <a:pt x="108" y="244"/>
                    <a:pt x="108" y="244"/>
                  </a:cubicBezTo>
                  <a:cubicBezTo>
                    <a:pt x="108" y="244"/>
                    <a:pt x="108" y="244"/>
                    <a:pt x="108" y="244"/>
                  </a:cubicBezTo>
                  <a:cubicBezTo>
                    <a:pt x="108" y="244"/>
                    <a:pt x="108" y="244"/>
                    <a:pt x="108" y="244"/>
                  </a:cubicBezTo>
                  <a:cubicBezTo>
                    <a:pt x="108" y="244"/>
                    <a:pt x="108" y="244"/>
                    <a:pt x="108" y="244"/>
                  </a:cubicBezTo>
                  <a:cubicBezTo>
                    <a:pt x="108" y="244"/>
                    <a:pt x="108" y="244"/>
                    <a:pt x="108" y="244"/>
                  </a:cubicBezTo>
                  <a:cubicBezTo>
                    <a:pt x="108" y="244"/>
                    <a:pt x="108" y="244"/>
                    <a:pt x="108" y="244"/>
                  </a:cubicBezTo>
                  <a:cubicBezTo>
                    <a:pt x="108" y="244"/>
                    <a:pt x="108" y="244"/>
                    <a:pt x="108" y="244"/>
                  </a:cubicBezTo>
                  <a:cubicBezTo>
                    <a:pt x="108" y="244"/>
                    <a:pt x="108" y="244"/>
                    <a:pt x="108" y="244"/>
                  </a:cubicBezTo>
                  <a:cubicBezTo>
                    <a:pt x="109" y="243"/>
                    <a:pt x="109" y="243"/>
                    <a:pt x="109" y="243"/>
                  </a:cubicBezTo>
                  <a:cubicBezTo>
                    <a:pt x="109" y="243"/>
                    <a:pt x="109" y="243"/>
                    <a:pt x="109" y="243"/>
                  </a:cubicBezTo>
                  <a:cubicBezTo>
                    <a:pt x="108" y="243"/>
                    <a:pt x="108" y="243"/>
                    <a:pt x="108" y="243"/>
                  </a:cubicBezTo>
                  <a:cubicBezTo>
                    <a:pt x="108" y="243"/>
                    <a:pt x="108" y="243"/>
                    <a:pt x="108" y="243"/>
                  </a:cubicBezTo>
                  <a:cubicBezTo>
                    <a:pt x="109" y="242"/>
                    <a:pt x="109" y="242"/>
                    <a:pt x="109" y="242"/>
                  </a:cubicBezTo>
                  <a:cubicBezTo>
                    <a:pt x="109" y="242"/>
                    <a:pt x="109" y="242"/>
                    <a:pt x="109" y="242"/>
                  </a:cubicBezTo>
                  <a:cubicBezTo>
                    <a:pt x="109" y="241"/>
                    <a:pt x="109" y="241"/>
                    <a:pt x="109" y="241"/>
                  </a:cubicBezTo>
                  <a:cubicBezTo>
                    <a:pt x="109" y="241"/>
                    <a:pt x="109" y="241"/>
                    <a:pt x="109" y="241"/>
                  </a:cubicBezTo>
                  <a:cubicBezTo>
                    <a:pt x="109" y="241"/>
                    <a:pt x="109" y="241"/>
                    <a:pt x="109" y="241"/>
                  </a:cubicBezTo>
                  <a:cubicBezTo>
                    <a:pt x="109" y="240"/>
                    <a:pt x="109" y="240"/>
                    <a:pt x="109" y="240"/>
                  </a:cubicBezTo>
                  <a:cubicBezTo>
                    <a:pt x="109" y="240"/>
                    <a:pt x="109" y="240"/>
                    <a:pt x="109" y="240"/>
                  </a:cubicBezTo>
                  <a:cubicBezTo>
                    <a:pt x="109" y="240"/>
                    <a:pt x="109" y="240"/>
                    <a:pt x="109" y="240"/>
                  </a:cubicBezTo>
                  <a:cubicBezTo>
                    <a:pt x="109" y="240"/>
                    <a:pt x="109" y="240"/>
                    <a:pt x="109" y="240"/>
                  </a:cubicBezTo>
                  <a:cubicBezTo>
                    <a:pt x="109" y="240"/>
                    <a:pt x="109" y="240"/>
                    <a:pt x="109" y="240"/>
                  </a:cubicBezTo>
                  <a:cubicBezTo>
                    <a:pt x="108" y="239"/>
                    <a:pt x="108" y="239"/>
                    <a:pt x="108" y="239"/>
                  </a:cubicBezTo>
                  <a:cubicBezTo>
                    <a:pt x="109" y="239"/>
                    <a:pt x="109" y="239"/>
                    <a:pt x="109" y="239"/>
                  </a:cubicBezTo>
                  <a:cubicBezTo>
                    <a:pt x="109" y="239"/>
                    <a:pt x="109" y="239"/>
                    <a:pt x="109" y="239"/>
                  </a:cubicBezTo>
                  <a:cubicBezTo>
                    <a:pt x="109" y="239"/>
                    <a:pt x="109" y="239"/>
                    <a:pt x="109" y="239"/>
                  </a:cubicBezTo>
                  <a:cubicBezTo>
                    <a:pt x="110" y="238"/>
                    <a:pt x="110" y="238"/>
                    <a:pt x="110" y="238"/>
                  </a:cubicBezTo>
                  <a:cubicBezTo>
                    <a:pt x="110" y="238"/>
                    <a:pt x="110" y="238"/>
                    <a:pt x="110" y="238"/>
                  </a:cubicBezTo>
                  <a:cubicBezTo>
                    <a:pt x="110" y="238"/>
                    <a:pt x="110" y="238"/>
                    <a:pt x="110" y="238"/>
                  </a:cubicBezTo>
                  <a:cubicBezTo>
                    <a:pt x="111" y="237"/>
                    <a:pt x="111" y="237"/>
                    <a:pt x="111" y="237"/>
                  </a:cubicBezTo>
                  <a:cubicBezTo>
                    <a:pt x="111" y="237"/>
                    <a:pt x="111" y="237"/>
                    <a:pt x="111" y="237"/>
                  </a:cubicBezTo>
                  <a:cubicBezTo>
                    <a:pt x="111" y="237"/>
                    <a:pt x="111" y="237"/>
                    <a:pt x="111" y="237"/>
                  </a:cubicBezTo>
                  <a:cubicBezTo>
                    <a:pt x="111" y="237"/>
                    <a:pt x="111" y="237"/>
                    <a:pt x="111" y="237"/>
                  </a:cubicBezTo>
                  <a:cubicBezTo>
                    <a:pt x="111" y="238"/>
                    <a:pt x="111" y="238"/>
                    <a:pt x="111" y="238"/>
                  </a:cubicBezTo>
                  <a:cubicBezTo>
                    <a:pt x="111" y="238"/>
                    <a:pt x="111" y="238"/>
                    <a:pt x="111" y="238"/>
                  </a:cubicBezTo>
                  <a:cubicBezTo>
                    <a:pt x="111" y="238"/>
                    <a:pt x="111" y="238"/>
                    <a:pt x="111" y="238"/>
                  </a:cubicBezTo>
                  <a:cubicBezTo>
                    <a:pt x="111" y="239"/>
                    <a:pt x="111" y="239"/>
                    <a:pt x="111" y="239"/>
                  </a:cubicBezTo>
                  <a:cubicBezTo>
                    <a:pt x="110" y="239"/>
                    <a:pt x="110" y="239"/>
                    <a:pt x="110" y="239"/>
                  </a:cubicBezTo>
                  <a:cubicBezTo>
                    <a:pt x="110" y="239"/>
                    <a:pt x="110" y="239"/>
                    <a:pt x="110" y="239"/>
                  </a:cubicBezTo>
                  <a:cubicBezTo>
                    <a:pt x="110" y="239"/>
                    <a:pt x="110" y="239"/>
                    <a:pt x="110" y="239"/>
                  </a:cubicBezTo>
                  <a:cubicBezTo>
                    <a:pt x="109" y="240"/>
                    <a:pt x="109" y="240"/>
                    <a:pt x="109" y="240"/>
                  </a:cubicBezTo>
                  <a:cubicBezTo>
                    <a:pt x="109" y="240"/>
                    <a:pt x="109" y="240"/>
                    <a:pt x="109" y="240"/>
                  </a:cubicBezTo>
                  <a:cubicBezTo>
                    <a:pt x="109" y="240"/>
                    <a:pt x="109" y="240"/>
                    <a:pt x="109" y="240"/>
                  </a:cubicBezTo>
                  <a:cubicBezTo>
                    <a:pt x="109" y="240"/>
                    <a:pt x="109" y="240"/>
                    <a:pt x="109" y="240"/>
                  </a:cubicBezTo>
                  <a:cubicBezTo>
                    <a:pt x="109" y="240"/>
                    <a:pt x="109" y="240"/>
                    <a:pt x="109" y="240"/>
                  </a:cubicBezTo>
                  <a:cubicBezTo>
                    <a:pt x="110" y="241"/>
                    <a:pt x="110" y="241"/>
                    <a:pt x="110" y="241"/>
                  </a:cubicBezTo>
                  <a:cubicBezTo>
                    <a:pt x="110" y="241"/>
                    <a:pt x="110" y="241"/>
                    <a:pt x="110" y="241"/>
                  </a:cubicBezTo>
                  <a:cubicBezTo>
                    <a:pt x="110" y="242"/>
                    <a:pt x="110" y="242"/>
                    <a:pt x="110" y="242"/>
                  </a:cubicBezTo>
                  <a:cubicBezTo>
                    <a:pt x="110" y="242"/>
                    <a:pt x="110" y="242"/>
                    <a:pt x="110" y="242"/>
                  </a:cubicBezTo>
                  <a:cubicBezTo>
                    <a:pt x="109" y="243"/>
                    <a:pt x="109" y="243"/>
                    <a:pt x="109" y="243"/>
                  </a:cubicBezTo>
                  <a:cubicBezTo>
                    <a:pt x="109" y="243"/>
                    <a:pt x="109" y="243"/>
                    <a:pt x="109" y="243"/>
                  </a:cubicBezTo>
                  <a:cubicBezTo>
                    <a:pt x="109" y="244"/>
                    <a:pt x="109" y="244"/>
                    <a:pt x="109" y="244"/>
                  </a:cubicBezTo>
                  <a:cubicBezTo>
                    <a:pt x="109" y="244"/>
                    <a:pt x="109" y="244"/>
                    <a:pt x="109" y="244"/>
                  </a:cubicBezTo>
                  <a:cubicBezTo>
                    <a:pt x="109" y="244"/>
                    <a:pt x="109" y="244"/>
                    <a:pt x="109" y="244"/>
                  </a:cubicBezTo>
                  <a:cubicBezTo>
                    <a:pt x="109" y="244"/>
                    <a:pt x="109" y="244"/>
                    <a:pt x="109" y="244"/>
                  </a:cubicBezTo>
                  <a:cubicBezTo>
                    <a:pt x="109" y="244"/>
                    <a:pt x="109" y="244"/>
                    <a:pt x="109" y="244"/>
                  </a:cubicBezTo>
                  <a:cubicBezTo>
                    <a:pt x="109" y="245"/>
                    <a:pt x="109" y="245"/>
                    <a:pt x="109" y="245"/>
                  </a:cubicBezTo>
                  <a:cubicBezTo>
                    <a:pt x="108" y="245"/>
                    <a:pt x="108" y="245"/>
                    <a:pt x="108" y="245"/>
                  </a:cubicBezTo>
                  <a:cubicBezTo>
                    <a:pt x="108" y="245"/>
                    <a:pt x="108" y="245"/>
                    <a:pt x="108" y="245"/>
                  </a:cubicBezTo>
                  <a:cubicBezTo>
                    <a:pt x="108" y="245"/>
                    <a:pt x="108" y="245"/>
                    <a:pt x="108" y="245"/>
                  </a:cubicBezTo>
                  <a:cubicBezTo>
                    <a:pt x="107" y="245"/>
                    <a:pt x="107" y="245"/>
                    <a:pt x="107" y="245"/>
                  </a:cubicBezTo>
                  <a:cubicBezTo>
                    <a:pt x="107" y="246"/>
                    <a:pt x="107" y="246"/>
                    <a:pt x="107" y="246"/>
                  </a:cubicBezTo>
                  <a:cubicBezTo>
                    <a:pt x="106" y="246"/>
                    <a:pt x="106" y="246"/>
                    <a:pt x="106" y="246"/>
                  </a:cubicBezTo>
                  <a:cubicBezTo>
                    <a:pt x="106" y="246"/>
                    <a:pt x="106" y="246"/>
                    <a:pt x="106" y="246"/>
                  </a:cubicBezTo>
                  <a:cubicBezTo>
                    <a:pt x="106" y="246"/>
                    <a:pt x="106" y="246"/>
                    <a:pt x="106" y="246"/>
                  </a:cubicBezTo>
                  <a:cubicBezTo>
                    <a:pt x="106" y="246"/>
                    <a:pt x="106" y="246"/>
                    <a:pt x="106" y="246"/>
                  </a:cubicBezTo>
                  <a:cubicBezTo>
                    <a:pt x="106" y="246"/>
                    <a:pt x="106" y="246"/>
                    <a:pt x="106" y="246"/>
                  </a:cubicBezTo>
                  <a:cubicBezTo>
                    <a:pt x="106" y="247"/>
                    <a:pt x="106" y="247"/>
                    <a:pt x="106" y="247"/>
                  </a:cubicBezTo>
                  <a:cubicBezTo>
                    <a:pt x="106" y="247"/>
                    <a:pt x="106" y="247"/>
                    <a:pt x="106" y="247"/>
                  </a:cubicBezTo>
                  <a:cubicBezTo>
                    <a:pt x="106" y="247"/>
                    <a:pt x="106" y="247"/>
                    <a:pt x="106" y="247"/>
                  </a:cubicBezTo>
                  <a:cubicBezTo>
                    <a:pt x="105" y="247"/>
                    <a:pt x="105" y="247"/>
                    <a:pt x="105" y="247"/>
                  </a:cubicBezTo>
                  <a:cubicBezTo>
                    <a:pt x="105" y="248"/>
                    <a:pt x="105" y="248"/>
                    <a:pt x="105" y="248"/>
                  </a:cubicBezTo>
                  <a:cubicBezTo>
                    <a:pt x="105" y="248"/>
                    <a:pt x="105" y="248"/>
                    <a:pt x="105" y="248"/>
                  </a:cubicBezTo>
                  <a:cubicBezTo>
                    <a:pt x="105" y="248"/>
                    <a:pt x="105" y="248"/>
                    <a:pt x="105" y="248"/>
                  </a:cubicBezTo>
                  <a:cubicBezTo>
                    <a:pt x="105" y="248"/>
                    <a:pt x="105" y="248"/>
                    <a:pt x="105" y="248"/>
                  </a:cubicBezTo>
                  <a:cubicBezTo>
                    <a:pt x="105" y="248"/>
                    <a:pt x="105" y="248"/>
                    <a:pt x="105" y="248"/>
                  </a:cubicBezTo>
                  <a:cubicBezTo>
                    <a:pt x="105" y="249"/>
                    <a:pt x="105" y="249"/>
                    <a:pt x="105" y="249"/>
                  </a:cubicBezTo>
                  <a:cubicBezTo>
                    <a:pt x="105" y="249"/>
                    <a:pt x="105" y="249"/>
                    <a:pt x="105" y="249"/>
                  </a:cubicBezTo>
                  <a:cubicBezTo>
                    <a:pt x="106" y="249"/>
                    <a:pt x="106" y="249"/>
                    <a:pt x="106" y="249"/>
                  </a:cubicBezTo>
                  <a:cubicBezTo>
                    <a:pt x="106" y="248"/>
                    <a:pt x="106" y="248"/>
                    <a:pt x="106" y="248"/>
                  </a:cubicBezTo>
                  <a:cubicBezTo>
                    <a:pt x="106" y="248"/>
                    <a:pt x="106" y="248"/>
                    <a:pt x="106" y="248"/>
                  </a:cubicBezTo>
                  <a:cubicBezTo>
                    <a:pt x="106" y="247"/>
                    <a:pt x="106" y="247"/>
                    <a:pt x="106" y="247"/>
                  </a:cubicBezTo>
                  <a:cubicBezTo>
                    <a:pt x="106" y="247"/>
                    <a:pt x="106" y="247"/>
                    <a:pt x="106" y="247"/>
                  </a:cubicBezTo>
                  <a:cubicBezTo>
                    <a:pt x="107" y="247"/>
                    <a:pt x="107" y="247"/>
                    <a:pt x="107" y="247"/>
                  </a:cubicBezTo>
                  <a:cubicBezTo>
                    <a:pt x="107" y="247"/>
                    <a:pt x="107" y="247"/>
                    <a:pt x="107" y="247"/>
                  </a:cubicBezTo>
                  <a:cubicBezTo>
                    <a:pt x="107" y="248"/>
                    <a:pt x="107" y="248"/>
                    <a:pt x="107" y="248"/>
                  </a:cubicBezTo>
                  <a:cubicBezTo>
                    <a:pt x="107" y="248"/>
                    <a:pt x="107" y="248"/>
                    <a:pt x="107" y="248"/>
                  </a:cubicBezTo>
                  <a:cubicBezTo>
                    <a:pt x="107" y="249"/>
                    <a:pt x="107" y="249"/>
                    <a:pt x="107" y="249"/>
                  </a:cubicBezTo>
                  <a:cubicBezTo>
                    <a:pt x="107" y="249"/>
                    <a:pt x="107" y="249"/>
                    <a:pt x="107" y="249"/>
                  </a:cubicBezTo>
                  <a:cubicBezTo>
                    <a:pt x="106" y="249"/>
                    <a:pt x="106" y="249"/>
                    <a:pt x="106" y="249"/>
                  </a:cubicBezTo>
                  <a:cubicBezTo>
                    <a:pt x="107" y="249"/>
                    <a:pt x="107" y="249"/>
                    <a:pt x="107" y="249"/>
                  </a:cubicBezTo>
                  <a:cubicBezTo>
                    <a:pt x="107" y="249"/>
                    <a:pt x="107" y="249"/>
                    <a:pt x="107" y="249"/>
                  </a:cubicBezTo>
                  <a:cubicBezTo>
                    <a:pt x="107" y="249"/>
                    <a:pt x="107" y="249"/>
                    <a:pt x="107" y="249"/>
                  </a:cubicBezTo>
                  <a:cubicBezTo>
                    <a:pt x="108" y="249"/>
                    <a:pt x="108" y="249"/>
                    <a:pt x="108" y="249"/>
                  </a:cubicBezTo>
                  <a:cubicBezTo>
                    <a:pt x="108" y="250"/>
                    <a:pt x="108" y="250"/>
                    <a:pt x="108" y="250"/>
                  </a:cubicBezTo>
                  <a:cubicBezTo>
                    <a:pt x="108" y="250"/>
                    <a:pt x="108" y="250"/>
                    <a:pt x="108" y="250"/>
                  </a:cubicBezTo>
                  <a:cubicBezTo>
                    <a:pt x="108" y="250"/>
                    <a:pt x="108" y="250"/>
                    <a:pt x="108" y="250"/>
                  </a:cubicBezTo>
                  <a:cubicBezTo>
                    <a:pt x="109" y="249"/>
                    <a:pt x="109" y="249"/>
                    <a:pt x="109" y="249"/>
                  </a:cubicBezTo>
                  <a:cubicBezTo>
                    <a:pt x="109" y="249"/>
                    <a:pt x="109" y="249"/>
                    <a:pt x="109" y="249"/>
                  </a:cubicBezTo>
                  <a:cubicBezTo>
                    <a:pt x="110" y="249"/>
                    <a:pt x="110" y="249"/>
                    <a:pt x="110" y="249"/>
                  </a:cubicBezTo>
                  <a:cubicBezTo>
                    <a:pt x="110" y="248"/>
                    <a:pt x="110" y="248"/>
                    <a:pt x="110" y="248"/>
                  </a:cubicBezTo>
                  <a:cubicBezTo>
                    <a:pt x="110" y="248"/>
                    <a:pt x="110" y="248"/>
                    <a:pt x="110" y="248"/>
                  </a:cubicBezTo>
                  <a:cubicBezTo>
                    <a:pt x="111" y="248"/>
                    <a:pt x="111" y="248"/>
                    <a:pt x="111" y="248"/>
                  </a:cubicBezTo>
                  <a:cubicBezTo>
                    <a:pt x="112" y="248"/>
                    <a:pt x="112" y="248"/>
                    <a:pt x="112" y="248"/>
                  </a:cubicBezTo>
                  <a:cubicBezTo>
                    <a:pt x="113" y="248"/>
                    <a:pt x="113" y="248"/>
                    <a:pt x="113" y="248"/>
                  </a:cubicBezTo>
                  <a:cubicBezTo>
                    <a:pt x="114" y="248"/>
                    <a:pt x="114" y="248"/>
                    <a:pt x="114" y="248"/>
                  </a:cubicBezTo>
                  <a:cubicBezTo>
                    <a:pt x="115" y="247"/>
                    <a:pt x="115" y="247"/>
                    <a:pt x="115" y="247"/>
                  </a:cubicBezTo>
                  <a:cubicBezTo>
                    <a:pt x="115" y="247"/>
                    <a:pt x="115" y="247"/>
                    <a:pt x="115" y="247"/>
                  </a:cubicBezTo>
                  <a:cubicBezTo>
                    <a:pt x="115" y="248"/>
                    <a:pt x="115" y="248"/>
                    <a:pt x="115" y="248"/>
                  </a:cubicBezTo>
                  <a:cubicBezTo>
                    <a:pt x="115" y="248"/>
                    <a:pt x="115" y="248"/>
                    <a:pt x="115" y="248"/>
                  </a:cubicBezTo>
                  <a:cubicBezTo>
                    <a:pt x="114" y="248"/>
                    <a:pt x="114" y="248"/>
                    <a:pt x="114" y="248"/>
                  </a:cubicBezTo>
                  <a:cubicBezTo>
                    <a:pt x="114" y="249"/>
                    <a:pt x="114" y="249"/>
                    <a:pt x="114" y="249"/>
                  </a:cubicBezTo>
                  <a:cubicBezTo>
                    <a:pt x="113" y="249"/>
                    <a:pt x="113" y="249"/>
                    <a:pt x="113" y="249"/>
                  </a:cubicBezTo>
                  <a:cubicBezTo>
                    <a:pt x="113" y="249"/>
                    <a:pt x="113" y="249"/>
                    <a:pt x="113" y="249"/>
                  </a:cubicBezTo>
                  <a:cubicBezTo>
                    <a:pt x="113" y="249"/>
                    <a:pt x="113" y="249"/>
                    <a:pt x="113" y="249"/>
                  </a:cubicBezTo>
                  <a:cubicBezTo>
                    <a:pt x="112" y="249"/>
                    <a:pt x="112" y="249"/>
                    <a:pt x="112" y="249"/>
                  </a:cubicBezTo>
                  <a:cubicBezTo>
                    <a:pt x="112" y="249"/>
                    <a:pt x="112" y="249"/>
                    <a:pt x="112" y="249"/>
                  </a:cubicBezTo>
                  <a:cubicBezTo>
                    <a:pt x="112" y="249"/>
                    <a:pt x="112" y="249"/>
                    <a:pt x="112" y="249"/>
                  </a:cubicBezTo>
                  <a:cubicBezTo>
                    <a:pt x="112" y="249"/>
                    <a:pt x="112" y="249"/>
                    <a:pt x="112" y="249"/>
                  </a:cubicBezTo>
                  <a:cubicBezTo>
                    <a:pt x="111" y="249"/>
                    <a:pt x="111" y="249"/>
                    <a:pt x="111" y="249"/>
                  </a:cubicBezTo>
                  <a:cubicBezTo>
                    <a:pt x="111" y="249"/>
                    <a:pt x="111" y="249"/>
                    <a:pt x="111" y="249"/>
                  </a:cubicBezTo>
                  <a:cubicBezTo>
                    <a:pt x="111" y="249"/>
                    <a:pt x="111" y="249"/>
                    <a:pt x="111" y="249"/>
                  </a:cubicBezTo>
                  <a:cubicBezTo>
                    <a:pt x="110" y="249"/>
                    <a:pt x="110" y="249"/>
                    <a:pt x="110" y="249"/>
                  </a:cubicBezTo>
                  <a:cubicBezTo>
                    <a:pt x="110" y="249"/>
                    <a:pt x="110" y="249"/>
                    <a:pt x="110" y="249"/>
                  </a:cubicBezTo>
                  <a:cubicBezTo>
                    <a:pt x="110" y="249"/>
                    <a:pt x="110" y="249"/>
                    <a:pt x="110" y="249"/>
                  </a:cubicBezTo>
                  <a:cubicBezTo>
                    <a:pt x="110" y="250"/>
                    <a:pt x="110" y="250"/>
                    <a:pt x="110" y="250"/>
                  </a:cubicBezTo>
                  <a:cubicBezTo>
                    <a:pt x="110" y="250"/>
                    <a:pt x="110" y="250"/>
                    <a:pt x="110" y="250"/>
                  </a:cubicBezTo>
                  <a:cubicBezTo>
                    <a:pt x="110" y="250"/>
                    <a:pt x="110" y="250"/>
                    <a:pt x="110" y="250"/>
                  </a:cubicBezTo>
                  <a:cubicBezTo>
                    <a:pt x="110" y="250"/>
                    <a:pt x="110" y="250"/>
                    <a:pt x="110" y="250"/>
                  </a:cubicBezTo>
                  <a:cubicBezTo>
                    <a:pt x="110" y="250"/>
                    <a:pt x="110" y="250"/>
                    <a:pt x="110" y="250"/>
                  </a:cubicBezTo>
                  <a:cubicBezTo>
                    <a:pt x="110" y="251"/>
                    <a:pt x="110" y="251"/>
                    <a:pt x="110" y="251"/>
                  </a:cubicBezTo>
                  <a:cubicBezTo>
                    <a:pt x="110" y="251"/>
                    <a:pt x="110" y="251"/>
                    <a:pt x="110" y="251"/>
                  </a:cubicBezTo>
                  <a:cubicBezTo>
                    <a:pt x="111" y="251"/>
                    <a:pt x="111" y="251"/>
                    <a:pt x="111" y="251"/>
                  </a:cubicBezTo>
                  <a:cubicBezTo>
                    <a:pt x="111" y="251"/>
                    <a:pt x="111" y="251"/>
                    <a:pt x="111" y="251"/>
                  </a:cubicBezTo>
                  <a:cubicBezTo>
                    <a:pt x="111" y="252"/>
                    <a:pt x="111" y="252"/>
                    <a:pt x="111" y="252"/>
                  </a:cubicBezTo>
                  <a:cubicBezTo>
                    <a:pt x="111" y="252"/>
                    <a:pt x="111" y="252"/>
                    <a:pt x="111" y="252"/>
                  </a:cubicBezTo>
                  <a:cubicBezTo>
                    <a:pt x="111" y="252"/>
                    <a:pt x="111" y="252"/>
                    <a:pt x="111" y="252"/>
                  </a:cubicBezTo>
                  <a:cubicBezTo>
                    <a:pt x="110" y="253"/>
                    <a:pt x="110" y="253"/>
                    <a:pt x="110" y="253"/>
                  </a:cubicBezTo>
                  <a:cubicBezTo>
                    <a:pt x="110" y="253"/>
                    <a:pt x="110" y="253"/>
                    <a:pt x="110" y="253"/>
                  </a:cubicBezTo>
                  <a:cubicBezTo>
                    <a:pt x="110" y="253"/>
                    <a:pt x="110" y="253"/>
                    <a:pt x="110" y="253"/>
                  </a:cubicBezTo>
                  <a:cubicBezTo>
                    <a:pt x="110" y="254"/>
                    <a:pt x="110" y="254"/>
                    <a:pt x="110" y="254"/>
                  </a:cubicBezTo>
                  <a:cubicBezTo>
                    <a:pt x="109" y="254"/>
                    <a:pt x="109" y="254"/>
                    <a:pt x="109" y="254"/>
                  </a:cubicBezTo>
                  <a:cubicBezTo>
                    <a:pt x="109" y="254"/>
                    <a:pt x="109" y="254"/>
                    <a:pt x="109" y="254"/>
                  </a:cubicBezTo>
                  <a:cubicBezTo>
                    <a:pt x="109" y="254"/>
                    <a:pt x="109" y="254"/>
                    <a:pt x="109" y="254"/>
                  </a:cubicBezTo>
                  <a:cubicBezTo>
                    <a:pt x="109" y="254"/>
                    <a:pt x="109" y="254"/>
                    <a:pt x="109" y="254"/>
                  </a:cubicBezTo>
                  <a:cubicBezTo>
                    <a:pt x="109" y="254"/>
                    <a:pt x="109" y="254"/>
                    <a:pt x="109" y="254"/>
                  </a:cubicBezTo>
                  <a:cubicBezTo>
                    <a:pt x="109" y="255"/>
                    <a:pt x="109" y="255"/>
                    <a:pt x="109" y="255"/>
                  </a:cubicBezTo>
                  <a:cubicBezTo>
                    <a:pt x="109" y="255"/>
                    <a:pt x="109" y="255"/>
                    <a:pt x="109" y="255"/>
                  </a:cubicBezTo>
                  <a:cubicBezTo>
                    <a:pt x="109" y="255"/>
                    <a:pt x="109" y="255"/>
                    <a:pt x="109" y="255"/>
                  </a:cubicBezTo>
                  <a:cubicBezTo>
                    <a:pt x="109" y="255"/>
                    <a:pt x="109" y="255"/>
                    <a:pt x="109" y="255"/>
                  </a:cubicBezTo>
                  <a:cubicBezTo>
                    <a:pt x="109" y="256"/>
                    <a:pt x="109" y="256"/>
                    <a:pt x="109" y="256"/>
                  </a:cubicBezTo>
                  <a:cubicBezTo>
                    <a:pt x="109" y="256"/>
                    <a:pt x="109" y="256"/>
                    <a:pt x="109" y="256"/>
                  </a:cubicBezTo>
                  <a:cubicBezTo>
                    <a:pt x="108" y="256"/>
                    <a:pt x="108" y="256"/>
                    <a:pt x="108" y="256"/>
                  </a:cubicBezTo>
                  <a:cubicBezTo>
                    <a:pt x="108" y="256"/>
                    <a:pt x="108" y="256"/>
                    <a:pt x="108" y="256"/>
                  </a:cubicBezTo>
                  <a:cubicBezTo>
                    <a:pt x="108" y="257"/>
                    <a:pt x="108" y="257"/>
                    <a:pt x="108" y="257"/>
                  </a:cubicBezTo>
                  <a:cubicBezTo>
                    <a:pt x="108" y="257"/>
                    <a:pt x="108" y="257"/>
                    <a:pt x="108" y="257"/>
                  </a:cubicBezTo>
                  <a:cubicBezTo>
                    <a:pt x="108" y="256"/>
                    <a:pt x="108" y="256"/>
                    <a:pt x="108" y="256"/>
                  </a:cubicBezTo>
                  <a:cubicBezTo>
                    <a:pt x="108" y="256"/>
                    <a:pt x="108" y="256"/>
                    <a:pt x="108" y="256"/>
                  </a:cubicBezTo>
                  <a:cubicBezTo>
                    <a:pt x="108" y="255"/>
                    <a:pt x="108" y="255"/>
                    <a:pt x="108" y="255"/>
                  </a:cubicBezTo>
                  <a:cubicBezTo>
                    <a:pt x="107" y="255"/>
                    <a:pt x="107" y="255"/>
                    <a:pt x="107" y="255"/>
                  </a:cubicBezTo>
                  <a:cubicBezTo>
                    <a:pt x="107" y="255"/>
                    <a:pt x="107" y="255"/>
                    <a:pt x="107" y="255"/>
                  </a:cubicBezTo>
                  <a:cubicBezTo>
                    <a:pt x="107" y="255"/>
                    <a:pt x="107" y="255"/>
                    <a:pt x="107" y="255"/>
                  </a:cubicBezTo>
                  <a:cubicBezTo>
                    <a:pt x="107" y="255"/>
                    <a:pt x="107" y="255"/>
                    <a:pt x="107" y="255"/>
                  </a:cubicBezTo>
                  <a:cubicBezTo>
                    <a:pt x="107" y="257"/>
                    <a:pt x="107" y="257"/>
                    <a:pt x="107" y="257"/>
                  </a:cubicBezTo>
                  <a:cubicBezTo>
                    <a:pt x="108" y="257"/>
                    <a:pt x="108" y="257"/>
                    <a:pt x="108" y="257"/>
                  </a:cubicBezTo>
                  <a:cubicBezTo>
                    <a:pt x="108" y="258"/>
                    <a:pt x="108" y="258"/>
                    <a:pt x="108" y="258"/>
                  </a:cubicBezTo>
                  <a:cubicBezTo>
                    <a:pt x="108" y="258"/>
                    <a:pt x="108" y="258"/>
                    <a:pt x="108" y="258"/>
                  </a:cubicBezTo>
                  <a:cubicBezTo>
                    <a:pt x="109" y="258"/>
                    <a:pt x="109" y="258"/>
                    <a:pt x="109" y="258"/>
                  </a:cubicBezTo>
                  <a:cubicBezTo>
                    <a:pt x="109" y="259"/>
                    <a:pt x="109" y="259"/>
                    <a:pt x="109" y="259"/>
                  </a:cubicBezTo>
                  <a:cubicBezTo>
                    <a:pt x="109" y="259"/>
                    <a:pt x="109" y="259"/>
                    <a:pt x="109" y="259"/>
                  </a:cubicBezTo>
                  <a:cubicBezTo>
                    <a:pt x="109" y="259"/>
                    <a:pt x="109" y="259"/>
                    <a:pt x="109" y="259"/>
                  </a:cubicBezTo>
                  <a:cubicBezTo>
                    <a:pt x="109" y="259"/>
                    <a:pt x="109" y="259"/>
                    <a:pt x="109" y="259"/>
                  </a:cubicBezTo>
                  <a:cubicBezTo>
                    <a:pt x="110" y="260"/>
                    <a:pt x="110" y="260"/>
                    <a:pt x="110" y="260"/>
                  </a:cubicBezTo>
                  <a:cubicBezTo>
                    <a:pt x="110" y="260"/>
                    <a:pt x="110" y="260"/>
                    <a:pt x="110" y="260"/>
                  </a:cubicBezTo>
                  <a:cubicBezTo>
                    <a:pt x="110" y="261"/>
                    <a:pt x="110" y="261"/>
                    <a:pt x="110" y="261"/>
                  </a:cubicBezTo>
                  <a:cubicBezTo>
                    <a:pt x="110" y="261"/>
                    <a:pt x="110" y="261"/>
                    <a:pt x="110" y="261"/>
                  </a:cubicBezTo>
                  <a:cubicBezTo>
                    <a:pt x="110" y="261"/>
                    <a:pt x="110" y="261"/>
                    <a:pt x="110" y="261"/>
                  </a:cubicBezTo>
                  <a:cubicBezTo>
                    <a:pt x="110" y="261"/>
                    <a:pt x="110" y="261"/>
                    <a:pt x="110" y="261"/>
                  </a:cubicBezTo>
                  <a:cubicBezTo>
                    <a:pt x="111" y="262"/>
                    <a:pt x="111" y="262"/>
                    <a:pt x="111" y="262"/>
                  </a:cubicBezTo>
                  <a:cubicBezTo>
                    <a:pt x="111" y="262"/>
                    <a:pt x="111" y="262"/>
                    <a:pt x="111" y="262"/>
                  </a:cubicBezTo>
                  <a:cubicBezTo>
                    <a:pt x="112" y="262"/>
                    <a:pt x="112" y="262"/>
                    <a:pt x="112" y="262"/>
                  </a:cubicBezTo>
                  <a:cubicBezTo>
                    <a:pt x="112" y="262"/>
                    <a:pt x="112" y="262"/>
                    <a:pt x="112" y="262"/>
                  </a:cubicBezTo>
                  <a:cubicBezTo>
                    <a:pt x="112" y="263"/>
                    <a:pt x="112" y="263"/>
                    <a:pt x="112" y="263"/>
                  </a:cubicBezTo>
                  <a:cubicBezTo>
                    <a:pt x="113" y="263"/>
                    <a:pt x="113" y="263"/>
                    <a:pt x="113" y="263"/>
                  </a:cubicBezTo>
                  <a:cubicBezTo>
                    <a:pt x="113" y="263"/>
                    <a:pt x="113" y="263"/>
                    <a:pt x="113" y="263"/>
                  </a:cubicBezTo>
                  <a:cubicBezTo>
                    <a:pt x="113" y="262"/>
                    <a:pt x="113" y="262"/>
                    <a:pt x="113" y="262"/>
                  </a:cubicBezTo>
                  <a:cubicBezTo>
                    <a:pt x="113" y="262"/>
                    <a:pt x="113" y="262"/>
                    <a:pt x="113" y="262"/>
                  </a:cubicBezTo>
                  <a:cubicBezTo>
                    <a:pt x="114" y="263"/>
                    <a:pt x="114" y="263"/>
                    <a:pt x="114" y="263"/>
                  </a:cubicBezTo>
                  <a:cubicBezTo>
                    <a:pt x="115" y="263"/>
                    <a:pt x="115" y="263"/>
                    <a:pt x="115" y="263"/>
                  </a:cubicBezTo>
                  <a:cubicBezTo>
                    <a:pt x="115" y="262"/>
                    <a:pt x="115" y="262"/>
                    <a:pt x="115" y="262"/>
                  </a:cubicBezTo>
                  <a:cubicBezTo>
                    <a:pt x="116" y="262"/>
                    <a:pt x="116" y="262"/>
                    <a:pt x="116" y="262"/>
                  </a:cubicBezTo>
                  <a:cubicBezTo>
                    <a:pt x="115" y="262"/>
                    <a:pt x="115" y="262"/>
                    <a:pt x="115" y="262"/>
                  </a:cubicBezTo>
                  <a:cubicBezTo>
                    <a:pt x="116" y="262"/>
                    <a:pt x="116" y="262"/>
                    <a:pt x="116" y="262"/>
                  </a:cubicBezTo>
                  <a:cubicBezTo>
                    <a:pt x="116" y="262"/>
                    <a:pt x="116" y="262"/>
                    <a:pt x="116" y="262"/>
                  </a:cubicBezTo>
                  <a:cubicBezTo>
                    <a:pt x="116" y="262"/>
                    <a:pt x="116" y="262"/>
                    <a:pt x="116" y="262"/>
                  </a:cubicBezTo>
                  <a:cubicBezTo>
                    <a:pt x="116" y="262"/>
                    <a:pt x="116" y="262"/>
                    <a:pt x="116" y="262"/>
                  </a:cubicBezTo>
                  <a:cubicBezTo>
                    <a:pt x="116" y="261"/>
                    <a:pt x="116" y="261"/>
                    <a:pt x="116" y="261"/>
                  </a:cubicBezTo>
                  <a:cubicBezTo>
                    <a:pt x="116" y="261"/>
                    <a:pt x="116" y="261"/>
                    <a:pt x="116" y="261"/>
                  </a:cubicBezTo>
                  <a:cubicBezTo>
                    <a:pt x="116" y="261"/>
                    <a:pt x="116" y="261"/>
                    <a:pt x="116" y="261"/>
                  </a:cubicBezTo>
                  <a:cubicBezTo>
                    <a:pt x="116" y="260"/>
                    <a:pt x="116" y="260"/>
                    <a:pt x="116" y="260"/>
                  </a:cubicBezTo>
                  <a:cubicBezTo>
                    <a:pt x="117" y="260"/>
                    <a:pt x="117" y="260"/>
                    <a:pt x="117" y="260"/>
                  </a:cubicBezTo>
                  <a:cubicBezTo>
                    <a:pt x="117" y="260"/>
                    <a:pt x="117" y="260"/>
                    <a:pt x="117" y="260"/>
                  </a:cubicBezTo>
                  <a:cubicBezTo>
                    <a:pt x="117" y="260"/>
                    <a:pt x="117" y="260"/>
                    <a:pt x="117" y="260"/>
                  </a:cubicBezTo>
                  <a:cubicBezTo>
                    <a:pt x="117" y="261"/>
                    <a:pt x="117" y="261"/>
                    <a:pt x="117" y="261"/>
                  </a:cubicBezTo>
                  <a:cubicBezTo>
                    <a:pt x="116" y="261"/>
                    <a:pt x="116" y="261"/>
                    <a:pt x="116" y="261"/>
                  </a:cubicBezTo>
                  <a:cubicBezTo>
                    <a:pt x="117" y="261"/>
                    <a:pt x="117" y="261"/>
                    <a:pt x="117" y="261"/>
                  </a:cubicBezTo>
                  <a:cubicBezTo>
                    <a:pt x="117" y="261"/>
                    <a:pt x="117" y="261"/>
                    <a:pt x="117" y="261"/>
                  </a:cubicBezTo>
                  <a:cubicBezTo>
                    <a:pt x="117" y="261"/>
                    <a:pt x="117" y="261"/>
                    <a:pt x="117" y="261"/>
                  </a:cubicBezTo>
                  <a:cubicBezTo>
                    <a:pt x="117" y="262"/>
                    <a:pt x="117" y="262"/>
                    <a:pt x="117" y="262"/>
                  </a:cubicBezTo>
                  <a:cubicBezTo>
                    <a:pt x="117" y="262"/>
                    <a:pt x="117" y="262"/>
                    <a:pt x="117" y="262"/>
                  </a:cubicBezTo>
                  <a:cubicBezTo>
                    <a:pt x="117" y="262"/>
                    <a:pt x="117" y="262"/>
                    <a:pt x="117" y="262"/>
                  </a:cubicBezTo>
                  <a:cubicBezTo>
                    <a:pt x="117" y="262"/>
                    <a:pt x="117" y="262"/>
                    <a:pt x="117" y="262"/>
                  </a:cubicBezTo>
                  <a:cubicBezTo>
                    <a:pt x="117" y="262"/>
                    <a:pt x="117" y="262"/>
                    <a:pt x="117" y="262"/>
                  </a:cubicBezTo>
                  <a:cubicBezTo>
                    <a:pt x="117" y="262"/>
                    <a:pt x="117" y="262"/>
                    <a:pt x="117" y="262"/>
                  </a:cubicBezTo>
                  <a:cubicBezTo>
                    <a:pt x="117" y="263"/>
                    <a:pt x="117" y="263"/>
                    <a:pt x="117" y="263"/>
                  </a:cubicBezTo>
                  <a:cubicBezTo>
                    <a:pt x="117" y="263"/>
                    <a:pt x="117" y="263"/>
                    <a:pt x="117" y="263"/>
                  </a:cubicBezTo>
                  <a:cubicBezTo>
                    <a:pt x="117" y="263"/>
                    <a:pt x="117" y="263"/>
                    <a:pt x="117" y="263"/>
                  </a:cubicBezTo>
                  <a:cubicBezTo>
                    <a:pt x="117" y="262"/>
                    <a:pt x="117" y="262"/>
                    <a:pt x="117" y="262"/>
                  </a:cubicBezTo>
                  <a:cubicBezTo>
                    <a:pt x="117" y="262"/>
                    <a:pt x="117" y="262"/>
                    <a:pt x="117" y="262"/>
                  </a:cubicBezTo>
                  <a:cubicBezTo>
                    <a:pt x="117" y="262"/>
                    <a:pt x="117" y="262"/>
                    <a:pt x="117" y="262"/>
                  </a:cubicBezTo>
                  <a:cubicBezTo>
                    <a:pt x="117" y="262"/>
                    <a:pt x="117" y="262"/>
                    <a:pt x="117" y="262"/>
                  </a:cubicBezTo>
                  <a:cubicBezTo>
                    <a:pt x="118" y="262"/>
                    <a:pt x="118" y="262"/>
                    <a:pt x="118" y="262"/>
                  </a:cubicBezTo>
                  <a:cubicBezTo>
                    <a:pt x="118" y="262"/>
                    <a:pt x="118" y="262"/>
                    <a:pt x="118" y="262"/>
                  </a:cubicBezTo>
                  <a:cubicBezTo>
                    <a:pt x="118" y="261"/>
                    <a:pt x="118" y="261"/>
                    <a:pt x="118" y="261"/>
                  </a:cubicBezTo>
                  <a:cubicBezTo>
                    <a:pt x="118" y="261"/>
                    <a:pt x="118" y="261"/>
                    <a:pt x="118" y="261"/>
                  </a:cubicBezTo>
                  <a:cubicBezTo>
                    <a:pt x="118" y="261"/>
                    <a:pt x="118" y="261"/>
                    <a:pt x="118" y="261"/>
                  </a:cubicBezTo>
                  <a:cubicBezTo>
                    <a:pt x="117" y="260"/>
                    <a:pt x="117" y="260"/>
                    <a:pt x="117" y="260"/>
                  </a:cubicBezTo>
                  <a:cubicBezTo>
                    <a:pt x="117" y="260"/>
                    <a:pt x="117" y="260"/>
                    <a:pt x="117" y="260"/>
                  </a:cubicBezTo>
                  <a:cubicBezTo>
                    <a:pt x="117" y="260"/>
                    <a:pt x="117" y="260"/>
                    <a:pt x="117" y="260"/>
                  </a:cubicBezTo>
                  <a:cubicBezTo>
                    <a:pt x="117" y="259"/>
                    <a:pt x="117" y="259"/>
                    <a:pt x="117" y="259"/>
                  </a:cubicBezTo>
                  <a:cubicBezTo>
                    <a:pt x="117" y="259"/>
                    <a:pt x="117" y="259"/>
                    <a:pt x="117" y="259"/>
                  </a:cubicBezTo>
                  <a:cubicBezTo>
                    <a:pt x="118" y="258"/>
                    <a:pt x="118" y="258"/>
                    <a:pt x="118" y="258"/>
                  </a:cubicBezTo>
                  <a:cubicBezTo>
                    <a:pt x="118" y="258"/>
                    <a:pt x="118" y="258"/>
                    <a:pt x="118" y="258"/>
                  </a:cubicBezTo>
                  <a:cubicBezTo>
                    <a:pt x="119" y="258"/>
                    <a:pt x="119" y="258"/>
                    <a:pt x="119" y="258"/>
                  </a:cubicBezTo>
                  <a:cubicBezTo>
                    <a:pt x="120" y="258"/>
                    <a:pt x="120" y="258"/>
                    <a:pt x="120" y="258"/>
                  </a:cubicBezTo>
                  <a:cubicBezTo>
                    <a:pt x="120" y="257"/>
                    <a:pt x="120" y="257"/>
                    <a:pt x="120" y="257"/>
                  </a:cubicBezTo>
                  <a:cubicBezTo>
                    <a:pt x="120" y="257"/>
                    <a:pt x="120" y="257"/>
                    <a:pt x="120" y="257"/>
                  </a:cubicBezTo>
                  <a:cubicBezTo>
                    <a:pt x="120" y="257"/>
                    <a:pt x="120" y="257"/>
                    <a:pt x="120" y="257"/>
                  </a:cubicBezTo>
                  <a:cubicBezTo>
                    <a:pt x="120" y="257"/>
                    <a:pt x="120" y="257"/>
                    <a:pt x="120" y="257"/>
                  </a:cubicBezTo>
                  <a:cubicBezTo>
                    <a:pt x="120" y="257"/>
                    <a:pt x="120" y="257"/>
                    <a:pt x="120" y="257"/>
                  </a:cubicBezTo>
                  <a:cubicBezTo>
                    <a:pt x="120" y="256"/>
                    <a:pt x="120" y="256"/>
                    <a:pt x="120" y="256"/>
                  </a:cubicBezTo>
                  <a:cubicBezTo>
                    <a:pt x="120" y="256"/>
                    <a:pt x="120" y="256"/>
                    <a:pt x="120" y="256"/>
                  </a:cubicBezTo>
                  <a:cubicBezTo>
                    <a:pt x="120" y="256"/>
                    <a:pt x="120" y="256"/>
                    <a:pt x="120" y="256"/>
                  </a:cubicBezTo>
                  <a:cubicBezTo>
                    <a:pt x="120" y="256"/>
                    <a:pt x="120" y="256"/>
                    <a:pt x="120" y="256"/>
                  </a:cubicBezTo>
                  <a:cubicBezTo>
                    <a:pt x="119" y="256"/>
                    <a:pt x="119" y="256"/>
                    <a:pt x="119" y="256"/>
                  </a:cubicBezTo>
                  <a:cubicBezTo>
                    <a:pt x="119" y="255"/>
                    <a:pt x="119" y="255"/>
                    <a:pt x="119" y="255"/>
                  </a:cubicBezTo>
                  <a:cubicBezTo>
                    <a:pt x="119" y="255"/>
                    <a:pt x="119" y="255"/>
                    <a:pt x="119" y="255"/>
                  </a:cubicBezTo>
                  <a:cubicBezTo>
                    <a:pt x="119" y="255"/>
                    <a:pt x="119" y="255"/>
                    <a:pt x="119" y="255"/>
                  </a:cubicBezTo>
                  <a:cubicBezTo>
                    <a:pt x="119" y="254"/>
                    <a:pt x="119" y="254"/>
                    <a:pt x="119" y="254"/>
                  </a:cubicBezTo>
                  <a:cubicBezTo>
                    <a:pt x="118" y="254"/>
                    <a:pt x="118" y="254"/>
                    <a:pt x="118" y="254"/>
                  </a:cubicBezTo>
                  <a:cubicBezTo>
                    <a:pt x="119" y="254"/>
                    <a:pt x="119" y="254"/>
                    <a:pt x="119" y="254"/>
                  </a:cubicBezTo>
                  <a:cubicBezTo>
                    <a:pt x="119" y="255"/>
                    <a:pt x="119" y="255"/>
                    <a:pt x="119" y="255"/>
                  </a:cubicBezTo>
                  <a:cubicBezTo>
                    <a:pt x="120" y="255"/>
                    <a:pt x="120" y="255"/>
                    <a:pt x="120" y="255"/>
                  </a:cubicBezTo>
                  <a:cubicBezTo>
                    <a:pt x="120" y="256"/>
                    <a:pt x="120" y="256"/>
                    <a:pt x="120" y="256"/>
                  </a:cubicBezTo>
                  <a:cubicBezTo>
                    <a:pt x="121" y="256"/>
                    <a:pt x="121" y="256"/>
                    <a:pt x="121" y="256"/>
                  </a:cubicBezTo>
                  <a:cubicBezTo>
                    <a:pt x="121" y="257"/>
                    <a:pt x="121" y="257"/>
                    <a:pt x="121" y="257"/>
                  </a:cubicBezTo>
                  <a:cubicBezTo>
                    <a:pt x="121" y="257"/>
                    <a:pt x="121" y="257"/>
                    <a:pt x="121" y="257"/>
                  </a:cubicBezTo>
                  <a:cubicBezTo>
                    <a:pt x="121" y="257"/>
                    <a:pt x="121" y="257"/>
                    <a:pt x="121" y="257"/>
                  </a:cubicBezTo>
                  <a:cubicBezTo>
                    <a:pt x="121" y="258"/>
                    <a:pt x="121" y="258"/>
                    <a:pt x="121" y="258"/>
                  </a:cubicBezTo>
                  <a:cubicBezTo>
                    <a:pt x="120" y="258"/>
                    <a:pt x="120" y="258"/>
                    <a:pt x="120" y="258"/>
                  </a:cubicBezTo>
                  <a:cubicBezTo>
                    <a:pt x="120" y="258"/>
                    <a:pt x="120" y="258"/>
                    <a:pt x="120" y="258"/>
                  </a:cubicBezTo>
                  <a:cubicBezTo>
                    <a:pt x="119" y="258"/>
                    <a:pt x="119" y="258"/>
                    <a:pt x="119" y="258"/>
                  </a:cubicBezTo>
                  <a:cubicBezTo>
                    <a:pt x="119" y="258"/>
                    <a:pt x="119" y="258"/>
                    <a:pt x="119" y="258"/>
                  </a:cubicBezTo>
                  <a:cubicBezTo>
                    <a:pt x="119" y="259"/>
                    <a:pt x="119" y="259"/>
                    <a:pt x="119" y="259"/>
                  </a:cubicBezTo>
                  <a:cubicBezTo>
                    <a:pt x="118" y="259"/>
                    <a:pt x="118" y="259"/>
                    <a:pt x="118" y="259"/>
                  </a:cubicBezTo>
                  <a:cubicBezTo>
                    <a:pt x="118" y="259"/>
                    <a:pt x="118" y="259"/>
                    <a:pt x="118" y="259"/>
                  </a:cubicBezTo>
                  <a:cubicBezTo>
                    <a:pt x="118" y="259"/>
                    <a:pt x="118" y="259"/>
                    <a:pt x="118" y="259"/>
                  </a:cubicBezTo>
                  <a:cubicBezTo>
                    <a:pt x="118" y="260"/>
                    <a:pt x="118" y="260"/>
                    <a:pt x="118" y="260"/>
                  </a:cubicBezTo>
                  <a:cubicBezTo>
                    <a:pt x="118" y="260"/>
                    <a:pt x="118" y="260"/>
                    <a:pt x="118" y="260"/>
                  </a:cubicBezTo>
                  <a:cubicBezTo>
                    <a:pt x="118" y="260"/>
                    <a:pt x="118" y="260"/>
                    <a:pt x="118" y="260"/>
                  </a:cubicBezTo>
                  <a:cubicBezTo>
                    <a:pt x="119" y="261"/>
                    <a:pt x="119" y="261"/>
                    <a:pt x="119" y="261"/>
                  </a:cubicBezTo>
                  <a:cubicBezTo>
                    <a:pt x="119" y="261"/>
                    <a:pt x="119" y="261"/>
                    <a:pt x="119" y="261"/>
                  </a:cubicBezTo>
                  <a:cubicBezTo>
                    <a:pt x="118" y="262"/>
                    <a:pt x="118" y="262"/>
                    <a:pt x="118" y="262"/>
                  </a:cubicBezTo>
                  <a:cubicBezTo>
                    <a:pt x="118" y="262"/>
                    <a:pt x="118" y="262"/>
                    <a:pt x="118" y="262"/>
                  </a:cubicBezTo>
                  <a:cubicBezTo>
                    <a:pt x="118" y="262"/>
                    <a:pt x="118" y="262"/>
                    <a:pt x="118" y="262"/>
                  </a:cubicBezTo>
                  <a:cubicBezTo>
                    <a:pt x="118" y="263"/>
                    <a:pt x="118" y="263"/>
                    <a:pt x="118" y="263"/>
                  </a:cubicBezTo>
                  <a:cubicBezTo>
                    <a:pt x="117" y="263"/>
                    <a:pt x="117" y="263"/>
                    <a:pt x="117" y="263"/>
                  </a:cubicBezTo>
                  <a:cubicBezTo>
                    <a:pt x="117" y="264"/>
                    <a:pt x="117" y="264"/>
                    <a:pt x="117" y="264"/>
                  </a:cubicBezTo>
                  <a:cubicBezTo>
                    <a:pt x="117" y="264"/>
                    <a:pt x="117" y="264"/>
                    <a:pt x="117" y="264"/>
                  </a:cubicBezTo>
                  <a:cubicBezTo>
                    <a:pt x="118" y="264"/>
                    <a:pt x="118" y="264"/>
                    <a:pt x="118" y="264"/>
                  </a:cubicBezTo>
                  <a:cubicBezTo>
                    <a:pt x="118" y="266"/>
                    <a:pt x="118" y="266"/>
                    <a:pt x="118" y="266"/>
                  </a:cubicBezTo>
                  <a:cubicBezTo>
                    <a:pt x="118" y="266"/>
                    <a:pt x="118" y="266"/>
                    <a:pt x="118" y="266"/>
                  </a:cubicBezTo>
                  <a:cubicBezTo>
                    <a:pt x="118" y="266"/>
                    <a:pt x="118" y="266"/>
                    <a:pt x="118" y="266"/>
                  </a:cubicBezTo>
                  <a:cubicBezTo>
                    <a:pt x="119" y="266"/>
                    <a:pt x="119" y="266"/>
                    <a:pt x="119" y="266"/>
                  </a:cubicBezTo>
                  <a:cubicBezTo>
                    <a:pt x="120" y="267"/>
                    <a:pt x="120" y="267"/>
                    <a:pt x="120" y="267"/>
                  </a:cubicBezTo>
                  <a:cubicBezTo>
                    <a:pt x="122" y="266"/>
                    <a:pt x="122" y="266"/>
                    <a:pt x="122" y="266"/>
                  </a:cubicBezTo>
                  <a:cubicBezTo>
                    <a:pt x="122" y="266"/>
                    <a:pt x="122" y="266"/>
                    <a:pt x="122" y="266"/>
                  </a:cubicBezTo>
                  <a:cubicBezTo>
                    <a:pt x="121" y="267"/>
                    <a:pt x="121" y="267"/>
                    <a:pt x="121" y="267"/>
                  </a:cubicBezTo>
                  <a:cubicBezTo>
                    <a:pt x="121" y="267"/>
                    <a:pt x="121" y="267"/>
                    <a:pt x="121" y="267"/>
                  </a:cubicBezTo>
                  <a:cubicBezTo>
                    <a:pt x="120" y="267"/>
                    <a:pt x="120" y="267"/>
                    <a:pt x="120" y="267"/>
                  </a:cubicBezTo>
                  <a:cubicBezTo>
                    <a:pt x="120" y="267"/>
                    <a:pt x="120" y="267"/>
                    <a:pt x="120" y="267"/>
                  </a:cubicBezTo>
                  <a:cubicBezTo>
                    <a:pt x="120" y="267"/>
                    <a:pt x="120" y="267"/>
                    <a:pt x="120" y="267"/>
                  </a:cubicBezTo>
                  <a:cubicBezTo>
                    <a:pt x="119" y="267"/>
                    <a:pt x="119" y="267"/>
                    <a:pt x="119" y="267"/>
                  </a:cubicBezTo>
                  <a:cubicBezTo>
                    <a:pt x="119" y="267"/>
                    <a:pt x="119" y="267"/>
                    <a:pt x="119" y="267"/>
                  </a:cubicBezTo>
                  <a:cubicBezTo>
                    <a:pt x="119" y="267"/>
                    <a:pt x="119" y="267"/>
                    <a:pt x="119" y="267"/>
                  </a:cubicBezTo>
                  <a:cubicBezTo>
                    <a:pt x="119" y="267"/>
                    <a:pt x="119" y="267"/>
                    <a:pt x="119" y="267"/>
                  </a:cubicBezTo>
                  <a:cubicBezTo>
                    <a:pt x="119" y="268"/>
                    <a:pt x="119" y="268"/>
                    <a:pt x="119" y="268"/>
                  </a:cubicBezTo>
                  <a:cubicBezTo>
                    <a:pt x="119" y="268"/>
                    <a:pt x="119" y="268"/>
                    <a:pt x="119" y="268"/>
                  </a:cubicBezTo>
                  <a:cubicBezTo>
                    <a:pt x="119" y="269"/>
                    <a:pt x="119" y="269"/>
                    <a:pt x="119" y="269"/>
                  </a:cubicBezTo>
                  <a:cubicBezTo>
                    <a:pt x="118" y="269"/>
                    <a:pt x="118" y="269"/>
                    <a:pt x="118" y="269"/>
                  </a:cubicBezTo>
                  <a:cubicBezTo>
                    <a:pt x="118" y="269"/>
                    <a:pt x="118" y="269"/>
                    <a:pt x="118" y="269"/>
                  </a:cubicBezTo>
                  <a:cubicBezTo>
                    <a:pt x="118" y="269"/>
                    <a:pt x="118" y="269"/>
                    <a:pt x="118" y="269"/>
                  </a:cubicBezTo>
                  <a:cubicBezTo>
                    <a:pt x="118" y="269"/>
                    <a:pt x="118" y="269"/>
                    <a:pt x="118" y="269"/>
                  </a:cubicBezTo>
                  <a:cubicBezTo>
                    <a:pt x="118" y="269"/>
                    <a:pt x="118" y="269"/>
                    <a:pt x="118" y="269"/>
                  </a:cubicBezTo>
                  <a:cubicBezTo>
                    <a:pt x="118" y="268"/>
                    <a:pt x="118" y="268"/>
                    <a:pt x="118" y="268"/>
                  </a:cubicBezTo>
                  <a:cubicBezTo>
                    <a:pt x="118" y="268"/>
                    <a:pt x="118" y="268"/>
                    <a:pt x="118" y="268"/>
                  </a:cubicBezTo>
                  <a:cubicBezTo>
                    <a:pt x="118" y="267"/>
                    <a:pt x="118" y="267"/>
                    <a:pt x="118" y="267"/>
                  </a:cubicBezTo>
                  <a:cubicBezTo>
                    <a:pt x="118" y="266"/>
                    <a:pt x="118" y="266"/>
                    <a:pt x="118" y="266"/>
                  </a:cubicBezTo>
                  <a:cubicBezTo>
                    <a:pt x="118" y="266"/>
                    <a:pt x="118" y="266"/>
                    <a:pt x="118" y="266"/>
                  </a:cubicBezTo>
                  <a:cubicBezTo>
                    <a:pt x="118" y="266"/>
                    <a:pt x="118" y="266"/>
                    <a:pt x="118" y="266"/>
                  </a:cubicBezTo>
                  <a:cubicBezTo>
                    <a:pt x="117" y="265"/>
                    <a:pt x="117" y="265"/>
                    <a:pt x="117" y="265"/>
                  </a:cubicBezTo>
                  <a:cubicBezTo>
                    <a:pt x="117" y="264"/>
                    <a:pt x="117" y="264"/>
                    <a:pt x="117" y="264"/>
                  </a:cubicBezTo>
                  <a:cubicBezTo>
                    <a:pt x="117" y="264"/>
                    <a:pt x="117" y="264"/>
                    <a:pt x="117" y="264"/>
                  </a:cubicBezTo>
                  <a:cubicBezTo>
                    <a:pt x="117" y="264"/>
                    <a:pt x="117" y="264"/>
                    <a:pt x="117" y="264"/>
                  </a:cubicBezTo>
                  <a:cubicBezTo>
                    <a:pt x="117" y="264"/>
                    <a:pt x="117" y="264"/>
                    <a:pt x="117" y="264"/>
                  </a:cubicBezTo>
                  <a:cubicBezTo>
                    <a:pt x="116" y="264"/>
                    <a:pt x="116" y="264"/>
                    <a:pt x="116" y="264"/>
                  </a:cubicBezTo>
                  <a:cubicBezTo>
                    <a:pt x="116" y="264"/>
                    <a:pt x="116" y="264"/>
                    <a:pt x="116" y="264"/>
                  </a:cubicBezTo>
                  <a:cubicBezTo>
                    <a:pt x="116" y="264"/>
                    <a:pt x="116" y="264"/>
                    <a:pt x="116" y="264"/>
                  </a:cubicBezTo>
                  <a:cubicBezTo>
                    <a:pt x="116" y="264"/>
                    <a:pt x="116" y="264"/>
                    <a:pt x="116" y="264"/>
                  </a:cubicBezTo>
                  <a:cubicBezTo>
                    <a:pt x="115" y="265"/>
                    <a:pt x="115" y="265"/>
                    <a:pt x="115" y="265"/>
                  </a:cubicBezTo>
                  <a:cubicBezTo>
                    <a:pt x="115" y="265"/>
                    <a:pt x="115" y="265"/>
                    <a:pt x="115" y="265"/>
                  </a:cubicBezTo>
                  <a:cubicBezTo>
                    <a:pt x="115" y="265"/>
                    <a:pt x="115" y="265"/>
                    <a:pt x="115" y="265"/>
                  </a:cubicBezTo>
                  <a:cubicBezTo>
                    <a:pt x="115" y="265"/>
                    <a:pt x="115" y="265"/>
                    <a:pt x="115" y="265"/>
                  </a:cubicBezTo>
                  <a:cubicBezTo>
                    <a:pt x="115" y="266"/>
                    <a:pt x="115" y="266"/>
                    <a:pt x="115" y="266"/>
                  </a:cubicBezTo>
                  <a:cubicBezTo>
                    <a:pt x="115" y="266"/>
                    <a:pt x="115" y="266"/>
                    <a:pt x="115" y="266"/>
                  </a:cubicBezTo>
                  <a:cubicBezTo>
                    <a:pt x="115" y="266"/>
                    <a:pt x="115" y="266"/>
                    <a:pt x="115" y="266"/>
                  </a:cubicBezTo>
                  <a:cubicBezTo>
                    <a:pt x="115" y="266"/>
                    <a:pt x="115" y="266"/>
                    <a:pt x="115" y="266"/>
                  </a:cubicBezTo>
                  <a:cubicBezTo>
                    <a:pt x="115" y="267"/>
                    <a:pt x="115" y="267"/>
                    <a:pt x="115" y="267"/>
                  </a:cubicBezTo>
                  <a:cubicBezTo>
                    <a:pt x="116" y="268"/>
                    <a:pt x="116" y="268"/>
                    <a:pt x="116" y="268"/>
                  </a:cubicBezTo>
                  <a:cubicBezTo>
                    <a:pt x="116" y="268"/>
                    <a:pt x="116" y="268"/>
                    <a:pt x="116" y="268"/>
                  </a:cubicBezTo>
                  <a:cubicBezTo>
                    <a:pt x="116" y="268"/>
                    <a:pt x="116" y="268"/>
                    <a:pt x="116" y="268"/>
                  </a:cubicBezTo>
                  <a:cubicBezTo>
                    <a:pt x="116" y="268"/>
                    <a:pt x="116" y="268"/>
                    <a:pt x="116" y="268"/>
                  </a:cubicBezTo>
                  <a:cubicBezTo>
                    <a:pt x="116" y="268"/>
                    <a:pt x="116" y="268"/>
                    <a:pt x="116" y="268"/>
                  </a:cubicBezTo>
                  <a:cubicBezTo>
                    <a:pt x="116" y="269"/>
                    <a:pt x="116" y="269"/>
                    <a:pt x="116" y="269"/>
                  </a:cubicBezTo>
                  <a:cubicBezTo>
                    <a:pt x="116" y="269"/>
                    <a:pt x="116" y="269"/>
                    <a:pt x="116" y="269"/>
                  </a:cubicBezTo>
                  <a:cubicBezTo>
                    <a:pt x="116" y="269"/>
                    <a:pt x="116" y="269"/>
                    <a:pt x="116" y="269"/>
                  </a:cubicBezTo>
                  <a:cubicBezTo>
                    <a:pt x="116" y="269"/>
                    <a:pt x="116" y="269"/>
                    <a:pt x="116" y="269"/>
                  </a:cubicBezTo>
                  <a:cubicBezTo>
                    <a:pt x="116" y="269"/>
                    <a:pt x="116" y="269"/>
                    <a:pt x="116" y="269"/>
                  </a:cubicBezTo>
                  <a:cubicBezTo>
                    <a:pt x="117" y="269"/>
                    <a:pt x="117" y="269"/>
                    <a:pt x="117" y="269"/>
                  </a:cubicBezTo>
                  <a:cubicBezTo>
                    <a:pt x="117" y="270"/>
                    <a:pt x="117" y="270"/>
                    <a:pt x="117" y="270"/>
                  </a:cubicBezTo>
                  <a:cubicBezTo>
                    <a:pt x="118" y="270"/>
                    <a:pt x="118" y="270"/>
                    <a:pt x="118" y="270"/>
                  </a:cubicBezTo>
                  <a:cubicBezTo>
                    <a:pt x="118" y="270"/>
                    <a:pt x="118" y="270"/>
                    <a:pt x="118" y="270"/>
                  </a:cubicBezTo>
                  <a:cubicBezTo>
                    <a:pt x="121" y="272"/>
                    <a:pt x="121" y="272"/>
                    <a:pt x="121" y="272"/>
                  </a:cubicBezTo>
                  <a:cubicBezTo>
                    <a:pt x="121" y="272"/>
                    <a:pt x="121" y="272"/>
                    <a:pt x="121" y="272"/>
                  </a:cubicBezTo>
                  <a:cubicBezTo>
                    <a:pt x="121" y="272"/>
                    <a:pt x="121" y="272"/>
                    <a:pt x="121" y="272"/>
                  </a:cubicBezTo>
                  <a:cubicBezTo>
                    <a:pt x="121" y="272"/>
                    <a:pt x="121" y="272"/>
                    <a:pt x="121" y="272"/>
                  </a:cubicBezTo>
                  <a:cubicBezTo>
                    <a:pt x="122" y="272"/>
                    <a:pt x="122" y="272"/>
                    <a:pt x="122" y="272"/>
                  </a:cubicBezTo>
                  <a:cubicBezTo>
                    <a:pt x="122" y="272"/>
                    <a:pt x="122" y="272"/>
                    <a:pt x="122" y="272"/>
                  </a:cubicBezTo>
                  <a:cubicBezTo>
                    <a:pt x="122" y="271"/>
                    <a:pt x="122" y="271"/>
                    <a:pt x="122" y="271"/>
                  </a:cubicBezTo>
                  <a:cubicBezTo>
                    <a:pt x="122" y="270"/>
                    <a:pt x="122" y="270"/>
                    <a:pt x="122" y="270"/>
                  </a:cubicBezTo>
                  <a:cubicBezTo>
                    <a:pt x="122" y="270"/>
                    <a:pt x="122" y="270"/>
                    <a:pt x="122" y="270"/>
                  </a:cubicBezTo>
                  <a:cubicBezTo>
                    <a:pt x="122" y="270"/>
                    <a:pt x="122" y="270"/>
                    <a:pt x="122" y="270"/>
                  </a:cubicBezTo>
                  <a:cubicBezTo>
                    <a:pt x="123" y="270"/>
                    <a:pt x="123" y="270"/>
                    <a:pt x="123" y="270"/>
                  </a:cubicBezTo>
                  <a:cubicBezTo>
                    <a:pt x="123" y="270"/>
                    <a:pt x="123" y="270"/>
                    <a:pt x="123" y="270"/>
                  </a:cubicBezTo>
                  <a:cubicBezTo>
                    <a:pt x="123" y="269"/>
                    <a:pt x="123" y="269"/>
                    <a:pt x="123" y="269"/>
                  </a:cubicBezTo>
                  <a:cubicBezTo>
                    <a:pt x="123" y="269"/>
                    <a:pt x="123" y="269"/>
                    <a:pt x="123" y="269"/>
                  </a:cubicBezTo>
                  <a:cubicBezTo>
                    <a:pt x="123" y="269"/>
                    <a:pt x="123" y="269"/>
                    <a:pt x="123" y="269"/>
                  </a:cubicBezTo>
                  <a:cubicBezTo>
                    <a:pt x="124" y="269"/>
                    <a:pt x="124" y="269"/>
                    <a:pt x="124" y="269"/>
                  </a:cubicBezTo>
                  <a:cubicBezTo>
                    <a:pt x="124" y="269"/>
                    <a:pt x="124" y="269"/>
                    <a:pt x="124" y="269"/>
                  </a:cubicBezTo>
                  <a:cubicBezTo>
                    <a:pt x="124" y="269"/>
                    <a:pt x="124" y="269"/>
                    <a:pt x="124" y="269"/>
                  </a:cubicBezTo>
                  <a:cubicBezTo>
                    <a:pt x="124" y="269"/>
                    <a:pt x="124" y="269"/>
                    <a:pt x="124" y="269"/>
                  </a:cubicBezTo>
                  <a:cubicBezTo>
                    <a:pt x="124" y="269"/>
                    <a:pt x="124" y="269"/>
                    <a:pt x="124" y="269"/>
                  </a:cubicBezTo>
                  <a:cubicBezTo>
                    <a:pt x="125" y="269"/>
                    <a:pt x="125" y="269"/>
                    <a:pt x="125" y="269"/>
                  </a:cubicBezTo>
                  <a:cubicBezTo>
                    <a:pt x="125" y="269"/>
                    <a:pt x="125" y="269"/>
                    <a:pt x="125" y="269"/>
                  </a:cubicBezTo>
                  <a:cubicBezTo>
                    <a:pt x="125" y="269"/>
                    <a:pt x="125" y="269"/>
                    <a:pt x="125" y="269"/>
                  </a:cubicBezTo>
                  <a:cubicBezTo>
                    <a:pt x="125" y="269"/>
                    <a:pt x="125" y="269"/>
                    <a:pt x="125" y="269"/>
                  </a:cubicBezTo>
                  <a:cubicBezTo>
                    <a:pt x="125" y="269"/>
                    <a:pt x="125" y="269"/>
                    <a:pt x="125" y="269"/>
                  </a:cubicBezTo>
                  <a:cubicBezTo>
                    <a:pt x="126" y="269"/>
                    <a:pt x="126" y="269"/>
                    <a:pt x="126" y="269"/>
                  </a:cubicBezTo>
                  <a:cubicBezTo>
                    <a:pt x="126" y="268"/>
                    <a:pt x="126" y="268"/>
                    <a:pt x="126" y="268"/>
                  </a:cubicBezTo>
                  <a:cubicBezTo>
                    <a:pt x="126" y="268"/>
                    <a:pt x="126" y="268"/>
                    <a:pt x="126" y="268"/>
                  </a:cubicBezTo>
                  <a:cubicBezTo>
                    <a:pt x="126" y="268"/>
                    <a:pt x="126" y="268"/>
                    <a:pt x="126" y="268"/>
                  </a:cubicBezTo>
                  <a:cubicBezTo>
                    <a:pt x="126" y="267"/>
                    <a:pt x="126" y="267"/>
                    <a:pt x="126" y="267"/>
                  </a:cubicBezTo>
                  <a:cubicBezTo>
                    <a:pt x="126" y="267"/>
                    <a:pt x="126" y="267"/>
                    <a:pt x="126" y="267"/>
                  </a:cubicBezTo>
                  <a:cubicBezTo>
                    <a:pt x="126" y="267"/>
                    <a:pt x="126" y="267"/>
                    <a:pt x="126" y="267"/>
                  </a:cubicBezTo>
                  <a:cubicBezTo>
                    <a:pt x="126" y="267"/>
                    <a:pt x="126" y="267"/>
                    <a:pt x="126" y="267"/>
                  </a:cubicBezTo>
                  <a:cubicBezTo>
                    <a:pt x="127" y="267"/>
                    <a:pt x="127" y="267"/>
                    <a:pt x="127" y="267"/>
                  </a:cubicBezTo>
                  <a:cubicBezTo>
                    <a:pt x="127" y="267"/>
                    <a:pt x="127" y="267"/>
                    <a:pt x="127" y="267"/>
                  </a:cubicBezTo>
                  <a:cubicBezTo>
                    <a:pt x="127" y="267"/>
                    <a:pt x="127" y="267"/>
                    <a:pt x="127" y="267"/>
                  </a:cubicBezTo>
                  <a:cubicBezTo>
                    <a:pt x="127" y="268"/>
                    <a:pt x="127" y="268"/>
                    <a:pt x="127" y="268"/>
                  </a:cubicBezTo>
                  <a:cubicBezTo>
                    <a:pt x="126" y="268"/>
                    <a:pt x="126" y="268"/>
                    <a:pt x="126" y="268"/>
                  </a:cubicBezTo>
                  <a:cubicBezTo>
                    <a:pt x="126" y="268"/>
                    <a:pt x="126" y="268"/>
                    <a:pt x="126" y="268"/>
                  </a:cubicBezTo>
                  <a:cubicBezTo>
                    <a:pt x="126" y="268"/>
                    <a:pt x="126" y="268"/>
                    <a:pt x="126" y="268"/>
                  </a:cubicBezTo>
                  <a:cubicBezTo>
                    <a:pt x="126" y="269"/>
                    <a:pt x="126" y="269"/>
                    <a:pt x="126" y="269"/>
                  </a:cubicBezTo>
                  <a:cubicBezTo>
                    <a:pt x="126" y="269"/>
                    <a:pt x="126" y="269"/>
                    <a:pt x="126" y="269"/>
                  </a:cubicBezTo>
                  <a:cubicBezTo>
                    <a:pt x="126" y="269"/>
                    <a:pt x="126" y="269"/>
                    <a:pt x="126" y="269"/>
                  </a:cubicBezTo>
                  <a:cubicBezTo>
                    <a:pt x="126" y="269"/>
                    <a:pt x="126" y="269"/>
                    <a:pt x="126" y="269"/>
                  </a:cubicBezTo>
                  <a:cubicBezTo>
                    <a:pt x="126" y="269"/>
                    <a:pt x="126" y="269"/>
                    <a:pt x="126" y="269"/>
                  </a:cubicBezTo>
                  <a:cubicBezTo>
                    <a:pt x="126" y="269"/>
                    <a:pt x="126" y="269"/>
                    <a:pt x="126" y="269"/>
                  </a:cubicBezTo>
                  <a:cubicBezTo>
                    <a:pt x="126" y="269"/>
                    <a:pt x="126" y="269"/>
                    <a:pt x="126" y="269"/>
                  </a:cubicBezTo>
                  <a:cubicBezTo>
                    <a:pt x="125" y="270"/>
                    <a:pt x="125" y="270"/>
                    <a:pt x="125" y="270"/>
                  </a:cubicBezTo>
                  <a:cubicBezTo>
                    <a:pt x="125" y="270"/>
                    <a:pt x="125" y="270"/>
                    <a:pt x="125" y="270"/>
                  </a:cubicBezTo>
                  <a:cubicBezTo>
                    <a:pt x="125" y="271"/>
                    <a:pt x="125" y="271"/>
                    <a:pt x="125" y="271"/>
                  </a:cubicBezTo>
                  <a:cubicBezTo>
                    <a:pt x="125" y="272"/>
                    <a:pt x="125" y="272"/>
                    <a:pt x="125" y="272"/>
                  </a:cubicBezTo>
                  <a:cubicBezTo>
                    <a:pt x="125" y="272"/>
                    <a:pt x="125" y="272"/>
                    <a:pt x="125" y="272"/>
                  </a:cubicBezTo>
                  <a:cubicBezTo>
                    <a:pt x="125" y="273"/>
                    <a:pt x="125" y="273"/>
                    <a:pt x="125" y="273"/>
                  </a:cubicBezTo>
                  <a:cubicBezTo>
                    <a:pt x="125" y="273"/>
                    <a:pt x="125" y="273"/>
                    <a:pt x="125" y="273"/>
                  </a:cubicBezTo>
                  <a:cubicBezTo>
                    <a:pt x="124" y="273"/>
                    <a:pt x="124" y="273"/>
                    <a:pt x="124" y="273"/>
                  </a:cubicBezTo>
                  <a:cubicBezTo>
                    <a:pt x="124" y="273"/>
                    <a:pt x="124" y="273"/>
                    <a:pt x="124" y="273"/>
                  </a:cubicBezTo>
                  <a:cubicBezTo>
                    <a:pt x="124" y="273"/>
                    <a:pt x="124" y="273"/>
                    <a:pt x="124" y="273"/>
                  </a:cubicBezTo>
                  <a:cubicBezTo>
                    <a:pt x="124" y="274"/>
                    <a:pt x="124" y="274"/>
                    <a:pt x="124" y="274"/>
                  </a:cubicBezTo>
                  <a:cubicBezTo>
                    <a:pt x="124" y="274"/>
                    <a:pt x="124" y="274"/>
                    <a:pt x="124" y="274"/>
                  </a:cubicBezTo>
                  <a:cubicBezTo>
                    <a:pt x="125" y="274"/>
                    <a:pt x="125" y="274"/>
                    <a:pt x="125" y="274"/>
                  </a:cubicBezTo>
                  <a:cubicBezTo>
                    <a:pt x="125" y="274"/>
                    <a:pt x="125" y="274"/>
                    <a:pt x="125" y="274"/>
                  </a:cubicBezTo>
                  <a:cubicBezTo>
                    <a:pt x="127" y="275"/>
                    <a:pt x="127" y="275"/>
                    <a:pt x="127" y="275"/>
                  </a:cubicBezTo>
                  <a:cubicBezTo>
                    <a:pt x="128" y="275"/>
                    <a:pt x="128" y="275"/>
                    <a:pt x="128" y="275"/>
                  </a:cubicBezTo>
                  <a:cubicBezTo>
                    <a:pt x="129" y="274"/>
                    <a:pt x="129" y="274"/>
                    <a:pt x="129" y="274"/>
                  </a:cubicBezTo>
                  <a:cubicBezTo>
                    <a:pt x="130" y="274"/>
                    <a:pt x="130" y="274"/>
                    <a:pt x="130" y="274"/>
                  </a:cubicBezTo>
                  <a:cubicBezTo>
                    <a:pt x="130" y="273"/>
                    <a:pt x="130" y="273"/>
                    <a:pt x="130" y="273"/>
                  </a:cubicBezTo>
                  <a:cubicBezTo>
                    <a:pt x="130" y="273"/>
                    <a:pt x="130" y="273"/>
                    <a:pt x="130" y="273"/>
                  </a:cubicBezTo>
                  <a:cubicBezTo>
                    <a:pt x="130" y="273"/>
                    <a:pt x="130" y="273"/>
                    <a:pt x="130" y="273"/>
                  </a:cubicBezTo>
                  <a:cubicBezTo>
                    <a:pt x="130" y="273"/>
                    <a:pt x="130" y="273"/>
                    <a:pt x="130" y="273"/>
                  </a:cubicBezTo>
                  <a:cubicBezTo>
                    <a:pt x="130" y="273"/>
                    <a:pt x="130" y="273"/>
                    <a:pt x="130" y="273"/>
                  </a:cubicBezTo>
                  <a:cubicBezTo>
                    <a:pt x="130" y="273"/>
                    <a:pt x="130" y="273"/>
                    <a:pt x="130" y="273"/>
                  </a:cubicBezTo>
                  <a:cubicBezTo>
                    <a:pt x="130" y="274"/>
                    <a:pt x="130" y="274"/>
                    <a:pt x="130" y="274"/>
                  </a:cubicBezTo>
                  <a:cubicBezTo>
                    <a:pt x="129" y="275"/>
                    <a:pt x="129" y="275"/>
                    <a:pt x="129" y="275"/>
                  </a:cubicBezTo>
                  <a:cubicBezTo>
                    <a:pt x="128" y="276"/>
                    <a:pt x="128" y="276"/>
                    <a:pt x="128" y="276"/>
                  </a:cubicBezTo>
                  <a:cubicBezTo>
                    <a:pt x="128" y="276"/>
                    <a:pt x="128" y="276"/>
                    <a:pt x="128" y="276"/>
                  </a:cubicBezTo>
                  <a:cubicBezTo>
                    <a:pt x="127" y="276"/>
                    <a:pt x="127" y="276"/>
                    <a:pt x="127" y="276"/>
                  </a:cubicBezTo>
                  <a:cubicBezTo>
                    <a:pt x="127" y="276"/>
                    <a:pt x="127" y="276"/>
                    <a:pt x="127" y="276"/>
                  </a:cubicBezTo>
                  <a:cubicBezTo>
                    <a:pt x="127" y="276"/>
                    <a:pt x="127" y="276"/>
                    <a:pt x="127" y="276"/>
                  </a:cubicBezTo>
                  <a:cubicBezTo>
                    <a:pt x="127" y="276"/>
                    <a:pt x="127" y="276"/>
                    <a:pt x="127" y="276"/>
                  </a:cubicBezTo>
                  <a:cubicBezTo>
                    <a:pt x="127" y="276"/>
                    <a:pt x="127" y="276"/>
                    <a:pt x="127" y="276"/>
                  </a:cubicBezTo>
                  <a:cubicBezTo>
                    <a:pt x="126" y="275"/>
                    <a:pt x="126" y="275"/>
                    <a:pt x="126" y="275"/>
                  </a:cubicBezTo>
                  <a:cubicBezTo>
                    <a:pt x="126" y="276"/>
                    <a:pt x="126" y="276"/>
                    <a:pt x="126" y="276"/>
                  </a:cubicBezTo>
                  <a:cubicBezTo>
                    <a:pt x="126" y="275"/>
                    <a:pt x="126" y="275"/>
                    <a:pt x="126" y="275"/>
                  </a:cubicBezTo>
                  <a:cubicBezTo>
                    <a:pt x="126" y="275"/>
                    <a:pt x="126" y="275"/>
                    <a:pt x="126" y="275"/>
                  </a:cubicBezTo>
                  <a:cubicBezTo>
                    <a:pt x="126" y="275"/>
                    <a:pt x="126" y="275"/>
                    <a:pt x="126" y="275"/>
                  </a:cubicBezTo>
                  <a:cubicBezTo>
                    <a:pt x="126" y="275"/>
                    <a:pt x="126" y="275"/>
                    <a:pt x="126" y="275"/>
                  </a:cubicBezTo>
                  <a:cubicBezTo>
                    <a:pt x="125" y="275"/>
                    <a:pt x="125" y="275"/>
                    <a:pt x="125" y="275"/>
                  </a:cubicBezTo>
                  <a:cubicBezTo>
                    <a:pt x="125" y="275"/>
                    <a:pt x="125" y="275"/>
                    <a:pt x="125" y="275"/>
                  </a:cubicBezTo>
                  <a:cubicBezTo>
                    <a:pt x="126" y="276"/>
                    <a:pt x="126" y="276"/>
                    <a:pt x="126" y="276"/>
                  </a:cubicBezTo>
                  <a:cubicBezTo>
                    <a:pt x="125" y="276"/>
                    <a:pt x="125" y="276"/>
                    <a:pt x="125" y="276"/>
                  </a:cubicBezTo>
                  <a:cubicBezTo>
                    <a:pt x="125" y="275"/>
                    <a:pt x="125" y="275"/>
                    <a:pt x="125" y="275"/>
                  </a:cubicBezTo>
                  <a:cubicBezTo>
                    <a:pt x="124" y="275"/>
                    <a:pt x="124" y="275"/>
                    <a:pt x="124" y="275"/>
                  </a:cubicBezTo>
                  <a:cubicBezTo>
                    <a:pt x="124" y="276"/>
                    <a:pt x="124" y="276"/>
                    <a:pt x="124" y="276"/>
                  </a:cubicBezTo>
                  <a:cubicBezTo>
                    <a:pt x="124" y="276"/>
                    <a:pt x="124" y="276"/>
                    <a:pt x="124" y="276"/>
                  </a:cubicBezTo>
                  <a:cubicBezTo>
                    <a:pt x="125" y="277"/>
                    <a:pt x="125" y="277"/>
                    <a:pt x="125" y="277"/>
                  </a:cubicBezTo>
                  <a:cubicBezTo>
                    <a:pt x="125" y="277"/>
                    <a:pt x="125" y="277"/>
                    <a:pt x="125" y="277"/>
                  </a:cubicBezTo>
                  <a:cubicBezTo>
                    <a:pt x="125" y="277"/>
                    <a:pt x="125" y="277"/>
                    <a:pt x="125" y="277"/>
                  </a:cubicBezTo>
                  <a:cubicBezTo>
                    <a:pt x="125" y="277"/>
                    <a:pt x="125" y="277"/>
                    <a:pt x="125" y="277"/>
                  </a:cubicBezTo>
                  <a:cubicBezTo>
                    <a:pt x="125" y="277"/>
                    <a:pt x="125" y="277"/>
                    <a:pt x="125" y="277"/>
                  </a:cubicBezTo>
                  <a:cubicBezTo>
                    <a:pt x="124" y="277"/>
                    <a:pt x="124" y="277"/>
                    <a:pt x="124" y="277"/>
                  </a:cubicBezTo>
                  <a:cubicBezTo>
                    <a:pt x="124" y="277"/>
                    <a:pt x="124" y="277"/>
                    <a:pt x="124" y="277"/>
                  </a:cubicBezTo>
                  <a:cubicBezTo>
                    <a:pt x="124" y="278"/>
                    <a:pt x="124" y="278"/>
                    <a:pt x="124" y="278"/>
                  </a:cubicBezTo>
                  <a:cubicBezTo>
                    <a:pt x="124" y="278"/>
                    <a:pt x="124" y="278"/>
                    <a:pt x="124" y="278"/>
                  </a:cubicBezTo>
                  <a:cubicBezTo>
                    <a:pt x="124" y="278"/>
                    <a:pt x="124" y="278"/>
                    <a:pt x="124" y="278"/>
                  </a:cubicBezTo>
                  <a:cubicBezTo>
                    <a:pt x="124" y="279"/>
                    <a:pt x="124" y="279"/>
                    <a:pt x="124" y="279"/>
                  </a:cubicBezTo>
                  <a:cubicBezTo>
                    <a:pt x="125" y="279"/>
                    <a:pt x="125" y="279"/>
                    <a:pt x="125" y="279"/>
                  </a:cubicBezTo>
                  <a:cubicBezTo>
                    <a:pt x="126" y="279"/>
                    <a:pt x="126" y="279"/>
                    <a:pt x="126" y="279"/>
                  </a:cubicBezTo>
                  <a:cubicBezTo>
                    <a:pt x="126" y="278"/>
                    <a:pt x="126" y="278"/>
                    <a:pt x="126" y="278"/>
                  </a:cubicBezTo>
                  <a:cubicBezTo>
                    <a:pt x="126" y="279"/>
                    <a:pt x="126" y="279"/>
                    <a:pt x="126" y="279"/>
                  </a:cubicBezTo>
                  <a:cubicBezTo>
                    <a:pt x="126" y="279"/>
                    <a:pt x="126" y="279"/>
                    <a:pt x="126" y="279"/>
                  </a:cubicBezTo>
                  <a:cubicBezTo>
                    <a:pt x="125" y="280"/>
                    <a:pt x="125" y="280"/>
                    <a:pt x="125" y="280"/>
                  </a:cubicBezTo>
                  <a:cubicBezTo>
                    <a:pt x="125" y="280"/>
                    <a:pt x="125" y="280"/>
                    <a:pt x="125" y="280"/>
                  </a:cubicBezTo>
                  <a:cubicBezTo>
                    <a:pt x="125" y="280"/>
                    <a:pt x="125" y="280"/>
                    <a:pt x="125" y="280"/>
                  </a:cubicBezTo>
                  <a:cubicBezTo>
                    <a:pt x="125" y="280"/>
                    <a:pt x="125" y="280"/>
                    <a:pt x="125" y="280"/>
                  </a:cubicBezTo>
                  <a:cubicBezTo>
                    <a:pt x="125" y="281"/>
                    <a:pt x="125" y="281"/>
                    <a:pt x="125" y="281"/>
                  </a:cubicBezTo>
                  <a:cubicBezTo>
                    <a:pt x="125" y="281"/>
                    <a:pt x="125" y="281"/>
                    <a:pt x="125" y="281"/>
                  </a:cubicBezTo>
                  <a:cubicBezTo>
                    <a:pt x="125" y="281"/>
                    <a:pt x="125" y="281"/>
                    <a:pt x="125" y="281"/>
                  </a:cubicBezTo>
                  <a:cubicBezTo>
                    <a:pt x="125" y="281"/>
                    <a:pt x="125" y="281"/>
                    <a:pt x="125" y="281"/>
                  </a:cubicBezTo>
                  <a:cubicBezTo>
                    <a:pt x="126" y="282"/>
                    <a:pt x="126" y="282"/>
                    <a:pt x="126" y="282"/>
                  </a:cubicBezTo>
                  <a:cubicBezTo>
                    <a:pt x="126" y="282"/>
                    <a:pt x="126" y="282"/>
                    <a:pt x="126" y="282"/>
                  </a:cubicBezTo>
                  <a:cubicBezTo>
                    <a:pt x="126" y="282"/>
                    <a:pt x="126" y="282"/>
                    <a:pt x="126" y="282"/>
                  </a:cubicBezTo>
                  <a:cubicBezTo>
                    <a:pt x="126" y="281"/>
                    <a:pt x="126" y="281"/>
                    <a:pt x="126" y="281"/>
                  </a:cubicBezTo>
                  <a:cubicBezTo>
                    <a:pt x="126" y="281"/>
                    <a:pt x="126" y="281"/>
                    <a:pt x="126" y="281"/>
                  </a:cubicBezTo>
                  <a:cubicBezTo>
                    <a:pt x="126" y="280"/>
                    <a:pt x="126" y="280"/>
                    <a:pt x="126" y="280"/>
                  </a:cubicBezTo>
                  <a:cubicBezTo>
                    <a:pt x="127" y="280"/>
                    <a:pt x="127" y="280"/>
                    <a:pt x="127" y="280"/>
                  </a:cubicBezTo>
                  <a:cubicBezTo>
                    <a:pt x="127" y="280"/>
                    <a:pt x="127" y="280"/>
                    <a:pt x="127" y="280"/>
                  </a:cubicBezTo>
                  <a:cubicBezTo>
                    <a:pt x="128" y="280"/>
                    <a:pt x="128" y="280"/>
                    <a:pt x="128" y="280"/>
                  </a:cubicBezTo>
                  <a:cubicBezTo>
                    <a:pt x="128" y="280"/>
                    <a:pt x="128" y="280"/>
                    <a:pt x="128" y="280"/>
                  </a:cubicBezTo>
                  <a:cubicBezTo>
                    <a:pt x="128" y="280"/>
                    <a:pt x="128" y="280"/>
                    <a:pt x="128" y="280"/>
                  </a:cubicBezTo>
                  <a:cubicBezTo>
                    <a:pt x="128" y="281"/>
                    <a:pt x="128" y="281"/>
                    <a:pt x="128" y="281"/>
                  </a:cubicBezTo>
                  <a:cubicBezTo>
                    <a:pt x="128" y="281"/>
                    <a:pt x="128" y="281"/>
                    <a:pt x="128" y="281"/>
                  </a:cubicBezTo>
                  <a:cubicBezTo>
                    <a:pt x="128" y="281"/>
                    <a:pt x="128" y="281"/>
                    <a:pt x="128" y="281"/>
                  </a:cubicBezTo>
                  <a:cubicBezTo>
                    <a:pt x="128" y="282"/>
                    <a:pt x="128" y="282"/>
                    <a:pt x="128" y="282"/>
                  </a:cubicBezTo>
                  <a:cubicBezTo>
                    <a:pt x="129" y="282"/>
                    <a:pt x="129" y="282"/>
                    <a:pt x="129" y="282"/>
                  </a:cubicBezTo>
                  <a:cubicBezTo>
                    <a:pt x="129" y="282"/>
                    <a:pt x="129" y="282"/>
                    <a:pt x="129" y="282"/>
                  </a:cubicBezTo>
                  <a:cubicBezTo>
                    <a:pt x="129" y="282"/>
                    <a:pt x="129" y="282"/>
                    <a:pt x="129" y="282"/>
                  </a:cubicBezTo>
                  <a:cubicBezTo>
                    <a:pt x="129" y="282"/>
                    <a:pt x="129" y="282"/>
                    <a:pt x="129" y="282"/>
                  </a:cubicBezTo>
                  <a:cubicBezTo>
                    <a:pt x="129" y="282"/>
                    <a:pt x="129" y="282"/>
                    <a:pt x="129" y="282"/>
                  </a:cubicBezTo>
                  <a:cubicBezTo>
                    <a:pt x="161" y="289"/>
                    <a:pt x="194" y="295"/>
                    <a:pt x="226" y="299"/>
                  </a:cubicBezTo>
                  <a:cubicBezTo>
                    <a:pt x="232" y="300"/>
                    <a:pt x="239" y="301"/>
                    <a:pt x="245" y="302"/>
                  </a:cubicBezTo>
                  <a:cubicBezTo>
                    <a:pt x="245" y="302"/>
                    <a:pt x="245" y="302"/>
                    <a:pt x="245" y="302"/>
                  </a:cubicBezTo>
                  <a:cubicBezTo>
                    <a:pt x="245" y="302"/>
                    <a:pt x="245" y="302"/>
                    <a:pt x="245" y="302"/>
                  </a:cubicBezTo>
                  <a:cubicBezTo>
                    <a:pt x="246" y="301"/>
                    <a:pt x="246" y="301"/>
                    <a:pt x="246" y="301"/>
                  </a:cubicBezTo>
                  <a:cubicBezTo>
                    <a:pt x="246" y="301"/>
                    <a:pt x="246" y="301"/>
                    <a:pt x="246" y="301"/>
                  </a:cubicBezTo>
                  <a:cubicBezTo>
                    <a:pt x="246" y="301"/>
                    <a:pt x="246" y="301"/>
                    <a:pt x="246" y="301"/>
                  </a:cubicBezTo>
                  <a:close/>
                  <a:moveTo>
                    <a:pt x="64" y="141"/>
                  </a:moveTo>
                  <a:cubicBezTo>
                    <a:pt x="65" y="141"/>
                    <a:pt x="65" y="141"/>
                    <a:pt x="65" y="141"/>
                  </a:cubicBezTo>
                  <a:cubicBezTo>
                    <a:pt x="65" y="141"/>
                    <a:pt x="65" y="141"/>
                    <a:pt x="65" y="141"/>
                  </a:cubicBezTo>
                  <a:cubicBezTo>
                    <a:pt x="64" y="141"/>
                    <a:pt x="64" y="141"/>
                    <a:pt x="64" y="141"/>
                  </a:cubicBezTo>
                  <a:cubicBezTo>
                    <a:pt x="64" y="142"/>
                    <a:pt x="64" y="142"/>
                    <a:pt x="64" y="142"/>
                  </a:cubicBezTo>
                  <a:cubicBezTo>
                    <a:pt x="63" y="142"/>
                    <a:pt x="63" y="142"/>
                    <a:pt x="63" y="142"/>
                  </a:cubicBezTo>
                  <a:cubicBezTo>
                    <a:pt x="63" y="142"/>
                    <a:pt x="63" y="142"/>
                    <a:pt x="63" y="142"/>
                  </a:cubicBezTo>
                  <a:cubicBezTo>
                    <a:pt x="62" y="143"/>
                    <a:pt x="62" y="143"/>
                    <a:pt x="62" y="143"/>
                  </a:cubicBezTo>
                  <a:cubicBezTo>
                    <a:pt x="62" y="143"/>
                    <a:pt x="62" y="143"/>
                    <a:pt x="62" y="143"/>
                  </a:cubicBezTo>
                  <a:cubicBezTo>
                    <a:pt x="62" y="143"/>
                    <a:pt x="62" y="143"/>
                    <a:pt x="62" y="143"/>
                  </a:cubicBezTo>
                  <a:cubicBezTo>
                    <a:pt x="62" y="143"/>
                    <a:pt x="62" y="143"/>
                    <a:pt x="62" y="143"/>
                  </a:cubicBezTo>
                  <a:cubicBezTo>
                    <a:pt x="63" y="143"/>
                    <a:pt x="63" y="143"/>
                    <a:pt x="63" y="143"/>
                  </a:cubicBezTo>
                  <a:cubicBezTo>
                    <a:pt x="63" y="143"/>
                    <a:pt x="63" y="143"/>
                    <a:pt x="63" y="143"/>
                  </a:cubicBezTo>
                  <a:cubicBezTo>
                    <a:pt x="63" y="143"/>
                    <a:pt x="63" y="143"/>
                    <a:pt x="63" y="143"/>
                  </a:cubicBezTo>
                  <a:cubicBezTo>
                    <a:pt x="64" y="143"/>
                    <a:pt x="64" y="143"/>
                    <a:pt x="64" y="143"/>
                  </a:cubicBezTo>
                  <a:cubicBezTo>
                    <a:pt x="64" y="142"/>
                    <a:pt x="64" y="142"/>
                    <a:pt x="64" y="142"/>
                  </a:cubicBezTo>
                  <a:cubicBezTo>
                    <a:pt x="64" y="142"/>
                    <a:pt x="64" y="142"/>
                    <a:pt x="64" y="142"/>
                  </a:cubicBezTo>
                  <a:cubicBezTo>
                    <a:pt x="64" y="142"/>
                    <a:pt x="64" y="142"/>
                    <a:pt x="64" y="142"/>
                  </a:cubicBezTo>
                  <a:cubicBezTo>
                    <a:pt x="64" y="142"/>
                    <a:pt x="64" y="142"/>
                    <a:pt x="64" y="142"/>
                  </a:cubicBezTo>
                  <a:cubicBezTo>
                    <a:pt x="65" y="141"/>
                    <a:pt x="65" y="141"/>
                    <a:pt x="65" y="141"/>
                  </a:cubicBezTo>
                  <a:cubicBezTo>
                    <a:pt x="64" y="141"/>
                    <a:pt x="64" y="141"/>
                    <a:pt x="64" y="141"/>
                  </a:cubicBezTo>
                  <a:cubicBezTo>
                    <a:pt x="64" y="141"/>
                    <a:pt x="64" y="141"/>
                    <a:pt x="64" y="141"/>
                  </a:cubicBezTo>
                  <a:cubicBezTo>
                    <a:pt x="64" y="141"/>
                    <a:pt x="64" y="141"/>
                    <a:pt x="64" y="141"/>
                  </a:cubicBezTo>
                  <a:close/>
                  <a:moveTo>
                    <a:pt x="65" y="139"/>
                  </a:moveTo>
                  <a:cubicBezTo>
                    <a:pt x="65" y="139"/>
                    <a:pt x="65" y="139"/>
                    <a:pt x="65" y="139"/>
                  </a:cubicBezTo>
                  <a:cubicBezTo>
                    <a:pt x="66" y="139"/>
                    <a:pt x="66" y="139"/>
                    <a:pt x="66" y="139"/>
                  </a:cubicBezTo>
                  <a:cubicBezTo>
                    <a:pt x="66" y="138"/>
                    <a:pt x="66" y="138"/>
                    <a:pt x="66" y="138"/>
                  </a:cubicBezTo>
                  <a:cubicBezTo>
                    <a:pt x="66" y="138"/>
                    <a:pt x="66" y="138"/>
                    <a:pt x="66" y="138"/>
                  </a:cubicBezTo>
                  <a:cubicBezTo>
                    <a:pt x="66" y="137"/>
                    <a:pt x="66" y="137"/>
                    <a:pt x="66" y="137"/>
                  </a:cubicBezTo>
                  <a:cubicBezTo>
                    <a:pt x="66" y="137"/>
                    <a:pt x="66" y="137"/>
                    <a:pt x="66" y="137"/>
                  </a:cubicBezTo>
                  <a:cubicBezTo>
                    <a:pt x="66" y="136"/>
                    <a:pt x="66" y="136"/>
                    <a:pt x="66" y="136"/>
                  </a:cubicBezTo>
                  <a:cubicBezTo>
                    <a:pt x="66" y="137"/>
                    <a:pt x="66" y="137"/>
                    <a:pt x="66" y="137"/>
                  </a:cubicBezTo>
                  <a:cubicBezTo>
                    <a:pt x="65" y="138"/>
                    <a:pt x="65" y="138"/>
                    <a:pt x="65" y="138"/>
                  </a:cubicBezTo>
                  <a:cubicBezTo>
                    <a:pt x="62" y="139"/>
                    <a:pt x="62" y="139"/>
                    <a:pt x="62" y="139"/>
                  </a:cubicBezTo>
                  <a:cubicBezTo>
                    <a:pt x="62" y="140"/>
                    <a:pt x="62" y="140"/>
                    <a:pt x="62" y="140"/>
                  </a:cubicBezTo>
                  <a:cubicBezTo>
                    <a:pt x="62" y="140"/>
                    <a:pt x="62" y="140"/>
                    <a:pt x="62" y="140"/>
                  </a:cubicBezTo>
                  <a:cubicBezTo>
                    <a:pt x="62" y="140"/>
                    <a:pt x="62" y="140"/>
                    <a:pt x="62" y="140"/>
                  </a:cubicBezTo>
                  <a:cubicBezTo>
                    <a:pt x="62" y="141"/>
                    <a:pt x="62" y="141"/>
                    <a:pt x="62" y="141"/>
                  </a:cubicBezTo>
                  <a:cubicBezTo>
                    <a:pt x="62" y="141"/>
                    <a:pt x="62" y="141"/>
                    <a:pt x="62" y="141"/>
                  </a:cubicBezTo>
                  <a:cubicBezTo>
                    <a:pt x="62" y="141"/>
                    <a:pt x="62" y="141"/>
                    <a:pt x="62" y="141"/>
                  </a:cubicBezTo>
                  <a:cubicBezTo>
                    <a:pt x="62" y="141"/>
                    <a:pt x="62" y="141"/>
                    <a:pt x="62" y="141"/>
                  </a:cubicBezTo>
                  <a:cubicBezTo>
                    <a:pt x="62" y="141"/>
                    <a:pt x="62" y="141"/>
                    <a:pt x="62" y="141"/>
                  </a:cubicBezTo>
                  <a:cubicBezTo>
                    <a:pt x="62" y="141"/>
                    <a:pt x="62" y="141"/>
                    <a:pt x="62" y="141"/>
                  </a:cubicBezTo>
                  <a:cubicBezTo>
                    <a:pt x="63" y="141"/>
                    <a:pt x="63" y="141"/>
                    <a:pt x="63" y="141"/>
                  </a:cubicBezTo>
                  <a:cubicBezTo>
                    <a:pt x="64" y="140"/>
                    <a:pt x="64" y="140"/>
                    <a:pt x="64" y="140"/>
                  </a:cubicBezTo>
                  <a:cubicBezTo>
                    <a:pt x="64" y="140"/>
                    <a:pt x="64" y="140"/>
                    <a:pt x="64" y="140"/>
                  </a:cubicBezTo>
                  <a:cubicBezTo>
                    <a:pt x="64" y="140"/>
                    <a:pt x="64" y="140"/>
                    <a:pt x="64" y="140"/>
                  </a:cubicBezTo>
                  <a:cubicBezTo>
                    <a:pt x="65" y="139"/>
                    <a:pt x="65" y="139"/>
                    <a:pt x="65" y="139"/>
                  </a:cubicBezTo>
                  <a:close/>
                  <a:moveTo>
                    <a:pt x="125" y="286"/>
                  </a:moveTo>
                  <a:cubicBezTo>
                    <a:pt x="124" y="285"/>
                    <a:pt x="124" y="285"/>
                    <a:pt x="124" y="285"/>
                  </a:cubicBezTo>
                  <a:cubicBezTo>
                    <a:pt x="123" y="285"/>
                    <a:pt x="123" y="285"/>
                    <a:pt x="123" y="285"/>
                  </a:cubicBezTo>
                  <a:cubicBezTo>
                    <a:pt x="123" y="285"/>
                    <a:pt x="123" y="285"/>
                    <a:pt x="123" y="285"/>
                  </a:cubicBezTo>
                  <a:cubicBezTo>
                    <a:pt x="123" y="284"/>
                    <a:pt x="123" y="284"/>
                    <a:pt x="123" y="284"/>
                  </a:cubicBezTo>
                  <a:cubicBezTo>
                    <a:pt x="123" y="284"/>
                    <a:pt x="123" y="284"/>
                    <a:pt x="123" y="284"/>
                  </a:cubicBezTo>
                  <a:cubicBezTo>
                    <a:pt x="123" y="285"/>
                    <a:pt x="123" y="285"/>
                    <a:pt x="123" y="285"/>
                  </a:cubicBezTo>
                  <a:cubicBezTo>
                    <a:pt x="123" y="285"/>
                    <a:pt x="123" y="285"/>
                    <a:pt x="123" y="285"/>
                  </a:cubicBezTo>
                  <a:cubicBezTo>
                    <a:pt x="123" y="285"/>
                    <a:pt x="123" y="285"/>
                    <a:pt x="123" y="285"/>
                  </a:cubicBezTo>
                  <a:cubicBezTo>
                    <a:pt x="123" y="285"/>
                    <a:pt x="123" y="285"/>
                    <a:pt x="123" y="285"/>
                  </a:cubicBezTo>
                  <a:cubicBezTo>
                    <a:pt x="123" y="286"/>
                    <a:pt x="123" y="286"/>
                    <a:pt x="123" y="286"/>
                  </a:cubicBezTo>
                  <a:cubicBezTo>
                    <a:pt x="123" y="286"/>
                    <a:pt x="123" y="286"/>
                    <a:pt x="123" y="286"/>
                  </a:cubicBezTo>
                  <a:cubicBezTo>
                    <a:pt x="123" y="286"/>
                    <a:pt x="123" y="286"/>
                    <a:pt x="123" y="286"/>
                  </a:cubicBezTo>
                  <a:cubicBezTo>
                    <a:pt x="123" y="286"/>
                    <a:pt x="123" y="286"/>
                    <a:pt x="123" y="286"/>
                  </a:cubicBezTo>
                  <a:cubicBezTo>
                    <a:pt x="124" y="286"/>
                    <a:pt x="124" y="286"/>
                    <a:pt x="124" y="286"/>
                  </a:cubicBezTo>
                  <a:cubicBezTo>
                    <a:pt x="124" y="286"/>
                    <a:pt x="124" y="286"/>
                    <a:pt x="124" y="286"/>
                  </a:cubicBezTo>
                  <a:cubicBezTo>
                    <a:pt x="124" y="286"/>
                    <a:pt x="124" y="286"/>
                    <a:pt x="124" y="286"/>
                  </a:cubicBezTo>
                  <a:cubicBezTo>
                    <a:pt x="124" y="286"/>
                    <a:pt x="124" y="286"/>
                    <a:pt x="124" y="286"/>
                  </a:cubicBezTo>
                  <a:cubicBezTo>
                    <a:pt x="124" y="286"/>
                    <a:pt x="124" y="286"/>
                    <a:pt x="124" y="286"/>
                  </a:cubicBezTo>
                  <a:cubicBezTo>
                    <a:pt x="125" y="286"/>
                    <a:pt x="125" y="286"/>
                    <a:pt x="125" y="286"/>
                  </a:cubicBezTo>
                  <a:cubicBezTo>
                    <a:pt x="125" y="286"/>
                    <a:pt x="125" y="286"/>
                    <a:pt x="125" y="286"/>
                  </a:cubicBezTo>
                  <a:cubicBezTo>
                    <a:pt x="125" y="286"/>
                    <a:pt x="125" y="286"/>
                    <a:pt x="125" y="286"/>
                  </a:cubicBezTo>
                  <a:close/>
                  <a:moveTo>
                    <a:pt x="122" y="271"/>
                  </a:moveTo>
                  <a:cubicBezTo>
                    <a:pt x="123" y="271"/>
                    <a:pt x="123" y="271"/>
                    <a:pt x="123" y="271"/>
                  </a:cubicBezTo>
                  <a:cubicBezTo>
                    <a:pt x="123" y="271"/>
                    <a:pt x="123" y="271"/>
                    <a:pt x="123" y="271"/>
                  </a:cubicBezTo>
                  <a:cubicBezTo>
                    <a:pt x="123" y="271"/>
                    <a:pt x="123" y="271"/>
                    <a:pt x="123" y="271"/>
                  </a:cubicBezTo>
                  <a:cubicBezTo>
                    <a:pt x="123" y="271"/>
                    <a:pt x="123" y="271"/>
                    <a:pt x="123" y="271"/>
                  </a:cubicBezTo>
                  <a:cubicBezTo>
                    <a:pt x="123" y="271"/>
                    <a:pt x="123" y="271"/>
                    <a:pt x="123" y="271"/>
                  </a:cubicBezTo>
                  <a:cubicBezTo>
                    <a:pt x="123" y="271"/>
                    <a:pt x="123" y="271"/>
                    <a:pt x="123" y="271"/>
                  </a:cubicBezTo>
                  <a:cubicBezTo>
                    <a:pt x="123" y="272"/>
                    <a:pt x="123" y="272"/>
                    <a:pt x="123" y="272"/>
                  </a:cubicBezTo>
                  <a:cubicBezTo>
                    <a:pt x="124" y="272"/>
                    <a:pt x="124" y="272"/>
                    <a:pt x="124" y="272"/>
                  </a:cubicBezTo>
                  <a:cubicBezTo>
                    <a:pt x="124" y="271"/>
                    <a:pt x="124" y="271"/>
                    <a:pt x="124" y="271"/>
                  </a:cubicBezTo>
                  <a:cubicBezTo>
                    <a:pt x="124" y="271"/>
                    <a:pt x="124" y="271"/>
                    <a:pt x="124" y="271"/>
                  </a:cubicBezTo>
                  <a:cubicBezTo>
                    <a:pt x="124" y="270"/>
                    <a:pt x="124" y="270"/>
                    <a:pt x="124" y="270"/>
                  </a:cubicBezTo>
                  <a:cubicBezTo>
                    <a:pt x="124" y="270"/>
                    <a:pt x="124" y="270"/>
                    <a:pt x="124" y="270"/>
                  </a:cubicBezTo>
                  <a:cubicBezTo>
                    <a:pt x="124" y="270"/>
                    <a:pt x="124" y="270"/>
                    <a:pt x="124" y="270"/>
                  </a:cubicBezTo>
                  <a:cubicBezTo>
                    <a:pt x="124" y="270"/>
                    <a:pt x="124" y="270"/>
                    <a:pt x="124" y="270"/>
                  </a:cubicBezTo>
                  <a:cubicBezTo>
                    <a:pt x="123" y="270"/>
                    <a:pt x="123" y="270"/>
                    <a:pt x="123" y="270"/>
                  </a:cubicBezTo>
                  <a:cubicBezTo>
                    <a:pt x="123" y="270"/>
                    <a:pt x="123" y="270"/>
                    <a:pt x="123" y="270"/>
                  </a:cubicBezTo>
                  <a:cubicBezTo>
                    <a:pt x="123" y="270"/>
                    <a:pt x="123" y="270"/>
                    <a:pt x="123" y="270"/>
                  </a:cubicBezTo>
                  <a:cubicBezTo>
                    <a:pt x="123" y="270"/>
                    <a:pt x="123" y="270"/>
                    <a:pt x="123" y="270"/>
                  </a:cubicBezTo>
                  <a:cubicBezTo>
                    <a:pt x="122" y="270"/>
                    <a:pt x="122" y="270"/>
                    <a:pt x="122" y="270"/>
                  </a:cubicBezTo>
                  <a:cubicBezTo>
                    <a:pt x="122" y="270"/>
                    <a:pt x="122" y="270"/>
                    <a:pt x="122" y="270"/>
                  </a:cubicBezTo>
                  <a:cubicBezTo>
                    <a:pt x="122" y="271"/>
                    <a:pt x="122" y="271"/>
                    <a:pt x="122" y="271"/>
                  </a:cubicBezTo>
                  <a:cubicBezTo>
                    <a:pt x="122" y="271"/>
                    <a:pt x="122" y="271"/>
                    <a:pt x="122" y="271"/>
                  </a:cubicBezTo>
                  <a:cubicBezTo>
                    <a:pt x="122" y="271"/>
                    <a:pt x="122" y="271"/>
                    <a:pt x="122" y="271"/>
                  </a:cubicBezTo>
                  <a:cubicBezTo>
                    <a:pt x="122" y="271"/>
                    <a:pt x="122" y="271"/>
                    <a:pt x="122" y="271"/>
                  </a:cubicBezTo>
                  <a:cubicBezTo>
                    <a:pt x="122" y="271"/>
                    <a:pt x="122" y="271"/>
                    <a:pt x="122" y="271"/>
                  </a:cubicBezTo>
                  <a:close/>
                  <a:moveTo>
                    <a:pt x="122" y="286"/>
                  </a:moveTo>
                  <a:cubicBezTo>
                    <a:pt x="122" y="286"/>
                    <a:pt x="122" y="286"/>
                    <a:pt x="122" y="286"/>
                  </a:cubicBezTo>
                  <a:cubicBezTo>
                    <a:pt x="122" y="286"/>
                    <a:pt x="122" y="286"/>
                    <a:pt x="122" y="286"/>
                  </a:cubicBezTo>
                  <a:cubicBezTo>
                    <a:pt x="122" y="286"/>
                    <a:pt x="122" y="286"/>
                    <a:pt x="122" y="286"/>
                  </a:cubicBezTo>
                  <a:cubicBezTo>
                    <a:pt x="122" y="285"/>
                    <a:pt x="122" y="285"/>
                    <a:pt x="122" y="285"/>
                  </a:cubicBezTo>
                  <a:cubicBezTo>
                    <a:pt x="122" y="285"/>
                    <a:pt x="122" y="285"/>
                    <a:pt x="122" y="285"/>
                  </a:cubicBezTo>
                  <a:cubicBezTo>
                    <a:pt x="122" y="285"/>
                    <a:pt x="122" y="285"/>
                    <a:pt x="122" y="285"/>
                  </a:cubicBezTo>
                  <a:cubicBezTo>
                    <a:pt x="122" y="285"/>
                    <a:pt x="122" y="285"/>
                    <a:pt x="122" y="285"/>
                  </a:cubicBezTo>
                  <a:cubicBezTo>
                    <a:pt x="121" y="284"/>
                    <a:pt x="121" y="284"/>
                    <a:pt x="121" y="284"/>
                  </a:cubicBezTo>
                  <a:cubicBezTo>
                    <a:pt x="121" y="284"/>
                    <a:pt x="121" y="284"/>
                    <a:pt x="121" y="284"/>
                  </a:cubicBezTo>
                  <a:cubicBezTo>
                    <a:pt x="121" y="284"/>
                    <a:pt x="121" y="284"/>
                    <a:pt x="121" y="284"/>
                  </a:cubicBezTo>
                  <a:cubicBezTo>
                    <a:pt x="121" y="285"/>
                    <a:pt x="121" y="285"/>
                    <a:pt x="121" y="285"/>
                  </a:cubicBezTo>
                  <a:cubicBezTo>
                    <a:pt x="121" y="285"/>
                    <a:pt x="121" y="285"/>
                    <a:pt x="121" y="285"/>
                  </a:cubicBezTo>
                  <a:cubicBezTo>
                    <a:pt x="121" y="285"/>
                    <a:pt x="121" y="285"/>
                    <a:pt x="121" y="285"/>
                  </a:cubicBezTo>
                  <a:cubicBezTo>
                    <a:pt x="121" y="285"/>
                    <a:pt x="121" y="285"/>
                    <a:pt x="121" y="285"/>
                  </a:cubicBezTo>
                  <a:cubicBezTo>
                    <a:pt x="121" y="286"/>
                    <a:pt x="121" y="286"/>
                    <a:pt x="121" y="286"/>
                  </a:cubicBezTo>
                  <a:cubicBezTo>
                    <a:pt x="121" y="286"/>
                    <a:pt x="122" y="286"/>
                    <a:pt x="122" y="286"/>
                  </a:cubicBezTo>
                  <a:cubicBezTo>
                    <a:pt x="122" y="286"/>
                    <a:pt x="122" y="286"/>
                    <a:pt x="122" y="286"/>
                  </a:cubicBezTo>
                  <a:cubicBezTo>
                    <a:pt x="122" y="286"/>
                    <a:pt x="122" y="286"/>
                    <a:pt x="122" y="286"/>
                  </a:cubicBezTo>
                  <a:cubicBezTo>
                    <a:pt x="122" y="286"/>
                    <a:pt x="122" y="286"/>
                    <a:pt x="122" y="286"/>
                  </a:cubicBezTo>
                  <a:cubicBezTo>
                    <a:pt x="123" y="286"/>
                    <a:pt x="123" y="286"/>
                    <a:pt x="123" y="286"/>
                  </a:cubicBezTo>
                  <a:cubicBezTo>
                    <a:pt x="123" y="286"/>
                    <a:pt x="123" y="286"/>
                    <a:pt x="123" y="286"/>
                  </a:cubicBezTo>
                  <a:cubicBezTo>
                    <a:pt x="123" y="286"/>
                    <a:pt x="123" y="286"/>
                    <a:pt x="123" y="286"/>
                  </a:cubicBezTo>
                  <a:lnTo>
                    <a:pt x="122" y="286"/>
                  </a:lnTo>
                  <a:close/>
                  <a:moveTo>
                    <a:pt x="121" y="288"/>
                  </a:moveTo>
                  <a:cubicBezTo>
                    <a:pt x="121" y="288"/>
                    <a:pt x="121" y="288"/>
                    <a:pt x="121" y="288"/>
                  </a:cubicBezTo>
                  <a:cubicBezTo>
                    <a:pt x="120" y="288"/>
                    <a:pt x="120" y="288"/>
                    <a:pt x="120" y="288"/>
                  </a:cubicBezTo>
                  <a:cubicBezTo>
                    <a:pt x="120" y="288"/>
                    <a:pt x="120" y="288"/>
                    <a:pt x="120" y="288"/>
                  </a:cubicBezTo>
                  <a:cubicBezTo>
                    <a:pt x="120" y="288"/>
                    <a:pt x="120" y="288"/>
                    <a:pt x="120" y="288"/>
                  </a:cubicBezTo>
                  <a:cubicBezTo>
                    <a:pt x="120" y="288"/>
                    <a:pt x="120" y="288"/>
                    <a:pt x="120" y="288"/>
                  </a:cubicBezTo>
                  <a:cubicBezTo>
                    <a:pt x="120" y="288"/>
                    <a:pt x="120" y="288"/>
                    <a:pt x="120" y="288"/>
                  </a:cubicBezTo>
                  <a:cubicBezTo>
                    <a:pt x="120" y="288"/>
                    <a:pt x="120" y="288"/>
                    <a:pt x="120" y="288"/>
                  </a:cubicBezTo>
                  <a:cubicBezTo>
                    <a:pt x="120" y="288"/>
                    <a:pt x="120" y="288"/>
                    <a:pt x="120" y="288"/>
                  </a:cubicBezTo>
                  <a:cubicBezTo>
                    <a:pt x="120" y="288"/>
                    <a:pt x="120" y="288"/>
                    <a:pt x="120" y="288"/>
                  </a:cubicBezTo>
                  <a:cubicBezTo>
                    <a:pt x="120" y="288"/>
                    <a:pt x="120" y="288"/>
                    <a:pt x="120" y="288"/>
                  </a:cubicBezTo>
                  <a:cubicBezTo>
                    <a:pt x="120" y="289"/>
                    <a:pt x="120" y="289"/>
                    <a:pt x="120" y="289"/>
                  </a:cubicBezTo>
                  <a:cubicBezTo>
                    <a:pt x="120" y="289"/>
                    <a:pt x="120" y="289"/>
                    <a:pt x="120" y="289"/>
                  </a:cubicBezTo>
                  <a:cubicBezTo>
                    <a:pt x="121" y="289"/>
                    <a:pt x="121" y="289"/>
                    <a:pt x="121" y="289"/>
                  </a:cubicBezTo>
                  <a:cubicBezTo>
                    <a:pt x="121" y="289"/>
                    <a:pt x="121" y="289"/>
                    <a:pt x="121" y="289"/>
                  </a:cubicBezTo>
                  <a:cubicBezTo>
                    <a:pt x="121" y="289"/>
                    <a:pt x="121" y="289"/>
                    <a:pt x="121" y="289"/>
                  </a:cubicBezTo>
                  <a:cubicBezTo>
                    <a:pt x="121" y="289"/>
                    <a:pt x="121" y="289"/>
                    <a:pt x="121" y="289"/>
                  </a:cubicBezTo>
                  <a:lnTo>
                    <a:pt x="121" y="288"/>
                  </a:lnTo>
                  <a:close/>
                  <a:moveTo>
                    <a:pt x="122" y="273"/>
                  </a:moveTo>
                  <a:cubicBezTo>
                    <a:pt x="122" y="274"/>
                    <a:pt x="122" y="274"/>
                    <a:pt x="122" y="274"/>
                  </a:cubicBezTo>
                  <a:cubicBezTo>
                    <a:pt x="122" y="274"/>
                    <a:pt x="122" y="274"/>
                    <a:pt x="122" y="274"/>
                  </a:cubicBezTo>
                  <a:cubicBezTo>
                    <a:pt x="123" y="274"/>
                    <a:pt x="123" y="274"/>
                    <a:pt x="123" y="274"/>
                  </a:cubicBezTo>
                  <a:cubicBezTo>
                    <a:pt x="123" y="274"/>
                    <a:pt x="123" y="274"/>
                    <a:pt x="123" y="274"/>
                  </a:cubicBezTo>
                  <a:cubicBezTo>
                    <a:pt x="123" y="274"/>
                    <a:pt x="123" y="274"/>
                    <a:pt x="123" y="274"/>
                  </a:cubicBezTo>
                  <a:cubicBezTo>
                    <a:pt x="123" y="273"/>
                    <a:pt x="123" y="273"/>
                    <a:pt x="123" y="273"/>
                  </a:cubicBezTo>
                  <a:cubicBezTo>
                    <a:pt x="123" y="273"/>
                    <a:pt x="123" y="273"/>
                    <a:pt x="123" y="273"/>
                  </a:cubicBezTo>
                  <a:cubicBezTo>
                    <a:pt x="123" y="273"/>
                    <a:pt x="123" y="273"/>
                    <a:pt x="123" y="273"/>
                  </a:cubicBezTo>
                  <a:cubicBezTo>
                    <a:pt x="124" y="273"/>
                    <a:pt x="124" y="273"/>
                    <a:pt x="124" y="273"/>
                  </a:cubicBezTo>
                  <a:cubicBezTo>
                    <a:pt x="123" y="273"/>
                    <a:pt x="123" y="273"/>
                    <a:pt x="123" y="273"/>
                  </a:cubicBezTo>
                  <a:cubicBezTo>
                    <a:pt x="123" y="273"/>
                    <a:pt x="123" y="273"/>
                    <a:pt x="123" y="273"/>
                  </a:cubicBezTo>
                  <a:cubicBezTo>
                    <a:pt x="124" y="273"/>
                    <a:pt x="124" y="273"/>
                    <a:pt x="124" y="273"/>
                  </a:cubicBezTo>
                  <a:cubicBezTo>
                    <a:pt x="124" y="273"/>
                    <a:pt x="124" y="273"/>
                    <a:pt x="124" y="273"/>
                  </a:cubicBezTo>
                  <a:cubicBezTo>
                    <a:pt x="124" y="272"/>
                    <a:pt x="124" y="272"/>
                    <a:pt x="124" y="272"/>
                  </a:cubicBezTo>
                  <a:cubicBezTo>
                    <a:pt x="124" y="272"/>
                    <a:pt x="124" y="272"/>
                    <a:pt x="124" y="272"/>
                  </a:cubicBezTo>
                  <a:cubicBezTo>
                    <a:pt x="123" y="272"/>
                    <a:pt x="123" y="272"/>
                    <a:pt x="123" y="272"/>
                  </a:cubicBezTo>
                  <a:cubicBezTo>
                    <a:pt x="123" y="272"/>
                    <a:pt x="123" y="272"/>
                    <a:pt x="123" y="272"/>
                  </a:cubicBezTo>
                  <a:cubicBezTo>
                    <a:pt x="123" y="272"/>
                    <a:pt x="123" y="272"/>
                    <a:pt x="123" y="272"/>
                  </a:cubicBezTo>
                  <a:cubicBezTo>
                    <a:pt x="122" y="273"/>
                    <a:pt x="122" y="273"/>
                    <a:pt x="122" y="273"/>
                  </a:cubicBezTo>
                  <a:cubicBezTo>
                    <a:pt x="122" y="273"/>
                    <a:pt x="122" y="273"/>
                    <a:pt x="122" y="273"/>
                  </a:cubicBezTo>
                  <a:cubicBezTo>
                    <a:pt x="122" y="273"/>
                    <a:pt x="122" y="273"/>
                    <a:pt x="122" y="273"/>
                  </a:cubicBezTo>
                  <a:close/>
                  <a:moveTo>
                    <a:pt x="121" y="283"/>
                  </a:moveTo>
                  <a:cubicBezTo>
                    <a:pt x="121" y="283"/>
                    <a:pt x="121" y="283"/>
                    <a:pt x="121" y="283"/>
                  </a:cubicBezTo>
                  <a:cubicBezTo>
                    <a:pt x="121" y="283"/>
                    <a:pt x="121" y="283"/>
                    <a:pt x="121" y="283"/>
                  </a:cubicBezTo>
                  <a:cubicBezTo>
                    <a:pt x="121" y="283"/>
                    <a:pt x="121" y="283"/>
                    <a:pt x="121" y="283"/>
                  </a:cubicBezTo>
                  <a:cubicBezTo>
                    <a:pt x="122" y="283"/>
                    <a:pt x="122" y="283"/>
                    <a:pt x="122" y="283"/>
                  </a:cubicBezTo>
                  <a:cubicBezTo>
                    <a:pt x="121" y="283"/>
                    <a:pt x="121" y="283"/>
                    <a:pt x="121" y="283"/>
                  </a:cubicBezTo>
                  <a:cubicBezTo>
                    <a:pt x="121" y="283"/>
                    <a:pt x="121" y="283"/>
                    <a:pt x="121" y="283"/>
                  </a:cubicBezTo>
                  <a:cubicBezTo>
                    <a:pt x="121" y="282"/>
                    <a:pt x="121" y="282"/>
                    <a:pt x="121" y="282"/>
                  </a:cubicBezTo>
                  <a:cubicBezTo>
                    <a:pt x="121" y="282"/>
                    <a:pt x="121" y="282"/>
                    <a:pt x="121" y="282"/>
                  </a:cubicBezTo>
                  <a:cubicBezTo>
                    <a:pt x="120" y="282"/>
                    <a:pt x="120" y="282"/>
                    <a:pt x="120" y="282"/>
                  </a:cubicBezTo>
                  <a:cubicBezTo>
                    <a:pt x="120" y="282"/>
                    <a:pt x="120" y="282"/>
                    <a:pt x="120" y="282"/>
                  </a:cubicBezTo>
                  <a:cubicBezTo>
                    <a:pt x="120" y="281"/>
                    <a:pt x="120" y="281"/>
                    <a:pt x="120" y="281"/>
                  </a:cubicBezTo>
                  <a:cubicBezTo>
                    <a:pt x="119" y="281"/>
                    <a:pt x="119" y="281"/>
                    <a:pt x="119" y="281"/>
                  </a:cubicBezTo>
                  <a:cubicBezTo>
                    <a:pt x="119" y="280"/>
                    <a:pt x="119" y="280"/>
                    <a:pt x="119" y="280"/>
                  </a:cubicBezTo>
                  <a:cubicBezTo>
                    <a:pt x="118" y="278"/>
                    <a:pt x="118" y="278"/>
                    <a:pt x="118" y="278"/>
                  </a:cubicBezTo>
                  <a:cubicBezTo>
                    <a:pt x="118" y="277"/>
                    <a:pt x="118" y="277"/>
                    <a:pt x="118" y="277"/>
                  </a:cubicBezTo>
                  <a:cubicBezTo>
                    <a:pt x="117" y="277"/>
                    <a:pt x="117" y="277"/>
                    <a:pt x="117" y="277"/>
                  </a:cubicBezTo>
                  <a:cubicBezTo>
                    <a:pt x="117" y="278"/>
                    <a:pt x="117" y="278"/>
                    <a:pt x="117" y="278"/>
                  </a:cubicBezTo>
                  <a:cubicBezTo>
                    <a:pt x="117" y="278"/>
                    <a:pt x="117" y="278"/>
                    <a:pt x="117" y="278"/>
                  </a:cubicBezTo>
                  <a:cubicBezTo>
                    <a:pt x="118" y="279"/>
                    <a:pt x="118" y="279"/>
                    <a:pt x="118" y="279"/>
                  </a:cubicBezTo>
                  <a:cubicBezTo>
                    <a:pt x="118" y="279"/>
                    <a:pt x="118" y="279"/>
                    <a:pt x="118" y="279"/>
                  </a:cubicBezTo>
                  <a:cubicBezTo>
                    <a:pt x="118" y="279"/>
                    <a:pt x="118" y="279"/>
                    <a:pt x="118" y="279"/>
                  </a:cubicBezTo>
                  <a:cubicBezTo>
                    <a:pt x="119" y="281"/>
                    <a:pt x="119" y="281"/>
                    <a:pt x="119" y="281"/>
                  </a:cubicBezTo>
                  <a:cubicBezTo>
                    <a:pt x="120" y="282"/>
                    <a:pt x="120" y="282"/>
                    <a:pt x="120" y="282"/>
                  </a:cubicBezTo>
                  <a:cubicBezTo>
                    <a:pt x="120" y="283"/>
                    <a:pt x="120" y="283"/>
                    <a:pt x="120" y="283"/>
                  </a:cubicBezTo>
                  <a:lnTo>
                    <a:pt x="121" y="283"/>
                  </a:lnTo>
                  <a:close/>
                  <a:moveTo>
                    <a:pt x="108" y="262"/>
                  </a:moveTo>
                  <a:cubicBezTo>
                    <a:pt x="108" y="262"/>
                    <a:pt x="108" y="262"/>
                    <a:pt x="108" y="262"/>
                  </a:cubicBezTo>
                  <a:cubicBezTo>
                    <a:pt x="108" y="262"/>
                    <a:pt x="108" y="262"/>
                    <a:pt x="108" y="262"/>
                  </a:cubicBezTo>
                  <a:cubicBezTo>
                    <a:pt x="108" y="263"/>
                    <a:pt x="108" y="263"/>
                    <a:pt x="108" y="263"/>
                  </a:cubicBezTo>
                  <a:cubicBezTo>
                    <a:pt x="109" y="263"/>
                    <a:pt x="109" y="263"/>
                    <a:pt x="109" y="263"/>
                  </a:cubicBezTo>
                  <a:cubicBezTo>
                    <a:pt x="109" y="263"/>
                    <a:pt x="109" y="263"/>
                    <a:pt x="109" y="263"/>
                  </a:cubicBezTo>
                  <a:cubicBezTo>
                    <a:pt x="109" y="263"/>
                    <a:pt x="109" y="263"/>
                    <a:pt x="109" y="263"/>
                  </a:cubicBezTo>
                  <a:cubicBezTo>
                    <a:pt x="109" y="263"/>
                    <a:pt x="109" y="263"/>
                    <a:pt x="109" y="263"/>
                  </a:cubicBezTo>
                  <a:cubicBezTo>
                    <a:pt x="110" y="264"/>
                    <a:pt x="110" y="264"/>
                    <a:pt x="110" y="264"/>
                  </a:cubicBezTo>
                  <a:cubicBezTo>
                    <a:pt x="110" y="264"/>
                    <a:pt x="110" y="264"/>
                    <a:pt x="110" y="264"/>
                  </a:cubicBezTo>
                  <a:cubicBezTo>
                    <a:pt x="110" y="264"/>
                    <a:pt x="110" y="264"/>
                    <a:pt x="110" y="264"/>
                  </a:cubicBezTo>
                  <a:cubicBezTo>
                    <a:pt x="110" y="264"/>
                    <a:pt x="110" y="264"/>
                    <a:pt x="110" y="264"/>
                  </a:cubicBezTo>
                  <a:cubicBezTo>
                    <a:pt x="110" y="264"/>
                    <a:pt x="110" y="264"/>
                    <a:pt x="110" y="264"/>
                  </a:cubicBezTo>
                  <a:cubicBezTo>
                    <a:pt x="110" y="264"/>
                    <a:pt x="110" y="264"/>
                    <a:pt x="110" y="264"/>
                  </a:cubicBezTo>
                  <a:cubicBezTo>
                    <a:pt x="110" y="265"/>
                    <a:pt x="110" y="265"/>
                    <a:pt x="110" y="265"/>
                  </a:cubicBezTo>
                  <a:cubicBezTo>
                    <a:pt x="110" y="265"/>
                    <a:pt x="110" y="265"/>
                    <a:pt x="110" y="265"/>
                  </a:cubicBezTo>
                  <a:cubicBezTo>
                    <a:pt x="110" y="265"/>
                    <a:pt x="110" y="265"/>
                    <a:pt x="110" y="265"/>
                  </a:cubicBezTo>
                  <a:cubicBezTo>
                    <a:pt x="110" y="265"/>
                    <a:pt x="110" y="265"/>
                    <a:pt x="110" y="265"/>
                  </a:cubicBezTo>
                  <a:cubicBezTo>
                    <a:pt x="111" y="266"/>
                    <a:pt x="111" y="266"/>
                    <a:pt x="111" y="266"/>
                  </a:cubicBezTo>
                  <a:cubicBezTo>
                    <a:pt x="113" y="268"/>
                    <a:pt x="113" y="268"/>
                    <a:pt x="113" y="268"/>
                  </a:cubicBezTo>
                  <a:cubicBezTo>
                    <a:pt x="113" y="268"/>
                    <a:pt x="113" y="268"/>
                    <a:pt x="113" y="268"/>
                  </a:cubicBezTo>
                  <a:cubicBezTo>
                    <a:pt x="113" y="268"/>
                    <a:pt x="113" y="268"/>
                    <a:pt x="113" y="268"/>
                  </a:cubicBezTo>
                  <a:cubicBezTo>
                    <a:pt x="114" y="268"/>
                    <a:pt x="114" y="268"/>
                    <a:pt x="114" y="268"/>
                  </a:cubicBezTo>
                  <a:cubicBezTo>
                    <a:pt x="113" y="268"/>
                    <a:pt x="113" y="268"/>
                    <a:pt x="113" y="268"/>
                  </a:cubicBezTo>
                  <a:cubicBezTo>
                    <a:pt x="113" y="267"/>
                    <a:pt x="113" y="267"/>
                    <a:pt x="113" y="267"/>
                  </a:cubicBezTo>
                  <a:cubicBezTo>
                    <a:pt x="112" y="266"/>
                    <a:pt x="112" y="266"/>
                    <a:pt x="112" y="266"/>
                  </a:cubicBezTo>
                  <a:cubicBezTo>
                    <a:pt x="112" y="265"/>
                    <a:pt x="112" y="265"/>
                    <a:pt x="112" y="265"/>
                  </a:cubicBezTo>
                  <a:cubicBezTo>
                    <a:pt x="112" y="265"/>
                    <a:pt x="112" y="265"/>
                    <a:pt x="112" y="265"/>
                  </a:cubicBezTo>
                  <a:cubicBezTo>
                    <a:pt x="112" y="265"/>
                    <a:pt x="112" y="265"/>
                    <a:pt x="112" y="265"/>
                  </a:cubicBezTo>
                  <a:cubicBezTo>
                    <a:pt x="112" y="264"/>
                    <a:pt x="112" y="264"/>
                    <a:pt x="112" y="264"/>
                  </a:cubicBezTo>
                  <a:cubicBezTo>
                    <a:pt x="112" y="264"/>
                    <a:pt x="112" y="264"/>
                    <a:pt x="112" y="264"/>
                  </a:cubicBezTo>
                  <a:cubicBezTo>
                    <a:pt x="112" y="264"/>
                    <a:pt x="112" y="264"/>
                    <a:pt x="112" y="264"/>
                  </a:cubicBezTo>
                  <a:cubicBezTo>
                    <a:pt x="111" y="263"/>
                    <a:pt x="111" y="263"/>
                    <a:pt x="111" y="263"/>
                  </a:cubicBezTo>
                  <a:cubicBezTo>
                    <a:pt x="110" y="263"/>
                    <a:pt x="110" y="263"/>
                    <a:pt x="110" y="263"/>
                  </a:cubicBezTo>
                  <a:cubicBezTo>
                    <a:pt x="110" y="262"/>
                    <a:pt x="110" y="262"/>
                    <a:pt x="110" y="262"/>
                  </a:cubicBezTo>
                  <a:cubicBezTo>
                    <a:pt x="109" y="262"/>
                    <a:pt x="109" y="262"/>
                    <a:pt x="109" y="262"/>
                  </a:cubicBezTo>
                  <a:cubicBezTo>
                    <a:pt x="109" y="262"/>
                    <a:pt x="109" y="262"/>
                    <a:pt x="109" y="262"/>
                  </a:cubicBezTo>
                  <a:cubicBezTo>
                    <a:pt x="109" y="261"/>
                    <a:pt x="109" y="261"/>
                    <a:pt x="109" y="261"/>
                  </a:cubicBezTo>
                  <a:cubicBezTo>
                    <a:pt x="109" y="261"/>
                    <a:pt x="109" y="261"/>
                    <a:pt x="109" y="261"/>
                  </a:cubicBezTo>
                  <a:cubicBezTo>
                    <a:pt x="108" y="261"/>
                    <a:pt x="108" y="261"/>
                    <a:pt x="108" y="261"/>
                  </a:cubicBezTo>
                  <a:cubicBezTo>
                    <a:pt x="108" y="261"/>
                    <a:pt x="108" y="261"/>
                    <a:pt x="108" y="261"/>
                  </a:cubicBezTo>
                  <a:cubicBezTo>
                    <a:pt x="108" y="261"/>
                    <a:pt x="108" y="261"/>
                    <a:pt x="108" y="261"/>
                  </a:cubicBezTo>
                  <a:cubicBezTo>
                    <a:pt x="108" y="261"/>
                    <a:pt x="108" y="261"/>
                    <a:pt x="108" y="261"/>
                  </a:cubicBezTo>
                  <a:cubicBezTo>
                    <a:pt x="108" y="261"/>
                    <a:pt x="108" y="261"/>
                    <a:pt x="108" y="261"/>
                  </a:cubicBezTo>
                  <a:cubicBezTo>
                    <a:pt x="108" y="261"/>
                    <a:pt x="108" y="261"/>
                    <a:pt x="108" y="261"/>
                  </a:cubicBezTo>
                  <a:cubicBezTo>
                    <a:pt x="108" y="261"/>
                    <a:pt x="108" y="261"/>
                    <a:pt x="108" y="261"/>
                  </a:cubicBezTo>
                  <a:cubicBezTo>
                    <a:pt x="108" y="261"/>
                    <a:pt x="108" y="261"/>
                    <a:pt x="108" y="261"/>
                  </a:cubicBezTo>
                  <a:cubicBezTo>
                    <a:pt x="108" y="261"/>
                    <a:pt x="108" y="261"/>
                    <a:pt x="108" y="261"/>
                  </a:cubicBezTo>
                  <a:cubicBezTo>
                    <a:pt x="108" y="262"/>
                    <a:pt x="108" y="262"/>
                    <a:pt x="108" y="262"/>
                  </a:cubicBezTo>
                  <a:close/>
                  <a:moveTo>
                    <a:pt x="75" y="249"/>
                  </a:moveTo>
                  <a:cubicBezTo>
                    <a:pt x="76" y="249"/>
                    <a:pt x="76" y="249"/>
                    <a:pt x="76" y="249"/>
                  </a:cubicBezTo>
                  <a:cubicBezTo>
                    <a:pt x="76" y="248"/>
                    <a:pt x="76" y="248"/>
                    <a:pt x="76" y="248"/>
                  </a:cubicBezTo>
                  <a:cubicBezTo>
                    <a:pt x="76" y="248"/>
                    <a:pt x="76" y="248"/>
                    <a:pt x="76" y="248"/>
                  </a:cubicBezTo>
                  <a:cubicBezTo>
                    <a:pt x="76" y="248"/>
                    <a:pt x="76" y="248"/>
                    <a:pt x="76" y="248"/>
                  </a:cubicBezTo>
                  <a:cubicBezTo>
                    <a:pt x="75" y="248"/>
                    <a:pt x="75" y="248"/>
                    <a:pt x="75" y="248"/>
                  </a:cubicBezTo>
                  <a:cubicBezTo>
                    <a:pt x="75" y="248"/>
                    <a:pt x="75" y="248"/>
                    <a:pt x="75" y="248"/>
                  </a:cubicBezTo>
                  <a:cubicBezTo>
                    <a:pt x="75" y="248"/>
                    <a:pt x="75" y="248"/>
                    <a:pt x="75" y="248"/>
                  </a:cubicBezTo>
                  <a:cubicBezTo>
                    <a:pt x="75" y="248"/>
                    <a:pt x="75" y="248"/>
                    <a:pt x="75" y="248"/>
                  </a:cubicBezTo>
                  <a:cubicBezTo>
                    <a:pt x="75" y="248"/>
                    <a:pt x="75" y="248"/>
                    <a:pt x="75" y="248"/>
                  </a:cubicBezTo>
                  <a:cubicBezTo>
                    <a:pt x="75" y="248"/>
                    <a:pt x="75" y="248"/>
                    <a:pt x="75" y="248"/>
                  </a:cubicBezTo>
                  <a:cubicBezTo>
                    <a:pt x="74" y="248"/>
                    <a:pt x="74" y="248"/>
                    <a:pt x="74" y="248"/>
                  </a:cubicBezTo>
                  <a:cubicBezTo>
                    <a:pt x="74" y="248"/>
                    <a:pt x="74" y="248"/>
                    <a:pt x="74" y="248"/>
                  </a:cubicBezTo>
                  <a:cubicBezTo>
                    <a:pt x="74" y="249"/>
                    <a:pt x="74" y="249"/>
                    <a:pt x="74" y="249"/>
                  </a:cubicBezTo>
                  <a:cubicBezTo>
                    <a:pt x="75" y="249"/>
                    <a:pt x="75" y="249"/>
                    <a:pt x="75" y="249"/>
                  </a:cubicBezTo>
                  <a:cubicBezTo>
                    <a:pt x="75" y="249"/>
                    <a:pt x="75" y="249"/>
                    <a:pt x="75" y="249"/>
                  </a:cubicBezTo>
                  <a:cubicBezTo>
                    <a:pt x="75" y="249"/>
                    <a:pt x="75" y="249"/>
                    <a:pt x="75" y="249"/>
                  </a:cubicBezTo>
                  <a:cubicBezTo>
                    <a:pt x="75" y="249"/>
                    <a:pt x="75" y="249"/>
                    <a:pt x="75" y="249"/>
                  </a:cubicBezTo>
                  <a:close/>
                  <a:moveTo>
                    <a:pt x="82" y="258"/>
                  </a:moveTo>
                  <a:cubicBezTo>
                    <a:pt x="82" y="258"/>
                    <a:pt x="82" y="258"/>
                    <a:pt x="82" y="258"/>
                  </a:cubicBezTo>
                  <a:cubicBezTo>
                    <a:pt x="82" y="257"/>
                    <a:pt x="82" y="257"/>
                    <a:pt x="82" y="257"/>
                  </a:cubicBezTo>
                  <a:cubicBezTo>
                    <a:pt x="82" y="256"/>
                    <a:pt x="82" y="256"/>
                    <a:pt x="82" y="256"/>
                  </a:cubicBezTo>
                  <a:cubicBezTo>
                    <a:pt x="82" y="255"/>
                    <a:pt x="82" y="255"/>
                    <a:pt x="82" y="255"/>
                  </a:cubicBezTo>
                  <a:cubicBezTo>
                    <a:pt x="82" y="255"/>
                    <a:pt x="82" y="255"/>
                    <a:pt x="82" y="255"/>
                  </a:cubicBezTo>
                  <a:cubicBezTo>
                    <a:pt x="82" y="255"/>
                    <a:pt x="82" y="255"/>
                    <a:pt x="82" y="255"/>
                  </a:cubicBezTo>
                  <a:cubicBezTo>
                    <a:pt x="82" y="254"/>
                    <a:pt x="82" y="254"/>
                    <a:pt x="82" y="254"/>
                  </a:cubicBezTo>
                  <a:cubicBezTo>
                    <a:pt x="82" y="253"/>
                    <a:pt x="82" y="253"/>
                    <a:pt x="82" y="253"/>
                  </a:cubicBezTo>
                  <a:cubicBezTo>
                    <a:pt x="82" y="253"/>
                    <a:pt x="82" y="253"/>
                    <a:pt x="82" y="253"/>
                  </a:cubicBezTo>
                  <a:cubicBezTo>
                    <a:pt x="81" y="253"/>
                    <a:pt x="81" y="253"/>
                    <a:pt x="81" y="253"/>
                  </a:cubicBezTo>
                  <a:cubicBezTo>
                    <a:pt x="81" y="253"/>
                    <a:pt x="81" y="253"/>
                    <a:pt x="81" y="253"/>
                  </a:cubicBezTo>
                  <a:cubicBezTo>
                    <a:pt x="81" y="253"/>
                    <a:pt x="81" y="253"/>
                    <a:pt x="81" y="253"/>
                  </a:cubicBezTo>
                  <a:cubicBezTo>
                    <a:pt x="81" y="253"/>
                    <a:pt x="81" y="253"/>
                    <a:pt x="81" y="253"/>
                  </a:cubicBezTo>
                  <a:cubicBezTo>
                    <a:pt x="80" y="252"/>
                    <a:pt x="80" y="252"/>
                    <a:pt x="80" y="252"/>
                  </a:cubicBezTo>
                  <a:cubicBezTo>
                    <a:pt x="80" y="253"/>
                    <a:pt x="80" y="253"/>
                    <a:pt x="80" y="253"/>
                  </a:cubicBezTo>
                  <a:cubicBezTo>
                    <a:pt x="78" y="253"/>
                    <a:pt x="78" y="253"/>
                    <a:pt x="78" y="253"/>
                  </a:cubicBezTo>
                  <a:cubicBezTo>
                    <a:pt x="78" y="253"/>
                    <a:pt x="78" y="253"/>
                    <a:pt x="78" y="253"/>
                  </a:cubicBezTo>
                  <a:cubicBezTo>
                    <a:pt x="78" y="253"/>
                    <a:pt x="78" y="253"/>
                    <a:pt x="78" y="253"/>
                  </a:cubicBezTo>
                  <a:cubicBezTo>
                    <a:pt x="78" y="253"/>
                    <a:pt x="78" y="253"/>
                    <a:pt x="78" y="253"/>
                  </a:cubicBezTo>
                  <a:cubicBezTo>
                    <a:pt x="78" y="253"/>
                    <a:pt x="78" y="253"/>
                    <a:pt x="78" y="253"/>
                  </a:cubicBezTo>
                  <a:cubicBezTo>
                    <a:pt x="78" y="253"/>
                    <a:pt x="78" y="253"/>
                    <a:pt x="78" y="253"/>
                  </a:cubicBezTo>
                  <a:cubicBezTo>
                    <a:pt x="78" y="254"/>
                    <a:pt x="78" y="254"/>
                    <a:pt x="78" y="254"/>
                  </a:cubicBezTo>
                  <a:cubicBezTo>
                    <a:pt x="78" y="254"/>
                    <a:pt x="78" y="254"/>
                    <a:pt x="78" y="254"/>
                  </a:cubicBezTo>
                  <a:cubicBezTo>
                    <a:pt x="78" y="254"/>
                    <a:pt x="78" y="254"/>
                    <a:pt x="78" y="254"/>
                  </a:cubicBezTo>
                  <a:cubicBezTo>
                    <a:pt x="79" y="254"/>
                    <a:pt x="79" y="254"/>
                    <a:pt x="79" y="254"/>
                  </a:cubicBezTo>
                  <a:cubicBezTo>
                    <a:pt x="79" y="254"/>
                    <a:pt x="79" y="254"/>
                    <a:pt x="79" y="254"/>
                  </a:cubicBezTo>
                  <a:cubicBezTo>
                    <a:pt x="79" y="254"/>
                    <a:pt x="79" y="254"/>
                    <a:pt x="79" y="254"/>
                  </a:cubicBezTo>
                  <a:cubicBezTo>
                    <a:pt x="79" y="254"/>
                    <a:pt x="79" y="254"/>
                    <a:pt x="79" y="254"/>
                  </a:cubicBezTo>
                  <a:cubicBezTo>
                    <a:pt x="79" y="254"/>
                    <a:pt x="79" y="254"/>
                    <a:pt x="79" y="254"/>
                  </a:cubicBezTo>
                  <a:cubicBezTo>
                    <a:pt x="79" y="254"/>
                    <a:pt x="79" y="254"/>
                    <a:pt x="79" y="254"/>
                  </a:cubicBezTo>
                  <a:cubicBezTo>
                    <a:pt x="79" y="254"/>
                    <a:pt x="79" y="254"/>
                    <a:pt x="79" y="254"/>
                  </a:cubicBezTo>
                  <a:cubicBezTo>
                    <a:pt x="79" y="254"/>
                    <a:pt x="79" y="254"/>
                    <a:pt x="79" y="254"/>
                  </a:cubicBezTo>
                  <a:cubicBezTo>
                    <a:pt x="79" y="254"/>
                    <a:pt x="79" y="254"/>
                    <a:pt x="79" y="254"/>
                  </a:cubicBezTo>
                  <a:cubicBezTo>
                    <a:pt x="79" y="254"/>
                    <a:pt x="79" y="254"/>
                    <a:pt x="79" y="254"/>
                  </a:cubicBezTo>
                  <a:cubicBezTo>
                    <a:pt x="79" y="254"/>
                    <a:pt x="79" y="254"/>
                    <a:pt x="79" y="254"/>
                  </a:cubicBezTo>
                  <a:cubicBezTo>
                    <a:pt x="78" y="255"/>
                    <a:pt x="78" y="255"/>
                    <a:pt x="78" y="255"/>
                  </a:cubicBezTo>
                  <a:cubicBezTo>
                    <a:pt x="78" y="255"/>
                    <a:pt x="78" y="255"/>
                    <a:pt x="78" y="255"/>
                  </a:cubicBezTo>
                  <a:cubicBezTo>
                    <a:pt x="78" y="255"/>
                    <a:pt x="78" y="255"/>
                    <a:pt x="78" y="255"/>
                  </a:cubicBezTo>
                  <a:cubicBezTo>
                    <a:pt x="78" y="255"/>
                    <a:pt x="78" y="255"/>
                    <a:pt x="78" y="255"/>
                  </a:cubicBezTo>
                  <a:cubicBezTo>
                    <a:pt x="78" y="254"/>
                    <a:pt x="78" y="254"/>
                    <a:pt x="78" y="254"/>
                  </a:cubicBezTo>
                  <a:cubicBezTo>
                    <a:pt x="78" y="254"/>
                    <a:pt x="78" y="254"/>
                    <a:pt x="78" y="254"/>
                  </a:cubicBezTo>
                  <a:cubicBezTo>
                    <a:pt x="78" y="255"/>
                    <a:pt x="78" y="255"/>
                    <a:pt x="78" y="255"/>
                  </a:cubicBezTo>
                  <a:cubicBezTo>
                    <a:pt x="78" y="256"/>
                    <a:pt x="78" y="256"/>
                    <a:pt x="78" y="256"/>
                  </a:cubicBezTo>
                  <a:cubicBezTo>
                    <a:pt x="79" y="257"/>
                    <a:pt x="79" y="257"/>
                    <a:pt x="79" y="257"/>
                  </a:cubicBezTo>
                  <a:cubicBezTo>
                    <a:pt x="79" y="257"/>
                    <a:pt x="79" y="257"/>
                    <a:pt x="79" y="257"/>
                  </a:cubicBezTo>
                  <a:cubicBezTo>
                    <a:pt x="79" y="257"/>
                    <a:pt x="79" y="257"/>
                    <a:pt x="79" y="257"/>
                  </a:cubicBezTo>
                  <a:cubicBezTo>
                    <a:pt x="79" y="258"/>
                    <a:pt x="79" y="258"/>
                    <a:pt x="79" y="258"/>
                  </a:cubicBezTo>
                  <a:cubicBezTo>
                    <a:pt x="81" y="259"/>
                    <a:pt x="81" y="259"/>
                    <a:pt x="81" y="259"/>
                  </a:cubicBezTo>
                  <a:cubicBezTo>
                    <a:pt x="81" y="259"/>
                    <a:pt x="81" y="259"/>
                    <a:pt x="81" y="259"/>
                  </a:cubicBezTo>
                  <a:lnTo>
                    <a:pt x="82" y="258"/>
                  </a:lnTo>
                  <a:close/>
                  <a:moveTo>
                    <a:pt x="87" y="267"/>
                  </a:moveTo>
                  <a:cubicBezTo>
                    <a:pt x="87" y="267"/>
                    <a:pt x="87" y="267"/>
                    <a:pt x="87" y="267"/>
                  </a:cubicBezTo>
                  <a:cubicBezTo>
                    <a:pt x="87" y="266"/>
                    <a:pt x="87" y="266"/>
                    <a:pt x="87" y="266"/>
                  </a:cubicBezTo>
                  <a:cubicBezTo>
                    <a:pt x="87" y="266"/>
                    <a:pt x="87" y="266"/>
                    <a:pt x="87" y="266"/>
                  </a:cubicBezTo>
                  <a:cubicBezTo>
                    <a:pt x="87" y="266"/>
                    <a:pt x="87" y="266"/>
                    <a:pt x="87" y="266"/>
                  </a:cubicBezTo>
                  <a:cubicBezTo>
                    <a:pt x="87" y="265"/>
                    <a:pt x="87" y="265"/>
                    <a:pt x="87" y="265"/>
                  </a:cubicBezTo>
                  <a:cubicBezTo>
                    <a:pt x="87" y="265"/>
                    <a:pt x="87" y="265"/>
                    <a:pt x="87" y="265"/>
                  </a:cubicBezTo>
                  <a:cubicBezTo>
                    <a:pt x="87" y="264"/>
                    <a:pt x="87" y="264"/>
                    <a:pt x="87" y="264"/>
                  </a:cubicBezTo>
                  <a:cubicBezTo>
                    <a:pt x="87" y="264"/>
                    <a:pt x="87" y="264"/>
                    <a:pt x="87" y="264"/>
                  </a:cubicBezTo>
                  <a:cubicBezTo>
                    <a:pt x="86" y="264"/>
                    <a:pt x="86" y="264"/>
                    <a:pt x="86" y="264"/>
                  </a:cubicBezTo>
                  <a:cubicBezTo>
                    <a:pt x="86" y="264"/>
                    <a:pt x="86" y="264"/>
                    <a:pt x="86" y="264"/>
                  </a:cubicBezTo>
                  <a:cubicBezTo>
                    <a:pt x="85" y="264"/>
                    <a:pt x="85" y="264"/>
                    <a:pt x="85" y="264"/>
                  </a:cubicBezTo>
                  <a:cubicBezTo>
                    <a:pt x="85" y="265"/>
                    <a:pt x="85" y="265"/>
                    <a:pt x="85" y="265"/>
                  </a:cubicBezTo>
                  <a:cubicBezTo>
                    <a:pt x="85" y="265"/>
                    <a:pt x="85" y="265"/>
                    <a:pt x="85" y="265"/>
                  </a:cubicBezTo>
                  <a:cubicBezTo>
                    <a:pt x="85" y="265"/>
                    <a:pt x="85" y="265"/>
                    <a:pt x="85" y="265"/>
                  </a:cubicBezTo>
                  <a:cubicBezTo>
                    <a:pt x="85" y="265"/>
                    <a:pt x="85" y="265"/>
                    <a:pt x="85" y="265"/>
                  </a:cubicBezTo>
                  <a:cubicBezTo>
                    <a:pt x="85" y="266"/>
                    <a:pt x="85" y="266"/>
                    <a:pt x="85" y="266"/>
                  </a:cubicBezTo>
                  <a:cubicBezTo>
                    <a:pt x="85" y="266"/>
                    <a:pt x="85" y="266"/>
                    <a:pt x="85" y="266"/>
                  </a:cubicBezTo>
                  <a:cubicBezTo>
                    <a:pt x="85" y="266"/>
                    <a:pt x="85" y="266"/>
                    <a:pt x="85" y="266"/>
                  </a:cubicBezTo>
                  <a:cubicBezTo>
                    <a:pt x="85" y="266"/>
                    <a:pt x="85" y="266"/>
                    <a:pt x="85" y="266"/>
                  </a:cubicBezTo>
                  <a:cubicBezTo>
                    <a:pt x="85" y="267"/>
                    <a:pt x="85" y="267"/>
                    <a:pt x="85" y="267"/>
                  </a:cubicBezTo>
                  <a:cubicBezTo>
                    <a:pt x="86" y="267"/>
                    <a:pt x="86" y="267"/>
                    <a:pt x="86" y="267"/>
                  </a:cubicBezTo>
                  <a:cubicBezTo>
                    <a:pt x="86" y="267"/>
                    <a:pt x="86" y="267"/>
                    <a:pt x="86" y="267"/>
                  </a:cubicBezTo>
                  <a:cubicBezTo>
                    <a:pt x="87" y="267"/>
                    <a:pt x="87" y="267"/>
                    <a:pt x="87" y="267"/>
                  </a:cubicBezTo>
                  <a:cubicBezTo>
                    <a:pt x="87" y="267"/>
                    <a:pt x="87" y="267"/>
                    <a:pt x="87" y="267"/>
                  </a:cubicBezTo>
                  <a:cubicBezTo>
                    <a:pt x="87" y="267"/>
                    <a:pt x="87" y="267"/>
                    <a:pt x="87" y="267"/>
                  </a:cubicBezTo>
                  <a:close/>
                  <a:moveTo>
                    <a:pt x="89" y="270"/>
                  </a:moveTo>
                  <a:cubicBezTo>
                    <a:pt x="89" y="270"/>
                    <a:pt x="89" y="270"/>
                    <a:pt x="89" y="270"/>
                  </a:cubicBezTo>
                  <a:cubicBezTo>
                    <a:pt x="89" y="270"/>
                    <a:pt x="89" y="270"/>
                    <a:pt x="89" y="270"/>
                  </a:cubicBezTo>
                  <a:cubicBezTo>
                    <a:pt x="90" y="270"/>
                    <a:pt x="90" y="270"/>
                    <a:pt x="90" y="270"/>
                  </a:cubicBezTo>
                  <a:cubicBezTo>
                    <a:pt x="90" y="270"/>
                    <a:pt x="90" y="270"/>
                    <a:pt x="90" y="269"/>
                  </a:cubicBezTo>
                  <a:cubicBezTo>
                    <a:pt x="90" y="269"/>
                    <a:pt x="90" y="269"/>
                    <a:pt x="90" y="269"/>
                  </a:cubicBezTo>
                  <a:cubicBezTo>
                    <a:pt x="90" y="268"/>
                    <a:pt x="90" y="268"/>
                    <a:pt x="90" y="268"/>
                  </a:cubicBezTo>
                  <a:cubicBezTo>
                    <a:pt x="90" y="268"/>
                    <a:pt x="90" y="268"/>
                    <a:pt x="90" y="268"/>
                  </a:cubicBezTo>
                  <a:cubicBezTo>
                    <a:pt x="89" y="268"/>
                    <a:pt x="89" y="268"/>
                    <a:pt x="89" y="268"/>
                  </a:cubicBezTo>
                  <a:cubicBezTo>
                    <a:pt x="89" y="269"/>
                    <a:pt x="89" y="269"/>
                    <a:pt x="89" y="269"/>
                  </a:cubicBezTo>
                  <a:cubicBezTo>
                    <a:pt x="89" y="269"/>
                    <a:pt x="89" y="269"/>
                    <a:pt x="89" y="269"/>
                  </a:cubicBezTo>
                  <a:cubicBezTo>
                    <a:pt x="89" y="269"/>
                    <a:pt x="89" y="269"/>
                    <a:pt x="89" y="269"/>
                  </a:cubicBezTo>
                  <a:cubicBezTo>
                    <a:pt x="89" y="270"/>
                    <a:pt x="89" y="270"/>
                    <a:pt x="89" y="270"/>
                  </a:cubicBezTo>
                  <a:close/>
                  <a:moveTo>
                    <a:pt x="88" y="269"/>
                  </a:moveTo>
                  <a:cubicBezTo>
                    <a:pt x="88" y="269"/>
                    <a:pt x="88" y="269"/>
                    <a:pt x="88" y="269"/>
                  </a:cubicBezTo>
                  <a:cubicBezTo>
                    <a:pt x="88" y="268"/>
                    <a:pt x="88" y="268"/>
                    <a:pt x="88" y="268"/>
                  </a:cubicBezTo>
                  <a:cubicBezTo>
                    <a:pt x="88" y="268"/>
                    <a:pt x="88" y="268"/>
                    <a:pt x="88" y="268"/>
                  </a:cubicBezTo>
                  <a:cubicBezTo>
                    <a:pt x="87" y="268"/>
                    <a:pt x="87" y="268"/>
                    <a:pt x="87" y="268"/>
                  </a:cubicBezTo>
                  <a:cubicBezTo>
                    <a:pt x="87" y="269"/>
                    <a:pt x="87" y="269"/>
                    <a:pt x="87" y="269"/>
                  </a:cubicBezTo>
                  <a:cubicBezTo>
                    <a:pt x="87" y="269"/>
                    <a:pt x="87" y="269"/>
                    <a:pt x="87" y="269"/>
                  </a:cubicBezTo>
                  <a:cubicBezTo>
                    <a:pt x="87" y="269"/>
                    <a:pt x="87" y="269"/>
                    <a:pt x="87" y="269"/>
                  </a:cubicBezTo>
                  <a:cubicBezTo>
                    <a:pt x="87" y="269"/>
                    <a:pt x="87" y="269"/>
                    <a:pt x="87" y="269"/>
                  </a:cubicBezTo>
                  <a:cubicBezTo>
                    <a:pt x="87" y="269"/>
                    <a:pt x="87" y="269"/>
                    <a:pt x="87" y="269"/>
                  </a:cubicBezTo>
                  <a:cubicBezTo>
                    <a:pt x="88" y="270"/>
                    <a:pt x="88" y="270"/>
                    <a:pt x="88" y="270"/>
                  </a:cubicBezTo>
                  <a:cubicBezTo>
                    <a:pt x="88" y="270"/>
                    <a:pt x="88" y="270"/>
                    <a:pt x="88" y="270"/>
                  </a:cubicBezTo>
                  <a:cubicBezTo>
                    <a:pt x="88" y="270"/>
                    <a:pt x="88" y="270"/>
                    <a:pt x="88" y="270"/>
                  </a:cubicBezTo>
                  <a:cubicBezTo>
                    <a:pt x="88" y="269"/>
                    <a:pt x="88" y="269"/>
                    <a:pt x="88" y="269"/>
                  </a:cubicBezTo>
                  <a:cubicBezTo>
                    <a:pt x="88" y="269"/>
                    <a:pt x="88" y="269"/>
                    <a:pt x="88" y="269"/>
                  </a:cubicBezTo>
                  <a:cubicBezTo>
                    <a:pt x="88" y="269"/>
                    <a:pt x="88" y="269"/>
                    <a:pt x="88" y="269"/>
                  </a:cubicBezTo>
                  <a:cubicBezTo>
                    <a:pt x="88" y="269"/>
                    <a:pt x="88" y="269"/>
                    <a:pt x="88" y="269"/>
                  </a:cubicBezTo>
                  <a:cubicBezTo>
                    <a:pt x="88" y="269"/>
                    <a:pt x="88" y="269"/>
                    <a:pt x="88" y="269"/>
                  </a:cubicBezTo>
                  <a:cubicBezTo>
                    <a:pt x="88" y="269"/>
                    <a:pt x="88" y="269"/>
                    <a:pt x="88" y="269"/>
                  </a:cubicBezTo>
                  <a:close/>
                  <a:moveTo>
                    <a:pt x="63" y="180"/>
                  </a:moveTo>
                  <a:cubicBezTo>
                    <a:pt x="62" y="179"/>
                    <a:pt x="62" y="179"/>
                    <a:pt x="62" y="179"/>
                  </a:cubicBezTo>
                  <a:cubicBezTo>
                    <a:pt x="62" y="179"/>
                    <a:pt x="62" y="179"/>
                    <a:pt x="62" y="179"/>
                  </a:cubicBezTo>
                  <a:cubicBezTo>
                    <a:pt x="62" y="179"/>
                    <a:pt x="62" y="179"/>
                    <a:pt x="62" y="179"/>
                  </a:cubicBezTo>
                  <a:cubicBezTo>
                    <a:pt x="61" y="179"/>
                    <a:pt x="61" y="179"/>
                    <a:pt x="61" y="179"/>
                  </a:cubicBezTo>
                  <a:cubicBezTo>
                    <a:pt x="61" y="179"/>
                    <a:pt x="61" y="179"/>
                    <a:pt x="61" y="179"/>
                  </a:cubicBezTo>
                  <a:cubicBezTo>
                    <a:pt x="61" y="179"/>
                    <a:pt x="61" y="179"/>
                    <a:pt x="61" y="179"/>
                  </a:cubicBezTo>
                  <a:cubicBezTo>
                    <a:pt x="61" y="179"/>
                    <a:pt x="61" y="179"/>
                    <a:pt x="61" y="179"/>
                  </a:cubicBezTo>
                  <a:cubicBezTo>
                    <a:pt x="61" y="179"/>
                    <a:pt x="61" y="179"/>
                    <a:pt x="61" y="179"/>
                  </a:cubicBezTo>
                  <a:cubicBezTo>
                    <a:pt x="61" y="179"/>
                    <a:pt x="61" y="179"/>
                    <a:pt x="61" y="179"/>
                  </a:cubicBezTo>
                  <a:cubicBezTo>
                    <a:pt x="62" y="180"/>
                    <a:pt x="62" y="180"/>
                    <a:pt x="62" y="180"/>
                  </a:cubicBezTo>
                  <a:cubicBezTo>
                    <a:pt x="62" y="180"/>
                    <a:pt x="62" y="180"/>
                    <a:pt x="62" y="180"/>
                  </a:cubicBezTo>
                  <a:cubicBezTo>
                    <a:pt x="62" y="180"/>
                    <a:pt x="62" y="180"/>
                    <a:pt x="62" y="180"/>
                  </a:cubicBezTo>
                  <a:cubicBezTo>
                    <a:pt x="62" y="180"/>
                    <a:pt x="62" y="180"/>
                    <a:pt x="62" y="180"/>
                  </a:cubicBezTo>
                  <a:cubicBezTo>
                    <a:pt x="62" y="179"/>
                    <a:pt x="62" y="179"/>
                    <a:pt x="62" y="179"/>
                  </a:cubicBezTo>
                  <a:cubicBezTo>
                    <a:pt x="62" y="180"/>
                    <a:pt x="62" y="180"/>
                    <a:pt x="62" y="180"/>
                  </a:cubicBezTo>
                  <a:cubicBezTo>
                    <a:pt x="62" y="180"/>
                    <a:pt x="62" y="180"/>
                    <a:pt x="62" y="180"/>
                  </a:cubicBezTo>
                  <a:cubicBezTo>
                    <a:pt x="62" y="180"/>
                    <a:pt x="62" y="180"/>
                    <a:pt x="62" y="180"/>
                  </a:cubicBezTo>
                  <a:cubicBezTo>
                    <a:pt x="62" y="180"/>
                    <a:pt x="62" y="180"/>
                    <a:pt x="62" y="180"/>
                  </a:cubicBezTo>
                  <a:cubicBezTo>
                    <a:pt x="62" y="180"/>
                    <a:pt x="62" y="180"/>
                    <a:pt x="62" y="180"/>
                  </a:cubicBezTo>
                  <a:cubicBezTo>
                    <a:pt x="62" y="180"/>
                    <a:pt x="62" y="180"/>
                    <a:pt x="62" y="180"/>
                  </a:cubicBezTo>
                  <a:cubicBezTo>
                    <a:pt x="63" y="180"/>
                    <a:pt x="63" y="180"/>
                    <a:pt x="63" y="180"/>
                  </a:cubicBezTo>
                  <a:cubicBezTo>
                    <a:pt x="63" y="180"/>
                    <a:pt x="63" y="180"/>
                    <a:pt x="63" y="180"/>
                  </a:cubicBezTo>
                  <a:cubicBezTo>
                    <a:pt x="63" y="180"/>
                    <a:pt x="63" y="180"/>
                    <a:pt x="63" y="180"/>
                  </a:cubicBezTo>
                  <a:cubicBezTo>
                    <a:pt x="63" y="180"/>
                    <a:pt x="63" y="180"/>
                    <a:pt x="63" y="180"/>
                  </a:cubicBezTo>
                  <a:close/>
                  <a:moveTo>
                    <a:pt x="65" y="188"/>
                  </a:moveTo>
                  <a:cubicBezTo>
                    <a:pt x="65" y="188"/>
                    <a:pt x="65" y="188"/>
                    <a:pt x="65" y="188"/>
                  </a:cubicBezTo>
                  <a:cubicBezTo>
                    <a:pt x="65" y="188"/>
                    <a:pt x="65" y="188"/>
                    <a:pt x="65" y="188"/>
                  </a:cubicBezTo>
                  <a:cubicBezTo>
                    <a:pt x="65" y="188"/>
                    <a:pt x="65" y="188"/>
                    <a:pt x="65" y="188"/>
                  </a:cubicBezTo>
                  <a:cubicBezTo>
                    <a:pt x="64" y="188"/>
                    <a:pt x="64" y="188"/>
                    <a:pt x="64" y="188"/>
                  </a:cubicBezTo>
                  <a:cubicBezTo>
                    <a:pt x="65" y="189"/>
                    <a:pt x="65" y="189"/>
                    <a:pt x="65" y="189"/>
                  </a:cubicBezTo>
                  <a:cubicBezTo>
                    <a:pt x="65" y="190"/>
                    <a:pt x="65" y="190"/>
                    <a:pt x="65" y="190"/>
                  </a:cubicBezTo>
                  <a:cubicBezTo>
                    <a:pt x="65" y="190"/>
                    <a:pt x="65" y="190"/>
                    <a:pt x="65" y="190"/>
                  </a:cubicBezTo>
                  <a:cubicBezTo>
                    <a:pt x="65" y="190"/>
                    <a:pt x="65" y="190"/>
                    <a:pt x="65" y="190"/>
                  </a:cubicBezTo>
                  <a:cubicBezTo>
                    <a:pt x="65" y="191"/>
                    <a:pt x="65" y="191"/>
                    <a:pt x="65" y="191"/>
                  </a:cubicBezTo>
                  <a:cubicBezTo>
                    <a:pt x="65" y="191"/>
                    <a:pt x="65" y="191"/>
                    <a:pt x="65" y="191"/>
                  </a:cubicBezTo>
                  <a:cubicBezTo>
                    <a:pt x="66" y="191"/>
                    <a:pt x="66" y="191"/>
                    <a:pt x="66" y="191"/>
                  </a:cubicBezTo>
                  <a:cubicBezTo>
                    <a:pt x="66" y="191"/>
                    <a:pt x="66" y="191"/>
                    <a:pt x="66" y="191"/>
                  </a:cubicBezTo>
                  <a:cubicBezTo>
                    <a:pt x="66" y="192"/>
                    <a:pt x="66" y="192"/>
                    <a:pt x="66" y="192"/>
                  </a:cubicBezTo>
                  <a:cubicBezTo>
                    <a:pt x="66" y="192"/>
                    <a:pt x="66" y="192"/>
                    <a:pt x="66" y="192"/>
                  </a:cubicBezTo>
                  <a:cubicBezTo>
                    <a:pt x="66" y="192"/>
                    <a:pt x="66" y="192"/>
                    <a:pt x="66" y="192"/>
                  </a:cubicBezTo>
                  <a:cubicBezTo>
                    <a:pt x="66" y="192"/>
                    <a:pt x="66" y="192"/>
                    <a:pt x="66" y="192"/>
                  </a:cubicBezTo>
                  <a:cubicBezTo>
                    <a:pt x="66" y="192"/>
                    <a:pt x="66" y="192"/>
                    <a:pt x="66" y="192"/>
                  </a:cubicBezTo>
                  <a:cubicBezTo>
                    <a:pt x="66" y="192"/>
                    <a:pt x="66" y="192"/>
                    <a:pt x="66" y="192"/>
                  </a:cubicBezTo>
                  <a:cubicBezTo>
                    <a:pt x="66" y="193"/>
                    <a:pt x="66" y="193"/>
                    <a:pt x="66" y="193"/>
                  </a:cubicBezTo>
                  <a:cubicBezTo>
                    <a:pt x="66" y="193"/>
                    <a:pt x="66" y="193"/>
                    <a:pt x="66" y="193"/>
                  </a:cubicBezTo>
                  <a:cubicBezTo>
                    <a:pt x="66" y="193"/>
                    <a:pt x="66" y="193"/>
                    <a:pt x="66" y="193"/>
                  </a:cubicBezTo>
                  <a:cubicBezTo>
                    <a:pt x="66" y="193"/>
                    <a:pt x="66" y="193"/>
                    <a:pt x="66" y="193"/>
                  </a:cubicBezTo>
                  <a:cubicBezTo>
                    <a:pt x="66" y="193"/>
                    <a:pt x="66" y="193"/>
                    <a:pt x="66" y="193"/>
                  </a:cubicBezTo>
                  <a:cubicBezTo>
                    <a:pt x="67" y="193"/>
                    <a:pt x="67" y="193"/>
                    <a:pt x="67" y="193"/>
                  </a:cubicBezTo>
                  <a:cubicBezTo>
                    <a:pt x="67" y="193"/>
                    <a:pt x="67" y="193"/>
                    <a:pt x="67" y="193"/>
                  </a:cubicBezTo>
                  <a:cubicBezTo>
                    <a:pt x="67" y="192"/>
                    <a:pt x="67" y="192"/>
                    <a:pt x="67" y="192"/>
                  </a:cubicBezTo>
                  <a:cubicBezTo>
                    <a:pt x="68" y="191"/>
                    <a:pt x="68" y="191"/>
                    <a:pt x="68" y="191"/>
                  </a:cubicBezTo>
                  <a:cubicBezTo>
                    <a:pt x="68" y="191"/>
                    <a:pt x="68" y="191"/>
                    <a:pt x="68" y="191"/>
                  </a:cubicBezTo>
                  <a:cubicBezTo>
                    <a:pt x="68" y="191"/>
                    <a:pt x="68" y="191"/>
                    <a:pt x="68" y="191"/>
                  </a:cubicBezTo>
                  <a:cubicBezTo>
                    <a:pt x="68" y="190"/>
                    <a:pt x="68" y="190"/>
                    <a:pt x="68" y="190"/>
                  </a:cubicBezTo>
                  <a:cubicBezTo>
                    <a:pt x="68" y="190"/>
                    <a:pt x="68" y="190"/>
                    <a:pt x="68" y="190"/>
                  </a:cubicBezTo>
                  <a:cubicBezTo>
                    <a:pt x="67" y="188"/>
                    <a:pt x="67" y="188"/>
                    <a:pt x="67" y="188"/>
                  </a:cubicBezTo>
                  <a:cubicBezTo>
                    <a:pt x="66" y="187"/>
                    <a:pt x="66" y="187"/>
                    <a:pt x="66" y="187"/>
                  </a:cubicBezTo>
                  <a:cubicBezTo>
                    <a:pt x="66" y="187"/>
                    <a:pt x="66" y="187"/>
                    <a:pt x="66" y="187"/>
                  </a:cubicBezTo>
                  <a:cubicBezTo>
                    <a:pt x="66" y="187"/>
                    <a:pt x="66" y="187"/>
                    <a:pt x="66" y="187"/>
                  </a:cubicBezTo>
                  <a:cubicBezTo>
                    <a:pt x="66" y="187"/>
                    <a:pt x="66" y="187"/>
                    <a:pt x="66" y="187"/>
                  </a:cubicBezTo>
                  <a:cubicBezTo>
                    <a:pt x="66" y="186"/>
                    <a:pt x="66" y="186"/>
                    <a:pt x="66" y="186"/>
                  </a:cubicBezTo>
                  <a:cubicBezTo>
                    <a:pt x="65" y="185"/>
                    <a:pt x="65" y="185"/>
                    <a:pt x="65" y="185"/>
                  </a:cubicBezTo>
                  <a:cubicBezTo>
                    <a:pt x="65" y="185"/>
                    <a:pt x="65" y="185"/>
                    <a:pt x="65" y="185"/>
                  </a:cubicBezTo>
                  <a:cubicBezTo>
                    <a:pt x="64" y="185"/>
                    <a:pt x="64" y="185"/>
                    <a:pt x="64" y="185"/>
                  </a:cubicBezTo>
                  <a:cubicBezTo>
                    <a:pt x="65" y="186"/>
                    <a:pt x="65" y="186"/>
                    <a:pt x="65" y="186"/>
                  </a:cubicBezTo>
                  <a:cubicBezTo>
                    <a:pt x="64" y="186"/>
                    <a:pt x="64" y="186"/>
                    <a:pt x="64" y="186"/>
                  </a:cubicBezTo>
                  <a:cubicBezTo>
                    <a:pt x="64" y="186"/>
                    <a:pt x="64" y="186"/>
                    <a:pt x="64" y="186"/>
                  </a:cubicBezTo>
                  <a:cubicBezTo>
                    <a:pt x="64" y="186"/>
                    <a:pt x="64" y="186"/>
                    <a:pt x="64" y="186"/>
                  </a:cubicBezTo>
                  <a:cubicBezTo>
                    <a:pt x="64" y="187"/>
                    <a:pt x="64" y="187"/>
                    <a:pt x="64" y="187"/>
                  </a:cubicBezTo>
                  <a:cubicBezTo>
                    <a:pt x="64" y="187"/>
                    <a:pt x="64" y="187"/>
                    <a:pt x="64" y="187"/>
                  </a:cubicBezTo>
                  <a:cubicBezTo>
                    <a:pt x="64" y="187"/>
                    <a:pt x="64" y="187"/>
                    <a:pt x="64" y="187"/>
                  </a:cubicBezTo>
                  <a:cubicBezTo>
                    <a:pt x="65" y="188"/>
                    <a:pt x="65" y="188"/>
                    <a:pt x="65" y="188"/>
                  </a:cubicBezTo>
                  <a:close/>
                  <a:moveTo>
                    <a:pt x="120" y="291"/>
                  </a:moveTo>
                  <a:cubicBezTo>
                    <a:pt x="120" y="291"/>
                    <a:pt x="120" y="291"/>
                    <a:pt x="120" y="291"/>
                  </a:cubicBezTo>
                  <a:cubicBezTo>
                    <a:pt x="120" y="291"/>
                    <a:pt x="120" y="291"/>
                    <a:pt x="120" y="291"/>
                  </a:cubicBezTo>
                  <a:cubicBezTo>
                    <a:pt x="120" y="290"/>
                    <a:pt x="120" y="290"/>
                    <a:pt x="120" y="290"/>
                  </a:cubicBezTo>
                  <a:cubicBezTo>
                    <a:pt x="120" y="289"/>
                    <a:pt x="120" y="289"/>
                    <a:pt x="120" y="289"/>
                  </a:cubicBezTo>
                  <a:cubicBezTo>
                    <a:pt x="119" y="288"/>
                    <a:pt x="119" y="288"/>
                    <a:pt x="119" y="288"/>
                  </a:cubicBezTo>
                  <a:cubicBezTo>
                    <a:pt x="119" y="288"/>
                    <a:pt x="119" y="288"/>
                    <a:pt x="119" y="288"/>
                  </a:cubicBezTo>
                  <a:cubicBezTo>
                    <a:pt x="119" y="288"/>
                    <a:pt x="119" y="288"/>
                    <a:pt x="119" y="288"/>
                  </a:cubicBezTo>
                  <a:cubicBezTo>
                    <a:pt x="120" y="288"/>
                    <a:pt x="120" y="288"/>
                    <a:pt x="120" y="288"/>
                  </a:cubicBezTo>
                  <a:cubicBezTo>
                    <a:pt x="120" y="287"/>
                    <a:pt x="120" y="287"/>
                    <a:pt x="120" y="287"/>
                  </a:cubicBezTo>
                  <a:cubicBezTo>
                    <a:pt x="119" y="287"/>
                    <a:pt x="119" y="287"/>
                    <a:pt x="119" y="287"/>
                  </a:cubicBezTo>
                  <a:cubicBezTo>
                    <a:pt x="120" y="287"/>
                    <a:pt x="120" y="287"/>
                    <a:pt x="120" y="287"/>
                  </a:cubicBezTo>
                  <a:cubicBezTo>
                    <a:pt x="120" y="287"/>
                    <a:pt x="120" y="287"/>
                    <a:pt x="120" y="287"/>
                  </a:cubicBezTo>
                  <a:cubicBezTo>
                    <a:pt x="119" y="287"/>
                    <a:pt x="119" y="287"/>
                    <a:pt x="119" y="287"/>
                  </a:cubicBezTo>
                  <a:cubicBezTo>
                    <a:pt x="119" y="287"/>
                    <a:pt x="119" y="287"/>
                    <a:pt x="119" y="287"/>
                  </a:cubicBezTo>
                  <a:cubicBezTo>
                    <a:pt x="119" y="287"/>
                    <a:pt x="119" y="287"/>
                    <a:pt x="119" y="287"/>
                  </a:cubicBezTo>
                  <a:cubicBezTo>
                    <a:pt x="119" y="287"/>
                    <a:pt x="119" y="287"/>
                    <a:pt x="119" y="287"/>
                  </a:cubicBezTo>
                  <a:cubicBezTo>
                    <a:pt x="119" y="287"/>
                    <a:pt x="119" y="287"/>
                    <a:pt x="119" y="287"/>
                  </a:cubicBezTo>
                  <a:cubicBezTo>
                    <a:pt x="119" y="287"/>
                    <a:pt x="119" y="287"/>
                    <a:pt x="119" y="287"/>
                  </a:cubicBezTo>
                  <a:cubicBezTo>
                    <a:pt x="119" y="287"/>
                    <a:pt x="119" y="287"/>
                    <a:pt x="119" y="287"/>
                  </a:cubicBezTo>
                  <a:cubicBezTo>
                    <a:pt x="119" y="287"/>
                    <a:pt x="119" y="287"/>
                    <a:pt x="119" y="287"/>
                  </a:cubicBezTo>
                  <a:cubicBezTo>
                    <a:pt x="119" y="287"/>
                    <a:pt x="119" y="287"/>
                    <a:pt x="119" y="287"/>
                  </a:cubicBezTo>
                  <a:cubicBezTo>
                    <a:pt x="118" y="288"/>
                    <a:pt x="118" y="288"/>
                    <a:pt x="118" y="288"/>
                  </a:cubicBezTo>
                  <a:cubicBezTo>
                    <a:pt x="118" y="288"/>
                    <a:pt x="118" y="288"/>
                    <a:pt x="118" y="288"/>
                  </a:cubicBezTo>
                  <a:cubicBezTo>
                    <a:pt x="118" y="288"/>
                    <a:pt x="118" y="288"/>
                    <a:pt x="118" y="288"/>
                  </a:cubicBezTo>
                  <a:cubicBezTo>
                    <a:pt x="118" y="289"/>
                    <a:pt x="118" y="289"/>
                    <a:pt x="118" y="289"/>
                  </a:cubicBezTo>
                  <a:cubicBezTo>
                    <a:pt x="117" y="289"/>
                    <a:pt x="117" y="289"/>
                    <a:pt x="117" y="289"/>
                  </a:cubicBezTo>
                  <a:cubicBezTo>
                    <a:pt x="117" y="289"/>
                    <a:pt x="117" y="289"/>
                    <a:pt x="117" y="289"/>
                  </a:cubicBezTo>
                  <a:cubicBezTo>
                    <a:pt x="117" y="289"/>
                    <a:pt x="117" y="289"/>
                    <a:pt x="117" y="289"/>
                  </a:cubicBezTo>
                  <a:cubicBezTo>
                    <a:pt x="117" y="289"/>
                    <a:pt x="117" y="289"/>
                    <a:pt x="117" y="289"/>
                  </a:cubicBezTo>
                  <a:cubicBezTo>
                    <a:pt x="117" y="289"/>
                    <a:pt x="117" y="289"/>
                    <a:pt x="117" y="289"/>
                  </a:cubicBezTo>
                  <a:cubicBezTo>
                    <a:pt x="118" y="289"/>
                    <a:pt x="118" y="289"/>
                    <a:pt x="118" y="289"/>
                  </a:cubicBezTo>
                  <a:cubicBezTo>
                    <a:pt x="118" y="288"/>
                    <a:pt x="118" y="288"/>
                    <a:pt x="118" y="288"/>
                  </a:cubicBezTo>
                  <a:cubicBezTo>
                    <a:pt x="118" y="288"/>
                    <a:pt x="118" y="288"/>
                    <a:pt x="118" y="288"/>
                  </a:cubicBezTo>
                  <a:cubicBezTo>
                    <a:pt x="118" y="288"/>
                    <a:pt x="118" y="288"/>
                    <a:pt x="118" y="288"/>
                  </a:cubicBezTo>
                  <a:cubicBezTo>
                    <a:pt x="118" y="288"/>
                    <a:pt x="118" y="288"/>
                    <a:pt x="118" y="288"/>
                  </a:cubicBezTo>
                  <a:cubicBezTo>
                    <a:pt x="117" y="287"/>
                    <a:pt x="117" y="287"/>
                    <a:pt x="117" y="287"/>
                  </a:cubicBezTo>
                  <a:cubicBezTo>
                    <a:pt x="118" y="287"/>
                    <a:pt x="118" y="287"/>
                    <a:pt x="118" y="287"/>
                  </a:cubicBezTo>
                  <a:cubicBezTo>
                    <a:pt x="118" y="287"/>
                    <a:pt x="118" y="287"/>
                    <a:pt x="118" y="287"/>
                  </a:cubicBezTo>
                  <a:cubicBezTo>
                    <a:pt x="118" y="287"/>
                    <a:pt x="118" y="287"/>
                    <a:pt x="118" y="287"/>
                  </a:cubicBezTo>
                  <a:cubicBezTo>
                    <a:pt x="118" y="287"/>
                    <a:pt x="118" y="287"/>
                    <a:pt x="118" y="287"/>
                  </a:cubicBezTo>
                  <a:cubicBezTo>
                    <a:pt x="118" y="286"/>
                    <a:pt x="118" y="286"/>
                    <a:pt x="118" y="286"/>
                  </a:cubicBezTo>
                  <a:cubicBezTo>
                    <a:pt x="118" y="286"/>
                    <a:pt x="118" y="286"/>
                    <a:pt x="118" y="286"/>
                  </a:cubicBezTo>
                  <a:cubicBezTo>
                    <a:pt x="118" y="286"/>
                    <a:pt x="118" y="286"/>
                    <a:pt x="118" y="286"/>
                  </a:cubicBezTo>
                  <a:cubicBezTo>
                    <a:pt x="117" y="285"/>
                    <a:pt x="117" y="285"/>
                    <a:pt x="117" y="285"/>
                  </a:cubicBezTo>
                  <a:cubicBezTo>
                    <a:pt x="117" y="285"/>
                    <a:pt x="117" y="285"/>
                    <a:pt x="117" y="285"/>
                  </a:cubicBezTo>
                  <a:cubicBezTo>
                    <a:pt x="117" y="285"/>
                    <a:pt x="117" y="285"/>
                    <a:pt x="117" y="285"/>
                  </a:cubicBezTo>
                  <a:cubicBezTo>
                    <a:pt x="117" y="285"/>
                    <a:pt x="117" y="285"/>
                    <a:pt x="117" y="285"/>
                  </a:cubicBezTo>
                  <a:cubicBezTo>
                    <a:pt x="117" y="285"/>
                    <a:pt x="117" y="285"/>
                    <a:pt x="117" y="285"/>
                  </a:cubicBezTo>
                  <a:cubicBezTo>
                    <a:pt x="117" y="285"/>
                    <a:pt x="117" y="285"/>
                    <a:pt x="117" y="285"/>
                  </a:cubicBezTo>
                  <a:cubicBezTo>
                    <a:pt x="117" y="285"/>
                    <a:pt x="117" y="285"/>
                    <a:pt x="117" y="285"/>
                  </a:cubicBezTo>
                  <a:cubicBezTo>
                    <a:pt x="118" y="285"/>
                    <a:pt x="118" y="285"/>
                    <a:pt x="118" y="285"/>
                  </a:cubicBezTo>
                  <a:cubicBezTo>
                    <a:pt x="118" y="285"/>
                    <a:pt x="118" y="285"/>
                    <a:pt x="118" y="285"/>
                  </a:cubicBezTo>
                  <a:cubicBezTo>
                    <a:pt x="118" y="284"/>
                    <a:pt x="118" y="284"/>
                    <a:pt x="118" y="284"/>
                  </a:cubicBezTo>
                  <a:cubicBezTo>
                    <a:pt x="118" y="284"/>
                    <a:pt x="118" y="284"/>
                    <a:pt x="118" y="284"/>
                  </a:cubicBezTo>
                  <a:cubicBezTo>
                    <a:pt x="118" y="284"/>
                    <a:pt x="118" y="284"/>
                    <a:pt x="118" y="284"/>
                  </a:cubicBezTo>
                  <a:cubicBezTo>
                    <a:pt x="118" y="284"/>
                    <a:pt x="118" y="284"/>
                    <a:pt x="118" y="284"/>
                  </a:cubicBezTo>
                  <a:cubicBezTo>
                    <a:pt x="118" y="284"/>
                    <a:pt x="118" y="284"/>
                    <a:pt x="118" y="284"/>
                  </a:cubicBezTo>
                  <a:cubicBezTo>
                    <a:pt x="117" y="284"/>
                    <a:pt x="117" y="284"/>
                    <a:pt x="117" y="284"/>
                  </a:cubicBezTo>
                  <a:cubicBezTo>
                    <a:pt x="117" y="284"/>
                    <a:pt x="117" y="284"/>
                    <a:pt x="117" y="284"/>
                  </a:cubicBezTo>
                  <a:cubicBezTo>
                    <a:pt x="117" y="284"/>
                    <a:pt x="117" y="284"/>
                    <a:pt x="117" y="284"/>
                  </a:cubicBezTo>
                  <a:cubicBezTo>
                    <a:pt x="117" y="284"/>
                    <a:pt x="117" y="284"/>
                    <a:pt x="117" y="284"/>
                  </a:cubicBezTo>
                  <a:cubicBezTo>
                    <a:pt x="118" y="284"/>
                    <a:pt x="118" y="284"/>
                    <a:pt x="118" y="284"/>
                  </a:cubicBezTo>
                  <a:cubicBezTo>
                    <a:pt x="118" y="284"/>
                    <a:pt x="118" y="284"/>
                    <a:pt x="118" y="284"/>
                  </a:cubicBezTo>
                  <a:cubicBezTo>
                    <a:pt x="118" y="283"/>
                    <a:pt x="118" y="283"/>
                    <a:pt x="118" y="283"/>
                  </a:cubicBezTo>
                  <a:cubicBezTo>
                    <a:pt x="116" y="281"/>
                    <a:pt x="116" y="281"/>
                    <a:pt x="116" y="281"/>
                  </a:cubicBezTo>
                  <a:cubicBezTo>
                    <a:pt x="116" y="281"/>
                    <a:pt x="116" y="281"/>
                    <a:pt x="116" y="281"/>
                  </a:cubicBezTo>
                  <a:cubicBezTo>
                    <a:pt x="116" y="281"/>
                    <a:pt x="116" y="281"/>
                    <a:pt x="116" y="281"/>
                  </a:cubicBezTo>
                  <a:cubicBezTo>
                    <a:pt x="116" y="280"/>
                    <a:pt x="116" y="280"/>
                    <a:pt x="116" y="280"/>
                  </a:cubicBezTo>
                  <a:cubicBezTo>
                    <a:pt x="115" y="279"/>
                    <a:pt x="115" y="279"/>
                    <a:pt x="115" y="279"/>
                  </a:cubicBezTo>
                  <a:cubicBezTo>
                    <a:pt x="115" y="279"/>
                    <a:pt x="115" y="279"/>
                    <a:pt x="115" y="279"/>
                  </a:cubicBezTo>
                  <a:cubicBezTo>
                    <a:pt x="115" y="279"/>
                    <a:pt x="115" y="279"/>
                    <a:pt x="115" y="279"/>
                  </a:cubicBezTo>
                  <a:cubicBezTo>
                    <a:pt x="116" y="279"/>
                    <a:pt x="116" y="279"/>
                    <a:pt x="116" y="279"/>
                  </a:cubicBezTo>
                  <a:cubicBezTo>
                    <a:pt x="116" y="279"/>
                    <a:pt x="116" y="279"/>
                    <a:pt x="116" y="279"/>
                  </a:cubicBezTo>
                  <a:cubicBezTo>
                    <a:pt x="116" y="280"/>
                    <a:pt x="116" y="280"/>
                    <a:pt x="116" y="280"/>
                  </a:cubicBezTo>
                  <a:cubicBezTo>
                    <a:pt x="116" y="280"/>
                    <a:pt x="116" y="280"/>
                    <a:pt x="116" y="280"/>
                  </a:cubicBezTo>
                  <a:cubicBezTo>
                    <a:pt x="116" y="280"/>
                    <a:pt x="116" y="280"/>
                    <a:pt x="116" y="280"/>
                  </a:cubicBezTo>
                  <a:cubicBezTo>
                    <a:pt x="116" y="279"/>
                    <a:pt x="116" y="279"/>
                    <a:pt x="116" y="279"/>
                  </a:cubicBezTo>
                  <a:cubicBezTo>
                    <a:pt x="116" y="279"/>
                    <a:pt x="116" y="279"/>
                    <a:pt x="116" y="279"/>
                  </a:cubicBezTo>
                  <a:cubicBezTo>
                    <a:pt x="116" y="279"/>
                    <a:pt x="116" y="279"/>
                    <a:pt x="116" y="279"/>
                  </a:cubicBezTo>
                  <a:cubicBezTo>
                    <a:pt x="116" y="279"/>
                    <a:pt x="116" y="279"/>
                    <a:pt x="116" y="279"/>
                  </a:cubicBezTo>
                  <a:cubicBezTo>
                    <a:pt x="116" y="278"/>
                    <a:pt x="116" y="278"/>
                    <a:pt x="116" y="278"/>
                  </a:cubicBezTo>
                  <a:cubicBezTo>
                    <a:pt x="116" y="278"/>
                    <a:pt x="116" y="278"/>
                    <a:pt x="116" y="278"/>
                  </a:cubicBezTo>
                  <a:cubicBezTo>
                    <a:pt x="116" y="277"/>
                    <a:pt x="116" y="277"/>
                    <a:pt x="116" y="277"/>
                  </a:cubicBezTo>
                  <a:cubicBezTo>
                    <a:pt x="116" y="277"/>
                    <a:pt x="116" y="277"/>
                    <a:pt x="116" y="277"/>
                  </a:cubicBezTo>
                  <a:cubicBezTo>
                    <a:pt x="116" y="277"/>
                    <a:pt x="116" y="277"/>
                    <a:pt x="116" y="277"/>
                  </a:cubicBezTo>
                  <a:cubicBezTo>
                    <a:pt x="116" y="277"/>
                    <a:pt x="116" y="277"/>
                    <a:pt x="116" y="277"/>
                  </a:cubicBezTo>
                  <a:cubicBezTo>
                    <a:pt x="115" y="276"/>
                    <a:pt x="115" y="276"/>
                    <a:pt x="115" y="276"/>
                  </a:cubicBezTo>
                  <a:cubicBezTo>
                    <a:pt x="115" y="276"/>
                    <a:pt x="115" y="276"/>
                    <a:pt x="115" y="276"/>
                  </a:cubicBezTo>
                  <a:cubicBezTo>
                    <a:pt x="115" y="276"/>
                    <a:pt x="115" y="276"/>
                    <a:pt x="115" y="276"/>
                  </a:cubicBezTo>
                  <a:cubicBezTo>
                    <a:pt x="115" y="276"/>
                    <a:pt x="115" y="276"/>
                    <a:pt x="115" y="276"/>
                  </a:cubicBezTo>
                  <a:cubicBezTo>
                    <a:pt x="114" y="275"/>
                    <a:pt x="114" y="275"/>
                    <a:pt x="114" y="275"/>
                  </a:cubicBezTo>
                  <a:cubicBezTo>
                    <a:pt x="114" y="275"/>
                    <a:pt x="114" y="275"/>
                    <a:pt x="114" y="275"/>
                  </a:cubicBezTo>
                  <a:cubicBezTo>
                    <a:pt x="114" y="275"/>
                    <a:pt x="114" y="275"/>
                    <a:pt x="114" y="275"/>
                  </a:cubicBezTo>
                  <a:cubicBezTo>
                    <a:pt x="115" y="275"/>
                    <a:pt x="115" y="275"/>
                    <a:pt x="115" y="275"/>
                  </a:cubicBezTo>
                  <a:cubicBezTo>
                    <a:pt x="115" y="275"/>
                    <a:pt x="115" y="275"/>
                    <a:pt x="115" y="275"/>
                  </a:cubicBezTo>
                  <a:cubicBezTo>
                    <a:pt x="115" y="274"/>
                    <a:pt x="115" y="274"/>
                    <a:pt x="115" y="274"/>
                  </a:cubicBezTo>
                  <a:cubicBezTo>
                    <a:pt x="115" y="274"/>
                    <a:pt x="115" y="274"/>
                    <a:pt x="115" y="274"/>
                  </a:cubicBezTo>
                  <a:cubicBezTo>
                    <a:pt x="114" y="274"/>
                    <a:pt x="114" y="274"/>
                    <a:pt x="114" y="274"/>
                  </a:cubicBezTo>
                  <a:cubicBezTo>
                    <a:pt x="114" y="274"/>
                    <a:pt x="114" y="274"/>
                    <a:pt x="114" y="274"/>
                  </a:cubicBezTo>
                  <a:cubicBezTo>
                    <a:pt x="113" y="274"/>
                    <a:pt x="113" y="274"/>
                    <a:pt x="113" y="274"/>
                  </a:cubicBezTo>
                  <a:cubicBezTo>
                    <a:pt x="113" y="273"/>
                    <a:pt x="113" y="273"/>
                    <a:pt x="113" y="273"/>
                  </a:cubicBezTo>
                  <a:cubicBezTo>
                    <a:pt x="113" y="273"/>
                    <a:pt x="113" y="273"/>
                    <a:pt x="113" y="273"/>
                  </a:cubicBezTo>
                  <a:cubicBezTo>
                    <a:pt x="113" y="273"/>
                    <a:pt x="113" y="273"/>
                    <a:pt x="113" y="273"/>
                  </a:cubicBezTo>
                  <a:cubicBezTo>
                    <a:pt x="112" y="273"/>
                    <a:pt x="112" y="273"/>
                    <a:pt x="112" y="273"/>
                  </a:cubicBezTo>
                  <a:cubicBezTo>
                    <a:pt x="112" y="273"/>
                    <a:pt x="112" y="273"/>
                    <a:pt x="112" y="273"/>
                  </a:cubicBezTo>
                  <a:cubicBezTo>
                    <a:pt x="112" y="273"/>
                    <a:pt x="112" y="273"/>
                    <a:pt x="112" y="273"/>
                  </a:cubicBezTo>
                  <a:cubicBezTo>
                    <a:pt x="112" y="273"/>
                    <a:pt x="112" y="273"/>
                    <a:pt x="112" y="273"/>
                  </a:cubicBezTo>
                  <a:cubicBezTo>
                    <a:pt x="113" y="273"/>
                    <a:pt x="113" y="273"/>
                    <a:pt x="113" y="273"/>
                  </a:cubicBezTo>
                  <a:cubicBezTo>
                    <a:pt x="113" y="273"/>
                    <a:pt x="113" y="273"/>
                    <a:pt x="113" y="273"/>
                  </a:cubicBezTo>
                  <a:cubicBezTo>
                    <a:pt x="112" y="272"/>
                    <a:pt x="112" y="272"/>
                    <a:pt x="112" y="272"/>
                  </a:cubicBezTo>
                  <a:cubicBezTo>
                    <a:pt x="112" y="272"/>
                    <a:pt x="112" y="272"/>
                    <a:pt x="112" y="272"/>
                  </a:cubicBezTo>
                  <a:cubicBezTo>
                    <a:pt x="112" y="272"/>
                    <a:pt x="112" y="272"/>
                    <a:pt x="112" y="272"/>
                  </a:cubicBezTo>
                  <a:cubicBezTo>
                    <a:pt x="112" y="272"/>
                    <a:pt x="112" y="272"/>
                    <a:pt x="112" y="272"/>
                  </a:cubicBezTo>
                  <a:cubicBezTo>
                    <a:pt x="112" y="272"/>
                    <a:pt x="112" y="272"/>
                    <a:pt x="112" y="272"/>
                  </a:cubicBezTo>
                  <a:cubicBezTo>
                    <a:pt x="110" y="271"/>
                    <a:pt x="110" y="271"/>
                    <a:pt x="110" y="271"/>
                  </a:cubicBezTo>
                  <a:cubicBezTo>
                    <a:pt x="110" y="271"/>
                    <a:pt x="110" y="271"/>
                    <a:pt x="110" y="271"/>
                  </a:cubicBezTo>
                  <a:cubicBezTo>
                    <a:pt x="110" y="271"/>
                    <a:pt x="110" y="271"/>
                    <a:pt x="110" y="271"/>
                  </a:cubicBezTo>
                  <a:cubicBezTo>
                    <a:pt x="110" y="271"/>
                    <a:pt x="110" y="271"/>
                    <a:pt x="110" y="271"/>
                  </a:cubicBezTo>
                  <a:cubicBezTo>
                    <a:pt x="110" y="270"/>
                    <a:pt x="110" y="270"/>
                    <a:pt x="110" y="270"/>
                  </a:cubicBezTo>
                  <a:cubicBezTo>
                    <a:pt x="109" y="270"/>
                    <a:pt x="109" y="270"/>
                    <a:pt x="109" y="270"/>
                  </a:cubicBezTo>
                  <a:cubicBezTo>
                    <a:pt x="108" y="270"/>
                    <a:pt x="108" y="270"/>
                    <a:pt x="108" y="270"/>
                  </a:cubicBezTo>
                  <a:cubicBezTo>
                    <a:pt x="107" y="269"/>
                    <a:pt x="107" y="269"/>
                    <a:pt x="107" y="269"/>
                  </a:cubicBezTo>
                  <a:cubicBezTo>
                    <a:pt x="106" y="269"/>
                    <a:pt x="106" y="269"/>
                    <a:pt x="106" y="269"/>
                  </a:cubicBezTo>
                  <a:cubicBezTo>
                    <a:pt x="106" y="268"/>
                    <a:pt x="106" y="268"/>
                    <a:pt x="106" y="268"/>
                  </a:cubicBezTo>
                  <a:cubicBezTo>
                    <a:pt x="106" y="268"/>
                    <a:pt x="106" y="268"/>
                    <a:pt x="106" y="268"/>
                  </a:cubicBezTo>
                  <a:cubicBezTo>
                    <a:pt x="106" y="268"/>
                    <a:pt x="106" y="268"/>
                    <a:pt x="106" y="268"/>
                  </a:cubicBezTo>
                  <a:cubicBezTo>
                    <a:pt x="106" y="268"/>
                    <a:pt x="106" y="268"/>
                    <a:pt x="106" y="268"/>
                  </a:cubicBezTo>
                  <a:cubicBezTo>
                    <a:pt x="106" y="268"/>
                    <a:pt x="106" y="268"/>
                    <a:pt x="106" y="268"/>
                  </a:cubicBezTo>
                  <a:cubicBezTo>
                    <a:pt x="106" y="267"/>
                    <a:pt x="106" y="267"/>
                    <a:pt x="106" y="267"/>
                  </a:cubicBezTo>
                  <a:cubicBezTo>
                    <a:pt x="105" y="267"/>
                    <a:pt x="105" y="267"/>
                    <a:pt x="105" y="267"/>
                  </a:cubicBezTo>
                  <a:cubicBezTo>
                    <a:pt x="105" y="267"/>
                    <a:pt x="105" y="267"/>
                    <a:pt x="105" y="267"/>
                  </a:cubicBezTo>
                  <a:cubicBezTo>
                    <a:pt x="105" y="267"/>
                    <a:pt x="105" y="267"/>
                    <a:pt x="105" y="267"/>
                  </a:cubicBezTo>
                  <a:cubicBezTo>
                    <a:pt x="105" y="266"/>
                    <a:pt x="105" y="266"/>
                    <a:pt x="105" y="266"/>
                  </a:cubicBezTo>
                  <a:cubicBezTo>
                    <a:pt x="105" y="266"/>
                    <a:pt x="105" y="266"/>
                    <a:pt x="105" y="266"/>
                  </a:cubicBezTo>
                  <a:cubicBezTo>
                    <a:pt x="105" y="266"/>
                    <a:pt x="105" y="266"/>
                    <a:pt x="105" y="266"/>
                  </a:cubicBezTo>
                  <a:cubicBezTo>
                    <a:pt x="104" y="266"/>
                    <a:pt x="104" y="266"/>
                    <a:pt x="104" y="266"/>
                  </a:cubicBezTo>
                  <a:cubicBezTo>
                    <a:pt x="104" y="264"/>
                    <a:pt x="104" y="264"/>
                    <a:pt x="104" y="264"/>
                  </a:cubicBezTo>
                  <a:cubicBezTo>
                    <a:pt x="104" y="263"/>
                    <a:pt x="104" y="263"/>
                    <a:pt x="104" y="263"/>
                  </a:cubicBezTo>
                  <a:cubicBezTo>
                    <a:pt x="104" y="263"/>
                    <a:pt x="104" y="263"/>
                    <a:pt x="104" y="263"/>
                  </a:cubicBezTo>
                  <a:cubicBezTo>
                    <a:pt x="103" y="263"/>
                    <a:pt x="103" y="263"/>
                    <a:pt x="103" y="263"/>
                  </a:cubicBezTo>
                  <a:cubicBezTo>
                    <a:pt x="103" y="263"/>
                    <a:pt x="103" y="263"/>
                    <a:pt x="103" y="263"/>
                  </a:cubicBezTo>
                  <a:cubicBezTo>
                    <a:pt x="103" y="263"/>
                    <a:pt x="103" y="263"/>
                    <a:pt x="103" y="263"/>
                  </a:cubicBezTo>
                  <a:cubicBezTo>
                    <a:pt x="103" y="262"/>
                    <a:pt x="103" y="262"/>
                    <a:pt x="103" y="262"/>
                  </a:cubicBezTo>
                  <a:cubicBezTo>
                    <a:pt x="103" y="262"/>
                    <a:pt x="103" y="262"/>
                    <a:pt x="103" y="262"/>
                  </a:cubicBezTo>
                  <a:cubicBezTo>
                    <a:pt x="103" y="262"/>
                    <a:pt x="103" y="262"/>
                    <a:pt x="103" y="262"/>
                  </a:cubicBezTo>
                  <a:cubicBezTo>
                    <a:pt x="104" y="263"/>
                    <a:pt x="104" y="263"/>
                    <a:pt x="104" y="263"/>
                  </a:cubicBezTo>
                  <a:cubicBezTo>
                    <a:pt x="105" y="263"/>
                    <a:pt x="105" y="263"/>
                    <a:pt x="105" y="263"/>
                  </a:cubicBezTo>
                  <a:cubicBezTo>
                    <a:pt x="105" y="262"/>
                    <a:pt x="105" y="262"/>
                    <a:pt x="105" y="262"/>
                  </a:cubicBezTo>
                  <a:cubicBezTo>
                    <a:pt x="105" y="262"/>
                    <a:pt x="105" y="262"/>
                    <a:pt x="105" y="262"/>
                  </a:cubicBezTo>
                  <a:cubicBezTo>
                    <a:pt x="105" y="262"/>
                    <a:pt x="105" y="262"/>
                    <a:pt x="105" y="262"/>
                  </a:cubicBezTo>
                  <a:cubicBezTo>
                    <a:pt x="102" y="257"/>
                    <a:pt x="102" y="257"/>
                    <a:pt x="102" y="257"/>
                  </a:cubicBezTo>
                  <a:cubicBezTo>
                    <a:pt x="102" y="256"/>
                    <a:pt x="102" y="256"/>
                    <a:pt x="102" y="256"/>
                  </a:cubicBezTo>
                  <a:cubicBezTo>
                    <a:pt x="102" y="256"/>
                    <a:pt x="102" y="256"/>
                    <a:pt x="102" y="256"/>
                  </a:cubicBezTo>
                  <a:cubicBezTo>
                    <a:pt x="102" y="255"/>
                    <a:pt x="102" y="255"/>
                    <a:pt x="102" y="255"/>
                  </a:cubicBezTo>
                  <a:cubicBezTo>
                    <a:pt x="102" y="255"/>
                    <a:pt x="102" y="255"/>
                    <a:pt x="102" y="255"/>
                  </a:cubicBezTo>
                  <a:cubicBezTo>
                    <a:pt x="102" y="255"/>
                    <a:pt x="102" y="255"/>
                    <a:pt x="102" y="255"/>
                  </a:cubicBezTo>
                  <a:cubicBezTo>
                    <a:pt x="102" y="255"/>
                    <a:pt x="102" y="255"/>
                    <a:pt x="102" y="255"/>
                  </a:cubicBezTo>
                  <a:cubicBezTo>
                    <a:pt x="101" y="254"/>
                    <a:pt x="101" y="254"/>
                    <a:pt x="101" y="254"/>
                  </a:cubicBezTo>
                  <a:cubicBezTo>
                    <a:pt x="101" y="254"/>
                    <a:pt x="101" y="254"/>
                    <a:pt x="101" y="254"/>
                  </a:cubicBezTo>
                  <a:cubicBezTo>
                    <a:pt x="101" y="253"/>
                    <a:pt x="101" y="253"/>
                    <a:pt x="101" y="253"/>
                  </a:cubicBezTo>
                  <a:cubicBezTo>
                    <a:pt x="101" y="253"/>
                    <a:pt x="101" y="253"/>
                    <a:pt x="101" y="253"/>
                  </a:cubicBezTo>
                  <a:cubicBezTo>
                    <a:pt x="101" y="252"/>
                    <a:pt x="101" y="252"/>
                    <a:pt x="101" y="252"/>
                  </a:cubicBezTo>
                  <a:cubicBezTo>
                    <a:pt x="100" y="252"/>
                    <a:pt x="100" y="252"/>
                    <a:pt x="100" y="252"/>
                  </a:cubicBezTo>
                  <a:cubicBezTo>
                    <a:pt x="100" y="252"/>
                    <a:pt x="100" y="252"/>
                    <a:pt x="100" y="252"/>
                  </a:cubicBezTo>
                  <a:cubicBezTo>
                    <a:pt x="101" y="252"/>
                    <a:pt x="101" y="252"/>
                    <a:pt x="101" y="252"/>
                  </a:cubicBezTo>
                  <a:cubicBezTo>
                    <a:pt x="100" y="251"/>
                    <a:pt x="100" y="251"/>
                    <a:pt x="100" y="251"/>
                  </a:cubicBezTo>
                  <a:cubicBezTo>
                    <a:pt x="100" y="249"/>
                    <a:pt x="100" y="249"/>
                    <a:pt x="100" y="249"/>
                  </a:cubicBezTo>
                  <a:cubicBezTo>
                    <a:pt x="100" y="249"/>
                    <a:pt x="100" y="249"/>
                    <a:pt x="100" y="249"/>
                  </a:cubicBezTo>
                  <a:cubicBezTo>
                    <a:pt x="100" y="249"/>
                    <a:pt x="100" y="249"/>
                    <a:pt x="100" y="249"/>
                  </a:cubicBezTo>
                  <a:cubicBezTo>
                    <a:pt x="100" y="248"/>
                    <a:pt x="100" y="248"/>
                    <a:pt x="100" y="248"/>
                  </a:cubicBezTo>
                  <a:cubicBezTo>
                    <a:pt x="100" y="248"/>
                    <a:pt x="100" y="248"/>
                    <a:pt x="100" y="248"/>
                  </a:cubicBezTo>
                  <a:cubicBezTo>
                    <a:pt x="100" y="248"/>
                    <a:pt x="100" y="248"/>
                    <a:pt x="100" y="248"/>
                  </a:cubicBezTo>
                  <a:cubicBezTo>
                    <a:pt x="100" y="247"/>
                    <a:pt x="100" y="247"/>
                    <a:pt x="100" y="247"/>
                  </a:cubicBezTo>
                  <a:cubicBezTo>
                    <a:pt x="99" y="247"/>
                    <a:pt x="99" y="247"/>
                    <a:pt x="99" y="247"/>
                  </a:cubicBezTo>
                  <a:cubicBezTo>
                    <a:pt x="99" y="247"/>
                    <a:pt x="99" y="247"/>
                    <a:pt x="99" y="247"/>
                  </a:cubicBezTo>
                  <a:cubicBezTo>
                    <a:pt x="99" y="246"/>
                    <a:pt x="99" y="246"/>
                    <a:pt x="99" y="246"/>
                  </a:cubicBezTo>
                  <a:cubicBezTo>
                    <a:pt x="97" y="246"/>
                    <a:pt x="97" y="246"/>
                    <a:pt x="97" y="246"/>
                  </a:cubicBezTo>
                  <a:cubicBezTo>
                    <a:pt x="96" y="246"/>
                    <a:pt x="96" y="246"/>
                    <a:pt x="96" y="246"/>
                  </a:cubicBezTo>
                  <a:cubicBezTo>
                    <a:pt x="96" y="246"/>
                    <a:pt x="96" y="246"/>
                    <a:pt x="96" y="246"/>
                  </a:cubicBezTo>
                  <a:cubicBezTo>
                    <a:pt x="95" y="245"/>
                    <a:pt x="95" y="245"/>
                    <a:pt x="95" y="245"/>
                  </a:cubicBezTo>
                  <a:cubicBezTo>
                    <a:pt x="94" y="245"/>
                    <a:pt x="94" y="245"/>
                    <a:pt x="94" y="245"/>
                  </a:cubicBezTo>
                  <a:cubicBezTo>
                    <a:pt x="94" y="245"/>
                    <a:pt x="94" y="245"/>
                    <a:pt x="94" y="245"/>
                  </a:cubicBezTo>
                  <a:cubicBezTo>
                    <a:pt x="93" y="244"/>
                    <a:pt x="93" y="244"/>
                    <a:pt x="93" y="244"/>
                  </a:cubicBezTo>
                  <a:cubicBezTo>
                    <a:pt x="92" y="243"/>
                    <a:pt x="92" y="243"/>
                    <a:pt x="92" y="243"/>
                  </a:cubicBezTo>
                  <a:cubicBezTo>
                    <a:pt x="91" y="243"/>
                    <a:pt x="91" y="243"/>
                    <a:pt x="91" y="243"/>
                  </a:cubicBezTo>
                  <a:cubicBezTo>
                    <a:pt x="90" y="242"/>
                    <a:pt x="90" y="242"/>
                    <a:pt x="90" y="242"/>
                  </a:cubicBezTo>
                  <a:cubicBezTo>
                    <a:pt x="90" y="242"/>
                    <a:pt x="90" y="242"/>
                    <a:pt x="90" y="242"/>
                  </a:cubicBezTo>
                  <a:cubicBezTo>
                    <a:pt x="89" y="242"/>
                    <a:pt x="89" y="242"/>
                    <a:pt x="89" y="242"/>
                  </a:cubicBezTo>
                  <a:cubicBezTo>
                    <a:pt x="89" y="242"/>
                    <a:pt x="89" y="242"/>
                    <a:pt x="89" y="242"/>
                  </a:cubicBezTo>
                  <a:cubicBezTo>
                    <a:pt x="88" y="242"/>
                    <a:pt x="88" y="242"/>
                    <a:pt x="88" y="242"/>
                  </a:cubicBezTo>
                  <a:cubicBezTo>
                    <a:pt x="88" y="241"/>
                    <a:pt x="88" y="241"/>
                    <a:pt x="88" y="241"/>
                  </a:cubicBezTo>
                  <a:cubicBezTo>
                    <a:pt x="87" y="241"/>
                    <a:pt x="87" y="241"/>
                    <a:pt x="87" y="241"/>
                  </a:cubicBezTo>
                  <a:cubicBezTo>
                    <a:pt x="87" y="241"/>
                    <a:pt x="87" y="241"/>
                    <a:pt x="87" y="241"/>
                  </a:cubicBezTo>
                  <a:cubicBezTo>
                    <a:pt x="87" y="241"/>
                    <a:pt x="87" y="241"/>
                    <a:pt x="87" y="241"/>
                  </a:cubicBezTo>
                  <a:cubicBezTo>
                    <a:pt x="87" y="241"/>
                    <a:pt x="87" y="241"/>
                    <a:pt x="87" y="241"/>
                  </a:cubicBezTo>
                  <a:cubicBezTo>
                    <a:pt x="87" y="241"/>
                    <a:pt x="87" y="241"/>
                    <a:pt x="87" y="241"/>
                  </a:cubicBezTo>
                  <a:cubicBezTo>
                    <a:pt x="87" y="241"/>
                    <a:pt x="87" y="241"/>
                    <a:pt x="87" y="241"/>
                  </a:cubicBezTo>
                  <a:cubicBezTo>
                    <a:pt x="87" y="241"/>
                    <a:pt x="87" y="241"/>
                    <a:pt x="87" y="241"/>
                  </a:cubicBezTo>
                  <a:cubicBezTo>
                    <a:pt x="87" y="241"/>
                    <a:pt x="87" y="241"/>
                    <a:pt x="87" y="241"/>
                  </a:cubicBezTo>
                  <a:cubicBezTo>
                    <a:pt x="86" y="241"/>
                    <a:pt x="86" y="241"/>
                    <a:pt x="86" y="241"/>
                  </a:cubicBezTo>
                  <a:cubicBezTo>
                    <a:pt x="86" y="241"/>
                    <a:pt x="86" y="241"/>
                    <a:pt x="86" y="241"/>
                  </a:cubicBezTo>
                  <a:cubicBezTo>
                    <a:pt x="86" y="240"/>
                    <a:pt x="86" y="240"/>
                    <a:pt x="86" y="240"/>
                  </a:cubicBezTo>
                  <a:cubicBezTo>
                    <a:pt x="86" y="240"/>
                    <a:pt x="86" y="240"/>
                    <a:pt x="86" y="240"/>
                  </a:cubicBezTo>
                  <a:cubicBezTo>
                    <a:pt x="85" y="240"/>
                    <a:pt x="85" y="240"/>
                    <a:pt x="85" y="240"/>
                  </a:cubicBezTo>
                  <a:cubicBezTo>
                    <a:pt x="84" y="239"/>
                    <a:pt x="84" y="239"/>
                    <a:pt x="84" y="239"/>
                  </a:cubicBezTo>
                  <a:cubicBezTo>
                    <a:pt x="84" y="239"/>
                    <a:pt x="84" y="239"/>
                    <a:pt x="84" y="239"/>
                  </a:cubicBezTo>
                  <a:cubicBezTo>
                    <a:pt x="84" y="239"/>
                    <a:pt x="84" y="239"/>
                    <a:pt x="84" y="239"/>
                  </a:cubicBezTo>
                  <a:cubicBezTo>
                    <a:pt x="83" y="239"/>
                    <a:pt x="83" y="239"/>
                    <a:pt x="83" y="239"/>
                  </a:cubicBezTo>
                  <a:cubicBezTo>
                    <a:pt x="83" y="239"/>
                    <a:pt x="83" y="239"/>
                    <a:pt x="83" y="239"/>
                  </a:cubicBezTo>
                  <a:cubicBezTo>
                    <a:pt x="83" y="239"/>
                    <a:pt x="83" y="239"/>
                    <a:pt x="83" y="239"/>
                  </a:cubicBezTo>
                  <a:cubicBezTo>
                    <a:pt x="83" y="239"/>
                    <a:pt x="83" y="239"/>
                    <a:pt x="83" y="239"/>
                  </a:cubicBezTo>
                  <a:cubicBezTo>
                    <a:pt x="83" y="239"/>
                    <a:pt x="83" y="239"/>
                    <a:pt x="83" y="239"/>
                  </a:cubicBezTo>
                  <a:cubicBezTo>
                    <a:pt x="83" y="239"/>
                    <a:pt x="83" y="239"/>
                    <a:pt x="83" y="239"/>
                  </a:cubicBezTo>
                  <a:cubicBezTo>
                    <a:pt x="83" y="239"/>
                    <a:pt x="83" y="239"/>
                    <a:pt x="83" y="239"/>
                  </a:cubicBezTo>
                  <a:cubicBezTo>
                    <a:pt x="83" y="239"/>
                    <a:pt x="83" y="239"/>
                    <a:pt x="83" y="239"/>
                  </a:cubicBezTo>
                  <a:cubicBezTo>
                    <a:pt x="83" y="239"/>
                    <a:pt x="83" y="239"/>
                    <a:pt x="83" y="239"/>
                  </a:cubicBezTo>
                  <a:cubicBezTo>
                    <a:pt x="83" y="239"/>
                    <a:pt x="83" y="239"/>
                    <a:pt x="83" y="239"/>
                  </a:cubicBezTo>
                  <a:cubicBezTo>
                    <a:pt x="82" y="238"/>
                    <a:pt x="82" y="238"/>
                    <a:pt x="82" y="238"/>
                  </a:cubicBezTo>
                  <a:cubicBezTo>
                    <a:pt x="81" y="238"/>
                    <a:pt x="81" y="238"/>
                    <a:pt x="81" y="238"/>
                  </a:cubicBezTo>
                  <a:cubicBezTo>
                    <a:pt x="82" y="238"/>
                    <a:pt x="82" y="238"/>
                    <a:pt x="82" y="238"/>
                  </a:cubicBezTo>
                  <a:cubicBezTo>
                    <a:pt x="82" y="238"/>
                    <a:pt x="82" y="238"/>
                    <a:pt x="82" y="238"/>
                  </a:cubicBezTo>
                  <a:cubicBezTo>
                    <a:pt x="82" y="238"/>
                    <a:pt x="82" y="238"/>
                    <a:pt x="82" y="238"/>
                  </a:cubicBezTo>
                  <a:cubicBezTo>
                    <a:pt x="82" y="238"/>
                    <a:pt x="82" y="238"/>
                    <a:pt x="82" y="238"/>
                  </a:cubicBezTo>
                  <a:cubicBezTo>
                    <a:pt x="82" y="238"/>
                    <a:pt x="82" y="238"/>
                    <a:pt x="82" y="238"/>
                  </a:cubicBezTo>
                  <a:cubicBezTo>
                    <a:pt x="82" y="238"/>
                    <a:pt x="82" y="238"/>
                    <a:pt x="82" y="238"/>
                  </a:cubicBezTo>
                  <a:cubicBezTo>
                    <a:pt x="81" y="238"/>
                    <a:pt x="81" y="238"/>
                    <a:pt x="81" y="238"/>
                  </a:cubicBezTo>
                  <a:cubicBezTo>
                    <a:pt x="82" y="238"/>
                    <a:pt x="82" y="238"/>
                    <a:pt x="82" y="238"/>
                  </a:cubicBezTo>
                  <a:cubicBezTo>
                    <a:pt x="81" y="238"/>
                    <a:pt x="81" y="238"/>
                    <a:pt x="81" y="238"/>
                  </a:cubicBezTo>
                  <a:cubicBezTo>
                    <a:pt x="81" y="237"/>
                    <a:pt x="81" y="237"/>
                    <a:pt x="81" y="237"/>
                  </a:cubicBezTo>
                  <a:cubicBezTo>
                    <a:pt x="81" y="237"/>
                    <a:pt x="81" y="237"/>
                    <a:pt x="81" y="237"/>
                  </a:cubicBezTo>
                  <a:cubicBezTo>
                    <a:pt x="80" y="237"/>
                    <a:pt x="80" y="237"/>
                    <a:pt x="80" y="237"/>
                  </a:cubicBezTo>
                  <a:cubicBezTo>
                    <a:pt x="80" y="237"/>
                    <a:pt x="80" y="237"/>
                    <a:pt x="80" y="237"/>
                  </a:cubicBezTo>
                  <a:cubicBezTo>
                    <a:pt x="80" y="237"/>
                    <a:pt x="80" y="237"/>
                    <a:pt x="80" y="237"/>
                  </a:cubicBezTo>
                  <a:cubicBezTo>
                    <a:pt x="80" y="237"/>
                    <a:pt x="80" y="237"/>
                    <a:pt x="80" y="237"/>
                  </a:cubicBezTo>
                  <a:cubicBezTo>
                    <a:pt x="80" y="237"/>
                    <a:pt x="80" y="237"/>
                    <a:pt x="80" y="237"/>
                  </a:cubicBezTo>
                  <a:cubicBezTo>
                    <a:pt x="80" y="237"/>
                    <a:pt x="80" y="237"/>
                    <a:pt x="80" y="237"/>
                  </a:cubicBezTo>
                  <a:cubicBezTo>
                    <a:pt x="80" y="237"/>
                    <a:pt x="80" y="237"/>
                    <a:pt x="80" y="237"/>
                  </a:cubicBezTo>
                  <a:cubicBezTo>
                    <a:pt x="80" y="237"/>
                    <a:pt x="80" y="237"/>
                    <a:pt x="80" y="237"/>
                  </a:cubicBezTo>
                  <a:cubicBezTo>
                    <a:pt x="79" y="236"/>
                    <a:pt x="79" y="236"/>
                    <a:pt x="79" y="236"/>
                  </a:cubicBezTo>
                  <a:cubicBezTo>
                    <a:pt x="79" y="236"/>
                    <a:pt x="79" y="236"/>
                    <a:pt x="79" y="236"/>
                  </a:cubicBezTo>
                  <a:cubicBezTo>
                    <a:pt x="79" y="236"/>
                    <a:pt x="79" y="236"/>
                    <a:pt x="79" y="236"/>
                  </a:cubicBezTo>
                  <a:cubicBezTo>
                    <a:pt x="79" y="236"/>
                    <a:pt x="79" y="236"/>
                    <a:pt x="79" y="236"/>
                  </a:cubicBezTo>
                  <a:cubicBezTo>
                    <a:pt x="79" y="236"/>
                    <a:pt x="79" y="236"/>
                    <a:pt x="79" y="236"/>
                  </a:cubicBezTo>
                  <a:cubicBezTo>
                    <a:pt x="78" y="235"/>
                    <a:pt x="78" y="235"/>
                    <a:pt x="78" y="235"/>
                  </a:cubicBezTo>
                  <a:cubicBezTo>
                    <a:pt x="77" y="235"/>
                    <a:pt x="77" y="235"/>
                    <a:pt x="77" y="235"/>
                  </a:cubicBezTo>
                  <a:cubicBezTo>
                    <a:pt x="77" y="234"/>
                    <a:pt x="77" y="234"/>
                    <a:pt x="77" y="234"/>
                  </a:cubicBezTo>
                  <a:cubicBezTo>
                    <a:pt x="77" y="234"/>
                    <a:pt x="77" y="234"/>
                    <a:pt x="77" y="234"/>
                  </a:cubicBezTo>
                  <a:cubicBezTo>
                    <a:pt x="77" y="233"/>
                    <a:pt x="77" y="233"/>
                    <a:pt x="77" y="233"/>
                  </a:cubicBezTo>
                  <a:cubicBezTo>
                    <a:pt x="77" y="233"/>
                    <a:pt x="77" y="233"/>
                    <a:pt x="77" y="233"/>
                  </a:cubicBezTo>
                  <a:cubicBezTo>
                    <a:pt x="77" y="233"/>
                    <a:pt x="77" y="233"/>
                    <a:pt x="77" y="233"/>
                  </a:cubicBezTo>
                  <a:cubicBezTo>
                    <a:pt x="77" y="233"/>
                    <a:pt x="77" y="233"/>
                    <a:pt x="77" y="233"/>
                  </a:cubicBezTo>
                  <a:cubicBezTo>
                    <a:pt x="76" y="234"/>
                    <a:pt x="76" y="234"/>
                    <a:pt x="76" y="234"/>
                  </a:cubicBezTo>
                  <a:cubicBezTo>
                    <a:pt x="76" y="234"/>
                    <a:pt x="76" y="234"/>
                    <a:pt x="76" y="234"/>
                  </a:cubicBezTo>
                  <a:cubicBezTo>
                    <a:pt x="76" y="234"/>
                    <a:pt x="76" y="234"/>
                    <a:pt x="76" y="234"/>
                  </a:cubicBezTo>
                  <a:cubicBezTo>
                    <a:pt x="76" y="234"/>
                    <a:pt x="76" y="234"/>
                    <a:pt x="76" y="234"/>
                  </a:cubicBezTo>
                  <a:cubicBezTo>
                    <a:pt x="76" y="233"/>
                    <a:pt x="76" y="233"/>
                    <a:pt x="76" y="233"/>
                  </a:cubicBezTo>
                  <a:cubicBezTo>
                    <a:pt x="76" y="233"/>
                    <a:pt x="76" y="233"/>
                    <a:pt x="76" y="233"/>
                  </a:cubicBezTo>
                  <a:cubicBezTo>
                    <a:pt x="76" y="233"/>
                    <a:pt x="76" y="233"/>
                    <a:pt x="76" y="233"/>
                  </a:cubicBezTo>
                  <a:cubicBezTo>
                    <a:pt x="76" y="233"/>
                    <a:pt x="76" y="233"/>
                    <a:pt x="76" y="233"/>
                  </a:cubicBezTo>
                  <a:cubicBezTo>
                    <a:pt x="76" y="233"/>
                    <a:pt x="76" y="233"/>
                    <a:pt x="76" y="233"/>
                  </a:cubicBezTo>
                  <a:cubicBezTo>
                    <a:pt x="76" y="233"/>
                    <a:pt x="76" y="233"/>
                    <a:pt x="76" y="233"/>
                  </a:cubicBezTo>
                  <a:cubicBezTo>
                    <a:pt x="76" y="232"/>
                    <a:pt x="76" y="232"/>
                    <a:pt x="76" y="232"/>
                  </a:cubicBezTo>
                  <a:cubicBezTo>
                    <a:pt x="76" y="232"/>
                    <a:pt x="76" y="232"/>
                    <a:pt x="76" y="232"/>
                  </a:cubicBezTo>
                  <a:cubicBezTo>
                    <a:pt x="76" y="232"/>
                    <a:pt x="76" y="232"/>
                    <a:pt x="76" y="232"/>
                  </a:cubicBezTo>
                  <a:cubicBezTo>
                    <a:pt x="75" y="232"/>
                    <a:pt x="75" y="232"/>
                    <a:pt x="75" y="232"/>
                  </a:cubicBezTo>
                  <a:cubicBezTo>
                    <a:pt x="72" y="229"/>
                    <a:pt x="72" y="229"/>
                    <a:pt x="72" y="229"/>
                  </a:cubicBezTo>
                  <a:cubicBezTo>
                    <a:pt x="71" y="229"/>
                    <a:pt x="71" y="229"/>
                    <a:pt x="71" y="229"/>
                  </a:cubicBezTo>
                  <a:cubicBezTo>
                    <a:pt x="70" y="229"/>
                    <a:pt x="70" y="229"/>
                    <a:pt x="70" y="229"/>
                  </a:cubicBezTo>
                  <a:cubicBezTo>
                    <a:pt x="69" y="229"/>
                    <a:pt x="69" y="229"/>
                    <a:pt x="69" y="229"/>
                  </a:cubicBezTo>
                  <a:cubicBezTo>
                    <a:pt x="69" y="228"/>
                    <a:pt x="69" y="228"/>
                    <a:pt x="69" y="228"/>
                  </a:cubicBezTo>
                  <a:cubicBezTo>
                    <a:pt x="69" y="228"/>
                    <a:pt x="69" y="228"/>
                    <a:pt x="69" y="228"/>
                  </a:cubicBezTo>
                  <a:cubicBezTo>
                    <a:pt x="68" y="229"/>
                    <a:pt x="68" y="229"/>
                    <a:pt x="68" y="229"/>
                  </a:cubicBezTo>
                  <a:cubicBezTo>
                    <a:pt x="68" y="229"/>
                    <a:pt x="68" y="229"/>
                    <a:pt x="68" y="229"/>
                  </a:cubicBezTo>
                  <a:cubicBezTo>
                    <a:pt x="67" y="229"/>
                    <a:pt x="67" y="229"/>
                    <a:pt x="67" y="229"/>
                  </a:cubicBezTo>
                  <a:cubicBezTo>
                    <a:pt x="66" y="229"/>
                    <a:pt x="66" y="229"/>
                    <a:pt x="66" y="229"/>
                  </a:cubicBezTo>
                  <a:cubicBezTo>
                    <a:pt x="66" y="229"/>
                    <a:pt x="66" y="229"/>
                    <a:pt x="66" y="229"/>
                  </a:cubicBezTo>
                  <a:cubicBezTo>
                    <a:pt x="65" y="229"/>
                    <a:pt x="65" y="229"/>
                    <a:pt x="65" y="229"/>
                  </a:cubicBezTo>
                  <a:cubicBezTo>
                    <a:pt x="65" y="229"/>
                    <a:pt x="65" y="229"/>
                    <a:pt x="65" y="229"/>
                  </a:cubicBezTo>
                  <a:cubicBezTo>
                    <a:pt x="65" y="229"/>
                    <a:pt x="65" y="229"/>
                    <a:pt x="65" y="229"/>
                  </a:cubicBezTo>
                  <a:cubicBezTo>
                    <a:pt x="65" y="229"/>
                    <a:pt x="65" y="229"/>
                    <a:pt x="65" y="229"/>
                  </a:cubicBezTo>
                  <a:cubicBezTo>
                    <a:pt x="65" y="229"/>
                    <a:pt x="65" y="229"/>
                    <a:pt x="65" y="229"/>
                  </a:cubicBezTo>
                  <a:cubicBezTo>
                    <a:pt x="64" y="229"/>
                    <a:pt x="64" y="229"/>
                    <a:pt x="64" y="229"/>
                  </a:cubicBezTo>
                  <a:cubicBezTo>
                    <a:pt x="64" y="229"/>
                    <a:pt x="64" y="229"/>
                    <a:pt x="64" y="229"/>
                  </a:cubicBezTo>
                  <a:cubicBezTo>
                    <a:pt x="64" y="230"/>
                    <a:pt x="64" y="230"/>
                    <a:pt x="64" y="230"/>
                  </a:cubicBezTo>
                  <a:cubicBezTo>
                    <a:pt x="64" y="230"/>
                    <a:pt x="64" y="230"/>
                    <a:pt x="64" y="230"/>
                  </a:cubicBezTo>
                  <a:cubicBezTo>
                    <a:pt x="64" y="231"/>
                    <a:pt x="64" y="231"/>
                    <a:pt x="64" y="231"/>
                  </a:cubicBezTo>
                  <a:cubicBezTo>
                    <a:pt x="64" y="231"/>
                    <a:pt x="64" y="231"/>
                    <a:pt x="64" y="231"/>
                  </a:cubicBezTo>
                  <a:cubicBezTo>
                    <a:pt x="64" y="231"/>
                    <a:pt x="64" y="231"/>
                    <a:pt x="64" y="231"/>
                  </a:cubicBezTo>
                  <a:cubicBezTo>
                    <a:pt x="64" y="231"/>
                    <a:pt x="64" y="231"/>
                    <a:pt x="64" y="231"/>
                  </a:cubicBezTo>
                  <a:cubicBezTo>
                    <a:pt x="65" y="232"/>
                    <a:pt x="65" y="232"/>
                    <a:pt x="65" y="232"/>
                  </a:cubicBezTo>
                  <a:cubicBezTo>
                    <a:pt x="65" y="232"/>
                    <a:pt x="65" y="232"/>
                    <a:pt x="65" y="232"/>
                  </a:cubicBezTo>
                  <a:cubicBezTo>
                    <a:pt x="65" y="232"/>
                    <a:pt x="65" y="232"/>
                    <a:pt x="65" y="232"/>
                  </a:cubicBezTo>
                  <a:cubicBezTo>
                    <a:pt x="65" y="232"/>
                    <a:pt x="65" y="232"/>
                    <a:pt x="65" y="232"/>
                  </a:cubicBezTo>
                  <a:cubicBezTo>
                    <a:pt x="65" y="232"/>
                    <a:pt x="65" y="232"/>
                    <a:pt x="65" y="232"/>
                  </a:cubicBezTo>
                  <a:cubicBezTo>
                    <a:pt x="66" y="232"/>
                    <a:pt x="66" y="232"/>
                    <a:pt x="66" y="232"/>
                  </a:cubicBezTo>
                  <a:cubicBezTo>
                    <a:pt x="65" y="232"/>
                    <a:pt x="65" y="232"/>
                    <a:pt x="65" y="232"/>
                  </a:cubicBezTo>
                  <a:cubicBezTo>
                    <a:pt x="65" y="232"/>
                    <a:pt x="65" y="232"/>
                    <a:pt x="65" y="232"/>
                  </a:cubicBezTo>
                  <a:cubicBezTo>
                    <a:pt x="65" y="232"/>
                    <a:pt x="65" y="232"/>
                    <a:pt x="65" y="232"/>
                  </a:cubicBezTo>
                  <a:cubicBezTo>
                    <a:pt x="65" y="232"/>
                    <a:pt x="65" y="232"/>
                    <a:pt x="65" y="232"/>
                  </a:cubicBezTo>
                  <a:cubicBezTo>
                    <a:pt x="65" y="232"/>
                    <a:pt x="65" y="232"/>
                    <a:pt x="65" y="232"/>
                  </a:cubicBezTo>
                  <a:cubicBezTo>
                    <a:pt x="65" y="233"/>
                    <a:pt x="65" y="233"/>
                    <a:pt x="65" y="233"/>
                  </a:cubicBezTo>
                  <a:cubicBezTo>
                    <a:pt x="65" y="233"/>
                    <a:pt x="65" y="233"/>
                    <a:pt x="65" y="233"/>
                  </a:cubicBezTo>
                  <a:cubicBezTo>
                    <a:pt x="65" y="233"/>
                    <a:pt x="65" y="233"/>
                    <a:pt x="65" y="233"/>
                  </a:cubicBezTo>
                  <a:cubicBezTo>
                    <a:pt x="65" y="233"/>
                    <a:pt x="65" y="233"/>
                    <a:pt x="65" y="233"/>
                  </a:cubicBezTo>
                  <a:cubicBezTo>
                    <a:pt x="66" y="233"/>
                    <a:pt x="66" y="233"/>
                    <a:pt x="66" y="233"/>
                  </a:cubicBezTo>
                  <a:cubicBezTo>
                    <a:pt x="66" y="234"/>
                    <a:pt x="66" y="234"/>
                    <a:pt x="66" y="234"/>
                  </a:cubicBezTo>
                  <a:cubicBezTo>
                    <a:pt x="65" y="234"/>
                    <a:pt x="65" y="234"/>
                    <a:pt x="65" y="234"/>
                  </a:cubicBezTo>
                  <a:cubicBezTo>
                    <a:pt x="66" y="234"/>
                    <a:pt x="66" y="234"/>
                    <a:pt x="66" y="234"/>
                  </a:cubicBezTo>
                  <a:cubicBezTo>
                    <a:pt x="66" y="235"/>
                    <a:pt x="66" y="235"/>
                    <a:pt x="66" y="235"/>
                  </a:cubicBezTo>
                  <a:cubicBezTo>
                    <a:pt x="66" y="235"/>
                    <a:pt x="66" y="235"/>
                    <a:pt x="66" y="235"/>
                  </a:cubicBezTo>
                  <a:cubicBezTo>
                    <a:pt x="66" y="235"/>
                    <a:pt x="66" y="235"/>
                    <a:pt x="66" y="235"/>
                  </a:cubicBezTo>
                  <a:cubicBezTo>
                    <a:pt x="66" y="235"/>
                    <a:pt x="66" y="235"/>
                    <a:pt x="66" y="235"/>
                  </a:cubicBezTo>
                  <a:cubicBezTo>
                    <a:pt x="66" y="235"/>
                    <a:pt x="66" y="235"/>
                    <a:pt x="66" y="235"/>
                  </a:cubicBezTo>
                  <a:cubicBezTo>
                    <a:pt x="66" y="235"/>
                    <a:pt x="66" y="235"/>
                    <a:pt x="66" y="235"/>
                  </a:cubicBezTo>
                  <a:cubicBezTo>
                    <a:pt x="66" y="235"/>
                    <a:pt x="66" y="235"/>
                    <a:pt x="66" y="235"/>
                  </a:cubicBezTo>
                  <a:cubicBezTo>
                    <a:pt x="66" y="236"/>
                    <a:pt x="66" y="236"/>
                    <a:pt x="66" y="236"/>
                  </a:cubicBezTo>
                  <a:cubicBezTo>
                    <a:pt x="66" y="236"/>
                    <a:pt x="66" y="236"/>
                    <a:pt x="66" y="236"/>
                  </a:cubicBezTo>
                  <a:cubicBezTo>
                    <a:pt x="66" y="236"/>
                    <a:pt x="66" y="236"/>
                    <a:pt x="66" y="236"/>
                  </a:cubicBezTo>
                  <a:cubicBezTo>
                    <a:pt x="67" y="236"/>
                    <a:pt x="67" y="236"/>
                    <a:pt x="67" y="236"/>
                  </a:cubicBezTo>
                  <a:cubicBezTo>
                    <a:pt x="67" y="237"/>
                    <a:pt x="67" y="237"/>
                    <a:pt x="67" y="237"/>
                  </a:cubicBezTo>
                  <a:cubicBezTo>
                    <a:pt x="67" y="237"/>
                    <a:pt x="67" y="237"/>
                    <a:pt x="67" y="237"/>
                  </a:cubicBezTo>
                  <a:cubicBezTo>
                    <a:pt x="67" y="237"/>
                    <a:pt x="67" y="237"/>
                    <a:pt x="67" y="237"/>
                  </a:cubicBezTo>
                  <a:cubicBezTo>
                    <a:pt x="67" y="237"/>
                    <a:pt x="67" y="237"/>
                    <a:pt x="67" y="237"/>
                  </a:cubicBezTo>
                  <a:cubicBezTo>
                    <a:pt x="67" y="237"/>
                    <a:pt x="67" y="237"/>
                    <a:pt x="67" y="237"/>
                  </a:cubicBezTo>
                  <a:cubicBezTo>
                    <a:pt x="67" y="237"/>
                    <a:pt x="67" y="237"/>
                    <a:pt x="67" y="237"/>
                  </a:cubicBezTo>
                  <a:cubicBezTo>
                    <a:pt x="67" y="237"/>
                    <a:pt x="67" y="237"/>
                    <a:pt x="67" y="237"/>
                  </a:cubicBezTo>
                  <a:cubicBezTo>
                    <a:pt x="67" y="236"/>
                    <a:pt x="67" y="236"/>
                    <a:pt x="67" y="236"/>
                  </a:cubicBezTo>
                  <a:cubicBezTo>
                    <a:pt x="67" y="236"/>
                    <a:pt x="67" y="236"/>
                    <a:pt x="67" y="236"/>
                  </a:cubicBezTo>
                  <a:cubicBezTo>
                    <a:pt x="67" y="236"/>
                    <a:pt x="67" y="236"/>
                    <a:pt x="67" y="236"/>
                  </a:cubicBezTo>
                  <a:cubicBezTo>
                    <a:pt x="68" y="236"/>
                    <a:pt x="68" y="236"/>
                    <a:pt x="68" y="236"/>
                  </a:cubicBezTo>
                  <a:cubicBezTo>
                    <a:pt x="68" y="236"/>
                    <a:pt x="68" y="236"/>
                    <a:pt x="68" y="236"/>
                  </a:cubicBezTo>
                  <a:cubicBezTo>
                    <a:pt x="68" y="236"/>
                    <a:pt x="68" y="236"/>
                    <a:pt x="68" y="236"/>
                  </a:cubicBezTo>
                  <a:cubicBezTo>
                    <a:pt x="68" y="237"/>
                    <a:pt x="68" y="237"/>
                    <a:pt x="68" y="237"/>
                  </a:cubicBezTo>
                  <a:cubicBezTo>
                    <a:pt x="69" y="237"/>
                    <a:pt x="69" y="237"/>
                    <a:pt x="69" y="237"/>
                  </a:cubicBezTo>
                  <a:cubicBezTo>
                    <a:pt x="69" y="237"/>
                    <a:pt x="69" y="237"/>
                    <a:pt x="69" y="237"/>
                  </a:cubicBezTo>
                  <a:cubicBezTo>
                    <a:pt x="70" y="236"/>
                    <a:pt x="70" y="236"/>
                    <a:pt x="70" y="236"/>
                  </a:cubicBezTo>
                  <a:cubicBezTo>
                    <a:pt x="70" y="237"/>
                    <a:pt x="70" y="237"/>
                    <a:pt x="70" y="237"/>
                  </a:cubicBezTo>
                  <a:cubicBezTo>
                    <a:pt x="70" y="237"/>
                    <a:pt x="70" y="237"/>
                    <a:pt x="70" y="237"/>
                  </a:cubicBezTo>
                  <a:cubicBezTo>
                    <a:pt x="73" y="237"/>
                    <a:pt x="73" y="237"/>
                    <a:pt x="73" y="237"/>
                  </a:cubicBezTo>
                  <a:cubicBezTo>
                    <a:pt x="73" y="237"/>
                    <a:pt x="73" y="237"/>
                    <a:pt x="73" y="237"/>
                  </a:cubicBezTo>
                  <a:cubicBezTo>
                    <a:pt x="74" y="237"/>
                    <a:pt x="74" y="237"/>
                    <a:pt x="74" y="237"/>
                  </a:cubicBezTo>
                  <a:cubicBezTo>
                    <a:pt x="74" y="236"/>
                    <a:pt x="74" y="236"/>
                    <a:pt x="74" y="236"/>
                  </a:cubicBezTo>
                  <a:cubicBezTo>
                    <a:pt x="74" y="236"/>
                    <a:pt x="74" y="236"/>
                    <a:pt x="74" y="236"/>
                  </a:cubicBezTo>
                  <a:cubicBezTo>
                    <a:pt x="73" y="236"/>
                    <a:pt x="73" y="236"/>
                    <a:pt x="73" y="236"/>
                  </a:cubicBezTo>
                  <a:cubicBezTo>
                    <a:pt x="73" y="235"/>
                    <a:pt x="73" y="235"/>
                    <a:pt x="73" y="235"/>
                  </a:cubicBezTo>
                  <a:cubicBezTo>
                    <a:pt x="71" y="235"/>
                    <a:pt x="71" y="235"/>
                    <a:pt x="71" y="235"/>
                  </a:cubicBezTo>
                  <a:cubicBezTo>
                    <a:pt x="71" y="235"/>
                    <a:pt x="71" y="235"/>
                    <a:pt x="71" y="235"/>
                  </a:cubicBezTo>
                  <a:cubicBezTo>
                    <a:pt x="71" y="235"/>
                    <a:pt x="71" y="235"/>
                    <a:pt x="71" y="235"/>
                  </a:cubicBezTo>
                  <a:cubicBezTo>
                    <a:pt x="71" y="234"/>
                    <a:pt x="71" y="234"/>
                    <a:pt x="71" y="234"/>
                  </a:cubicBezTo>
                  <a:cubicBezTo>
                    <a:pt x="70" y="234"/>
                    <a:pt x="70" y="234"/>
                    <a:pt x="70" y="234"/>
                  </a:cubicBezTo>
                  <a:cubicBezTo>
                    <a:pt x="71" y="235"/>
                    <a:pt x="71" y="235"/>
                    <a:pt x="71" y="235"/>
                  </a:cubicBezTo>
                  <a:cubicBezTo>
                    <a:pt x="74" y="235"/>
                    <a:pt x="74" y="235"/>
                    <a:pt x="74" y="235"/>
                  </a:cubicBezTo>
                  <a:cubicBezTo>
                    <a:pt x="74" y="235"/>
                    <a:pt x="74" y="235"/>
                    <a:pt x="74" y="235"/>
                  </a:cubicBezTo>
                  <a:cubicBezTo>
                    <a:pt x="74" y="236"/>
                    <a:pt x="74" y="236"/>
                    <a:pt x="74" y="236"/>
                  </a:cubicBezTo>
                  <a:cubicBezTo>
                    <a:pt x="74" y="236"/>
                    <a:pt x="74" y="236"/>
                    <a:pt x="74" y="236"/>
                  </a:cubicBezTo>
                  <a:cubicBezTo>
                    <a:pt x="74" y="236"/>
                    <a:pt x="74" y="236"/>
                    <a:pt x="74" y="236"/>
                  </a:cubicBezTo>
                  <a:cubicBezTo>
                    <a:pt x="74" y="236"/>
                    <a:pt x="74" y="236"/>
                    <a:pt x="74" y="236"/>
                  </a:cubicBezTo>
                  <a:cubicBezTo>
                    <a:pt x="74" y="236"/>
                    <a:pt x="74" y="236"/>
                    <a:pt x="74" y="236"/>
                  </a:cubicBezTo>
                  <a:cubicBezTo>
                    <a:pt x="75" y="236"/>
                    <a:pt x="75" y="236"/>
                    <a:pt x="75" y="236"/>
                  </a:cubicBezTo>
                  <a:cubicBezTo>
                    <a:pt x="75" y="236"/>
                    <a:pt x="75" y="236"/>
                    <a:pt x="75" y="236"/>
                  </a:cubicBezTo>
                  <a:cubicBezTo>
                    <a:pt x="76" y="236"/>
                    <a:pt x="76" y="236"/>
                    <a:pt x="76" y="236"/>
                  </a:cubicBezTo>
                  <a:cubicBezTo>
                    <a:pt x="76" y="236"/>
                    <a:pt x="76" y="236"/>
                    <a:pt x="76" y="236"/>
                  </a:cubicBezTo>
                  <a:cubicBezTo>
                    <a:pt x="75" y="236"/>
                    <a:pt x="75" y="236"/>
                    <a:pt x="75" y="236"/>
                  </a:cubicBezTo>
                  <a:cubicBezTo>
                    <a:pt x="75" y="237"/>
                    <a:pt x="75" y="237"/>
                    <a:pt x="75" y="237"/>
                  </a:cubicBezTo>
                  <a:cubicBezTo>
                    <a:pt x="74" y="237"/>
                    <a:pt x="74" y="237"/>
                    <a:pt x="74" y="237"/>
                  </a:cubicBezTo>
                  <a:cubicBezTo>
                    <a:pt x="74" y="237"/>
                    <a:pt x="74" y="237"/>
                    <a:pt x="74" y="237"/>
                  </a:cubicBezTo>
                  <a:cubicBezTo>
                    <a:pt x="74" y="238"/>
                    <a:pt x="74" y="238"/>
                    <a:pt x="74" y="238"/>
                  </a:cubicBezTo>
                  <a:cubicBezTo>
                    <a:pt x="74" y="238"/>
                    <a:pt x="74" y="238"/>
                    <a:pt x="74" y="238"/>
                  </a:cubicBezTo>
                  <a:cubicBezTo>
                    <a:pt x="75" y="239"/>
                    <a:pt x="75" y="239"/>
                    <a:pt x="75" y="239"/>
                  </a:cubicBezTo>
                  <a:cubicBezTo>
                    <a:pt x="75" y="240"/>
                    <a:pt x="75" y="240"/>
                    <a:pt x="75" y="240"/>
                  </a:cubicBezTo>
                  <a:cubicBezTo>
                    <a:pt x="74" y="240"/>
                    <a:pt x="74" y="240"/>
                    <a:pt x="74" y="240"/>
                  </a:cubicBezTo>
                  <a:cubicBezTo>
                    <a:pt x="74" y="240"/>
                    <a:pt x="74" y="240"/>
                    <a:pt x="74" y="240"/>
                  </a:cubicBezTo>
                  <a:cubicBezTo>
                    <a:pt x="74" y="238"/>
                    <a:pt x="74" y="238"/>
                    <a:pt x="74" y="238"/>
                  </a:cubicBezTo>
                  <a:cubicBezTo>
                    <a:pt x="74" y="238"/>
                    <a:pt x="74" y="238"/>
                    <a:pt x="74" y="238"/>
                  </a:cubicBezTo>
                  <a:cubicBezTo>
                    <a:pt x="73" y="238"/>
                    <a:pt x="73" y="238"/>
                    <a:pt x="73" y="238"/>
                  </a:cubicBezTo>
                  <a:cubicBezTo>
                    <a:pt x="71" y="237"/>
                    <a:pt x="71" y="237"/>
                    <a:pt x="71" y="237"/>
                  </a:cubicBezTo>
                  <a:cubicBezTo>
                    <a:pt x="71" y="237"/>
                    <a:pt x="71" y="237"/>
                    <a:pt x="71" y="237"/>
                  </a:cubicBezTo>
                  <a:cubicBezTo>
                    <a:pt x="71" y="237"/>
                    <a:pt x="71" y="237"/>
                    <a:pt x="71" y="237"/>
                  </a:cubicBezTo>
                  <a:cubicBezTo>
                    <a:pt x="70" y="237"/>
                    <a:pt x="70" y="237"/>
                    <a:pt x="70" y="237"/>
                  </a:cubicBezTo>
                  <a:cubicBezTo>
                    <a:pt x="70" y="237"/>
                    <a:pt x="70" y="237"/>
                    <a:pt x="70" y="237"/>
                  </a:cubicBezTo>
                  <a:cubicBezTo>
                    <a:pt x="70" y="237"/>
                    <a:pt x="70" y="237"/>
                    <a:pt x="70" y="237"/>
                  </a:cubicBezTo>
                  <a:cubicBezTo>
                    <a:pt x="70" y="237"/>
                    <a:pt x="70" y="237"/>
                    <a:pt x="70" y="237"/>
                  </a:cubicBezTo>
                  <a:cubicBezTo>
                    <a:pt x="69" y="237"/>
                    <a:pt x="69" y="237"/>
                    <a:pt x="69" y="237"/>
                  </a:cubicBezTo>
                  <a:cubicBezTo>
                    <a:pt x="69" y="237"/>
                    <a:pt x="69" y="237"/>
                    <a:pt x="69" y="237"/>
                  </a:cubicBezTo>
                  <a:cubicBezTo>
                    <a:pt x="69" y="237"/>
                    <a:pt x="69" y="237"/>
                    <a:pt x="69" y="237"/>
                  </a:cubicBezTo>
                  <a:cubicBezTo>
                    <a:pt x="69" y="238"/>
                    <a:pt x="69" y="238"/>
                    <a:pt x="69" y="238"/>
                  </a:cubicBezTo>
                  <a:cubicBezTo>
                    <a:pt x="69" y="238"/>
                    <a:pt x="69" y="238"/>
                    <a:pt x="69" y="238"/>
                  </a:cubicBezTo>
                  <a:cubicBezTo>
                    <a:pt x="69" y="238"/>
                    <a:pt x="69" y="238"/>
                    <a:pt x="69" y="238"/>
                  </a:cubicBezTo>
                  <a:cubicBezTo>
                    <a:pt x="68" y="238"/>
                    <a:pt x="68" y="238"/>
                    <a:pt x="68" y="238"/>
                  </a:cubicBezTo>
                  <a:cubicBezTo>
                    <a:pt x="68" y="238"/>
                    <a:pt x="68" y="238"/>
                    <a:pt x="68" y="238"/>
                  </a:cubicBezTo>
                  <a:cubicBezTo>
                    <a:pt x="68" y="239"/>
                    <a:pt x="68" y="239"/>
                    <a:pt x="68" y="239"/>
                  </a:cubicBezTo>
                  <a:cubicBezTo>
                    <a:pt x="68" y="239"/>
                    <a:pt x="68" y="239"/>
                    <a:pt x="68" y="239"/>
                  </a:cubicBezTo>
                  <a:cubicBezTo>
                    <a:pt x="68" y="239"/>
                    <a:pt x="68" y="239"/>
                    <a:pt x="68" y="239"/>
                  </a:cubicBezTo>
                  <a:cubicBezTo>
                    <a:pt x="68" y="240"/>
                    <a:pt x="68" y="240"/>
                    <a:pt x="68" y="240"/>
                  </a:cubicBezTo>
                  <a:cubicBezTo>
                    <a:pt x="68" y="240"/>
                    <a:pt x="68" y="240"/>
                    <a:pt x="68" y="240"/>
                  </a:cubicBezTo>
                  <a:cubicBezTo>
                    <a:pt x="68" y="240"/>
                    <a:pt x="68" y="240"/>
                    <a:pt x="68" y="240"/>
                  </a:cubicBezTo>
                  <a:cubicBezTo>
                    <a:pt x="69" y="240"/>
                    <a:pt x="69" y="240"/>
                    <a:pt x="69" y="240"/>
                  </a:cubicBezTo>
                  <a:cubicBezTo>
                    <a:pt x="69" y="240"/>
                    <a:pt x="69" y="240"/>
                    <a:pt x="69" y="240"/>
                  </a:cubicBezTo>
                  <a:cubicBezTo>
                    <a:pt x="69" y="240"/>
                    <a:pt x="69" y="240"/>
                    <a:pt x="69" y="240"/>
                  </a:cubicBezTo>
                  <a:cubicBezTo>
                    <a:pt x="69" y="240"/>
                    <a:pt x="69" y="240"/>
                    <a:pt x="69" y="240"/>
                  </a:cubicBezTo>
                  <a:cubicBezTo>
                    <a:pt x="69" y="240"/>
                    <a:pt x="69" y="240"/>
                    <a:pt x="69" y="240"/>
                  </a:cubicBezTo>
                  <a:cubicBezTo>
                    <a:pt x="70" y="240"/>
                    <a:pt x="70" y="240"/>
                    <a:pt x="70" y="240"/>
                  </a:cubicBezTo>
                  <a:cubicBezTo>
                    <a:pt x="70" y="240"/>
                    <a:pt x="70" y="240"/>
                    <a:pt x="70" y="240"/>
                  </a:cubicBezTo>
                  <a:cubicBezTo>
                    <a:pt x="70" y="241"/>
                    <a:pt x="70" y="241"/>
                    <a:pt x="70" y="241"/>
                  </a:cubicBezTo>
                  <a:cubicBezTo>
                    <a:pt x="70" y="241"/>
                    <a:pt x="70" y="241"/>
                    <a:pt x="70" y="241"/>
                  </a:cubicBezTo>
                  <a:cubicBezTo>
                    <a:pt x="70" y="241"/>
                    <a:pt x="70" y="241"/>
                    <a:pt x="70" y="241"/>
                  </a:cubicBezTo>
                  <a:cubicBezTo>
                    <a:pt x="69" y="241"/>
                    <a:pt x="69" y="241"/>
                    <a:pt x="69" y="241"/>
                  </a:cubicBezTo>
                  <a:cubicBezTo>
                    <a:pt x="69" y="241"/>
                    <a:pt x="69" y="241"/>
                    <a:pt x="69" y="241"/>
                  </a:cubicBezTo>
                  <a:cubicBezTo>
                    <a:pt x="69" y="241"/>
                    <a:pt x="69" y="241"/>
                    <a:pt x="69" y="241"/>
                  </a:cubicBezTo>
                  <a:cubicBezTo>
                    <a:pt x="69" y="241"/>
                    <a:pt x="69" y="241"/>
                    <a:pt x="69" y="241"/>
                  </a:cubicBezTo>
                  <a:cubicBezTo>
                    <a:pt x="69" y="242"/>
                    <a:pt x="69" y="242"/>
                    <a:pt x="69" y="242"/>
                  </a:cubicBezTo>
                  <a:cubicBezTo>
                    <a:pt x="69" y="242"/>
                    <a:pt x="69" y="242"/>
                    <a:pt x="69" y="242"/>
                  </a:cubicBezTo>
                  <a:cubicBezTo>
                    <a:pt x="70" y="242"/>
                    <a:pt x="70" y="242"/>
                    <a:pt x="70" y="242"/>
                  </a:cubicBezTo>
                  <a:cubicBezTo>
                    <a:pt x="70" y="242"/>
                    <a:pt x="70" y="242"/>
                    <a:pt x="70" y="242"/>
                  </a:cubicBezTo>
                  <a:cubicBezTo>
                    <a:pt x="70" y="242"/>
                    <a:pt x="70" y="242"/>
                    <a:pt x="70" y="242"/>
                  </a:cubicBezTo>
                  <a:cubicBezTo>
                    <a:pt x="70" y="242"/>
                    <a:pt x="70" y="242"/>
                    <a:pt x="70" y="242"/>
                  </a:cubicBezTo>
                  <a:cubicBezTo>
                    <a:pt x="70" y="242"/>
                    <a:pt x="70" y="242"/>
                    <a:pt x="70" y="242"/>
                  </a:cubicBezTo>
                  <a:cubicBezTo>
                    <a:pt x="70" y="242"/>
                    <a:pt x="70" y="242"/>
                    <a:pt x="70" y="242"/>
                  </a:cubicBezTo>
                  <a:cubicBezTo>
                    <a:pt x="70" y="242"/>
                    <a:pt x="70" y="242"/>
                    <a:pt x="70" y="242"/>
                  </a:cubicBezTo>
                  <a:cubicBezTo>
                    <a:pt x="69" y="243"/>
                    <a:pt x="69" y="243"/>
                    <a:pt x="69" y="243"/>
                  </a:cubicBezTo>
                  <a:cubicBezTo>
                    <a:pt x="68" y="244"/>
                    <a:pt x="68" y="244"/>
                    <a:pt x="68" y="244"/>
                  </a:cubicBezTo>
                  <a:cubicBezTo>
                    <a:pt x="67" y="244"/>
                    <a:pt x="67" y="244"/>
                    <a:pt x="67" y="244"/>
                  </a:cubicBezTo>
                  <a:cubicBezTo>
                    <a:pt x="68" y="244"/>
                    <a:pt x="68" y="244"/>
                    <a:pt x="68" y="244"/>
                  </a:cubicBezTo>
                  <a:cubicBezTo>
                    <a:pt x="68" y="244"/>
                    <a:pt x="68" y="244"/>
                    <a:pt x="68" y="244"/>
                  </a:cubicBezTo>
                  <a:cubicBezTo>
                    <a:pt x="68" y="245"/>
                    <a:pt x="68" y="245"/>
                    <a:pt x="68" y="245"/>
                  </a:cubicBezTo>
                  <a:cubicBezTo>
                    <a:pt x="68" y="245"/>
                    <a:pt x="68" y="245"/>
                    <a:pt x="68" y="245"/>
                  </a:cubicBezTo>
                  <a:cubicBezTo>
                    <a:pt x="69" y="245"/>
                    <a:pt x="69" y="245"/>
                    <a:pt x="69" y="245"/>
                  </a:cubicBezTo>
                  <a:cubicBezTo>
                    <a:pt x="69" y="245"/>
                    <a:pt x="69" y="245"/>
                    <a:pt x="69" y="245"/>
                  </a:cubicBezTo>
                  <a:cubicBezTo>
                    <a:pt x="69" y="245"/>
                    <a:pt x="69" y="245"/>
                    <a:pt x="69" y="245"/>
                  </a:cubicBezTo>
                  <a:cubicBezTo>
                    <a:pt x="69" y="245"/>
                    <a:pt x="69" y="245"/>
                    <a:pt x="69" y="245"/>
                  </a:cubicBezTo>
                  <a:cubicBezTo>
                    <a:pt x="70" y="244"/>
                    <a:pt x="70" y="244"/>
                    <a:pt x="70" y="244"/>
                  </a:cubicBezTo>
                  <a:cubicBezTo>
                    <a:pt x="70" y="244"/>
                    <a:pt x="70" y="244"/>
                    <a:pt x="70" y="244"/>
                  </a:cubicBezTo>
                  <a:cubicBezTo>
                    <a:pt x="71" y="244"/>
                    <a:pt x="71" y="244"/>
                    <a:pt x="71" y="244"/>
                  </a:cubicBezTo>
                  <a:cubicBezTo>
                    <a:pt x="72" y="244"/>
                    <a:pt x="72" y="244"/>
                    <a:pt x="72" y="244"/>
                  </a:cubicBezTo>
                  <a:cubicBezTo>
                    <a:pt x="71" y="244"/>
                    <a:pt x="71" y="244"/>
                    <a:pt x="71" y="244"/>
                  </a:cubicBezTo>
                  <a:cubicBezTo>
                    <a:pt x="71" y="244"/>
                    <a:pt x="71" y="244"/>
                    <a:pt x="71" y="244"/>
                  </a:cubicBezTo>
                  <a:cubicBezTo>
                    <a:pt x="71" y="244"/>
                    <a:pt x="71" y="244"/>
                    <a:pt x="71" y="244"/>
                  </a:cubicBezTo>
                  <a:cubicBezTo>
                    <a:pt x="71" y="245"/>
                    <a:pt x="71" y="245"/>
                    <a:pt x="71" y="245"/>
                  </a:cubicBezTo>
                  <a:cubicBezTo>
                    <a:pt x="71" y="245"/>
                    <a:pt x="71" y="245"/>
                    <a:pt x="71" y="245"/>
                  </a:cubicBezTo>
                  <a:cubicBezTo>
                    <a:pt x="71" y="245"/>
                    <a:pt x="71" y="245"/>
                    <a:pt x="71" y="245"/>
                  </a:cubicBezTo>
                  <a:cubicBezTo>
                    <a:pt x="72" y="245"/>
                    <a:pt x="72" y="245"/>
                    <a:pt x="72" y="245"/>
                  </a:cubicBezTo>
                  <a:cubicBezTo>
                    <a:pt x="72" y="245"/>
                    <a:pt x="72" y="245"/>
                    <a:pt x="72" y="245"/>
                  </a:cubicBezTo>
                  <a:cubicBezTo>
                    <a:pt x="73" y="244"/>
                    <a:pt x="73" y="244"/>
                    <a:pt x="73" y="244"/>
                  </a:cubicBezTo>
                  <a:cubicBezTo>
                    <a:pt x="73" y="244"/>
                    <a:pt x="73" y="244"/>
                    <a:pt x="73" y="244"/>
                  </a:cubicBezTo>
                  <a:cubicBezTo>
                    <a:pt x="74" y="244"/>
                    <a:pt x="74" y="244"/>
                    <a:pt x="74" y="244"/>
                  </a:cubicBezTo>
                  <a:cubicBezTo>
                    <a:pt x="73" y="245"/>
                    <a:pt x="73" y="245"/>
                    <a:pt x="73" y="245"/>
                  </a:cubicBezTo>
                  <a:cubicBezTo>
                    <a:pt x="73" y="245"/>
                    <a:pt x="73" y="245"/>
                    <a:pt x="73" y="245"/>
                  </a:cubicBezTo>
                  <a:cubicBezTo>
                    <a:pt x="73" y="245"/>
                    <a:pt x="73" y="245"/>
                    <a:pt x="73" y="245"/>
                  </a:cubicBezTo>
                  <a:cubicBezTo>
                    <a:pt x="74" y="245"/>
                    <a:pt x="74" y="245"/>
                    <a:pt x="74" y="245"/>
                  </a:cubicBezTo>
                  <a:cubicBezTo>
                    <a:pt x="73" y="246"/>
                    <a:pt x="73" y="246"/>
                    <a:pt x="73" y="246"/>
                  </a:cubicBezTo>
                  <a:cubicBezTo>
                    <a:pt x="73" y="246"/>
                    <a:pt x="73" y="246"/>
                    <a:pt x="73" y="246"/>
                  </a:cubicBezTo>
                  <a:cubicBezTo>
                    <a:pt x="73" y="246"/>
                    <a:pt x="73" y="246"/>
                    <a:pt x="73" y="246"/>
                  </a:cubicBezTo>
                  <a:cubicBezTo>
                    <a:pt x="73" y="246"/>
                    <a:pt x="73" y="246"/>
                    <a:pt x="73" y="246"/>
                  </a:cubicBezTo>
                  <a:cubicBezTo>
                    <a:pt x="73" y="247"/>
                    <a:pt x="73" y="247"/>
                    <a:pt x="73" y="247"/>
                  </a:cubicBezTo>
                  <a:cubicBezTo>
                    <a:pt x="73" y="247"/>
                    <a:pt x="73" y="247"/>
                    <a:pt x="73" y="247"/>
                  </a:cubicBezTo>
                  <a:cubicBezTo>
                    <a:pt x="74" y="248"/>
                    <a:pt x="74" y="248"/>
                    <a:pt x="74" y="248"/>
                  </a:cubicBezTo>
                  <a:cubicBezTo>
                    <a:pt x="74" y="248"/>
                    <a:pt x="74" y="248"/>
                    <a:pt x="74" y="248"/>
                  </a:cubicBezTo>
                  <a:cubicBezTo>
                    <a:pt x="74" y="248"/>
                    <a:pt x="74" y="248"/>
                    <a:pt x="74" y="248"/>
                  </a:cubicBezTo>
                  <a:cubicBezTo>
                    <a:pt x="75" y="248"/>
                    <a:pt x="75" y="248"/>
                    <a:pt x="75" y="248"/>
                  </a:cubicBezTo>
                  <a:cubicBezTo>
                    <a:pt x="75" y="247"/>
                    <a:pt x="75" y="247"/>
                    <a:pt x="75" y="247"/>
                  </a:cubicBezTo>
                  <a:cubicBezTo>
                    <a:pt x="75" y="247"/>
                    <a:pt x="75" y="247"/>
                    <a:pt x="75" y="247"/>
                  </a:cubicBezTo>
                  <a:cubicBezTo>
                    <a:pt x="75" y="247"/>
                    <a:pt x="75" y="247"/>
                    <a:pt x="75" y="247"/>
                  </a:cubicBezTo>
                  <a:cubicBezTo>
                    <a:pt x="75" y="247"/>
                    <a:pt x="75" y="247"/>
                    <a:pt x="75" y="247"/>
                  </a:cubicBezTo>
                  <a:cubicBezTo>
                    <a:pt x="75" y="246"/>
                    <a:pt x="75" y="246"/>
                    <a:pt x="75" y="246"/>
                  </a:cubicBezTo>
                  <a:cubicBezTo>
                    <a:pt x="75" y="246"/>
                    <a:pt x="75" y="246"/>
                    <a:pt x="75" y="246"/>
                  </a:cubicBezTo>
                  <a:cubicBezTo>
                    <a:pt x="75" y="246"/>
                    <a:pt x="75" y="246"/>
                    <a:pt x="75" y="246"/>
                  </a:cubicBezTo>
                  <a:cubicBezTo>
                    <a:pt x="76" y="246"/>
                    <a:pt x="76" y="246"/>
                    <a:pt x="76" y="246"/>
                  </a:cubicBezTo>
                  <a:cubicBezTo>
                    <a:pt x="76" y="246"/>
                    <a:pt x="76" y="246"/>
                    <a:pt x="76" y="246"/>
                  </a:cubicBezTo>
                  <a:cubicBezTo>
                    <a:pt x="76" y="246"/>
                    <a:pt x="76" y="246"/>
                    <a:pt x="76" y="246"/>
                  </a:cubicBezTo>
                  <a:cubicBezTo>
                    <a:pt x="76" y="246"/>
                    <a:pt x="76" y="246"/>
                    <a:pt x="76" y="246"/>
                  </a:cubicBezTo>
                  <a:cubicBezTo>
                    <a:pt x="76" y="247"/>
                    <a:pt x="76" y="247"/>
                    <a:pt x="76" y="247"/>
                  </a:cubicBezTo>
                  <a:cubicBezTo>
                    <a:pt x="76" y="247"/>
                    <a:pt x="76" y="247"/>
                    <a:pt x="76" y="247"/>
                  </a:cubicBezTo>
                  <a:cubicBezTo>
                    <a:pt x="77" y="247"/>
                    <a:pt x="77" y="247"/>
                    <a:pt x="77" y="247"/>
                  </a:cubicBezTo>
                  <a:cubicBezTo>
                    <a:pt x="77" y="247"/>
                    <a:pt x="77" y="247"/>
                    <a:pt x="77" y="247"/>
                  </a:cubicBezTo>
                  <a:cubicBezTo>
                    <a:pt x="77" y="247"/>
                    <a:pt x="77" y="247"/>
                    <a:pt x="77" y="247"/>
                  </a:cubicBezTo>
                  <a:cubicBezTo>
                    <a:pt x="77" y="247"/>
                    <a:pt x="77" y="247"/>
                    <a:pt x="77" y="247"/>
                  </a:cubicBezTo>
                  <a:cubicBezTo>
                    <a:pt x="78" y="247"/>
                    <a:pt x="78" y="247"/>
                    <a:pt x="78" y="247"/>
                  </a:cubicBezTo>
                  <a:cubicBezTo>
                    <a:pt x="78" y="247"/>
                    <a:pt x="78" y="247"/>
                    <a:pt x="78" y="247"/>
                  </a:cubicBezTo>
                  <a:cubicBezTo>
                    <a:pt x="78" y="246"/>
                    <a:pt x="78" y="246"/>
                    <a:pt x="78" y="246"/>
                  </a:cubicBezTo>
                  <a:cubicBezTo>
                    <a:pt x="78" y="246"/>
                    <a:pt x="78" y="246"/>
                    <a:pt x="78" y="246"/>
                  </a:cubicBezTo>
                  <a:cubicBezTo>
                    <a:pt x="78" y="246"/>
                    <a:pt x="78" y="246"/>
                    <a:pt x="78" y="246"/>
                  </a:cubicBezTo>
                  <a:cubicBezTo>
                    <a:pt x="78" y="247"/>
                    <a:pt x="78" y="247"/>
                    <a:pt x="78" y="247"/>
                  </a:cubicBezTo>
                  <a:cubicBezTo>
                    <a:pt x="78" y="247"/>
                    <a:pt x="78" y="247"/>
                    <a:pt x="78" y="247"/>
                  </a:cubicBezTo>
                  <a:cubicBezTo>
                    <a:pt x="78" y="247"/>
                    <a:pt x="78" y="247"/>
                    <a:pt x="78" y="247"/>
                  </a:cubicBezTo>
                  <a:cubicBezTo>
                    <a:pt x="77" y="247"/>
                    <a:pt x="77" y="247"/>
                    <a:pt x="77" y="247"/>
                  </a:cubicBezTo>
                  <a:cubicBezTo>
                    <a:pt x="77" y="247"/>
                    <a:pt x="77" y="247"/>
                    <a:pt x="77" y="247"/>
                  </a:cubicBezTo>
                  <a:cubicBezTo>
                    <a:pt x="76" y="248"/>
                    <a:pt x="76" y="248"/>
                    <a:pt x="76" y="248"/>
                  </a:cubicBezTo>
                  <a:cubicBezTo>
                    <a:pt x="76" y="248"/>
                    <a:pt x="76" y="248"/>
                    <a:pt x="76" y="248"/>
                  </a:cubicBezTo>
                  <a:cubicBezTo>
                    <a:pt x="76" y="248"/>
                    <a:pt x="76" y="248"/>
                    <a:pt x="76" y="248"/>
                  </a:cubicBezTo>
                  <a:cubicBezTo>
                    <a:pt x="76" y="248"/>
                    <a:pt x="76" y="248"/>
                    <a:pt x="76" y="248"/>
                  </a:cubicBezTo>
                  <a:cubicBezTo>
                    <a:pt x="76" y="248"/>
                    <a:pt x="76" y="248"/>
                    <a:pt x="76" y="248"/>
                  </a:cubicBezTo>
                  <a:cubicBezTo>
                    <a:pt x="76" y="249"/>
                    <a:pt x="76" y="249"/>
                    <a:pt x="76" y="249"/>
                  </a:cubicBezTo>
                  <a:cubicBezTo>
                    <a:pt x="76" y="249"/>
                    <a:pt x="76" y="249"/>
                    <a:pt x="76" y="249"/>
                  </a:cubicBezTo>
                  <a:cubicBezTo>
                    <a:pt x="76" y="249"/>
                    <a:pt x="76" y="249"/>
                    <a:pt x="76" y="249"/>
                  </a:cubicBezTo>
                  <a:cubicBezTo>
                    <a:pt x="76" y="249"/>
                    <a:pt x="76" y="249"/>
                    <a:pt x="76" y="249"/>
                  </a:cubicBezTo>
                  <a:cubicBezTo>
                    <a:pt x="75" y="249"/>
                    <a:pt x="75" y="249"/>
                    <a:pt x="75" y="249"/>
                  </a:cubicBezTo>
                  <a:cubicBezTo>
                    <a:pt x="75" y="249"/>
                    <a:pt x="75" y="249"/>
                    <a:pt x="75" y="249"/>
                  </a:cubicBezTo>
                  <a:cubicBezTo>
                    <a:pt x="75" y="250"/>
                    <a:pt x="75" y="250"/>
                    <a:pt x="75" y="250"/>
                  </a:cubicBezTo>
                  <a:cubicBezTo>
                    <a:pt x="76" y="252"/>
                    <a:pt x="76" y="252"/>
                    <a:pt x="76" y="252"/>
                  </a:cubicBezTo>
                  <a:cubicBezTo>
                    <a:pt x="76" y="252"/>
                    <a:pt x="76" y="252"/>
                    <a:pt x="76" y="252"/>
                  </a:cubicBezTo>
                  <a:cubicBezTo>
                    <a:pt x="77" y="252"/>
                    <a:pt x="77" y="252"/>
                    <a:pt x="77" y="252"/>
                  </a:cubicBezTo>
                  <a:cubicBezTo>
                    <a:pt x="77" y="252"/>
                    <a:pt x="77" y="252"/>
                    <a:pt x="77" y="252"/>
                  </a:cubicBezTo>
                  <a:cubicBezTo>
                    <a:pt x="79" y="252"/>
                    <a:pt x="79" y="252"/>
                    <a:pt x="79" y="252"/>
                  </a:cubicBezTo>
                  <a:cubicBezTo>
                    <a:pt x="79" y="252"/>
                    <a:pt x="79" y="252"/>
                    <a:pt x="79" y="252"/>
                  </a:cubicBezTo>
                  <a:cubicBezTo>
                    <a:pt x="79" y="252"/>
                    <a:pt x="79" y="252"/>
                    <a:pt x="79" y="252"/>
                  </a:cubicBezTo>
                  <a:cubicBezTo>
                    <a:pt x="79" y="251"/>
                    <a:pt x="79" y="251"/>
                    <a:pt x="79" y="251"/>
                  </a:cubicBezTo>
                  <a:cubicBezTo>
                    <a:pt x="79" y="251"/>
                    <a:pt x="79" y="251"/>
                    <a:pt x="79" y="251"/>
                  </a:cubicBezTo>
                  <a:cubicBezTo>
                    <a:pt x="79" y="251"/>
                    <a:pt x="79" y="251"/>
                    <a:pt x="79" y="251"/>
                  </a:cubicBezTo>
                  <a:cubicBezTo>
                    <a:pt x="79" y="250"/>
                    <a:pt x="79" y="250"/>
                    <a:pt x="79" y="250"/>
                  </a:cubicBezTo>
                  <a:cubicBezTo>
                    <a:pt x="79" y="250"/>
                    <a:pt x="79" y="250"/>
                    <a:pt x="79" y="250"/>
                  </a:cubicBezTo>
                  <a:cubicBezTo>
                    <a:pt x="79" y="251"/>
                    <a:pt x="79" y="251"/>
                    <a:pt x="79" y="251"/>
                  </a:cubicBezTo>
                  <a:cubicBezTo>
                    <a:pt x="79" y="252"/>
                    <a:pt x="79" y="252"/>
                    <a:pt x="79" y="252"/>
                  </a:cubicBezTo>
                  <a:cubicBezTo>
                    <a:pt x="79" y="252"/>
                    <a:pt x="79" y="252"/>
                    <a:pt x="79" y="252"/>
                  </a:cubicBezTo>
                  <a:cubicBezTo>
                    <a:pt x="80" y="252"/>
                    <a:pt x="80" y="252"/>
                    <a:pt x="80" y="252"/>
                  </a:cubicBezTo>
                  <a:cubicBezTo>
                    <a:pt x="80" y="252"/>
                    <a:pt x="80" y="252"/>
                    <a:pt x="80" y="252"/>
                  </a:cubicBezTo>
                  <a:cubicBezTo>
                    <a:pt x="80" y="252"/>
                    <a:pt x="80" y="252"/>
                    <a:pt x="80" y="252"/>
                  </a:cubicBezTo>
                  <a:cubicBezTo>
                    <a:pt x="80" y="252"/>
                    <a:pt x="80" y="252"/>
                    <a:pt x="80" y="252"/>
                  </a:cubicBezTo>
                  <a:cubicBezTo>
                    <a:pt x="81" y="252"/>
                    <a:pt x="81" y="252"/>
                    <a:pt x="81" y="252"/>
                  </a:cubicBezTo>
                  <a:cubicBezTo>
                    <a:pt x="81" y="252"/>
                    <a:pt x="81" y="252"/>
                    <a:pt x="81" y="252"/>
                  </a:cubicBezTo>
                  <a:cubicBezTo>
                    <a:pt x="81" y="251"/>
                    <a:pt x="81" y="251"/>
                    <a:pt x="81" y="251"/>
                  </a:cubicBezTo>
                  <a:cubicBezTo>
                    <a:pt x="80" y="251"/>
                    <a:pt x="80" y="251"/>
                    <a:pt x="80" y="251"/>
                  </a:cubicBezTo>
                  <a:cubicBezTo>
                    <a:pt x="80" y="250"/>
                    <a:pt x="80" y="250"/>
                    <a:pt x="80" y="250"/>
                  </a:cubicBezTo>
                  <a:cubicBezTo>
                    <a:pt x="81" y="251"/>
                    <a:pt x="81" y="251"/>
                    <a:pt x="81" y="251"/>
                  </a:cubicBezTo>
                  <a:cubicBezTo>
                    <a:pt x="81" y="251"/>
                    <a:pt x="81" y="251"/>
                    <a:pt x="81" y="251"/>
                  </a:cubicBezTo>
                  <a:cubicBezTo>
                    <a:pt x="81" y="252"/>
                    <a:pt x="81" y="252"/>
                    <a:pt x="81" y="252"/>
                  </a:cubicBezTo>
                  <a:cubicBezTo>
                    <a:pt x="81" y="252"/>
                    <a:pt x="81" y="252"/>
                    <a:pt x="81" y="252"/>
                  </a:cubicBezTo>
                  <a:cubicBezTo>
                    <a:pt x="81" y="253"/>
                    <a:pt x="81" y="253"/>
                    <a:pt x="81" y="253"/>
                  </a:cubicBezTo>
                  <a:cubicBezTo>
                    <a:pt x="82" y="253"/>
                    <a:pt x="82" y="253"/>
                    <a:pt x="82" y="253"/>
                  </a:cubicBezTo>
                  <a:cubicBezTo>
                    <a:pt x="82" y="253"/>
                    <a:pt x="82" y="253"/>
                    <a:pt x="82" y="253"/>
                  </a:cubicBezTo>
                  <a:cubicBezTo>
                    <a:pt x="82" y="253"/>
                    <a:pt x="82" y="253"/>
                    <a:pt x="82" y="253"/>
                  </a:cubicBezTo>
                  <a:cubicBezTo>
                    <a:pt x="83" y="253"/>
                    <a:pt x="83" y="253"/>
                    <a:pt x="83" y="253"/>
                  </a:cubicBezTo>
                  <a:cubicBezTo>
                    <a:pt x="82" y="253"/>
                    <a:pt x="82" y="253"/>
                    <a:pt x="82" y="253"/>
                  </a:cubicBezTo>
                  <a:cubicBezTo>
                    <a:pt x="82" y="254"/>
                    <a:pt x="82" y="254"/>
                    <a:pt x="82" y="254"/>
                  </a:cubicBezTo>
                  <a:cubicBezTo>
                    <a:pt x="82" y="254"/>
                    <a:pt x="82" y="254"/>
                    <a:pt x="82" y="254"/>
                  </a:cubicBezTo>
                  <a:cubicBezTo>
                    <a:pt x="82" y="256"/>
                    <a:pt x="82" y="256"/>
                    <a:pt x="82" y="256"/>
                  </a:cubicBezTo>
                  <a:cubicBezTo>
                    <a:pt x="82" y="256"/>
                    <a:pt x="82" y="256"/>
                    <a:pt x="82" y="256"/>
                  </a:cubicBezTo>
                  <a:cubicBezTo>
                    <a:pt x="83" y="257"/>
                    <a:pt x="83" y="257"/>
                    <a:pt x="83" y="257"/>
                  </a:cubicBezTo>
                  <a:cubicBezTo>
                    <a:pt x="83" y="257"/>
                    <a:pt x="83" y="257"/>
                    <a:pt x="83" y="257"/>
                  </a:cubicBezTo>
                  <a:cubicBezTo>
                    <a:pt x="83" y="257"/>
                    <a:pt x="83" y="257"/>
                    <a:pt x="83" y="257"/>
                  </a:cubicBezTo>
                  <a:cubicBezTo>
                    <a:pt x="84" y="257"/>
                    <a:pt x="84" y="257"/>
                    <a:pt x="84" y="257"/>
                  </a:cubicBezTo>
                  <a:cubicBezTo>
                    <a:pt x="84" y="256"/>
                    <a:pt x="84" y="256"/>
                    <a:pt x="84" y="256"/>
                  </a:cubicBezTo>
                  <a:cubicBezTo>
                    <a:pt x="84" y="256"/>
                    <a:pt x="84" y="256"/>
                    <a:pt x="84" y="256"/>
                  </a:cubicBezTo>
                  <a:cubicBezTo>
                    <a:pt x="84" y="255"/>
                    <a:pt x="84" y="255"/>
                    <a:pt x="84" y="255"/>
                  </a:cubicBezTo>
                  <a:cubicBezTo>
                    <a:pt x="84" y="255"/>
                    <a:pt x="84" y="255"/>
                    <a:pt x="84" y="255"/>
                  </a:cubicBezTo>
                  <a:cubicBezTo>
                    <a:pt x="85" y="255"/>
                    <a:pt x="85" y="255"/>
                    <a:pt x="85" y="255"/>
                  </a:cubicBezTo>
                  <a:cubicBezTo>
                    <a:pt x="85" y="256"/>
                    <a:pt x="85" y="256"/>
                    <a:pt x="85" y="256"/>
                  </a:cubicBezTo>
                  <a:cubicBezTo>
                    <a:pt x="85" y="256"/>
                    <a:pt x="85" y="256"/>
                    <a:pt x="85" y="256"/>
                  </a:cubicBezTo>
                  <a:cubicBezTo>
                    <a:pt x="85" y="256"/>
                    <a:pt x="85" y="256"/>
                    <a:pt x="85" y="256"/>
                  </a:cubicBezTo>
                  <a:cubicBezTo>
                    <a:pt x="84" y="257"/>
                    <a:pt x="84" y="257"/>
                    <a:pt x="84" y="257"/>
                  </a:cubicBezTo>
                  <a:cubicBezTo>
                    <a:pt x="84" y="257"/>
                    <a:pt x="84" y="257"/>
                    <a:pt x="84" y="257"/>
                  </a:cubicBezTo>
                  <a:cubicBezTo>
                    <a:pt x="84" y="257"/>
                    <a:pt x="84" y="257"/>
                    <a:pt x="84" y="257"/>
                  </a:cubicBezTo>
                  <a:cubicBezTo>
                    <a:pt x="84" y="258"/>
                    <a:pt x="84" y="258"/>
                    <a:pt x="84" y="258"/>
                  </a:cubicBezTo>
                  <a:cubicBezTo>
                    <a:pt x="85" y="259"/>
                    <a:pt x="85" y="259"/>
                    <a:pt x="85" y="259"/>
                  </a:cubicBezTo>
                  <a:cubicBezTo>
                    <a:pt x="86" y="259"/>
                    <a:pt x="86" y="259"/>
                    <a:pt x="86" y="259"/>
                  </a:cubicBezTo>
                  <a:cubicBezTo>
                    <a:pt x="86" y="259"/>
                    <a:pt x="86" y="259"/>
                    <a:pt x="86" y="259"/>
                  </a:cubicBezTo>
                  <a:cubicBezTo>
                    <a:pt x="87" y="258"/>
                    <a:pt x="87" y="258"/>
                    <a:pt x="87" y="258"/>
                  </a:cubicBezTo>
                  <a:cubicBezTo>
                    <a:pt x="88" y="259"/>
                    <a:pt x="88" y="259"/>
                    <a:pt x="88" y="259"/>
                  </a:cubicBezTo>
                  <a:cubicBezTo>
                    <a:pt x="89" y="259"/>
                    <a:pt x="89" y="259"/>
                    <a:pt x="89" y="259"/>
                  </a:cubicBezTo>
                  <a:cubicBezTo>
                    <a:pt x="89" y="259"/>
                    <a:pt x="89" y="259"/>
                    <a:pt x="89" y="259"/>
                  </a:cubicBezTo>
                  <a:cubicBezTo>
                    <a:pt x="89" y="259"/>
                    <a:pt x="89" y="259"/>
                    <a:pt x="89" y="259"/>
                  </a:cubicBezTo>
                  <a:cubicBezTo>
                    <a:pt x="89" y="259"/>
                    <a:pt x="89" y="259"/>
                    <a:pt x="89" y="259"/>
                  </a:cubicBezTo>
                  <a:cubicBezTo>
                    <a:pt x="88" y="259"/>
                    <a:pt x="88" y="259"/>
                    <a:pt x="88" y="259"/>
                  </a:cubicBezTo>
                  <a:cubicBezTo>
                    <a:pt x="88" y="259"/>
                    <a:pt x="88" y="259"/>
                    <a:pt x="88" y="259"/>
                  </a:cubicBezTo>
                  <a:cubicBezTo>
                    <a:pt x="88" y="259"/>
                    <a:pt x="88" y="259"/>
                    <a:pt x="88" y="259"/>
                  </a:cubicBezTo>
                  <a:cubicBezTo>
                    <a:pt x="87" y="259"/>
                    <a:pt x="87" y="259"/>
                    <a:pt x="87" y="259"/>
                  </a:cubicBezTo>
                  <a:cubicBezTo>
                    <a:pt x="87" y="259"/>
                    <a:pt x="87" y="259"/>
                    <a:pt x="87" y="259"/>
                  </a:cubicBezTo>
                  <a:cubicBezTo>
                    <a:pt x="87" y="259"/>
                    <a:pt x="87" y="259"/>
                    <a:pt x="87" y="259"/>
                  </a:cubicBezTo>
                  <a:cubicBezTo>
                    <a:pt x="85" y="259"/>
                    <a:pt x="85" y="259"/>
                    <a:pt x="85" y="259"/>
                  </a:cubicBezTo>
                  <a:cubicBezTo>
                    <a:pt x="84" y="259"/>
                    <a:pt x="84" y="259"/>
                    <a:pt x="84" y="259"/>
                  </a:cubicBezTo>
                  <a:cubicBezTo>
                    <a:pt x="84" y="258"/>
                    <a:pt x="84" y="258"/>
                    <a:pt x="84" y="258"/>
                  </a:cubicBezTo>
                  <a:cubicBezTo>
                    <a:pt x="83" y="259"/>
                    <a:pt x="83" y="259"/>
                    <a:pt x="83" y="259"/>
                  </a:cubicBezTo>
                  <a:cubicBezTo>
                    <a:pt x="83" y="259"/>
                    <a:pt x="83" y="259"/>
                    <a:pt x="83" y="259"/>
                  </a:cubicBezTo>
                  <a:cubicBezTo>
                    <a:pt x="82" y="259"/>
                    <a:pt x="82" y="259"/>
                    <a:pt x="82" y="259"/>
                  </a:cubicBezTo>
                  <a:cubicBezTo>
                    <a:pt x="82" y="259"/>
                    <a:pt x="82" y="259"/>
                    <a:pt x="82" y="259"/>
                  </a:cubicBezTo>
                  <a:cubicBezTo>
                    <a:pt x="82" y="259"/>
                    <a:pt x="82" y="259"/>
                    <a:pt x="82" y="259"/>
                  </a:cubicBezTo>
                  <a:cubicBezTo>
                    <a:pt x="82" y="259"/>
                    <a:pt x="82" y="259"/>
                    <a:pt x="82" y="259"/>
                  </a:cubicBezTo>
                  <a:cubicBezTo>
                    <a:pt x="82" y="260"/>
                    <a:pt x="82" y="260"/>
                    <a:pt x="82" y="260"/>
                  </a:cubicBezTo>
                  <a:cubicBezTo>
                    <a:pt x="82" y="260"/>
                    <a:pt x="82" y="260"/>
                    <a:pt x="82" y="260"/>
                  </a:cubicBezTo>
                  <a:cubicBezTo>
                    <a:pt x="82" y="260"/>
                    <a:pt x="82" y="260"/>
                    <a:pt x="82" y="260"/>
                  </a:cubicBezTo>
                  <a:cubicBezTo>
                    <a:pt x="82" y="260"/>
                    <a:pt x="82" y="260"/>
                    <a:pt x="82" y="260"/>
                  </a:cubicBezTo>
                  <a:cubicBezTo>
                    <a:pt x="82" y="260"/>
                    <a:pt x="82" y="260"/>
                    <a:pt x="82" y="260"/>
                  </a:cubicBezTo>
                  <a:cubicBezTo>
                    <a:pt x="82" y="260"/>
                    <a:pt x="82" y="260"/>
                    <a:pt x="82" y="260"/>
                  </a:cubicBezTo>
                  <a:cubicBezTo>
                    <a:pt x="82" y="260"/>
                    <a:pt x="82" y="260"/>
                    <a:pt x="82" y="260"/>
                  </a:cubicBezTo>
                  <a:cubicBezTo>
                    <a:pt x="82" y="260"/>
                    <a:pt x="82" y="260"/>
                    <a:pt x="82" y="260"/>
                  </a:cubicBezTo>
                  <a:cubicBezTo>
                    <a:pt x="82" y="260"/>
                    <a:pt x="82" y="260"/>
                    <a:pt x="82" y="260"/>
                  </a:cubicBezTo>
                  <a:cubicBezTo>
                    <a:pt x="82" y="261"/>
                    <a:pt x="82" y="261"/>
                    <a:pt x="82" y="261"/>
                  </a:cubicBezTo>
                  <a:cubicBezTo>
                    <a:pt x="82" y="261"/>
                    <a:pt x="82" y="261"/>
                    <a:pt x="82" y="261"/>
                  </a:cubicBezTo>
                  <a:cubicBezTo>
                    <a:pt x="82" y="261"/>
                    <a:pt x="82" y="261"/>
                    <a:pt x="82" y="261"/>
                  </a:cubicBezTo>
                  <a:cubicBezTo>
                    <a:pt x="82" y="261"/>
                    <a:pt x="82" y="261"/>
                    <a:pt x="82" y="261"/>
                  </a:cubicBezTo>
                  <a:cubicBezTo>
                    <a:pt x="82" y="262"/>
                    <a:pt x="82" y="262"/>
                    <a:pt x="82" y="262"/>
                  </a:cubicBezTo>
                  <a:cubicBezTo>
                    <a:pt x="82" y="262"/>
                    <a:pt x="82" y="262"/>
                    <a:pt x="82" y="262"/>
                  </a:cubicBezTo>
                  <a:cubicBezTo>
                    <a:pt x="81" y="262"/>
                    <a:pt x="81" y="262"/>
                    <a:pt x="81" y="262"/>
                  </a:cubicBezTo>
                  <a:cubicBezTo>
                    <a:pt x="81" y="262"/>
                    <a:pt x="81" y="262"/>
                    <a:pt x="81" y="262"/>
                  </a:cubicBezTo>
                  <a:cubicBezTo>
                    <a:pt x="81" y="263"/>
                    <a:pt x="81" y="263"/>
                    <a:pt x="81" y="263"/>
                  </a:cubicBezTo>
                  <a:cubicBezTo>
                    <a:pt x="81" y="263"/>
                    <a:pt x="81" y="263"/>
                    <a:pt x="81" y="263"/>
                  </a:cubicBezTo>
                  <a:cubicBezTo>
                    <a:pt x="81" y="263"/>
                    <a:pt x="81" y="263"/>
                    <a:pt x="81" y="263"/>
                  </a:cubicBezTo>
                  <a:cubicBezTo>
                    <a:pt x="82" y="263"/>
                    <a:pt x="82" y="263"/>
                    <a:pt x="82" y="263"/>
                  </a:cubicBezTo>
                  <a:cubicBezTo>
                    <a:pt x="82" y="263"/>
                    <a:pt x="82" y="263"/>
                    <a:pt x="82" y="263"/>
                  </a:cubicBezTo>
                  <a:cubicBezTo>
                    <a:pt x="82" y="263"/>
                    <a:pt x="82" y="263"/>
                    <a:pt x="82" y="263"/>
                  </a:cubicBezTo>
                  <a:cubicBezTo>
                    <a:pt x="82" y="263"/>
                    <a:pt x="82" y="263"/>
                    <a:pt x="82" y="263"/>
                  </a:cubicBezTo>
                  <a:cubicBezTo>
                    <a:pt x="83" y="263"/>
                    <a:pt x="83" y="263"/>
                    <a:pt x="83" y="263"/>
                  </a:cubicBezTo>
                  <a:cubicBezTo>
                    <a:pt x="82" y="263"/>
                    <a:pt x="82" y="263"/>
                    <a:pt x="82" y="263"/>
                  </a:cubicBezTo>
                  <a:cubicBezTo>
                    <a:pt x="82" y="262"/>
                    <a:pt x="82" y="262"/>
                    <a:pt x="82" y="262"/>
                  </a:cubicBezTo>
                  <a:cubicBezTo>
                    <a:pt x="83" y="262"/>
                    <a:pt x="83" y="262"/>
                    <a:pt x="83" y="262"/>
                  </a:cubicBezTo>
                  <a:cubicBezTo>
                    <a:pt x="83" y="262"/>
                    <a:pt x="83" y="262"/>
                    <a:pt x="83" y="262"/>
                  </a:cubicBezTo>
                  <a:cubicBezTo>
                    <a:pt x="83" y="262"/>
                    <a:pt x="83" y="262"/>
                    <a:pt x="83" y="262"/>
                  </a:cubicBezTo>
                  <a:cubicBezTo>
                    <a:pt x="83" y="262"/>
                    <a:pt x="83" y="262"/>
                    <a:pt x="83" y="262"/>
                  </a:cubicBezTo>
                  <a:cubicBezTo>
                    <a:pt x="83" y="262"/>
                    <a:pt x="83" y="262"/>
                    <a:pt x="83" y="262"/>
                  </a:cubicBezTo>
                  <a:cubicBezTo>
                    <a:pt x="83" y="263"/>
                    <a:pt x="83" y="263"/>
                    <a:pt x="83" y="263"/>
                  </a:cubicBezTo>
                  <a:cubicBezTo>
                    <a:pt x="84" y="263"/>
                    <a:pt x="84" y="263"/>
                    <a:pt x="84" y="263"/>
                  </a:cubicBezTo>
                  <a:cubicBezTo>
                    <a:pt x="83" y="263"/>
                    <a:pt x="83" y="263"/>
                    <a:pt x="83" y="263"/>
                  </a:cubicBezTo>
                  <a:cubicBezTo>
                    <a:pt x="83" y="263"/>
                    <a:pt x="83" y="263"/>
                    <a:pt x="83" y="263"/>
                  </a:cubicBezTo>
                  <a:cubicBezTo>
                    <a:pt x="84" y="263"/>
                    <a:pt x="84" y="263"/>
                    <a:pt x="84" y="263"/>
                  </a:cubicBezTo>
                  <a:cubicBezTo>
                    <a:pt x="84" y="264"/>
                    <a:pt x="84" y="264"/>
                    <a:pt x="84" y="264"/>
                  </a:cubicBezTo>
                  <a:cubicBezTo>
                    <a:pt x="84" y="264"/>
                    <a:pt x="84" y="264"/>
                    <a:pt x="84" y="264"/>
                  </a:cubicBezTo>
                  <a:cubicBezTo>
                    <a:pt x="84" y="264"/>
                    <a:pt x="84" y="264"/>
                    <a:pt x="84" y="264"/>
                  </a:cubicBezTo>
                  <a:cubicBezTo>
                    <a:pt x="84" y="264"/>
                    <a:pt x="84" y="264"/>
                    <a:pt x="84" y="264"/>
                  </a:cubicBezTo>
                  <a:cubicBezTo>
                    <a:pt x="84" y="264"/>
                    <a:pt x="84" y="264"/>
                    <a:pt x="84" y="264"/>
                  </a:cubicBezTo>
                  <a:cubicBezTo>
                    <a:pt x="84" y="264"/>
                    <a:pt x="84" y="264"/>
                    <a:pt x="84" y="264"/>
                  </a:cubicBezTo>
                  <a:cubicBezTo>
                    <a:pt x="85" y="264"/>
                    <a:pt x="85" y="264"/>
                    <a:pt x="85" y="264"/>
                  </a:cubicBezTo>
                  <a:cubicBezTo>
                    <a:pt x="85" y="264"/>
                    <a:pt x="85" y="264"/>
                    <a:pt x="85" y="264"/>
                  </a:cubicBezTo>
                  <a:cubicBezTo>
                    <a:pt x="85" y="264"/>
                    <a:pt x="85" y="264"/>
                    <a:pt x="85" y="264"/>
                  </a:cubicBezTo>
                  <a:cubicBezTo>
                    <a:pt x="85" y="264"/>
                    <a:pt x="85" y="264"/>
                    <a:pt x="85" y="264"/>
                  </a:cubicBezTo>
                  <a:cubicBezTo>
                    <a:pt x="85" y="264"/>
                    <a:pt x="85" y="264"/>
                    <a:pt x="85" y="264"/>
                  </a:cubicBezTo>
                  <a:cubicBezTo>
                    <a:pt x="85" y="264"/>
                    <a:pt x="85" y="264"/>
                    <a:pt x="85" y="264"/>
                  </a:cubicBezTo>
                  <a:cubicBezTo>
                    <a:pt x="85" y="263"/>
                    <a:pt x="85" y="263"/>
                    <a:pt x="85" y="263"/>
                  </a:cubicBezTo>
                  <a:cubicBezTo>
                    <a:pt x="85" y="263"/>
                    <a:pt x="85" y="263"/>
                    <a:pt x="85" y="263"/>
                  </a:cubicBezTo>
                  <a:cubicBezTo>
                    <a:pt x="85" y="263"/>
                    <a:pt x="85" y="263"/>
                    <a:pt x="85" y="263"/>
                  </a:cubicBezTo>
                  <a:cubicBezTo>
                    <a:pt x="86" y="263"/>
                    <a:pt x="86" y="263"/>
                    <a:pt x="86" y="263"/>
                  </a:cubicBezTo>
                  <a:cubicBezTo>
                    <a:pt x="86" y="263"/>
                    <a:pt x="86" y="263"/>
                    <a:pt x="86" y="263"/>
                  </a:cubicBezTo>
                  <a:cubicBezTo>
                    <a:pt x="86" y="264"/>
                    <a:pt x="86" y="264"/>
                    <a:pt x="86" y="264"/>
                  </a:cubicBezTo>
                  <a:cubicBezTo>
                    <a:pt x="86" y="264"/>
                    <a:pt x="86" y="264"/>
                    <a:pt x="86" y="264"/>
                  </a:cubicBezTo>
                  <a:cubicBezTo>
                    <a:pt x="86" y="264"/>
                    <a:pt x="86" y="264"/>
                    <a:pt x="86" y="264"/>
                  </a:cubicBezTo>
                  <a:cubicBezTo>
                    <a:pt x="86" y="264"/>
                    <a:pt x="86" y="264"/>
                    <a:pt x="86" y="264"/>
                  </a:cubicBezTo>
                  <a:cubicBezTo>
                    <a:pt x="86" y="264"/>
                    <a:pt x="86" y="264"/>
                    <a:pt x="86" y="264"/>
                  </a:cubicBezTo>
                  <a:cubicBezTo>
                    <a:pt x="86" y="264"/>
                    <a:pt x="86" y="264"/>
                    <a:pt x="86" y="264"/>
                  </a:cubicBezTo>
                  <a:cubicBezTo>
                    <a:pt x="86" y="264"/>
                    <a:pt x="86" y="264"/>
                    <a:pt x="86" y="264"/>
                  </a:cubicBezTo>
                  <a:cubicBezTo>
                    <a:pt x="86" y="264"/>
                    <a:pt x="86" y="264"/>
                    <a:pt x="86" y="264"/>
                  </a:cubicBezTo>
                  <a:cubicBezTo>
                    <a:pt x="87" y="264"/>
                    <a:pt x="87" y="264"/>
                    <a:pt x="87" y="264"/>
                  </a:cubicBezTo>
                  <a:cubicBezTo>
                    <a:pt x="87" y="264"/>
                    <a:pt x="87" y="264"/>
                    <a:pt x="87" y="264"/>
                  </a:cubicBezTo>
                  <a:cubicBezTo>
                    <a:pt x="87" y="264"/>
                    <a:pt x="87" y="264"/>
                    <a:pt x="87" y="264"/>
                  </a:cubicBezTo>
                  <a:cubicBezTo>
                    <a:pt x="88" y="264"/>
                    <a:pt x="88" y="264"/>
                    <a:pt x="88" y="264"/>
                  </a:cubicBezTo>
                  <a:cubicBezTo>
                    <a:pt x="88" y="264"/>
                    <a:pt x="88" y="264"/>
                    <a:pt x="88" y="264"/>
                  </a:cubicBezTo>
                  <a:cubicBezTo>
                    <a:pt x="88" y="264"/>
                    <a:pt x="88" y="264"/>
                    <a:pt x="88" y="264"/>
                  </a:cubicBezTo>
                  <a:cubicBezTo>
                    <a:pt x="88" y="264"/>
                    <a:pt x="88" y="264"/>
                    <a:pt x="88" y="264"/>
                  </a:cubicBezTo>
                  <a:cubicBezTo>
                    <a:pt x="88" y="264"/>
                    <a:pt x="88" y="264"/>
                    <a:pt x="88" y="264"/>
                  </a:cubicBezTo>
                  <a:cubicBezTo>
                    <a:pt x="88" y="265"/>
                    <a:pt x="88" y="265"/>
                    <a:pt x="88" y="265"/>
                  </a:cubicBezTo>
                  <a:cubicBezTo>
                    <a:pt x="87" y="265"/>
                    <a:pt x="87" y="265"/>
                    <a:pt x="87" y="265"/>
                  </a:cubicBezTo>
                  <a:cubicBezTo>
                    <a:pt x="88" y="266"/>
                    <a:pt x="88" y="266"/>
                    <a:pt x="88" y="266"/>
                  </a:cubicBezTo>
                  <a:cubicBezTo>
                    <a:pt x="88" y="266"/>
                    <a:pt x="88" y="266"/>
                    <a:pt x="88" y="266"/>
                  </a:cubicBezTo>
                  <a:cubicBezTo>
                    <a:pt x="88" y="266"/>
                    <a:pt x="88" y="266"/>
                    <a:pt x="88" y="266"/>
                  </a:cubicBezTo>
                  <a:cubicBezTo>
                    <a:pt x="88" y="266"/>
                    <a:pt x="88" y="266"/>
                    <a:pt x="88" y="266"/>
                  </a:cubicBezTo>
                  <a:cubicBezTo>
                    <a:pt x="88" y="266"/>
                    <a:pt x="88" y="266"/>
                    <a:pt x="88" y="266"/>
                  </a:cubicBezTo>
                  <a:cubicBezTo>
                    <a:pt x="89" y="266"/>
                    <a:pt x="89" y="266"/>
                    <a:pt x="89" y="266"/>
                  </a:cubicBezTo>
                  <a:cubicBezTo>
                    <a:pt x="89" y="266"/>
                    <a:pt x="89" y="266"/>
                    <a:pt x="89" y="266"/>
                  </a:cubicBezTo>
                  <a:cubicBezTo>
                    <a:pt x="89" y="265"/>
                    <a:pt x="89" y="265"/>
                    <a:pt x="89" y="265"/>
                  </a:cubicBezTo>
                  <a:cubicBezTo>
                    <a:pt x="89" y="265"/>
                    <a:pt x="89" y="265"/>
                    <a:pt x="89" y="265"/>
                  </a:cubicBezTo>
                  <a:cubicBezTo>
                    <a:pt x="90" y="265"/>
                    <a:pt x="90" y="265"/>
                    <a:pt x="90" y="265"/>
                  </a:cubicBezTo>
                  <a:cubicBezTo>
                    <a:pt x="90" y="264"/>
                    <a:pt x="90" y="264"/>
                    <a:pt x="90" y="264"/>
                  </a:cubicBezTo>
                  <a:cubicBezTo>
                    <a:pt x="90" y="265"/>
                    <a:pt x="90" y="265"/>
                    <a:pt x="90" y="265"/>
                  </a:cubicBezTo>
                  <a:cubicBezTo>
                    <a:pt x="90" y="265"/>
                    <a:pt x="90" y="265"/>
                    <a:pt x="90" y="265"/>
                  </a:cubicBezTo>
                  <a:cubicBezTo>
                    <a:pt x="89" y="265"/>
                    <a:pt x="89" y="265"/>
                    <a:pt x="89" y="265"/>
                  </a:cubicBezTo>
                  <a:cubicBezTo>
                    <a:pt x="89" y="266"/>
                    <a:pt x="89" y="266"/>
                    <a:pt x="89" y="266"/>
                  </a:cubicBezTo>
                  <a:cubicBezTo>
                    <a:pt x="88" y="267"/>
                    <a:pt x="88" y="267"/>
                    <a:pt x="88" y="267"/>
                  </a:cubicBezTo>
                  <a:cubicBezTo>
                    <a:pt x="88" y="267"/>
                    <a:pt x="88" y="267"/>
                    <a:pt x="88" y="267"/>
                  </a:cubicBezTo>
                  <a:cubicBezTo>
                    <a:pt x="88" y="267"/>
                    <a:pt x="88" y="267"/>
                    <a:pt x="88" y="267"/>
                  </a:cubicBezTo>
                  <a:cubicBezTo>
                    <a:pt x="88" y="268"/>
                    <a:pt x="88" y="268"/>
                    <a:pt x="88" y="268"/>
                  </a:cubicBezTo>
                  <a:cubicBezTo>
                    <a:pt x="88" y="268"/>
                    <a:pt x="88" y="268"/>
                    <a:pt x="88" y="268"/>
                  </a:cubicBezTo>
                  <a:cubicBezTo>
                    <a:pt x="88" y="268"/>
                    <a:pt x="88" y="268"/>
                    <a:pt x="88" y="268"/>
                  </a:cubicBezTo>
                  <a:cubicBezTo>
                    <a:pt x="88" y="268"/>
                    <a:pt x="88" y="268"/>
                    <a:pt x="88" y="268"/>
                  </a:cubicBezTo>
                  <a:cubicBezTo>
                    <a:pt x="89" y="268"/>
                    <a:pt x="89" y="268"/>
                    <a:pt x="89" y="268"/>
                  </a:cubicBezTo>
                  <a:cubicBezTo>
                    <a:pt x="89" y="267"/>
                    <a:pt x="89" y="267"/>
                    <a:pt x="89" y="267"/>
                  </a:cubicBezTo>
                  <a:cubicBezTo>
                    <a:pt x="90" y="267"/>
                    <a:pt x="90" y="267"/>
                    <a:pt x="90" y="267"/>
                  </a:cubicBezTo>
                  <a:cubicBezTo>
                    <a:pt x="90" y="268"/>
                    <a:pt x="90" y="268"/>
                    <a:pt x="90" y="268"/>
                  </a:cubicBezTo>
                  <a:cubicBezTo>
                    <a:pt x="90" y="268"/>
                    <a:pt x="90" y="268"/>
                    <a:pt x="90" y="268"/>
                  </a:cubicBezTo>
                  <a:cubicBezTo>
                    <a:pt x="90" y="268"/>
                    <a:pt x="90" y="268"/>
                    <a:pt x="90" y="268"/>
                  </a:cubicBezTo>
                  <a:cubicBezTo>
                    <a:pt x="90" y="268"/>
                    <a:pt x="90" y="268"/>
                    <a:pt x="90" y="268"/>
                  </a:cubicBezTo>
                  <a:cubicBezTo>
                    <a:pt x="90" y="268"/>
                    <a:pt x="90" y="268"/>
                    <a:pt x="90" y="268"/>
                  </a:cubicBezTo>
                  <a:cubicBezTo>
                    <a:pt x="90" y="267"/>
                    <a:pt x="90" y="267"/>
                    <a:pt x="90" y="267"/>
                  </a:cubicBezTo>
                  <a:cubicBezTo>
                    <a:pt x="91" y="267"/>
                    <a:pt x="91" y="267"/>
                    <a:pt x="91" y="267"/>
                  </a:cubicBezTo>
                  <a:cubicBezTo>
                    <a:pt x="91" y="266"/>
                    <a:pt x="91" y="266"/>
                    <a:pt x="91" y="266"/>
                  </a:cubicBezTo>
                  <a:cubicBezTo>
                    <a:pt x="91" y="266"/>
                    <a:pt x="91" y="266"/>
                    <a:pt x="91" y="266"/>
                  </a:cubicBezTo>
                  <a:cubicBezTo>
                    <a:pt x="91" y="266"/>
                    <a:pt x="91" y="266"/>
                    <a:pt x="91" y="266"/>
                  </a:cubicBezTo>
                  <a:cubicBezTo>
                    <a:pt x="91" y="266"/>
                    <a:pt x="91" y="266"/>
                    <a:pt x="91" y="266"/>
                  </a:cubicBezTo>
                  <a:cubicBezTo>
                    <a:pt x="91" y="266"/>
                    <a:pt x="91" y="266"/>
                    <a:pt x="91" y="266"/>
                  </a:cubicBezTo>
                  <a:cubicBezTo>
                    <a:pt x="91" y="267"/>
                    <a:pt x="91" y="267"/>
                    <a:pt x="91" y="267"/>
                  </a:cubicBezTo>
                  <a:cubicBezTo>
                    <a:pt x="91" y="267"/>
                    <a:pt x="91" y="267"/>
                    <a:pt x="91" y="267"/>
                  </a:cubicBezTo>
                  <a:cubicBezTo>
                    <a:pt x="91" y="267"/>
                    <a:pt x="91" y="267"/>
                    <a:pt x="91" y="267"/>
                  </a:cubicBezTo>
                  <a:cubicBezTo>
                    <a:pt x="91" y="267"/>
                    <a:pt x="91" y="267"/>
                    <a:pt x="91" y="267"/>
                  </a:cubicBezTo>
                  <a:cubicBezTo>
                    <a:pt x="90" y="268"/>
                    <a:pt x="90" y="268"/>
                    <a:pt x="90" y="268"/>
                  </a:cubicBezTo>
                  <a:cubicBezTo>
                    <a:pt x="90" y="268"/>
                    <a:pt x="90" y="268"/>
                    <a:pt x="90" y="268"/>
                  </a:cubicBezTo>
                  <a:cubicBezTo>
                    <a:pt x="91" y="268"/>
                    <a:pt x="91" y="268"/>
                    <a:pt x="91" y="268"/>
                  </a:cubicBezTo>
                  <a:cubicBezTo>
                    <a:pt x="91" y="268"/>
                    <a:pt x="91" y="268"/>
                    <a:pt x="91" y="268"/>
                  </a:cubicBezTo>
                  <a:cubicBezTo>
                    <a:pt x="91" y="268"/>
                    <a:pt x="91" y="268"/>
                    <a:pt x="91" y="268"/>
                  </a:cubicBezTo>
                  <a:cubicBezTo>
                    <a:pt x="91" y="268"/>
                    <a:pt x="91" y="268"/>
                    <a:pt x="91" y="268"/>
                  </a:cubicBezTo>
                  <a:cubicBezTo>
                    <a:pt x="91" y="268"/>
                    <a:pt x="91" y="268"/>
                    <a:pt x="91" y="268"/>
                  </a:cubicBezTo>
                  <a:cubicBezTo>
                    <a:pt x="91" y="268"/>
                    <a:pt x="91" y="268"/>
                    <a:pt x="91" y="268"/>
                  </a:cubicBezTo>
                  <a:cubicBezTo>
                    <a:pt x="91" y="269"/>
                    <a:pt x="91" y="269"/>
                    <a:pt x="91" y="269"/>
                  </a:cubicBezTo>
                  <a:cubicBezTo>
                    <a:pt x="91" y="270"/>
                    <a:pt x="91" y="270"/>
                    <a:pt x="91" y="270"/>
                  </a:cubicBezTo>
                  <a:cubicBezTo>
                    <a:pt x="91" y="270"/>
                    <a:pt x="91" y="270"/>
                    <a:pt x="91" y="270"/>
                  </a:cubicBezTo>
                  <a:cubicBezTo>
                    <a:pt x="91" y="270"/>
                    <a:pt x="91" y="270"/>
                    <a:pt x="91" y="270"/>
                  </a:cubicBezTo>
                  <a:cubicBezTo>
                    <a:pt x="91" y="270"/>
                    <a:pt x="91" y="270"/>
                    <a:pt x="91" y="270"/>
                  </a:cubicBezTo>
                  <a:cubicBezTo>
                    <a:pt x="93" y="269"/>
                    <a:pt x="93" y="269"/>
                    <a:pt x="93" y="269"/>
                  </a:cubicBezTo>
                  <a:cubicBezTo>
                    <a:pt x="93" y="270"/>
                    <a:pt x="93" y="270"/>
                    <a:pt x="93" y="270"/>
                  </a:cubicBezTo>
                  <a:cubicBezTo>
                    <a:pt x="93" y="270"/>
                    <a:pt x="93" y="270"/>
                    <a:pt x="93" y="270"/>
                  </a:cubicBezTo>
                  <a:cubicBezTo>
                    <a:pt x="92" y="270"/>
                    <a:pt x="92" y="270"/>
                    <a:pt x="92" y="270"/>
                  </a:cubicBezTo>
                  <a:cubicBezTo>
                    <a:pt x="92" y="270"/>
                    <a:pt x="92" y="270"/>
                    <a:pt x="92" y="270"/>
                  </a:cubicBezTo>
                  <a:cubicBezTo>
                    <a:pt x="92" y="270"/>
                    <a:pt x="92" y="270"/>
                    <a:pt x="92" y="270"/>
                  </a:cubicBezTo>
                  <a:cubicBezTo>
                    <a:pt x="92" y="271"/>
                    <a:pt x="92" y="271"/>
                    <a:pt x="92" y="271"/>
                  </a:cubicBezTo>
                  <a:cubicBezTo>
                    <a:pt x="91" y="271"/>
                    <a:pt x="91" y="271"/>
                    <a:pt x="91" y="271"/>
                  </a:cubicBezTo>
                  <a:cubicBezTo>
                    <a:pt x="91" y="271"/>
                    <a:pt x="91" y="271"/>
                    <a:pt x="91" y="271"/>
                  </a:cubicBezTo>
                  <a:cubicBezTo>
                    <a:pt x="91" y="271"/>
                    <a:pt x="91" y="271"/>
                    <a:pt x="91" y="271"/>
                  </a:cubicBezTo>
                  <a:cubicBezTo>
                    <a:pt x="90" y="271"/>
                    <a:pt x="90" y="271"/>
                    <a:pt x="90" y="271"/>
                  </a:cubicBezTo>
                  <a:cubicBezTo>
                    <a:pt x="90" y="271"/>
                    <a:pt x="90" y="271"/>
                    <a:pt x="90" y="271"/>
                  </a:cubicBezTo>
                  <a:cubicBezTo>
                    <a:pt x="90" y="271"/>
                    <a:pt x="90" y="271"/>
                    <a:pt x="90" y="271"/>
                  </a:cubicBezTo>
                  <a:cubicBezTo>
                    <a:pt x="90" y="271"/>
                    <a:pt x="90" y="271"/>
                    <a:pt x="90" y="271"/>
                  </a:cubicBezTo>
                  <a:cubicBezTo>
                    <a:pt x="90" y="271"/>
                    <a:pt x="90" y="271"/>
                    <a:pt x="90" y="271"/>
                  </a:cubicBezTo>
                  <a:cubicBezTo>
                    <a:pt x="89" y="271"/>
                    <a:pt x="89" y="271"/>
                    <a:pt x="89" y="271"/>
                  </a:cubicBezTo>
                  <a:cubicBezTo>
                    <a:pt x="89" y="271"/>
                    <a:pt x="89" y="271"/>
                    <a:pt x="89" y="271"/>
                  </a:cubicBezTo>
                  <a:cubicBezTo>
                    <a:pt x="89" y="271"/>
                    <a:pt x="89" y="271"/>
                    <a:pt x="89" y="271"/>
                  </a:cubicBezTo>
                  <a:cubicBezTo>
                    <a:pt x="89" y="271"/>
                    <a:pt x="89" y="271"/>
                    <a:pt x="89" y="271"/>
                  </a:cubicBezTo>
                  <a:cubicBezTo>
                    <a:pt x="89" y="271"/>
                    <a:pt x="89" y="271"/>
                    <a:pt x="89" y="271"/>
                  </a:cubicBezTo>
                  <a:cubicBezTo>
                    <a:pt x="89" y="272"/>
                    <a:pt x="89" y="272"/>
                    <a:pt x="89" y="272"/>
                  </a:cubicBezTo>
                  <a:cubicBezTo>
                    <a:pt x="89" y="272"/>
                    <a:pt x="89" y="272"/>
                    <a:pt x="89" y="272"/>
                  </a:cubicBezTo>
                  <a:cubicBezTo>
                    <a:pt x="90" y="272"/>
                    <a:pt x="90" y="272"/>
                    <a:pt x="90" y="272"/>
                  </a:cubicBezTo>
                  <a:cubicBezTo>
                    <a:pt x="91" y="273"/>
                    <a:pt x="91" y="273"/>
                    <a:pt x="91" y="273"/>
                  </a:cubicBezTo>
                  <a:cubicBezTo>
                    <a:pt x="91" y="273"/>
                    <a:pt x="91" y="273"/>
                    <a:pt x="91" y="273"/>
                  </a:cubicBezTo>
                  <a:cubicBezTo>
                    <a:pt x="91" y="273"/>
                    <a:pt x="91" y="273"/>
                    <a:pt x="91" y="273"/>
                  </a:cubicBezTo>
                  <a:cubicBezTo>
                    <a:pt x="91" y="274"/>
                    <a:pt x="91" y="274"/>
                    <a:pt x="91" y="274"/>
                  </a:cubicBezTo>
                  <a:cubicBezTo>
                    <a:pt x="91" y="274"/>
                    <a:pt x="91" y="274"/>
                    <a:pt x="91" y="274"/>
                  </a:cubicBezTo>
                  <a:cubicBezTo>
                    <a:pt x="91" y="274"/>
                    <a:pt x="91" y="274"/>
                    <a:pt x="91" y="274"/>
                  </a:cubicBezTo>
                  <a:cubicBezTo>
                    <a:pt x="91" y="274"/>
                    <a:pt x="91" y="274"/>
                    <a:pt x="91" y="274"/>
                  </a:cubicBezTo>
                  <a:cubicBezTo>
                    <a:pt x="92" y="275"/>
                    <a:pt x="92" y="275"/>
                    <a:pt x="92" y="275"/>
                  </a:cubicBezTo>
                  <a:cubicBezTo>
                    <a:pt x="92" y="275"/>
                    <a:pt x="92" y="275"/>
                    <a:pt x="92" y="275"/>
                  </a:cubicBezTo>
                  <a:cubicBezTo>
                    <a:pt x="92" y="275"/>
                    <a:pt x="92" y="275"/>
                    <a:pt x="92" y="275"/>
                  </a:cubicBezTo>
                  <a:cubicBezTo>
                    <a:pt x="92" y="275"/>
                    <a:pt x="92" y="275"/>
                    <a:pt x="92" y="275"/>
                  </a:cubicBezTo>
                  <a:cubicBezTo>
                    <a:pt x="92" y="275"/>
                    <a:pt x="92" y="275"/>
                    <a:pt x="92" y="275"/>
                  </a:cubicBezTo>
                  <a:cubicBezTo>
                    <a:pt x="93" y="276"/>
                    <a:pt x="93" y="276"/>
                    <a:pt x="93" y="276"/>
                  </a:cubicBezTo>
                  <a:cubicBezTo>
                    <a:pt x="93" y="276"/>
                    <a:pt x="93" y="276"/>
                    <a:pt x="93" y="276"/>
                  </a:cubicBezTo>
                  <a:cubicBezTo>
                    <a:pt x="93" y="276"/>
                    <a:pt x="93" y="276"/>
                    <a:pt x="93" y="276"/>
                  </a:cubicBezTo>
                  <a:cubicBezTo>
                    <a:pt x="93" y="276"/>
                    <a:pt x="93" y="276"/>
                    <a:pt x="93" y="276"/>
                  </a:cubicBezTo>
                  <a:cubicBezTo>
                    <a:pt x="93" y="276"/>
                    <a:pt x="93" y="276"/>
                    <a:pt x="93" y="276"/>
                  </a:cubicBezTo>
                  <a:cubicBezTo>
                    <a:pt x="93" y="276"/>
                    <a:pt x="93" y="276"/>
                    <a:pt x="93" y="276"/>
                  </a:cubicBezTo>
                  <a:cubicBezTo>
                    <a:pt x="93" y="276"/>
                    <a:pt x="93" y="276"/>
                    <a:pt x="93" y="276"/>
                  </a:cubicBezTo>
                  <a:cubicBezTo>
                    <a:pt x="94" y="276"/>
                    <a:pt x="94" y="276"/>
                    <a:pt x="94" y="276"/>
                  </a:cubicBezTo>
                  <a:cubicBezTo>
                    <a:pt x="94" y="276"/>
                    <a:pt x="94" y="276"/>
                    <a:pt x="94" y="276"/>
                  </a:cubicBezTo>
                  <a:cubicBezTo>
                    <a:pt x="94" y="276"/>
                    <a:pt x="94" y="276"/>
                    <a:pt x="94" y="276"/>
                  </a:cubicBezTo>
                  <a:cubicBezTo>
                    <a:pt x="94" y="275"/>
                    <a:pt x="94" y="275"/>
                    <a:pt x="94" y="275"/>
                  </a:cubicBezTo>
                  <a:cubicBezTo>
                    <a:pt x="95" y="275"/>
                    <a:pt x="95" y="275"/>
                    <a:pt x="95" y="275"/>
                  </a:cubicBezTo>
                  <a:cubicBezTo>
                    <a:pt x="95" y="275"/>
                    <a:pt x="95" y="275"/>
                    <a:pt x="95" y="275"/>
                  </a:cubicBezTo>
                  <a:cubicBezTo>
                    <a:pt x="95" y="274"/>
                    <a:pt x="95" y="274"/>
                    <a:pt x="95" y="274"/>
                  </a:cubicBezTo>
                  <a:cubicBezTo>
                    <a:pt x="95" y="274"/>
                    <a:pt x="95" y="274"/>
                    <a:pt x="95" y="274"/>
                  </a:cubicBezTo>
                  <a:cubicBezTo>
                    <a:pt x="96" y="274"/>
                    <a:pt x="96" y="274"/>
                    <a:pt x="96" y="274"/>
                  </a:cubicBezTo>
                  <a:cubicBezTo>
                    <a:pt x="96" y="274"/>
                    <a:pt x="96" y="274"/>
                    <a:pt x="96" y="274"/>
                  </a:cubicBezTo>
                  <a:cubicBezTo>
                    <a:pt x="96" y="274"/>
                    <a:pt x="96" y="274"/>
                    <a:pt x="96" y="274"/>
                  </a:cubicBezTo>
                  <a:cubicBezTo>
                    <a:pt x="96" y="274"/>
                    <a:pt x="96" y="274"/>
                    <a:pt x="96" y="274"/>
                  </a:cubicBezTo>
                  <a:cubicBezTo>
                    <a:pt x="96" y="274"/>
                    <a:pt x="96" y="274"/>
                    <a:pt x="96" y="274"/>
                  </a:cubicBezTo>
                  <a:cubicBezTo>
                    <a:pt x="96" y="274"/>
                    <a:pt x="96" y="274"/>
                    <a:pt x="96" y="274"/>
                  </a:cubicBezTo>
                  <a:cubicBezTo>
                    <a:pt x="96" y="275"/>
                    <a:pt x="96" y="275"/>
                    <a:pt x="96" y="275"/>
                  </a:cubicBezTo>
                  <a:cubicBezTo>
                    <a:pt x="96" y="275"/>
                    <a:pt x="96" y="275"/>
                    <a:pt x="96" y="275"/>
                  </a:cubicBezTo>
                  <a:cubicBezTo>
                    <a:pt x="96" y="275"/>
                    <a:pt x="96" y="275"/>
                    <a:pt x="96" y="275"/>
                  </a:cubicBezTo>
                  <a:cubicBezTo>
                    <a:pt x="95" y="275"/>
                    <a:pt x="95" y="275"/>
                    <a:pt x="95" y="275"/>
                  </a:cubicBezTo>
                  <a:cubicBezTo>
                    <a:pt x="95" y="275"/>
                    <a:pt x="95" y="275"/>
                    <a:pt x="95" y="275"/>
                  </a:cubicBezTo>
                  <a:cubicBezTo>
                    <a:pt x="96" y="276"/>
                    <a:pt x="96" y="276"/>
                    <a:pt x="96" y="276"/>
                  </a:cubicBezTo>
                  <a:cubicBezTo>
                    <a:pt x="96" y="276"/>
                    <a:pt x="96" y="276"/>
                    <a:pt x="96" y="276"/>
                  </a:cubicBezTo>
                  <a:cubicBezTo>
                    <a:pt x="97" y="276"/>
                    <a:pt x="97" y="276"/>
                    <a:pt x="97" y="276"/>
                  </a:cubicBezTo>
                  <a:cubicBezTo>
                    <a:pt x="97" y="276"/>
                    <a:pt x="97" y="276"/>
                    <a:pt x="97" y="276"/>
                  </a:cubicBezTo>
                  <a:cubicBezTo>
                    <a:pt x="98" y="275"/>
                    <a:pt x="98" y="275"/>
                    <a:pt x="98" y="275"/>
                  </a:cubicBezTo>
                  <a:cubicBezTo>
                    <a:pt x="98" y="275"/>
                    <a:pt x="98" y="275"/>
                    <a:pt x="98" y="275"/>
                  </a:cubicBezTo>
                  <a:cubicBezTo>
                    <a:pt x="98" y="276"/>
                    <a:pt x="98" y="276"/>
                    <a:pt x="98" y="276"/>
                  </a:cubicBezTo>
                  <a:cubicBezTo>
                    <a:pt x="98" y="276"/>
                    <a:pt x="98" y="276"/>
                    <a:pt x="98" y="276"/>
                  </a:cubicBezTo>
                  <a:cubicBezTo>
                    <a:pt x="99" y="276"/>
                    <a:pt x="99" y="276"/>
                    <a:pt x="99" y="276"/>
                  </a:cubicBezTo>
                  <a:cubicBezTo>
                    <a:pt x="99" y="276"/>
                    <a:pt x="99" y="276"/>
                    <a:pt x="99" y="276"/>
                  </a:cubicBezTo>
                  <a:cubicBezTo>
                    <a:pt x="99" y="276"/>
                    <a:pt x="99" y="276"/>
                    <a:pt x="99" y="276"/>
                  </a:cubicBezTo>
                  <a:cubicBezTo>
                    <a:pt x="99" y="276"/>
                    <a:pt x="99" y="276"/>
                    <a:pt x="99" y="276"/>
                  </a:cubicBezTo>
                  <a:cubicBezTo>
                    <a:pt x="100" y="276"/>
                    <a:pt x="100" y="276"/>
                    <a:pt x="100" y="276"/>
                  </a:cubicBezTo>
                  <a:cubicBezTo>
                    <a:pt x="100" y="276"/>
                    <a:pt x="100" y="276"/>
                    <a:pt x="100" y="276"/>
                  </a:cubicBezTo>
                  <a:cubicBezTo>
                    <a:pt x="101" y="276"/>
                    <a:pt x="101" y="276"/>
                    <a:pt x="101" y="276"/>
                  </a:cubicBezTo>
                  <a:cubicBezTo>
                    <a:pt x="101" y="276"/>
                    <a:pt x="101" y="276"/>
                    <a:pt x="101" y="276"/>
                  </a:cubicBezTo>
                  <a:cubicBezTo>
                    <a:pt x="101" y="276"/>
                    <a:pt x="101" y="276"/>
                    <a:pt x="101" y="276"/>
                  </a:cubicBezTo>
                  <a:cubicBezTo>
                    <a:pt x="102" y="275"/>
                    <a:pt x="102" y="275"/>
                    <a:pt x="102" y="275"/>
                  </a:cubicBezTo>
                  <a:cubicBezTo>
                    <a:pt x="102" y="275"/>
                    <a:pt x="102" y="275"/>
                    <a:pt x="102" y="275"/>
                  </a:cubicBezTo>
                  <a:cubicBezTo>
                    <a:pt x="102" y="274"/>
                    <a:pt x="102" y="274"/>
                    <a:pt x="102" y="274"/>
                  </a:cubicBezTo>
                  <a:cubicBezTo>
                    <a:pt x="102" y="274"/>
                    <a:pt x="102" y="274"/>
                    <a:pt x="102" y="274"/>
                  </a:cubicBezTo>
                  <a:cubicBezTo>
                    <a:pt x="103" y="274"/>
                    <a:pt x="103" y="274"/>
                    <a:pt x="103" y="274"/>
                  </a:cubicBezTo>
                  <a:cubicBezTo>
                    <a:pt x="103" y="273"/>
                    <a:pt x="103" y="273"/>
                    <a:pt x="103" y="273"/>
                  </a:cubicBezTo>
                  <a:cubicBezTo>
                    <a:pt x="103" y="273"/>
                    <a:pt x="103" y="273"/>
                    <a:pt x="103" y="273"/>
                  </a:cubicBezTo>
                  <a:cubicBezTo>
                    <a:pt x="103" y="272"/>
                    <a:pt x="103" y="272"/>
                    <a:pt x="103" y="272"/>
                  </a:cubicBezTo>
                  <a:cubicBezTo>
                    <a:pt x="103" y="272"/>
                    <a:pt x="103" y="272"/>
                    <a:pt x="103" y="272"/>
                  </a:cubicBezTo>
                  <a:cubicBezTo>
                    <a:pt x="103" y="272"/>
                    <a:pt x="103" y="272"/>
                    <a:pt x="103" y="272"/>
                  </a:cubicBezTo>
                  <a:cubicBezTo>
                    <a:pt x="103" y="272"/>
                    <a:pt x="103" y="272"/>
                    <a:pt x="103" y="272"/>
                  </a:cubicBezTo>
                  <a:cubicBezTo>
                    <a:pt x="103" y="271"/>
                    <a:pt x="103" y="271"/>
                    <a:pt x="103" y="271"/>
                  </a:cubicBezTo>
                  <a:cubicBezTo>
                    <a:pt x="103" y="271"/>
                    <a:pt x="103" y="271"/>
                    <a:pt x="103" y="271"/>
                  </a:cubicBezTo>
                  <a:cubicBezTo>
                    <a:pt x="103" y="273"/>
                    <a:pt x="103" y="273"/>
                    <a:pt x="103" y="273"/>
                  </a:cubicBezTo>
                  <a:cubicBezTo>
                    <a:pt x="103" y="273"/>
                    <a:pt x="103" y="273"/>
                    <a:pt x="103" y="273"/>
                  </a:cubicBezTo>
                  <a:cubicBezTo>
                    <a:pt x="103" y="274"/>
                    <a:pt x="103" y="274"/>
                    <a:pt x="103" y="274"/>
                  </a:cubicBezTo>
                  <a:cubicBezTo>
                    <a:pt x="103" y="274"/>
                    <a:pt x="103" y="274"/>
                    <a:pt x="103" y="274"/>
                  </a:cubicBezTo>
                  <a:cubicBezTo>
                    <a:pt x="103" y="274"/>
                    <a:pt x="103" y="274"/>
                    <a:pt x="103" y="274"/>
                  </a:cubicBezTo>
                  <a:cubicBezTo>
                    <a:pt x="102" y="275"/>
                    <a:pt x="102" y="275"/>
                    <a:pt x="102" y="275"/>
                  </a:cubicBezTo>
                  <a:cubicBezTo>
                    <a:pt x="102" y="276"/>
                    <a:pt x="102" y="276"/>
                    <a:pt x="102" y="276"/>
                  </a:cubicBezTo>
                  <a:cubicBezTo>
                    <a:pt x="101" y="276"/>
                    <a:pt x="101" y="276"/>
                    <a:pt x="101" y="276"/>
                  </a:cubicBezTo>
                  <a:cubicBezTo>
                    <a:pt x="101" y="277"/>
                    <a:pt x="101" y="277"/>
                    <a:pt x="101" y="277"/>
                  </a:cubicBezTo>
                  <a:cubicBezTo>
                    <a:pt x="100" y="277"/>
                    <a:pt x="100" y="277"/>
                    <a:pt x="100" y="277"/>
                  </a:cubicBezTo>
                  <a:cubicBezTo>
                    <a:pt x="100" y="277"/>
                    <a:pt x="100" y="277"/>
                    <a:pt x="100" y="277"/>
                  </a:cubicBezTo>
                  <a:cubicBezTo>
                    <a:pt x="99" y="277"/>
                    <a:pt x="99" y="277"/>
                    <a:pt x="99" y="277"/>
                  </a:cubicBezTo>
                  <a:cubicBezTo>
                    <a:pt x="99" y="277"/>
                    <a:pt x="99" y="277"/>
                    <a:pt x="99" y="277"/>
                  </a:cubicBezTo>
                  <a:cubicBezTo>
                    <a:pt x="99" y="277"/>
                    <a:pt x="99" y="277"/>
                    <a:pt x="99" y="277"/>
                  </a:cubicBezTo>
                  <a:cubicBezTo>
                    <a:pt x="99" y="277"/>
                    <a:pt x="99" y="277"/>
                    <a:pt x="99" y="277"/>
                  </a:cubicBezTo>
                  <a:cubicBezTo>
                    <a:pt x="99" y="278"/>
                    <a:pt x="99" y="278"/>
                    <a:pt x="99" y="278"/>
                  </a:cubicBezTo>
                  <a:cubicBezTo>
                    <a:pt x="99" y="278"/>
                    <a:pt x="99" y="278"/>
                    <a:pt x="99" y="278"/>
                  </a:cubicBezTo>
                  <a:cubicBezTo>
                    <a:pt x="99" y="278"/>
                    <a:pt x="99" y="278"/>
                    <a:pt x="99" y="278"/>
                  </a:cubicBezTo>
                  <a:cubicBezTo>
                    <a:pt x="99" y="278"/>
                    <a:pt x="99" y="278"/>
                    <a:pt x="99" y="278"/>
                  </a:cubicBezTo>
                  <a:cubicBezTo>
                    <a:pt x="98" y="278"/>
                    <a:pt x="98" y="278"/>
                    <a:pt x="98" y="278"/>
                  </a:cubicBezTo>
                  <a:cubicBezTo>
                    <a:pt x="98" y="278"/>
                    <a:pt x="98" y="278"/>
                    <a:pt x="98" y="278"/>
                  </a:cubicBezTo>
                  <a:cubicBezTo>
                    <a:pt x="98" y="278"/>
                    <a:pt x="98" y="278"/>
                    <a:pt x="98" y="278"/>
                  </a:cubicBezTo>
                  <a:cubicBezTo>
                    <a:pt x="98" y="278"/>
                    <a:pt x="98" y="278"/>
                    <a:pt x="98" y="278"/>
                  </a:cubicBezTo>
                  <a:cubicBezTo>
                    <a:pt x="98" y="278"/>
                    <a:pt x="98" y="278"/>
                    <a:pt x="98" y="278"/>
                  </a:cubicBezTo>
                  <a:cubicBezTo>
                    <a:pt x="98" y="278"/>
                    <a:pt x="98" y="278"/>
                    <a:pt x="98" y="278"/>
                  </a:cubicBezTo>
                  <a:cubicBezTo>
                    <a:pt x="98" y="279"/>
                    <a:pt x="98" y="279"/>
                    <a:pt x="98" y="279"/>
                  </a:cubicBezTo>
                  <a:cubicBezTo>
                    <a:pt x="97" y="279"/>
                    <a:pt x="97" y="279"/>
                    <a:pt x="97" y="279"/>
                  </a:cubicBezTo>
                  <a:cubicBezTo>
                    <a:pt x="96" y="279"/>
                    <a:pt x="96" y="279"/>
                    <a:pt x="96" y="279"/>
                  </a:cubicBezTo>
                  <a:cubicBezTo>
                    <a:pt x="97" y="280"/>
                    <a:pt x="97" y="280"/>
                    <a:pt x="97" y="280"/>
                  </a:cubicBezTo>
                  <a:cubicBezTo>
                    <a:pt x="97" y="280"/>
                    <a:pt x="97" y="280"/>
                    <a:pt x="97" y="280"/>
                  </a:cubicBezTo>
                  <a:cubicBezTo>
                    <a:pt x="97" y="281"/>
                    <a:pt x="97" y="281"/>
                    <a:pt x="97" y="281"/>
                  </a:cubicBezTo>
                  <a:cubicBezTo>
                    <a:pt x="97" y="281"/>
                    <a:pt x="97" y="281"/>
                    <a:pt x="97" y="281"/>
                  </a:cubicBezTo>
                  <a:cubicBezTo>
                    <a:pt x="101" y="283"/>
                    <a:pt x="101" y="283"/>
                    <a:pt x="101" y="283"/>
                  </a:cubicBezTo>
                  <a:cubicBezTo>
                    <a:pt x="101" y="284"/>
                    <a:pt x="101" y="284"/>
                    <a:pt x="101" y="284"/>
                  </a:cubicBezTo>
                  <a:cubicBezTo>
                    <a:pt x="101" y="284"/>
                    <a:pt x="101" y="284"/>
                    <a:pt x="101" y="284"/>
                  </a:cubicBezTo>
                  <a:cubicBezTo>
                    <a:pt x="102" y="285"/>
                    <a:pt x="102" y="285"/>
                    <a:pt x="102" y="285"/>
                  </a:cubicBezTo>
                  <a:cubicBezTo>
                    <a:pt x="102" y="285"/>
                    <a:pt x="102" y="285"/>
                    <a:pt x="102" y="285"/>
                  </a:cubicBezTo>
                  <a:cubicBezTo>
                    <a:pt x="104" y="286"/>
                    <a:pt x="104" y="286"/>
                    <a:pt x="104" y="286"/>
                  </a:cubicBezTo>
                  <a:cubicBezTo>
                    <a:pt x="104" y="286"/>
                    <a:pt x="104" y="286"/>
                    <a:pt x="105" y="286"/>
                  </a:cubicBezTo>
                  <a:cubicBezTo>
                    <a:pt x="105" y="286"/>
                    <a:pt x="105" y="286"/>
                    <a:pt x="105" y="286"/>
                  </a:cubicBezTo>
                  <a:cubicBezTo>
                    <a:pt x="105" y="286"/>
                    <a:pt x="105" y="286"/>
                    <a:pt x="105" y="286"/>
                  </a:cubicBezTo>
                  <a:cubicBezTo>
                    <a:pt x="105" y="286"/>
                    <a:pt x="105" y="286"/>
                    <a:pt x="105" y="286"/>
                  </a:cubicBezTo>
                  <a:cubicBezTo>
                    <a:pt x="105" y="286"/>
                    <a:pt x="105" y="286"/>
                    <a:pt x="105" y="286"/>
                  </a:cubicBezTo>
                  <a:cubicBezTo>
                    <a:pt x="106" y="286"/>
                    <a:pt x="106" y="286"/>
                    <a:pt x="106" y="286"/>
                  </a:cubicBezTo>
                  <a:cubicBezTo>
                    <a:pt x="106" y="286"/>
                    <a:pt x="106" y="286"/>
                    <a:pt x="106" y="286"/>
                  </a:cubicBezTo>
                  <a:cubicBezTo>
                    <a:pt x="106" y="286"/>
                    <a:pt x="106" y="286"/>
                    <a:pt x="106" y="286"/>
                  </a:cubicBezTo>
                  <a:cubicBezTo>
                    <a:pt x="105" y="287"/>
                    <a:pt x="105" y="287"/>
                    <a:pt x="105" y="287"/>
                  </a:cubicBezTo>
                  <a:cubicBezTo>
                    <a:pt x="105" y="287"/>
                    <a:pt x="105" y="287"/>
                    <a:pt x="105" y="287"/>
                  </a:cubicBezTo>
                  <a:cubicBezTo>
                    <a:pt x="105" y="287"/>
                    <a:pt x="105" y="287"/>
                    <a:pt x="105" y="287"/>
                  </a:cubicBezTo>
                  <a:cubicBezTo>
                    <a:pt x="106" y="287"/>
                    <a:pt x="106" y="287"/>
                    <a:pt x="106" y="287"/>
                  </a:cubicBezTo>
                  <a:cubicBezTo>
                    <a:pt x="109" y="290"/>
                    <a:pt x="109" y="290"/>
                    <a:pt x="109" y="290"/>
                  </a:cubicBezTo>
                  <a:cubicBezTo>
                    <a:pt x="112" y="292"/>
                    <a:pt x="112" y="292"/>
                    <a:pt x="112" y="292"/>
                  </a:cubicBezTo>
                  <a:cubicBezTo>
                    <a:pt x="112" y="292"/>
                    <a:pt x="112" y="292"/>
                    <a:pt x="112" y="292"/>
                  </a:cubicBezTo>
                  <a:cubicBezTo>
                    <a:pt x="113" y="292"/>
                    <a:pt x="113" y="292"/>
                    <a:pt x="113" y="292"/>
                  </a:cubicBezTo>
                  <a:cubicBezTo>
                    <a:pt x="114" y="293"/>
                    <a:pt x="114" y="293"/>
                    <a:pt x="114" y="293"/>
                  </a:cubicBezTo>
                  <a:cubicBezTo>
                    <a:pt x="114" y="293"/>
                    <a:pt x="114" y="293"/>
                    <a:pt x="114" y="293"/>
                  </a:cubicBezTo>
                  <a:cubicBezTo>
                    <a:pt x="114" y="293"/>
                    <a:pt x="114" y="293"/>
                    <a:pt x="114" y="293"/>
                  </a:cubicBezTo>
                  <a:cubicBezTo>
                    <a:pt x="114" y="293"/>
                    <a:pt x="114" y="293"/>
                    <a:pt x="114" y="293"/>
                  </a:cubicBezTo>
                  <a:cubicBezTo>
                    <a:pt x="115" y="293"/>
                    <a:pt x="115" y="293"/>
                    <a:pt x="115" y="293"/>
                  </a:cubicBezTo>
                  <a:cubicBezTo>
                    <a:pt x="115" y="293"/>
                    <a:pt x="115" y="293"/>
                    <a:pt x="115" y="293"/>
                  </a:cubicBezTo>
                  <a:cubicBezTo>
                    <a:pt x="115" y="293"/>
                    <a:pt x="115" y="293"/>
                    <a:pt x="115" y="293"/>
                  </a:cubicBezTo>
                  <a:cubicBezTo>
                    <a:pt x="115" y="293"/>
                    <a:pt x="115" y="293"/>
                    <a:pt x="115" y="293"/>
                  </a:cubicBezTo>
                  <a:cubicBezTo>
                    <a:pt x="115" y="294"/>
                    <a:pt x="115" y="294"/>
                    <a:pt x="115" y="294"/>
                  </a:cubicBezTo>
                  <a:cubicBezTo>
                    <a:pt x="116" y="294"/>
                    <a:pt x="116" y="294"/>
                    <a:pt x="116" y="294"/>
                  </a:cubicBezTo>
                  <a:cubicBezTo>
                    <a:pt x="116" y="294"/>
                    <a:pt x="116" y="294"/>
                    <a:pt x="116" y="294"/>
                  </a:cubicBezTo>
                  <a:cubicBezTo>
                    <a:pt x="116" y="293"/>
                    <a:pt x="116" y="293"/>
                    <a:pt x="116" y="293"/>
                  </a:cubicBezTo>
                  <a:cubicBezTo>
                    <a:pt x="116" y="293"/>
                    <a:pt x="116" y="293"/>
                    <a:pt x="116" y="293"/>
                  </a:cubicBezTo>
                  <a:cubicBezTo>
                    <a:pt x="116" y="293"/>
                    <a:pt x="116" y="293"/>
                    <a:pt x="116" y="293"/>
                  </a:cubicBezTo>
                  <a:cubicBezTo>
                    <a:pt x="117" y="293"/>
                    <a:pt x="117" y="293"/>
                    <a:pt x="117" y="293"/>
                  </a:cubicBezTo>
                  <a:cubicBezTo>
                    <a:pt x="117" y="293"/>
                    <a:pt x="117" y="293"/>
                    <a:pt x="117" y="293"/>
                  </a:cubicBezTo>
                  <a:cubicBezTo>
                    <a:pt x="117" y="293"/>
                    <a:pt x="117" y="293"/>
                    <a:pt x="117" y="293"/>
                  </a:cubicBezTo>
                  <a:cubicBezTo>
                    <a:pt x="117" y="293"/>
                    <a:pt x="117" y="293"/>
                    <a:pt x="117" y="293"/>
                  </a:cubicBezTo>
                  <a:cubicBezTo>
                    <a:pt x="117" y="293"/>
                    <a:pt x="117" y="293"/>
                    <a:pt x="117" y="293"/>
                  </a:cubicBezTo>
                  <a:cubicBezTo>
                    <a:pt x="117" y="292"/>
                    <a:pt x="117" y="292"/>
                    <a:pt x="117" y="292"/>
                  </a:cubicBezTo>
                  <a:cubicBezTo>
                    <a:pt x="118" y="292"/>
                    <a:pt x="118" y="292"/>
                    <a:pt x="118" y="292"/>
                  </a:cubicBezTo>
                  <a:cubicBezTo>
                    <a:pt x="118" y="291"/>
                    <a:pt x="118" y="291"/>
                    <a:pt x="118" y="291"/>
                  </a:cubicBezTo>
                  <a:cubicBezTo>
                    <a:pt x="119" y="293"/>
                    <a:pt x="119" y="293"/>
                    <a:pt x="119" y="293"/>
                  </a:cubicBezTo>
                  <a:cubicBezTo>
                    <a:pt x="119" y="293"/>
                    <a:pt x="119" y="293"/>
                    <a:pt x="119" y="293"/>
                  </a:cubicBezTo>
                  <a:cubicBezTo>
                    <a:pt x="120" y="292"/>
                    <a:pt x="120" y="292"/>
                    <a:pt x="120" y="292"/>
                  </a:cubicBezTo>
                  <a:cubicBezTo>
                    <a:pt x="120" y="292"/>
                    <a:pt x="120" y="292"/>
                    <a:pt x="120" y="292"/>
                  </a:cubicBezTo>
                  <a:cubicBezTo>
                    <a:pt x="120" y="292"/>
                    <a:pt x="120" y="292"/>
                    <a:pt x="120" y="292"/>
                  </a:cubicBezTo>
                  <a:cubicBezTo>
                    <a:pt x="120" y="291"/>
                    <a:pt x="120" y="291"/>
                    <a:pt x="120" y="291"/>
                  </a:cubicBezTo>
                  <a:close/>
                  <a:moveTo>
                    <a:pt x="64" y="178"/>
                  </a:moveTo>
                  <a:cubicBezTo>
                    <a:pt x="64" y="179"/>
                    <a:pt x="64" y="179"/>
                    <a:pt x="64" y="179"/>
                  </a:cubicBezTo>
                  <a:cubicBezTo>
                    <a:pt x="64" y="179"/>
                    <a:pt x="64" y="179"/>
                    <a:pt x="64" y="179"/>
                  </a:cubicBezTo>
                  <a:cubicBezTo>
                    <a:pt x="64" y="179"/>
                    <a:pt x="64" y="179"/>
                    <a:pt x="64" y="179"/>
                  </a:cubicBezTo>
                  <a:cubicBezTo>
                    <a:pt x="64" y="180"/>
                    <a:pt x="64" y="180"/>
                    <a:pt x="64" y="180"/>
                  </a:cubicBezTo>
                  <a:cubicBezTo>
                    <a:pt x="64" y="180"/>
                    <a:pt x="64" y="180"/>
                    <a:pt x="64" y="180"/>
                  </a:cubicBezTo>
                  <a:cubicBezTo>
                    <a:pt x="64" y="181"/>
                    <a:pt x="64" y="181"/>
                    <a:pt x="64" y="181"/>
                  </a:cubicBezTo>
                  <a:cubicBezTo>
                    <a:pt x="64" y="181"/>
                    <a:pt x="64" y="181"/>
                    <a:pt x="64" y="181"/>
                  </a:cubicBezTo>
                  <a:cubicBezTo>
                    <a:pt x="64" y="181"/>
                    <a:pt x="64" y="181"/>
                    <a:pt x="64" y="181"/>
                  </a:cubicBezTo>
                  <a:cubicBezTo>
                    <a:pt x="64" y="181"/>
                    <a:pt x="64" y="181"/>
                    <a:pt x="64" y="181"/>
                  </a:cubicBezTo>
                  <a:cubicBezTo>
                    <a:pt x="65" y="182"/>
                    <a:pt x="65" y="182"/>
                    <a:pt x="65" y="182"/>
                  </a:cubicBezTo>
                  <a:cubicBezTo>
                    <a:pt x="65" y="182"/>
                    <a:pt x="65" y="182"/>
                    <a:pt x="65" y="182"/>
                  </a:cubicBezTo>
                  <a:cubicBezTo>
                    <a:pt x="65" y="182"/>
                    <a:pt x="65" y="182"/>
                    <a:pt x="65" y="182"/>
                  </a:cubicBezTo>
                  <a:cubicBezTo>
                    <a:pt x="65" y="182"/>
                    <a:pt x="65" y="182"/>
                    <a:pt x="65" y="182"/>
                  </a:cubicBezTo>
                  <a:cubicBezTo>
                    <a:pt x="65" y="181"/>
                    <a:pt x="65" y="181"/>
                    <a:pt x="65" y="181"/>
                  </a:cubicBezTo>
                  <a:cubicBezTo>
                    <a:pt x="65" y="180"/>
                    <a:pt x="65" y="180"/>
                    <a:pt x="65" y="180"/>
                  </a:cubicBezTo>
                  <a:cubicBezTo>
                    <a:pt x="65" y="180"/>
                    <a:pt x="65" y="180"/>
                    <a:pt x="65" y="180"/>
                  </a:cubicBezTo>
                  <a:cubicBezTo>
                    <a:pt x="65" y="180"/>
                    <a:pt x="65" y="180"/>
                    <a:pt x="65" y="180"/>
                  </a:cubicBezTo>
                  <a:cubicBezTo>
                    <a:pt x="65" y="180"/>
                    <a:pt x="65" y="180"/>
                    <a:pt x="65" y="180"/>
                  </a:cubicBezTo>
                  <a:cubicBezTo>
                    <a:pt x="65" y="179"/>
                    <a:pt x="65" y="179"/>
                    <a:pt x="65" y="179"/>
                  </a:cubicBezTo>
                  <a:cubicBezTo>
                    <a:pt x="65" y="178"/>
                    <a:pt x="65" y="178"/>
                    <a:pt x="65" y="178"/>
                  </a:cubicBezTo>
                  <a:cubicBezTo>
                    <a:pt x="64" y="178"/>
                    <a:pt x="64" y="178"/>
                    <a:pt x="64" y="178"/>
                  </a:cubicBezTo>
                  <a:cubicBezTo>
                    <a:pt x="64" y="177"/>
                    <a:pt x="64" y="177"/>
                    <a:pt x="64" y="177"/>
                  </a:cubicBezTo>
                  <a:cubicBezTo>
                    <a:pt x="64" y="177"/>
                    <a:pt x="64" y="177"/>
                    <a:pt x="64" y="177"/>
                  </a:cubicBezTo>
                  <a:cubicBezTo>
                    <a:pt x="64" y="177"/>
                    <a:pt x="64" y="177"/>
                    <a:pt x="64" y="177"/>
                  </a:cubicBezTo>
                  <a:cubicBezTo>
                    <a:pt x="64" y="177"/>
                    <a:pt x="64" y="177"/>
                    <a:pt x="64" y="177"/>
                  </a:cubicBezTo>
                  <a:cubicBezTo>
                    <a:pt x="63" y="177"/>
                    <a:pt x="63" y="177"/>
                    <a:pt x="63" y="177"/>
                  </a:cubicBezTo>
                  <a:cubicBezTo>
                    <a:pt x="63" y="177"/>
                    <a:pt x="63" y="177"/>
                    <a:pt x="63" y="177"/>
                  </a:cubicBezTo>
                  <a:cubicBezTo>
                    <a:pt x="63" y="177"/>
                    <a:pt x="63" y="177"/>
                    <a:pt x="63" y="177"/>
                  </a:cubicBezTo>
                  <a:cubicBezTo>
                    <a:pt x="63" y="178"/>
                    <a:pt x="63" y="178"/>
                    <a:pt x="63" y="178"/>
                  </a:cubicBezTo>
                  <a:cubicBezTo>
                    <a:pt x="63" y="178"/>
                    <a:pt x="63" y="178"/>
                    <a:pt x="63" y="178"/>
                  </a:cubicBezTo>
                  <a:cubicBezTo>
                    <a:pt x="63" y="178"/>
                    <a:pt x="63" y="178"/>
                    <a:pt x="63" y="178"/>
                  </a:cubicBezTo>
                  <a:cubicBezTo>
                    <a:pt x="63" y="178"/>
                    <a:pt x="63" y="178"/>
                    <a:pt x="63" y="178"/>
                  </a:cubicBezTo>
                  <a:cubicBezTo>
                    <a:pt x="63" y="178"/>
                    <a:pt x="63" y="178"/>
                    <a:pt x="63" y="178"/>
                  </a:cubicBezTo>
                  <a:cubicBezTo>
                    <a:pt x="63" y="178"/>
                    <a:pt x="63" y="178"/>
                    <a:pt x="63" y="178"/>
                  </a:cubicBezTo>
                  <a:cubicBezTo>
                    <a:pt x="63" y="179"/>
                    <a:pt x="63" y="179"/>
                    <a:pt x="63" y="179"/>
                  </a:cubicBezTo>
                  <a:cubicBezTo>
                    <a:pt x="64" y="178"/>
                    <a:pt x="64" y="178"/>
                    <a:pt x="64" y="178"/>
                  </a:cubicBezTo>
                  <a:close/>
                  <a:moveTo>
                    <a:pt x="64" y="184"/>
                  </a:moveTo>
                  <a:cubicBezTo>
                    <a:pt x="64" y="184"/>
                    <a:pt x="64" y="184"/>
                    <a:pt x="64" y="184"/>
                  </a:cubicBezTo>
                  <a:cubicBezTo>
                    <a:pt x="64" y="184"/>
                    <a:pt x="64" y="184"/>
                    <a:pt x="64" y="184"/>
                  </a:cubicBezTo>
                  <a:cubicBezTo>
                    <a:pt x="63" y="185"/>
                    <a:pt x="63" y="185"/>
                    <a:pt x="63" y="185"/>
                  </a:cubicBezTo>
                  <a:cubicBezTo>
                    <a:pt x="64" y="185"/>
                    <a:pt x="64" y="185"/>
                    <a:pt x="64" y="185"/>
                  </a:cubicBezTo>
                  <a:cubicBezTo>
                    <a:pt x="64" y="185"/>
                    <a:pt x="64" y="185"/>
                    <a:pt x="64" y="185"/>
                  </a:cubicBezTo>
                  <a:cubicBezTo>
                    <a:pt x="64" y="185"/>
                    <a:pt x="64" y="185"/>
                    <a:pt x="64" y="185"/>
                  </a:cubicBezTo>
                  <a:cubicBezTo>
                    <a:pt x="64" y="184"/>
                    <a:pt x="64" y="184"/>
                    <a:pt x="64" y="184"/>
                  </a:cubicBezTo>
                  <a:close/>
                  <a:moveTo>
                    <a:pt x="108" y="250"/>
                  </a:moveTo>
                  <a:cubicBezTo>
                    <a:pt x="107" y="250"/>
                    <a:pt x="107" y="250"/>
                    <a:pt x="107" y="250"/>
                  </a:cubicBezTo>
                  <a:cubicBezTo>
                    <a:pt x="107" y="250"/>
                    <a:pt x="107" y="250"/>
                    <a:pt x="107" y="250"/>
                  </a:cubicBezTo>
                  <a:cubicBezTo>
                    <a:pt x="107" y="250"/>
                    <a:pt x="107" y="250"/>
                    <a:pt x="107" y="250"/>
                  </a:cubicBezTo>
                  <a:cubicBezTo>
                    <a:pt x="107" y="250"/>
                    <a:pt x="107" y="250"/>
                    <a:pt x="107" y="250"/>
                  </a:cubicBezTo>
                  <a:cubicBezTo>
                    <a:pt x="106" y="250"/>
                    <a:pt x="106" y="250"/>
                    <a:pt x="106" y="250"/>
                  </a:cubicBezTo>
                  <a:cubicBezTo>
                    <a:pt x="106" y="250"/>
                    <a:pt x="106" y="250"/>
                    <a:pt x="106" y="250"/>
                  </a:cubicBezTo>
                  <a:cubicBezTo>
                    <a:pt x="106" y="251"/>
                    <a:pt x="106" y="251"/>
                    <a:pt x="106" y="251"/>
                  </a:cubicBezTo>
                  <a:cubicBezTo>
                    <a:pt x="106" y="251"/>
                    <a:pt x="106" y="251"/>
                    <a:pt x="106" y="251"/>
                  </a:cubicBezTo>
                  <a:cubicBezTo>
                    <a:pt x="106" y="252"/>
                    <a:pt x="106" y="252"/>
                    <a:pt x="106" y="252"/>
                  </a:cubicBezTo>
                  <a:cubicBezTo>
                    <a:pt x="106" y="252"/>
                    <a:pt x="106" y="252"/>
                    <a:pt x="106" y="252"/>
                  </a:cubicBezTo>
                  <a:cubicBezTo>
                    <a:pt x="107" y="252"/>
                    <a:pt x="107" y="252"/>
                    <a:pt x="107" y="252"/>
                  </a:cubicBezTo>
                  <a:cubicBezTo>
                    <a:pt x="107" y="252"/>
                    <a:pt x="107" y="252"/>
                    <a:pt x="107" y="252"/>
                  </a:cubicBezTo>
                  <a:cubicBezTo>
                    <a:pt x="107" y="252"/>
                    <a:pt x="107" y="252"/>
                    <a:pt x="107" y="252"/>
                  </a:cubicBezTo>
                  <a:cubicBezTo>
                    <a:pt x="108" y="252"/>
                    <a:pt x="108" y="252"/>
                    <a:pt x="108" y="252"/>
                  </a:cubicBezTo>
                  <a:cubicBezTo>
                    <a:pt x="107" y="253"/>
                    <a:pt x="107" y="253"/>
                    <a:pt x="107" y="253"/>
                  </a:cubicBezTo>
                  <a:cubicBezTo>
                    <a:pt x="107" y="253"/>
                    <a:pt x="107" y="253"/>
                    <a:pt x="107" y="253"/>
                  </a:cubicBezTo>
                  <a:cubicBezTo>
                    <a:pt x="107" y="253"/>
                    <a:pt x="107" y="253"/>
                    <a:pt x="107" y="253"/>
                  </a:cubicBezTo>
                  <a:cubicBezTo>
                    <a:pt x="107" y="253"/>
                    <a:pt x="107" y="253"/>
                    <a:pt x="107" y="253"/>
                  </a:cubicBezTo>
                  <a:cubicBezTo>
                    <a:pt x="107" y="253"/>
                    <a:pt x="107" y="253"/>
                    <a:pt x="107" y="253"/>
                  </a:cubicBezTo>
                  <a:cubicBezTo>
                    <a:pt x="107" y="254"/>
                    <a:pt x="107" y="254"/>
                    <a:pt x="107" y="254"/>
                  </a:cubicBezTo>
                  <a:cubicBezTo>
                    <a:pt x="107" y="254"/>
                    <a:pt x="107" y="254"/>
                    <a:pt x="107" y="254"/>
                  </a:cubicBezTo>
                  <a:cubicBezTo>
                    <a:pt x="107" y="254"/>
                    <a:pt x="107" y="254"/>
                    <a:pt x="107" y="254"/>
                  </a:cubicBezTo>
                  <a:cubicBezTo>
                    <a:pt x="108" y="254"/>
                    <a:pt x="108" y="254"/>
                    <a:pt x="108" y="254"/>
                  </a:cubicBezTo>
                  <a:cubicBezTo>
                    <a:pt x="108" y="253"/>
                    <a:pt x="108" y="253"/>
                    <a:pt x="108" y="253"/>
                  </a:cubicBezTo>
                  <a:cubicBezTo>
                    <a:pt x="108" y="253"/>
                    <a:pt x="108" y="253"/>
                    <a:pt x="108" y="253"/>
                  </a:cubicBezTo>
                  <a:cubicBezTo>
                    <a:pt x="108" y="253"/>
                    <a:pt x="108" y="253"/>
                    <a:pt x="108" y="253"/>
                  </a:cubicBezTo>
                  <a:cubicBezTo>
                    <a:pt x="108" y="252"/>
                    <a:pt x="108" y="252"/>
                    <a:pt x="108" y="252"/>
                  </a:cubicBezTo>
                  <a:cubicBezTo>
                    <a:pt x="108" y="252"/>
                    <a:pt x="108" y="252"/>
                    <a:pt x="108" y="252"/>
                  </a:cubicBezTo>
                  <a:cubicBezTo>
                    <a:pt x="108" y="251"/>
                    <a:pt x="108" y="251"/>
                    <a:pt x="108" y="251"/>
                  </a:cubicBezTo>
                  <a:cubicBezTo>
                    <a:pt x="108" y="251"/>
                    <a:pt x="108" y="251"/>
                    <a:pt x="108" y="251"/>
                  </a:cubicBezTo>
                  <a:cubicBezTo>
                    <a:pt x="108" y="251"/>
                    <a:pt x="108" y="251"/>
                    <a:pt x="108" y="251"/>
                  </a:cubicBezTo>
                  <a:cubicBezTo>
                    <a:pt x="108" y="251"/>
                    <a:pt x="108" y="251"/>
                    <a:pt x="108" y="251"/>
                  </a:cubicBezTo>
                  <a:lnTo>
                    <a:pt x="108" y="250"/>
                  </a:lnTo>
                  <a:close/>
                  <a:moveTo>
                    <a:pt x="104" y="247"/>
                  </a:moveTo>
                  <a:cubicBezTo>
                    <a:pt x="104" y="247"/>
                    <a:pt x="104" y="247"/>
                    <a:pt x="104" y="247"/>
                  </a:cubicBezTo>
                  <a:cubicBezTo>
                    <a:pt x="104" y="247"/>
                    <a:pt x="104" y="247"/>
                    <a:pt x="104" y="247"/>
                  </a:cubicBezTo>
                  <a:cubicBezTo>
                    <a:pt x="104" y="247"/>
                    <a:pt x="104" y="247"/>
                    <a:pt x="104" y="247"/>
                  </a:cubicBezTo>
                  <a:cubicBezTo>
                    <a:pt x="104" y="247"/>
                    <a:pt x="104" y="247"/>
                    <a:pt x="104" y="247"/>
                  </a:cubicBezTo>
                  <a:cubicBezTo>
                    <a:pt x="104" y="247"/>
                    <a:pt x="104" y="247"/>
                    <a:pt x="104" y="247"/>
                  </a:cubicBezTo>
                  <a:cubicBezTo>
                    <a:pt x="104" y="247"/>
                    <a:pt x="104" y="247"/>
                    <a:pt x="104" y="247"/>
                  </a:cubicBezTo>
                  <a:cubicBezTo>
                    <a:pt x="103" y="247"/>
                    <a:pt x="103" y="247"/>
                    <a:pt x="103" y="247"/>
                  </a:cubicBezTo>
                  <a:cubicBezTo>
                    <a:pt x="103" y="247"/>
                    <a:pt x="103" y="247"/>
                    <a:pt x="103" y="247"/>
                  </a:cubicBezTo>
                  <a:cubicBezTo>
                    <a:pt x="103" y="246"/>
                    <a:pt x="103" y="246"/>
                    <a:pt x="103" y="246"/>
                  </a:cubicBezTo>
                  <a:cubicBezTo>
                    <a:pt x="103" y="246"/>
                    <a:pt x="103" y="246"/>
                    <a:pt x="103" y="246"/>
                  </a:cubicBezTo>
                  <a:cubicBezTo>
                    <a:pt x="102" y="246"/>
                    <a:pt x="102" y="246"/>
                    <a:pt x="102" y="246"/>
                  </a:cubicBezTo>
                  <a:cubicBezTo>
                    <a:pt x="102" y="247"/>
                    <a:pt x="102" y="247"/>
                    <a:pt x="102" y="247"/>
                  </a:cubicBezTo>
                  <a:cubicBezTo>
                    <a:pt x="102" y="247"/>
                    <a:pt x="102" y="247"/>
                    <a:pt x="102" y="247"/>
                  </a:cubicBezTo>
                  <a:cubicBezTo>
                    <a:pt x="102" y="247"/>
                    <a:pt x="102" y="247"/>
                    <a:pt x="102" y="247"/>
                  </a:cubicBezTo>
                  <a:cubicBezTo>
                    <a:pt x="102" y="248"/>
                    <a:pt x="102" y="248"/>
                    <a:pt x="102" y="248"/>
                  </a:cubicBezTo>
                  <a:cubicBezTo>
                    <a:pt x="102" y="248"/>
                    <a:pt x="102" y="248"/>
                    <a:pt x="102" y="248"/>
                  </a:cubicBezTo>
                  <a:cubicBezTo>
                    <a:pt x="101" y="247"/>
                    <a:pt x="101" y="247"/>
                    <a:pt x="101" y="247"/>
                  </a:cubicBezTo>
                  <a:cubicBezTo>
                    <a:pt x="101" y="247"/>
                    <a:pt x="101" y="247"/>
                    <a:pt x="101" y="247"/>
                  </a:cubicBezTo>
                  <a:cubicBezTo>
                    <a:pt x="101" y="248"/>
                    <a:pt x="101" y="248"/>
                    <a:pt x="101" y="248"/>
                  </a:cubicBezTo>
                  <a:cubicBezTo>
                    <a:pt x="101" y="248"/>
                    <a:pt x="101" y="248"/>
                    <a:pt x="101" y="248"/>
                  </a:cubicBezTo>
                  <a:cubicBezTo>
                    <a:pt x="101" y="249"/>
                    <a:pt x="101" y="249"/>
                    <a:pt x="101" y="249"/>
                  </a:cubicBezTo>
                  <a:cubicBezTo>
                    <a:pt x="101" y="249"/>
                    <a:pt x="101" y="249"/>
                    <a:pt x="101" y="249"/>
                  </a:cubicBezTo>
                  <a:cubicBezTo>
                    <a:pt x="101" y="249"/>
                    <a:pt x="101" y="249"/>
                    <a:pt x="101" y="249"/>
                  </a:cubicBezTo>
                  <a:cubicBezTo>
                    <a:pt x="102" y="248"/>
                    <a:pt x="102" y="248"/>
                    <a:pt x="102" y="248"/>
                  </a:cubicBezTo>
                  <a:cubicBezTo>
                    <a:pt x="102" y="248"/>
                    <a:pt x="102" y="248"/>
                    <a:pt x="102" y="248"/>
                  </a:cubicBezTo>
                  <a:cubicBezTo>
                    <a:pt x="102" y="248"/>
                    <a:pt x="102" y="248"/>
                    <a:pt x="102" y="248"/>
                  </a:cubicBezTo>
                  <a:cubicBezTo>
                    <a:pt x="102" y="248"/>
                    <a:pt x="102" y="248"/>
                    <a:pt x="102" y="248"/>
                  </a:cubicBezTo>
                  <a:cubicBezTo>
                    <a:pt x="102" y="248"/>
                    <a:pt x="102" y="248"/>
                    <a:pt x="102" y="248"/>
                  </a:cubicBezTo>
                  <a:cubicBezTo>
                    <a:pt x="102" y="248"/>
                    <a:pt x="102" y="248"/>
                    <a:pt x="102" y="248"/>
                  </a:cubicBezTo>
                  <a:cubicBezTo>
                    <a:pt x="103" y="248"/>
                    <a:pt x="103" y="248"/>
                    <a:pt x="103" y="248"/>
                  </a:cubicBezTo>
                  <a:cubicBezTo>
                    <a:pt x="103" y="249"/>
                    <a:pt x="103" y="249"/>
                    <a:pt x="103" y="249"/>
                  </a:cubicBezTo>
                  <a:cubicBezTo>
                    <a:pt x="103" y="249"/>
                    <a:pt x="103" y="249"/>
                    <a:pt x="103" y="249"/>
                  </a:cubicBezTo>
                  <a:cubicBezTo>
                    <a:pt x="103" y="249"/>
                    <a:pt x="103" y="249"/>
                    <a:pt x="103" y="249"/>
                  </a:cubicBezTo>
                  <a:cubicBezTo>
                    <a:pt x="103" y="249"/>
                    <a:pt x="103" y="249"/>
                    <a:pt x="103" y="249"/>
                  </a:cubicBezTo>
                  <a:cubicBezTo>
                    <a:pt x="103" y="249"/>
                    <a:pt x="103" y="249"/>
                    <a:pt x="103" y="249"/>
                  </a:cubicBezTo>
                  <a:cubicBezTo>
                    <a:pt x="103" y="250"/>
                    <a:pt x="103" y="250"/>
                    <a:pt x="103" y="250"/>
                  </a:cubicBezTo>
                  <a:cubicBezTo>
                    <a:pt x="103" y="250"/>
                    <a:pt x="103" y="250"/>
                    <a:pt x="103" y="250"/>
                  </a:cubicBezTo>
                  <a:cubicBezTo>
                    <a:pt x="104" y="251"/>
                    <a:pt x="104" y="251"/>
                    <a:pt x="104" y="251"/>
                  </a:cubicBezTo>
                  <a:cubicBezTo>
                    <a:pt x="104" y="251"/>
                    <a:pt x="104" y="251"/>
                    <a:pt x="104" y="251"/>
                  </a:cubicBezTo>
                  <a:cubicBezTo>
                    <a:pt x="104" y="251"/>
                    <a:pt x="104" y="251"/>
                    <a:pt x="104" y="251"/>
                  </a:cubicBezTo>
                  <a:cubicBezTo>
                    <a:pt x="103" y="252"/>
                    <a:pt x="103" y="252"/>
                    <a:pt x="103" y="252"/>
                  </a:cubicBezTo>
                  <a:cubicBezTo>
                    <a:pt x="103" y="252"/>
                    <a:pt x="103" y="252"/>
                    <a:pt x="103" y="252"/>
                  </a:cubicBezTo>
                  <a:cubicBezTo>
                    <a:pt x="103" y="253"/>
                    <a:pt x="103" y="253"/>
                    <a:pt x="103" y="253"/>
                  </a:cubicBezTo>
                  <a:cubicBezTo>
                    <a:pt x="103" y="253"/>
                    <a:pt x="103" y="253"/>
                    <a:pt x="103" y="253"/>
                  </a:cubicBezTo>
                  <a:cubicBezTo>
                    <a:pt x="103" y="253"/>
                    <a:pt x="103" y="253"/>
                    <a:pt x="103" y="253"/>
                  </a:cubicBezTo>
                  <a:cubicBezTo>
                    <a:pt x="103" y="253"/>
                    <a:pt x="103" y="253"/>
                    <a:pt x="103" y="253"/>
                  </a:cubicBezTo>
                  <a:cubicBezTo>
                    <a:pt x="104" y="252"/>
                    <a:pt x="104" y="252"/>
                    <a:pt x="104" y="252"/>
                  </a:cubicBezTo>
                  <a:cubicBezTo>
                    <a:pt x="104" y="252"/>
                    <a:pt x="104" y="252"/>
                    <a:pt x="104" y="252"/>
                  </a:cubicBezTo>
                  <a:cubicBezTo>
                    <a:pt x="104" y="251"/>
                    <a:pt x="104" y="251"/>
                    <a:pt x="104" y="251"/>
                  </a:cubicBezTo>
                  <a:cubicBezTo>
                    <a:pt x="104" y="251"/>
                    <a:pt x="104" y="251"/>
                    <a:pt x="104" y="251"/>
                  </a:cubicBezTo>
                  <a:cubicBezTo>
                    <a:pt x="104" y="252"/>
                    <a:pt x="104" y="252"/>
                    <a:pt x="104" y="252"/>
                  </a:cubicBezTo>
                  <a:cubicBezTo>
                    <a:pt x="105" y="252"/>
                    <a:pt x="105" y="252"/>
                    <a:pt x="105" y="252"/>
                  </a:cubicBezTo>
                  <a:cubicBezTo>
                    <a:pt x="105" y="251"/>
                    <a:pt x="105" y="251"/>
                    <a:pt x="105" y="251"/>
                  </a:cubicBezTo>
                  <a:cubicBezTo>
                    <a:pt x="105" y="251"/>
                    <a:pt x="105" y="251"/>
                    <a:pt x="105" y="251"/>
                  </a:cubicBezTo>
                  <a:cubicBezTo>
                    <a:pt x="105" y="251"/>
                    <a:pt x="105" y="251"/>
                    <a:pt x="105" y="251"/>
                  </a:cubicBezTo>
                  <a:cubicBezTo>
                    <a:pt x="105" y="251"/>
                    <a:pt x="105" y="251"/>
                    <a:pt x="105" y="251"/>
                  </a:cubicBezTo>
                  <a:cubicBezTo>
                    <a:pt x="105" y="250"/>
                    <a:pt x="105" y="250"/>
                    <a:pt x="105" y="250"/>
                  </a:cubicBezTo>
                  <a:cubicBezTo>
                    <a:pt x="105" y="250"/>
                    <a:pt x="105" y="250"/>
                    <a:pt x="105" y="250"/>
                  </a:cubicBezTo>
                  <a:cubicBezTo>
                    <a:pt x="104" y="249"/>
                    <a:pt x="104" y="249"/>
                    <a:pt x="104" y="249"/>
                  </a:cubicBezTo>
                  <a:cubicBezTo>
                    <a:pt x="104" y="249"/>
                    <a:pt x="104" y="249"/>
                    <a:pt x="104" y="249"/>
                  </a:cubicBezTo>
                  <a:cubicBezTo>
                    <a:pt x="104" y="248"/>
                    <a:pt x="104" y="248"/>
                    <a:pt x="104" y="248"/>
                  </a:cubicBezTo>
                  <a:cubicBezTo>
                    <a:pt x="104" y="248"/>
                    <a:pt x="104" y="248"/>
                    <a:pt x="104" y="248"/>
                  </a:cubicBezTo>
                  <a:cubicBezTo>
                    <a:pt x="104" y="248"/>
                    <a:pt x="104" y="248"/>
                    <a:pt x="104" y="248"/>
                  </a:cubicBezTo>
                  <a:lnTo>
                    <a:pt x="104" y="247"/>
                  </a:lnTo>
                  <a:close/>
                  <a:moveTo>
                    <a:pt x="88" y="234"/>
                  </a:moveTo>
                  <a:cubicBezTo>
                    <a:pt x="88" y="234"/>
                    <a:pt x="88" y="234"/>
                    <a:pt x="88" y="234"/>
                  </a:cubicBezTo>
                  <a:cubicBezTo>
                    <a:pt x="88" y="234"/>
                    <a:pt x="88" y="234"/>
                    <a:pt x="88" y="234"/>
                  </a:cubicBezTo>
                  <a:cubicBezTo>
                    <a:pt x="88" y="234"/>
                    <a:pt x="88" y="234"/>
                    <a:pt x="88" y="234"/>
                  </a:cubicBezTo>
                  <a:cubicBezTo>
                    <a:pt x="87" y="234"/>
                    <a:pt x="87" y="234"/>
                    <a:pt x="87" y="234"/>
                  </a:cubicBezTo>
                  <a:cubicBezTo>
                    <a:pt x="87" y="233"/>
                    <a:pt x="87" y="233"/>
                    <a:pt x="87" y="233"/>
                  </a:cubicBezTo>
                  <a:cubicBezTo>
                    <a:pt x="87" y="234"/>
                    <a:pt x="87" y="234"/>
                    <a:pt x="87" y="234"/>
                  </a:cubicBezTo>
                  <a:cubicBezTo>
                    <a:pt x="87" y="234"/>
                    <a:pt x="87" y="234"/>
                    <a:pt x="87" y="234"/>
                  </a:cubicBezTo>
                  <a:cubicBezTo>
                    <a:pt x="87" y="234"/>
                    <a:pt x="87" y="234"/>
                    <a:pt x="87" y="234"/>
                  </a:cubicBezTo>
                  <a:cubicBezTo>
                    <a:pt x="87" y="234"/>
                    <a:pt x="87" y="234"/>
                    <a:pt x="87" y="234"/>
                  </a:cubicBezTo>
                  <a:cubicBezTo>
                    <a:pt x="86" y="233"/>
                    <a:pt x="86" y="233"/>
                    <a:pt x="86" y="233"/>
                  </a:cubicBezTo>
                  <a:cubicBezTo>
                    <a:pt x="85" y="233"/>
                    <a:pt x="85" y="233"/>
                    <a:pt x="85" y="233"/>
                  </a:cubicBezTo>
                  <a:cubicBezTo>
                    <a:pt x="85" y="234"/>
                    <a:pt x="85" y="234"/>
                    <a:pt x="85" y="234"/>
                  </a:cubicBezTo>
                  <a:cubicBezTo>
                    <a:pt x="85" y="234"/>
                    <a:pt x="85" y="234"/>
                    <a:pt x="85" y="234"/>
                  </a:cubicBezTo>
                  <a:cubicBezTo>
                    <a:pt x="85" y="234"/>
                    <a:pt x="85" y="234"/>
                    <a:pt x="85" y="234"/>
                  </a:cubicBezTo>
                  <a:cubicBezTo>
                    <a:pt x="85" y="233"/>
                    <a:pt x="85" y="233"/>
                    <a:pt x="85" y="233"/>
                  </a:cubicBezTo>
                  <a:cubicBezTo>
                    <a:pt x="85" y="233"/>
                    <a:pt x="85" y="233"/>
                    <a:pt x="85" y="233"/>
                  </a:cubicBezTo>
                  <a:cubicBezTo>
                    <a:pt x="84" y="233"/>
                    <a:pt x="84" y="233"/>
                    <a:pt x="84" y="233"/>
                  </a:cubicBezTo>
                  <a:cubicBezTo>
                    <a:pt x="84" y="233"/>
                    <a:pt x="84" y="233"/>
                    <a:pt x="84" y="233"/>
                  </a:cubicBezTo>
                  <a:cubicBezTo>
                    <a:pt x="84" y="233"/>
                    <a:pt x="84" y="233"/>
                    <a:pt x="84" y="233"/>
                  </a:cubicBezTo>
                  <a:cubicBezTo>
                    <a:pt x="84" y="233"/>
                    <a:pt x="84" y="233"/>
                    <a:pt x="84" y="233"/>
                  </a:cubicBezTo>
                  <a:cubicBezTo>
                    <a:pt x="84" y="233"/>
                    <a:pt x="84" y="233"/>
                    <a:pt x="84" y="233"/>
                  </a:cubicBezTo>
                  <a:cubicBezTo>
                    <a:pt x="84" y="233"/>
                    <a:pt x="84" y="233"/>
                    <a:pt x="84" y="233"/>
                  </a:cubicBezTo>
                  <a:cubicBezTo>
                    <a:pt x="84" y="234"/>
                    <a:pt x="84" y="234"/>
                    <a:pt x="84" y="234"/>
                  </a:cubicBezTo>
                  <a:cubicBezTo>
                    <a:pt x="85" y="235"/>
                    <a:pt x="85" y="235"/>
                    <a:pt x="85" y="235"/>
                  </a:cubicBezTo>
                  <a:cubicBezTo>
                    <a:pt x="85" y="235"/>
                    <a:pt x="85" y="235"/>
                    <a:pt x="85" y="235"/>
                  </a:cubicBezTo>
                  <a:cubicBezTo>
                    <a:pt x="85" y="235"/>
                    <a:pt x="85" y="235"/>
                    <a:pt x="85" y="235"/>
                  </a:cubicBezTo>
                  <a:cubicBezTo>
                    <a:pt x="85" y="234"/>
                    <a:pt x="85" y="234"/>
                    <a:pt x="85" y="234"/>
                  </a:cubicBezTo>
                  <a:cubicBezTo>
                    <a:pt x="85" y="234"/>
                    <a:pt x="85" y="234"/>
                    <a:pt x="85" y="234"/>
                  </a:cubicBezTo>
                  <a:cubicBezTo>
                    <a:pt x="85" y="234"/>
                    <a:pt x="85" y="234"/>
                    <a:pt x="85" y="234"/>
                  </a:cubicBezTo>
                  <a:cubicBezTo>
                    <a:pt x="86" y="234"/>
                    <a:pt x="86" y="234"/>
                    <a:pt x="86" y="234"/>
                  </a:cubicBezTo>
                  <a:cubicBezTo>
                    <a:pt x="86" y="235"/>
                    <a:pt x="86" y="235"/>
                    <a:pt x="86" y="235"/>
                  </a:cubicBezTo>
                  <a:cubicBezTo>
                    <a:pt x="86" y="235"/>
                    <a:pt x="86" y="235"/>
                    <a:pt x="86" y="235"/>
                  </a:cubicBezTo>
                  <a:cubicBezTo>
                    <a:pt x="87" y="235"/>
                    <a:pt x="87" y="235"/>
                    <a:pt x="87" y="235"/>
                  </a:cubicBezTo>
                  <a:cubicBezTo>
                    <a:pt x="87" y="235"/>
                    <a:pt x="87" y="235"/>
                    <a:pt x="87" y="235"/>
                  </a:cubicBezTo>
                  <a:cubicBezTo>
                    <a:pt x="87" y="234"/>
                    <a:pt x="87" y="234"/>
                    <a:pt x="87" y="234"/>
                  </a:cubicBezTo>
                  <a:cubicBezTo>
                    <a:pt x="88" y="234"/>
                    <a:pt x="88" y="234"/>
                    <a:pt x="88" y="234"/>
                  </a:cubicBezTo>
                  <a:cubicBezTo>
                    <a:pt x="88" y="235"/>
                    <a:pt x="88" y="235"/>
                    <a:pt x="88" y="235"/>
                  </a:cubicBezTo>
                  <a:cubicBezTo>
                    <a:pt x="88" y="235"/>
                    <a:pt x="88" y="235"/>
                    <a:pt x="88" y="235"/>
                  </a:cubicBezTo>
                  <a:cubicBezTo>
                    <a:pt x="88" y="235"/>
                    <a:pt x="88" y="235"/>
                    <a:pt x="88" y="235"/>
                  </a:cubicBezTo>
                  <a:cubicBezTo>
                    <a:pt x="88" y="234"/>
                    <a:pt x="88" y="234"/>
                    <a:pt x="88" y="234"/>
                  </a:cubicBezTo>
                  <a:close/>
                  <a:moveTo>
                    <a:pt x="105" y="252"/>
                  </a:moveTo>
                  <a:cubicBezTo>
                    <a:pt x="105" y="253"/>
                    <a:pt x="105" y="253"/>
                    <a:pt x="105" y="253"/>
                  </a:cubicBezTo>
                  <a:cubicBezTo>
                    <a:pt x="104" y="253"/>
                    <a:pt x="104" y="253"/>
                    <a:pt x="104" y="253"/>
                  </a:cubicBezTo>
                  <a:cubicBezTo>
                    <a:pt x="104" y="253"/>
                    <a:pt x="104" y="253"/>
                    <a:pt x="104" y="253"/>
                  </a:cubicBezTo>
                  <a:cubicBezTo>
                    <a:pt x="104" y="253"/>
                    <a:pt x="104" y="253"/>
                    <a:pt x="104" y="253"/>
                  </a:cubicBezTo>
                  <a:cubicBezTo>
                    <a:pt x="105" y="254"/>
                    <a:pt x="105" y="254"/>
                    <a:pt x="105" y="254"/>
                  </a:cubicBezTo>
                  <a:cubicBezTo>
                    <a:pt x="105" y="254"/>
                    <a:pt x="105" y="254"/>
                    <a:pt x="105" y="254"/>
                  </a:cubicBezTo>
                  <a:cubicBezTo>
                    <a:pt x="105" y="254"/>
                    <a:pt x="105" y="254"/>
                    <a:pt x="105" y="254"/>
                  </a:cubicBezTo>
                  <a:cubicBezTo>
                    <a:pt x="105" y="255"/>
                    <a:pt x="105" y="255"/>
                    <a:pt x="105" y="255"/>
                  </a:cubicBezTo>
                  <a:cubicBezTo>
                    <a:pt x="105" y="255"/>
                    <a:pt x="105" y="255"/>
                    <a:pt x="105" y="255"/>
                  </a:cubicBezTo>
                  <a:cubicBezTo>
                    <a:pt x="104" y="255"/>
                    <a:pt x="104" y="255"/>
                    <a:pt x="104" y="255"/>
                  </a:cubicBezTo>
                  <a:cubicBezTo>
                    <a:pt x="104" y="255"/>
                    <a:pt x="104" y="255"/>
                    <a:pt x="104" y="255"/>
                  </a:cubicBezTo>
                  <a:cubicBezTo>
                    <a:pt x="105" y="255"/>
                    <a:pt x="105" y="255"/>
                    <a:pt x="105" y="255"/>
                  </a:cubicBezTo>
                  <a:cubicBezTo>
                    <a:pt x="105" y="255"/>
                    <a:pt x="105" y="255"/>
                    <a:pt x="105" y="255"/>
                  </a:cubicBezTo>
                  <a:cubicBezTo>
                    <a:pt x="105" y="255"/>
                    <a:pt x="105" y="255"/>
                    <a:pt x="105" y="255"/>
                  </a:cubicBezTo>
                  <a:cubicBezTo>
                    <a:pt x="105" y="255"/>
                    <a:pt x="105" y="255"/>
                    <a:pt x="105" y="255"/>
                  </a:cubicBezTo>
                  <a:cubicBezTo>
                    <a:pt x="106" y="255"/>
                    <a:pt x="106" y="255"/>
                    <a:pt x="106" y="255"/>
                  </a:cubicBezTo>
                  <a:cubicBezTo>
                    <a:pt x="106" y="255"/>
                    <a:pt x="106" y="255"/>
                    <a:pt x="106" y="255"/>
                  </a:cubicBezTo>
                  <a:cubicBezTo>
                    <a:pt x="106" y="254"/>
                    <a:pt x="106" y="254"/>
                    <a:pt x="106" y="254"/>
                  </a:cubicBezTo>
                  <a:cubicBezTo>
                    <a:pt x="106" y="254"/>
                    <a:pt x="106" y="254"/>
                    <a:pt x="106" y="254"/>
                  </a:cubicBezTo>
                  <a:cubicBezTo>
                    <a:pt x="106" y="254"/>
                    <a:pt x="106" y="254"/>
                    <a:pt x="106" y="254"/>
                  </a:cubicBezTo>
                  <a:cubicBezTo>
                    <a:pt x="106" y="254"/>
                    <a:pt x="106" y="254"/>
                    <a:pt x="106" y="254"/>
                  </a:cubicBezTo>
                  <a:cubicBezTo>
                    <a:pt x="106" y="254"/>
                    <a:pt x="106" y="254"/>
                    <a:pt x="106" y="254"/>
                  </a:cubicBezTo>
                  <a:cubicBezTo>
                    <a:pt x="106" y="253"/>
                    <a:pt x="106" y="253"/>
                    <a:pt x="106" y="253"/>
                  </a:cubicBezTo>
                  <a:cubicBezTo>
                    <a:pt x="106" y="253"/>
                    <a:pt x="106" y="253"/>
                    <a:pt x="106" y="253"/>
                  </a:cubicBezTo>
                  <a:cubicBezTo>
                    <a:pt x="106" y="253"/>
                    <a:pt x="106" y="253"/>
                    <a:pt x="106" y="253"/>
                  </a:cubicBezTo>
                  <a:cubicBezTo>
                    <a:pt x="106" y="253"/>
                    <a:pt x="106" y="253"/>
                    <a:pt x="106" y="253"/>
                  </a:cubicBezTo>
                  <a:cubicBezTo>
                    <a:pt x="106" y="253"/>
                    <a:pt x="106" y="253"/>
                    <a:pt x="106" y="253"/>
                  </a:cubicBezTo>
                  <a:cubicBezTo>
                    <a:pt x="106" y="253"/>
                    <a:pt x="106" y="253"/>
                    <a:pt x="106" y="253"/>
                  </a:cubicBezTo>
                  <a:cubicBezTo>
                    <a:pt x="106" y="253"/>
                    <a:pt x="106" y="253"/>
                    <a:pt x="106" y="253"/>
                  </a:cubicBezTo>
                  <a:cubicBezTo>
                    <a:pt x="106" y="252"/>
                    <a:pt x="106" y="252"/>
                    <a:pt x="106" y="252"/>
                  </a:cubicBezTo>
                  <a:cubicBezTo>
                    <a:pt x="106" y="251"/>
                    <a:pt x="106" y="251"/>
                    <a:pt x="106" y="251"/>
                  </a:cubicBezTo>
                  <a:cubicBezTo>
                    <a:pt x="106" y="251"/>
                    <a:pt x="106" y="251"/>
                    <a:pt x="106" y="251"/>
                  </a:cubicBezTo>
                  <a:cubicBezTo>
                    <a:pt x="106" y="251"/>
                    <a:pt x="106" y="251"/>
                    <a:pt x="106" y="251"/>
                  </a:cubicBezTo>
                  <a:cubicBezTo>
                    <a:pt x="105" y="251"/>
                    <a:pt x="105" y="251"/>
                    <a:pt x="105" y="251"/>
                  </a:cubicBezTo>
                  <a:cubicBezTo>
                    <a:pt x="105" y="251"/>
                    <a:pt x="105" y="251"/>
                    <a:pt x="105" y="251"/>
                  </a:cubicBezTo>
                  <a:cubicBezTo>
                    <a:pt x="106" y="252"/>
                    <a:pt x="106" y="252"/>
                    <a:pt x="106" y="252"/>
                  </a:cubicBezTo>
                  <a:cubicBezTo>
                    <a:pt x="106" y="252"/>
                    <a:pt x="106" y="252"/>
                    <a:pt x="106" y="252"/>
                  </a:cubicBezTo>
                  <a:lnTo>
                    <a:pt x="105" y="252"/>
                  </a:lnTo>
                  <a:close/>
                  <a:moveTo>
                    <a:pt x="89" y="241"/>
                  </a:moveTo>
                  <a:cubicBezTo>
                    <a:pt x="89" y="241"/>
                    <a:pt x="89" y="241"/>
                    <a:pt x="89" y="241"/>
                  </a:cubicBezTo>
                  <a:cubicBezTo>
                    <a:pt x="90" y="241"/>
                    <a:pt x="90" y="241"/>
                    <a:pt x="90" y="241"/>
                  </a:cubicBezTo>
                  <a:cubicBezTo>
                    <a:pt x="90" y="241"/>
                    <a:pt x="90" y="241"/>
                    <a:pt x="90" y="241"/>
                  </a:cubicBezTo>
                  <a:cubicBezTo>
                    <a:pt x="91" y="241"/>
                    <a:pt x="91" y="241"/>
                    <a:pt x="91" y="241"/>
                  </a:cubicBezTo>
                  <a:cubicBezTo>
                    <a:pt x="91" y="241"/>
                    <a:pt x="91" y="241"/>
                    <a:pt x="91" y="241"/>
                  </a:cubicBezTo>
                  <a:cubicBezTo>
                    <a:pt x="91" y="241"/>
                    <a:pt x="91" y="241"/>
                    <a:pt x="91" y="241"/>
                  </a:cubicBezTo>
                  <a:cubicBezTo>
                    <a:pt x="91" y="241"/>
                    <a:pt x="91" y="241"/>
                    <a:pt x="91" y="241"/>
                  </a:cubicBezTo>
                  <a:cubicBezTo>
                    <a:pt x="91" y="241"/>
                    <a:pt x="91" y="241"/>
                    <a:pt x="91" y="241"/>
                  </a:cubicBezTo>
                  <a:cubicBezTo>
                    <a:pt x="91" y="240"/>
                    <a:pt x="91" y="240"/>
                    <a:pt x="91" y="240"/>
                  </a:cubicBezTo>
                  <a:cubicBezTo>
                    <a:pt x="91" y="240"/>
                    <a:pt x="91" y="240"/>
                    <a:pt x="91" y="240"/>
                  </a:cubicBezTo>
                  <a:cubicBezTo>
                    <a:pt x="91" y="240"/>
                    <a:pt x="91" y="240"/>
                    <a:pt x="91" y="240"/>
                  </a:cubicBezTo>
                  <a:cubicBezTo>
                    <a:pt x="91" y="240"/>
                    <a:pt x="91" y="240"/>
                    <a:pt x="91" y="240"/>
                  </a:cubicBezTo>
                  <a:cubicBezTo>
                    <a:pt x="90" y="239"/>
                    <a:pt x="90" y="239"/>
                    <a:pt x="90" y="239"/>
                  </a:cubicBezTo>
                  <a:cubicBezTo>
                    <a:pt x="90" y="239"/>
                    <a:pt x="90" y="239"/>
                    <a:pt x="90" y="239"/>
                  </a:cubicBezTo>
                  <a:cubicBezTo>
                    <a:pt x="90" y="239"/>
                    <a:pt x="90" y="239"/>
                    <a:pt x="90" y="239"/>
                  </a:cubicBezTo>
                  <a:cubicBezTo>
                    <a:pt x="90" y="240"/>
                    <a:pt x="90" y="240"/>
                    <a:pt x="90" y="240"/>
                  </a:cubicBezTo>
                  <a:cubicBezTo>
                    <a:pt x="90" y="240"/>
                    <a:pt x="90" y="240"/>
                    <a:pt x="90" y="240"/>
                  </a:cubicBezTo>
                  <a:cubicBezTo>
                    <a:pt x="87" y="240"/>
                    <a:pt x="87" y="240"/>
                    <a:pt x="87" y="240"/>
                  </a:cubicBezTo>
                  <a:cubicBezTo>
                    <a:pt x="86" y="240"/>
                    <a:pt x="86" y="240"/>
                    <a:pt x="86" y="240"/>
                  </a:cubicBezTo>
                  <a:cubicBezTo>
                    <a:pt x="88" y="241"/>
                    <a:pt x="88" y="241"/>
                    <a:pt x="88" y="241"/>
                  </a:cubicBezTo>
                  <a:lnTo>
                    <a:pt x="89" y="241"/>
                  </a:lnTo>
                  <a:close/>
                  <a:moveTo>
                    <a:pt x="109" y="253"/>
                  </a:moveTo>
                  <a:cubicBezTo>
                    <a:pt x="109" y="253"/>
                    <a:pt x="109" y="253"/>
                    <a:pt x="109" y="253"/>
                  </a:cubicBezTo>
                  <a:cubicBezTo>
                    <a:pt x="109" y="253"/>
                    <a:pt x="109" y="253"/>
                    <a:pt x="109" y="253"/>
                  </a:cubicBezTo>
                  <a:cubicBezTo>
                    <a:pt x="110" y="253"/>
                    <a:pt x="110" y="253"/>
                    <a:pt x="110" y="253"/>
                  </a:cubicBezTo>
                  <a:cubicBezTo>
                    <a:pt x="110" y="252"/>
                    <a:pt x="110" y="252"/>
                    <a:pt x="110" y="252"/>
                  </a:cubicBezTo>
                  <a:cubicBezTo>
                    <a:pt x="110" y="251"/>
                    <a:pt x="110" y="251"/>
                    <a:pt x="110" y="251"/>
                  </a:cubicBezTo>
                  <a:cubicBezTo>
                    <a:pt x="110" y="251"/>
                    <a:pt x="110" y="251"/>
                    <a:pt x="110" y="251"/>
                  </a:cubicBezTo>
                  <a:cubicBezTo>
                    <a:pt x="109" y="250"/>
                    <a:pt x="109" y="250"/>
                    <a:pt x="109" y="250"/>
                  </a:cubicBezTo>
                  <a:cubicBezTo>
                    <a:pt x="109" y="250"/>
                    <a:pt x="109" y="250"/>
                    <a:pt x="109" y="250"/>
                  </a:cubicBezTo>
                  <a:cubicBezTo>
                    <a:pt x="109" y="250"/>
                    <a:pt x="109" y="250"/>
                    <a:pt x="109" y="250"/>
                  </a:cubicBezTo>
                  <a:cubicBezTo>
                    <a:pt x="109" y="251"/>
                    <a:pt x="109" y="251"/>
                    <a:pt x="109" y="251"/>
                  </a:cubicBezTo>
                  <a:cubicBezTo>
                    <a:pt x="108" y="251"/>
                    <a:pt x="108" y="251"/>
                    <a:pt x="108" y="251"/>
                  </a:cubicBezTo>
                  <a:cubicBezTo>
                    <a:pt x="108" y="251"/>
                    <a:pt x="108" y="251"/>
                    <a:pt x="108" y="251"/>
                  </a:cubicBezTo>
                  <a:cubicBezTo>
                    <a:pt x="108" y="251"/>
                    <a:pt x="108" y="251"/>
                    <a:pt x="108" y="251"/>
                  </a:cubicBezTo>
                  <a:cubicBezTo>
                    <a:pt x="108" y="252"/>
                    <a:pt x="108" y="252"/>
                    <a:pt x="108" y="252"/>
                  </a:cubicBezTo>
                  <a:cubicBezTo>
                    <a:pt x="108" y="252"/>
                    <a:pt x="108" y="252"/>
                    <a:pt x="108" y="252"/>
                  </a:cubicBezTo>
                  <a:cubicBezTo>
                    <a:pt x="108" y="252"/>
                    <a:pt x="108" y="252"/>
                    <a:pt x="108" y="252"/>
                  </a:cubicBezTo>
                  <a:cubicBezTo>
                    <a:pt x="108" y="252"/>
                    <a:pt x="108" y="252"/>
                    <a:pt x="108" y="252"/>
                  </a:cubicBezTo>
                  <a:cubicBezTo>
                    <a:pt x="109" y="252"/>
                    <a:pt x="109" y="252"/>
                    <a:pt x="109" y="252"/>
                  </a:cubicBezTo>
                  <a:cubicBezTo>
                    <a:pt x="109" y="251"/>
                    <a:pt x="109" y="251"/>
                    <a:pt x="109" y="251"/>
                  </a:cubicBezTo>
                  <a:cubicBezTo>
                    <a:pt x="109" y="251"/>
                    <a:pt x="109" y="251"/>
                    <a:pt x="109" y="251"/>
                  </a:cubicBezTo>
                  <a:cubicBezTo>
                    <a:pt x="109" y="251"/>
                    <a:pt x="109" y="251"/>
                    <a:pt x="109" y="251"/>
                  </a:cubicBezTo>
                  <a:cubicBezTo>
                    <a:pt x="109" y="251"/>
                    <a:pt x="109" y="251"/>
                    <a:pt x="109" y="251"/>
                  </a:cubicBezTo>
                  <a:cubicBezTo>
                    <a:pt x="109" y="251"/>
                    <a:pt x="109" y="251"/>
                    <a:pt x="109" y="251"/>
                  </a:cubicBezTo>
                  <a:cubicBezTo>
                    <a:pt x="109" y="251"/>
                    <a:pt x="109" y="251"/>
                    <a:pt x="109" y="251"/>
                  </a:cubicBezTo>
                  <a:cubicBezTo>
                    <a:pt x="109" y="251"/>
                    <a:pt x="109" y="251"/>
                    <a:pt x="109" y="251"/>
                  </a:cubicBezTo>
                  <a:cubicBezTo>
                    <a:pt x="110" y="251"/>
                    <a:pt x="110" y="251"/>
                    <a:pt x="110" y="251"/>
                  </a:cubicBezTo>
                  <a:cubicBezTo>
                    <a:pt x="109" y="251"/>
                    <a:pt x="109" y="251"/>
                    <a:pt x="109" y="251"/>
                  </a:cubicBezTo>
                  <a:cubicBezTo>
                    <a:pt x="109" y="252"/>
                    <a:pt x="109" y="252"/>
                    <a:pt x="109" y="252"/>
                  </a:cubicBezTo>
                  <a:cubicBezTo>
                    <a:pt x="109" y="252"/>
                    <a:pt x="109" y="252"/>
                    <a:pt x="109" y="252"/>
                  </a:cubicBezTo>
                  <a:cubicBezTo>
                    <a:pt x="109" y="252"/>
                    <a:pt x="109" y="252"/>
                    <a:pt x="109" y="252"/>
                  </a:cubicBezTo>
                  <a:cubicBezTo>
                    <a:pt x="109" y="253"/>
                    <a:pt x="109" y="253"/>
                    <a:pt x="109" y="253"/>
                  </a:cubicBezTo>
                  <a:cubicBezTo>
                    <a:pt x="109" y="253"/>
                    <a:pt x="109" y="253"/>
                    <a:pt x="109" y="253"/>
                  </a:cubicBezTo>
                  <a:cubicBezTo>
                    <a:pt x="109" y="253"/>
                    <a:pt x="109" y="253"/>
                    <a:pt x="109" y="253"/>
                  </a:cubicBezTo>
                  <a:close/>
                  <a:moveTo>
                    <a:pt x="81" y="236"/>
                  </a:moveTo>
                  <a:cubicBezTo>
                    <a:pt x="81" y="236"/>
                    <a:pt x="81" y="236"/>
                    <a:pt x="81" y="236"/>
                  </a:cubicBezTo>
                  <a:cubicBezTo>
                    <a:pt x="82" y="237"/>
                    <a:pt x="82" y="237"/>
                    <a:pt x="82" y="237"/>
                  </a:cubicBezTo>
                  <a:cubicBezTo>
                    <a:pt x="83" y="237"/>
                    <a:pt x="83" y="237"/>
                    <a:pt x="83" y="237"/>
                  </a:cubicBezTo>
                  <a:cubicBezTo>
                    <a:pt x="83" y="237"/>
                    <a:pt x="83" y="237"/>
                    <a:pt x="83" y="237"/>
                  </a:cubicBezTo>
                  <a:cubicBezTo>
                    <a:pt x="83" y="237"/>
                    <a:pt x="83" y="237"/>
                    <a:pt x="83" y="237"/>
                  </a:cubicBezTo>
                  <a:cubicBezTo>
                    <a:pt x="84" y="237"/>
                    <a:pt x="84" y="237"/>
                    <a:pt x="84" y="237"/>
                  </a:cubicBezTo>
                  <a:cubicBezTo>
                    <a:pt x="84" y="237"/>
                    <a:pt x="84" y="237"/>
                    <a:pt x="84" y="237"/>
                  </a:cubicBezTo>
                  <a:cubicBezTo>
                    <a:pt x="84" y="237"/>
                    <a:pt x="84" y="237"/>
                    <a:pt x="84" y="237"/>
                  </a:cubicBezTo>
                  <a:cubicBezTo>
                    <a:pt x="84" y="237"/>
                    <a:pt x="84" y="237"/>
                    <a:pt x="84" y="237"/>
                  </a:cubicBezTo>
                  <a:cubicBezTo>
                    <a:pt x="84" y="237"/>
                    <a:pt x="84" y="237"/>
                    <a:pt x="84" y="237"/>
                  </a:cubicBezTo>
                  <a:cubicBezTo>
                    <a:pt x="84" y="237"/>
                    <a:pt x="84" y="237"/>
                    <a:pt x="84" y="237"/>
                  </a:cubicBezTo>
                  <a:cubicBezTo>
                    <a:pt x="83" y="237"/>
                    <a:pt x="83" y="237"/>
                    <a:pt x="83" y="237"/>
                  </a:cubicBezTo>
                  <a:cubicBezTo>
                    <a:pt x="83" y="236"/>
                    <a:pt x="83" y="236"/>
                    <a:pt x="83" y="236"/>
                  </a:cubicBezTo>
                  <a:cubicBezTo>
                    <a:pt x="83" y="236"/>
                    <a:pt x="83" y="236"/>
                    <a:pt x="83" y="236"/>
                  </a:cubicBezTo>
                  <a:cubicBezTo>
                    <a:pt x="81" y="236"/>
                    <a:pt x="81" y="236"/>
                    <a:pt x="81" y="236"/>
                  </a:cubicBezTo>
                  <a:cubicBezTo>
                    <a:pt x="81" y="236"/>
                    <a:pt x="81" y="236"/>
                    <a:pt x="81" y="236"/>
                  </a:cubicBezTo>
                  <a:cubicBezTo>
                    <a:pt x="81" y="236"/>
                    <a:pt x="81" y="236"/>
                    <a:pt x="81" y="236"/>
                  </a:cubicBezTo>
                  <a:cubicBezTo>
                    <a:pt x="80" y="236"/>
                    <a:pt x="80" y="236"/>
                    <a:pt x="80" y="236"/>
                  </a:cubicBezTo>
                  <a:cubicBezTo>
                    <a:pt x="80" y="236"/>
                    <a:pt x="80" y="236"/>
                    <a:pt x="80" y="236"/>
                  </a:cubicBezTo>
                  <a:cubicBezTo>
                    <a:pt x="80" y="236"/>
                    <a:pt x="80" y="236"/>
                    <a:pt x="80" y="236"/>
                  </a:cubicBezTo>
                  <a:cubicBezTo>
                    <a:pt x="80" y="236"/>
                    <a:pt x="80" y="236"/>
                    <a:pt x="80" y="236"/>
                  </a:cubicBezTo>
                  <a:lnTo>
                    <a:pt x="81" y="236"/>
                  </a:lnTo>
                  <a:close/>
                  <a:moveTo>
                    <a:pt x="76" y="226"/>
                  </a:moveTo>
                  <a:cubicBezTo>
                    <a:pt x="77" y="226"/>
                    <a:pt x="77" y="226"/>
                    <a:pt x="77" y="226"/>
                  </a:cubicBezTo>
                  <a:cubicBezTo>
                    <a:pt x="77" y="227"/>
                    <a:pt x="77" y="227"/>
                    <a:pt x="77" y="227"/>
                  </a:cubicBezTo>
                  <a:cubicBezTo>
                    <a:pt x="77" y="227"/>
                    <a:pt x="77" y="227"/>
                    <a:pt x="77" y="227"/>
                  </a:cubicBezTo>
                  <a:cubicBezTo>
                    <a:pt x="77" y="226"/>
                    <a:pt x="77" y="226"/>
                    <a:pt x="77" y="226"/>
                  </a:cubicBezTo>
                  <a:cubicBezTo>
                    <a:pt x="77" y="226"/>
                    <a:pt x="77" y="226"/>
                    <a:pt x="77" y="226"/>
                  </a:cubicBezTo>
                  <a:cubicBezTo>
                    <a:pt x="77" y="226"/>
                    <a:pt x="77" y="226"/>
                    <a:pt x="77" y="226"/>
                  </a:cubicBezTo>
                  <a:cubicBezTo>
                    <a:pt x="77" y="226"/>
                    <a:pt x="77" y="226"/>
                    <a:pt x="77" y="226"/>
                  </a:cubicBezTo>
                  <a:cubicBezTo>
                    <a:pt x="76" y="226"/>
                    <a:pt x="76" y="226"/>
                    <a:pt x="76" y="226"/>
                  </a:cubicBezTo>
                  <a:cubicBezTo>
                    <a:pt x="76" y="226"/>
                    <a:pt x="76" y="226"/>
                    <a:pt x="76" y="226"/>
                  </a:cubicBezTo>
                  <a:cubicBezTo>
                    <a:pt x="76" y="226"/>
                    <a:pt x="76" y="226"/>
                    <a:pt x="76" y="226"/>
                  </a:cubicBezTo>
                  <a:cubicBezTo>
                    <a:pt x="76" y="226"/>
                    <a:pt x="76" y="226"/>
                    <a:pt x="76" y="226"/>
                  </a:cubicBezTo>
                  <a:cubicBezTo>
                    <a:pt x="76" y="226"/>
                    <a:pt x="76" y="226"/>
                    <a:pt x="76" y="226"/>
                  </a:cubicBezTo>
                  <a:close/>
                  <a:moveTo>
                    <a:pt x="92" y="236"/>
                  </a:moveTo>
                  <a:cubicBezTo>
                    <a:pt x="92" y="235"/>
                    <a:pt x="92" y="235"/>
                    <a:pt x="92" y="235"/>
                  </a:cubicBezTo>
                  <a:cubicBezTo>
                    <a:pt x="92" y="235"/>
                    <a:pt x="92" y="235"/>
                    <a:pt x="92" y="235"/>
                  </a:cubicBezTo>
                  <a:cubicBezTo>
                    <a:pt x="92" y="235"/>
                    <a:pt x="92" y="235"/>
                    <a:pt x="92" y="235"/>
                  </a:cubicBezTo>
                  <a:cubicBezTo>
                    <a:pt x="91" y="235"/>
                    <a:pt x="91" y="235"/>
                    <a:pt x="91" y="235"/>
                  </a:cubicBezTo>
                  <a:cubicBezTo>
                    <a:pt x="91" y="235"/>
                    <a:pt x="91" y="235"/>
                    <a:pt x="91" y="235"/>
                  </a:cubicBezTo>
                  <a:cubicBezTo>
                    <a:pt x="91" y="235"/>
                    <a:pt x="91" y="235"/>
                    <a:pt x="91" y="235"/>
                  </a:cubicBezTo>
                  <a:cubicBezTo>
                    <a:pt x="90" y="235"/>
                    <a:pt x="90" y="235"/>
                    <a:pt x="90" y="235"/>
                  </a:cubicBezTo>
                  <a:cubicBezTo>
                    <a:pt x="90" y="235"/>
                    <a:pt x="90" y="235"/>
                    <a:pt x="90" y="235"/>
                  </a:cubicBezTo>
                  <a:cubicBezTo>
                    <a:pt x="89" y="236"/>
                    <a:pt x="89" y="236"/>
                    <a:pt x="89" y="236"/>
                  </a:cubicBezTo>
                  <a:cubicBezTo>
                    <a:pt x="89" y="236"/>
                    <a:pt x="89" y="236"/>
                    <a:pt x="89" y="236"/>
                  </a:cubicBezTo>
                  <a:cubicBezTo>
                    <a:pt x="88" y="236"/>
                    <a:pt x="88" y="236"/>
                    <a:pt x="88" y="236"/>
                  </a:cubicBezTo>
                  <a:cubicBezTo>
                    <a:pt x="88" y="236"/>
                    <a:pt x="88" y="236"/>
                    <a:pt x="88" y="236"/>
                  </a:cubicBezTo>
                  <a:cubicBezTo>
                    <a:pt x="87" y="237"/>
                    <a:pt x="87" y="237"/>
                    <a:pt x="87" y="237"/>
                  </a:cubicBezTo>
                  <a:cubicBezTo>
                    <a:pt x="87" y="237"/>
                    <a:pt x="87" y="237"/>
                    <a:pt x="87" y="237"/>
                  </a:cubicBezTo>
                  <a:cubicBezTo>
                    <a:pt x="87" y="237"/>
                    <a:pt x="87" y="237"/>
                    <a:pt x="87" y="237"/>
                  </a:cubicBezTo>
                  <a:cubicBezTo>
                    <a:pt x="87" y="237"/>
                    <a:pt x="87" y="237"/>
                    <a:pt x="87" y="237"/>
                  </a:cubicBezTo>
                  <a:cubicBezTo>
                    <a:pt x="87" y="237"/>
                    <a:pt x="87" y="237"/>
                    <a:pt x="87" y="237"/>
                  </a:cubicBezTo>
                  <a:cubicBezTo>
                    <a:pt x="87" y="238"/>
                    <a:pt x="87" y="238"/>
                    <a:pt x="87" y="238"/>
                  </a:cubicBezTo>
                  <a:cubicBezTo>
                    <a:pt x="87" y="238"/>
                    <a:pt x="87" y="238"/>
                    <a:pt x="87" y="238"/>
                  </a:cubicBezTo>
                  <a:cubicBezTo>
                    <a:pt x="88" y="238"/>
                    <a:pt x="88" y="238"/>
                    <a:pt x="88" y="238"/>
                  </a:cubicBezTo>
                  <a:cubicBezTo>
                    <a:pt x="88" y="238"/>
                    <a:pt x="88" y="238"/>
                    <a:pt x="88" y="238"/>
                  </a:cubicBezTo>
                  <a:cubicBezTo>
                    <a:pt x="88" y="238"/>
                    <a:pt x="88" y="238"/>
                    <a:pt x="88" y="238"/>
                  </a:cubicBezTo>
                  <a:cubicBezTo>
                    <a:pt x="89" y="238"/>
                    <a:pt x="89" y="238"/>
                    <a:pt x="89" y="238"/>
                  </a:cubicBezTo>
                  <a:cubicBezTo>
                    <a:pt x="89" y="238"/>
                    <a:pt x="89" y="238"/>
                    <a:pt x="89" y="238"/>
                  </a:cubicBezTo>
                  <a:cubicBezTo>
                    <a:pt x="89" y="238"/>
                    <a:pt x="89" y="238"/>
                    <a:pt x="89" y="238"/>
                  </a:cubicBezTo>
                  <a:cubicBezTo>
                    <a:pt x="89" y="238"/>
                    <a:pt x="89" y="238"/>
                    <a:pt x="89" y="238"/>
                  </a:cubicBezTo>
                  <a:cubicBezTo>
                    <a:pt x="89" y="238"/>
                    <a:pt x="89" y="238"/>
                    <a:pt x="89" y="238"/>
                  </a:cubicBezTo>
                  <a:cubicBezTo>
                    <a:pt x="89" y="238"/>
                    <a:pt x="89" y="238"/>
                    <a:pt x="89" y="238"/>
                  </a:cubicBezTo>
                  <a:cubicBezTo>
                    <a:pt x="90" y="238"/>
                    <a:pt x="90" y="238"/>
                    <a:pt x="90" y="238"/>
                  </a:cubicBezTo>
                  <a:cubicBezTo>
                    <a:pt x="91" y="239"/>
                    <a:pt x="91" y="239"/>
                    <a:pt x="91" y="239"/>
                  </a:cubicBezTo>
                  <a:cubicBezTo>
                    <a:pt x="91" y="238"/>
                    <a:pt x="91" y="238"/>
                    <a:pt x="91" y="238"/>
                  </a:cubicBezTo>
                  <a:cubicBezTo>
                    <a:pt x="91" y="238"/>
                    <a:pt x="91" y="238"/>
                    <a:pt x="91" y="238"/>
                  </a:cubicBezTo>
                  <a:cubicBezTo>
                    <a:pt x="92" y="237"/>
                    <a:pt x="92" y="237"/>
                    <a:pt x="92" y="237"/>
                  </a:cubicBezTo>
                  <a:cubicBezTo>
                    <a:pt x="92" y="237"/>
                    <a:pt x="92" y="237"/>
                    <a:pt x="92" y="237"/>
                  </a:cubicBezTo>
                  <a:cubicBezTo>
                    <a:pt x="93" y="237"/>
                    <a:pt x="93" y="237"/>
                    <a:pt x="93" y="237"/>
                  </a:cubicBezTo>
                  <a:cubicBezTo>
                    <a:pt x="93" y="237"/>
                    <a:pt x="93" y="237"/>
                    <a:pt x="93" y="237"/>
                  </a:cubicBezTo>
                  <a:cubicBezTo>
                    <a:pt x="93" y="237"/>
                    <a:pt x="93" y="237"/>
                    <a:pt x="93" y="237"/>
                  </a:cubicBezTo>
                  <a:cubicBezTo>
                    <a:pt x="92" y="236"/>
                    <a:pt x="92" y="236"/>
                    <a:pt x="92" y="236"/>
                  </a:cubicBezTo>
                  <a:cubicBezTo>
                    <a:pt x="92" y="236"/>
                    <a:pt x="92" y="236"/>
                    <a:pt x="92" y="236"/>
                  </a:cubicBezTo>
                  <a:cubicBezTo>
                    <a:pt x="92" y="236"/>
                    <a:pt x="92" y="236"/>
                    <a:pt x="92" y="236"/>
                  </a:cubicBezTo>
                  <a:close/>
                  <a:moveTo>
                    <a:pt x="88" y="239"/>
                  </a:moveTo>
                  <a:cubicBezTo>
                    <a:pt x="88" y="239"/>
                    <a:pt x="88" y="239"/>
                    <a:pt x="88" y="239"/>
                  </a:cubicBezTo>
                  <a:cubicBezTo>
                    <a:pt x="88" y="239"/>
                    <a:pt x="88" y="239"/>
                    <a:pt x="88" y="239"/>
                  </a:cubicBezTo>
                  <a:cubicBezTo>
                    <a:pt x="88" y="239"/>
                    <a:pt x="88" y="239"/>
                    <a:pt x="88" y="239"/>
                  </a:cubicBezTo>
                  <a:cubicBezTo>
                    <a:pt x="89" y="239"/>
                    <a:pt x="89" y="239"/>
                    <a:pt x="89" y="239"/>
                  </a:cubicBezTo>
                  <a:cubicBezTo>
                    <a:pt x="89" y="239"/>
                    <a:pt x="89" y="239"/>
                    <a:pt x="89" y="239"/>
                  </a:cubicBezTo>
                  <a:cubicBezTo>
                    <a:pt x="90" y="239"/>
                    <a:pt x="90" y="239"/>
                    <a:pt x="90" y="239"/>
                  </a:cubicBezTo>
                  <a:cubicBezTo>
                    <a:pt x="90" y="239"/>
                    <a:pt x="90" y="239"/>
                    <a:pt x="90" y="239"/>
                  </a:cubicBezTo>
                  <a:cubicBezTo>
                    <a:pt x="90" y="239"/>
                    <a:pt x="90" y="239"/>
                    <a:pt x="90" y="239"/>
                  </a:cubicBezTo>
                  <a:cubicBezTo>
                    <a:pt x="89" y="239"/>
                    <a:pt x="89" y="239"/>
                    <a:pt x="89" y="239"/>
                  </a:cubicBezTo>
                  <a:cubicBezTo>
                    <a:pt x="88" y="238"/>
                    <a:pt x="88" y="238"/>
                    <a:pt x="88" y="238"/>
                  </a:cubicBezTo>
                  <a:cubicBezTo>
                    <a:pt x="87" y="239"/>
                    <a:pt x="87" y="239"/>
                    <a:pt x="87" y="239"/>
                  </a:cubicBezTo>
                  <a:cubicBezTo>
                    <a:pt x="87" y="239"/>
                    <a:pt x="87" y="239"/>
                    <a:pt x="87" y="239"/>
                  </a:cubicBezTo>
                  <a:cubicBezTo>
                    <a:pt x="87" y="239"/>
                    <a:pt x="87" y="239"/>
                    <a:pt x="87" y="239"/>
                  </a:cubicBezTo>
                  <a:cubicBezTo>
                    <a:pt x="87" y="239"/>
                    <a:pt x="87" y="239"/>
                    <a:pt x="87" y="239"/>
                  </a:cubicBezTo>
                  <a:cubicBezTo>
                    <a:pt x="87" y="239"/>
                    <a:pt x="87" y="239"/>
                    <a:pt x="87" y="239"/>
                  </a:cubicBezTo>
                  <a:cubicBezTo>
                    <a:pt x="88" y="239"/>
                    <a:pt x="88" y="239"/>
                    <a:pt x="88" y="239"/>
                  </a:cubicBezTo>
                  <a:cubicBezTo>
                    <a:pt x="88" y="239"/>
                    <a:pt x="88" y="239"/>
                    <a:pt x="88" y="239"/>
                  </a:cubicBezTo>
                  <a:cubicBezTo>
                    <a:pt x="88" y="239"/>
                    <a:pt x="88" y="239"/>
                    <a:pt x="88" y="239"/>
                  </a:cubicBezTo>
                  <a:cubicBezTo>
                    <a:pt x="88" y="239"/>
                    <a:pt x="88" y="239"/>
                    <a:pt x="88" y="239"/>
                  </a:cubicBezTo>
                  <a:close/>
                  <a:moveTo>
                    <a:pt x="86" y="239"/>
                  </a:moveTo>
                  <a:cubicBezTo>
                    <a:pt x="86" y="240"/>
                    <a:pt x="86" y="240"/>
                    <a:pt x="86" y="240"/>
                  </a:cubicBezTo>
                  <a:cubicBezTo>
                    <a:pt x="87" y="240"/>
                    <a:pt x="87" y="240"/>
                    <a:pt x="87" y="240"/>
                  </a:cubicBezTo>
                  <a:cubicBezTo>
                    <a:pt x="87" y="240"/>
                    <a:pt x="87" y="240"/>
                    <a:pt x="87" y="240"/>
                  </a:cubicBezTo>
                  <a:cubicBezTo>
                    <a:pt x="87" y="240"/>
                    <a:pt x="87" y="240"/>
                    <a:pt x="87" y="240"/>
                  </a:cubicBezTo>
                  <a:cubicBezTo>
                    <a:pt x="88" y="240"/>
                    <a:pt x="88" y="240"/>
                    <a:pt x="88" y="240"/>
                  </a:cubicBezTo>
                  <a:cubicBezTo>
                    <a:pt x="88" y="239"/>
                    <a:pt x="88" y="239"/>
                    <a:pt x="88" y="239"/>
                  </a:cubicBezTo>
                  <a:cubicBezTo>
                    <a:pt x="88" y="239"/>
                    <a:pt x="88" y="239"/>
                    <a:pt x="88" y="239"/>
                  </a:cubicBezTo>
                  <a:cubicBezTo>
                    <a:pt x="87" y="239"/>
                    <a:pt x="87" y="239"/>
                    <a:pt x="87" y="239"/>
                  </a:cubicBezTo>
                  <a:cubicBezTo>
                    <a:pt x="87" y="239"/>
                    <a:pt x="87" y="239"/>
                    <a:pt x="87" y="239"/>
                  </a:cubicBezTo>
                  <a:cubicBezTo>
                    <a:pt x="87" y="239"/>
                    <a:pt x="87" y="239"/>
                    <a:pt x="87" y="239"/>
                  </a:cubicBezTo>
                  <a:cubicBezTo>
                    <a:pt x="87" y="239"/>
                    <a:pt x="87" y="239"/>
                    <a:pt x="87" y="239"/>
                  </a:cubicBezTo>
                  <a:cubicBezTo>
                    <a:pt x="87" y="239"/>
                    <a:pt x="87" y="239"/>
                    <a:pt x="87" y="239"/>
                  </a:cubicBezTo>
                  <a:cubicBezTo>
                    <a:pt x="86" y="239"/>
                    <a:pt x="86" y="239"/>
                    <a:pt x="86" y="239"/>
                  </a:cubicBezTo>
                  <a:cubicBezTo>
                    <a:pt x="86" y="239"/>
                    <a:pt x="86" y="239"/>
                    <a:pt x="86" y="239"/>
                  </a:cubicBezTo>
                  <a:cubicBezTo>
                    <a:pt x="86" y="239"/>
                    <a:pt x="86" y="239"/>
                    <a:pt x="86" y="239"/>
                  </a:cubicBezTo>
                  <a:cubicBezTo>
                    <a:pt x="86" y="239"/>
                    <a:pt x="86" y="239"/>
                    <a:pt x="86" y="239"/>
                  </a:cubicBezTo>
                  <a:cubicBezTo>
                    <a:pt x="86" y="239"/>
                    <a:pt x="86" y="239"/>
                    <a:pt x="86" y="239"/>
                  </a:cubicBezTo>
                  <a:cubicBezTo>
                    <a:pt x="86" y="239"/>
                    <a:pt x="86" y="239"/>
                    <a:pt x="86" y="239"/>
                  </a:cubicBezTo>
                  <a:cubicBezTo>
                    <a:pt x="86" y="239"/>
                    <a:pt x="86" y="239"/>
                    <a:pt x="86" y="239"/>
                  </a:cubicBezTo>
                  <a:cubicBezTo>
                    <a:pt x="86" y="239"/>
                    <a:pt x="86" y="239"/>
                    <a:pt x="86" y="239"/>
                  </a:cubicBezTo>
                  <a:close/>
                </a:path>
              </a:pathLst>
            </a:custGeom>
            <a:solidFill>
              <a:srgbClr val="B1B1B0"/>
            </a:solidFill>
            <a:ln w="635">
              <a:solidFill>
                <a:schemeClr val="accent6"/>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544" name="Freeform 11">
              <a:extLst>
                <a:ext uri="{FF2B5EF4-FFF2-40B4-BE49-F238E27FC236}">
                  <a16:creationId xmlns:a16="http://schemas.microsoft.com/office/drawing/2014/main" id="{D3C72EC6-1778-84A1-23CE-6FA9E8550A5D}"/>
                </a:ext>
              </a:extLst>
            </p:cNvPr>
            <p:cNvSpPr>
              <a:spLocks/>
            </p:cNvSpPr>
            <p:nvPr/>
          </p:nvSpPr>
          <p:spPr bwMode="gray">
            <a:xfrm>
              <a:off x="1370013" y="2168525"/>
              <a:ext cx="730250" cy="1339850"/>
            </a:xfrm>
            <a:custGeom>
              <a:avLst/>
              <a:gdLst>
                <a:gd name="T0" fmla="*/ 1 w 137"/>
                <a:gd name="T1" fmla="*/ 134 h 251"/>
                <a:gd name="T2" fmla="*/ 1 w 137"/>
                <a:gd name="T3" fmla="*/ 136 h 251"/>
                <a:gd name="T4" fmla="*/ 3 w 137"/>
                <a:gd name="T5" fmla="*/ 138 h 251"/>
                <a:gd name="T6" fmla="*/ 0 w 137"/>
                <a:gd name="T7" fmla="*/ 139 h 251"/>
                <a:gd name="T8" fmla="*/ 1 w 137"/>
                <a:gd name="T9" fmla="*/ 141 h 251"/>
                <a:gd name="T10" fmla="*/ 3 w 137"/>
                <a:gd name="T11" fmla="*/ 144 h 251"/>
                <a:gd name="T12" fmla="*/ 6 w 137"/>
                <a:gd name="T13" fmla="*/ 144 h 251"/>
                <a:gd name="T14" fmla="*/ 7 w 137"/>
                <a:gd name="T15" fmla="*/ 148 h 251"/>
                <a:gd name="T16" fmla="*/ 9 w 137"/>
                <a:gd name="T17" fmla="*/ 149 h 251"/>
                <a:gd name="T18" fmla="*/ 10 w 137"/>
                <a:gd name="T19" fmla="*/ 149 h 251"/>
                <a:gd name="T20" fmla="*/ 11 w 137"/>
                <a:gd name="T21" fmla="*/ 149 h 251"/>
                <a:gd name="T22" fmla="*/ 13 w 137"/>
                <a:gd name="T23" fmla="*/ 151 h 251"/>
                <a:gd name="T24" fmla="*/ 13 w 137"/>
                <a:gd name="T25" fmla="*/ 153 h 251"/>
                <a:gd name="T26" fmla="*/ 14 w 137"/>
                <a:gd name="T27" fmla="*/ 156 h 251"/>
                <a:gd name="T28" fmla="*/ 16 w 137"/>
                <a:gd name="T29" fmla="*/ 157 h 251"/>
                <a:gd name="T30" fmla="*/ 17 w 137"/>
                <a:gd name="T31" fmla="*/ 160 h 251"/>
                <a:gd name="T32" fmla="*/ 16 w 137"/>
                <a:gd name="T33" fmla="*/ 163 h 251"/>
                <a:gd name="T34" fmla="*/ 17 w 137"/>
                <a:gd name="T35" fmla="*/ 165 h 251"/>
                <a:gd name="T36" fmla="*/ 17 w 137"/>
                <a:gd name="T37" fmla="*/ 167 h 251"/>
                <a:gd name="T38" fmla="*/ 20 w 137"/>
                <a:gd name="T39" fmla="*/ 167 h 251"/>
                <a:gd name="T40" fmla="*/ 20 w 137"/>
                <a:gd name="T41" fmla="*/ 166 h 251"/>
                <a:gd name="T42" fmla="*/ 23 w 137"/>
                <a:gd name="T43" fmla="*/ 169 h 251"/>
                <a:gd name="T44" fmla="*/ 24 w 137"/>
                <a:gd name="T45" fmla="*/ 174 h 251"/>
                <a:gd name="T46" fmla="*/ 28 w 137"/>
                <a:gd name="T47" fmla="*/ 173 h 251"/>
                <a:gd name="T48" fmla="*/ 28 w 137"/>
                <a:gd name="T49" fmla="*/ 176 h 251"/>
                <a:gd name="T50" fmla="*/ 29 w 137"/>
                <a:gd name="T51" fmla="*/ 177 h 251"/>
                <a:gd name="T52" fmla="*/ 31 w 137"/>
                <a:gd name="T53" fmla="*/ 180 h 251"/>
                <a:gd name="T54" fmla="*/ 31 w 137"/>
                <a:gd name="T55" fmla="*/ 182 h 251"/>
                <a:gd name="T56" fmla="*/ 33 w 137"/>
                <a:gd name="T57" fmla="*/ 183 h 251"/>
                <a:gd name="T58" fmla="*/ 35 w 137"/>
                <a:gd name="T59" fmla="*/ 182 h 251"/>
                <a:gd name="T60" fmla="*/ 36 w 137"/>
                <a:gd name="T61" fmla="*/ 185 h 251"/>
                <a:gd name="T62" fmla="*/ 37 w 137"/>
                <a:gd name="T63" fmla="*/ 188 h 251"/>
                <a:gd name="T64" fmla="*/ 39 w 137"/>
                <a:gd name="T65" fmla="*/ 191 h 251"/>
                <a:gd name="T66" fmla="*/ 39 w 137"/>
                <a:gd name="T67" fmla="*/ 194 h 251"/>
                <a:gd name="T68" fmla="*/ 41 w 137"/>
                <a:gd name="T69" fmla="*/ 197 h 251"/>
                <a:gd name="T70" fmla="*/ 44 w 137"/>
                <a:gd name="T71" fmla="*/ 199 h 251"/>
                <a:gd name="T72" fmla="*/ 46 w 137"/>
                <a:gd name="T73" fmla="*/ 201 h 251"/>
                <a:gd name="T74" fmla="*/ 47 w 137"/>
                <a:gd name="T75" fmla="*/ 203 h 251"/>
                <a:gd name="T76" fmla="*/ 47 w 137"/>
                <a:gd name="T77" fmla="*/ 205 h 251"/>
                <a:gd name="T78" fmla="*/ 48 w 137"/>
                <a:gd name="T79" fmla="*/ 207 h 251"/>
                <a:gd name="T80" fmla="*/ 50 w 137"/>
                <a:gd name="T81" fmla="*/ 208 h 251"/>
                <a:gd name="T82" fmla="*/ 50 w 137"/>
                <a:gd name="T83" fmla="*/ 211 h 251"/>
                <a:gd name="T84" fmla="*/ 53 w 137"/>
                <a:gd name="T85" fmla="*/ 211 h 251"/>
                <a:gd name="T86" fmla="*/ 55 w 137"/>
                <a:gd name="T87" fmla="*/ 215 h 251"/>
                <a:gd name="T88" fmla="*/ 55 w 137"/>
                <a:gd name="T89" fmla="*/ 217 h 251"/>
                <a:gd name="T90" fmla="*/ 56 w 137"/>
                <a:gd name="T91" fmla="*/ 221 h 251"/>
                <a:gd name="T92" fmla="*/ 56 w 137"/>
                <a:gd name="T93" fmla="*/ 222 h 251"/>
                <a:gd name="T94" fmla="*/ 56 w 137"/>
                <a:gd name="T95" fmla="*/ 224 h 251"/>
                <a:gd name="T96" fmla="*/ 56 w 137"/>
                <a:gd name="T97" fmla="*/ 228 h 251"/>
                <a:gd name="T98" fmla="*/ 55 w 137"/>
                <a:gd name="T99" fmla="*/ 229 h 251"/>
                <a:gd name="T100" fmla="*/ 55 w 137"/>
                <a:gd name="T101" fmla="*/ 231 h 251"/>
                <a:gd name="T102" fmla="*/ 54 w 137"/>
                <a:gd name="T103" fmla="*/ 232 h 251"/>
                <a:gd name="T104" fmla="*/ 55 w 137"/>
                <a:gd name="T105" fmla="*/ 233 h 251"/>
                <a:gd name="T106" fmla="*/ 56 w 137"/>
                <a:gd name="T107" fmla="*/ 236 h 251"/>
                <a:gd name="T108" fmla="*/ 57 w 137"/>
                <a:gd name="T109" fmla="*/ 237 h 251"/>
                <a:gd name="T110" fmla="*/ 58 w 137"/>
                <a:gd name="T111" fmla="*/ 239 h 251"/>
                <a:gd name="T112" fmla="*/ 59 w 137"/>
                <a:gd name="T113" fmla="*/ 240 h 251"/>
                <a:gd name="T114" fmla="*/ 60 w 137"/>
                <a:gd name="T115" fmla="*/ 242 h 251"/>
                <a:gd name="T116" fmla="*/ 61 w 137"/>
                <a:gd name="T117" fmla="*/ 24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7" h="251">
                  <a:moveTo>
                    <a:pt x="130" y="15"/>
                  </a:moveTo>
                  <a:cubicBezTo>
                    <a:pt x="97" y="11"/>
                    <a:pt x="63" y="7"/>
                    <a:pt x="30" y="1"/>
                  </a:cubicBezTo>
                  <a:cubicBezTo>
                    <a:pt x="28" y="1"/>
                    <a:pt x="26" y="0"/>
                    <a:pt x="25" y="0"/>
                  </a:cubicBezTo>
                  <a:cubicBezTo>
                    <a:pt x="18" y="33"/>
                    <a:pt x="12" y="66"/>
                    <a:pt x="6" y="100"/>
                  </a:cubicBezTo>
                  <a:cubicBezTo>
                    <a:pt x="4" y="111"/>
                    <a:pt x="2" y="121"/>
                    <a:pt x="0" y="132"/>
                  </a:cubicBezTo>
                  <a:cubicBezTo>
                    <a:pt x="0" y="133"/>
                    <a:pt x="0" y="133"/>
                    <a:pt x="0" y="133"/>
                  </a:cubicBezTo>
                  <a:cubicBezTo>
                    <a:pt x="0" y="133"/>
                    <a:pt x="0" y="133"/>
                    <a:pt x="0" y="133"/>
                  </a:cubicBezTo>
                  <a:cubicBezTo>
                    <a:pt x="0" y="134"/>
                    <a:pt x="0" y="134"/>
                    <a:pt x="0" y="134"/>
                  </a:cubicBezTo>
                  <a:cubicBezTo>
                    <a:pt x="0" y="134"/>
                    <a:pt x="0" y="134"/>
                    <a:pt x="0" y="134"/>
                  </a:cubicBezTo>
                  <a:cubicBezTo>
                    <a:pt x="0" y="134"/>
                    <a:pt x="0" y="134"/>
                    <a:pt x="0" y="134"/>
                  </a:cubicBezTo>
                  <a:cubicBezTo>
                    <a:pt x="1" y="134"/>
                    <a:pt x="1" y="134"/>
                    <a:pt x="1" y="134"/>
                  </a:cubicBezTo>
                  <a:cubicBezTo>
                    <a:pt x="1" y="134"/>
                    <a:pt x="1" y="134"/>
                    <a:pt x="1" y="134"/>
                  </a:cubicBezTo>
                  <a:cubicBezTo>
                    <a:pt x="1" y="135"/>
                    <a:pt x="1" y="135"/>
                    <a:pt x="1" y="135"/>
                  </a:cubicBezTo>
                  <a:cubicBezTo>
                    <a:pt x="1" y="135"/>
                    <a:pt x="1" y="135"/>
                    <a:pt x="1" y="135"/>
                  </a:cubicBezTo>
                  <a:cubicBezTo>
                    <a:pt x="1" y="135"/>
                    <a:pt x="1" y="135"/>
                    <a:pt x="1" y="135"/>
                  </a:cubicBezTo>
                  <a:cubicBezTo>
                    <a:pt x="1" y="135"/>
                    <a:pt x="1" y="135"/>
                    <a:pt x="1" y="135"/>
                  </a:cubicBezTo>
                  <a:cubicBezTo>
                    <a:pt x="1" y="135"/>
                    <a:pt x="1" y="135"/>
                    <a:pt x="1" y="135"/>
                  </a:cubicBezTo>
                  <a:cubicBezTo>
                    <a:pt x="1" y="135"/>
                    <a:pt x="1" y="135"/>
                    <a:pt x="1" y="135"/>
                  </a:cubicBezTo>
                  <a:cubicBezTo>
                    <a:pt x="1" y="135"/>
                    <a:pt x="1" y="135"/>
                    <a:pt x="1" y="135"/>
                  </a:cubicBezTo>
                  <a:cubicBezTo>
                    <a:pt x="1" y="136"/>
                    <a:pt x="1" y="136"/>
                    <a:pt x="1" y="136"/>
                  </a:cubicBezTo>
                  <a:cubicBezTo>
                    <a:pt x="1" y="136"/>
                    <a:pt x="1" y="136"/>
                    <a:pt x="1" y="136"/>
                  </a:cubicBezTo>
                  <a:cubicBezTo>
                    <a:pt x="1" y="136"/>
                    <a:pt x="1" y="136"/>
                    <a:pt x="1" y="136"/>
                  </a:cubicBezTo>
                  <a:cubicBezTo>
                    <a:pt x="1" y="136"/>
                    <a:pt x="1" y="136"/>
                    <a:pt x="1" y="136"/>
                  </a:cubicBezTo>
                  <a:cubicBezTo>
                    <a:pt x="1" y="136"/>
                    <a:pt x="1" y="136"/>
                    <a:pt x="1" y="136"/>
                  </a:cubicBezTo>
                  <a:cubicBezTo>
                    <a:pt x="1" y="136"/>
                    <a:pt x="1" y="136"/>
                    <a:pt x="1" y="136"/>
                  </a:cubicBezTo>
                  <a:cubicBezTo>
                    <a:pt x="1" y="136"/>
                    <a:pt x="1" y="136"/>
                    <a:pt x="1" y="136"/>
                  </a:cubicBezTo>
                  <a:cubicBezTo>
                    <a:pt x="2" y="136"/>
                    <a:pt x="2" y="136"/>
                    <a:pt x="2" y="136"/>
                  </a:cubicBezTo>
                  <a:cubicBezTo>
                    <a:pt x="2" y="136"/>
                    <a:pt x="2" y="136"/>
                    <a:pt x="2" y="136"/>
                  </a:cubicBezTo>
                  <a:cubicBezTo>
                    <a:pt x="2" y="136"/>
                    <a:pt x="2" y="136"/>
                    <a:pt x="2" y="136"/>
                  </a:cubicBezTo>
                  <a:cubicBezTo>
                    <a:pt x="2" y="136"/>
                    <a:pt x="2" y="136"/>
                    <a:pt x="2" y="136"/>
                  </a:cubicBezTo>
                  <a:cubicBezTo>
                    <a:pt x="2" y="136"/>
                    <a:pt x="2" y="136"/>
                    <a:pt x="2" y="136"/>
                  </a:cubicBezTo>
                  <a:cubicBezTo>
                    <a:pt x="2" y="137"/>
                    <a:pt x="2" y="137"/>
                    <a:pt x="2" y="137"/>
                  </a:cubicBezTo>
                  <a:cubicBezTo>
                    <a:pt x="2" y="137"/>
                    <a:pt x="2" y="137"/>
                    <a:pt x="2" y="137"/>
                  </a:cubicBezTo>
                  <a:cubicBezTo>
                    <a:pt x="2" y="137"/>
                    <a:pt x="2" y="137"/>
                    <a:pt x="2" y="137"/>
                  </a:cubicBezTo>
                  <a:cubicBezTo>
                    <a:pt x="3" y="137"/>
                    <a:pt x="3" y="137"/>
                    <a:pt x="3" y="137"/>
                  </a:cubicBezTo>
                  <a:cubicBezTo>
                    <a:pt x="3" y="138"/>
                    <a:pt x="3" y="138"/>
                    <a:pt x="3" y="138"/>
                  </a:cubicBezTo>
                  <a:cubicBezTo>
                    <a:pt x="3" y="138"/>
                    <a:pt x="3" y="138"/>
                    <a:pt x="3" y="138"/>
                  </a:cubicBezTo>
                  <a:cubicBezTo>
                    <a:pt x="2" y="138"/>
                    <a:pt x="2" y="138"/>
                    <a:pt x="2" y="138"/>
                  </a:cubicBezTo>
                  <a:cubicBezTo>
                    <a:pt x="2" y="138"/>
                    <a:pt x="2" y="138"/>
                    <a:pt x="2" y="138"/>
                  </a:cubicBezTo>
                  <a:cubicBezTo>
                    <a:pt x="1" y="138"/>
                    <a:pt x="1" y="138"/>
                    <a:pt x="1" y="138"/>
                  </a:cubicBezTo>
                  <a:cubicBezTo>
                    <a:pt x="1" y="138"/>
                    <a:pt x="1" y="138"/>
                    <a:pt x="1" y="138"/>
                  </a:cubicBezTo>
                  <a:cubicBezTo>
                    <a:pt x="1" y="138"/>
                    <a:pt x="1" y="138"/>
                    <a:pt x="1" y="138"/>
                  </a:cubicBezTo>
                  <a:cubicBezTo>
                    <a:pt x="1" y="138"/>
                    <a:pt x="1" y="138"/>
                    <a:pt x="1" y="138"/>
                  </a:cubicBezTo>
                  <a:cubicBezTo>
                    <a:pt x="0" y="138"/>
                    <a:pt x="0" y="138"/>
                    <a:pt x="0" y="138"/>
                  </a:cubicBezTo>
                  <a:cubicBezTo>
                    <a:pt x="0" y="138"/>
                    <a:pt x="0" y="138"/>
                    <a:pt x="0" y="138"/>
                  </a:cubicBezTo>
                  <a:cubicBezTo>
                    <a:pt x="0" y="138"/>
                    <a:pt x="0" y="138"/>
                    <a:pt x="0" y="138"/>
                  </a:cubicBezTo>
                  <a:cubicBezTo>
                    <a:pt x="0" y="138"/>
                    <a:pt x="0" y="138"/>
                    <a:pt x="0" y="138"/>
                  </a:cubicBezTo>
                  <a:cubicBezTo>
                    <a:pt x="0" y="139"/>
                    <a:pt x="0" y="139"/>
                    <a:pt x="0" y="139"/>
                  </a:cubicBezTo>
                  <a:cubicBezTo>
                    <a:pt x="1" y="139"/>
                    <a:pt x="1" y="139"/>
                    <a:pt x="1" y="139"/>
                  </a:cubicBezTo>
                  <a:cubicBezTo>
                    <a:pt x="1" y="139"/>
                    <a:pt x="1" y="139"/>
                    <a:pt x="1" y="139"/>
                  </a:cubicBezTo>
                  <a:cubicBezTo>
                    <a:pt x="0" y="139"/>
                    <a:pt x="0" y="139"/>
                    <a:pt x="0" y="139"/>
                  </a:cubicBezTo>
                  <a:cubicBezTo>
                    <a:pt x="0" y="139"/>
                    <a:pt x="0" y="139"/>
                    <a:pt x="0" y="139"/>
                  </a:cubicBezTo>
                  <a:cubicBezTo>
                    <a:pt x="0" y="140"/>
                    <a:pt x="0" y="140"/>
                    <a:pt x="0" y="140"/>
                  </a:cubicBezTo>
                  <a:cubicBezTo>
                    <a:pt x="0" y="140"/>
                    <a:pt x="0" y="140"/>
                    <a:pt x="0" y="140"/>
                  </a:cubicBezTo>
                  <a:cubicBezTo>
                    <a:pt x="0" y="140"/>
                    <a:pt x="0" y="140"/>
                    <a:pt x="0" y="140"/>
                  </a:cubicBezTo>
                  <a:cubicBezTo>
                    <a:pt x="0" y="140"/>
                    <a:pt x="0" y="140"/>
                    <a:pt x="0" y="140"/>
                  </a:cubicBezTo>
                  <a:cubicBezTo>
                    <a:pt x="1" y="140"/>
                    <a:pt x="1" y="140"/>
                    <a:pt x="1" y="140"/>
                  </a:cubicBezTo>
                  <a:cubicBezTo>
                    <a:pt x="1" y="140"/>
                    <a:pt x="1" y="140"/>
                    <a:pt x="1" y="140"/>
                  </a:cubicBezTo>
                  <a:cubicBezTo>
                    <a:pt x="1" y="140"/>
                    <a:pt x="1" y="140"/>
                    <a:pt x="1" y="140"/>
                  </a:cubicBezTo>
                  <a:cubicBezTo>
                    <a:pt x="1" y="141"/>
                    <a:pt x="1" y="141"/>
                    <a:pt x="1" y="141"/>
                  </a:cubicBezTo>
                  <a:cubicBezTo>
                    <a:pt x="1" y="141"/>
                    <a:pt x="1" y="141"/>
                    <a:pt x="1" y="141"/>
                  </a:cubicBezTo>
                  <a:cubicBezTo>
                    <a:pt x="1" y="142"/>
                    <a:pt x="1" y="142"/>
                    <a:pt x="1" y="142"/>
                  </a:cubicBezTo>
                  <a:cubicBezTo>
                    <a:pt x="2" y="142"/>
                    <a:pt x="2" y="142"/>
                    <a:pt x="2" y="142"/>
                  </a:cubicBezTo>
                  <a:cubicBezTo>
                    <a:pt x="2" y="142"/>
                    <a:pt x="2" y="142"/>
                    <a:pt x="2" y="142"/>
                  </a:cubicBezTo>
                  <a:cubicBezTo>
                    <a:pt x="2" y="143"/>
                    <a:pt x="2" y="143"/>
                    <a:pt x="2" y="143"/>
                  </a:cubicBezTo>
                  <a:cubicBezTo>
                    <a:pt x="2" y="143"/>
                    <a:pt x="2" y="143"/>
                    <a:pt x="2" y="143"/>
                  </a:cubicBezTo>
                  <a:cubicBezTo>
                    <a:pt x="2" y="143"/>
                    <a:pt x="2" y="143"/>
                    <a:pt x="2" y="143"/>
                  </a:cubicBezTo>
                  <a:cubicBezTo>
                    <a:pt x="3" y="144"/>
                    <a:pt x="3" y="144"/>
                    <a:pt x="3" y="144"/>
                  </a:cubicBezTo>
                  <a:cubicBezTo>
                    <a:pt x="3" y="144"/>
                    <a:pt x="3" y="144"/>
                    <a:pt x="3" y="144"/>
                  </a:cubicBezTo>
                  <a:cubicBezTo>
                    <a:pt x="3" y="144"/>
                    <a:pt x="3" y="144"/>
                    <a:pt x="3" y="144"/>
                  </a:cubicBezTo>
                  <a:cubicBezTo>
                    <a:pt x="3" y="144"/>
                    <a:pt x="3" y="144"/>
                    <a:pt x="3" y="144"/>
                  </a:cubicBezTo>
                  <a:cubicBezTo>
                    <a:pt x="3" y="144"/>
                    <a:pt x="3" y="144"/>
                    <a:pt x="3" y="144"/>
                  </a:cubicBezTo>
                  <a:cubicBezTo>
                    <a:pt x="3" y="143"/>
                    <a:pt x="3" y="143"/>
                    <a:pt x="3" y="143"/>
                  </a:cubicBezTo>
                  <a:cubicBezTo>
                    <a:pt x="4" y="144"/>
                    <a:pt x="4" y="144"/>
                    <a:pt x="4" y="144"/>
                  </a:cubicBezTo>
                  <a:cubicBezTo>
                    <a:pt x="4" y="144"/>
                    <a:pt x="4" y="144"/>
                    <a:pt x="4" y="144"/>
                  </a:cubicBezTo>
                  <a:cubicBezTo>
                    <a:pt x="4" y="144"/>
                    <a:pt x="4" y="144"/>
                    <a:pt x="4" y="144"/>
                  </a:cubicBezTo>
                  <a:cubicBezTo>
                    <a:pt x="4" y="144"/>
                    <a:pt x="4" y="144"/>
                    <a:pt x="4" y="144"/>
                  </a:cubicBezTo>
                  <a:cubicBezTo>
                    <a:pt x="4" y="144"/>
                    <a:pt x="4" y="144"/>
                    <a:pt x="4" y="144"/>
                  </a:cubicBezTo>
                  <a:cubicBezTo>
                    <a:pt x="5" y="144"/>
                    <a:pt x="5" y="144"/>
                    <a:pt x="5" y="144"/>
                  </a:cubicBezTo>
                  <a:cubicBezTo>
                    <a:pt x="5" y="144"/>
                    <a:pt x="5" y="144"/>
                    <a:pt x="5" y="144"/>
                  </a:cubicBezTo>
                  <a:cubicBezTo>
                    <a:pt x="5" y="144"/>
                    <a:pt x="5" y="144"/>
                    <a:pt x="5" y="144"/>
                  </a:cubicBezTo>
                  <a:cubicBezTo>
                    <a:pt x="5" y="144"/>
                    <a:pt x="5" y="144"/>
                    <a:pt x="5" y="144"/>
                  </a:cubicBezTo>
                  <a:cubicBezTo>
                    <a:pt x="6" y="144"/>
                    <a:pt x="6" y="144"/>
                    <a:pt x="6" y="144"/>
                  </a:cubicBezTo>
                  <a:cubicBezTo>
                    <a:pt x="6" y="144"/>
                    <a:pt x="6" y="144"/>
                    <a:pt x="6" y="144"/>
                  </a:cubicBezTo>
                  <a:cubicBezTo>
                    <a:pt x="6" y="144"/>
                    <a:pt x="6" y="144"/>
                    <a:pt x="6" y="144"/>
                  </a:cubicBezTo>
                  <a:cubicBezTo>
                    <a:pt x="6" y="144"/>
                    <a:pt x="6" y="144"/>
                    <a:pt x="6" y="144"/>
                  </a:cubicBezTo>
                  <a:cubicBezTo>
                    <a:pt x="6" y="145"/>
                    <a:pt x="6" y="145"/>
                    <a:pt x="6" y="145"/>
                  </a:cubicBezTo>
                  <a:cubicBezTo>
                    <a:pt x="6" y="145"/>
                    <a:pt x="6" y="145"/>
                    <a:pt x="6" y="145"/>
                  </a:cubicBezTo>
                  <a:cubicBezTo>
                    <a:pt x="6" y="145"/>
                    <a:pt x="6" y="145"/>
                    <a:pt x="6" y="145"/>
                  </a:cubicBezTo>
                  <a:cubicBezTo>
                    <a:pt x="6" y="145"/>
                    <a:pt x="6" y="145"/>
                    <a:pt x="6" y="145"/>
                  </a:cubicBezTo>
                  <a:cubicBezTo>
                    <a:pt x="6" y="146"/>
                    <a:pt x="6" y="146"/>
                    <a:pt x="6" y="146"/>
                  </a:cubicBezTo>
                  <a:cubicBezTo>
                    <a:pt x="6" y="146"/>
                    <a:pt x="6" y="146"/>
                    <a:pt x="6" y="146"/>
                  </a:cubicBezTo>
                  <a:cubicBezTo>
                    <a:pt x="6" y="146"/>
                    <a:pt x="6" y="146"/>
                    <a:pt x="6" y="146"/>
                  </a:cubicBezTo>
                  <a:cubicBezTo>
                    <a:pt x="6" y="146"/>
                    <a:pt x="6" y="147"/>
                    <a:pt x="6" y="147"/>
                  </a:cubicBezTo>
                  <a:cubicBezTo>
                    <a:pt x="7" y="147"/>
                    <a:pt x="7" y="147"/>
                    <a:pt x="7" y="147"/>
                  </a:cubicBezTo>
                  <a:cubicBezTo>
                    <a:pt x="7" y="148"/>
                    <a:pt x="7" y="148"/>
                    <a:pt x="7" y="148"/>
                  </a:cubicBezTo>
                  <a:cubicBezTo>
                    <a:pt x="7" y="148"/>
                    <a:pt x="7" y="148"/>
                    <a:pt x="7" y="148"/>
                  </a:cubicBezTo>
                  <a:cubicBezTo>
                    <a:pt x="7" y="148"/>
                    <a:pt x="7" y="148"/>
                    <a:pt x="7" y="148"/>
                  </a:cubicBezTo>
                  <a:cubicBezTo>
                    <a:pt x="7" y="148"/>
                    <a:pt x="7" y="148"/>
                    <a:pt x="7" y="148"/>
                  </a:cubicBezTo>
                  <a:cubicBezTo>
                    <a:pt x="7" y="148"/>
                    <a:pt x="7" y="148"/>
                    <a:pt x="7" y="148"/>
                  </a:cubicBezTo>
                  <a:cubicBezTo>
                    <a:pt x="8" y="148"/>
                    <a:pt x="8" y="148"/>
                    <a:pt x="8" y="148"/>
                  </a:cubicBezTo>
                  <a:cubicBezTo>
                    <a:pt x="8" y="148"/>
                    <a:pt x="8" y="148"/>
                    <a:pt x="8" y="148"/>
                  </a:cubicBezTo>
                  <a:cubicBezTo>
                    <a:pt x="8" y="148"/>
                    <a:pt x="8" y="148"/>
                    <a:pt x="8" y="148"/>
                  </a:cubicBezTo>
                  <a:cubicBezTo>
                    <a:pt x="8" y="149"/>
                    <a:pt x="8" y="149"/>
                    <a:pt x="8" y="149"/>
                  </a:cubicBezTo>
                  <a:cubicBezTo>
                    <a:pt x="8" y="149"/>
                    <a:pt x="8" y="149"/>
                    <a:pt x="8" y="149"/>
                  </a:cubicBezTo>
                  <a:cubicBezTo>
                    <a:pt x="8" y="149"/>
                    <a:pt x="8" y="149"/>
                    <a:pt x="8" y="149"/>
                  </a:cubicBezTo>
                  <a:cubicBezTo>
                    <a:pt x="8" y="149"/>
                    <a:pt x="8" y="149"/>
                    <a:pt x="8" y="149"/>
                  </a:cubicBezTo>
                  <a:cubicBezTo>
                    <a:pt x="9" y="149"/>
                    <a:pt x="9" y="149"/>
                    <a:pt x="9" y="149"/>
                  </a:cubicBezTo>
                  <a:cubicBezTo>
                    <a:pt x="9" y="149"/>
                    <a:pt x="9" y="149"/>
                    <a:pt x="9" y="149"/>
                  </a:cubicBezTo>
                  <a:cubicBezTo>
                    <a:pt x="9" y="149"/>
                    <a:pt x="9" y="149"/>
                    <a:pt x="9" y="149"/>
                  </a:cubicBezTo>
                  <a:cubicBezTo>
                    <a:pt x="9" y="149"/>
                    <a:pt x="9" y="149"/>
                    <a:pt x="9" y="149"/>
                  </a:cubicBezTo>
                  <a:cubicBezTo>
                    <a:pt x="9" y="149"/>
                    <a:pt x="9" y="149"/>
                    <a:pt x="9" y="149"/>
                  </a:cubicBezTo>
                  <a:cubicBezTo>
                    <a:pt x="9" y="149"/>
                    <a:pt x="9" y="150"/>
                    <a:pt x="9" y="150"/>
                  </a:cubicBezTo>
                  <a:cubicBezTo>
                    <a:pt x="10" y="150"/>
                    <a:pt x="10" y="150"/>
                    <a:pt x="10" y="150"/>
                  </a:cubicBezTo>
                  <a:cubicBezTo>
                    <a:pt x="10" y="150"/>
                    <a:pt x="10" y="150"/>
                    <a:pt x="10" y="150"/>
                  </a:cubicBezTo>
                  <a:cubicBezTo>
                    <a:pt x="10" y="150"/>
                    <a:pt x="10" y="150"/>
                    <a:pt x="10" y="150"/>
                  </a:cubicBezTo>
                  <a:cubicBezTo>
                    <a:pt x="10" y="149"/>
                    <a:pt x="10" y="149"/>
                    <a:pt x="10" y="149"/>
                  </a:cubicBezTo>
                  <a:cubicBezTo>
                    <a:pt x="10" y="149"/>
                    <a:pt x="10" y="149"/>
                    <a:pt x="10" y="149"/>
                  </a:cubicBezTo>
                  <a:cubicBezTo>
                    <a:pt x="10" y="149"/>
                    <a:pt x="10" y="149"/>
                    <a:pt x="10" y="149"/>
                  </a:cubicBezTo>
                  <a:cubicBezTo>
                    <a:pt x="10" y="149"/>
                    <a:pt x="10" y="149"/>
                    <a:pt x="10" y="149"/>
                  </a:cubicBezTo>
                  <a:cubicBezTo>
                    <a:pt x="10" y="149"/>
                    <a:pt x="10" y="149"/>
                    <a:pt x="10" y="149"/>
                  </a:cubicBezTo>
                  <a:cubicBezTo>
                    <a:pt x="10" y="149"/>
                    <a:pt x="10" y="149"/>
                    <a:pt x="10" y="149"/>
                  </a:cubicBezTo>
                  <a:cubicBezTo>
                    <a:pt x="10" y="148"/>
                    <a:pt x="10" y="148"/>
                    <a:pt x="10" y="148"/>
                  </a:cubicBezTo>
                  <a:cubicBezTo>
                    <a:pt x="10" y="148"/>
                    <a:pt x="10" y="148"/>
                    <a:pt x="10" y="148"/>
                  </a:cubicBezTo>
                  <a:cubicBezTo>
                    <a:pt x="10" y="148"/>
                    <a:pt x="10" y="148"/>
                    <a:pt x="10" y="148"/>
                  </a:cubicBezTo>
                  <a:cubicBezTo>
                    <a:pt x="10" y="148"/>
                    <a:pt x="10" y="148"/>
                    <a:pt x="10" y="148"/>
                  </a:cubicBezTo>
                  <a:cubicBezTo>
                    <a:pt x="10" y="148"/>
                    <a:pt x="10" y="148"/>
                    <a:pt x="10" y="148"/>
                  </a:cubicBezTo>
                  <a:cubicBezTo>
                    <a:pt x="11" y="148"/>
                    <a:pt x="11" y="148"/>
                    <a:pt x="11" y="148"/>
                  </a:cubicBezTo>
                  <a:cubicBezTo>
                    <a:pt x="11" y="148"/>
                    <a:pt x="11" y="148"/>
                    <a:pt x="11" y="148"/>
                  </a:cubicBezTo>
                  <a:cubicBezTo>
                    <a:pt x="11" y="148"/>
                    <a:pt x="11" y="148"/>
                    <a:pt x="11" y="148"/>
                  </a:cubicBezTo>
                  <a:cubicBezTo>
                    <a:pt x="11" y="148"/>
                    <a:pt x="11" y="148"/>
                    <a:pt x="11" y="148"/>
                  </a:cubicBezTo>
                  <a:cubicBezTo>
                    <a:pt x="11" y="149"/>
                    <a:pt x="11" y="149"/>
                    <a:pt x="11" y="149"/>
                  </a:cubicBezTo>
                  <a:cubicBezTo>
                    <a:pt x="11" y="149"/>
                    <a:pt x="11" y="149"/>
                    <a:pt x="11" y="149"/>
                  </a:cubicBezTo>
                  <a:cubicBezTo>
                    <a:pt x="12" y="149"/>
                    <a:pt x="12" y="149"/>
                    <a:pt x="12" y="149"/>
                  </a:cubicBezTo>
                  <a:cubicBezTo>
                    <a:pt x="12" y="149"/>
                    <a:pt x="12" y="149"/>
                    <a:pt x="12" y="149"/>
                  </a:cubicBezTo>
                  <a:cubicBezTo>
                    <a:pt x="12" y="149"/>
                    <a:pt x="12" y="149"/>
                    <a:pt x="12" y="149"/>
                  </a:cubicBezTo>
                  <a:cubicBezTo>
                    <a:pt x="12" y="150"/>
                    <a:pt x="12" y="150"/>
                    <a:pt x="12" y="150"/>
                  </a:cubicBezTo>
                  <a:cubicBezTo>
                    <a:pt x="13" y="150"/>
                    <a:pt x="13" y="150"/>
                    <a:pt x="13" y="150"/>
                  </a:cubicBezTo>
                  <a:cubicBezTo>
                    <a:pt x="13" y="150"/>
                    <a:pt x="13" y="150"/>
                    <a:pt x="13" y="150"/>
                  </a:cubicBezTo>
                  <a:cubicBezTo>
                    <a:pt x="13" y="151"/>
                    <a:pt x="13" y="151"/>
                    <a:pt x="13" y="151"/>
                  </a:cubicBezTo>
                  <a:cubicBezTo>
                    <a:pt x="13" y="151"/>
                    <a:pt x="13" y="151"/>
                    <a:pt x="13" y="151"/>
                  </a:cubicBezTo>
                  <a:cubicBezTo>
                    <a:pt x="13" y="151"/>
                    <a:pt x="13" y="151"/>
                    <a:pt x="13" y="151"/>
                  </a:cubicBezTo>
                  <a:cubicBezTo>
                    <a:pt x="13" y="151"/>
                    <a:pt x="13" y="151"/>
                    <a:pt x="13" y="151"/>
                  </a:cubicBezTo>
                  <a:cubicBezTo>
                    <a:pt x="13" y="151"/>
                    <a:pt x="13" y="151"/>
                    <a:pt x="13" y="151"/>
                  </a:cubicBezTo>
                  <a:cubicBezTo>
                    <a:pt x="13" y="151"/>
                    <a:pt x="13" y="151"/>
                    <a:pt x="13" y="151"/>
                  </a:cubicBezTo>
                  <a:cubicBezTo>
                    <a:pt x="13" y="152"/>
                    <a:pt x="13" y="152"/>
                    <a:pt x="13" y="152"/>
                  </a:cubicBezTo>
                  <a:cubicBezTo>
                    <a:pt x="13" y="152"/>
                    <a:pt x="13" y="152"/>
                    <a:pt x="13" y="152"/>
                  </a:cubicBezTo>
                  <a:cubicBezTo>
                    <a:pt x="13" y="152"/>
                    <a:pt x="13" y="152"/>
                    <a:pt x="13" y="152"/>
                  </a:cubicBezTo>
                  <a:cubicBezTo>
                    <a:pt x="13" y="152"/>
                    <a:pt x="13" y="152"/>
                    <a:pt x="13" y="152"/>
                  </a:cubicBezTo>
                  <a:cubicBezTo>
                    <a:pt x="13" y="152"/>
                    <a:pt x="13" y="152"/>
                    <a:pt x="13" y="152"/>
                  </a:cubicBezTo>
                  <a:cubicBezTo>
                    <a:pt x="13" y="152"/>
                    <a:pt x="13" y="152"/>
                    <a:pt x="13" y="152"/>
                  </a:cubicBezTo>
                  <a:cubicBezTo>
                    <a:pt x="13" y="152"/>
                    <a:pt x="13" y="152"/>
                    <a:pt x="13" y="152"/>
                  </a:cubicBezTo>
                  <a:cubicBezTo>
                    <a:pt x="13" y="152"/>
                    <a:pt x="13" y="152"/>
                    <a:pt x="13" y="152"/>
                  </a:cubicBezTo>
                  <a:cubicBezTo>
                    <a:pt x="13" y="152"/>
                    <a:pt x="13" y="152"/>
                    <a:pt x="13" y="152"/>
                  </a:cubicBezTo>
                  <a:cubicBezTo>
                    <a:pt x="13" y="153"/>
                    <a:pt x="13" y="153"/>
                    <a:pt x="13" y="153"/>
                  </a:cubicBezTo>
                  <a:cubicBezTo>
                    <a:pt x="13" y="153"/>
                    <a:pt x="13" y="153"/>
                    <a:pt x="13" y="153"/>
                  </a:cubicBezTo>
                  <a:cubicBezTo>
                    <a:pt x="14" y="153"/>
                    <a:pt x="14" y="153"/>
                    <a:pt x="14" y="153"/>
                  </a:cubicBezTo>
                  <a:cubicBezTo>
                    <a:pt x="14" y="153"/>
                    <a:pt x="14" y="153"/>
                    <a:pt x="14" y="153"/>
                  </a:cubicBezTo>
                  <a:cubicBezTo>
                    <a:pt x="14" y="153"/>
                    <a:pt x="14" y="153"/>
                    <a:pt x="14" y="153"/>
                  </a:cubicBezTo>
                  <a:cubicBezTo>
                    <a:pt x="14" y="154"/>
                    <a:pt x="14" y="154"/>
                    <a:pt x="14" y="154"/>
                  </a:cubicBezTo>
                  <a:cubicBezTo>
                    <a:pt x="14" y="154"/>
                    <a:pt x="14" y="154"/>
                    <a:pt x="14" y="154"/>
                  </a:cubicBezTo>
                  <a:cubicBezTo>
                    <a:pt x="14" y="154"/>
                    <a:pt x="14" y="154"/>
                    <a:pt x="14" y="154"/>
                  </a:cubicBezTo>
                  <a:cubicBezTo>
                    <a:pt x="14" y="155"/>
                    <a:pt x="14" y="155"/>
                    <a:pt x="14" y="155"/>
                  </a:cubicBezTo>
                  <a:cubicBezTo>
                    <a:pt x="14" y="155"/>
                    <a:pt x="14" y="155"/>
                    <a:pt x="14" y="155"/>
                  </a:cubicBezTo>
                  <a:cubicBezTo>
                    <a:pt x="14" y="155"/>
                    <a:pt x="14" y="155"/>
                    <a:pt x="14" y="155"/>
                  </a:cubicBezTo>
                  <a:cubicBezTo>
                    <a:pt x="14" y="156"/>
                    <a:pt x="14" y="156"/>
                    <a:pt x="14" y="156"/>
                  </a:cubicBezTo>
                  <a:cubicBezTo>
                    <a:pt x="14" y="156"/>
                    <a:pt x="14" y="156"/>
                    <a:pt x="14" y="156"/>
                  </a:cubicBezTo>
                  <a:cubicBezTo>
                    <a:pt x="14" y="156"/>
                    <a:pt x="14" y="156"/>
                    <a:pt x="14" y="156"/>
                  </a:cubicBezTo>
                  <a:cubicBezTo>
                    <a:pt x="14" y="156"/>
                    <a:pt x="14" y="156"/>
                    <a:pt x="14" y="156"/>
                  </a:cubicBezTo>
                  <a:cubicBezTo>
                    <a:pt x="15" y="156"/>
                    <a:pt x="15" y="156"/>
                    <a:pt x="15" y="156"/>
                  </a:cubicBezTo>
                  <a:cubicBezTo>
                    <a:pt x="15" y="156"/>
                    <a:pt x="15" y="156"/>
                    <a:pt x="15" y="156"/>
                  </a:cubicBezTo>
                  <a:cubicBezTo>
                    <a:pt x="15" y="156"/>
                    <a:pt x="15" y="156"/>
                    <a:pt x="15" y="156"/>
                  </a:cubicBezTo>
                  <a:cubicBezTo>
                    <a:pt x="15" y="156"/>
                    <a:pt x="15" y="156"/>
                    <a:pt x="15" y="156"/>
                  </a:cubicBezTo>
                  <a:cubicBezTo>
                    <a:pt x="15" y="156"/>
                    <a:pt x="15" y="156"/>
                    <a:pt x="15" y="156"/>
                  </a:cubicBezTo>
                  <a:cubicBezTo>
                    <a:pt x="16" y="156"/>
                    <a:pt x="16" y="156"/>
                    <a:pt x="16" y="156"/>
                  </a:cubicBezTo>
                  <a:cubicBezTo>
                    <a:pt x="16" y="156"/>
                    <a:pt x="16" y="156"/>
                    <a:pt x="16" y="156"/>
                  </a:cubicBezTo>
                  <a:cubicBezTo>
                    <a:pt x="16" y="157"/>
                    <a:pt x="16" y="157"/>
                    <a:pt x="16" y="157"/>
                  </a:cubicBezTo>
                  <a:cubicBezTo>
                    <a:pt x="16" y="157"/>
                    <a:pt x="16" y="157"/>
                    <a:pt x="16" y="157"/>
                  </a:cubicBezTo>
                  <a:cubicBezTo>
                    <a:pt x="16" y="157"/>
                    <a:pt x="16" y="157"/>
                    <a:pt x="16" y="157"/>
                  </a:cubicBezTo>
                  <a:cubicBezTo>
                    <a:pt x="16" y="157"/>
                    <a:pt x="16" y="157"/>
                    <a:pt x="16" y="157"/>
                  </a:cubicBezTo>
                  <a:cubicBezTo>
                    <a:pt x="16" y="157"/>
                    <a:pt x="16" y="157"/>
                    <a:pt x="16" y="157"/>
                  </a:cubicBezTo>
                  <a:cubicBezTo>
                    <a:pt x="16" y="157"/>
                    <a:pt x="16" y="157"/>
                    <a:pt x="16" y="157"/>
                  </a:cubicBezTo>
                  <a:cubicBezTo>
                    <a:pt x="16" y="158"/>
                    <a:pt x="16" y="158"/>
                    <a:pt x="16" y="158"/>
                  </a:cubicBezTo>
                  <a:cubicBezTo>
                    <a:pt x="16" y="158"/>
                    <a:pt x="16" y="158"/>
                    <a:pt x="16" y="158"/>
                  </a:cubicBezTo>
                  <a:cubicBezTo>
                    <a:pt x="16" y="158"/>
                    <a:pt x="16" y="158"/>
                    <a:pt x="16" y="158"/>
                  </a:cubicBezTo>
                  <a:cubicBezTo>
                    <a:pt x="16" y="158"/>
                    <a:pt x="16" y="158"/>
                    <a:pt x="16" y="158"/>
                  </a:cubicBezTo>
                  <a:cubicBezTo>
                    <a:pt x="16" y="159"/>
                    <a:pt x="16" y="159"/>
                    <a:pt x="16" y="159"/>
                  </a:cubicBezTo>
                  <a:cubicBezTo>
                    <a:pt x="16" y="159"/>
                    <a:pt x="16" y="159"/>
                    <a:pt x="16" y="159"/>
                  </a:cubicBezTo>
                  <a:cubicBezTo>
                    <a:pt x="16" y="159"/>
                    <a:pt x="16" y="159"/>
                    <a:pt x="16" y="159"/>
                  </a:cubicBezTo>
                  <a:cubicBezTo>
                    <a:pt x="17" y="159"/>
                    <a:pt x="17" y="159"/>
                    <a:pt x="17" y="159"/>
                  </a:cubicBezTo>
                  <a:cubicBezTo>
                    <a:pt x="17" y="159"/>
                    <a:pt x="17" y="159"/>
                    <a:pt x="17" y="159"/>
                  </a:cubicBezTo>
                  <a:cubicBezTo>
                    <a:pt x="17" y="160"/>
                    <a:pt x="17" y="160"/>
                    <a:pt x="17" y="160"/>
                  </a:cubicBezTo>
                  <a:cubicBezTo>
                    <a:pt x="17" y="160"/>
                    <a:pt x="17" y="160"/>
                    <a:pt x="17" y="160"/>
                  </a:cubicBezTo>
                  <a:cubicBezTo>
                    <a:pt x="17" y="161"/>
                    <a:pt x="17" y="161"/>
                    <a:pt x="17" y="161"/>
                  </a:cubicBezTo>
                  <a:cubicBezTo>
                    <a:pt x="17" y="161"/>
                    <a:pt x="17" y="161"/>
                    <a:pt x="17" y="161"/>
                  </a:cubicBezTo>
                  <a:cubicBezTo>
                    <a:pt x="17" y="161"/>
                    <a:pt x="17" y="161"/>
                    <a:pt x="17" y="161"/>
                  </a:cubicBezTo>
                  <a:cubicBezTo>
                    <a:pt x="17" y="161"/>
                    <a:pt x="17" y="161"/>
                    <a:pt x="17" y="161"/>
                  </a:cubicBezTo>
                  <a:cubicBezTo>
                    <a:pt x="17" y="161"/>
                    <a:pt x="17" y="161"/>
                    <a:pt x="17" y="161"/>
                  </a:cubicBezTo>
                  <a:cubicBezTo>
                    <a:pt x="17" y="161"/>
                    <a:pt x="17" y="161"/>
                    <a:pt x="17" y="161"/>
                  </a:cubicBezTo>
                  <a:cubicBezTo>
                    <a:pt x="17" y="162"/>
                    <a:pt x="17" y="162"/>
                    <a:pt x="17" y="162"/>
                  </a:cubicBezTo>
                  <a:cubicBezTo>
                    <a:pt x="16" y="162"/>
                    <a:pt x="16" y="162"/>
                    <a:pt x="16" y="162"/>
                  </a:cubicBezTo>
                  <a:cubicBezTo>
                    <a:pt x="16" y="162"/>
                    <a:pt x="16" y="162"/>
                    <a:pt x="16" y="162"/>
                  </a:cubicBezTo>
                  <a:cubicBezTo>
                    <a:pt x="16" y="162"/>
                    <a:pt x="16" y="162"/>
                    <a:pt x="16" y="162"/>
                  </a:cubicBezTo>
                  <a:cubicBezTo>
                    <a:pt x="16" y="162"/>
                    <a:pt x="16" y="162"/>
                    <a:pt x="16" y="163"/>
                  </a:cubicBezTo>
                  <a:cubicBezTo>
                    <a:pt x="17" y="163"/>
                    <a:pt x="17" y="163"/>
                    <a:pt x="17" y="163"/>
                  </a:cubicBezTo>
                  <a:cubicBezTo>
                    <a:pt x="17" y="163"/>
                    <a:pt x="17" y="163"/>
                    <a:pt x="17" y="163"/>
                  </a:cubicBezTo>
                  <a:cubicBezTo>
                    <a:pt x="17" y="163"/>
                    <a:pt x="17" y="163"/>
                    <a:pt x="17" y="163"/>
                  </a:cubicBezTo>
                  <a:cubicBezTo>
                    <a:pt x="17" y="163"/>
                    <a:pt x="17" y="163"/>
                    <a:pt x="17" y="163"/>
                  </a:cubicBezTo>
                  <a:cubicBezTo>
                    <a:pt x="17" y="163"/>
                    <a:pt x="17" y="163"/>
                    <a:pt x="17" y="163"/>
                  </a:cubicBezTo>
                  <a:cubicBezTo>
                    <a:pt x="17" y="164"/>
                    <a:pt x="17" y="164"/>
                    <a:pt x="17" y="164"/>
                  </a:cubicBezTo>
                  <a:cubicBezTo>
                    <a:pt x="17" y="164"/>
                    <a:pt x="17" y="164"/>
                    <a:pt x="17" y="164"/>
                  </a:cubicBezTo>
                  <a:cubicBezTo>
                    <a:pt x="17" y="164"/>
                    <a:pt x="17" y="164"/>
                    <a:pt x="17" y="164"/>
                  </a:cubicBezTo>
                  <a:cubicBezTo>
                    <a:pt x="17" y="164"/>
                    <a:pt x="17" y="164"/>
                    <a:pt x="17" y="164"/>
                  </a:cubicBezTo>
                  <a:cubicBezTo>
                    <a:pt x="17" y="164"/>
                    <a:pt x="17" y="164"/>
                    <a:pt x="17" y="164"/>
                  </a:cubicBezTo>
                  <a:cubicBezTo>
                    <a:pt x="17" y="165"/>
                    <a:pt x="17" y="165"/>
                    <a:pt x="17" y="165"/>
                  </a:cubicBezTo>
                  <a:cubicBezTo>
                    <a:pt x="17" y="165"/>
                    <a:pt x="17" y="165"/>
                    <a:pt x="17" y="165"/>
                  </a:cubicBezTo>
                  <a:cubicBezTo>
                    <a:pt x="17" y="165"/>
                    <a:pt x="17" y="165"/>
                    <a:pt x="17" y="165"/>
                  </a:cubicBezTo>
                  <a:cubicBezTo>
                    <a:pt x="17" y="165"/>
                    <a:pt x="17" y="165"/>
                    <a:pt x="17" y="165"/>
                  </a:cubicBezTo>
                  <a:cubicBezTo>
                    <a:pt x="18" y="165"/>
                    <a:pt x="18" y="165"/>
                    <a:pt x="18" y="165"/>
                  </a:cubicBezTo>
                  <a:cubicBezTo>
                    <a:pt x="18" y="165"/>
                    <a:pt x="18" y="165"/>
                    <a:pt x="18" y="165"/>
                  </a:cubicBezTo>
                  <a:cubicBezTo>
                    <a:pt x="18" y="165"/>
                    <a:pt x="18" y="165"/>
                    <a:pt x="18" y="165"/>
                  </a:cubicBezTo>
                  <a:cubicBezTo>
                    <a:pt x="17" y="166"/>
                    <a:pt x="17" y="166"/>
                    <a:pt x="17" y="166"/>
                  </a:cubicBezTo>
                  <a:cubicBezTo>
                    <a:pt x="17" y="166"/>
                    <a:pt x="17" y="166"/>
                    <a:pt x="17" y="166"/>
                  </a:cubicBezTo>
                  <a:cubicBezTo>
                    <a:pt x="17" y="166"/>
                    <a:pt x="17" y="166"/>
                    <a:pt x="17" y="166"/>
                  </a:cubicBezTo>
                  <a:cubicBezTo>
                    <a:pt x="17" y="166"/>
                    <a:pt x="17" y="166"/>
                    <a:pt x="17" y="166"/>
                  </a:cubicBezTo>
                  <a:cubicBezTo>
                    <a:pt x="17" y="166"/>
                    <a:pt x="17" y="166"/>
                    <a:pt x="17" y="166"/>
                  </a:cubicBezTo>
                  <a:cubicBezTo>
                    <a:pt x="17" y="166"/>
                    <a:pt x="17" y="166"/>
                    <a:pt x="17" y="166"/>
                  </a:cubicBezTo>
                  <a:cubicBezTo>
                    <a:pt x="17" y="167"/>
                    <a:pt x="17" y="167"/>
                    <a:pt x="17" y="167"/>
                  </a:cubicBezTo>
                  <a:cubicBezTo>
                    <a:pt x="17" y="167"/>
                    <a:pt x="17" y="167"/>
                    <a:pt x="17" y="167"/>
                  </a:cubicBezTo>
                  <a:cubicBezTo>
                    <a:pt x="17" y="167"/>
                    <a:pt x="17" y="167"/>
                    <a:pt x="17" y="167"/>
                  </a:cubicBezTo>
                  <a:cubicBezTo>
                    <a:pt x="17" y="167"/>
                    <a:pt x="17" y="167"/>
                    <a:pt x="17" y="167"/>
                  </a:cubicBezTo>
                  <a:cubicBezTo>
                    <a:pt x="17" y="167"/>
                    <a:pt x="17" y="167"/>
                    <a:pt x="17" y="167"/>
                  </a:cubicBezTo>
                  <a:cubicBezTo>
                    <a:pt x="17" y="168"/>
                    <a:pt x="17" y="168"/>
                    <a:pt x="17" y="168"/>
                  </a:cubicBezTo>
                  <a:cubicBezTo>
                    <a:pt x="18" y="167"/>
                    <a:pt x="18" y="167"/>
                    <a:pt x="18" y="167"/>
                  </a:cubicBezTo>
                  <a:cubicBezTo>
                    <a:pt x="18" y="167"/>
                    <a:pt x="18" y="167"/>
                    <a:pt x="18" y="167"/>
                  </a:cubicBezTo>
                  <a:cubicBezTo>
                    <a:pt x="18" y="167"/>
                    <a:pt x="18" y="167"/>
                    <a:pt x="18" y="167"/>
                  </a:cubicBezTo>
                  <a:cubicBezTo>
                    <a:pt x="18" y="167"/>
                    <a:pt x="18" y="167"/>
                    <a:pt x="18" y="167"/>
                  </a:cubicBezTo>
                  <a:cubicBezTo>
                    <a:pt x="19" y="167"/>
                    <a:pt x="19" y="167"/>
                    <a:pt x="19" y="167"/>
                  </a:cubicBezTo>
                  <a:cubicBezTo>
                    <a:pt x="19" y="167"/>
                    <a:pt x="19" y="167"/>
                    <a:pt x="19" y="167"/>
                  </a:cubicBezTo>
                  <a:cubicBezTo>
                    <a:pt x="20" y="167"/>
                    <a:pt x="20" y="167"/>
                    <a:pt x="20" y="167"/>
                  </a:cubicBezTo>
                  <a:cubicBezTo>
                    <a:pt x="20" y="167"/>
                    <a:pt x="20" y="167"/>
                    <a:pt x="20" y="167"/>
                  </a:cubicBezTo>
                  <a:cubicBezTo>
                    <a:pt x="20" y="167"/>
                    <a:pt x="20" y="167"/>
                    <a:pt x="20" y="167"/>
                  </a:cubicBezTo>
                  <a:cubicBezTo>
                    <a:pt x="20" y="167"/>
                    <a:pt x="20" y="167"/>
                    <a:pt x="20" y="167"/>
                  </a:cubicBezTo>
                  <a:cubicBezTo>
                    <a:pt x="20" y="166"/>
                    <a:pt x="20" y="166"/>
                    <a:pt x="20" y="166"/>
                  </a:cubicBezTo>
                  <a:cubicBezTo>
                    <a:pt x="20" y="166"/>
                    <a:pt x="20" y="166"/>
                    <a:pt x="20" y="166"/>
                  </a:cubicBezTo>
                  <a:cubicBezTo>
                    <a:pt x="20" y="166"/>
                    <a:pt x="20" y="166"/>
                    <a:pt x="20" y="166"/>
                  </a:cubicBezTo>
                  <a:cubicBezTo>
                    <a:pt x="20" y="166"/>
                    <a:pt x="20" y="166"/>
                    <a:pt x="20" y="166"/>
                  </a:cubicBezTo>
                  <a:cubicBezTo>
                    <a:pt x="20" y="166"/>
                    <a:pt x="20" y="166"/>
                    <a:pt x="20" y="166"/>
                  </a:cubicBezTo>
                  <a:cubicBezTo>
                    <a:pt x="20" y="166"/>
                    <a:pt x="20" y="166"/>
                    <a:pt x="20" y="166"/>
                  </a:cubicBezTo>
                  <a:cubicBezTo>
                    <a:pt x="20" y="166"/>
                    <a:pt x="20" y="166"/>
                    <a:pt x="20" y="166"/>
                  </a:cubicBezTo>
                  <a:cubicBezTo>
                    <a:pt x="20" y="166"/>
                    <a:pt x="20" y="166"/>
                    <a:pt x="20" y="166"/>
                  </a:cubicBezTo>
                  <a:cubicBezTo>
                    <a:pt x="20" y="166"/>
                    <a:pt x="20" y="166"/>
                    <a:pt x="20" y="166"/>
                  </a:cubicBezTo>
                  <a:cubicBezTo>
                    <a:pt x="20" y="166"/>
                    <a:pt x="20" y="166"/>
                    <a:pt x="20" y="166"/>
                  </a:cubicBezTo>
                  <a:cubicBezTo>
                    <a:pt x="21" y="166"/>
                    <a:pt x="21" y="166"/>
                    <a:pt x="21" y="166"/>
                  </a:cubicBezTo>
                  <a:cubicBezTo>
                    <a:pt x="21" y="166"/>
                    <a:pt x="21" y="166"/>
                    <a:pt x="21" y="166"/>
                  </a:cubicBezTo>
                  <a:cubicBezTo>
                    <a:pt x="21" y="167"/>
                    <a:pt x="21" y="167"/>
                    <a:pt x="21" y="167"/>
                  </a:cubicBezTo>
                  <a:cubicBezTo>
                    <a:pt x="22" y="167"/>
                    <a:pt x="22" y="167"/>
                    <a:pt x="22" y="167"/>
                  </a:cubicBezTo>
                  <a:cubicBezTo>
                    <a:pt x="22" y="167"/>
                    <a:pt x="22" y="167"/>
                    <a:pt x="22" y="167"/>
                  </a:cubicBezTo>
                  <a:cubicBezTo>
                    <a:pt x="23" y="167"/>
                    <a:pt x="23" y="167"/>
                    <a:pt x="23" y="167"/>
                  </a:cubicBezTo>
                  <a:cubicBezTo>
                    <a:pt x="23" y="168"/>
                    <a:pt x="23" y="168"/>
                    <a:pt x="23" y="168"/>
                  </a:cubicBezTo>
                  <a:cubicBezTo>
                    <a:pt x="23" y="168"/>
                    <a:pt x="23" y="168"/>
                    <a:pt x="23" y="168"/>
                  </a:cubicBezTo>
                  <a:cubicBezTo>
                    <a:pt x="23" y="168"/>
                    <a:pt x="23" y="168"/>
                    <a:pt x="23" y="168"/>
                  </a:cubicBezTo>
                  <a:cubicBezTo>
                    <a:pt x="23" y="169"/>
                    <a:pt x="23" y="169"/>
                    <a:pt x="23" y="169"/>
                  </a:cubicBezTo>
                  <a:cubicBezTo>
                    <a:pt x="23" y="169"/>
                    <a:pt x="23" y="169"/>
                    <a:pt x="23" y="169"/>
                  </a:cubicBezTo>
                  <a:cubicBezTo>
                    <a:pt x="23" y="170"/>
                    <a:pt x="23" y="170"/>
                    <a:pt x="23" y="170"/>
                  </a:cubicBezTo>
                  <a:cubicBezTo>
                    <a:pt x="22" y="170"/>
                    <a:pt x="22" y="170"/>
                    <a:pt x="22" y="170"/>
                  </a:cubicBezTo>
                  <a:cubicBezTo>
                    <a:pt x="22" y="170"/>
                    <a:pt x="22" y="170"/>
                    <a:pt x="22" y="170"/>
                  </a:cubicBezTo>
                  <a:cubicBezTo>
                    <a:pt x="22" y="171"/>
                    <a:pt x="22" y="171"/>
                    <a:pt x="22" y="171"/>
                  </a:cubicBezTo>
                  <a:cubicBezTo>
                    <a:pt x="22" y="171"/>
                    <a:pt x="22" y="171"/>
                    <a:pt x="22" y="172"/>
                  </a:cubicBezTo>
                  <a:cubicBezTo>
                    <a:pt x="23" y="172"/>
                    <a:pt x="23" y="172"/>
                    <a:pt x="23" y="172"/>
                  </a:cubicBezTo>
                  <a:cubicBezTo>
                    <a:pt x="23" y="172"/>
                    <a:pt x="23" y="172"/>
                    <a:pt x="23" y="172"/>
                  </a:cubicBezTo>
                  <a:cubicBezTo>
                    <a:pt x="23" y="172"/>
                    <a:pt x="23" y="172"/>
                    <a:pt x="23" y="172"/>
                  </a:cubicBezTo>
                  <a:cubicBezTo>
                    <a:pt x="24" y="173"/>
                    <a:pt x="24" y="173"/>
                    <a:pt x="24" y="173"/>
                  </a:cubicBezTo>
                  <a:cubicBezTo>
                    <a:pt x="24" y="173"/>
                    <a:pt x="24" y="173"/>
                    <a:pt x="24" y="173"/>
                  </a:cubicBezTo>
                  <a:cubicBezTo>
                    <a:pt x="24" y="174"/>
                    <a:pt x="24" y="174"/>
                    <a:pt x="24" y="174"/>
                  </a:cubicBezTo>
                  <a:cubicBezTo>
                    <a:pt x="24" y="174"/>
                    <a:pt x="24" y="174"/>
                    <a:pt x="24" y="174"/>
                  </a:cubicBezTo>
                  <a:cubicBezTo>
                    <a:pt x="25" y="174"/>
                    <a:pt x="25" y="174"/>
                    <a:pt x="25" y="174"/>
                  </a:cubicBezTo>
                  <a:cubicBezTo>
                    <a:pt x="25" y="174"/>
                    <a:pt x="25" y="174"/>
                    <a:pt x="25" y="174"/>
                  </a:cubicBezTo>
                  <a:cubicBezTo>
                    <a:pt x="26" y="174"/>
                    <a:pt x="26" y="174"/>
                    <a:pt x="26" y="174"/>
                  </a:cubicBezTo>
                  <a:cubicBezTo>
                    <a:pt x="26" y="174"/>
                    <a:pt x="26" y="174"/>
                    <a:pt x="26" y="174"/>
                  </a:cubicBezTo>
                  <a:cubicBezTo>
                    <a:pt x="27" y="174"/>
                    <a:pt x="27" y="174"/>
                    <a:pt x="27" y="174"/>
                  </a:cubicBezTo>
                  <a:cubicBezTo>
                    <a:pt x="27" y="174"/>
                    <a:pt x="27" y="174"/>
                    <a:pt x="27" y="174"/>
                  </a:cubicBezTo>
                  <a:cubicBezTo>
                    <a:pt x="28" y="174"/>
                    <a:pt x="28" y="174"/>
                    <a:pt x="28" y="174"/>
                  </a:cubicBezTo>
                  <a:cubicBezTo>
                    <a:pt x="28" y="174"/>
                    <a:pt x="28" y="174"/>
                    <a:pt x="28" y="174"/>
                  </a:cubicBezTo>
                  <a:cubicBezTo>
                    <a:pt x="28" y="173"/>
                    <a:pt x="28" y="173"/>
                    <a:pt x="28" y="173"/>
                  </a:cubicBezTo>
                  <a:cubicBezTo>
                    <a:pt x="28" y="173"/>
                    <a:pt x="28" y="173"/>
                    <a:pt x="28" y="173"/>
                  </a:cubicBezTo>
                  <a:cubicBezTo>
                    <a:pt x="28" y="173"/>
                    <a:pt x="28" y="173"/>
                    <a:pt x="28" y="173"/>
                  </a:cubicBezTo>
                  <a:cubicBezTo>
                    <a:pt x="28" y="173"/>
                    <a:pt x="28" y="173"/>
                    <a:pt x="28" y="173"/>
                  </a:cubicBezTo>
                  <a:cubicBezTo>
                    <a:pt x="28" y="174"/>
                    <a:pt x="28" y="174"/>
                    <a:pt x="28" y="174"/>
                  </a:cubicBezTo>
                  <a:cubicBezTo>
                    <a:pt x="28" y="174"/>
                    <a:pt x="28" y="174"/>
                    <a:pt x="28" y="174"/>
                  </a:cubicBezTo>
                  <a:cubicBezTo>
                    <a:pt x="28" y="174"/>
                    <a:pt x="28" y="174"/>
                    <a:pt x="28" y="174"/>
                  </a:cubicBezTo>
                  <a:cubicBezTo>
                    <a:pt x="28" y="174"/>
                    <a:pt x="28" y="174"/>
                    <a:pt x="28" y="174"/>
                  </a:cubicBezTo>
                  <a:cubicBezTo>
                    <a:pt x="28" y="174"/>
                    <a:pt x="28" y="174"/>
                    <a:pt x="28" y="174"/>
                  </a:cubicBezTo>
                  <a:cubicBezTo>
                    <a:pt x="28" y="175"/>
                    <a:pt x="28" y="175"/>
                    <a:pt x="28" y="175"/>
                  </a:cubicBezTo>
                  <a:cubicBezTo>
                    <a:pt x="28" y="175"/>
                    <a:pt x="28" y="175"/>
                    <a:pt x="28" y="175"/>
                  </a:cubicBezTo>
                  <a:cubicBezTo>
                    <a:pt x="28" y="175"/>
                    <a:pt x="28" y="175"/>
                    <a:pt x="28" y="175"/>
                  </a:cubicBezTo>
                  <a:cubicBezTo>
                    <a:pt x="28" y="175"/>
                    <a:pt x="28" y="175"/>
                    <a:pt x="28" y="175"/>
                  </a:cubicBezTo>
                  <a:cubicBezTo>
                    <a:pt x="28" y="176"/>
                    <a:pt x="28" y="176"/>
                    <a:pt x="28" y="176"/>
                  </a:cubicBezTo>
                  <a:cubicBezTo>
                    <a:pt x="28" y="176"/>
                    <a:pt x="28" y="176"/>
                    <a:pt x="28" y="176"/>
                  </a:cubicBezTo>
                  <a:cubicBezTo>
                    <a:pt x="28" y="176"/>
                    <a:pt x="28" y="176"/>
                    <a:pt x="28" y="176"/>
                  </a:cubicBezTo>
                  <a:cubicBezTo>
                    <a:pt x="28" y="176"/>
                    <a:pt x="28" y="176"/>
                    <a:pt x="28" y="176"/>
                  </a:cubicBezTo>
                  <a:cubicBezTo>
                    <a:pt x="28" y="176"/>
                    <a:pt x="28" y="176"/>
                    <a:pt x="28" y="176"/>
                  </a:cubicBezTo>
                  <a:cubicBezTo>
                    <a:pt x="28" y="176"/>
                    <a:pt x="28" y="176"/>
                    <a:pt x="28" y="176"/>
                  </a:cubicBezTo>
                  <a:cubicBezTo>
                    <a:pt x="28" y="176"/>
                    <a:pt x="28" y="176"/>
                    <a:pt x="28" y="176"/>
                  </a:cubicBezTo>
                  <a:cubicBezTo>
                    <a:pt x="28" y="176"/>
                    <a:pt x="28" y="176"/>
                    <a:pt x="28" y="176"/>
                  </a:cubicBezTo>
                  <a:cubicBezTo>
                    <a:pt x="28" y="176"/>
                    <a:pt x="28" y="176"/>
                    <a:pt x="28" y="176"/>
                  </a:cubicBezTo>
                  <a:cubicBezTo>
                    <a:pt x="28" y="176"/>
                    <a:pt x="28" y="176"/>
                    <a:pt x="28" y="176"/>
                  </a:cubicBezTo>
                  <a:cubicBezTo>
                    <a:pt x="28" y="176"/>
                    <a:pt x="28" y="176"/>
                    <a:pt x="28" y="176"/>
                  </a:cubicBezTo>
                  <a:cubicBezTo>
                    <a:pt x="28" y="176"/>
                    <a:pt x="28" y="176"/>
                    <a:pt x="28" y="176"/>
                  </a:cubicBezTo>
                  <a:cubicBezTo>
                    <a:pt x="28" y="177"/>
                    <a:pt x="29" y="177"/>
                    <a:pt x="29" y="177"/>
                  </a:cubicBezTo>
                  <a:cubicBezTo>
                    <a:pt x="29" y="177"/>
                    <a:pt x="29" y="177"/>
                    <a:pt x="29" y="177"/>
                  </a:cubicBezTo>
                  <a:cubicBezTo>
                    <a:pt x="29" y="177"/>
                    <a:pt x="29" y="177"/>
                    <a:pt x="29" y="177"/>
                  </a:cubicBezTo>
                  <a:cubicBezTo>
                    <a:pt x="29" y="177"/>
                    <a:pt x="29" y="177"/>
                    <a:pt x="29" y="177"/>
                  </a:cubicBezTo>
                  <a:cubicBezTo>
                    <a:pt x="29" y="178"/>
                    <a:pt x="29" y="178"/>
                    <a:pt x="29" y="178"/>
                  </a:cubicBezTo>
                  <a:cubicBezTo>
                    <a:pt x="29" y="178"/>
                    <a:pt x="29" y="178"/>
                    <a:pt x="29" y="178"/>
                  </a:cubicBezTo>
                  <a:cubicBezTo>
                    <a:pt x="30" y="178"/>
                    <a:pt x="30" y="178"/>
                    <a:pt x="30" y="178"/>
                  </a:cubicBezTo>
                  <a:cubicBezTo>
                    <a:pt x="30" y="178"/>
                    <a:pt x="30" y="178"/>
                    <a:pt x="30" y="178"/>
                  </a:cubicBezTo>
                  <a:cubicBezTo>
                    <a:pt x="30" y="178"/>
                    <a:pt x="30" y="178"/>
                    <a:pt x="30" y="178"/>
                  </a:cubicBezTo>
                  <a:cubicBezTo>
                    <a:pt x="30" y="178"/>
                    <a:pt x="30" y="178"/>
                    <a:pt x="30" y="178"/>
                  </a:cubicBezTo>
                  <a:cubicBezTo>
                    <a:pt x="30" y="178"/>
                    <a:pt x="30" y="179"/>
                    <a:pt x="30" y="179"/>
                  </a:cubicBezTo>
                  <a:cubicBezTo>
                    <a:pt x="30" y="179"/>
                    <a:pt x="30" y="179"/>
                    <a:pt x="30" y="179"/>
                  </a:cubicBezTo>
                  <a:cubicBezTo>
                    <a:pt x="30" y="179"/>
                    <a:pt x="30" y="179"/>
                    <a:pt x="30" y="179"/>
                  </a:cubicBezTo>
                  <a:cubicBezTo>
                    <a:pt x="31" y="179"/>
                    <a:pt x="31" y="179"/>
                    <a:pt x="31" y="179"/>
                  </a:cubicBezTo>
                  <a:cubicBezTo>
                    <a:pt x="31" y="180"/>
                    <a:pt x="31" y="180"/>
                    <a:pt x="31" y="180"/>
                  </a:cubicBezTo>
                  <a:cubicBezTo>
                    <a:pt x="31" y="180"/>
                    <a:pt x="31" y="180"/>
                    <a:pt x="31" y="180"/>
                  </a:cubicBezTo>
                  <a:cubicBezTo>
                    <a:pt x="31" y="180"/>
                    <a:pt x="31" y="180"/>
                    <a:pt x="31" y="180"/>
                  </a:cubicBezTo>
                  <a:cubicBezTo>
                    <a:pt x="31" y="180"/>
                    <a:pt x="31" y="180"/>
                    <a:pt x="31" y="180"/>
                  </a:cubicBezTo>
                  <a:cubicBezTo>
                    <a:pt x="31" y="181"/>
                    <a:pt x="31" y="181"/>
                    <a:pt x="31" y="181"/>
                  </a:cubicBezTo>
                  <a:cubicBezTo>
                    <a:pt x="31" y="181"/>
                    <a:pt x="31" y="181"/>
                    <a:pt x="31" y="181"/>
                  </a:cubicBezTo>
                  <a:cubicBezTo>
                    <a:pt x="31" y="181"/>
                    <a:pt x="31" y="181"/>
                    <a:pt x="31" y="181"/>
                  </a:cubicBezTo>
                  <a:cubicBezTo>
                    <a:pt x="31" y="181"/>
                    <a:pt x="31" y="181"/>
                    <a:pt x="31" y="181"/>
                  </a:cubicBezTo>
                  <a:cubicBezTo>
                    <a:pt x="31" y="181"/>
                    <a:pt x="31" y="181"/>
                    <a:pt x="31" y="181"/>
                  </a:cubicBezTo>
                  <a:cubicBezTo>
                    <a:pt x="31" y="182"/>
                    <a:pt x="31" y="182"/>
                    <a:pt x="31" y="182"/>
                  </a:cubicBezTo>
                  <a:cubicBezTo>
                    <a:pt x="31" y="182"/>
                    <a:pt x="31" y="182"/>
                    <a:pt x="31" y="182"/>
                  </a:cubicBezTo>
                  <a:cubicBezTo>
                    <a:pt x="31" y="182"/>
                    <a:pt x="31" y="182"/>
                    <a:pt x="31" y="182"/>
                  </a:cubicBezTo>
                  <a:cubicBezTo>
                    <a:pt x="31" y="182"/>
                    <a:pt x="31" y="182"/>
                    <a:pt x="31" y="182"/>
                  </a:cubicBezTo>
                  <a:cubicBezTo>
                    <a:pt x="31" y="183"/>
                    <a:pt x="31" y="183"/>
                    <a:pt x="31" y="183"/>
                  </a:cubicBezTo>
                  <a:cubicBezTo>
                    <a:pt x="31" y="183"/>
                    <a:pt x="31" y="183"/>
                    <a:pt x="31" y="183"/>
                  </a:cubicBezTo>
                  <a:cubicBezTo>
                    <a:pt x="31" y="184"/>
                    <a:pt x="31" y="184"/>
                    <a:pt x="31" y="184"/>
                  </a:cubicBezTo>
                  <a:cubicBezTo>
                    <a:pt x="32" y="184"/>
                    <a:pt x="32" y="184"/>
                    <a:pt x="32" y="184"/>
                  </a:cubicBezTo>
                  <a:cubicBezTo>
                    <a:pt x="32" y="184"/>
                    <a:pt x="32" y="184"/>
                    <a:pt x="32" y="184"/>
                  </a:cubicBezTo>
                  <a:cubicBezTo>
                    <a:pt x="32" y="184"/>
                    <a:pt x="32" y="184"/>
                    <a:pt x="32" y="184"/>
                  </a:cubicBezTo>
                  <a:cubicBezTo>
                    <a:pt x="33" y="184"/>
                    <a:pt x="33" y="184"/>
                    <a:pt x="33" y="184"/>
                  </a:cubicBezTo>
                  <a:cubicBezTo>
                    <a:pt x="33" y="184"/>
                    <a:pt x="33" y="184"/>
                    <a:pt x="33" y="184"/>
                  </a:cubicBezTo>
                  <a:cubicBezTo>
                    <a:pt x="33" y="184"/>
                    <a:pt x="33" y="184"/>
                    <a:pt x="33" y="184"/>
                  </a:cubicBezTo>
                  <a:cubicBezTo>
                    <a:pt x="33" y="184"/>
                    <a:pt x="33" y="184"/>
                    <a:pt x="33" y="184"/>
                  </a:cubicBezTo>
                  <a:cubicBezTo>
                    <a:pt x="33" y="183"/>
                    <a:pt x="33" y="183"/>
                    <a:pt x="33" y="183"/>
                  </a:cubicBezTo>
                  <a:cubicBezTo>
                    <a:pt x="33" y="183"/>
                    <a:pt x="33" y="183"/>
                    <a:pt x="33" y="183"/>
                  </a:cubicBezTo>
                  <a:cubicBezTo>
                    <a:pt x="33" y="183"/>
                    <a:pt x="33" y="183"/>
                    <a:pt x="33" y="183"/>
                  </a:cubicBezTo>
                  <a:cubicBezTo>
                    <a:pt x="33" y="183"/>
                    <a:pt x="33" y="183"/>
                    <a:pt x="33" y="183"/>
                  </a:cubicBezTo>
                  <a:cubicBezTo>
                    <a:pt x="33" y="183"/>
                    <a:pt x="33" y="183"/>
                    <a:pt x="33" y="183"/>
                  </a:cubicBezTo>
                  <a:cubicBezTo>
                    <a:pt x="33" y="183"/>
                    <a:pt x="33" y="183"/>
                    <a:pt x="33" y="183"/>
                  </a:cubicBezTo>
                  <a:cubicBezTo>
                    <a:pt x="33" y="183"/>
                    <a:pt x="34" y="183"/>
                    <a:pt x="34" y="183"/>
                  </a:cubicBezTo>
                  <a:cubicBezTo>
                    <a:pt x="34" y="182"/>
                    <a:pt x="34" y="182"/>
                    <a:pt x="34" y="182"/>
                  </a:cubicBezTo>
                  <a:cubicBezTo>
                    <a:pt x="34" y="182"/>
                    <a:pt x="34" y="182"/>
                    <a:pt x="34" y="182"/>
                  </a:cubicBezTo>
                  <a:cubicBezTo>
                    <a:pt x="34" y="182"/>
                    <a:pt x="34" y="182"/>
                    <a:pt x="34" y="182"/>
                  </a:cubicBezTo>
                  <a:cubicBezTo>
                    <a:pt x="34" y="182"/>
                    <a:pt x="34" y="182"/>
                    <a:pt x="34" y="182"/>
                  </a:cubicBezTo>
                  <a:cubicBezTo>
                    <a:pt x="35" y="182"/>
                    <a:pt x="35" y="182"/>
                    <a:pt x="35" y="182"/>
                  </a:cubicBezTo>
                  <a:cubicBezTo>
                    <a:pt x="35" y="182"/>
                    <a:pt x="35" y="182"/>
                    <a:pt x="35" y="182"/>
                  </a:cubicBezTo>
                  <a:cubicBezTo>
                    <a:pt x="35" y="182"/>
                    <a:pt x="35" y="182"/>
                    <a:pt x="35" y="182"/>
                  </a:cubicBezTo>
                  <a:cubicBezTo>
                    <a:pt x="35" y="182"/>
                    <a:pt x="35" y="182"/>
                    <a:pt x="35" y="182"/>
                  </a:cubicBezTo>
                  <a:cubicBezTo>
                    <a:pt x="35" y="183"/>
                    <a:pt x="35" y="183"/>
                    <a:pt x="35" y="183"/>
                  </a:cubicBezTo>
                  <a:cubicBezTo>
                    <a:pt x="35" y="183"/>
                    <a:pt x="35" y="183"/>
                    <a:pt x="35" y="183"/>
                  </a:cubicBezTo>
                  <a:cubicBezTo>
                    <a:pt x="35" y="183"/>
                    <a:pt x="35" y="183"/>
                    <a:pt x="35" y="183"/>
                  </a:cubicBezTo>
                  <a:cubicBezTo>
                    <a:pt x="35" y="183"/>
                    <a:pt x="35" y="183"/>
                    <a:pt x="35" y="183"/>
                  </a:cubicBezTo>
                  <a:cubicBezTo>
                    <a:pt x="35" y="183"/>
                    <a:pt x="35" y="183"/>
                    <a:pt x="35" y="183"/>
                  </a:cubicBezTo>
                  <a:cubicBezTo>
                    <a:pt x="35" y="184"/>
                    <a:pt x="35" y="184"/>
                    <a:pt x="35" y="184"/>
                  </a:cubicBezTo>
                  <a:cubicBezTo>
                    <a:pt x="35" y="184"/>
                    <a:pt x="35" y="184"/>
                    <a:pt x="35" y="184"/>
                  </a:cubicBezTo>
                  <a:cubicBezTo>
                    <a:pt x="35" y="184"/>
                    <a:pt x="36" y="184"/>
                    <a:pt x="36" y="184"/>
                  </a:cubicBezTo>
                  <a:cubicBezTo>
                    <a:pt x="36" y="184"/>
                    <a:pt x="36" y="184"/>
                    <a:pt x="36" y="184"/>
                  </a:cubicBezTo>
                  <a:cubicBezTo>
                    <a:pt x="36" y="185"/>
                    <a:pt x="36" y="185"/>
                    <a:pt x="36" y="185"/>
                  </a:cubicBezTo>
                  <a:cubicBezTo>
                    <a:pt x="36" y="185"/>
                    <a:pt x="36" y="185"/>
                    <a:pt x="36" y="185"/>
                  </a:cubicBezTo>
                  <a:cubicBezTo>
                    <a:pt x="36" y="185"/>
                    <a:pt x="36" y="185"/>
                    <a:pt x="36" y="185"/>
                  </a:cubicBezTo>
                  <a:cubicBezTo>
                    <a:pt x="36" y="186"/>
                    <a:pt x="36" y="186"/>
                    <a:pt x="36" y="186"/>
                  </a:cubicBezTo>
                  <a:cubicBezTo>
                    <a:pt x="36" y="186"/>
                    <a:pt x="36" y="186"/>
                    <a:pt x="36" y="186"/>
                  </a:cubicBezTo>
                  <a:cubicBezTo>
                    <a:pt x="36" y="186"/>
                    <a:pt x="36" y="186"/>
                    <a:pt x="37" y="186"/>
                  </a:cubicBezTo>
                  <a:cubicBezTo>
                    <a:pt x="37" y="187"/>
                    <a:pt x="37" y="187"/>
                    <a:pt x="37" y="187"/>
                  </a:cubicBezTo>
                  <a:cubicBezTo>
                    <a:pt x="37" y="187"/>
                    <a:pt x="37" y="187"/>
                    <a:pt x="37" y="187"/>
                  </a:cubicBezTo>
                  <a:cubicBezTo>
                    <a:pt x="37" y="187"/>
                    <a:pt x="37" y="187"/>
                    <a:pt x="37" y="187"/>
                  </a:cubicBezTo>
                  <a:cubicBezTo>
                    <a:pt x="37" y="187"/>
                    <a:pt x="37" y="187"/>
                    <a:pt x="37" y="187"/>
                  </a:cubicBezTo>
                  <a:cubicBezTo>
                    <a:pt x="37" y="187"/>
                    <a:pt x="37" y="187"/>
                    <a:pt x="37" y="187"/>
                  </a:cubicBezTo>
                  <a:cubicBezTo>
                    <a:pt x="37" y="188"/>
                    <a:pt x="37" y="188"/>
                    <a:pt x="37" y="188"/>
                  </a:cubicBezTo>
                  <a:cubicBezTo>
                    <a:pt x="37" y="188"/>
                    <a:pt x="37" y="188"/>
                    <a:pt x="37" y="188"/>
                  </a:cubicBezTo>
                  <a:cubicBezTo>
                    <a:pt x="37" y="188"/>
                    <a:pt x="37" y="188"/>
                    <a:pt x="37" y="188"/>
                  </a:cubicBezTo>
                  <a:cubicBezTo>
                    <a:pt x="38" y="188"/>
                    <a:pt x="38" y="188"/>
                    <a:pt x="38" y="188"/>
                  </a:cubicBezTo>
                  <a:cubicBezTo>
                    <a:pt x="38" y="188"/>
                    <a:pt x="38" y="188"/>
                    <a:pt x="38" y="188"/>
                  </a:cubicBezTo>
                  <a:cubicBezTo>
                    <a:pt x="38" y="188"/>
                    <a:pt x="38" y="188"/>
                    <a:pt x="38" y="188"/>
                  </a:cubicBezTo>
                  <a:cubicBezTo>
                    <a:pt x="38" y="189"/>
                    <a:pt x="38" y="189"/>
                    <a:pt x="38" y="189"/>
                  </a:cubicBezTo>
                  <a:cubicBezTo>
                    <a:pt x="38" y="189"/>
                    <a:pt x="38" y="189"/>
                    <a:pt x="38" y="189"/>
                  </a:cubicBezTo>
                  <a:cubicBezTo>
                    <a:pt x="38" y="189"/>
                    <a:pt x="38" y="189"/>
                    <a:pt x="38" y="189"/>
                  </a:cubicBezTo>
                  <a:cubicBezTo>
                    <a:pt x="38" y="190"/>
                    <a:pt x="38" y="190"/>
                    <a:pt x="38" y="190"/>
                  </a:cubicBezTo>
                  <a:cubicBezTo>
                    <a:pt x="38" y="190"/>
                    <a:pt x="38" y="190"/>
                    <a:pt x="38" y="190"/>
                  </a:cubicBezTo>
                  <a:cubicBezTo>
                    <a:pt x="39" y="190"/>
                    <a:pt x="39" y="190"/>
                    <a:pt x="39" y="190"/>
                  </a:cubicBezTo>
                  <a:cubicBezTo>
                    <a:pt x="39" y="190"/>
                    <a:pt x="39" y="190"/>
                    <a:pt x="39" y="190"/>
                  </a:cubicBezTo>
                  <a:cubicBezTo>
                    <a:pt x="39" y="191"/>
                    <a:pt x="39" y="191"/>
                    <a:pt x="39" y="191"/>
                  </a:cubicBezTo>
                  <a:cubicBezTo>
                    <a:pt x="39" y="191"/>
                    <a:pt x="39" y="191"/>
                    <a:pt x="39" y="191"/>
                  </a:cubicBezTo>
                  <a:cubicBezTo>
                    <a:pt x="39" y="192"/>
                    <a:pt x="39" y="192"/>
                    <a:pt x="39" y="192"/>
                  </a:cubicBezTo>
                  <a:cubicBezTo>
                    <a:pt x="39" y="192"/>
                    <a:pt x="39" y="192"/>
                    <a:pt x="39" y="192"/>
                  </a:cubicBezTo>
                  <a:cubicBezTo>
                    <a:pt x="39" y="192"/>
                    <a:pt x="39" y="192"/>
                    <a:pt x="39" y="192"/>
                  </a:cubicBezTo>
                  <a:cubicBezTo>
                    <a:pt x="39" y="192"/>
                    <a:pt x="39" y="192"/>
                    <a:pt x="39" y="192"/>
                  </a:cubicBezTo>
                  <a:cubicBezTo>
                    <a:pt x="39" y="192"/>
                    <a:pt x="39" y="192"/>
                    <a:pt x="39" y="192"/>
                  </a:cubicBezTo>
                  <a:cubicBezTo>
                    <a:pt x="39" y="193"/>
                    <a:pt x="39" y="193"/>
                    <a:pt x="39" y="193"/>
                  </a:cubicBezTo>
                  <a:cubicBezTo>
                    <a:pt x="39" y="193"/>
                    <a:pt x="39" y="193"/>
                    <a:pt x="39" y="193"/>
                  </a:cubicBezTo>
                  <a:cubicBezTo>
                    <a:pt x="39" y="193"/>
                    <a:pt x="39" y="193"/>
                    <a:pt x="39" y="193"/>
                  </a:cubicBezTo>
                  <a:cubicBezTo>
                    <a:pt x="39" y="193"/>
                    <a:pt x="39" y="193"/>
                    <a:pt x="39" y="193"/>
                  </a:cubicBezTo>
                  <a:cubicBezTo>
                    <a:pt x="39" y="193"/>
                    <a:pt x="39" y="193"/>
                    <a:pt x="39" y="193"/>
                  </a:cubicBezTo>
                  <a:cubicBezTo>
                    <a:pt x="39" y="194"/>
                    <a:pt x="39" y="194"/>
                    <a:pt x="39" y="194"/>
                  </a:cubicBezTo>
                  <a:cubicBezTo>
                    <a:pt x="39" y="194"/>
                    <a:pt x="39" y="194"/>
                    <a:pt x="39" y="194"/>
                  </a:cubicBezTo>
                  <a:cubicBezTo>
                    <a:pt x="40" y="194"/>
                    <a:pt x="40" y="194"/>
                    <a:pt x="40" y="194"/>
                  </a:cubicBezTo>
                  <a:cubicBezTo>
                    <a:pt x="40" y="194"/>
                    <a:pt x="40" y="194"/>
                    <a:pt x="40" y="194"/>
                  </a:cubicBezTo>
                  <a:cubicBezTo>
                    <a:pt x="40" y="194"/>
                    <a:pt x="40" y="194"/>
                    <a:pt x="40" y="194"/>
                  </a:cubicBezTo>
                  <a:cubicBezTo>
                    <a:pt x="40" y="194"/>
                    <a:pt x="40" y="194"/>
                    <a:pt x="40" y="194"/>
                  </a:cubicBezTo>
                  <a:cubicBezTo>
                    <a:pt x="40" y="194"/>
                    <a:pt x="40" y="194"/>
                    <a:pt x="40" y="194"/>
                  </a:cubicBezTo>
                  <a:cubicBezTo>
                    <a:pt x="40" y="195"/>
                    <a:pt x="40" y="195"/>
                    <a:pt x="40" y="195"/>
                  </a:cubicBezTo>
                  <a:cubicBezTo>
                    <a:pt x="41" y="195"/>
                    <a:pt x="41" y="195"/>
                    <a:pt x="41" y="195"/>
                  </a:cubicBezTo>
                  <a:cubicBezTo>
                    <a:pt x="41" y="195"/>
                    <a:pt x="41" y="195"/>
                    <a:pt x="41" y="195"/>
                  </a:cubicBezTo>
                  <a:cubicBezTo>
                    <a:pt x="41" y="195"/>
                    <a:pt x="41" y="195"/>
                    <a:pt x="41" y="195"/>
                  </a:cubicBezTo>
                  <a:cubicBezTo>
                    <a:pt x="42" y="196"/>
                    <a:pt x="42" y="196"/>
                    <a:pt x="42" y="196"/>
                  </a:cubicBezTo>
                  <a:cubicBezTo>
                    <a:pt x="42" y="196"/>
                    <a:pt x="42" y="196"/>
                    <a:pt x="42" y="196"/>
                  </a:cubicBezTo>
                  <a:cubicBezTo>
                    <a:pt x="42" y="196"/>
                    <a:pt x="42" y="197"/>
                    <a:pt x="41" y="197"/>
                  </a:cubicBezTo>
                  <a:cubicBezTo>
                    <a:pt x="41" y="197"/>
                    <a:pt x="41" y="197"/>
                    <a:pt x="41" y="197"/>
                  </a:cubicBezTo>
                  <a:cubicBezTo>
                    <a:pt x="42" y="198"/>
                    <a:pt x="42" y="198"/>
                    <a:pt x="42" y="198"/>
                  </a:cubicBezTo>
                  <a:cubicBezTo>
                    <a:pt x="42" y="198"/>
                    <a:pt x="42" y="198"/>
                    <a:pt x="42" y="198"/>
                  </a:cubicBezTo>
                  <a:cubicBezTo>
                    <a:pt x="42" y="198"/>
                    <a:pt x="42" y="198"/>
                    <a:pt x="42" y="198"/>
                  </a:cubicBezTo>
                  <a:cubicBezTo>
                    <a:pt x="42" y="198"/>
                    <a:pt x="42" y="198"/>
                    <a:pt x="42" y="198"/>
                  </a:cubicBezTo>
                  <a:cubicBezTo>
                    <a:pt x="43" y="199"/>
                    <a:pt x="43" y="199"/>
                    <a:pt x="43" y="199"/>
                  </a:cubicBezTo>
                  <a:cubicBezTo>
                    <a:pt x="43" y="199"/>
                    <a:pt x="43" y="199"/>
                    <a:pt x="43" y="199"/>
                  </a:cubicBezTo>
                  <a:cubicBezTo>
                    <a:pt x="44" y="199"/>
                    <a:pt x="44" y="199"/>
                    <a:pt x="44" y="199"/>
                  </a:cubicBezTo>
                  <a:cubicBezTo>
                    <a:pt x="44" y="199"/>
                    <a:pt x="44" y="199"/>
                    <a:pt x="44" y="199"/>
                  </a:cubicBezTo>
                  <a:cubicBezTo>
                    <a:pt x="44" y="199"/>
                    <a:pt x="44" y="199"/>
                    <a:pt x="44" y="199"/>
                  </a:cubicBezTo>
                  <a:cubicBezTo>
                    <a:pt x="44" y="199"/>
                    <a:pt x="44" y="199"/>
                    <a:pt x="44" y="199"/>
                  </a:cubicBezTo>
                  <a:cubicBezTo>
                    <a:pt x="44" y="199"/>
                    <a:pt x="44" y="199"/>
                    <a:pt x="44" y="199"/>
                  </a:cubicBezTo>
                  <a:cubicBezTo>
                    <a:pt x="44" y="199"/>
                    <a:pt x="44" y="199"/>
                    <a:pt x="44" y="199"/>
                  </a:cubicBezTo>
                  <a:cubicBezTo>
                    <a:pt x="44" y="200"/>
                    <a:pt x="44" y="200"/>
                    <a:pt x="44" y="200"/>
                  </a:cubicBezTo>
                  <a:cubicBezTo>
                    <a:pt x="44" y="200"/>
                    <a:pt x="44" y="200"/>
                    <a:pt x="44" y="200"/>
                  </a:cubicBezTo>
                  <a:cubicBezTo>
                    <a:pt x="44" y="200"/>
                    <a:pt x="44" y="200"/>
                    <a:pt x="44" y="200"/>
                  </a:cubicBezTo>
                  <a:cubicBezTo>
                    <a:pt x="45" y="200"/>
                    <a:pt x="45" y="200"/>
                    <a:pt x="45" y="200"/>
                  </a:cubicBezTo>
                  <a:cubicBezTo>
                    <a:pt x="45" y="200"/>
                    <a:pt x="45" y="200"/>
                    <a:pt x="45" y="200"/>
                  </a:cubicBezTo>
                  <a:cubicBezTo>
                    <a:pt x="45" y="200"/>
                    <a:pt x="45" y="200"/>
                    <a:pt x="45" y="200"/>
                  </a:cubicBezTo>
                  <a:cubicBezTo>
                    <a:pt x="45" y="201"/>
                    <a:pt x="45" y="201"/>
                    <a:pt x="45" y="201"/>
                  </a:cubicBezTo>
                  <a:cubicBezTo>
                    <a:pt x="45" y="201"/>
                    <a:pt x="45" y="201"/>
                    <a:pt x="45" y="201"/>
                  </a:cubicBezTo>
                  <a:cubicBezTo>
                    <a:pt x="46" y="201"/>
                    <a:pt x="46" y="201"/>
                    <a:pt x="46" y="201"/>
                  </a:cubicBezTo>
                  <a:cubicBezTo>
                    <a:pt x="46" y="201"/>
                    <a:pt x="46" y="201"/>
                    <a:pt x="46" y="201"/>
                  </a:cubicBezTo>
                  <a:cubicBezTo>
                    <a:pt x="46" y="201"/>
                    <a:pt x="46" y="201"/>
                    <a:pt x="46" y="201"/>
                  </a:cubicBezTo>
                  <a:cubicBezTo>
                    <a:pt x="46" y="201"/>
                    <a:pt x="46" y="201"/>
                    <a:pt x="46" y="201"/>
                  </a:cubicBezTo>
                  <a:cubicBezTo>
                    <a:pt x="46" y="201"/>
                    <a:pt x="46" y="201"/>
                    <a:pt x="46" y="201"/>
                  </a:cubicBezTo>
                  <a:cubicBezTo>
                    <a:pt x="46" y="202"/>
                    <a:pt x="46" y="202"/>
                    <a:pt x="46" y="202"/>
                  </a:cubicBezTo>
                  <a:cubicBezTo>
                    <a:pt x="46" y="202"/>
                    <a:pt x="46" y="202"/>
                    <a:pt x="46" y="202"/>
                  </a:cubicBezTo>
                  <a:cubicBezTo>
                    <a:pt x="46" y="202"/>
                    <a:pt x="46" y="202"/>
                    <a:pt x="46" y="202"/>
                  </a:cubicBezTo>
                  <a:cubicBezTo>
                    <a:pt x="46" y="202"/>
                    <a:pt x="46" y="202"/>
                    <a:pt x="46" y="202"/>
                  </a:cubicBezTo>
                  <a:cubicBezTo>
                    <a:pt x="46" y="202"/>
                    <a:pt x="46" y="202"/>
                    <a:pt x="46" y="202"/>
                  </a:cubicBezTo>
                  <a:cubicBezTo>
                    <a:pt x="46" y="202"/>
                    <a:pt x="46" y="202"/>
                    <a:pt x="46" y="202"/>
                  </a:cubicBezTo>
                  <a:cubicBezTo>
                    <a:pt x="46" y="203"/>
                    <a:pt x="46" y="203"/>
                    <a:pt x="46" y="203"/>
                  </a:cubicBezTo>
                  <a:cubicBezTo>
                    <a:pt x="46" y="203"/>
                    <a:pt x="46" y="203"/>
                    <a:pt x="46" y="203"/>
                  </a:cubicBezTo>
                  <a:cubicBezTo>
                    <a:pt x="47" y="203"/>
                    <a:pt x="47" y="203"/>
                    <a:pt x="47" y="203"/>
                  </a:cubicBezTo>
                  <a:cubicBezTo>
                    <a:pt x="47" y="203"/>
                    <a:pt x="47" y="203"/>
                    <a:pt x="47" y="203"/>
                  </a:cubicBezTo>
                  <a:cubicBezTo>
                    <a:pt x="46" y="203"/>
                    <a:pt x="46" y="203"/>
                    <a:pt x="46" y="203"/>
                  </a:cubicBezTo>
                  <a:cubicBezTo>
                    <a:pt x="46" y="203"/>
                    <a:pt x="46" y="203"/>
                    <a:pt x="46" y="203"/>
                  </a:cubicBezTo>
                  <a:cubicBezTo>
                    <a:pt x="46" y="203"/>
                    <a:pt x="46" y="203"/>
                    <a:pt x="46" y="203"/>
                  </a:cubicBezTo>
                  <a:cubicBezTo>
                    <a:pt x="46" y="203"/>
                    <a:pt x="46" y="203"/>
                    <a:pt x="46" y="203"/>
                  </a:cubicBezTo>
                  <a:cubicBezTo>
                    <a:pt x="46" y="204"/>
                    <a:pt x="46" y="204"/>
                    <a:pt x="46" y="204"/>
                  </a:cubicBezTo>
                  <a:cubicBezTo>
                    <a:pt x="45" y="204"/>
                    <a:pt x="45" y="204"/>
                    <a:pt x="45" y="204"/>
                  </a:cubicBezTo>
                  <a:cubicBezTo>
                    <a:pt x="46" y="204"/>
                    <a:pt x="46" y="204"/>
                    <a:pt x="46" y="204"/>
                  </a:cubicBezTo>
                  <a:cubicBezTo>
                    <a:pt x="46" y="204"/>
                    <a:pt x="46" y="204"/>
                    <a:pt x="46" y="204"/>
                  </a:cubicBezTo>
                  <a:cubicBezTo>
                    <a:pt x="46" y="204"/>
                    <a:pt x="46" y="204"/>
                    <a:pt x="46" y="204"/>
                  </a:cubicBezTo>
                  <a:cubicBezTo>
                    <a:pt x="46" y="205"/>
                    <a:pt x="46" y="205"/>
                    <a:pt x="46" y="205"/>
                  </a:cubicBezTo>
                  <a:cubicBezTo>
                    <a:pt x="47" y="205"/>
                    <a:pt x="47" y="205"/>
                    <a:pt x="47" y="205"/>
                  </a:cubicBezTo>
                  <a:cubicBezTo>
                    <a:pt x="47" y="205"/>
                    <a:pt x="47" y="205"/>
                    <a:pt x="47" y="205"/>
                  </a:cubicBezTo>
                  <a:cubicBezTo>
                    <a:pt x="47" y="205"/>
                    <a:pt x="47" y="205"/>
                    <a:pt x="47" y="205"/>
                  </a:cubicBezTo>
                  <a:cubicBezTo>
                    <a:pt x="47" y="206"/>
                    <a:pt x="47" y="206"/>
                    <a:pt x="47" y="206"/>
                  </a:cubicBezTo>
                  <a:cubicBezTo>
                    <a:pt x="47" y="206"/>
                    <a:pt x="47" y="206"/>
                    <a:pt x="47" y="206"/>
                  </a:cubicBezTo>
                  <a:cubicBezTo>
                    <a:pt x="47" y="206"/>
                    <a:pt x="47" y="206"/>
                    <a:pt x="47" y="206"/>
                  </a:cubicBezTo>
                  <a:cubicBezTo>
                    <a:pt x="47" y="206"/>
                    <a:pt x="47" y="206"/>
                    <a:pt x="48" y="206"/>
                  </a:cubicBezTo>
                  <a:cubicBezTo>
                    <a:pt x="48" y="206"/>
                    <a:pt x="48" y="206"/>
                    <a:pt x="48" y="206"/>
                  </a:cubicBezTo>
                  <a:cubicBezTo>
                    <a:pt x="48" y="206"/>
                    <a:pt x="48" y="206"/>
                    <a:pt x="48" y="206"/>
                  </a:cubicBezTo>
                  <a:cubicBezTo>
                    <a:pt x="48" y="206"/>
                    <a:pt x="48" y="206"/>
                    <a:pt x="48" y="206"/>
                  </a:cubicBezTo>
                  <a:cubicBezTo>
                    <a:pt x="48" y="207"/>
                    <a:pt x="48" y="207"/>
                    <a:pt x="48" y="207"/>
                  </a:cubicBezTo>
                  <a:cubicBezTo>
                    <a:pt x="48" y="207"/>
                    <a:pt x="48" y="207"/>
                    <a:pt x="48" y="207"/>
                  </a:cubicBezTo>
                  <a:cubicBezTo>
                    <a:pt x="48" y="207"/>
                    <a:pt x="48" y="207"/>
                    <a:pt x="48" y="207"/>
                  </a:cubicBezTo>
                  <a:cubicBezTo>
                    <a:pt x="48" y="207"/>
                    <a:pt x="48" y="207"/>
                    <a:pt x="48" y="207"/>
                  </a:cubicBezTo>
                  <a:cubicBezTo>
                    <a:pt x="49" y="207"/>
                    <a:pt x="49" y="207"/>
                    <a:pt x="49" y="207"/>
                  </a:cubicBezTo>
                  <a:cubicBezTo>
                    <a:pt x="49" y="207"/>
                    <a:pt x="49" y="207"/>
                    <a:pt x="49" y="207"/>
                  </a:cubicBezTo>
                  <a:cubicBezTo>
                    <a:pt x="49" y="207"/>
                    <a:pt x="49" y="207"/>
                    <a:pt x="49" y="207"/>
                  </a:cubicBezTo>
                  <a:cubicBezTo>
                    <a:pt x="49" y="207"/>
                    <a:pt x="49" y="207"/>
                    <a:pt x="49" y="207"/>
                  </a:cubicBezTo>
                  <a:cubicBezTo>
                    <a:pt x="49" y="207"/>
                    <a:pt x="49" y="207"/>
                    <a:pt x="49" y="207"/>
                  </a:cubicBezTo>
                  <a:cubicBezTo>
                    <a:pt x="49" y="207"/>
                    <a:pt x="49" y="207"/>
                    <a:pt x="49" y="207"/>
                  </a:cubicBezTo>
                  <a:cubicBezTo>
                    <a:pt x="49" y="207"/>
                    <a:pt x="49" y="207"/>
                    <a:pt x="49" y="207"/>
                  </a:cubicBezTo>
                  <a:cubicBezTo>
                    <a:pt x="49" y="208"/>
                    <a:pt x="49" y="208"/>
                    <a:pt x="49" y="208"/>
                  </a:cubicBezTo>
                  <a:cubicBezTo>
                    <a:pt x="49" y="208"/>
                    <a:pt x="49" y="208"/>
                    <a:pt x="49" y="208"/>
                  </a:cubicBezTo>
                  <a:cubicBezTo>
                    <a:pt x="50" y="208"/>
                    <a:pt x="50" y="208"/>
                    <a:pt x="50" y="208"/>
                  </a:cubicBezTo>
                  <a:cubicBezTo>
                    <a:pt x="50" y="208"/>
                    <a:pt x="50" y="208"/>
                    <a:pt x="50" y="208"/>
                  </a:cubicBezTo>
                  <a:cubicBezTo>
                    <a:pt x="50" y="208"/>
                    <a:pt x="50" y="208"/>
                    <a:pt x="50" y="208"/>
                  </a:cubicBezTo>
                  <a:cubicBezTo>
                    <a:pt x="50" y="209"/>
                    <a:pt x="50" y="209"/>
                    <a:pt x="50" y="209"/>
                  </a:cubicBezTo>
                  <a:cubicBezTo>
                    <a:pt x="49" y="209"/>
                    <a:pt x="49" y="209"/>
                    <a:pt x="49" y="209"/>
                  </a:cubicBezTo>
                  <a:cubicBezTo>
                    <a:pt x="49" y="209"/>
                    <a:pt x="49" y="209"/>
                    <a:pt x="49" y="209"/>
                  </a:cubicBezTo>
                  <a:cubicBezTo>
                    <a:pt x="49" y="209"/>
                    <a:pt x="49" y="209"/>
                    <a:pt x="49" y="209"/>
                  </a:cubicBezTo>
                  <a:cubicBezTo>
                    <a:pt x="49" y="209"/>
                    <a:pt x="49" y="209"/>
                    <a:pt x="49" y="209"/>
                  </a:cubicBezTo>
                  <a:cubicBezTo>
                    <a:pt x="49" y="210"/>
                    <a:pt x="49" y="210"/>
                    <a:pt x="49" y="210"/>
                  </a:cubicBezTo>
                  <a:cubicBezTo>
                    <a:pt x="50" y="210"/>
                    <a:pt x="50" y="210"/>
                    <a:pt x="50" y="210"/>
                  </a:cubicBezTo>
                  <a:cubicBezTo>
                    <a:pt x="50" y="211"/>
                    <a:pt x="50" y="211"/>
                    <a:pt x="50" y="211"/>
                  </a:cubicBezTo>
                  <a:cubicBezTo>
                    <a:pt x="50" y="211"/>
                    <a:pt x="50" y="211"/>
                    <a:pt x="50" y="211"/>
                  </a:cubicBezTo>
                  <a:cubicBezTo>
                    <a:pt x="50" y="211"/>
                    <a:pt x="50" y="211"/>
                    <a:pt x="50" y="211"/>
                  </a:cubicBezTo>
                  <a:cubicBezTo>
                    <a:pt x="50" y="211"/>
                    <a:pt x="50" y="211"/>
                    <a:pt x="50" y="211"/>
                  </a:cubicBezTo>
                  <a:cubicBezTo>
                    <a:pt x="50" y="211"/>
                    <a:pt x="50" y="211"/>
                    <a:pt x="50" y="211"/>
                  </a:cubicBezTo>
                  <a:cubicBezTo>
                    <a:pt x="51" y="211"/>
                    <a:pt x="51" y="211"/>
                    <a:pt x="51" y="211"/>
                  </a:cubicBezTo>
                  <a:cubicBezTo>
                    <a:pt x="51" y="211"/>
                    <a:pt x="51" y="211"/>
                    <a:pt x="51" y="211"/>
                  </a:cubicBezTo>
                  <a:cubicBezTo>
                    <a:pt x="51" y="211"/>
                    <a:pt x="51" y="211"/>
                    <a:pt x="51" y="211"/>
                  </a:cubicBezTo>
                  <a:cubicBezTo>
                    <a:pt x="51" y="211"/>
                    <a:pt x="51" y="211"/>
                    <a:pt x="51" y="211"/>
                  </a:cubicBezTo>
                  <a:cubicBezTo>
                    <a:pt x="51" y="210"/>
                    <a:pt x="51" y="210"/>
                    <a:pt x="51" y="210"/>
                  </a:cubicBezTo>
                  <a:cubicBezTo>
                    <a:pt x="52" y="210"/>
                    <a:pt x="52" y="210"/>
                    <a:pt x="52" y="210"/>
                  </a:cubicBezTo>
                  <a:cubicBezTo>
                    <a:pt x="52" y="211"/>
                    <a:pt x="52" y="211"/>
                    <a:pt x="52" y="211"/>
                  </a:cubicBezTo>
                  <a:cubicBezTo>
                    <a:pt x="52" y="211"/>
                    <a:pt x="52" y="211"/>
                    <a:pt x="52" y="211"/>
                  </a:cubicBezTo>
                  <a:cubicBezTo>
                    <a:pt x="53" y="211"/>
                    <a:pt x="53" y="211"/>
                    <a:pt x="53" y="211"/>
                  </a:cubicBezTo>
                  <a:cubicBezTo>
                    <a:pt x="53" y="211"/>
                    <a:pt x="53" y="211"/>
                    <a:pt x="53" y="211"/>
                  </a:cubicBezTo>
                  <a:cubicBezTo>
                    <a:pt x="53" y="211"/>
                    <a:pt x="53" y="211"/>
                    <a:pt x="53" y="211"/>
                  </a:cubicBezTo>
                  <a:cubicBezTo>
                    <a:pt x="53" y="211"/>
                    <a:pt x="53" y="211"/>
                    <a:pt x="53" y="211"/>
                  </a:cubicBezTo>
                  <a:cubicBezTo>
                    <a:pt x="53" y="211"/>
                    <a:pt x="53" y="211"/>
                    <a:pt x="53" y="211"/>
                  </a:cubicBezTo>
                  <a:cubicBezTo>
                    <a:pt x="53" y="212"/>
                    <a:pt x="53" y="212"/>
                    <a:pt x="53" y="212"/>
                  </a:cubicBezTo>
                  <a:cubicBezTo>
                    <a:pt x="53" y="212"/>
                    <a:pt x="53" y="212"/>
                    <a:pt x="54" y="212"/>
                  </a:cubicBezTo>
                  <a:cubicBezTo>
                    <a:pt x="54" y="213"/>
                    <a:pt x="54" y="213"/>
                    <a:pt x="54" y="213"/>
                  </a:cubicBezTo>
                  <a:cubicBezTo>
                    <a:pt x="54" y="213"/>
                    <a:pt x="54" y="213"/>
                    <a:pt x="54" y="213"/>
                  </a:cubicBezTo>
                  <a:cubicBezTo>
                    <a:pt x="54" y="214"/>
                    <a:pt x="54" y="214"/>
                    <a:pt x="54" y="214"/>
                  </a:cubicBezTo>
                  <a:cubicBezTo>
                    <a:pt x="54" y="214"/>
                    <a:pt x="54" y="214"/>
                    <a:pt x="54" y="214"/>
                  </a:cubicBezTo>
                  <a:cubicBezTo>
                    <a:pt x="54" y="214"/>
                    <a:pt x="54" y="214"/>
                    <a:pt x="54" y="214"/>
                  </a:cubicBezTo>
                  <a:cubicBezTo>
                    <a:pt x="54" y="214"/>
                    <a:pt x="54" y="214"/>
                    <a:pt x="54" y="214"/>
                  </a:cubicBezTo>
                  <a:cubicBezTo>
                    <a:pt x="54" y="214"/>
                    <a:pt x="54" y="214"/>
                    <a:pt x="54" y="214"/>
                  </a:cubicBezTo>
                  <a:cubicBezTo>
                    <a:pt x="55" y="215"/>
                    <a:pt x="55" y="215"/>
                    <a:pt x="55" y="215"/>
                  </a:cubicBezTo>
                  <a:cubicBezTo>
                    <a:pt x="55" y="215"/>
                    <a:pt x="55" y="215"/>
                    <a:pt x="55" y="215"/>
                  </a:cubicBezTo>
                  <a:cubicBezTo>
                    <a:pt x="55" y="215"/>
                    <a:pt x="55" y="215"/>
                    <a:pt x="55" y="215"/>
                  </a:cubicBezTo>
                  <a:cubicBezTo>
                    <a:pt x="55" y="215"/>
                    <a:pt x="55" y="215"/>
                    <a:pt x="55" y="215"/>
                  </a:cubicBezTo>
                  <a:cubicBezTo>
                    <a:pt x="55" y="215"/>
                    <a:pt x="55" y="215"/>
                    <a:pt x="55" y="215"/>
                  </a:cubicBezTo>
                  <a:cubicBezTo>
                    <a:pt x="55" y="215"/>
                    <a:pt x="55" y="215"/>
                    <a:pt x="55" y="215"/>
                  </a:cubicBezTo>
                  <a:cubicBezTo>
                    <a:pt x="55" y="216"/>
                    <a:pt x="55" y="216"/>
                    <a:pt x="55" y="216"/>
                  </a:cubicBezTo>
                  <a:cubicBezTo>
                    <a:pt x="55" y="216"/>
                    <a:pt x="55" y="216"/>
                    <a:pt x="55" y="216"/>
                  </a:cubicBezTo>
                  <a:cubicBezTo>
                    <a:pt x="55" y="216"/>
                    <a:pt x="55" y="216"/>
                    <a:pt x="55" y="216"/>
                  </a:cubicBezTo>
                  <a:cubicBezTo>
                    <a:pt x="55" y="216"/>
                    <a:pt x="55" y="216"/>
                    <a:pt x="55" y="216"/>
                  </a:cubicBezTo>
                  <a:cubicBezTo>
                    <a:pt x="55" y="217"/>
                    <a:pt x="55" y="217"/>
                    <a:pt x="55" y="217"/>
                  </a:cubicBezTo>
                  <a:cubicBezTo>
                    <a:pt x="55" y="217"/>
                    <a:pt x="55" y="217"/>
                    <a:pt x="55" y="217"/>
                  </a:cubicBezTo>
                  <a:cubicBezTo>
                    <a:pt x="55" y="217"/>
                    <a:pt x="55" y="217"/>
                    <a:pt x="55" y="217"/>
                  </a:cubicBezTo>
                  <a:cubicBezTo>
                    <a:pt x="55" y="217"/>
                    <a:pt x="55" y="217"/>
                    <a:pt x="55" y="217"/>
                  </a:cubicBezTo>
                  <a:cubicBezTo>
                    <a:pt x="55" y="217"/>
                    <a:pt x="55" y="217"/>
                    <a:pt x="55" y="217"/>
                  </a:cubicBezTo>
                  <a:cubicBezTo>
                    <a:pt x="55" y="218"/>
                    <a:pt x="55" y="218"/>
                    <a:pt x="55" y="218"/>
                  </a:cubicBezTo>
                  <a:cubicBezTo>
                    <a:pt x="55" y="218"/>
                    <a:pt x="55" y="218"/>
                    <a:pt x="55" y="218"/>
                  </a:cubicBezTo>
                  <a:cubicBezTo>
                    <a:pt x="55" y="218"/>
                    <a:pt x="55" y="218"/>
                    <a:pt x="55" y="218"/>
                  </a:cubicBezTo>
                  <a:cubicBezTo>
                    <a:pt x="55" y="219"/>
                    <a:pt x="56" y="219"/>
                    <a:pt x="56" y="219"/>
                  </a:cubicBezTo>
                  <a:cubicBezTo>
                    <a:pt x="56" y="219"/>
                    <a:pt x="56" y="219"/>
                    <a:pt x="56" y="219"/>
                  </a:cubicBezTo>
                  <a:cubicBezTo>
                    <a:pt x="56" y="219"/>
                    <a:pt x="56" y="219"/>
                    <a:pt x="56" y="219"/>
                  </a:cubicBezTo>
                  <a:cubicBezTo>
                    <a:pt x="55" y="220"/>
                    <a:pt x="55" y="220"/>
                    <a:pt x="55" y="220"/>
                  </a:cubicBezTo>
                  <a:cubicBezTo>
                    <a:pt x="55" y="220"/>
                    <a:pt x="55" y="220"/>
                    <a:pt x="55" y="220"/>
                  </a:cubicBezTo>
                  <a:cubicBezTo>
                    <a:pt x="55" y="220"/>
                    <a:pt x="55" y="220"/>
                    <a:pt x="55" y="220"/>
                  </a:cubicBezTo>
                  <a:cubicBezTo>
                    <a:pt x="55" y="221"/>
                    <a:pt x="55" y="221"/>
                    <a:pt x="55" y="221"/>
                  </a:cubicBezTo>
                  <a:cubicBezTo>
                    <a:pt x="56" y="221"/>
                    <a:pt x="56" y="221"/>
                    <a:pt x="56" y="221"/>
                  </a:cubicBezTo>
                  <a:cubicBezTo>
                    <a:pt x="56" y="221"/>
                    <a:pt x="56" y="221"/>
                    <a:pt x="56" y="221"/>
                  </a:cubicBezTo>
                  <a:cubicBezTo>
                    <a:pt x="56" y="221"/>
                    <a:pt x="56" y="221"/>
                    <a:pt x="56" y="221"/>
                  </a:cubicBezTo>
                  <a:cubicBezTo>
                    <a:pt x="56" y="221"/>
                    <a:pt x="56" y="221"/>
                    <a:pt x="56" y="221"/>
                  </a:cubicBezTo>
                  <a:cubicBezTo>
                    <a:pt x="56" y="221"/>
                    <a:pt x="56" y="221"/>
                    <a:pt x="56" y="221"/>
                  </a:cubicBezTo>
                  <a:cubicBezTo>
                    <a:pt x="56" y="221"/>
                    <a:pt x="56" y="221"/>
                    <a:pt x="56" y="221"/>
                  </a:cubicBezTo>
                  <a:cubicBezTo>
                    <a:pt x="56" y="221"/>
                    <a:pt x="56" y="221"/>
                    <a:pt x="56" y="222"/>
                  </a:cubicBezTo>
                  <a:cubicBezTo>
                    <a:pt x="56" y="222"/>
                    <a:pt x="56" y="222"/>
                    <a:pt x="56" y="222"/>
                  </a:cubicBezTo>
                  <a:cubicBezTo>
                    <a:pt x="56" y="222"/>
                    <a:pt x="56" y="222"/>
                    <a:pt x="56" y="222"/>
                  </a:cubicBezTo>
                  <a:cubicBezTo>
                    <a:pt x="56" y="222"/>
                    <a:pt x="56" y="222"/>
                    <a:pt x="56" y="222"/>
                  </a:cubicBezTo>
                  <a:cubicBezTo>
                    <a:pt x="56" y="222"/>
                    <a:pt x="56" y="222"/>
                    <a:pt x="56" y="222"/>
                  </a:cubicBezTo>
                  <a:cubicBezTo>
                    <a:pt x="56" y="222"/>
                    <a:pt x="56" y="222"/>
                    <a:pt x="56" y="222"/>
                  </a:cubicBezTo>
                  <a:cubicBezTo>
                    <a:pt x="56" y="222"/>
                    <a:pt x="56" y="222"/>
                    <a:pt x="56" y="222"/>
                  </a:cubicBezTo>
                  <a:cubicBezTo>
                    <a:pt x="56" y="222"/>
                    <a:pt x="56" y="222"/>
                    <a:pt x="56" y="222"/>
                  </a:cubicBezTo>
                  <a:cubicBezTo>
                    <a:pt x="56" y="222"/>
                    <a:pt x="56" y="222"/>
                    <a:pt x="56" y="222"/>
                  </a:cubicBezTo>
                  <a:cubicBezTo>
                    <a:pt x="56" y="222"/>
                    <a:pt x="56" y="222"/>
                    <a:pt x="56" y="222"/>
                  </a:cubicBezTo>
                  <a:cubicBezTo>
                    <a:pt x="56" y="223"/>
                    <a:pt x="56" y="223"/>
                    <a:pt x="56" y="223"/>
                  </a:cubicBezTo>
                  <a:cubicBezTo>
                    <a:pt x="56" y="223"/>
                    <a:pt x="56" y="223"/>
                    <a:pt x="56" y="223"/>
                  </a:cubicBezTo>
                  <a:cubicBezTo>
                    <a:pt x="56" y="223"/>
                    <a:pt x="56" y="223"/>
                    <a:pt x="56" y="223"/>
                  </a:cubicBezTo>
                  <a:cubicBezTo>
                    <a:pt x="56" y="223"/>
                    <a:pt x="56" y="223"/>
                    <a:pt x="56" y="223"/>
                  </a:cubicBezTo>
                  <a:cubicBezTo>
                    <a:pt x="56" y="224"/>
                    <a:pt x="56" y="224"/>
                    <a:pt x="56" y="224"/>
                  </a:cubicBezTo>
                  <a:cubicBezTo>
                    <a:pt x="56" y="224"/>
                    <a:pt x="56" y="224"/>
                    <a:pt x="56" y="224"/>
                  </a:cubicBezTo>
                  <a:cubicBezTo>
                    <a:pt x="56" y="224"/>
                    <a:pt x="56" y="224"/>
                    <a:pt x="56" y="224"/>
                  </a:cubicBezTo>
                  <a:cubicBezTo>
                    <a:pt x="56" y="224"/>
                    <a:pt x="56" y="224"/>
                    <a:pt x="56" y="224"/>
                  </a:cubicBezTo>
                  <a:cubicBezTo>
                    <a:pt x="56" y="224"/>
                    <a:pt x="56" y="224"/>
                    <a:pt x="56" y="224"/>
                  </a:cubicBezTo>
                  <a:cubicBezTo>
                    <a:pt x="56" y="224"/>
                    <a:pt x="56" y="224"/>
                    <a:pt x="56" y="224"/>
                  </a:cubicBezTo>
                  <a:cubicBezTo>
                    <a:pt x="55" y="224"/>
                    <a:pt x="55" y="224"/>
                    <a:pt x="55" y="224"/>
                  </a:cubicBezTo>
                  <a:cubicBezTo>
                    <a:pt x="55" y="225"/>
                    <a:pt x="55" y="225"/>
                    <a:pt x="55" y="225"/>
                  </a:cubicBezTo>
                  <a:cubicBezTo>
                    <a:pt x="55" y="225"/>
                    <a:pt x="55" y="225"/>
                    <a:pt x="55" y="225"/>
                  </a:cubicBezTo>
                  <a:cubicBezTo>
                    <a:pt x="55" y="225"/>
                    <a:pt x="55" y="225"/>
                    <a:pt x="55" y="225"/>
                  </a:cubicBezTo>
                  <a:cubicBezTo>
                    <a:pt x="55" y="226"/>
                    <a:pt x="55" y="226"/>
                    <a:pt x="55" y="226"/>
                  </a:cubicBezTo>
                  <a:cubicBezTo>
                    <a:pt x="56" y="226"/>
                    <a:pt x="56" y="226"/>
                    <a:pt x="56" y="226"/>
                  </a:cubicBezTo>
                  <a:cubicBezTo>
                    <a:pt x="56" y="227"/>
                    <a:pt x="56" y="227"/>
                    <a:pt x="56" y="227"/>
                  </a:cubicBezTo>
                  <a:cubicBezTo>
                    <a:pt x="56" y="227"/>
                    <a:pt x="56" y="227"/>
                    <a:pt x="56" y="227"/>
                  </a:cubicBezTo>
                  <a:cubicBezTo>
                    <a:pt x="56" y="228"/>
                    <a:pt x="56" y="228"/>
                    <a:pt x="56" y="228"/>
                  </a:cubicBezTo>
                  <a:cubicBezTo>
                    <a:pt x="56" y="228"/>
                    <a:pt x="56" y="228"/>
                    <a:pt x="56" y="228"/>
                  </a:cubicBezTo>
                  <a:cubicBezTo>
                    <a:pt x="56" y="228"/>
                    <a:pt x="56" y="228"/>
                    <a:pt x="56" y="228"/>
                  </a:cubicBezTo>
                  <a:cubicBezTo>
                    <a:pt x="56" y="228"/>
                    <a:pt x="56" y="228"/>
                    <a:pt x="56" y="228"/>
                  </a:cubicBezTo>
                  <a:cubicBezTo>
                    <a:pt x="56" y="228"/>
                    <a:pt x="56" y="228"/>
                    <a:pt x="56" y="228"/>
                  </a:cubicBezTo>
                  <a:cubicBezTo>
                    <a:pt x="55" y="228"/>
                    <a:pt x="55" y="228"/>
                    <a:pt x="55" y="228"/>
                  </a:cubicBezTo>
                  <a:cubicBezTo>
                    <a:pt x="55" y="228"/>
                    <a:pt x="55" y="228"/>
                    <a:pt x="55" y="228"/>
                  </a:cubicBezTo>
                  <a:cubicBezTo>
                    <a:pt x="55" y="228"/>
                    <a:pt x="55" y="228"/>
                    <a:pt x="55" y="228"/>
                  </a:cubicBezTo>
                  <a:cubicBezTo>
                    <a:pt x="55" y="229"/>
                    <a:pt x="55" y="229"/>
                    <a:pt x="55" y="229"/>
                  </a:cubicBezTo>
                  <a:cubicBezTo>
                    <a:pt x="56" y="229"/>
                    <a:pt x="56" y="229"/>
                    <a:pt x="56" y="229"/>
                  </a:cubicBezTo>
                  <a:cubicBezTo>
                    <a:pt x="56" y="229"/>
                    <a:pt x="56" y="229"/>
                    <a:pt x="56" y="229"/>
                  </a:cubicBezTo>
                  <a:cubicBezTo>
                    <a:pt x="55" y="229"/>
                    <a:pt x="55" y="229"/>
                    <a:pt x="55" y="229"/>
                  </a:cubicBezTo>
                  <a:cubicBezTo>
                    <a:pt x="55" y="229"/>
                    <a:pt x="55" y="229"/>
                    <a:pt x="55" y="229"/>
                  </a:cubicBezTo>
                  <a:cubicBezTo>
                    <a:pt x="55" y="229"/>
                    <a:pt x="55" y="229"/>
                    <a:pt x="55" y="229"/>
                  </a:cubicBezTo>
                  <a:cubicBezTo>
                    <a:pt x="55" y="229"/>
                    <a:pt x="55" y="229"/>
                    <a:pt x="55" y="229"/>
                  </a:cubicBezTo>
                  <a:cubicBezTo>
                    <a:pt x="55" y="229"/>
                    <a:pt x="55" y="229"/>
                    <a:pt x="55" y="229"/>
                  </a:cubicBezTo>
                  <a:cubicBezTo>
                    <a:pt x="55" y="229"/>
                    <a:pt x="55" y="229"/>
                    <a:pt x="55" y="229"/>
                  </a:cubicBezTo>
                  <a:cubicBezTo>
                    <a:pt x="55" y="230"/>
                    <a:pt x="55" y="230"/>
                    <a:pt x="55" y="230"/>
                  </a:cubicBezTo>
                  <a:cubicBezTo>
                    <a:pt x="55" y="230"/>
                    <a:pt x="55" y="230"/>
                    <a:pt x="55" y="230"/>
                  </a:cubicBezTo>
                  <a:cubicBezTo>
                    <a:pt x="55" y="230"/>
                    <a:pt x="55" y="230"/>
                    <a:pt x="55" y="230"/>
                  </a:cubicBezTo>
                  <a:cubicBezTo>
                    <a:pt x="55" y="230"/>
                    <a:pt x="55" y="230"/>
                    <a:pt x="55" y="230"/>
                  </a:cubicBezTo>
                  <a:cubicBezTo>
                    <a:pt x="55" y="230"/>
                    <a:pt x="55" y="230"/>
                    <a:pt x="55" y="230"/>
                  </a:cubicBezTo>
                  <a:cubicBezTo>
                    <a:pt x="55" y="230"/>
                    <a:pt x="55" y="230"/>
                    <a:pt x="55" y="230"/>
                  </a:cubicBezTo>
                  <a:cubicBezTo>
                    <a:pt x="55" y="230"/>
                    <a:pt x="55" y="230"/>
                    <a:pt x="55" y="230"/>
                  </a:cubicBezTo>
                  <a:cubicBezTo>
                    <a:pt x="55" y="231"/>
                    <a:pt x="55" y="231"/>
                    <a:pt x="55" y="231"/>
                  </a:cubicBezTo>
                  <a:cubicBezTo>
                    <a:pt x="55" y="231"/>
                    <a:pt x="55" y="231"/>
                    <a:pt x="55" y="231"/>
                  </a:cubicBezTo>
                  <a:cubicBezTo>
                    <a:pt x="55" y="231"/>
                    <a:pt x="55" y="231"/>
                    <a:pt x="55" y="231"/>
                  </a:cubicBezTo>
                  <a:cubicBezTo>
                    <a:pt x="55" y="231"/>
                    <a:pt x="54" y="231"/>
                    <a:pt x="54" y="231"/>
                  </a:cubicBezTo>
                  <a:cubicBezTo>
                    <a:pt x="54" y="231"/>
                    <a:pt x="54" y="231"/>
                    <a:pt x="54" y="231"/>
                  </a:cubicBezTo>
                  <a:cubicBezTo>
                    <a:pt x="54" y="231"/>
                    <a:pt x="54" y="231"/>
                    <a:pt x="54" y="231"/>
                  </a:cubicBezTo>
                  <a:cubicBezTo>
                    <a:pt x="54" y="231"/>
                    <a:pt x="54" y="231"/>
                    <a:pt x="54" y="231"/>
                  </a:cubicBezTo>
                  <a:cubicBezTo>
                    <a:pt x="54" y="231"/>
                    <a:pt x="54" y="231"/>
                    <a:pt x="54" y="231"/>
                  </a:cubicBezTo>
                  <a:cubicBezTo>
                    <a:pt x="54" y="232"/>
                    <a:pt x="54" y="232"/>
                    <a:pt x="54" y="232"/>
                  </a:cubicBezTo>
                  <a:cubicBezTo>
                    <a:pt x="54" y="232"/>
                    <a:pt x="54" y="232"/>
                    <a:pt x="54" y="232"/>
                  </a:cubicBezTo>
                  <a:cubicBezTo>
                    <a:pt x="54" y="232"/>
                    <a:pt x="54" y="232"/>
                    <a:pt x="54" y="232"/>
                  </a:cubicBezTo>
                  <a:cubicBezTo>
                    <a:pt x="54" y="232"/>
                    <a:pt x="54" y="232"/>
                    <a:pt x="54" y="232"/>
                  </a:cubicBezTo>
                  <a:cubicBezTo>
                    <a:pt x="54" y="232"/>
                    <a:pt x="54" y="232"/>
                    <a:pt x="54" y="232"/>
                  </a:cubicBezTo>
                  <a:cubicBezTo>
                    <a:pt x="54" y="232"/>
                    <a:pt x="54" y="232"/>
                    <a:pt x="54" y="232"/>
                  </a:cubicBezTo>
                  <a:cubicBezTo>
                    <a:pt x="54" y="232"/>
                    <a:pt x="54" y="232"/>
                    <a:pt x="54" y="232"/>
                  </a:cubicBezTo>
                  <a:cubicBezTo>
                    <a:pt x="54" y="232"/>
                    <a:pt x="54" y="232"/>
                    <a:pt x="54" y="232"/>
                  </a:cubicBezTo>
                  <a:cubicBezTo>
                    <a:pt x="54" y="232"/>
                    <a:pt x="54" y="232"/>
                    <a:pt x="54" y="232"/>
                  </a:cubicBezTo>
                  <a:cubicBezTo>
                    <a:pt x="54" y="232"/>
                    <a:pt x="54" y="232"/>
                    <a:pt x="54" y="232"/>
                  </a:cubicBezTo>
                  <a:cubicBezTo>
                    <a:pt x="54" y="233"/>
                    <a:pt x="54" y="233"/>
                    <a:pt x="54" y="233"/>
                  </a:cubicBezTo>
                  <a:cubicBezTo>
                    <a:pt x="54" y="232"/>
                    <a:pt x="54" y="232"/>
                    <a:pt x="54" y="232"/>
                  </a:cubicBezTo>
                  <a:cubicBezTo>
                    <a:pt x="54" y="232"/>
                    <a:pt x="55" y="232"/>
                    <a:pt x="55" y="232"/>
                  </a:cubicBezTo>
                  <a:cubicBezTo>
                    <a:pt x="55" y="232"/>
                    <a:pt x="55" y="232"/>
                    <a:pt x="55" y="232"/>
                  </a:cubicBezTo>
                  <a:cubicBezTo>
                    <a:pt x="55" y="232"/>
                    <a:pt x="55" y="232"/>
                    <a:pt x="55" y="232"/>
                  </a:cubicBezTo>
                  <a:cubicBezTo>
                    <a:pt x="55" y="233"/>
                    <a:pt x="55" y="233"/>
                    <a:pt x="55" y="233"/>
                  </a:cubicBezTo>
                  <a:cubicBezTo>
                    <a:pt x="55" y="233"/>
                    <a:pt x="55" y="233"/>
                    <a:pt x="55" y="233"/>
                  </a:cubicBezTo>
                  <a:cubicBezTo>
                    <a:pt x="55" y="233"/>
                    <a:pt x="55" y="233"/>
                    <a:pt x="55" y="233"/>
                  </a:cubicBezTo>
                  <a:cubicBezTo>
                    <a:pt x="55" y="233"/>
                    <a:pt x="55" y="233"/>
                    <a:pt x="55" y="233"/>
                  </a:cubicBezTo>
                  <a:cubicBezTo>
                    <a:pt x="56" y="233"/>
                    <a:pt x="56" y="233"/>
                    <a:pt x="56" y="233"/>
                  </a:cubicBezTo>
                  <a:cubicBezTo>
                    <a:pt x="56" y="232"/>
                    <a:pt x="56" y="232"/>
                    <a:pt x="56" y="232"/>
                  </a:cubicBezTo>
                  <a:cubicBezTo>
                    <a:pt x="56" y="233"/>
                    <a:pt x="56" y="233"/>
                    <a:pt x="56" y="233"/>
                  </a:cubicBezTo>
                  <a:cubicBezTo>
                    <a:pt x="56" y="233"/>
                    <a:pt x="56" y="233"/>
                    <a:pt x="56" y="233"/>
                  </a:cubicBezTo>
                  <a:cubicBezTo>
                    <a:pt x="56" y="233"/>
                    <a:pt x="56" y="233"/>
                    <a:pt x="56" y="233"/>
                  </a:cubicBezTo>
                  <a:cubicBezTo>
                    <a:pt x="56" y="234"/>
                    <a:pt x="56" y="234"/>
                    <a:pt x="56" y="234"/>
                  </a:cubicBezTo>
                  <a:cubicBezTo>
                    <a:pt x="55" y="234"/>
                    <a:pt x="55" y="234"/>
                    <a:pt x="55" y="234"/>
                  </a:cubicBezTo>
                  <a:cubicBezTo>
                    <a:pt x="55" y="235"/>
                    <a:pt x="55" y="235"/>
                    <a:pt x="55" y="235"/>
                  </a:cubicBezTo>
                  <a:cubicBezTo>
                    <a:pt x="55" y="235"/>
                    <a:pt x="55" y="235"/>
                    <a:pt x="55" y="235"/>
                  </a:cubicBezTo>
                  <a:cubicBezTo>
                    <a:pt x="55" y="236"/>
                    <a:pt x="55" y="236"/>
                    <a:pt x="55" y="236"/>
                  </a:cubicBezTo>
                  <a:cubicBezTo>
                    <a:pt x="56" y="236"/>
                    <a:pt x="56" y="236"/>
                    <a:pt x="56" y="236"/>
                  </a:cubicBezTo>
                  <a:cubicBezTo>
                    <a:pt x="56" y="236"/>
                    <a:pt x="56" y="236"/>
                    <a:pt x="56" y="236"/>
                  </a:cubicBezTo>
                  <a:cubicBezTo>
                    <a:pt x="56" y="236"/>
                    <a:pt x="56" y="236"/>
                    <a:pt x="56" y="236"/>
                  </a:cubicBezTo>
                  <a:cubicBezTo>
                    <a:pt x="56" y="236"/>
                    <a:pt x="56" y="236"/>
                    <a:pt x="56" y="236"/>
                  </a:cubicBezTo>
                  <a:cubicBezTo>
                    <a:pt x="56" y="236"/>
                    <a:pt x="56" y="236"/>
                    <a:pt x="56" y="236"/>
                  </a:cubicBezTo>
                  <a:cubicBezTo>
                    <a:pt x="56" y="237"/>
                    <a:pt x="56" y="237"/>
                    <a:pt x="56" y="237"/>
                  </a:cubicBezTo>
                  <a:cubicBezTo>
                    <a:pt x="56" y="237"/>
                    <a:pt x="56" y="237"/>
                    <a:pt x="56" y="237"/>
                  </a:cubicBezTo>
                  <a:cubicBezTo>
                    <a:pt x="56" y="237"/>
                    <a:pt x="56" y="237"/>
                    <a:pt x="56" y="237"/>
                  </a:cubicBezTo>
                  <a:cubicBezTo>
                    <a:pt x="56" y="237"/>
                    <a:pt x="56" y="237"/>
                    <a:pt x="56" y="237"/>
                  </a:cubicBezTo>
                  <a:cubicBezTo>
                    <a:pt x="56" y="237"/>
                    <a:pt x="56" y="237"/>
                    <a:pt x="56" y="237"/>
                  </a:cubicBezTo>
                  <a:cubicBezTo>
                    <a:pt x="56" y="237"/>
                    <a:pt x="56" y="237"/>
                    <a:pt x="56" y="237"/>
                  </a:cubicBezTo>
                  <a:cubicBezTo>
                    <a:pt x="57" y="237"/>
                    <a:pt x="57" y="237"/>
                    <a:pt x="57" y="237"/>
                  </a:cubicBezTo>
                  <a:cubicBezTo>
                    <a:pt x="57" y="237"/>
                    <a:pt x="57" y="237"/>
                    <a:pt x="57" y="237"/>
                  </a:cubicBezTo>
                  <a:cubicBezTo>
                    <a:pt x="57" y="237"/>
                    <a:pt x="57" y="237"/>
                    <a:pt x="57" y="237"/>
                  </a:cubicBezTo>
                  <a:cubicBezTo>
                    <a:pt x="57" y="237"/>
                    <a:pt x="57" y="238"/>
                    <a:pt x="57" y="238"/>
                  </a:cubicBezTo>
                  <a:cubicBezTo>
                    <a:pt x="57" y="238"/>
                    <a:pt x="57" y="238"/>
                    <a:pt x="57" y="238"/>
                  </a:cubicBezTo>
                  <a:cubicBezTo>
                    <a:pt x="57" y="238"/>
                    <a:pt x="57" y="238"/>
                    <a:pt x="57" y="238"/>
                  </a:cubicBezTo>
                  <a:cubicBezTo>
                    <a:pt x="57" y="238"/>
                    <a:pt x="57" y="238"/>
                    <a:pt x="57" y="238"/>
                  </a:cubicBezTo>
                  <a:cubicBezTo>
                    <a:pt x="57" y="238"/>
                    <a:pt x="57" y="238"/>
                    <a:pt x="57" y="238"/>
                  </a:cubicBezTo>
                  <a:cubicBezTo>
                    <a:pt x="57" y="238"/>
                    <a:pt x="57" y="238"/>
                    <a:pt x="57" y="238"/>
                  </a:cubicBezTo>
                  <a:cubicBezTo>
                    <a:pt x="57" y="238"/>
                    <a:pt x="57" y="238"/>
                    <a:pt x="57" y="238"/>
                  </a:cubicBezTo>
                  <a:cubicBezTo>
                    <a:pt x="57" y="239"/>
                    <a:pt x="57" y="239"/>
                    <a:pt x="57" y="239"/>
                  </a:cubicBezTo>
                  <a:cubicBezTo>
                    <a:pt x="57" y="239"/>
                    <a:pt x="57" y="239"/>
                    <a:pt x="57" y="239"/>
                  </a:cubicBezTo>
                  <a:cubicBezTo>
                    <a:pt x="57" y="239"/>
                    <a:pt x="57" y="239"/>
                    <a:pt x="57" y="239"/>
                  </a:cubicBezTo>
                  <a:cubicBezTo>
                    <a:pt x="57" y="239"/>
                    <a:pt x="57" y="239"/>
                    <a:pt x="57" y="239"/>
                  </a:cubicBezTo>
                  <a:cubicBezTo>
                    <a:pt x="58" y="239"/>
                    <a:pt x="58" y="239"/>
                    <a:pt x="58" y="239"/>
                  </a:cubicBezTo>
                  <a:cubicBezTo>
                    <a:pt x="58" y="239"/>
                    <a:pt x="58" y="239"/>
                    <a:pt x="58" y="239"/>
                  </a:cubicBezTo>
                  <a:cubicBezTo>
                    <a:pt x="58" y="239"/>
                    <a:pt x="58" y="239"/>
                    <a:pt x="58" y="239"/>
                  </a:cubicBezTo>
                  <a:cubicBezTo>
                    <a:pt x="58" y="239"/>
                    <a:pt x="58" y="239"/>
                    <a:pt x="58" y="239"/>
                  </a:cubicBezTo>
                  <a:cubicBezTo>
                    <a:pt x="57" y="240"/>
                    <a:pt x="57" y="240"/>
                    <a:pt x="57" y="240"/>
                  </a:cubicBezTo>
                  <a:cubicBezTo>
                    <a:pt x="57" y="240"/>
                    <a:pt x="57" y="240"/>
                    <a:pt x="57" y="240"/>
                  </a:cubicBezTo>
                  <a:cubicBezTo>
                    <a:pt x="58" y="240"/>
                    <a:pt x="58" y="240"/>
                    <a:pt x="58" y="240"/>
                  </a:cubicBezTo>
                  <a:cubicBezTo>
                    <a:pt x="58" y="240"/>
                    <a:pt x="58" y="240"/>
                    <a:pt x="58" y="240"/>
                  </a:cubicBezTo>
                  <a:cubicBezTo>
                    <a:pt x="58" y="240"/>
                    <a:pt x="58" y="240"/>
                    <a:pt x="58" y="240"/>
                  </a:cubicBezTo>
                  <a:cubicBezTo>
                    <a:pt x="58" y="240"/>
                    <a:pt x="58" y="240"/>
                    <a:pt x="58" y="240"/>
                  </a:cubicBezTo>
                  <a:cubicBezTo>
                    <a:pt x="58" y="240"/>
                    <a:pt x="58" y="240"/>
                    <a:pt x="58" y="240"/>
                  </a:cubicBezTo>
                  <a:cubicBezTo>
                    <a:pt x="59" y="240"/>
                    <a:pt x="59" y="240"/>
                    <a:pt x="59" y="240"/>
                  </a:cubicBezTo>
                  <a:cubicBezTo>
                    <a:pt x="59" y="240"/>
                    <a:pt x="59" y="240"/>
                    <a:pt x="59" y="240"/>
                  </a:cubicBezTo>
                  <a:cubicBezTo>
                    <a:pt x="59" y="241"/>
                    <a:pt x="59" y="241"/>
                    <a:pt x="59" y="241"/>
                  </a:cubicBezTo>
                  <a:cubicBezTo>
                    <a:pt x="59" y="241"/>
                    <a:pt x="59" y="241"/>
                    <a:pt x="59" y="241"/>
                  </a:cubicBezTo>
                  <a:cubicBezTo>
                    <a:pt x="59" y="241"/>
                    <a:pt x="59" y="241"/>
                    <a:pt x="59" y="241"/>
                  </a:cubicBezTo>
                  <a:cubicBezTo>
                    <a:pt x="60" y="241"/>
                    <a:pt x="60" y="241"/>
                    <a:pt x="60" y="241"/>
                  </a:cubicBezTo>
                  <a:cubicBezTo>
                    <a:pt x="60" y="241"/>
                    <a:pt x="60" y="241"/>
                    <a:pt x="60" y="241"/>
                  </a:cubicBezTo>
                  <a:cubicBezTo>
                    <a:pt x="60" y="241"/>
                    <a:pt x="60" y="241"/>
                    <a:pt x="60" y="241"/>
                  </a:cubicBezTo>
                  <a:cubicBezTo>
                    <a:pt x="60" y="241"/>
                    <a:pt x="60" y="241"/>
                    <a:pt x="60" y="241"/>
                  </a:cubicBezTo>
                  <a:cubicBezTo>
                    <a:pt x="60" y="242"/>
                    <a:pt x="60" y="242"/>
                    <a:pt x="60" y="242"/>
                  </a:cubicBezTo>
                  <a:cubicBezTo>
                    <a:pt x="60" y="242"/>
                    <a:pt x="60" y="242"/>
                    <a:pt x="60" y="242"/>
                  </a:cubicBezTo>
                  <a:cubicBezTo>
                    <a:pt x="60" y="242"/>
                    <a:pt x="60" y="242"/>
                    <a:pt x="60" y="242"/>
                  </a:cubicBezTo>
                  <a:cubicBezTo>
                    <a:pt x="60" y="242"/>
                    <a:pt x="60" y="242"/>
                    <a:pt x="60" y="242"/>
                  </a:cubicBezTo>
                  <a:cubicBezTo>
                    <a:pt x="60" y="242"/>
                    <a:pt x="60" y="242"/>
                    <a:pt x="60" y="242"/>
                  </a:cubicBezTo>
                  <a:cubicBezTo>
                    <a:pt x="60" y="243"/>
                    <a:pt x="60" y="243"/>
                    <a:pt x="60" y="243"/>
                  </a:cubicBezTo>
                  <a:cubicBezTo>
                    <a:pt x="61" y="243"/>
                    <a:pt x="61" y="243"/>
                    <a:pt x="61" y="243"/>
                  </a:cubicBezTo>
                  <a:cubicBezTo>
                    <a:pt x="61" y="243"/>
                    <a:pt x="61" y="243"/>
                    <a:pt x="61" y="243"/>
                  </a:cubicBezTo>
                  <a:cubicBezTo>
                    <a:pt x="61" y="243"/>
                    <a:pt x="61" y="243"/>
                    <a:pt x="61" y="243"/>
                  </a:cubicBezTo>
                  <a:cubicBezTo>
                    <a:pt x="61" y="244"/>
                    <a:pt x="61" y="244"/>
                    <a:pt x="61" y="244"/>
                  </a:cubicBezTo>
                  <a:cubicBezTo>
                    <a:pt x="61" y="244"/>
                    <a:pt x="61" y="244"/>
                    <a:pt x="61" y="244"/>
                  </a:cubicBezTo>
                  <a:cubicBezTo>
                    <a:pt x="62" y="244"/>
                    <a:pt x="62" y="244"/>
                    <a:pt x="62" y="244"/>
                  </a:cubicBezTo>
                  <a:cubicBezTo>
                    <a:pt x="62" y="244"/>
                    <a:pt x="62" y="244"/>
                    <a:pt x="62" y="244"/>
                  </a:cubicBezTo>
                  <a:cubicBezTo>
                    <a:pt x="62" y="244"/>
                    <a:pt x="62" y="244"/>
                    <a:pt x="62" y="244"/>
                  </a:cubicBezTo>
                  <a:cubicBezTo>
                    <a:pt x="62" y="244"/>
                    <a:pt x="62" y="244"/>
                    <a:pt x="62" y="244"/>
                  </a:cubicBezTo>
                  <a:cubicBezTo>
                    <a:pt x="61" y="245"/>
                    <a:pt x="61" y="245"/>
                    <a:pt x="61" y="245"/>
                  </a:cubicBezTo>
                  <a:cubicBezTo>
                    <a:pt x="61" y="245"/>
                    <a:pt x="61" y="245"/>
                    <a:pt x="61" y="245"/>
                  </a:cubicBezTo>
                  <a:cubicBezTo>
                    <a:pt x="61" y="245"/>
                    <a:pt x="61" y="245"/>
                    <a:pt x="61" y="245"/>
                  </a:cubicBezTo>
                  <a:cubicBezTo>
                    <a:pt x="79" y="247"/>
                    <a:pt x="98" y="249"/>
                    <a:pt x="116" y="251"/>
                  </a:cubicBezTo>
                  <a:cubicBezTo>
                    <a:pt x="116" y="251"/>
                    <a:pt x="116" y="251"/>
                    <a:pt x="116" y="251"/>
                  </a:cubicBezTo>
                  <a:cubicBezTo>
                    <a:pt x="119" y="217"/>
                    <a:pt x="122" y="183"/>
                    <a:pt x="125" y="149"/>
                  </a:cubicBezTo>
                  <a:cubicBezTo>
                    <a:pt x="128" y="115"/>
                    <a:pt x="131" y="80"/>
                    <a:pt x="134" y="46"/>
                  </a:cubicBezTo>
                  <a:cubicBezTo>
                    <a:pt x="135" y="36"/>
                    <a:pt x="136" y="26"/>
                    <a:pt x="137" y="15"/>
                  </a:cubicBezTo>
                  <a:lnTo>
                    <a:pt x="130" y="15"/>
                  </a:lnTo>
                  <a:close/>
                </a:path>
              </a:pathLst>
            </a:custGeom>
            <a:solidFill>
              <a:schemeClr val="accent1"/>
            </a:solidFill>
            <a:ln w="63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545" name="Freeform 12">
              <a:extLst>
                <a:ext uri="{FF2B5EF4-FFF2-40B4-BE49-F238E27FC236}">
                  <a16:creationId xmlns:a16="http://schemas.microsoft.com/office/drawing/2014/main" id="{FD8BD5AD-DF15-BBF0-253F-9E70643DCD9B}"/>
                </a:ext>
              </a:extLst>
            </p:cNvPr>
            <p:cNvSpPr>
              <a:spLocks/>
            </p:cNvSpPr>
            <p:nvPr/>
          </p:nvSpPr>
          <p:spPr bwMode="gray">
            <a:xfrm>
              <a:off x="4981575" y="3262313"/>
              <a:ext cx="388938" cy="330200"/>
            </a:xfrm>
            <a:custGeom>
              <a:avLst/>
              <a:gdLst>
                <a:gd name="T0" fmla="*/ 68 w 73"/>
                <a:gd name="T1" fmla="*/ 28 h 62"/>
                <a:gd name="T2" fmla="*/ 66 w 73"/>
                <a:gd name="T3" fmla="*/ 28 h 62"/>
                <a:gd name="T4" fmla="*/ 62 w 73"/>
                <a:gd name="T5" fmla="*/ 29 h 62"/>
                <a:gd name="T6" fmla="*/ 60 w 73"/>
                <a:gd name="T7" fmla="*/ 27 h 62"/>
                <a:gd name="T8" fmla="*/ 60 w 73"/>
                <a:gd name="T9" fmla="*/ 27 h 62"/>
                <a:gd name="T10" fmla="*/ 58 w 73"/>
                <a:gd name="T11" fmla="*/ 25 h 62"/>
                <a:gd name="T12" fmla="*/ 57 w 73"/>
                <a:gd name="T13" fmla="*/ 24 h 62"/>
                <a:gd name="T14" fmla="*/ 55 w 73"/>
                <a:gd name="T15" fmla="*/ 21 h 62"/>
                <a:gd name="T16" fmla="*/ 53 w 73"/>
                <a:gd name="T17" fmla="*/ 19 h 62"/>
                <a:gd name="T18" fmla="*/ 51 w 73"/>
                <a:gd name="T19" fmla="*/ 14 h 62"/>
                <a:gd name="T20" fmla="*/ 48 w 73"/>
                <a:gd name="T21" fmla="*/ 16 h 62"/>
                <a:gd name="T22" fmla="*/ 48 w 73"/>
                <a:gd name="T23" fmla="*/ 12 h 62"/>
                <a:gd name="T24" fmla="*/ 49 w 73"/>
                <a:gd name="T25" fmla="*/ 9 h 62"/>
                <a:gd name="T26" fmla="*/ 49 w 73"/>
                <a:gd name="T27" fmla="*/ 7 h 62"/>
                <a:gd name="T28" fmla="*/ 48 w 73"/>
                <a:gd name="T29" fmla="*/ 5 h 62"/>
                <a:gd name="T30" fmla="*/ 49 w 73"/>
                <a:gd name="T31" fmla="*/ 2 h 62"/>
                <a:gd name="T32" fmla="*/ 49 w 73"/>
                <a:gd name="T33" fmla="*/ 0 h 62"/>
                <a:gd name="T34" fmla="*/ 49 w 73"/>
                <a:gd name="T35" fmla="*/ 1 h 62"/>
                <a:gd name="T36" fmla="*/ 47 w 73"/>
                <a:gd name="T37" fmla="*/ 0 h 62"/>
                <a:gd name="T38" fmla="*/ 41 w 73"/>
                <a:gd name="T39" fmla="*/ 3 h 62"/>
                <a:gd name="T40" fmla="*/ 38 w 73"/>
                <a:gd name="T41" fmla="*/ 6 h 62"/>
                <a:gd name="T42" fmla="*/ 29 w 73"/>
                <a:gd name="T43" fmla="*/ 2 h 62"/>
                <a:gd name="T44" fmla="*/ 26 w 73"/>
                <a:gd name="T45" fmla="*/ 1 h 62"/>
                <a:gd name="T46" fmla="*/ 20 w 73"/>
                <a:gd name="T47" fmla="*/ 5 h 62"/>
                <a:gd name="T48" fmla="*/ 19 w 73"/>
                <a:gd name="T49" fmla="*/ 7 h 62"/>
                <a:gd name="T50" fmla="*/ 17 w 73"/>
                <a:gd name="T51" fmla="*/ 8 h 62"/>
                <a:gd name="T52" fmla="*/ 14 w 73"/>
                <a:gd name="T53" fmla="*/ 9 h 62"/>
                <a:gd name="T54" fmla="*/ 13 w 73"/>
                <a:gd name="T55" fmla="*/ 9 h 62"/>
                <a:gd name="T56" fmla="*/ 10 w 73"/>
                <a:gd name="T57" fmla="*/ 9 h 62"/>
                <a:gd name="T58" fmla="*/ 7 w 73"/>
                <a:gd name="T59" fmla="*/ 9 h 62"/>
                <a:gd name="T60" fmla="*/ 4 w 73"/>
                <a:gd name="T61" fmla="*/ 11 h 62"/>
                <a:gd name="T62" fmla="*/ 1 w 73"/>
                <a:gd name="T63" fmla="*/ 14 h 62"/>
                <a:gd name="T64" fmla="*/ 3 w 73"/>
                <a:gd name="T65" fmla="*/ 18 h 62"/>
                <a:gd name="T66" fmla="*/ 9 w 73"/>
                <a:gd name="T67" fmla="*/ 17 h 62"/>
                <a:gd name="T68" fmla="*/ 14 w 73"/>
                <a:gd name="T69" fmla="*/ 21 h 62"/>
                <a:gd name="T70" fmla="*/ 21 w 73"/>
                <a:gd name="T71" fmla="*/ 45 h 62"/>
                <a:gd name="T72" fmla="*/ 27 w 73"/>
                <a:gd name="T73" fmla="*/ 47 h 62"/>
                <a:gd name="T74" fmla="*/ 28 w 73"/>
                <a:gd name="T75" fmla="*/ 52 h 62"/>
                <a:gd name="T76" fmla="*/ 35 w 73"/>
                <a:gd name="T77" fmla="*/ 56 h 62"/>
                <a:gd name="T78" fmla="*/ 37 w 73"/>
                <a:gd name="T79" fmla="*/ 60 h 62"/>
                <a:gd name="T80" fmla="*/ 38 w 73"/>
                <a:gd name="T81" fmla="*/ 61 h 62"/>
                <a:gd name="T82" fmla="*/ 39 w 73"/>
                <a:gd name="T83" fmla="*/ 60 h 62"/>
                <a:gd name="T84" fmla="*/ 43 w 73"/>
                <a:gd name="T85" fmla="*/ 59 h 62"/>
                <a:gd name="T86" fmla="*/ 44 w 73"/>
                <a:gd name="T87" fmla="*/ 58 h 62"/>
                <a:gd name="T88" fmla="*/ 45 w 73"/>
                <a:gd name="T89" fmla="*/ 56 h 62"/>
                <a:gd name="T90" fmla="*/ 47 w 73"/>
                <a:gd name="T91" fmla="*/ 54 h 62"/>
                <a:gd name="T92" fmla="*/ 45 w 73"/>
                <a:gd name="T93" fmla="*/ 53 h 62"/>
                <a:gd name="T94" fmla="*/ 46 w 73"/>
                <a:gd name="T95" fmla="*/ 51 h 62"/>
                <a:gd name="T96" fmla="*/ 46 w 73"/>
                <a:gd name="T97" fmla="*/ 54 h 62"/>
                <a:gd name="T98" fmla="*/ 50 w 73"/>
                <a:gd name="T99" fmla="*/ 54 h 62"/>
                <a:gd name="T100" fmla="*/ 54 w 73"/>
                <a:gd name="T101" fmla="*/ 51 h 62"/>
                <a:gd name="T102" fmla="*/ 60 w 73"/>
                <a:gd name="T103" fmla="*/ 44 h 62"/>
                <a:gd name="T104" fmla="*/ 63 w 73"/>
                <a:gd name="T105" fmla="*/ 42 h 62"/>
                <a:gd name="T106" fmla="*/ 63 w 73"/>
                <a:gd name="T107" fmla="*/ 39 h 62"/>
                <a:gd name="T108" fmla="*/ 62 w 73"/>
                <a:gd name="T109" fmla="*/ 35 h 62"/>
                <a:gd name="T110" fmla="*/ 60 w 73"/>
                <a:gd name="T111" fmla="*/ 33 h 62"/>
                <a:gd name="T112" fmla="*/ 64 w 73"/>
                <a:gd name="T113" fmla="*/ 36 h 62"/>
                <a:gd name="T114" fmla="*/ 65 w 73"/>
                <a:gd name="T115" fmla="*/ 38 h 62"/>
                <a:gd name="T116" fmla="*/ 66 w 73"/>
                <a:gd name="T117" fmla="*/ 36 h 62"/>
                <a:gd name="T118" fmla="*/ 68 w 73"/>
                <a:gd name="T119" fmla="*/ 35 h 62"/>
                <a:gd name="T120" fmla="*/ 68 w 73"/>
                <a:gd name="T121" fmla="*/ 32 h 62"/>
                <a:gd name="T122" fmla="*/ 69 w 73"/>
                <a:gd name="T123" fmla="*/ 31 h 62"/>
                <a:gd name="T124" fmla="*/ 73 w 73"/>
                <a:gd name="T125" fmla="*/ 2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3" h="62">
                  <a:moveTo>
                    <a:pt x="72" y="28"/>
                  </a:moveTo>
                  <a:cubicBezTo>
                    <a:pt x="72" y="28"/>
                    <a:pt x="72" y="28"/>
                    <a:pt x="72" y="28"/>
                  </a:cubicBezTo>
                  <a:cubicBezTo>
                    <a:pt x="71" y="28"/>
                    <a:pt x="71" y="28"/>
                    <a:pt x="71" y="28"/>
                  </a:cubicBezTo>
                  <a:cubicBezTo>
                    <a:pt x="70" y="27"/>
                    <a:pt x="70" y="27"/>
                    <a:pt x="70" y="27"/>
                  </a:cubicBezTo>
                  <a:cubicBezTo>
                    <a:pt x="69" y="27"/>
                    <a:pt x="69" y="27"/>
                    <a:pt x="69" y="27"/>
                  </a:cubicBezTo>
                  <a:cubicBezTo>
                    <a:pt x="69" y="28"/>
                    <a:pt x="69" y="28"/>
                    <a:pt x="69" y="28"/>
                  </a:cubicBezTo>
                  <a:cubicBezTo>
                    <a:pt x="69" y="28"/>
                    <a:pt x="69" y="28"/>
                    <a:pt x="69" y="28"/>
                  </a:cubicBezTo>
                  <a:cubicBezTo>
                    <a:pt x="68" y="28"/>
                    <a:pt x="68" y="28"/>
                    <a:pt x="68" y="28"/>
                  </a:cubicBezTo>
                  <a:cubicBezTo>
                    <a:pt x="68" y="28"/>
                    <a:pt x="68" y="28"/>
                    <a:pt x="68" y="28"/>
                  </a:cubicBezTo>
                  <a:cubicBezTo>
                    <a:pt x="68" y="28"/>
                    <a:pt x="68" y="28"/>
                    <a:pt x="68" y="28"/>
                  </a:cubicBezTo>
                  <a:cubicBezTo>
                    <a:pt x="68" y="28"/>
                    <a:pt x="68" y="28"/>
                    <a:pt x="68" y="28"/>
                  </a:cubicBezTo>
                  <a:cubicBezTo>
                    <a:pt x="68" y="28"/>
                    <a:pt x="68" y="28"/>
                    <a:pt x="68" y="28"/>
                  </a:cubicBezTo>
                  <a:cubicBezTo>
                    <a:pt x="68" y="28"/>
                    <a:pt x="68" y="28"/>
                    <a:pt x="68" y="28"/>
                  </a:cubicBezTo>
                  <a:cubicBezTo>
                    <a:pt x="67" y="28"/>
                    <a:pt x="67" y="28"/>
                    <a:pt x="67" y="28"/>
                  </a:cubicBezTo>
                  <a:cubicBezTo>
                    <a:pt x="67" y="28"/>
                    <a:pt x="67" y="28"/>
                    <a:pt x="67" y="28"/>
                  </a:cubicBezTo>
                  <a:cubicBezTo>
                    <a:pt x="67" y="28"/>
                    <a:pt x="67" y="28"/>
                    <a:pt x="67" y="28"/>
                  </a:cubicBezTo>
                  <a:cubicBezTo>
                    <a:pt x="67" y="29"/>
                    <a:pt x="67" y="29"/>
                    <a:pt x="67" y="29"/>
                  </a:cubicBezTo>
                  <a:cubicBezTo>
                    <a:pt x="67" y="29"/>
                    <a:pt x="67" y="29"/>
                    <a:pt x="67" y="29"/>
                  </a:cubicBezTo>
                  <a:cubicBezTo>
                    <a:pt x="67" y="28"/>
                    <a:pt x="67" y="28"/>
                    <a:pt x="67" y="28"/>
                  </a:cubicBezTo>
                  <a:cubicBezTo>
                    <a:pt x="67" y="28"/>
                    <a:pt x="67" y="28"/>
                    <a:pt x="67" y="28"/>
                  </a:cubicBezTo>
                  <a:cubicBezTo>
                    <a:pt x="66" y="28"/>
                    <a:pt x="66" y="28"/>
                    <a:pt x="66" y="28"/>
                  </a:cubicBezTo>
                  <a:cubicBezTo>
                    <a:pt x="66" y="28"/>
                    <a:pt x="66" y="28"/>
                    <a:pt x="66" y="28"/>
                  </a:cubicBezTo>
                  <a:cubicBezTo>
                    <a:pt x="65" y="28"/>
                    <a:pt x="65" y="28"/>
                    <a:pt x="65" y="28"/>
                  </a:cubicBezTo>
                  <a:cubicBezTo>
                    <a:pt x="64" y="28"/>
                    <a:pt x="64" y="28"/>
                    <a:pt x="64" y="28"/>
                  </a:cubicBezTo>
                  <a:cubicBezTo>
                    <a:pt x="64" y="28"/>
                    <a:pt x="64" y="28"/>
                    <a:pt x="64" y="28"/>
                  </a:cubicBezTo>
                  <a:cubicBezTo>
                    <a:pt x="64" y="28"/>
                    <a:pt x="64" y="28"/>
                    <a:pt x="64" y="28"/>
                  </a:cubicBezTo>
                  <a:cubicBezTo>
                    <a:pt x="64" y="28"/>
                    <a:pt x="64" y="28"/>
                    <a:pt x="64" y="28"/>
                  </a:cubicBezTo>
                  <a:cubicBezTo>
                    <a:pt x="64" y="28"/>
                    <a:pt x="64" y="28"/>
                    <a:pt x="64" y="28"/>
                  </a:cubicBezTo>
                  <a:cubicBezTo>
                    <a:pt x="64" y="28"/>
                    <a:pt x="64" y="28"/>
                    <a:pt x="64" y="28"/>
                  </a:cubicBezTo>
                  <a:cubicBezTo>
                    <a:pt x="63" y="28"/>
                    <a:pt x="63" y="28"/>
                    <a:pt x="63" y="28"/>
                  </a:cubicBezTo>
                  <a:cubicBezTo>
                    <a:pt x="63" y="28"/>
                    <a:pt x="63" y="28"/>
                    <a:pt x="63" y="28"/>
                  </a:cubicBezTo>
                  <a:cubicBezTo>
                    <a:pt x="62" y="29"/>
                    <a:pt x="62" y="29"/>
                    <a:pt x="62" y="29"/>
                  </a:cubicBezTo>
                  <a:cubicBezTo>
                    <a:pt x="62" y="29"/>
                    <a:pt x="62" y="29"/>
                    <a:pt x="62" y="29"/>
                  </a:cubicBezTo>
                  <a:cubicBezTo>
                    <a:pt x="61" y="29"/>
                    <a:pt x="61" y="29"/>
                    <a:pt x="61" y="29"/>
                  </a:cubicBezTo>
                  <a:cubicBezTo>
                    <a:pt x="61" y="28"/>
                    <a:pt x="61" y="28"/>
                    <a:pt x="61" y="28"/>
                  </a:cubicBezTo>
                  <a:cubicBezTo>
                    <a:pt x="61" y="28"/>
                    <a:pt x="61" y="28"/>
                    <a:pt x="61" y="28"/>
                  </a:cubicBezTo>
                  <a:cubicBezTo>
                    <a:pt x="61" y="28"/>
                    <a:pt x="61" y="28"/>
                    <a:pt x="61" y="28"/>
                  </a:cubicBezTo>
                  <a:cubicBezTo>
                    <a:pt x="61" y="27"/>
                    <a:pt x="61" y="27"/>
                    <a:pt x="61" y="27"/>
                  </a:cubicBezTo>
                  <a:cubicBezTo>
                    <a:pt x="61" y="27"/>
                    <a:pt x="61" y="27"/>
                    <a:pt x="61" y="27"/>
                  </a:cubicBezTo>
                  <a:cubicBezTo>
                    <a:pt x="60" y="26"/>
                    <a:pt x="60" y="26"/>
                    <a:pt x="60" y="26"/>
                  </a:cubicBezTo>
                  <a:cubicBezTo>
                    <a:pt x="60" y="27"/>
                    <a:pt x="60" y="27"/>
                    <a:pt x="60" y="27"/>
                  </a:cubicBezTo>
                  <a:cubicBezTo>
                    <a:pt x="60" y="27"/>
                    <a:pt x="60" y="27"/>
                    <a:pt x="60" y="27"/>
                  </a:cubicBezTo>
                  <a:cubicBezTo>
                    <a:pt x="60" y="27"/>
                    <a:pt x="60" y="27"/>
                    <a:pt x="60" y="27"/>
                  </a:cubicBezTo>
                  <a:cubicBezTo>
                    <a:pt x="60" y="27"/>
                    <a:pt x="60" y="27"/>
                    <a:pt x="60" y="27"/>
                  </a:cubicBezTo>
                  <a:cubicBezTo>
                    <a:pt x="60" y="28"/>
                    <a:pt x="60" y="28"/>
                    <a:pt x="60" y="28"/>
                  </a:cubicBezTo>
                  <a:cubicBezTo>
                    <a:pt x="59" y="28"/>
                    <a:pt x="59" y="28"/>
                    <a:pt x="59" y="28"/>
                  </a:cubicBezTo>
                  <a:cubicBezTo>
                    <a:pt x="59" y="28"/>
                    <a:pt x="59" y="28"/>
                    <a:pt x="59" y="28"/>
                  </a:cubicBezTo>
                  <a:cubicBezTo>
                    <a:pt x="59" y="28"/>
                    <a:pt x="59" y="28"/>
                    <a:pt x="59" y="28"/>
                  </a:cubicBezTo>
                  <a:cubicBezTo>
                    <a:pt x="59" y="28"/>
                    <a:pt x="59" y="28"/>
                    <a:pt x="59" y="28"/>
                  </a:cubicBezTo>
                  <a:cubicBezTo>
                    <a:pt x="59" y="28"/>
                    <a:pt x="59" y="28"/>
                    <a:pt x="59" y="28"/>
                  </a:cubicBezTo>
                  <a:cubicBezTo>
                    <a:pt x="59" y="28"/>
                    <a:pt x="59" y="28"/>
                    <a:pt x="59" y="28"/>
                  </a:cubicBezTo>
                  <a:cubicBezTo>
                    <a:pt x="59" y="28"/>
                    <a:pt x="59" y="28"/>
                    <a:pt x="59" y="28"/>
                  </a:cubicBezTo>
                  <a:cubicBezTo>
                    <a:pt x="59" y="27"/>
                    <a:pt x="59" y="27"/>
                    <a:pt x="59" y="27"/>
                  </a:cubicBezTo>
                  <a:cubicBezTo>
                    <a:pt x="60" y="27"/>
                    <a:pt x="60" y="27"/>
                    <a:pt x="60" y="27"/>
                  </a:cubicBezTo>
                  <a:cubicBezTo>
                    <a:pt x="60" y="27"/>
                    <a:pt x="60" y="27"/>
                    <a:pt x="60" y="27"/>
                  </a:cubicBezTo>
                  <a:cubicBezTo>
                    <a:pt x="60" y="26"/>
                    <a:pt x="60" y="26"/>
                    <a:pt x="60" y="26"/>
                  </a:cubicBezTo>
                  <a:cubicBezTo>
                    <a:pt x="59" y="26"/>
                    <a:pt x="59" y="26"/>
                    <a:pt x="59" y="26"/>
                  </a:cubicBezTo>
                  <a:cubicBezTo>
                    <a:pt x="59" y="25"/>
                    <a:pt x="59" y="25"/>
                    <a:pt x="59" y="25"/>
                  </a:cubicBezTo>
                  <a:cubicBezTo>
                    <a:pt x="59" y="25"/>
                    <a:pt x="59" y="25"/>
                    <a:pt x="59" y="25"/>
                  </a:cubicBezTo>
                  <a:cubicBezTo>
                    <a:pt x="59" y="25"/>
                    <a:pt x="59" y="25"/>
                    <a:pt x="59" y="25"/>
                  </a:cubicBezTo>
                  <a:cubicBezTo>
                    <a:pt x="58" y="25"/>
                    <a:pt x="58" y="25"/>
                    <a:pt x="58" y="25"/>
                  </a:cubicBezTo>
                  <a:cubicBezTo>
                    <a:pt x="58" y="25"/>
                    <a:pt x="58" y="25"/>
                    <a:pt x="58" y="25"/>
                  </a:cubicBezTo>
                  <a:cubicBezTo>
                    <a:pt x="58" y="25"/>
                    <a:pt x="58" y="25"/>
                    <a:pt x="58" y="25"/>
                  </a:cubicBezTo>
                  <a:cubicBezTo>
                    <a:pt x="58" y="25"/>
                    <a:pt x="58" y="25"/>
                    <a:pt x="58" y="25"/>
                  </a:cubicBezTo>
                  <a:cubicBezTo>
                    <a:pt x="58" y="25"/>
                    <a:pt x="58" y="25"/>
                    <a:pt x="58" y="25"/>
                  </a:cubicBezTo>
                  <a:cubicBezTo>
                    <a:pt x="58" y="25"/>
                    <a:pt x="58" y="25"/>
                    <a:pt x="58" y="25"/>
                  </a:cubicBezTo>
                  <a:cubicBezTo>
                    <a:pt x="58" y="25"/>
                    <a:pt x="58" y="25"/>
                    <a:pt x="58" y="25"/>
                  </a:cubicBezTo>
                  <a:cubicBezTo>
                    <a:pt x="58" y="25"/>
                    <a:pt x="58" y="25"/>
                    <a:pt x="58" y="25"/>
                  </a:cubicBezTo>
                  <a:cubicBezTo>
                    <a:pt x="58" y="25"/>
                    <a:pt x="58" y="25"/>
                    <a:pt x="58" y="25"/>
                  </a:cubicBezTo>
                  <a:cubicBezTo>
                    <a:pt x="58" y="25"/>
                    <a:pt x="58" y="25"/>
                    <a:pt x="58" y="25"/>
                  </a:cubicBezTo>
                  <a:cubicBezTo>
                    <a:pt x="58" y="25"/>
                    <a:pt x="58" y="25"/>
                    <a:pt x="58" y="25"/>
                  </a:cubicBezTo>
                  <a:cubicBezTo>
                    <a:pt x="58" y="25"/>
                    <a:pt x="58" y="25"/>
                    <a:pt x="58" y="25"/>
                  </a:cubicBezTo>
                  <a:cubicBezTo>
                    <a:pt x="58" y="24"/>
                    <a:pt x="58" y="24"/>
                    <a:pt x="58" y="24"/>
                  </a:cubicBezTo>
                  <a:cubicBezTo>
                    <a:pt x="58" y="24"/>
                    <a:pt x="58" y="24"/>
                    <a:pt x="58" y="24"/>
                  </a:cubicBezTo>
                  <a:cubicBezTo>
                    <a:pt x="58" y="24"/>
                    <a:pt x="58" y="24"/>
                    <a:pt x="58" y="24"/>
                  </a:cubicBezTo>
                  <a:cubicBezTo>
                    <a:pt x="57" y="24"/>
                    <a:pt x="57" y="24"/>
                    <a:pt x="57" y="24"/>
                  </a:cubicBezTo>
                  <a:cubicBezTo>
                    <a:pt x="57" y="24"/>
                    <a:pt x="57" y="24"/>
                    <a:pt x="57" y="24"/>
                  </a:cubicBezTo>
                  <a:cubicBezTo>
                    <a:pt x="57" y="23"/>
                    <a:pt x="57" y="23"/>
                    <a:pt x="57" y="23"/>
                  </a:cubicBezTo>
                  <a:cubicBezTo>
                    <a:pt x="57" y="22"/>
                    <a:pt x="57" y="22"/>
                    <a:pt x="57" y="22"/>
                  </a:cubicBezTo>
                  <a:cubicBezTo>
                    <a:pt x="57" y="22"/>
                    <a:pt x="57" y="22"/>
                    <a:pt x="57" y="22"/>
                  </a:cubicBezTo>
                  <a:cubicBezTo>
                    <a:pt x="57" y="21"/>
                    <a:pt x="57" y="21"/>
                    <a:pt x="57" y="21"/>
                  </a:cubicBezTo>
                  <a:cubicBezTo>
                    <a:pt x="56" y="21"/>
                    <a:pt x="56" y="21"/>
                    <a:pt x="56" y="21"/>
                  </a:cubicBezTo>
                  <a:cubicBezTo>
                    <a:pt x="56" y="21"/>
                    <a:pt x="56" y="21"/>
                    <a:pt x="56" y="21"/>
                  </a:cubicBezTo>
                  <a:cubicBezTo>
                    <a:pt x="56" y="21"/>
                    <a:pt x="56" y="21"/>
                    <a:pt x="56" y="21"/>
                  </a:cubicBezTo>
                  <a:cubicBezTo>
                    <a:pt x="56" y="21"/>
                    <a:pt x="56" y="21"/>
                    <a:pt x="56" y="21"/>
                  </a:cubicBezTo>
                  <a:cubicBezTo>
                    <a:pt x="56" y="22"/>
                    <a:pt x="56" y="22"/>
                    <a:pt x="56" y="22"/>
                  </a:cubicBezTo>
                  <a:cubicBezTo>
                    <a:pt x="55" y="21"/>
                    <a:pt x="55" y="21"/>
                    <a:pt x="55" y="21"/>
                  </a:cubicBezTo>
                  <a:cubicBezTo>
                    <a:pt x="55" y="21"/>
                    <a:pt x="55" y="21"/>
                    <a:pt x="55" y="21"/>
                  </a:cubicBezTo>
                  <a:cubicBezTo>
                    <a:pt x="55" y="22"/>
                    <a:pt x="55" y="22"/>
                    <a:pt x="55" y="22"/>
                  </a:cubicBezTo>
                  <a:cubicBezTo>
                    <a:pt x="55" y="22"/>
                    <a:pt x="55" y="22"/>
                    <a:pt x="55" y="22"/>
                  </a:cubicBezTo>
                  <a:cubicBezTo>
                    <a:pt x="54" y="21"/>
                    <a:pt x="54" y="21"/>
                    <a:pt x="54" y="21"/>
                  </a:cubicBezTo>
                  <a:cubicBezTo>
                    <a:pt x="54" y="21"/>
                    <a:pt x="54" y="21"/>
                    <a:pt x="54" y="21"/>
                  </a:cubicBezTo>
                  <a:cubicBezTo>
                    <a:pt x="55" y="21"/>
                    <a:pt x="55" y="21"/>
                    <a:pt x="55" y="21"/>
                  </a:cubicBezTo>
                  <a:cubicBezTo>
                    <a:pt x="55" y="21"/>
                    <a:pt x="55" y="21"/>
                    <a:pt x="55" y="21"/>
                  </a:cubicBezTo>
                  <a:cubicBezTo>
                    <a:pt x="54" y="20"/>
                    <a:pt x="54" y="20"/>
                    <a:pt x="54" y="20"/>
                  </a:cubicBezTo>
                  <a:cubicBezTo>
                    <a:pt x="54" y="20"/>
                    <a:pt x="54" y="20"/>
                    <a:pt x="54" y="20"/>
                  </a:cubicBezTo>
                  <a:cubicBezTo>
                    <a:pt x="53" y="19"/>
                    <a:pt x="53" y="19"/>
                    <a:pt x="53" y="19"/>
                  </a:cubicBezTo>
                  <a:cubicBezTo>
                    <a:pt x="53" y="19"/>
                    <a:pt x="53" y="19"/>
                    <a:pt x="53" y="19"/>
                  </a:cubicBezTo>
                  <a:cubicBezTo>
                    <a:pt x="53" y="19"/>
                    <a:pt x="53" y="19"/>
                    <a:pt x="53" y="19"/>
                  </a:cubicBezTo>
                  <a:cubicBezTo>
                    <a:pt x="53" y="18"/>
                    <a:pt x="53" y="18"/>
                    <a:pt x="53" y="18"/>
                  </a:cubicBezTo>
                  <a:cubicBezTo>
                    <a:pt x="52" y="17"/>
                    <a:pt x="52" y="17"/>
                    <a:pt x="52" y="17"/>
                  </a:cubicBezTo>
                  <a:cubicBezTo>
                    <a:pt x="53" y="16"/>
                    <a:pt x="53" y="16"/>
                    <a:pt x="53" y="16"/>
                  </a:cubicBezTo>
                  <a:cubicBezTo>
                    <a:pt x="53" y="16"/>
                    <a:pt x="53" y="16"/>
                    <a:pt x="53" y="16"/>
                  </a:cubicBezTo>
                  <a:cubicBezTo>
                    <a:pt x="53" y="16"/>
                    <a:pt x="53" y="16"/>
                    <a:pt x="53" y="16"/>
                  </a:cubicBezTo>
                  <a:cubicBezTo>
                    <a:pt x="53" y="15"/>
                    <a:pt x="53" y="15"/>
                    <a:pt x="53" y="15"/>
                  </a:cubicBezTo>
                  <a:cubicBezTo>
                    <a:pt x="53" y="15"/>
                    <a:pt x="53" y="15"/>
                    <a:pt x="53" y="15"/>
                  </a:cubicBezTo>
                  <a:cubicBezTo>
                    <a:pt x="52" y="14"/>
                    <a:pt x="52" y="14"/>
                    <a:pt x="52" y="14"/>
                  </a:cubicBezTo>
                  <a:cubicBezTo>
                    <a:pt x="53" y="14"/>
                    <a:pt x="53" y="14"/>
                    <a:pt x="53" y="14"/>
                  </a:cubicBezTo>
                  <a:cubicBezTo>
                    <a:pt x="52" y="14"/>
                    <a:pt x="52" y="14"/>
                    <a:pt x="52" y="14"/>
                  </a:cubicBezTo>
                  <a:cubicBezTo>
                    <a:pt x="51" y="14"/>
                    <a:pt x="51" y="14"/>
                    <a:pt x="51" y="14"/>
                  </a:cubicBezTo>
                  <a:cubicBezTo>
                    <a:pt x="51" y="14"/>
                    <a:pt x="51" y="14"/>
                    <a:pt x="51" y="14"/>
                  </a:cubicBezTo>
                  <a:cubicBezTo>
                    <a:pt x="51" y="15"/>
                    <a:pt x="51" y="15"/>
                    <a:pt x="51" y="15"/>
                  </a:cubicBezTo>
                  <a:cubicBezTo>
                    <a:pt x="51" y="15"/>
                    <a:pt x="51" y="15"/>
                    <a:pt x="51" y="15"/>
                  </a:cubicBezTo>
                  <a:cubicBezTo>
                    <a:pt x="51" y="15"/>
                    <a:pt x="51" y="15"/>
                    <a:pt x="51" y="15"/>
                  </a:cubicBezTo>
                  <a:cubicBezTo>
                    <a:pt x="50" y="15"/>
                    <a:pt x="50" y="15"/>
                    <a:pt x="50" y="15"/>
                  </a:cubicBezTo>
                  <a:cubicBezTo>
                    <a:pt x="50" y="15"/>
                    <a:pt x="50" y="15"/>
                    <a:pt x="50" y="15"/>
                  </a:cubicBezTo>
                  <a:cubicBezTo>
                    <a:pt x="50" y="15"/>
                    <a:pt x="50" y="15"/>
                    <a:pt x="50" y="15"/>
                  </a:cubicBezTo>
                  <a:cubicBezTo>
                    <a:pt x="50" y="15"/>
                    <a:pt x="50" y="15"/>
                    <a:pt x="50" y="15"/>
                  </a:cubicBezTo>
                  <a:cubicBezTo>
                    <a:pt x="49" y="15"/>
                    <a:pt x="49" y="15"/>
                    <a:pt x="49" y="15"/>
                  </a:cubicBezTo>
                  <a:cubicBezTo>
                    <a:pt x="48" y="16"/>
                    <a:pt x="48" y="16"/>
                    <a:pt x="48" y="16"/>
                  </a:cubicBezTo>
                  <a:cubicBezTo>
                    <a:pt x="48" y="16"/>
                    <a:pt x="48" y="16"/>
                    <a:pt x="48" y="16"/>
                  </a:cubicBezTo>
                  <a:cubicBezTo>
                    <a:pt x="47" y="16"/>
                    <a:pt x="47" y="16"/>
                    <a:pt x="47" y="16"/>
                  </a:cubicBezTo>
                  <a:cubicBezTo>
                    <a:pt x="47" y="16"/>
                    <a:pt x="47" y="16"/>
                    <a:pt x="47" y="16"/>
                  </a:cubicBezTo>
                  <a:cubicBezTo>
                    <a:pt x="47" y="16"/>
                    <a:pt x="47" y="16"/>
                    <a:pt x="47" y="16"/>
                  </a:cubicBezTo>
                  <a:cubicBezTo>
                    <a:pt x="47" y="15"/>
                    <a:pt x="47" y="15"/>
                    <a:pt x="47" y="15"/>
                  </a:cubicBezTo>
                  <a:cubicBezTo>
                    <a:pt x="47" y="16"/>
                    <a:pt x="47" y="16"/>
                    <a:pt x="47" y="16"/>
                  </a:cubicBezTo>
                  <a:cubicBezTo>
                    <a:pt x="46" y="16"/>
                    <a:pt x="46" y="16"/>
                    <a:pt x="46" y="16"/>
                  </a:cubicBezTo>
                  <a:cubicBezTo>
                    <a:pt x="45" y="16"/>
                    <a:pt x="45" y="16"/>
                    <a:pt x="45" y="16"/>
                  </a:cubicBezTo>
                  <a:cubicBezTo>
                    <a:pt x="45" y="16"/>
                    <a:pt x="45" y="16"/>
                    <a:pt x="45" y="16"/>
                  </a:cubicBezTo>
                  <a:cubicBezTo>
                    <a:pt x="46" y="16"/>
                    <a:pt x="46" y="16"/>
                    <a:pt x="46" y="16"/>
                  </a:cubicBezTo>
                  <a:cubicBezTo>
                    <a:pt x="48" y="13"/>
                    <a:pt x="48" y="13"/>
                    <a:pt x="48" y="13"/>
                  </a:cubicBezTo>
                  <a:cubicBezTo>
                    <a:pt x="48" y="12"/>
                    <a:pt x="48" y="12"/>
                    <a:pt x="48" y="12"/>
                  </a:cubicBezTo>
                  <a:cubicBezTo>
                    <a:pt x="48" y="12"/>
                    <a:pt x="48" y="12"/>
                    <a:pt x="48" y="12"/>
                  </a:cubicBezTo>
                  <a:cubicBezTo>
                    <a:pt x="48" y="12"/>
                    <a:pt x="48" y="12"/>
                    <a:pt x="48" y="12"/>
                  </a:cubicBezTo>
                  <a:cubicBezTo>
                    <a:pt x="48" y="11"/>
                    <a:pt x="48" y="11"/>
                    <a:pt x="48" y="11"/>
                  </a:cubicBezTo>
                  <a:cubicBezTo>
                    <a:pt x="49" y="11"/>
                    <a:pt x="49" y="11"/>
                    <a:pt x="49" y="11"/>
                  </a:cubicBezTo>
                  <a:cubicBezTo>
                    <a:pt x="49" y="11"/>
                    <a:pt x="49" y="11"/>
                    <a:pt x="49" y="11"/>
                  </a:cubicBezTo>
                  <a:cubicBezTo>
                    <a:pt x="49" y="10"/>
                    <a:pt x="49" y="10"/>
                    <a:pt x="49" y="10"/>
                  </a:cubicBezTo>
                  <a:cubicBezTo>
                    <a:pt x="49" y="10"/>
                    <a:pt x="49" y="10"/>
                    <a:pt x="49" y="10"/>
                  </a:cubicBezTo>
                  <a:cubicBezTo>
                    <a:pt x="49" y="10"/>
                    <a:pt x="49" y="10"/>
                    <a:pt x="49" y="10"/>
                  </a:cubicBezTo>
                  <a:cubicBezTo>
                    <a:pt x="49" y="9"/>
                    <a:pt x="49" y="9"/>
                    <a:pt x="49" y="9"/>
                  </a:cubicBezTo>
                  <a:cubicBezTo>
                    <a:pt x="49" y="9"/>
                    <a:pt x="49" y="9"/>
                    <a:pt x="49" y="9"/>
                  </a:cubicBezTo>
                  <a:cubicBezTo>
                    <a:pt x="49" y="9"/>
                    <a:pt x="49" y="9"/>
                    <a:pt x="49" y="9"/>
                  </a:cubicBezTo>
                  <a:cubicBezTo>
                    <a:pt x="49" y="8"/>
                    <a:pt x="49" y="8"/>
                    <a:pt x="49" y="8"/>
                  </a:cubicBezTo>
                  <a:cubicBezTo>
                    <a:pt x="49" y="8"/>
                    <a:pt x="49" y="8"/>
                    <a:pt x="49" y="8"/>
                  </a:cubicBezTo>
                  <a:cubicBezTo>
                    <a:pt x="49" y="8"/>
                    <a:pt x="49" y="8"/>
                    <a:pt x="49" y="8"/>
                  </a:cubicBezTo>
                  <a:cubicBezTo>
                    <a:pt x="49" y="8"/>
                    <a:pt x="49" y="8"/>
                    <a:pt x="49" y="8"/>
                  </a:cubicBezTo>
                  <a:cubicBezTo>
                    <a:pt x="49" y="9"/>
                    <a:pt x="49" y="9"/>
                    <a:pt x="49" y="9"/>
                  </a:cubicBezTo>
                  <a:cubicBezTo>
                    <a:pt x="49" y="9"/>
                    <a:pt x="49" y="9"/>
                    <a:pt x="49" y="9"/>
                  </a:cubicBezTo>
                  <a:cubicBezTo>
                    <a:pt x="50" y="9"/>
                    <a:pt x="50" y="9"/>
                    <a:pt x="50" y="9"/>
                  </a:cubicBezTo>
                  <a:cubicBezTo>
                    <a:pt x="49" y="8"/>
                    <a:pt x="49" y="8"/>
                    <a:pt x="49" y="8"/>
                  </a:cubicBezTo>
                  <a:cubicBezTo>
                    <a:pt x="49" y="6"/>
                    <a:pt x="49" y="6"/>
                    <a:pt x="49" y="6"/>
                  </a:cubicBezTo>
                  <a:cubicBezTo>
                    <a:pt x="49" y="7"/>
                    <a:pt x="49" y="7"/>
                    <a:pt x="49" y="7"/>
                  </a:cubicBezTo>
                  <a:cubicBezTo>
                    <a:pt x="49" y="7"/>
                    <a:pt x="49" y="7"/>
                    <a:pt x="49" y="7"/>
                  </a:cubicBezTo>
                  <a:cubicBezTo>
                    <a:pt x="49" y="7"/>
                    <a:pt x="49" y="7"/>
                    <a:pt x="49" y="7"/>
                  </a:cubicBezTo>
                  <a:cubicBezTo>
                    <a:pt x="49" y="7"/>
                    <a:pt x="49" y="7"/>
                    <a:pt x="49" y="7"/>
                  </a:cubicBezTo>
                  <a:cubicBezTo>
                    <a:pt x="49" y="7"/>
                    <a:pt x="49" y="7"/>
                    <a:pt x="49" y="7"/>
                  </a:cubicBezTo>
                  <a:cubicBezTo>
                    <a:pt x="49" y="6"/>
                    <a:pt x="49" y="6"/>
                    <a:pt x="49" y="6"/>
                  </a:cubicBezTo>
                  <a:cubicBezTo>
                    <a:pt x="49" y="6"/>
                    <a:pt x="49" y="6"/>
                    <a:pt x="49" y="6"/>
                  </a:cubicBezTo>
                  <a:cubicBezTo>
                    <a:pt x="48" y="6"/>
                    <a:pt x="48" y="6"/>
                    <a:pt x="48" y="6"/>
                  </a:cubicBezTo>
                  <a:cubicBezTo>
                    <a:pt x="49" y="5"/>
                    <a:pt x="49" y="5"/>
                    <a:pt x="49" y="5"/>
                  </a:cubicBezTo>
                  <a:cubicBezTo>
                    <a:pt x="49" y="5"/>
                    <a:pt x="49" y="5"/>
                    <a:pt x="49" y="5"/>
                  </a:cubicBezTo>
                  <a:cubicBezTo>
                    <a:pt x="48" y="5"/>
                    <a:pt x="48" y="5"/>
                    <a:pt x="48" y="5"/>
                  </a:cubicBezTo>
                  <a:cubicBezTo>
                    <a:pt x="48" y="5"/>
                    <a:pt x="48" y="5"/>
                    <a:pt x="48" y="5"/>
                  </a:cubicBezTo>
                  <a:cubicBezTo>
                    <a:pt x="48" y="5"/>
                    <a:pt x="48" y="5"/>
                    <a:pt x="48" y="5"/>
                  </a:cubicBezTo>
                  <a:cubicBezTo>
                    <a:pt x="49" y="5"/>
                    <a:pt x="49" y="5"/>
                    <a:pt x="49" y="5"/>
                  </a:cubicBezTo>
                  <a:cubicBezTo>
                    <a:pt x="49" y="5"/>
                    <a:pt x="49" y="5"/>
                    <a:pt x="49" y="5"/>
                  </a:cubicBezTo>
                  <a:cubicBezTo>
                    <a:pt x="49" y="4"/>
                    <a:pt x="49" y="4"/>
                    <a:pt x="49" y="4"/>
                  </a:cubicBezTo>
                  <a:cubicBezTo>
                    <a:pt x="49" y="3"/>
                    <a:pt x="49" y="3"/>
                    <a:pt x="49" y="3"/>
                  </a:cubicBezTo>
                  <a:cubicBezTo>
                    <a:pt x="49" y="3"/>
                    <a:pt x="49" y="3"/>
                    <a:pt x="49" y="3"/>
                  </a:cubicBezTo>
                  <a:cubicBezTo>
                    <a:pt x="49" y="3"/>
                    <a:pt x="49" y="3"/>
                    <a:pt x="49" y="3"/>
                  </a:cubicBezTo>
                  <a:cubicBezTo>
                    <a:pt x="49" y="3"/>
                    <a:pt x="49" y="3"/>
                    <a:pt x="49" y="3"/>
                  </a:cubicBezTo>
                  <a:cubicBezTo>
                    <a:pt x="49" y="3"/>
                    <a:pt x="49" y="3"/>
                    <a:pt x="49" y="3"/>
                  </a:cubicBezTo>
                  <a:cubicBezTo>
                    <a:pt x="49" y="3"/>
                    <a:pt x="49" y="3"/>
                    <a:pt x="49" y="3"/>
                  </a:cubicBezTo>
                  <a:cubicBezTo>
                    <a:pt x="49" y="2"/>
                    <a:pt x="49" y="2"/>
                    <a:pt x="49" y="2"/>
                  </a:cubicBezTo>
                  <a:cubicBezTo>
                    <a:pt x="49" y="2"/>
                    <a:pt x="49" y="2"/>
                    <a:pt x="49" y="2"/>
                  </a:cubicBezTo>
                  <a:cubicBezTo>
                    <a:pt x="49" y="2"/>
                    <a:pt x="49" y="2"/>
                    <a:pt x="49" y="2"/>
                  </a:cubicBezTo>
                  <a:cubicBezTo>
                    <a:pt x="49" y="2"/>
                    <a:pt x="49" y="2"/>
                    <a:pt x="49" y="2"/>
                  </a:cubicBezTo>
                  <a:cubicBezTo>
                    <a:pt x="49" y="2"/>
                    <a:pt x="49" y="2"/>
                    <a:pt x="49" y="2"/>
                  </a:cubicBezTo>
                  <a:cubicBezTo>
                    <a:pt x="49" y="2"/>
                    <a:pt x="49" y="2"/>
                    <a:pt x="49" y="2"/>
                  </a:cubicBezTo>
                  <a:cubicBezTo>
                    <a:pt x="50" y="2"/>
                    <a:pt x="50" y="2"/>
                    <a:pt x="50" y="2"/>
                  </a:cubicBezTo>
                  <a:cubicBezTo>
                    <a:pt x="50" y="1"/>
                    <a:pt x="50" y="1"/>
                    <a:pt x="50" y="1"/>
                  </a:cubicBezTo>
                  <a:cubicBezTo>
                    <a:pt x="50" y="1"/>
                    <a:pt x="50" y="1"/>
                    <a:pt x="50" y="1"/>
                  </a:cubicBezTo>
                  <a:cubicBezTo>
                    <a:pt x="50" y="1"/>
                    <a:pt x="50" y="1"/>
                    <a:pt x="50" y="1"/>
                  </a:cubicBezTo>
                  <a:cubicBezTo>
                    <a:pt x="49" y="0"/>
                    <a:pt x="49" y="0"/>
                    <a:pt x="49" y="0"/>
                  </a:cubicBezTo>
                  <a:cubicBezTo>
                    <a:pt x="49" y="0"/>
                    <a:pt x="49" y="0"/>
                    <a:pt x="49" y="0"/>
                  </a:cubicBezTo>
                  <a:cubicBezTo>
                    <a:pt x="49" y="0"/>
                    <a:pt x="49" y="0"/>
                    <a:pt x="49" y="0"/>
                  </a:cubicBezTo>
                  <a:cubicBezTo>
                    <a:pt x="49" y="1"/>
                    <a:pt x="49" y="1"/>
                    <a:pt x="49" y="1"/>
                  </a:cubicBezTo>
                  <a:cubicBezTo>
                    <a:pt x="49" y="1"/>
                    <a:pt x="49" y="1"/>
                    <a:pt x="49" y="1"/>
                  </a:cubicBezTo>
                  <a:cubicBezTo>
                    <a:pt x="49" y="1"/>
                    <a:pt x="49" y="1"/>
                    <a:pt x="49" y="1"/>
                  </a:cubicBezTo>
                  <a:cubicBezTo>
                    <a:pt x="49" y="1"/>
                    <a:pt x="49" y="1"/>
                    <a:pt x="49" y="1"/>
                  </a:cubicBezTo>
                  <a:cubicBezTo>
                    <a:pt x="49" y="1"/>
                    <a:pt x="49" y="1"/>
                    <a:pt x="49" y="1"/>
                  </a:cubicBezTo>
                  <a:cubicBezTo>
                    <a:pt x="49" y="1"/>
                    <a:pt x="49" y="1"/>
                    <a:pt x="49" y="1"/>
                  </a:cubicBezTo>
                  <a:cubicBezTo>
                    <a:pt x="49" y="1"/>
                    <a:pt x="49" y="1"/>
                    <a:pt x="49" y="1"/>
                  </a:cubicBezTo>
                  <a:cubicBezTo>
                    <a:pt x="49" y="2"/>
                    <a:pt x="49" y="2"/>
                    <a:pt x="49" y="2"/>
                  </a:cubicBezTo>
                  <a:cubicBezTo>
                    <a:pt x="49" y="2"/>
                    <a:pt x="49" y="2"/>
                    <a:pt x="49" y="2"/>
                  </a:cubicBezTo>
                  <a:cubicBezTo>
                    <a:pt x="49" y="1"/>
                    <a:pt x="49" y="1"/>
                    <a:pt x="49" y="1"/>
                  </a:cubicBezTo>
                  <a:cubicBezTo>
                    <a:pt x="49" y="1"/>
                    <a:pt x="49" y="1"/>
                    <a:pt x="49" y="1"/>
                  </a:cubicBezTo>
                  <a:cubicBezTo>
                    <a:pt x="49" y="1"/>
                    <a:pt x="49" y="1"/>
                    <a:pt x="49" y="1"/>
                  </a:cubicBezTo>
                  <a:cubicBezTo>
                    <a:pt x="48" y="1"/>
                    <a:pt x="48" y="1"/>
                    <a:pt x="48" y="1"/>
                  </a:cubicBezTo>
                  <a:cubicBezTo>
                    <a:pt x="48" y="1"/>
                    <a:pt x="48" y="1"/>
                    <a:pt x="48" y="1"/>
                  </a:cubicBezTo>
                  <a:cubicBezTo>
                    <a:pt x="48" y="1"/>
                    <a:pt x="48" y="1"/>
                    <a:pt x="48" y="1"/>
                  </a:cubicBezTo>
                  <a:cubicBezTo>
                    <a:pt x="48" y="1"/>
                    <a:pt x="48" y="1"/>
                    <a:pt x="48" y="1"/>
                  </a:cubicBezTo>
                  <a:cubicBezTo>
                    <a:pt x="48" y="1"/>
                    <a:pt x="48" y="1"/>
                    <a:pt x="48" y="1"/>
                  </a:cubicBezTo>
                  <a:cubicBezTo>
                    <a:pt x="48" y="0"/>
                    <a:pt x="48" y="0"/>
                    <a:pt x="48" y="0"/>
                  </a:cubicBezTo>
                  <a:cubicBezTo>
                    <a:pt x="48" y="0"/>
                    <a:pt x="48" y="0"/>
                    <a:pt x="48" y="0"/>
                  </a:cubicBezTo>
                  <a:cubicBezTo>
                    <a:pt x="48" y="0"/>
                    <a:pt x="48" y="0"/>
                    <a:pt x="48" y="0"/>
                  </a:cubicBezTo>
                  <a:cubicBezTo>
                    <a:pt x="48" y="0"/>
                    <a:pt x="48" y="0"/>
                    <a:pt x="48" y="0"/>
                  </a:cubicBezTo>
                  <a:cubicBezTo>
                    <a:pt x="47" y="0"/>
                    <a:pt x="47" y="0"/>
                    <a:pt x="47" y="0"/>
                  </a:cubicBezTo>
                  <a:cubicBezTo>
                    <a:pt x="47" y="0"/>
                    <a:pt x="47" y="0"/>
                    <a:pt x="47" y="0"/>
                  </a:cubicBezTo>
                  <a:cubicBezTo>
                    <a:pt x="46" y="1"/>
                    <a:pt x="46" y="1"/>
                    <a:pt x="46" y="1"/>
                  </a:cubicBezTo>
                  <a:cubicBezTo>
                    <a:pt x="45" y="1"/>
                    <a:pt x="45" y="1"/>
                    <a:pt x="45" y="1"/>
                  </a:cubicBezTo>
                  <a:cubicBezTo>
                    <a:pt x="45" y="1"/>
                    <a:pt x="45" y="1"/>
                    <a:pt x="45" y="1"/>
                  </a:cubicBezTo>
                  <a:cubicBezTo>
                    <a:pt x="45" y="2"/>
                    <a:pt x="45" y="2"/>
                    <a:pt x="45" y="2"/>
                  </a:cubicBezTo>
                  <a:cubicBezTo>
                    <a:pt x="45" y="1"/>
                    <a:pt x="45" y="1"/>
                    <a:pt x="45" y="1"/>
                  </a:cubicBezTo>
                  <a:cubicBezTo>
                    <a:pt x="46" y="0"/>
                    <a:pt x="46" y="0"/>
                    <a:pt x="46" y="0"/>
                  </a:cubicBezTo>
                  <a:cubicBezTo>
                    <a:pt x="45" y="0"/>
                    <a:pt x="45" y="0"/>
                    <a:pt x="45" y="0"/>
                  </a:cubicBezTo>
                  <a:cubicBezTo>
                    <a:pt x="43" y="1"/>
                    <a:pt x="43" y="1"/>
                    <a:pt x="43" y="1"/>
                  </a:cubicBezTo>
                  <a:cubicBezTo>
                    <a:pt x="42" y="2"/>
                    <a:pt x="42" y="2"/>
                    <a:pt x="42" y="2"/>
                  </a:cubicBezTo>
                  <a:cubicBezTo>
                    <a:pt x="41" y="3"/>
                    <a:pt x="41" y="3"/>
                    <a:pt x="41" y="3"/>
                  </a:cubicBezTo>
                  <a:cubicBezTo>
                    <a:pt x="40" y="4"/>
                    <a:pt x="40" y="4"/>
                    <a:pt x="40" y="4"/>
                  </a:cubicBezTo>
                  <a:cubicBezTo>
                    <a:pt x="40" y="5"/>
                    <a:pt x="40" y="5"/>
                    <a:pt x="40" y="5"/>
                  </a:cubicBezTo>
                  <a:cubicBezTo>
                    <a:pt x="40" y="5"/>
                    <a:pt x="40" y="5"/>
                    <a:pt x="40" y="5"/>
                  </a:cubicBezTo>
                  <a:cubicBezTo>
                    <a:pt x="39" y="6"/>
                    <a:pt x="39" y="6"/>
                    <a:pt x="39" y="6"/>
                  </a:cubicBezTo>
                  <a:cubicBezTo>
                    <a:pt x="39" y="6"/>
                    <a:pt x="39" y="6"/>
                    <a:pt x="39" y="6"/>
                  </a:cubicBezTo>
                  <a:cubicBezTo>
                    <a:pt x="38" y="6"/>
                    <a:pt x="38" y="6"/>
                    <a:pt x="38" y="6"/>
                  </a:cubicBezTo>
                  <a:cubicBezTo>
                    <a:pt x="38" y="7"/>
                    <a:pt x="38" y="7"/>
                    <a:pt x="38" y="7"/>
                  </a:cubicBezTo>
                  <a:cubicBezTo>
                    <a:pt x="38" y="7"/>
                    <a:pt x="38" y="7"/>
                    <a:pt x="38" y="7"/>
                  </a:cubicBezTo>
                  <a:cubicBezTo>
                    <a:pt x="38" y="7"/>
                    <a:pt x="38" y="7"/>
                    <a:pt x="38" y="7"/>
                  </a:cubicBezTo>
                  <a:cubicBezTo>
                    <a:pt x="38" y="7"/>
                    <a:pt x="38" y="7"/>
                    <a:pt x="38" y="7"/>
                  </a:cubicBezTo>
                  <a:cubicBezTo>
                    <a:pt x="38" y="6"/>
                    <a:pt x="38" y="6"/>
                    <a:pt x="38" y="6"/>
                  </a:cubicBezTo>
                  <a:cubicBezTo>
                    <a:pt x="38" y="6"/>
                    <a:pt x="38" y="6"/>
                    <a:pt x="38" y="6"/>
                  </a:cubicBezTo>
                  <a:cubicBezTo>
                    <a:pt x="38" y="6"/>
                    <a:pt x="38" y="6"/>
                    <a:pt x="38" y="6"/>
                  </a:cubicBezTo>
                  <a:cubicBezTo>
                    <a:pt x="37" y="6"/>
                    <a:pt x="37" y="6"/>
                    <a:pt x="37" y="6"/>
                  </a:cubicBezTo>
                  <a:cubicBezTo>
                    <a:pt x="37" y="5"/>
                    <a:pt x="37" y="5"/>
                    <a:pt x="37" y="5"/>
                  </a:cubicBezTo>
                  <a:cubicBezTo>
                    <a:pt x="37" y="5"/>
                    <a:pt x="37" y="5"/>
                    <a:pt x="37" y="5"/>
                  </a:cubicBezTo>
                  <a:cubicBezTo>
                    <a:pt x="36" y="3"/>
                    <a:pt x="36" y="3"/>
                    <a:pt x="36" y="3"/>
                  </a:cubicBezTo>
                  <a:cubicBezTo>
                    <a:pt x="35" y="2"/>
                    <a:pt x="35" y="2"/>
                    <a:pt x="35" y="2"/>
                  </a:cubicBezTo>
                  <a:cubicBezTo>
                    <a:pt x="34" y="2"/>
                    <a:pt x="34" y="2"/>
                    <a:pt x="34" y="2"/>
                  </a:cubicBezTo>
                  <a:cubicBezTo>
                    <a:pt x="33" y="2"/>
                    <a:pt x="33" y="2"/>
                    <a:pt x="33" y="2"/>
                  </a:cubicBezTo>
                  <a:cubicBezTo>
                    <a:pt x="32" y="3"/>
                    <a:pt x="32" y="3"/>
                    <a:pt x="32" y="3"/>
                  </a:cubicBezTo>
                  <a:cubicBezTo>
                    <a:pt x="29" y="2"/>
                    <a:pt x="29" y="2"/>
                    <a:pt x="29" y="2"/>
                  </a:cubicBezTo>
                  <a:cubicBezTo>
                    <a:pt x="29" y="2"/>
                    <a:pt x="29" y="2"/>
                    <a:pt x="29" y="2"/>
                  </a:cubicBezTo>
                  <a:cubicBezTo>
                    <a:pt x="28" y="2"/>
                    <a:pt x="28" y="2"/>
                    <a:pt x="28" y="2"/>
                  </a:cubicBezTo>
                  <a:cubicBezTo>
                    <a:pt x="28" y="2"/>
                    <a:pt x="28" y="2"/>
                    <a:pt x="28" y="2"/>
                  </a:cubicBezTo>
                  <a:cubicBezTo>
                    <a:pt x="28" y="2"/>
                    <a:pt x="28" y="2"/>
                    <a:pt x="28" y="2"/>
                  </a:cubicBezTo>
                  <a:cubicBezTo>
                    <a:pt x="28" y="2"/>
                    <a:pt x="28" y="2"/>
                    <a:pt x="28" y="2"/>
                  </a:cubicBezTo>
                  <a:cubicBezTo>
                    <a:pt x="28" y="2"/>
                    <a:pt x="28" y="2"/>
                    <a:pt x="28" y="2"/>
                  </a:cubicBezTo>
                  <a:cubicBezTo>
                    <a:pt x="27" y="2"/>
                    <a:pt x="27" y="2"/>
                    <a:pt x="27" y="2"/>
                  </a:cubicBezTo>
                  <a:cubicBezTo>
                    <a:pt x="27" y="2"/>
                    <a:pt x="27" y="2"/>
                    <a:pt x="27" y="2"/>
                  </a:cubicBezTo>
                  <a:cubicBezTo>
                    <a:pt x="27" y="2"/>
                    <a:pt x="27" y="2"/>
                    <a:pt x="27" y="2"/>
                  </a:cubicBezTo>
                  <a:cubicBezTo>
                    <a:pt x="26" y="2"/>
                    <a:pt x="26" y="2"/>
                    <a:pt x="26" y="2"/>
                  </a:cubicBezTo>
                  <a:cubicBezTo>
                    <a:pt x="26" y="1"/>
                    <a:pt x="26" y="1"/>
                    <a:pt x="26" y="1"/>
                  </a:cubicBezTo>
                  <a:cubicBezTo>
                    <a:pt x="26" y="1"/>
                    <a:pt x="26" y="1"/>
                    <a:pt x="26" y="1"/>
                  </a:cubicBezTo>
                  <a:cubicBezTo>
                    <a:pt x="24" y="3"/>
                    <a:pt x="24" y="3"/>
                    <a:pt x="24" y="3"/>
                  </a:cubicBezTo>
                  <a:cubicBezTo>
                    <a:pt x="23" y="3"/>
                    <a:pt x="23" y="3"/>
                    <a:pt x="23" y="3"/>
                  </a:cubicBezTo>
                  <a:cubicBezTo>
                    <a:pt x="23" y="3"/>
                    <a:pt x="23" y="3"/>
                    <a:pt x="23" y="3"/>
                  </a:cubicBezTo>
                  <a:cubicBezTo>
                    <a:pt x="22" y="4"/>
                    <a:pt x="22" y="4"/>
                    <a:pt x="22" y="4"/>
                  </a:cubicBezTo>
                  <a:cubicBezTo>
                    <a:pt x="22" y="4"/>
                    <a:pt x="22" y="4"/>
                    <a:pt x="22" y="4"/>
                  </a:cubicBezTo>
                  <a:cubicBezTo>
                    <a:pt x="21" y="5"/>
                    <a:pt x="21" y="5"/>
                    <a:pt x="21" y="5"/>
                  </a:cubicBezTo>
                  <a:cubicBezTo>
                    <a:pt x="21" y="5"/>
                    <a:pt x="21" y="5"/>
                    <a:pt x="21" y="5"/>
                  </a:cubicBezTo>
                  <a:cubicBezTo>
                    <a:pt x="21" y="5"/>
                    <a:pt x="21" y="5"/>
                    <a:pt x="21" y="5"/>
                  </a:cubicBezTo>
                  <a:cubicBezTo>
                    <a:pt x="20" y="5"/>
                    <a:pt x="20" y="5"/>
                    <a:pt x="20" y="5"/>
                  </a:cubicBezTo>
                  <a:cubicBezTo>
                    <a:pt x="20" y="5"/>
                    <a:pt x="20" y="5"/>
                    <a:pt x="20" y="5"/>
                  </a:cubicBezTo>
                  <a:cubicBezTo>
                    <a:pt x="20" y="5"/>
                    <a:pt x="20" y="5"/>
                    <a:pt x="20" y="5"/>
                  </a:cubicBezTo>
                  <a:cubicBezTo>
                    <a:pt x="20" y="5"/>
                    <a:pt x="20" y="5"/>
                    <a:pt x="20" y="5"/>
                  </a:cubicBezTo>
                  <a:cubicBezTo>
                    <a:pt x="20" y="5"/>
                    <a:pt x="20" y="5"/>
                    <a:pt x="20" y="5"/>
                  </a:cubicBezTo>
                  <a:cubicBezTo>
                    <a:pt x="19" y="5"/>
                    <a:pt x="19" y="5"/>
                    <a:pt x="19" y="5"/>
                  </a:cubicBezTo>
                  <a:cubicBezTo>
                    <a:pt x="19" y="6"/>
                    <a:pt x="19" y="6"/>
                    <a:pt x="19" y="6"/>
                  </a:cubicBezTo>
                  <a:cubicBezTo>
                    <a:pt x="19" y="6"/>
                    <a:pt x="19" y="6"/>
                    <a:pt x="19" y="6"/>
                  </a:cubicBezTo>
                  <a:cubicBezTo>
                    <a:pt x="19" y="6"/>
                    <a:pt x="19" y="6"/>
                    <a:pt x="19" y="6"/>
                  </a:cubicBezTo>
                  <a:cubicBezTo>
                    <a:pt x="19" y="7"/>
                    <a:pt x="19" y="7"/>
                    <a:pt x="19" y="7"/>
                  </a:cubicBezTo>
                  <a:cubicBezTo>
                    <a:pt x="19" y="7"/>
                    <a:pt x="19" y="7"/>
                    <a:pt x="19" y="7"/>
                  </a:cubicBezTo>
                  <a:cubicBezTo>
                    <a:pt x="19" y="7"/>
                    <a:pt x="19" y="7"/>
                    <a:pt x="19" y="7"/>
                  </a:cubicBezTo>
                  <a:cubicBezTo>
                    <a:pt x="19" y="7"/>
                    <a:pt x="19" y="7"/>
                    <a:pt x="19" y="7"/>
                  </a:cubicBezTo>
                  <a:cubicBezTo>
                    <a:pt x="18" y="7"/>
                    <a:pt x="18" y="7"/>
                    <a:pt x="18" y="7"/>
                  </a:cubicBezTo>
                  <a:cubicBezTo>
                    <a:pt x="18" y="7"/>
                    <a:pt x="18" y="7"/>
                    <a:pt x="18" y="7"/>
                  </a:cubicBezTo>
                  <a:cubicBezTo>
                    <a:pt x="18" y="7"/>
                    <a:pt x="18" y="7"/>
                    <a:pt x="18" y="7"/>
                  </a:cubicBezTo>
                  <a:cubicBezTo>
                    <a:pt x="18" y="7"/>
                    <a:pt x="18" y="7"/>
                    <a:pt x="18" y="7"/>
                  </a:cubicBezTo>
                  <a:cubicBezTo>
                    <a:pt x="17" y="7"/>
                    <a:pt x="17" y="7"/>
                    <a:pt x="17" y="7"/>
                  </a:cubicBezTo>
                  <a:cubicBezTo>
                    <a:pt x="17" y="7"/>
                    <a:pt x="17" y="7"/>
                    <a:pt x="17" y="7"/>
                  </a:cubicBezTo>
                  <a:cubicBezTo>
                    <a:pt x="17" y="8"/>
                    <a:pt x="17" y="8"/>
                    <a:pt x="17" y="8"/>
                  </a:cubicBezTo>
                  <a:cubicBezTo>
                    <a:pt x="17" y="8"/>
                    <a:pt x="17" y="8"/>
                    <a:pt x="17" y="8"/>
                  </a:cubicBezTo>
                  <a:cubicBezTo>
                    <a:pt x="17" y="8"/>
                    <a:pt x="17" y="8"/>
                    <a:pt x="17" y="8"/>
                  </a:cubicBezTo>
                  <a:cubicBezTo>
                    <a:pt x="17" y="8"/>
                    <a:pt x="17" y="8"/>
                    <a:pt x="17" y="8"/>
                  </a:cubicBezTo>
                  <a:cubicBezTo>
                    <a:pt x="17" y="8"/>
                    <a:pt x="17" y="8"/>
                    <a:pt x="17"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5" y="8"/>
                    <a:pt x="15" y="8"/>
                    <a:pt x="15" y="8"/>
                  </a:cubicBezTo>
                  <a:cubicBezTo>
                    <a:pt x="15" y="8"/>
                    <a:pt x="15" y="8"/>
                    <a:pt x="15" y="8"/>
                  </a:cubicBezTo>
                  <a:cubicBezTo>
                    <a:pt x="15" y="8"/>
                    <a:pt x="15" y="8"/>
                    <a:pt x="15" y="8"/>
                  </a:cubicBezTo>
                  <a:cubicBezTo>
                    <a:pt x="15" y="9"/>
                    <a:pt x="15" y="9"/>
                    <a:pt x="15" y="9"/>
                  </a:cubicBezTo>
                  <a:cubicBezTo>
                    <a:pt x="15" y="9"/>
                    <a:pt x="15" y="9"/>
                    <a:pt x="15" y="9"/>
                  </a:cubicBezTo>
                  <a:cubicBezTo>
                    <a:pt x="14" y="9"/>
                    <a:pt x="14" y="9"/>
                    <a:pt x="14" y="9"/>
                  </a:cubicBezTo>
                  <a:cubicBezTo>
                    <a:pt x="14" y="9"/>
                    <a:pt x="14" y="9"/>
                    <a:pt x="14" y="9"/>
                  </a:cubicBezTo>
                  <a:cubicBezTo>
                    <a:pt x="14" y="10"/>
                    <a:pt x="14" y="10"/>
                    <a:pt x="14" y="10"/>
                  </a:cubicBezTo>
                  <a:cubicBezTo>
                    <a:pt x="14" y="10"/>
                    <a:pt x="14" y="10"/>
                    <a:pt x="14" y="10"/>
                  </a:cubicBezTo>
                  <a:cubicBezTo>
                    <a:pt x="14" y="10"/>
                    <a:pt x="14" y="10"/>
                    <a:pt x="14" y="10"/>
                  </a:cubicBezTo>
                  <a:cubicBezTo>
                    <a:pt x="14" y="10"/>
                    <a:pt x="14" y="10"/>
                    <a:pt x="14" y="10"/>
                  </a:cubicBezTo>
                  <a:cubicBezTo>
                    <a:pt x="14" y="10"/>
                    <a:pt x="14" y="10"/>
                    <a:pt x="14" y="10"/>
                  </a:cubicBezTo>
                  <a:cubicBezTo>
                    <a:pt x="14" y="9"/>
                    <a:pt x="14" y="9"/>
                    <a:pt x="14" y="9"/>
                  </a:cubicBezTo>
                  <a:cubicBezTo>
                    <a:pt x="14" y="9"/>
                    <a:pt x="14" y="9"/>
                    <a:pt x="14" y="9"/>
                  </a:cubicBezTo>
                  <a:cubicBezTo>
                    <a:pt x="13" y="9"/>
                    <a:pt x="13" y="9"/>
                    <a:pt x="13" y="9"/>
                  </a:cubicBezTo>
                  <a:cubicBezTo>
                    <a:pt x="13" y="9"/>
                    <a:pt x="13" y="9"/>
                    <a:pt x="13" y="9"/>
                  </a:cubicBezTo>
                  <a:cubicBezTo>
                    <a:pt x="13" y="9"/>
                    <a:pt x="13" y="9"/>
                    <a:pt x="13" y="9"/>
                  </a:cubicBezTo>
                  <a:cubicBezTo>
                    <a:pt x="13" y="9"/>
                    <a:pt x="13" y="9"/>
                    <a:pt x="13" y="9"/>
                  </a:cubicBezTo>
                  <a:cubicBezTo>
                    <a:pt x="13" y="9"/>
                    <a:pt x="13" y="9"/>
                    <a:pt x="13" y="9"/>
                  </a:cubicBezTo>
                  <a:cubicBezTo>
                    <a:pt x="13" y="9"/>
                    <a:pt x="13" y="9"/>
                    <a:pt x="13" y="9"/>
                  </a:cubicBezTo>
                  <a:cubicBezTo>
                    <a:pt x="12" y="9"/>
                    <a:pt x="12" y="9"/>
                    <a:pt x="12" y="9"/>
                  </a:cubicBezTo>
                  <a:cubicBezTo>
                    <a:pt x="12" y="9"/>
                    <a:pt x="12" y="9"/>
                    <a:pt x="12" y="9"/>
                  </a:cubicBezTo>
                  <a:cubicBezTo>
                    <a:pt x="12" y="9"/>
                    <a:pt x="12" y="9"/>
                    <a:pt x="12" y="9"/>
                  </a:cubicBezTo>
                  <a:cubicBezTo>
                    <a:pt x="11" y="9"/>
                    <a:pt x="11" y="9"/>
                    <a:pt x="11" y="9"/>
                  </a:cubicBezTo>
                  <a:cubicBezTo>
                    <a:pt x="11" y="9"/>
                    <a:pt x="11" y="9"/>
                    <a:pt x="11" y="9"/>
                  </a:cubicBezTo>
                  <a:cubicBezTo>
                    <a:pt x="11" y="9"/>
                    <a:pt x="11" y="9"/>
                    <a:pt x="11" y="9"/>
                  </a:cubicBezTo>
                  <a:cubicBezTo>
                    <a:pt x="11" y="9"/>
                    <a:pt x="11" y="9"/>
                    <a:pt x="11" y="9"/>
                  </a:cubicBezTo>
                  <a:cubicBezTo>
                    <a:pt x="10" y="9"/>
                    <a:pt x="10" y="9"/>
                    <a:pt x="10" y="9"/>
                  </a:cubicBezTo>
                  <a:cubicBezTo>
                    <a:pt x="10" y="9"/>
                    <a:pt x="10" y="9"/>
                    <a:pt x="10" y="9"/>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9" y="8"/>
                    <a:pt x="9" y="8"/>
                    <a:pt x="9" y="8"/>
                  </a:cubicBezTo>
                  <a:cubicBezTo>
                    <a:pt x="8" y="8"/>
                    <a:pt x="8" y="8"/>
                    <a:pt x="8" y="8"/>
                  </a:cubicBezTo>
                  <a:cubicBezTo>
                    <a:pt x="8" y="9"/>
                    <a:pt x="8" y="9"/>
                    <a:pt x="8" y="9"/>
                  </a:cubicBezTo>
                  <a:cubicBezTo>
                    <a:pt x="7" y="9"/>
                    <a:pt x="7" y="9"/>
                    <a:pt x="7" y="9"/>
                  </a:cubicBezTo>
                  <a:cubicBezTo>
                    <a:pt x="6" y="9"/>
                    <a:pt x="6" y="9"/>
                    <a:pt x="6" y="9"/>
                  </a:cubicBezTo>
                  <a:cubicBezTo>
                    <a:pt x="5" y="9"/>
                    <a:pt x="5" y="9"/>
                    <a:pt x="5" y="9"/>
                  </a:cubicBezTo>
                  <a:cubicBezTo>
                    <a:pt x="4" y="9"/>
                    <a:pt x="4" y="9"/>
                    <a:pt x="4" y="9"/>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3" y="11"/>
                    <a:pt x="3" y="11"/>
                    <a:pt x="3" y="11"/>
                  </a:cubicBezTo>
                  <a:cubicBezTo>
                    <a:pt x="3" y="11"/>
                    <a:pt x="3" y="11"/>
                    <a:pt x="3" y="11"/>
                  </a:cubicBezTo>
                  <a:cubicBezTo>
                    <a:pt x="2" y="12"/>
                    <a:pt x="2" y="12"/>
                    <a:pt x="2" y="12"/>
                  </a:cubicBezTo>
                  <a:cubicBezTo>
                    <a:pt x="2" y="12"/>
                    <a:pt x="2" y="12"/>
                    <a:pt x="2" y="12"/>
                  </a:cubicBezTo>
                  <a:cubicBezTo>
                    <a:pt x="1" y="12"/>
                    <a:pt x="1" y="12"/>
                    <a:pt x="1" y="12"/>
                  </a:cubicBezTo>
                  <a:cubicBezTo>
                    <a:pt x="1" y="12"/>
                    <a:pt x="1" y="12"/>
                    <a:pt x="1" y="12"/>
                  </a:cubicBezTo>
                  <a:cubicBezTo>
                    <a:pt x="0" y="12"/>
                    <a:pt x="0" y="12"/>
                    <a:pt x="0" y="12"/>
                  </a:cubicBezTo>
                  <a:cubicBezTo>
                    <a:pt x="1" y="13"/>
                    <a:pt x="1" y="13"/>
                    <a:pt x="1" y="13"/>
                  </a:cubicBezTo>
                  <a:cubicBezTo>
                    <a:pt x="1" y="14"/>
                    <a:pt x="1" y="14"/>
                    <a:pt x="1" y="14"/>
                  </a:cubicBezTo>
                  <a:cubicBezTo>
                    <a:pt x="1" y="14"/>
                    <a:pt x="1" y="14"/>
                    <a:pt x="1" y="14"/>
                  </a:cubicBezTo>
                  <a:cubicBezTo>
                    <a:pt x="1" y="15"/>
                    <a:pt x="1" y="15"/>
                    <a:pt x="1" y="15"/>
                  </a:cubicBezTo>
                  <a:cubicBezTo>
                    <a:pt x="2" y="16"/>
                    <a:pt x="2" y="16"/>
                    <a:pt x="2" y="16"/>
                  </a:cubicBezTo>
                  <a:cubicBezTo>
                    <a:pt x="2" y="16"/>
                    <a:pt x="2" y="16"/>
                    <a:pt x="2" y="16"/>
                  </a:cubicBezTo>
                  <a:cubicBezTo>
                    <a:pt x="2" y="17"/>
                    <a:pt x="2" y="17"/>
                    <a:pt x="2" y="17"/>
                  </a:cubicBezTo>
                  <a:cubicBezTo>
                    <a:pt x="2" y="18"/>
                    <a:pt x="2" y="18"/>
                    <a:pt x="2" y="18"/>
                  </a:cubicBezTo>
                  <a:cubicBezTo>
                    <a:pt x="2" y="18"/>
                    <a:pt x="2" y="18"/>
                    <a:pt x="2" y="18"/>
                  </a:cubicBezTo>
                  <a:cubicBezTo>
                    <a:pt x="2" y="18"/>
                    <a:pt x="2" y="18"/>
                    <a:pt x="2" y="18"/>
                  </a:cubicBezTo>
                  <a:cubicBezTo>
                    <a:pt x="2" y="18"/>
                    <a:pt x="2" y="18"/>
                    <a:pt x="3" y="18"/>
                  </a:cubicBezTo>
                  <a:cubicBezTo>
                    <a:pt x="3" y="18"/>
                    <a:pt x="3" y="18"/>
                    <a:pt x="3" y="18"/>
                  </a:cubicBezTo>
                  <a:cubicBezTo>
                    <a:pt x="3" y="18"/>
                    <a:pt x="3" y="18"/>
                    <a:pt x="3" y="18"/>
                  </a:cubicBezTo>
                  <a:cubicBezTo>
                    <a:pt x="3" y="17"/>
                    <a:pt x="3" y="17"/>
                    <a:pt x="3" y="17"/>
                  </a:cubicBezTo>
                  <a:cubicBezTo>
                    <a:pt x="3" y="17"/>
                    <a:pt x="4" y="17"/>
                    <a:pt x="4" y="16"/>
                  </a:cubicBezTo>
                  <a:cubicBezTo>
                    <a:pt x="5" y="16"/>
                    <a:pt x="5" y="16"/>
                    <a:pt x="5" y="16"/>
                  </a:cubicBezTo>
                  <a:cubicBezTo>
                    <a:pt x="5" y="16"/>
                    <a:pt x="5" y="16"/>
                    <a:pt x="5" y="16"/>
                  </a:cubicBezTo>
                  <a:cubicBezTo>
                    <a:pt x="6" y="15"/>
                    <a:pt x="6" y="16"/>
                    <a:pt x="7" y="16"/>
                  </a:cubicBezTo>
                  <a:cubicBezTo>
                    <a:pt x="7" y="16"/>
                    <a:pt x="7" y="16"/>
                    <a:pt x="7" y="16"/>
                  </a:cubicBezTo>
                  <a:cubicBezTo>
                    <a:pt x="7" y="16"/>
                    <a:pt x="7" y="16"/>
                    <a:pt x="8" y="16"/>
                  </a:cubicBezTo>
                  <a:cubicBezTo>
                    <a:pt x="8" y="16"/>
                    <a:pt x="8" y="16"/>
                    <a:pt x="8" y="16"/>
                  </a:cubicBezTo>
                  <a:cubicBezTo>
                    <a:pt x="8" y="16"/>
                    <a:pt x="8" y="16"/>
                    <a:pt x="9" y="17"/>
                  </a:cubicBezTo>
                  <a:cubicBezTo>
                    <a:pt x="9" y="17"/>
                    <a:pt x="9" y="17"/>
                    <a:pt x="9" y="17"/>
                  </a:cubicBezTo>
                  <a:cubicBezTo>
                    <a:pt x="9" y="17"/>
                    <a:pt x="9" y="17"/>
                    <a:pt x="9" y="17"/>
                  </a:cubicBezTo>
                  <a:cubicBezTo>
                    <a:pt x="10" y="17"/>
                    <a:pt x="10" y="17"/>
                    <a:pt x="10" y="17"/>
                  </a:cubicBezTo>
                  <a:cubicBezTo>
                    <a:pt x="10" y="17"/>
                    <a:pt x="10" y="17"/>
                    <a:pt x="10" y="17"/>
                  </a:cubicBezTo>
                  <a:cubicBezTo>
                    <a:pt x="11" y="18"/>
                    <a:pt x="11" y="18"/>
                    <a:pt x="11" y="18"/>
                  </a:cubicBezTo>
                  <a:cubicBezTo>
                    <a:pt x="11" y="18"/>
                    <a:pt x="11" y="18"/>
                    <a:pt x="11" y="18"/>
                  </a:cubicBezTo>
                  <a:cubicBezTo>
                    <a:pt x="11" y="18"/>
                    <a:pt x="11" y="18"/>
                    <a:pt x="11" y="18"/>
                  </a:cubicBezTo>
                  <a:cubicBezTo>
                    <a:pt x="11" y="18"/>
                    <a:pt x="12" y="19"/>
                    <a:pt x="12" y="19"/>
                  </a:cubicBezTo>
                  <a:cubicBezTo>
                    <a:pt x="12" y="19"/>
                    <a:pt x="12" y="19"/>
                    <a:pt x="12" y="19"/>
                  </a:cubicBezTo>
                  <a:cubicBezTo>
                    <a:pt x="13" y="19"/>
                    <a:pt x="13" y="19"/>
                    <a:pt x="13" y="19"/>
                  </a:cubicBezTo>
                  <a:cubicBezTo>
                    <a:pt x="13" y="19"/>
                    <a:pt x="14" y="20"/>
                    <a:pt x="14" y="20"/>
                  </a:cubicBezTo>
                  <a:cubicBezTo>
                    <a:pt x="14" y="20"/>
                    <a:pt x="14" y="20"/>
                    <a:pt x="14" y="20"/>
                  </a:cubicBezTo>
                  <a:cubicBezTo>
                    <a:pt x="14" y="20"/>
                    <a:pt x="14" y="20"/>
                    <a:pt x="14" y="21"/>
                  </a:cubicBezTo>
                  <a:cubicBezTo>
                    <a:pt x="16" y="28"/>
                    <a:pt x="16" y="28"/>
                    <a:pt x="16" y="28"/>
                  </a:cubicBezTo>
                  <a:cubicBezTo>
                    <a:pt x="17" y="31"/>
                    <a:pt x="17" y="31"/>
                    <a:pt x="17" y="31"/>
                  </a:cubicBezTo>
                  <a:cubicBezTo>
                    <a:pt x="19" y="36"/>
                    <a:pt x="19" y="36"/>
                    <a:pt x="19" y="36"/>
                  </a:cubicBezTo>
                  <a:cubicBezTo>
                    <a:pt x="19" y="39"/>
                    <a:pt x="19" y="39"/>
                    <a:pt x="19" y="39"/>
                  </a:cubicBezTo>
                  <a:cubicBezTo>
                    <a:pt x="20" y="41"/>
                    <a:pt x="20" y="41"/>
                    <a:pt x="20" y="41"/>
                  </a:cubicBezTo>
                  <a:cubicBezTo>
                    <a:pt x="20" y="41"/>
                    <a:pt x="20" y="41"/>
                    <a:pt x="20" y="41"/>
                  </a:cubicBezTo>
                  <a:cubicBezTo>
                    <a:pt x="20" y="41"/>
                    <a:pt x="21" y="41"/>
                    <a:pt x="21" y="41"/>
                  </a:cubicBezTo>
                  <a:cubicBezTo>
                    <a:pt x="21" y="43"/>
                    <a:pt x="21" y="43"/>
                    <a:pt x="21" y="43"/>
                  </a:cubicBezTo>
                  <a:cubicBezTo>
                    <a:pt x="21" y="43"/>
                    <a:pt x="21" y="43"/>
                    <a:pt x="21" y="43"/>
                  </a:cubicBezTo>
                  <a:cubicBezTo>
                    <a:pt x="21" y="45"/>
                    <a:pt x="21" y="45"/>
                    <a:pt x="21" y="45"/>
                  </a:cubicBezTo>
                  <a:cubicBezTo>
                    <a:pt x="21" y="45"/>
                    <a:pt x="21" y="45"/>
                    <a:pt x="21" y="45"/>
                  </a:cubicBezTo>
                  <a:cubicBezTo>
                    <a:pt x="21" y="45"/>
                    <a:pt x="21" y="45"/>
                    <a:pt x="21" y="45"/>
                  </a:cubicBezTo>
                  <a:cubicBezTo>
                    <a:pt x="22" y="45"/>
                    <a:pt x="22" y="45"/>
                    <a:pt x="22" y="45"/>
                  </a:cubicBezTo>
                  <a:cubicBezTo>
                    <a:pt x="23" y="45"/>
                    <a:pt x="23" y="46"/>
                    <a:pt x="23" y="46"/>
                  </a:cubicBezTo>
                  <a:cubicBezTo>
                    <a:pt x="24" y="46"/>
                    <a:pt x="24" y="46"/>
                    <a:pt x="24" y="46"/>
                  </a:cubicBezTo>
                  <a:cubicBezTo>
                    <a:pt x="24" y="46"/>
                    <a:pt x="24" y="46"/>
                    <a:pt x="24" y="46"/>
                  </a:cubicBezTo>
                  <a:cubicBezTo>
                    <a:pt x="24" y="45"/>
                    <a:pt x="24" y="45"/>
                    <a:pt x="25" y="45"/>
                  </a:cubicBezTo>
                  <a:cubicBezTo>
                    <a:pt x="25" y="45"/>
                    <a:pt x="25" y="45"/>
                    <a:pt x="25" y="45"/>
                  </a:cubicBezTo>
                  <a:cubicBezTo>
                    <a:pt x="25" y="45"/>
                    <a:pt x="25" y="45"/>
                    <a:pt x="25" y="45"/>
                  </a:cubicBezTo>
                  <a:cubicBezTo>
                    <a:pt x="26" y="45"/>
                    <a:pt x="26" y="46"/>
                    <a:pt x="27" y="46"/>
                  </a:cubicBezTo>
                  <a:cubicBezTo>
                    <a:pt x="27" y="46"/>
                    <a:pt x="27" y="46"/>
                    <a:pt x="27" y="46"/>
                  </a:cubicBezTo>
                  <a:cubicBezTo>
                    <a:pt x="27" y="47"/>
                    <a:pt x="27" y="47"/>
                    <a:pt x="27" y="47"/>
                  </a:cubicBezTo>
                  <a:cubicBezTo>
                    <a:pt x="27" y="48"/>
                    <a:pt x="27" y="48"/>
                    <a:pt x="27" y="48"/>
                  </a:cubicBezTo>
                  <a:cubicBezTo>
                    <a:pt x="27" y="48"/>
                    <a:pt x="27" y="48"/>
                    <a:pt x="27" y="48"/>
                  </a:cubicBezTo>
                  <a:cubicBezTo>
                    <a:pt x="27" y="49"/>
                    <a:pt x="27" y="49"/>
                    <a:pt x="27" y="49"/>
                  </a:cubicBezTo>
                  <a:cubicBezTo>
                    <a:pt x="27" y="49"/>
                    <a:pt x="27" y="49"/>
                    <a:pt x="27" y="49"/>
                  </a:cubicBezTo>
                  <a:cubicBezTo>
                    <a:pt x="27" y="50"/>
                    <a:pt x="27" y="50"/>
                    <a:pt x="27" y="50"/>
                  </a:cubicBezTo>
                  <a:cubicBezTo>
                    <a:pt x="27" y="50"/>
                    <a:pt x="27" y="50"/>
                    <a:pt x="28" y="50"/>
                  </a:cubicBezTo>
                  <a:cubicBezTo>
                    <a:pt x="28" y="51"/>
                    <a:pt x="28" y="51"/>
                    <a:pt x="28" y="51"/>
                  </a:cubicBezTo>
                  <a:cubicBezTo>
                    <a:pt x="28" y="51"/>
                    <a:pt x="28" y="52"/>
                    <a:pt x="28" y="52"/>
                  </a:cubicBezTo>
                  <a:cubicBezTo>
                    <a:pt x="28" y="52"/>
                    <a:pt x="28" y="52"/>
                    <a:pt x="28" y="52"/>
                  </a:cubicBezTo>
                  <a:cubicBezTo>
                    <a:pt x="28" y="52"/>
                    <a:pt x="28" y="52"/>
                    <a:pt x="28" y="52"/>
                  </a:cubicBezTo>
                  <a:cubicBezTo>
                    <a:pt x="28" y="52"/>
                    <a:pt x="28" y="52"/>
                    <a:pt x="28" y="52"/>
                  </a:cubicBezTo>
                  <a:cubicBezTo>
                    <a:pt x="28" y="52"/>
                    <a:pt x="29" y="53"/>
                    <a:pt x="29" y="53"/>
                  </a:cubicBezTo>
                  <a:cubicBezTo>
                    <a:pt x="29" y="53"/>
                    <a:pt x="29" y="53"/>
                    <a:pt x="29" y="53"/>
                  </a:cubicBezTo>
                  <a:cubicBezTo>
                    <a:pt x="29" y="52"/>
                    <a:pt x="29" y="52"/>
                    <a:pt x="30" y="52"/>
                  </a:cubicBezTo>
                  <a:cubicBezTo>
                    <a:pt x="30" y="52"/>
                    <a:pt x="30" y="52"/>
                    <a:pt x="30" y="52"/>
                  </a:cubicBezTo>
                  <a:cubicBezTo>
                    <a:pt x="31" y="52"/>
                    <a:pt x="31" y="52"/>
                    <a:pt x="31" y="52"/>
                  </a:cubicBezTo>
                  <a:cubicBezTo>
                    <a:pt x="32" y="52"/>
                    <a:pt x="32" y="52"/>
                    <a:pt x="32" y="52"/>
                  </a:cubicBezTo>
                  <a:cubicBezTo>
                    <a:pt x="32" y="52"/>
                    <a:pt x="33" y="53"/>
                    <a:pt x="33" y="53"/>
                  </a:cubicBezTo>
                  <a:cubicBezTo>
                    <a:pt x="33" y="53"/>
                    <a:pt x="33" y="53"/>
                    <a:pt x="33" y="54"/>
                  </a:cubicBezTo>
                  <a:cubicBezTo>
                    <a:pt x="34" y="54"/>
                    <a:pt x="34" y="54"/>
                    <a:pt x="34" y="54"/>
                  </a:cubicBezTo>
                  <a:cubicBezTo>
                    <a:pt x="34" y="54"/>
                    <a:pt x="34" y="55"/>
                    <a:pt x="34" y="55"/>
                  </a:cubicBezTo>
                  <a:cubicBezTo>
                    <a:pt x="35" y="55"/>
                    <a:pt x="35" y="56"/>
                    <a:pt x="35" y="56"/>
                  </a:cubicBezTo>
                  <a:cubicBezTo>
                    <a:pt x="35" y="57"/>
                    <a:pt x="35" y="57"/>
                    <a:pt x="35" y="57"/>
                  </a:cubicBezTo>
                  <a:cubicBezTo>
                    <a:pt x="35" y="57"/>
                    <a:pt x="35" y="57"/>
                    <a:pt x="35" y="57"/>
                  </a:cubicBezTo>
                  <a:cubicBezTo>
                    <a:pt x="36" y="57"/>
                    <a:pt x="36" y="57"/>
                    <a:pt x="36" y="58"/>
                  </a:cubicBezTo>
                  <a:cubicBezTo>
                    <a:pt x="36" y="58"/>
                    <a:pt x="36" y="58"/>
                    <a:pt x="37" y="58"/>
                  </a:cubicBezTo>
                  <a:cubicBezTo>
                    <a:pt x="37" y="58"/>
                    <a:pt x="37" y="58"/>
                    <a:pt x="37" y="58"/>
                  </a:cubicBezTo>
                  <a:cubicBezTo>
                    <a:pt x="37" y="58"/>
                    <a:pt x="37" y="59"/>
                    <a:pt x="37" y="59"/>
                  </a:cubicBezTo>
                  <a:cubicBezTo>
                    <a:pt x="37" y="59"/>
                    <a:pt x="37" y="59"/>
                    <a:pt x="37" y="59"/>
                  </a:cubicBezTo>
                  <a:cubicBezTo>
                    <a:pt x="37" y="60"/>
                    <a:pt x="37" y="60"/>
                    <a:pt x="37" y="60"/>
                  </a:cubicBezTo>
                  <a:cubicBezTo>
                    <a:pt x="37" y="60"/>
                    <a:pt x="37" y="60"/>
                    <a:pt x="37" y="60"/>
                  </a:cubicBezTo>
                  <a:cubicBezTo>
                    <a:pt x="37" y="60"/>
                    <a:pt x="37" y="60"/>
                    <a:pt x="37" y="60"/>
                  </a:cubicBezTo>
                  <a:cubicBezTo>
                    <a:pt x="37" y="60"/>
                    <a:pt x="37" y="60"/>
                    <a:pt x="37" y="60"/>
                  </a:cubicBezTo>
                  <a:cubicBezTo>
                    <a:pt x="37" y="60"/>
                    <a:pt x="37" y="60"/>
                    <a:pt x="37" y="60"/>
                  </a:cubicBezTo>
                  <a:cubicBezTo>
                    <a:pt x="37" y="60"/>
                    <a:pt x="37" y="60"/>
                    <a:pt x="37" y="60"/>
                  </a:cubicBezTo>
                  <a:cubicBezTo>
                    <a:pt x="37" y="60"/>
                    <a:pt x="37" y="60"/>
                    <a:pt x="37" y="60"/>
                  </a:cubicBezTo>
                  <a:cubicBezTo>
                    <a:pt x="37" y="61"/>
                    <a:pt x="37" y="61"/>
                    <a:pt x="37" y="61"/>
                  </a:cubicBezTo>
                  <a:cubicBezTo>
                    <a:pt x="37" y="61"/>
                    <a:pt x="37" y="61"/>
                    <a:pt x="37" y="61"/>
                  </a:cubicBezTo>
                  <a:cubicBezTo>
                    <a:pt x="37" y="61"/>
                    <a:pt x="37" y="61"/>
                    <a:pt x="37" y="61"/>
                  </a:cubicBezTo>
                  <a:cubicBezTo>
                    <a:pt x="37" y="62"/>
                    <a:pt x="37" y="62"/>
                    <a:pt x="37" y="62"/>
                  </a:cubicBezTo>
                  <a:cubicBezTo>
                    <a:pt x="37" y="61"/>
                    <a:pt x="37" y="61"/>
                    <a:pt x="37" y="61"/>
                  </a:cubicBezTo>
                  <a:cubicBezTo>
                    <a:pt x="38" y="61"/>
                    <a:pt x="38" y="61"/>
                    <a:pt x="38" y="61"/>
                  </a:cubicBezTo>
                  <a:cubicBezTo>
                    <a:pt x="38" y="61"/>
                    <a:pt x="38" y="61"/>
                    <a:pt x="38" y="61"/>
                  </a:cubicBezTo>
                  <a:cubicBezTo>
                    <a:pt x="38" y="61"/>
                    <a:pt x="38" y="61"/>
                    <a:pt x="38" y="61"/>
                  </a:cubicBezTo>
                  <a:cubicBezTo>
                    <a:pt x="38" y="61"/>
                    <a:pt x="38" y="61"/>
                    <a:pt x="38" y="61"/>
                  </a:cubicBezTo>
                  <a:cubicBezTo>
                    <a:pt x="38" y="60"/>
                    <a:pt x="38" y="60"/>
                    <a:pt x="38" y="60"/>
                  </a:cubicBezTo>
                  <a:cubicBezTo>
                    <a:pt x="38" y="60"/>
                    <a:pt x="38" y="60"/>
                    <a:pt x="38" y="60"/>
                  </a:cubicBezTo>
                  <a:cubicBezTo>
                    <a:pt x="38" y="61"/>
                    <a:pt x="38" y="61"/>
                    <a:pt x="38" y="61"/>
                  </a:cubicBezTo>
                  <a:cubicBezTo>
                    <a:pt x="38" y="61"/>
                    <a:pt x="38" y="61"/>
                    <a:pt x="38" y="61"/>
                  </a:cubicBezTo>
                  <a:cubicBezTo>
                    <a:pt x="39" y="61"/>
                    <a:pt x="39" y="61"/>
                    <a:pt x="39" y="61"/>
                  </a:cubicBezTo>
                  <a:cubicBezTo>
                    <a:pt x="39" y="61"/>
                    <a:pt x="39" y="61"/>
                    <a:pt x="39" y="61"/>
                  </a:cubicBezTo>
                  <a:cubicBezTo>
                    <a:pt x="39" y="61"/>
                    <a:pt x="39" y="61"/>
                    <a:pt x="39" y="61"/>
                  </a:cubicBezTo>
                  <a:cubicBezTo>
                    <a:pt x="39" y="61"/>
                    <a:pt x="39" y="61"/>
                    <a:pt x="39" y="61"/>
                  </a:cubicBezTo>
                  <a:cubicBezTo>
                    <a:pt x="39" y="60"/>
                    <a:pt x="39" y="60"/>
                    <a:pt x="39" y="60"/>
                  </a:cubicBezTo>
                  <a:cubicBezTo>
                    <a:pt x="39" y="60"/>
                    <a:pt x="39" y="60"/>
                    <a:pt x="39" y="60"/>
                  </a:cubicBezTo>
                  <a:cubicBezTo>
                    <a:pt x="39" y="60"/>
                    <a:pt x="39" y="60"/>
                    <a:pt x="39" y="60"/>
                  </a:cubicBezTo>
                  <a:cubicBezTo>
                    <a:pt x="39" y="61"/>
                    <a:pt x="39" y="61"/>
                    <a:pt x="39" y="61"/>
                  </a:cubicBezTo>
                  <a:cubicBezTo>
                    <a:pt x="40" y="61"/>
                    <a:pt x="40" y="61"/>
                    <a:pt x="40" y="61"/>
                  </a:cubicBezTo>
                  <a:cubicBezTo>
                    <a:pt x="40" y="60"/>
                    <a:pt x="40" y="60"/>
                    <a:pt x="40" y="60"/>
                  </a:cubicBezTo>
                  <a:cubicBezTo>
                    <a:pt x="41" y="59"/>
                    <a:pt x="41" y="59"/>
                    <a:pt x="41" y="59"/>
                  </a:cubicBezTo>
                  <a:cubicBezTo>
                    <a:pt x="41" y="59"/>
                    <a:pt x="41" y="59"/>
                    <a:pt x="41" y="59"/>
                  </a:cubicBezTo>
                  <a:cubicBezTo>
                    <a:pt x="42" y="58"/>
                    <a:pt x="42" y="58"/>
                    <a:pt x="42" y="58"/>
                  </a:cubicBezTo>
                  <a:cubicBezTo>
                    <a:pt x="42" y="58"/>
                    <a:pt x="42" y="58"/>
                    <a:pt x="42" y="58"/>
                  </a:cubicBezTo>
                  <a:cubicBezTo>
                    <a:pt x="42" y="58"/>
                    <a:pt x="42" y="58"/>
                    <a:pt x="42" y="58"/>
                  </a:cubicBezTo>
                  <a:cubicBezTo>
                    <a:pt x="43" y="59"/>
                    <a:pt x="43" y="59"/>
                    <a:pt x="43" y="59"/>
                  </a:cubicBezTo>
                  <a:cubicBezTo>
                    <a:pt x="43" y="59"/>
                    <a:pt x="43" y="59"/>
                    <a:pt x="43" y="59"/>
                  </a:cubicBezTo>
                  <a:cubicBezTo>
                    <a:pt x="43" y="59"/>
                    <a:pt x="43" y="59"/>
                    <a:pt x="43" y="59"/>
                  </a:cubicBezTo>
                  <a:cubicBezTo>
                    <a:pt x="43" y="59"/>
                    <a:pt x="43" y="59"/>
                    <a:pt x="43" y="59"/>
                  </a:cubicBezTo>
                  <a:cubicBezTo>
                    <a:pt x="43" y="59"/>
                    <a:pt x="43" y="59"/>
                    <a:pt x="43" y="59"/>
                  </a:cubicBezTo>
                  <a:cubicBezTo>
                    <a:pt x="43" y="60"/>
                    <a:pt x="43" y="60"/>
                    <a:pt x="43" y="60"/>
                  </a:cubicBezTo>
                  <a:cubicBezTo>
                    <a:pt x="43" y="59"/>
                    <a:pt x="43" y="59"/>
                    <a:pt x="43" y="59"/>
                  </a:cubicBezTo>
                  <a:cubicBezTo>
                    <a:pt x="43" y="59"/>
                    <a:pt x="43" y="59"/>
                    <a:pt x="43" y="59"/>
                  </a:cubicBezTo>
                  <a:cubicBezTo>
                    <a:pt x="43" y="59"/>
                    <a:pt x="43" y="59"/>
                    <a:pt x="43" y="59"/>
                  </a:cubicBezTo>
                  <a:cubicBezTo>
                    <a:pt x="43" y="59"/>
                    <a:pt x="43" y="59"/>
                    <a:pt x="43" y="59"/>
                  </a:cubicBezTo>
                  <a:cubicBezTo>
                    <a:pt x="44" y="59"/>
                    <a:pt x="44" y="59"/>
                    <a:pt x="44" y="59"/>
                  </a:cubicBezTo>
                  <a:cubicBezTo>
                    <a:pt x="44" y="58"/>
                    <a:pt x="44" y="58"/>
                    <a:pt x="44" y="58"/>
                  </a:cubicBezTo>
                  <a:cubicBezTo>
                    <a:pt x="44" y="58"/>
                    <a:pt x="44" y="58"/>
                    <a:pt x="44" y="58"/>
                  </a:cubicBezTo>
                  <a:cubicBezTo>
                    <a:pt x="44" y="58"/>
                    <a:pt x="44" y="58"/>
                    <a:pt x="44" y="58"/>
                  </a:cubicBezTo>
                  <a:cubicBezTo>
                    <a:pt x="44" y="58"/>
                    <a:pt x="44" y="58"/>
                    <a:pt x="44" y="58"/>
                  </a:cubicBezTo>
                  <a:cubicBezTo>
                    <a:pt x="44" y="58"/>
                    <a:pt x="44" y="58"/>
                    <a:pt x="44" y="58"/>
                  </a:cubicBezTo>
                  <a:cubicBezTo>
                    <a:pt x="45" y="57"/>
                    <a:pt x="45" y="57"/>
                    <a:pt x="45" y="57"/>
                  </a:cubicBezTo>
                  <a:cubicBezTo>
                    <a:pt x="45" y="57"/>
                    <a:pt x="45" y="57"/>
                    <a:pt x="45" y="57"/>
                  </a:cubicBezTo>
                  <a:cubicBezTo>
                    <a:pt x="45" y="57"/>
                    <a:pt x="45" y="57"/>
                    <a:pt x="45" y="57"/>
                  </a:cubicBezTo>
                  <a:cubicBezTo>
                    <a:pt x="45" y="57"/>
                    <a:pt x="45" y="57"/>
                    <a:pt x="45" y="57"/>
                  </a:cubicBezTo>
                  <a:cubicBezTo>
                    <a:pt x="44" y="57"/>
                    <a:pt x="44" y="57"/>
                    <a:pt x="44" y="57"/>
                  </a:cubicBezTo>
                  <a:cubicBezTo>
                    <a:pt x="44" y="57"/>
                    <a:pt x="44" y="57"/>
                    <a:pt x="44" y="57"/>
                  </a:cubicBezTo>
                  <a:cubicBezTo>
                    <a:pt x="44" y="56"/>
                    <a:pt x="44" y="56"/>
                    <a:pt x="44" y="56"/>
                  </a:cubicBezTo>
                  <a:cubicBezTo>
                    <a:pt x="45" y="56"/>
                    <a:pt x="45" y="56"/>
                    <a:pt x="45" y="56"/>
                  </a:cubicBezTo>
                  <a:cubicBezTo>
                    <a:pt x="45" y="56"/>
                    <a:pt x="45" y="56"/>
                    <a:pt x="45" y="56"/>
                  </a:cubicBezTo>
                  <a:cubicBezTo>
                    <a:pt x="45" y="56"/>
                    <a:pt x="45" y="56"/>
                    <a:pt x="45" y="56"/>
                  </a:cubicBezTo>
                  <a:cubicBezTo>
                    <a:pt x="46" y="57"/>
                    <a:pt x="46" y="57"/>
                    <a:pt x="46" y="57"/>
                  </a:cubicBezTo>
                  <a:cubicBezTo>
                    <a:pt x="46" y="57"/>
                    <a:pt x="46" y="57"/>
                    <a:pt x="46" y="57"/>
                  </a:cubicBezTo>
                  <a:cubicBezTo>
                    <a:pt x="46" y="57"/>
                    <a:pt x="46" y="57"/>
                    <a:pt x="46" y="57"/>
                  </a:cubicBezTo>
                  <a:cubicBezTo>
                    <a:pt x="46" y="56"/>
                    <a:pt x="46" y="56"/>
                    <a:pt x="46" y="56"/>
                  </a:cubicBezTo>
                  <a:cubicBezTo>
                    <a:pt x="46" y="56"/>
                    <a:pt x="46" y="56"/>
                    <a:pt x="46" y="56"/>
                  </a:cubicBezTo>
                  <a:cubicBezTo>
                    <a:pt x="46" y="55"/>
                    <a:pt x="46" y="55"/>
                    <a:pt x="46" y="55"/>
                  </a:cubicBezTo>
                  <a:cubicBezTo>
                    <a:pt x="47" y="55"/>
                    <a:pt x="47" y="55"/>
                    <a:pt x="47" y="55"/>
                  </a:cubicBezTo>
                  <a:cubicBezTo>
                    <a:pt x="47" y="55"/>
                    <a:pt x="47" y="55"/>
                    <a:pt x="47" y="55"/>
                  </a:cubicBezTo>
                  <a:cubicBezTo>
                    <a:pt x="47" y="54"/>
                    <a:pt x="47" y="54"/>
                    <a:pt x="47" y="54"/>
                  </a:cubicBezTo>
                  <a:cubicBezTo>
                    <a:pt x="47" y="54"/>
                    <a:pt x="47" y="54"/>
                    <a:pt x="47" y="54"/>
                  </a:cubicBezTo>
                  <a:cubicBezTo>
                    <a:pt x="47" y="54"/>
                    <a:pt x="47" y="54"/>
                    <a:pt x="47" y="54"/>
                  </a:cubicBezTo>
                  <a:cubicBezTo>
                    <a:pt x="46" y="54"/>
                    <a:pt x="46" y="54"/>
                    <a:pt x="46" y="54"/>
                  </a:cubicBezTo>
                  <a:cubicBezTo>
                    <a:pt x="46" y="54"/>
                    <a:pt x="46" y="54"/>
                    <a:pt x="46" y="54"/>
                  </a:cubicBezTo>
                  <a:cubicBezTo>
                    <a:pt x="46" y="54"/>
                    <a:pt x="46" y="54"/>
                    <a:pt x="46" y="54"/>
                  </a:cubicBezTo>
                  <a:cubicBezTo>
                    <a:pt x="46" y="54"/>
                    <a:pt x="46" y="54"/>
                    <a:pt x="46" y="54"/>
                  </a:cubicBezTo>
                  <a:cubicBezTo>
                    <a:pt x="46" y="54"/>
                    <a:pt x="46" y="54"/>
                    <a:pt x="46" y="54"/>
                  </a:cubicBezTo>
                  <a:cubicBezTo>
                    <a:pt x="45" y="54"/>
                    <a:pt x="45" y="54"/>
                    <a:pt x="45" y="54"/>
                  </a:cubicBezTo>
                  <a:cubicBezTo>
                    <a:pt x="45" y="54"/>
                    <a:pt x="45" y="54"/>
                    <a:pt x="45" y="54"/>
                  </a:cubicBezTo>
                  <a:cubicBezTo>
                    <a:pt x="45" y="53"/>
                    <a:pt x="45" y="53"/>
                    <a:pt x="45" y="53"/>
                  </a:cubicBezTo>
                  <a:cubicBezTo>
                    <a:pt x="45" y="53"/>
                    <a:pt x="45" y="53"/>
                    <a:pt x="45" y="53"/>
                  </a:cubicBezTo>
                  <a:cubicBezTo>
                    <a:pt x="45" y="53"/>
                    <a:pt x="45" y="53"/>
                    <a:pt x="45" y="53"/>
                  </a:cubicBezTo>
                  <a:cubicBezTo>
                    <a:pt x="46" y="53"/>
                    <a:pt x="46" y="53"/>
                    <a:pt x="46" y="53"/>
                  </a:cubicBezTo>
                  <a:cubicBezTo>
                    <a:pt x="46" y="53"/>
                    <a:pt x="46" y="53"/>
                    <a:pt x="46" y="53"/>
                  </a:cubicBezTo>
                  <a:cubicBezTo>
                    <a:pt x="46" y="53"/>
                    <a:pt x="46" y="53"/>
                    <a:pt x="46" y="53"/>
                  </a:cubicBezTo>
                  <a:cubicBezTo>
                    <a:pt x="46" y="53"/>
                    <a:pt x="46" y="53"/>
                    <a:pt x="46" y="53"/>
                  </a:cubicBezTo>
                  <a:cubicBezTo>
                    <a:pt x="46" y="53"/>
                    <a:pt x="46" y="53"/>
                    <a:pt x="46" y="53"/>
                  </a:cubicBezTo>
                  <a:cubicBezTo>
                    <a:pt x="46" y="52"/>
                    <a:pt x="46" y="52"/>
                    <a:pt x="46" y="52"/>
                  </a:cubicBezTo>
                  <a:cubicBezTo>
                    <a:pt x="46" y="52"/>
                    <a:pt x="46" y="52"/>
                    <a:pt x="46" y="52"/>
                  </a:cubicBezTo>
                  <a:cubicBezTo>
                    <a:pt x="46" y="52"/>
                    <a:pt x="46" y="52"/>
                    <a:pt x="46" y="52"/>
                  </a:cubicBezTo>
                  <a:cubicBezTo>
                    <a:pt x="46" y="52"/>
                    <a:pt x="46" y="52"/>
                    <a:pt x="46" y="52"/>
                  </a:cubicBezTo>
                  <a:cubicBezTo>
                    <a:pt x="46" y="51"/>
                    <a:pt x="46" y="51"/>
                    <a:pt x="46" y="51"/>
                  </a:cubicBezTo>
                  <a:cubicBezTo>
                    <a:pt x="47" y="50"/>
                    <a:pt x="47" y="50"/>
                    <a:pt x="47" y="50"/>
                  </a:cubicBezTo>
                  <a:cubicBezTo>
                    <a:pt x="47" y="50"/>
                    <a:pt x="47" y="50"/>
                    <a:pt x="47" y="50"/>
                  </a:cubicBezTo>
                  <a:cubicBezTo>
                    <a:pt x="47" y="50"/>
                    <a:pt x="47" y="50"/>
                    <a:pt x="47" y="50"/>
                  </a:cubicBezTo>
                  <a:cubicBezTo>
                    <a:pt x="47" y="50"/>
                    <a:pt x="47" y="50"/>
                    <a:pt x="47" y="50"/>
                  </a:cubicBezTo>
                  <a:cubicBezTo>
                    <a:pt x="47" y="50"/>
                    <a:pt x="47" y="50"/>
                    <a:pt x="47" y="50"/>
                  </a:cubicBezTo>
                  <a:cubicBezTo>
                    <a:pt x="47" y="51"/>
                    <a:pt x="47" y="51"/>
                    <a:pt x="47" y="51"/>
                  </a:cubicBezTo>
                  <a:cubicBezTo>
                    <a:pt x="47" y="51"/>
                    <a:pt x="47" y="51"/>
                    <a:pt x="47" y="51"/>
                  </a:cubicBezTo>
                  <a:cubicBezTo>
                    <a:pt x="47" y="51"/>
                    <a:pt x="47" y="51"/>
                    <a:pt x="47" y="51"/>
                  </a:cubicBezTo>
                  <a:cubicBezTo>
                    <a:pt x="47" y="51"/>
                    <a:pt x="47" y="51"/>
                    <a:pt x="47" y="51"/>
                  </a:cubicBezTo>
                  <a:cubicBezTo>
                    <a:pt x="47" y="52"/>
                    <a:pt x="47" y="52"/>
                    <a:pt x="47" y="52"/>
                  </a:cubicBezTo>
                  <a:cubicBezTo>
                    <a:pt x="46" y="54"/>
                    <a:pt x="46" y="54"/>
                    <a:pt x="46" y="54"/>
                  </a:cubicBezTo>
                  <a:cubicBezTo>
                    <a:pt x="47" y="54"/>
                    <a:pt x="47" y="54"/>
                    <a:pt x="47" y="54"/>
                  </a:cubicBezTo>
                  <a:cubicBezTo>
                    <a:pt x="48" y="54"/>
                    <a:pt x="48" y="54"/>
                    <a:pt x="48" y="54"/>
                  </a:cubicBezTo>
                  <a:cubicBezTo>
                    <a:pt x="48" y="54"/>
                    <a:pt x="48" y="54"/>
                    <a:pt x="48" y="54"/>
                  </a:cubicBezTo>
                  <a:cubicBezTo>
                    <a:pt x="48" y="55"/>
                    <a:pt x="48" y="55"/>
                    <a:pt x="48" y="55"/>
                  </a:cubicBezTo>
                  <a:cubicBezTo>
                    <a:pt x="48" y="55"/>
                    <a:pt x="48" y="55"/>
                    <a:pt x="48" y="55"/>
                  </a:cubicBezTo>
                  <a:cubicBezTo>
                    <a:pt x="49" y="55"/>
                    <a:pt x="49" y="55"/>
                    <a:pt x="49" y="55"/>
                  </a:cubicBezTo>
                  <a:cubicBezTo>
                    <a:pt x="49" y="55"/>
                    <a:pt x="49" y="55"/>
                    <a:pt x="49" y="55"/>
                  </a:cubicBezTo>
                  <a:cubicBezTo>
                    <a:pt x="50" y="55"/>
                    <a:pt x="50" y="55"/>
                    <a:pt x="50" y="55"/>
                  </a:cubicBezTo>
                  <a:cubicBezTo>
                    <a:pt x="50" y="54"/>
                    <a:pt x="50" y="54"/>
                    <a:pt x="50" y="54"/>
                  </a:cubicBezTo>
                  <a:cubicBezTo>
                    <a:pt x="50" y="54"/>
                    <a:pt x="50" y="54"/>
                    <a:pt x="50" y="54"/>
                  </a:cubicBezTo>
                  <a:cubicBezTo>
                    <a:pt x="50" y="54"/>
                    <a:pt x="50" y="54"/>
                    <a:pt x="50" y="54"/>
                  </a:cubicBezTo>
                  <a:cubicBezTo>
                    <a:pt x="51" y="53"/>
                    <a:pt x="51" y="53"/>
                    <a:pt x="51" y="53"/>
                  </a:cubicBezTo>
                  <a:cubicBezTo>
                    <a:pt x="51" y="53"/>
                    <a:pt x="51" y="53"/>
                    <a:pt x="51" y="53"/>
                  </a:cubicBezTo>
                  <a:cubicBezTo>
                    <a:pt x="51" y="53"/>
                    <a:pt x="51" y="53"/>
                    <a:pt x="51" y="53"/>
                  </a:cubicBezTo>
                  <a:cubicBezTo>
                    <a:pt x="51" y="53"/>
                    <a:pt x="51" y="53"/>
                    <a:pt x="51" y="53"/>
                  </a:cubicBezTo>
                  <a:cubicBezTo>
                    <a:pt x="51" y="53"/>
                    <a:pt x="51" y="53"/>
                    <a:pt x="51" y="53"/>
                  </a:cubicBezTo>
                  <a:cubicBezTo>
                    <a:pt x="52" y="53"/>
                    <a:pt x="52" y="53"/>
                    <a:pt x="52" y="53"/>
                  </a:cubicBezTo>
                  <a:cubicBezTo>
                    <a:pt x="52" y="52"/>
                    <a:pt x="52" y="52"/>
                    <a:pt x="52" y="52"/>
                  </a:cubicBezTo>
                  <a:cubicBezTo>
                    <a:pt x="52" y="52"/>
                    <a:pt x="52" y="52"/>
                    <a:pt x="52" y="52"/>
                  </a:cubicBezTo>
                  <a:cubicBezTo>
                    <a:pt x="53" y="51"/>
                    <a:pt x="53" y="51"/>
                    <a:pt x="53" y="51"/>
                  </a:cubicBezTo>
                  <a:cubicBezTo>
                    <a:pt x="53" y="51"/>
                    <a:pt x="53" y="51"/>
                    <a:pt x="53" y="51"/>
                  </a:cubicBezTo>
                  <a:cubicBezTo>
                    <a:pt x="54" y="51"/>
                    <a:pt x="54" y="51"/>
                    <a:pt x="54" y="51"/>
                  </a:cubicBezTo>
                  <a:cubicBezTo>
                    <a:pt x="54" y="51"/>
                    <a:pt x="54" y="51"/>
                    <a:pt x="54" y="51"/>
                  </a:cubicBezTo>
                  <a:cubicBezTo>
                    <a:pt x="54" y="51"/>
                    <a:pt x="54" y="51"/>
                    <a:pt x="54" y="51"/>
                  </a:cubicBezTo>
                  <a:cubicBezTo>
                    <a:pt x="54" y="50"/>
                    <a:pt x="54" y="50"/>
                    <a:pt x="54" y="50"/>
                  </a:cubicBezTo>
                  <a:cubicBezTo>
                    <a:pt x="54" y="50"/>
                    <a:pt x="54" y="50"/>
                    <a:pt x="54" y="50"/>
                  </a:cubicBezTo>
                  <a:cubicBezTo>
                    <a:pt x="54" y="50"/>
                    <a:pt x="54" y="50"/>
                    <a:pt x="54" y="50"/>
                  </a:cubicBezTo>
                  <a:cubicBezTo>
                    <a:pt x="54" y="50"/>
                    <a:pt x="54" y="50"/>
                    <a:pt x="54" y="50"/>
                  </a:cubicBezTo>
                  <a:cubicBezTo>
                    <a:pt x="56" y="47"/>
                    <a:pt x="56" y="47"/>
                    <a:pt x="56" y="47"/>
                  </a:cubicBezTo>
                  <a:cubicBezTo>
                    <a:pt x="57" y="46"/>
                    <a:pt x="57" y="46"/>
                    <a:pt x="57" y="46"/>
                  </a:cubicBezTo>
                  <a:cubicBezTo>
                    <a:pt x="59" y="44"/>
                    <a:pt x="59" y="44"/>
                    <a:pt x="59" y="44"/>
                  </a:cubicBezTo>
                  <a:cubicBezTo>
                    <a:pt x="59" y="44"/>
                    <a:pt x="59" y="44"/>
                    <a:pt x="59" y="44"/>
                  </a:cubicBezTo>
                  <a:cubicBezTo>
                    <a:pt x="60" y="44"/>
                    <a:pt x="60" y="44"/>
                    <a:pt x="60" y="44"/>
                  </a:cubicBezTo>
                  <a:cubicBezTo>
                    <a:pt x="60" y="43"/>
                    <a:pt x="60" y="43"/>
                    <a:pt x="60" y="43"/>
                  </a:cubicBezTo>
                  <a:cubicBezTo>
                    <a:pt x="60" y="42"/>
                    <a:pt x="60" y="42"/>
                    <a:pt x="60" y="42"/>
                  </a:cubicBezTo>
                  <a:cubicBezTo>
                    <a:pt x="61" y="42"/>
                    <a:pt x="61" y="42"/>
                    <a:pt x="61" y="42"/>
                  </a:cubicBezTo>
                  <a:cubicBezTo>
                    <a:pt x="61" y="42"/>
                    <a:pt x="61" y="42"/>
                    <a:pt x="61" y="42"/>
                  </a:cubicBezTo>
                  <a:cubicBezTo>
                    <a:pt x="62" y="42"/>
                    <a:pt x="62" y="42"/>
                    <a:pt x="62" y="42"/>
                  </a:cubicBezTo>
                  <a:cubicBezTo>
                    <a:pt x="62" y="42"/>
                    <a:pt x="62" y="42"/>
                    <a:pt x="62" y="42"/>
                  </a:cubicBezTo>
                  <a:cubicBezTo>
                    <a:pt x="62" y="42"/>
                    <a:pt x="62" y="42"/>
                    <a:pt x="62" y="42"/>
                  </a:cubicBezTo>
                  <a:cubicBezTo>
                    <a:pt x="62" y="42"/>
                    <a:pt x="62" y="42"/>
                    <a:pt x="62" y="42"/>
                  </a:cubicBezTo>
                  <a:cubicBezTo>
                    <a:pt x="62" y="42"/>
                    <a:pt x="62" y="42"/>
                    <a:pt x="62" y="42"/>
                  </a:cubicBezTo>
                  <a:cubicBezTo>
                    <a:pt x="62" y="42"/>
                    <a:pt x="62" y="42"/>
                    <a:pt x="62" y="42"/>
                  </a:cubicBezTo>
                  <a:cubicBezTo>
                    <a:pt x="63" y="42"/>
                    <a:pt x="63" y="42"/>
                    <a:pt x="63" y="42"/>
                  </a:cubicBezTo>
                  <a:cubicBezTo>
                    <a:pt x="63" y="41"/>
                    <a:pt x="63" y="41"/>
                    <a:pt x="63" y="41"/>
                  </a:cubicBezTo>
                  <a:cubicBezTo>
                    <a:pt x="63" y="40"/>
                    <a:pt x="63" y="40"/>
                    <a:pt x="63" y="40"/>
                  </a:cubicBezTo>
                  <a:cubicBezTo>
                    <a:pt x="63" y="40"/>
                    <a:pt x="63" y="40"/>
                    <a:pt x="63" y="40"/>
                  </a:cubicBezTo>
                  <a:cubicBezTo>
                    <a:pt x="63" y="40"/>
                    <a:pt x="63" y="40"/>
                    <a:pt x="63" y="40"/>
                  </a:cubicBezTo>
                  <a:cubicBezTo>
                    <a:pt x="63" y="39"/>
                    <a:pt x="63" y="39"/>
                    <a:pt x="63" y="39"/>
                  </a:cubicBezTo>
                  <a:cubicBezTo>
                    <a:pt x="63" y="39"/>
                    <a:pt x="63" y="39"/>
                    <a:pt x="63" y="39"/>
                  </a:cubicBezTo>
                  <a:cubicBezTo>
                    <a:pt x="63" y="39"/>
                    <a:pt x="63" y="39"/>
                    <a:pt x="63" y="39"/>
                  </a:cubicBezTo>
                  <a:cubicBezTo>
                    <a:pt x="63" y="39"/>
                    <a:pt x="63" y="39"/>
                    <a:pt x="63" y="39"/>
                  </a:cubicBezTo>
                  <a:cubicBezTo>
                    <a:pt x="63" y="39"/>
                    <a:pt x="63" y="39"/>
                    <a:pt x="63" y="39"/>
                  </a:cubicBezTo>
                  <a:cubicBezTo>
                    <a:pt x="63" y="39"/>
                    <a:pt x="63" y="39"/>
                    <a:pt x="63" y="39"/>
                  </a:cubicBezTo>
                  <a:cubicBezTo>
                    <a:pt x="63" y="39"/>
                    <a:pt x="63" y="39"/>
                    <a:pt x="63" y="39"/>
                  </a:cubicBezTo>
                  <a:cubicBezTo>
                    <a:pt x="63" y="38"/>
                    <a:pt x="63" y="38"/>
                    <a:pt x="63" y="38"/>
                  </a:cubicBezTo>
                  <a:cubicBezTo>
                    <a:pt x="63" y="38"/>
                    <a:pt x="63" y="38"/>
                    <a:pt x="63" y="38"/>
                  </a:cubicBezTo>
                  <a:cubicBezTo>
                    <a:pt x="64" y="37"/>
                    <a:pt x="64" y="37"/>
                    <a:pt x="64" y="37"/>
                  </a:cubicBezTo>
                  <a:cubicBezTo>
                    <a:pt x="63" y="36"/>
                    <a:pt x="63" y="36"/>
                    <a:pt x="63" y="36"/>
                  </a:cubicBezTo>
                  <a:cubicBezTo>
                    <a:pt x="63" y="36"/>
                    <a:pt x="63" y="36"/>
                    <a:pt x="63" y="36"/>
                  </a:cubicBezTo>
                  <a:cubicBezTo>
                    <a:pt x="63" y="36"/>
                    <a:pt x="63" y="36"/>
                    <a:pt x="63" y="36"/>
                  </a:cubicBezTo>
                  <a:cubicBezTo>
                    <a:pt x="63" y="36"/>
                    <a:pt x="63" y="36"/>
                    <a:pt x="63" y="36"/>
                  </a:cubicBezTo>
                  <a:cubicBezTo>
                    <a:pt x="62" y="35"/>
                    <a:pt x="62" y="35"/>
                    <a:pt x="62" y="35"/>
                  </a:cubicBezTo>
                  <a:cubicBezTo>
                    <a:pt x="62" y="35"/>
                    <a:pt x="62" y="35"/>
                    <a:pt x="62" y="35"/>
                  </a:cubicBezTo>
                  <a:cubicBezTo>
                    <a:pt x="62" y="35"/>
                    <a:pt x="62" y="35"/>
                    <a:pt x="62" y="35"/>
                  </a:cubicBezTo>
                  <a:cubicBezTo>
                    <a:pt x="62" y="35"/>
                    <a:pt x="62" y="35"/>
                    <a:pt x="62" y="35"/>
                  </a:cubicBezTo>
                  <a:cubicBezTo>
                    <a:pt x="62" y="35"/>
                    <a:pt x="62" y="35"/>
                    <a:pt x="62" y="35"/>
                  </a:cubicBezTo>
                  <a:cubicBezTo>
                    <a:pt x="62" y="35"/>
                    <a:pt x="62" y="35"/>
                    <a:pt x="62" y="35"/>
                  </a:cubicBezTo>
                  <a:cubicBezTo>
                    <a:pt x="61" y="34"/>
                    <a:pt x="61" y="34"/>
                    <a:pt x="61" y="34"/>
                  </a:cubicBezTo>
                  <a:cubicBezTo>
                    <a:pt x="61" y="34"/>
                    <a:pt x="61" y="34"/>
                    <a:pt x="61" y="34"/>
                  </a:cubicBezTo>
                  <a:cubicBezTo>
                    <a:pt x="61" y="34"/>
                    <a:pt x="61" y="34"/>
                    <a:pt x="61" y="34"/>
                  </a:cubicBezTo>
                  <a:cubicBezTo>
                    <a:pt x="61" y="34"/>
                    <a:pt x="61" y="34"/>
                    <a:pt x="61" y="34"/>
                  </a:cubicBezTo>
                  <a:cubicBezTo>
                    <a:pt x="61" y="34"/>
                    <a:pt x="61" y="34"/>
                    <a:pt x="61" y="34"/>
                  </a:cubicBezTo>
                  <a:cubicBezTo>
                    <a:pt x="60" y="33"/>
                    <a:pt x="60" y="33"/>
                    <a:pt x="60" y="33"/>
                  </a:cubicBezTo>
                  <a:cubicBezTo>
                    <a:pt x="59" y="33"/>
                    <a:pt x="59" y="33"/>
                    <a:pt x="59" y="33"/>
                  </a:cubicBezTo>
                  <a:cubicBezTo>
                    <a:pt x="60" y="33"/>
                    <a:pt x="60" y="33"/>
                    <a:pt x="60" y="33"/>
                  </a:cubicBezTo>
                  <a:cubicBezTo>
                    <a:pt x="60" y="33"/>
                    <a:pt x="60" y="33"/>
                    <a:pt x="60" y="33"/>
                  </a:cubicBezTo>
                  <a:cubicBezTo>
                    <a:pt x="60" y="33"/>
                    <a:pt x="60" y="33"/>
                    <a:pt x="60" y="33"/>
                  </a:cubicBezTo>
                  <a:cubicBezTo>
                    <a:pt x="61" y="33"/>
                    <a:pt x="61" y="33"/>
                    <a:pt x="61" y="33"/>
                  </a:cubicBezTo>
                  <a:cubicBezTo>
                    <a:pt x="61" y="33"/>
                    <a:pt x="61" y="33"/>
                    <a:pt x="61" y="33"/>
                  </a:cubicBezTo>
                  <a:cubicBezTo>
                    <a:pt x="61" y="34"/>
                    <a:pt x="61" y="34"/>
                    <a:pt x="61" y="34"/>
                  </a:cubicBezTo>
                  <a:cubicBezTo>
                    <a:pt x="61" y="34"/>
                    <a:pt x="61" y="34"/>
                    <a:pt x="61" y="34"/>
                  </a:cubicBezTo>
                  <a:cubicBezTo>
                    <a:pt x="61" y="34"/>
                    <a:pt x="61" y="34"/>
                    <a:pt x="61" y="34"/>
                  </a:cubicBezTo>
                  <a:cubicBezTo>
                    <a:pt x="61" y="34"/>
                    <a:pt x="61" y="34"/>
                    <a:pt x="61" y="34"/>
                  </a:cubicBezTo>
                  <a:cubicBezTo>
                    <a:pt x="62" y="35"/>
                    <a:pt x="62" y="35"/>
                    <a:pt x="62" y="35"/>
                  </a:cubicBezTo>
                  <a:cubicBezTo>
                    <a:pt x="62" y="35"/>
                    <a:pt x="62" y="35"/>
                    <a:pt x="62" y="35"/>
                  </a:cubicBezTo>
                  <a:cubicBezTo>
                    <a:pt x="63" y="36"/>
                    <a:pt x="63" y="36"/>
                    <a:pt x="63" y="36"/>
                  </a:cubicBezTo>
                  <a:cubicBezTo>
                    <a:pt x="64" y="36"/>
                    <a:pt x="64" y="36"/>
                    <a:pt x="64" y="36"/>
                  </a:cubicBezTo>
                  <a:cubicBezTo>
                    <a:pt x="64" y="36"/>
                    <a:pt x="64" y="36"/>
                    <a:pt x="64" y="36"/>
                  </a:cubicBezTo>
                  <a:cubicBezTo>
                    <a:pt x="64" y="35"/>
                    <a:pt x="64" y="35"/>
                    <a:pt x="64" y="35"/>
                  </a:cubicBezTo>
                  <a:cubicBezTo>
                    <a:pt x="64" y="36"/>
                    <a:pt x="64" y="36"/>
                    <a:pt x="64" y="36"/>
                  </a:cubicBezTo>
                  <a:cubicBezTo>
                    <a:pt x="64" y="36"/>
                    <a:pt x="64" y="36"/>
                    <a:pt x="64" y="36"/>
                  </a:cubicBezTo>
                  <a:cubicBezTo>
                    <a:pt x="64" y="36"/>
                    <a:pt x="64" y="36"/>
                    <a:pt x="64" y="36"/>
                  </a:cubicBezTo>
                  <a:cubicBezTo>
                    <a:pt x="64" y="36"/>
                    <a:pt x="64" y="36"/>
                    <a:pt x="64" y="36"/>
                  </a:cubicBezTo>
                  <a:cubicBezTo>
                    <a:pt x="65" y="37"/>
                    <a:pt x="65" y="37"/>
                    <a:pt x="65" y="37"/>
                  </a:cubicBezTo>
                  <a:cubicBezTo>
                    <a:pt x="65" y="37"/>
                    <a:pt x="65" y="37"/>
                    <a:pt x="65" y="37"/>
                  </a:cubicBezTo>
                  <a:cubicBezTo>
                    <a:pt x="65" y="37"/>
                    <a:pt x="65" y="37"/>
                    <a:pt x="65" y="37"/>
                  </a:cubicBezTo>
                  <a:cubicBezTo>
                    <a:pt x="65" y="38"/>
                    <a:pt x="65" y="38"/>
                    <a:pt x="65" y="38"/>
                  </a:cubicBezTo>
                  <a:cubicBezTo>
                    <a:pt x="65" y="38"/>
                    <a:pt x="65" y="38"/>
                    <a:pt x="65" y="38"/>
                  </a:cubicBezTo>
                  <a:cubicBezTo>
                    <a:pt x="65" y="39"/>
                    <a:pt x="65" y="39"/>
                    <a:pt x="65" y="39"/>
                  </a:cubicBezTo>
                  <a:cubicBezTo>
                    <a:pt x="65" y="39"/>
                    <a:pt x="65" y="39"/>
                    <a:pt x="65" y="39"/>
                  </a:cubicBezTo>
                  <a:cubicBezTo>
                    <a:pt x="65" y="39"/>
                    <a:pt x="65" y="39"/>
                    <a:pt x="65" y="39"/>
                  </a:cubicBezTo>
                  <a:cubicBezTo>
                    <a:pt x="65" y="39"/>
                    <a:pt x="65" y="39"/>
                    <a:pt x="65" y="39"/>
                  </a:cubicBezTo>
                  <a:cubicBezTo>
                    <a:pt x="66" y="38"/>
                    <a:pt x="66" y="38"/>
                    <a:pt x="66" y="38"/>
                  </a:cubicBezTo>
                  <a:cubicBezTo>
                    <a:pt x="66" y="38"/>
                    <a:pt x="66" y="38"/>
                    <a:pt x="66" y="38"/>
                  </a:cubicBezTo>
                  <a:cubicBezTo>
                    <a:pt x="65" y="38"/>
                    <a:pt x="65" y="38"/>
                    <a:pt x="65" y="38"/>
                  </a:cubicBezTo>
                  <a:cubicBezTo>
                    <a:pt x="65" y="37"/>
                    <a:pt x="65" y="37"/>
                    <a:pt x="65" y="37"/>
                  </a:cubicBezTo>
                  <a:cubicBezTo>
                    <a:pt x="66" y="37"/>
                    <a:pt x="66" y="37"/>
                    <a:pt x="66" y="37"/>
                  </a:cubicBezTo>
                  <a:cubicBezTo>
                    <a:pt x="66" y="37"/>
                    <a:pt x="66" y="37"/>
                    <a:pt x="66" y="37"/>
                  </a:cubicBezTo>
                  <a:cubicBezTo>
                    <a:pt x="66" y="36"/>
                    <a:pt x="66" y="36"/>
                    <a:pt x="66" y="36"/>
                  </a:cubicBezTo>
                  <a:cubicBezTo>
                    <a:pt x="67" y="35"/>
                    <a:pt x="67" y="35"/>
                    <a:pt x="67" y="35"/>
                  </a:cubicBezTo>
                  <a:cubicBezTo>
                    <a:pt x="67" y="35"/>
                    <a:pt x="67" y="35"/>
                    <a:pt x="67" y="35"/>
                  </a:cubicBezTo>
                  <a:cubicBezTo>
                    <a:pt x="66" y="35"/>
                    <a:pt x="66" y="35"/>
                    <a:pt x="66" y="35"/>
                  </a:cubicBezTo>
                  <a:cubicBezTo>
                    <a:pt x="66" y="35"/>
                    <a:pt x="66" y="35"/>
                    <a:pt x="66" y="35"/>
                  </a:cubicBezTo>
                  <a:cubicBezTo>
                    <a:pt x="66" y="35"/>
                    <a:pt x="66" y="35"/>
                    <a:pt x="66" y="35"/>
                  </a:cubicBezTo>
                  <a:cubicBezTo>
                    <a:pt x="66" y="35"/>
                    <a:pt x="66" y="35"/>
                    <a:pt x="66" y="35"/>
                  </a:cubicBezTo>
                  <a:cubicBezTo>
                    <a:pt x="67" y="35"/>
                    <a:pt x="67" y="35"/>
                    <a:pt x="67" y="35"/>
                  </a:cubicBezTo>
                  <a:cubicBezTo>
                    <a:pt x="67" y="35"/>
                    <a:pt x="67" y="35"/>
                    <a:pt x="67" y="35"/>
                  </a:cubicBezTo>
                  <a:cubicBezTo>
                    <a:pt x="68" y="35"/>
                    <a:pt x="68" y="35"/>
                    <a:pt x="68" y="35"/>
                  </a:cubicBezTo>
                  <a:cubicBezTo>
                    <a:pt x="68" y="35"/>
                    <a:pt x="68" y="35"/>
                    <a:pt x="68" y="35"/>
                  </a:cubicBezTo>
                  <a:cubicBezTo>
                    <a:pt x="68" y="35"/>
                    <a:pt x="68" y="35"/>
                    <a:pt x="68" y="35"/>
                  </a:cubicBezTo>
                  <a:cubicBezTo>
                    <a:pt x="68" y="35"/>
                    <a:pt x="68" y="35"/>
                    <a:pt x="68" y="35"/>
                  </a:cubicBezTo>
                  <a:cubicBezTo>
                    <a:pt x="68" y="35"/>
                    <a:pt x="68" y="35"/>
                    <a:pt x="68" y="35"/>
                  </a:cubicBezTo>
                  <a:cubicBezTo>
                    <a:pt x="68" y="35"/>
                    <a:pt x="68" y="35"/>
                    <a:pt x="68" y="35"/>
                  </a:cubicBezTo>
                  <a:cubicBezTo>
                    <a:pt x="68" y="35"/>
                    <a:pt x="68" y="35"/>
                    <a:pt x="68" y="35"/>
                  </a:cubicBezTo>
                  <a:cubicBezTo>
                    <a:pt x="68" y="34"/>
                    <a:pt x="68" y="34"/>
                    <a:pt x="68" y="34"/>
                  </a:cubicBezTo>
                  <a:cubicBezTo>
                    <a:pt x="68" y="34"/>
                    <a:pt x="68" y="34"/>
                    <a:pt x="68" y="34"/>
                  </a:cubicBezTo>
                  <a:cubicBezTo>
                    <a:pt x="68" y="34"/>
                    <a:pt x="68" y="34"/>
                    <a:pt x="68" y="34"/>
                  </a:cubicBezTo>
                  <a:cubicBezTo>
                    <a:pt x="68" y="34"/>
                    <a:pt x="68" y="34"/>
                    <a:pt x="68" y="34"/>
                  </a:cubicBezTo>
                  <a:cubicBezTo>
                    <a:pt x="68" y="33"/>
                    <a:pt x="68" y="33"/>
                    <a:pt x="68" y="33"/>
                  </a:cubicBezTo>
                  <a:cubicBezTo>
                    <a:pt x="68" y="33"/>
                    <a:pt x="68" y="33"/>
                    <a:pt x="68" y="33"/>
                  </a:cubicBezTo>
                  <a:cubicBezTo>
                    <a:pt x="68" y="32"/>
                    <a:pt x="68" y="32"/>
                    <a:pt x="68" y="32"/>
                  </a:cubicBezTo>
                  <a:cubicBezTo>
                    <a:pt x="69" y="32"/>
                    <a:pt x="69" y="32"/>
                    <a:pt x="69" y="32"/>
                  </a:cubicBezTo>
                  <a:cubicBezTo>
                    <a:pt x="69" y="32"/>
                    <a:pt x="69" y="32"/>
                    <a:pt x="69" y="32"/>
                  </a:cubicBezTo>
                  <a:cubicBezTo>
                    <a:pt x="69" y="32"/>
                    <a:pt x="69" y="32"/>
                    <a:pt x="69" y="32"/>
                  </a:cubicBezTo>
                  <a:cubicBezTo>
                    <a:pt x="69" y="32"/>
                    <a:pt x="69" y="32"/>
                    <a:pt x="69" y="32"/>
                  </a:cubicBezTo>
                  <a:cubicBezTo>
                    <a:pt x="70" y="32"/>
                    <a:pt x="70" y="32"/>
                    <a:pt x="70" y="32"/>
                  </a:cubicBezTo>
                  <a:cubicBezTo>
                    <a:pt x="70" y="31"/>
                    <a:pt x="70" y="31"/>
                    <a:pt x="70" y="31"/>
                  </a:cubicBezTo>
                  <a:cubicBezTo>
                    <a:pt x="70" y="31"/>
                    <a:pt x="70" y="31"/>
                    <a:pt x="70" y="31"/>
                  </a:cubicBezTo>
                  <a:cubicBezTo>
                    <a:pt x="69" y="31"/>
                    <a:pt x="69" y="31"/>
                    <a:pt x="69" y="31"/>
                  </a:cubicBezTo>
                  <a:cubicBezTo>
                    <a:pt x="69" y="31"/>
                    <a:pt x="69" y="31"/>
                    <a:pt x="69" y="31"/>
                  </a:cubicBezTo>
                  <a:cubicBezTo>
                    <a:pt x="69" y="31"/>
                    <a:pt x="69" y="31"/>
                    <a:pt x="69" y="31"/>
                  </a:cubicBezTo>
                  <a:cubicBezTo>
                    <a:pt x="69" y="31"/>
                    <a:pt x="69" y="31"/>
                    <a:pt x="69" y="31"/>
                  </a:cubicBezTo>
                  <a:cubicBezTo>
                    <a:pt x="69" y="30"/>
                    <a:pt x="69" y="30"/>
                    <a:pt x="69" y="30"/>
                  </a:cubicBezTo>
                  <a:cubicBezTo>
                    <a:pt x="69" y="30"/>
                    <a:pt x="69" y="30"/>
                    <a:pt x="69" y="30"/>
                  </a:cubicBezTo>
                  <a:cubicBezTo>
                    <a:pt x="69" y="30"/>
                    <a:pt x="69" y="30"/>
                    <a:pt x="69" y="30"/>
                  </a:cubicBezTo>
                  <a:cubicBezTo>
                    <a:pt x="71" y="30"/>
                    <a:pt x="71" y="30"/>
                    <a:pt x="71" y="30"/>
                  </a:cubicBezTo>
                  <a:cubicBezTo>
                    <a:pt x="71" y="29"/>
                    <a:pt x="71" y="29"/>
                    <a:pt x="71" y="29"/>
                  </a:cubicBezTo>
                  <a:cubicBezTo>
                    <a:pt x="71" y="29"/>
                    <a:pt x="71" y="29"/>
                    <a:pt x="71" y="29"/>
                  </a:cubicBezTo>
                  <a:cubicBezTo>
                    <a:pt x="71" y="29"/>
                    <a:pt x="71" y="29"/>
                    <a:pt x="71" y="29"/>
                  </a:cubicBezTo>
                  <a:cubicBezTo>
                    <a:pt x="72" y="29"/>
                    <a:pt x="72" y="29"/>
                    <a:pt x="72" y="29"/>
                  </a:cubicBezTo>
                  <a:cubicBezTo>
                    <a:pt x="72" y="28"/>
                    <a:pt x="72" y="28"/>
                    <a:pt x="72" y="28"/>
                  </a:cubicBezTo>
                  <a:cubicBezTo>
                    <a:pt x="72" y="28"/>
                    <a:pt x="72" y="28"/>
                    <a:pt x="72" y="28"/>
                  </a:cubicBezTo>
                  <a:cubicBezTo>
                    <a:pt x="73" y="28"/>
                    <a:pt x="73" y="28"/>
                    <a:pt x="73" y="28"/>
                  </a:cubicBezTo>
                  <a:lnTo>
                    <a:pt x="72" y="28"/>
                  </a:lnTo>
                  <a:close/>
                </a:path>
              </a:pathLst>
            </a:custGeom>
            <a:solidFill>
              <a:srgbClr val="B1B1B0"/>
            </a:solidFill>
            <a:ln w="635"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546" name="Freeform 13">
              <a:extLst>
                <a:ext uri="{FF2B5EF4-FFF2-40B4-BE49-F238E27FC236}">
                  <a16:creationId xmlns:a16="http://schemas.microsoft.com/office/drawing/2014/main" id="{7D458B6F-56F2-BD8A-3F28-D55EF4B8A5A0}"/>
                </a:ext>
              </a:extLst>
            </p:cNvPr>
            <p:cNvSpPr>
              <a:spLocks/>
            </p:cNvSpPr>
            <p:nvPr/>
          </p:nvSpPr>
          <p:spPr bwMode="gray">
            <a:xfrm>
              <a:off x="4662488" y="3117850"/>
              <a:ext cx="592138" cy="581025"/>
            </a:xfrm>
            <a:custGeom>
              <a:avLst/>
              <a:gdLst>
                <a:gd name="T0" fmla="*/ 111 w 111"/>
                <a:gd name="T1" fmla="*/ 8 h 109"/>
                <a:gd name="T2" fmla="*/ 108 w 111"/>
                <a:gd name="T3" fmla="*/ 6 h 109"/>
                <a:gd name="T4" fmla="*/ 107 w 111"/>
                <a:gd name="T5" fmla="*/ 6 h 109"/>
                <a:gd name="T6" fmla="*/ 105 w 111"/>
                <a:gd name="T7" fmla="*/ 6 h 109"/>
                <a:gd name="T8" fmla="*/ 109 w 111"/>
                <a:gd name="T9" fmla="*/ 5 h 109"/>
                <a:gd name="T10" fmla="*/ 109 w 111"/>
                <a:gd name="T11" fmla="*/ 3 h 109"/>
                <a:gd name="T12" fmla="*/ 106 w 111"/>
                <a:gd name="T13" fmla="*/ 2 h 109"/>
                <a:gd name="T14" fmla="*/ 102 w 111"/>
                <a:gd name="T15" fmla="*/ 0 h 109"/>
                <a:gd name="T16" fmla="*/ 93 w 111"/>
                <a:gd name="T17" fmla="*/ 1 h 109"/>
                <a:gd name="T18" fmla="*/ 76 w 111"/>
                <a:gd name="T19" fmla="*/ 9 h 109"/>
                <a:gd name="T20" fmla="*/ 64 w 111"/>
                <a:gd name="T21" fmla="*/ 19 h 109"/>
                <a:gd name="T22" fmla="*/ 59 w 111"/>
                <a:gd name="T23" fmla="*/ 24 h 109"/>
                <a:gd name="T24" fmla="*/ 55 w 111"/>
                <a:gd name="T25" fmla="*/ 30 h 109"/>
                <a:gd name="T26" fmla="*/ 51 w 111"/>
                <a:gd name="T27" fmla="*/ 34 h 109"/>
                <a:gd name="T28" fmla="*/ 46 w 111"/>
                <a:gd name="T29" fmla="*/ 42 h 109"/>
                <a:gd name="T30" fmla="*/ 44 w 111"/>
                <a:gd name="T31" fmla="*/ 48 h 109"/>
                <a:gd name="T32" fmla="*/ 41 w 111"/>
                <a:gd name="T33" fmla="*/ 54 h 109"/>
                <a:gd name="T34" fmla="*/ 37 w 111"/>
                <a:gd name="T35" fmla="*/ 65 h 109"/>
                <a:gd name="T36" fmla="*/ 34 w 111"/>
                <a:gd name="T37" fmla="*/ 68 h 109"/>
                <a:gd name="T38" fmla="*/ 30 w 111"/>
                <a:gd name="T39" fmla="*/ 70 h 109"/>
                <a:gd name="T40" fmla="*/ 23 w 111"/>
                <a:gd name="T41" fmla="*/ 77 h 109"/>
                <a:gd name="T42" fmla="*/ 20 w 111"/>
                <a:gd name="T43" fmla="*/ 79 h 109"/>
                <a:gd name="T44" fmla="*/ 17 w 111"/>
                <a:gd name="T45" fmla="*/ 82 h 109"/>
                <a:gd name="T46" fmla="*/ 12 w 111"/>
                <a:gd name="T47" fmla="*/ 88 h 109"/>
                <a:gd name="T48" fmla="*/ 8 w 111"/>
                <a:gd name="T49" fmla="*/ 92 h 109"/>
                <a:gd name="T50" fmla="*/ 6 w 111"/>
                <a:gd name="T51" fmla="*/ 94 h 109"/>
                <a:gd name="T52" fmla="*/ 4 w 111"/>
                <a:gd name="T53" fmla="*/ 100 h 109"/>
                <a:gd name="T54" fmla="*/ 4 w 111"/>
                <a:gd name="T55" fmla="*/ 103 h 109"/>
                <a:gd name="T56" fmla="*/ 4 w 111"/>
                <a:gd name="T57" fmla="*/ 107 h 109"/>
                <a:gd name="T58" fmla="*/ 2 w 111"/>
                <a:gd name="T59" fmla="*/ 108 h 109"/>
                <a:gd name="T60" fmla="*/ 8 w 111"/>
                <a:gd name="T61" fmla="*/ 107 h 109"/>
                <a:gd name="T62" fmla="*/ 11 w 111"/>
                <a:gd name="T63" fmla="*/ 107 h 109"/>
                <a:gd name="T64" fmla="*/ 22 w 111"/>
                <a:gd name="T65" fmla="*/ 104 h 109"/>
                <a:gd name="T66" fmla="*/ 33 w 111"/>
                <a:gd name="T67" fmla="*/ 101 h 109"/>
                <a:gd name="T68" fmla="*/ 33 w 111"/>
                <a:gd name="T69" fmla="*/ 96 h 109"/>
                <a:gd name="T70" fmla="*/ 37 w 111"/>
                <a:gd name="T71" fmla="*/ 94 h 109"/>
                <a:gd name="T72" fmla="*/ 42 w 111"/>
                <a:gd name="T73" fmla="*/ 89 h 109"/>
                <a:gd name="T74" fmla="*/ 45 w 111"/>
                <a:gd name="T75" fmla="*/ 83 h 109"/>
                <a:gd name="T76" fmla="*/ 45 w 111"/>
                <a:gd name="T77" fmla="*/ 78 h 109"/>
                <a:gd name="T78" fmla="*/ 44 w 111"/>
                <a:gd name="T79" fmla="*/ 74 h 109"/>
                <a:gd name="T80" fmla="*/ 46 w 111"/>
                <a:gd name="T81" fmla="*/ 69 h 109"/>
                <a:gd name="T82" fmla="*/ 46 w 111"/>
                <a:gd name="T83" fmla="*/ 61 h 109"/>
                <a:gd name="T84" fmla="*/ 56 w 111"/>
                <a:gd name="T85" fmla="*/ 47 h 109"/>
                <a:gd name="T86" fmla="*/ 62 w 111"/>
                <a:gd name="T87" fmla="*/ 45 h 109"/>
                <a:gd name="T88" fmla="*/ 70 w 111"/>
                <a:gd name="T89" fmla="*/ 36 h 109"/>
                <a:gd name="T90" fmla="*/ 73 w 111"/>
                <a:gd name="T91" fmla="*/ 36 h 109"/>
                <a:gd name="T92" fmla="*/ 74 w 111"/>
                <a:gd name="T93" fmla="*/ 37 h 109"/>
                <a:gd name="T94" fmla="*/ 76 w 111"/>
                <a:gd name="T95" fmla="*/ 35 h 109"/>
                <a:gd name="T96" fmla="*/ 77 w 111"/>
                <a:gd name="T97" fmla="*/ 35 h 109"/>
                <a:gd name="T98" fmla="*/ 79 w 111"/>
                <a:gd name="T99" fmla="*/ 34 h 109"/>
                <a:gd name="T100" fmla="*/ 80 w 111"/>
                <a:gd name="T101" fmla="*/ 32 h 109"/>
                <a:gd name="T102" fmla="*/ 82 w 111"/>
                <a:gd name="T103" fmla="*/ 30 h 109"/>
                <a:gd name="T104" fmla="*/ 84 w 111"/>
                <a:gd name="T105" fmla="*/ 28 h 109"/>
                <a:gd name="T106" fmla="*/ 87 w 111"/>
                <a:gd name="T107" fmla="*/ 28 h 109"/>
                <a:gd name="T108" fmla="*/ 87 w 111"/>
                <a:gd name="T109" fmla="*/ 27 h 109"/>
                <a:gd name="T110" fmla="*/ 90 w 111"/>
                <a:gd name="T111" fmla="*/ 24 h 109"/>
                <a:gd name="T112" fmla="*/ 92 w 111"/>
                <a:gd name="T113" fmla="*/ 24 h 109"/>
                <a:gd name="T114" fmla="*/ 98 w 111"/>
                <a:gd name="T115" fmla="*/ 25 h 109"/>
                <a:gd name="T116" fmla="*/ 103 w 111"/>
                <a:gd name="T117" fmla="*/ 22 h 109"/>
                <a:gd name="T118" fmla="*/ 104 w 111"/>
                <a:gd name="T119" fmla="*/ 20 h 109"/>
                <a:gd name="T120" fmla="*/ 106 w 111"/>
                <a:gd name="T121" fmla="*/ 17 h 109"/>
                <a:gd name="T122" fmla="*/ 106 w 111"/>
                <a:gd name="T123" fmla="*/ 16 h 109"/>
                <a:gd name="T124" fmla="*/ 110 w 111"/>
                <a:gd name="T125" fmla="*/ 1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1" h="109">
                  <a:moveTo>
                    <a:pt x="111" y="10"/>
                  </a:moveTo>
                  <a:cubicBezTo>
                    <a:pt x="111" y="10"/>
                    <a:pt x="111" y="10"/>
                    <a:pt x="111" y="10"/>
                  </a:cubicBezTo>
                  <a:cubicBezTo>
                    <a:pt x="110" y="10"/>
                    <a:pt x="110" y="10"/>
                    <a:pt x="110" y="10"/>
                  </a:cubicBezTo>
                  <a:cubicBezTo>
                    <a:pt x="110" y="10"/>
                    <a:pt x="110" y="10"/>
                    <a:pt x="110" y="10"/>
                  </a:cubicBezTo>
                  <a:cubicBezTo>
                    <a:pt x="110" y="10"/>
                    <a:pt x="110" y="10"/>
                    <a:pt x="110" y="10"/>
                  </a:cubicBezTo>
                  <a:cubicBezTo>
                    <a:pt x="110" y="9"/>
                    <a:pt x="110" y="9"/>
                    <a:pt x="110" y="9"/>
                  </a:cubicBezTo>
                  <a:cubicBezTo>
                    <a:pt x="110" y="9"/>
                    <a:pt x="110" y="9"/>
                    <a:pt x="110" y="9"/>
                  </a:cubicBezTo>
                  <a:cubicBezTo>
                    <a:pt x="110" y="8"/>
                    <a:pt x="110" y="8"/>
                    <a:pt x="110" y="8"/>
                  </a:cubicBezTo>
                  <a:cubicBezTo>
                    <a:pt x="111" y="8"/>
                    <a:pt x="111" y="8"/>
                    <a:pt x="111" y="8"/>
                  </a:cubicBezTo>
                  <a:cubicBezTo>
                    <a:pt x="111" y="8"/>
                    <a:pt x="111" y="8"/>
                    <a:pt x="111" y="8"/>
                  </a:cubicBezTo>
                  <a:cubicBezTo>
                    <a:pt x="111" y="8"/>
                    <a:pt x="111" y="8"/>
                    <a:pt x="111" y="8"/>
                  </a:cubicBezTo>
                  <a:cubicBezTo>
                    <a:pt x="110" y="8"/>
                    <a:pt x="110" y="8"/>
                    <a:pt x="110" y="8"/>
                  </a:cubicBezTo>
                  <a:cubicBezTo>
                    <a:pt x="110" y="8"/>
                    <a:pt x="110" y="8"/>
                    <a:pt x="110" y="8"/>
                  </a:cubicBezTo>
                  <a:cubicBezTo>
                    <a:pt x="110" y="8"/>
                    <a:pt x="110" y="8"/>
                    <a:pt x="110" y="8"/>
                  </a:cubicBezTo>
                  <a:cubicBezTo>
                    <a:pt x="110" y="7"/>
                    <a:pt x="110" y="7"/>
                    <a:pt x="110" y="7"/>
                  </a:cubicBezTo>
                  <a:cubicBezTo>
                    <a:pt x="109" y="7"/>
                    <a:pt x="109" y="7"/>
                    <a:pt x="109" y="7"/>
                  </a:cubicBezTo>
                  <a:cubicBezTo>
                    <a:pt x="108" y="6"/>
                    <a:pt x="108" y="6"/>
                    <a:pt x="108" y="6"/>
                  </a:cubicBezTo>
                  <a:cubicBezTo>
                    <a:pt x="108" y="6"/>
                    <a:pt x="108" y="6"/>
                    <a:pt x="108" y="6"/>
                  </a:cubicBezTo>
                  <a:cubicBezTo>
                    <a:pt x="107" y="6"/>
                    <a:pt x="107" y="6"/>
                    <a:pt x="107" y="6"/>
                  </a:cubicBezTo>
                  <a:cubicBezTo>
                    <a:pt x="107" y="6"/>
                    <a:pt x="107" y="6"/>
                    <a:pt x="107" y="6"/>
                  </a:cubicBezTo>
                  <a:cubicBezTo>
                    <a:pt x="107" y="6"/>
                    <a:pt x="107" y="6"/>
                    <a:pt x="107" y="6"/>
                  </a:cubicBezTo>
                  <a:cubicBezTo>
                    <a:pt x="107" y="6"/>
                    <a:pt x="107" y="6"/>
                    <a:pt x="107" y="6"/>
                  </a:cubicBezTo>
                  <a:cubicBezTo>
                    <a:pt x="107" y="6"/>
                    <a:pt x="107" y="6"/>
                    <a:pt x="107" y="6"/>
                  </a:cubicBezTo>
                  <a:cubicBezTo>
                    <a:pt x="107" y="6"/>
                    <a:pt x="107" y="6"/>
                    <a:pt x="107" y="6"/>
                  </a:cubicBezTo>
                  <a:cubicBezTo>
                    <a:pt x="107" y="6"/>
                    <a:pt x="107" y="6"/>
                    <a:pt x="107" y="6"/>
                  </a:cubicBezTo>
                  <a:cubicBezTo>
                    <a:pt x="107" y="6"/>
                    <a:pt x="107" y="6"/>
                    <a:pt x="107" y="6"/>
                  </a:cubicBezTo>
                  <a:cubicBezTo>
                    <a:pt x="107" y="6"/>
                    <a:pt x="107" y="6"/>
                    <a:pt x="107" y="6"/>
                  </a:cubicBezTo>
                  <a:cubicBezTo>
                    <a:pt x="107" y="6"/>
                    <a:pt x="107" y="6"/>
                    <a:pt x="107" y="6"/>
                  </a:cubicBezTo>
                  <a:cubicBezTo>
                    <a:pt x="107" y="6"/>
                    <a:pt x="107" y="6"/>
                    <a:pt x="107" y="6"/>
                  </a:cubicBezTo>
                  <a:cubicBezTo>
                    <a:pt x="107" y="6"/>
                    <a:pt x="107" y="6"/>
                    <a:pt x="107" y="6"/>
                  </a:cubicBezTo>
                  <a:cubicBezTo>
                    <a:pt x="107" y="6"/>
                    <a:pt x="107" y="6"/>
                    <a:pt x="107" y="6"/>
                  </a:cubicBezTo>
                  <a:cubicBezTo>
                    <a:pt x="107" y="5"/>
                    <a:pt x="107" y="5"/>
                    <a:pt x="107" y="5"/>
                  </a:cubicBezTo>
                  <a:cubicBezTo>
                    <a:pt x="106" y="5"/>
                    <a:pt x="106" y="5"/>
                    <a:pt x="106" y="5"/>
                  </a:cubicBezTo>
                  <a:cubicBezTo>
                    <a:pt x="106" y="6"/>
                    <a:pt x="106" y="6"/>
                    <a:pt x="106" y="6"/>
                  </a:cubicBezTo>
                  <a:cubicBezTo>
                    <a:pt x="105" y="6"/>
                    <a:pt x="105" y="6"/>
                    <a:pt x="105" y="6"/>
                  </a:cubicBezTo>
                  <a:cubicBezTo>
                    <a:pt x="105" y="6"/>
                    <a:pt x="105" y="6"/>
                    <a:pt x="105" y="6"/>
                  </a:cubicBezTo>
                  <a:cubicBezTo>
                    <a:pt x="105" y="6"/>
                    <a:pt x="105" y="6"/>
                    <a:pt x="105" y="6"/>
                  </a:cubicBezTo>
                  <a:cubicBezTo>
                    <a:pt x="106" y="5"/>
                    <a:pt x="106" y="5"/>
                    <a:pt x="106" y="5"/>
                  </a:cubicBezTo>
                  <a:cubicBezTo>
                    <a:pt x="106" y="5"/>
                    <a:pt x="106" y="5"/>
                    <a:pt x="106" y="5"/>
                  </a:cubicBezTo>
                  <a:cubicBezTo>
                    <a:pt x="105" y="5"/>
                    <a:pt x="105" y="5"/>
                    <a:pt x="105" y="5"/>
                  </a:cubicBezTo>
                  <a:cubicBezTo>
                    <a:pt x="104" y="5"/>
                    <a:pt x="104" y="5"/>
                    <a:pt x="104" y="5"/>
                  </a:cubicBezTo>
                  <a:cubicBezTo>
                    <a:pt x="105" y="5"/>
                    <a:pt x="105" y="5"/>
                    <a:pt x="105" y="5"/>
                  </a:cubicBezTo>
                  <a:cubicBezTo>
                    <a:pt x="108" y="5"/>
                    <a:pt x="108" y="5"/>
                    <a:pt x="108" y="5"/>
                  </a:cubicBezTo>
                  <a:cubicBezTo>
                    <a:pt x="109" y="5"/>
                    <a:pt x="109" y="5"/>
                    <a:pt x="109" y="5"/>
                  </a:cubicBezTo>
                  <a:cubicBezTo>
                    <a:pt x="109" y="5"/>
                    <a:pt x="109" y="5"/>
                    <a:pt x="109" y="5"/>
                  </a:cubicBezTo>
                  <a:cubicBezTo>
                    <a:pt x="109" y="5"/>
                    <a:pt x="109" y="5"/>
                    <a:pt x="109" y="5"/>
                  </a:cubicBezTo>
                  <a:cubicBezTo>
                    <a:pt x="110" y="5"/>
                    <a:pt x="110" y="5"/>
                    <a:pt x="110" y="5"/>
                  </a:cubicBezTo>
                  <a:cubicBezTo>
                    <a:pt x="110" y="6"/>
                    <a:pt x="110" y="6"/>
                    <a:pt x="110" y="6"/>
                  </a:cubicBezTo>
                  <a:cubicBezTo>
                    <a:pt x="110" y="5"/>
                    <a:pt x="110" y="5"/>
                    <a:pt x="110" y="5"/>
                  </a:cubicBezTo>
                  <a:cubicBezTo>
                    <a:pt x="110" y="5"/>
                    <a:pt x="110" y="5"/>
                    <a:pt x="110" y="5"/>
                  </a:cubicBezTo>
                  <a:cubicBezTo>
                    <a:pt x="110" y="5"/>
                    <a:pt x="110" y="5"/>
                    <a:pt x="110" y="5"/>
                  </a:cubicBezTo>
                  <a:cubicBezTo>
                    <a:pt x="109" y="4"/>
                    <a:pt x="109" y="4"/>
                    <a:pt x="109" y="4"/>
                  </a:cubicBezTo>
                  <a:cubicBezTo>
                    <a:pt x="109" y="4"/>
                    <a:pt x="109" y="4"/>
                    <a:pt x="109" y="4"/>
                  </a:cubicBezTo>
                  <a:cubicBezTo>
                    <a:pt x="109" y="3"/>
                    <a:pt x="109" y="3"/>
                    <a:pt x="109" y="3"/>
                  </a:cubicBezTo>
                  <a:cubicBezTo>
                    <a:pt x="107" y="3"/>
                    <a:pt x="107" y="3"/>
                    <a:pt x="107" y="3"/>
                  </a:cubicBezTo>
                  <a:cubicBezTo>
                    <a:pt x="107" y="3"/>
                    <a:pt x="107" y="3"/>
                    <a:pt x="107" y="3"/>
                  </a:cubicBezTo>
                  <a:cubicBezTo>
                    <a:pt x="107" y="2"/>
                    <a:pt x="107" y="2"/>
                    <a:pt x="107" y="2"/>
                  </a:cubicBezTo>
                  <a:cubicBezTo>
                    <a:pt x="107" y="2"/>
                    <a:pt x="107" y="2"/>
                    <a:pt x="107" y="2"/>
                  </a:cubicBezTo>
                  <a:cubicBezTo>
                    <a:pt x="107" y="2"/>
                    <a:pt x="107" y="2"/>
                    <a:pt x="107" y="2"/>
                  </a:cubicBezTo>
                  <a:cubicBezTo>
                    <a:pt x="107" y="2"/>
                    <a:pt x="107" y="2"/>
                    <a:pt x="107" y="2"/>
                  </a:cubicBezTo>
                  <a:cubicBezTo>
                    <a:pt x="106" y="2"/>
                    <a:pt x="106" y="2"/>
                    <a:pt x="106" y="2"/>
                  </a:cubicBezTo>
                  <a:cubicBezTo>
                    <a:pt x="106" y="2"/>
                    <a:pt x="106" y="2"/>
                    <a:pt x="106" y="2"/>
                  </a:cubicBezTo>
                  <a:cubicBezTo>
                    <a:pt x="106" y="2"/>
                    <a:pt x="106" y="2"/>
                    <a:pt x="106" y="2"/>
                  </a:cubicBezTo>
                  <a:cubicBezTo>
                    <a:pt x="105" y="2"/>
                    <a:pt x="105" y="2"/>
                    <a:pt x="105" y="2"/>
                  </a:cubicBezTo>
                  <a:cubicBezTo>
                    <a:pt x="105" y="1"/>
                    <a:pt x="105" y="1"/>
                    <a:pt x="105" y="1"/>
                  </a:cubicBezTo>
                  <a:cubicBezTo>
                    <a:pt x="104" y="1"/>
                    <a:pt x="104" y="1"/>
                    <a:pt x="104" y="1"/>
                  </a:cubicBezTo>
                  <a:cubicBezTo>
                    <a:pt x="104" y="1"/>
                    <a:pt x="104" y="1"/>
                    <a:pt x="104" y="1"/>
                  </a:cubicBezTo>
                  <a:cubicBezTo>
                    <a:pt x="104" y="1"/>
                    <a:pt x="104" y="1"/>
                    <a:pt x="104" y="1"/>
                  </a:cubicBezTo>
                  <a:cubicBezTo>
                    <a:pt x="104" y="1"/>
                    <a:pt x="104" y="1"/>
                    <a:pt x="104" y="1"/>
                  </a:cubicBezTo>
                  <a:cubicBezTo>
                    <a:pt x="103" y="1"/>
                    <a:pt x="103" y="1"/>
                    <a:pt x="103" y="1"/>
                  </a:cubicBezTo>
                  <a:cubicBezTo>
                    <a:pt x="103" y="1"/>
                    <a:pt x="103" y="1"/>
                    <a:pt x="103" y="1"/>
                  </a:cubicBezTo>
                  <a:cubicBezTo>
                    <a:pt x="102" y="0"/>
                    <a:pt x="102" y="0"/>
                    <a:pt x="102" y="0"/>
                  </a:cubicBezTo>
                  <a:cubicBezTo>
                    <a:pt x="102" y="0"/>
                    <a:pt x="102" y="0"/>
                    <a:pt x="102" y="0"/>
                  </a:cubicBezTo>
                  <a:cubicBezTo>
                    <a:pt x="101" y="1"/>
                    <a:pt x="101" y="1"/>
                    <a:pt x="101" y="1"/>
                  </a:cubicBezTo>
                  <a:cubicBezTo>
                    <a:pt x="101" y="1"/>
                    <a:pt x="101" y="1"/>
                    <a:pt x="101" y="1"/>
                  </a:cubicBezTo>
                  <a:cubicBezTo>
                    <a:pt x="100" y="0"/>
                    <a:pt x="100" y="0"/>
                    <a:pt x="100" y="0"/>
                  </a:cubicBezTo>
                  <a:cubicBezTo>
                    <a:pt x="99" y="0"/>
                    <a:pt x="99" y="0"/>
                    <a:pt x="99" y="0"/>
                  </a:cubicBezTo>
                  <a:cubicBezTo>
                    <a:pt x="99" y="0"/>
                    <a:pt x="99" y="0"/>
                    <a:pt x="99" y="0"/>
                  </a:cubicBezTo>
                  <a:cubicBezTo>
                    <a:pt x="98" y="0"/>
                    <a:pt x="98" y="0"/>
                    <a:pt x="98" y="0"/>
                  </a:cubicBezTo>
                  <a:cubicBezTo>
                    <a:pt x="97" y="0"/>
                    <a:pt x="97" y="0"/>
                    <a:pt x="97" y="0"/>
                  </a:cubicBezTo>
                  <a:cubicBezTo>
                    <a:pt x="96" y="0"/>
                    <a:pt x="94" y="1"/>
                    <a:pt x="93" y="1"/>
                  </a:cubicBezTo>
                  <a:cubicBezTo>
                    <a:pt x="91" y="1"/>
                    <a:pt x="91" y="1"/>
                    <a:pt x="91" y="1"/>
                  </a:cubicBezTo>
                  <a:cubicBezTo>
                    <a:pt x="89" y="2"/>
                    <a:pt x="89" y="2"/>
                    <a:pt x="89" y="2"/>
                  </a:cubicBezTo>
                  <a:cubicBezTo>
                    <a:pt x="88" y="2"/>
                    <a:pt x="88" y="2"/>
                    <a:pt x="88" y="2"/>
                  </a:cubicBezTo>
                  <a:cubicBezTo>
                    <a:pt x="88" y="3"/>
                    <a:pt x="88" y="3"/>
                    <a:pt x="88" y="3"/>
                  </a:cubicBezTo>
                  <a:cubicBezTo>
                    <a:pt x="85" y="4"/>
                    <a:pt x="85" y="4"/>
                    <a:pt x="85" y="4"/>
                  </a:cubicBezTo>
                  <a:cubicBezTo>
                    <a:pt x="83" y="4"/>
                    <a:pt x="83" y="4"/>
                    <a:pt x="83" y="4"/>
                  </a:cubicBezTo>
                  <a:cubicBezTo>
                    <a:pt x="81" y="5"/>
                    <a:pt x="81" y="5"/>
                    <a:pt x="81" y="5"/>
                  </a:cubicBezTo>
                  <a:cubicBezTo>
                    <a:pt x="77" y="8"/>
                    <a:pt x="77" y="8"/>
                    <a:pt x="77" y="8"/>
                  </a:cubicBezTo>
                  <a:cubicBezTo>
                    <a:pt x="76" y="9"/>
                    <a:pt x="76" y="9"/>
                    <a:pt x="76" y="9"/>
                  </a:cubicBezTo>
                  <a:cubicBezTo>
                    <a:pt x="73" y="11"/>
                    <a:pt x="73" y="11"/>
                    <a:pt x="73" y="11"/>
                  </a:cubicBezTo>
                  <a:cubicBezTo>
                    <a:pt x="71" y="14"/>
                    <a:pt x="71" y="14"/>
                    <a:pt x="71" y="14"/>
                  </a:cubicBezTo>
                  <a:cubicBezTo>
                    <a:pt x="69" y="15"/>
                    <a:pt x="69" y="15"/>
                    <a:pt x="69" y="15"/>
                  </a:cubicBezTo>
                  <a:cubicBezTo>
                    <a:pt x="68" y="16"/>
                    <a:pt x="68" y="16"/>
                    <a:pt x="68" y="16"/>
                  </a:cubicBezTo>
                  <a:cubicBezTo>
                    <a:pt x="67" y="17"/>
                    <a:pt x="67" y="17"/>
                    <a:pt x="67" y="17"/>
                  </a:cubicBezTo>
                  <a:cubicBezTo>
                    <a:pt x="66" y="18"/>
                    <a:pt x="66" y="18"/>
                    <a:pt x="66" y="18"/>
                  </a:cubicBezTo>
                  <a:cubicBezTo>
                    <a:pt x="65" y="18"/>
                    <a:pt x="65" y="18"/>
                    <a:pt x="65" y="18"/>
                  </a:cubicBezTo>
                  <a:cubicBezTo>
                    <a:pt x="65" y="19"/>
                    <a:pt x="65" y="19"/>
                    <a:pt x="65" y="19"/>
                  </a:cubicBezTo>
                  <a:cubicBezTo>
                    <a:pt x="64" y="19"/>
                    <a:pt x="64" y="19"/>
                    <a:pt x="64" y="19"/>
                  </a:cubicBezTo>
                  <a:cubicBezTo>
                    <a:pt x="64" y="19"/>
                    <a:pt x="64" y="19"/>
                    <a:pt x="64" y="19"/>
                  </a:cubicBezTo>
                  <a:cubicBezTo>
                    <a:pt x="64" y="20"/>
                    <a:pt x="64" y="20"/>
                    <a:pt x="64" y="20"/>
                  </a:cubicBezTo>
                  <a:cubicBezTo>
                    <a:pt x="61" y="22"/>
                    <a:pt x="61" y="22"/>
                    <a:pt x="61" y="22"/>
                  </a:cubicBezTo>
                  <a:cubicBezTo>
                    <a:pt x="61" y="22"/>
                    <a:pt x="61" y="22"/>
                    <a:pt x="61" y="22"/>
                  </a:cubicBezTo>
                  <a:cubicBezTo>
                    <a:pt x="60" y="23"/>
                    <a:pt x="60" y="23"/>
                    <a:pt x="60" y="23"/>
                  </a:cubicBezTo>
                  <a:cubicBezTo>
                    <a:pt x="60" y="23"/>
                    <a:pt x="60" y="23"/>
                    <a:pt x="60" y="23"/>
                  </a:cubicBezTo>
                  <a:cubicBezTo>
                    <a:pt x="60" y="23"/>
                    <a:pt x="60" y="23"/>
                    <a:pt x="60" y="23"/>
                  </a:cubicBezTo>
                  <a:cubicBezTo>
                    <a:pt x="60" y="24"/>
                    <a:pt x="60" y="24"/>
                    <a:pt x="60" y="24"/>
                  </a:cubicBezTo>
                  <a:cubicBezTo>
                    <a:pt x="59" y="24"/>
                    <a:pt x="59" y="24"/>
                    <a:pt x="59" y="24"/>
                  </a:cubicBezTo>
                  <a:cubicBezTo>
                    <a:pt x="59" y="24"/>
                    <a:pt x="59" y="24"/>
                    <a:pt x="59" y="24"/>
                  </a:cubicBezTo>
                  <a:cubicBezTo>
                    <a:pt x="59" y="24"/>
                    <a:pt x="59" y="24"/>
                    <a:pt x="59" y="24"/>
                  </a:cubicBezTo>
                  <a:cubicBezTo>
                    <a:pt x="57" y="26"/>
                    <a:pt x="57" y="26"/>
                    <a:pt x="57" y="26"/>
                  </a:cubicBezTo>
                  <a:cubicBezTo>
                    <a:pt x="57" y="27"/>
                    <a:pt x="57" y="27"/>
                    <a:pt x="57" y="27"/>
                  </a:cubicBezTo>
                  <a:cubicBezTo>
                    <a:pt x="57" y="27"/>
                    <a:pt x="57" y="27"/>
                    <a:pt x="57" y="27"/>
                  </a:cubicBezTo>
                  <a:cubicBezTo>
                    <a:pt x="56" y="27"/>
                    <a:pt x="56" y="27"/>
                    <a:pt x="56" y="27"/>
                  </a:cubicBezTo>
                  <a:cubicBezTo>
                    <a:pt x="56" y="28"/>
                    <a:pt x="56" y="28"/>
                    <a:pt x="56" y="28"/>
                  </a:cubicBezTo>
                  <a:cubicBezTo>
                    <a:pt x="55" y="29"/>
                    <a:pt x="55" y="29"/>
                    <a:pt x="55" y="29"/>
                  </a:cubicBezTo>
                  <a:cubicBezTo>
                    <a:pt x="55" y="30"/>
                    <a:pt x="55" y="30"/>
                    <a:pt x="55" y="30"/>
                  </a:cubicBezTo>
                  <a:cubicBezTo>
                    <a:pt x="54" y="30"/>
                    <a:pt x="54" y="30"/>
                    <a:pt x="54" y="30"/>
                  </a:cubicBezTo>
                  <a:cubicBezTo>
                    <a:pt x="54" y="30"/>
                    <a:pt x="54" y="30"/>
                    <a:pt x="54" y="30"/>
                  </a:cubicBezTo>
                  <a:cubicBezTo>
                    <a:pt x="54" y="31"/>
                    <a:pt x="54" y="31"/>
                    <a:pt x="54" y="31"/>
                  </a:cubicBezTo>
                  <a:cubicBezTo>
                    <a:pt x="53" y="32"/>
                    <a:pt x="53" y="32"/>
                    <a:pt x="53" y="32"/>
                  </a:cubicBezTo>
                  <a:cubicBezTo>
                    <a:pt x="53" y="32"/>
                    <a:pt x="53" y="32"/>
                    <a:pt x="53" y="32"/>
                  </a:cubicBezTo>
                  <a:cubicBezTo>
                    <a:pt x="52" y="32"/>
                    <a:pt x="52" y="32"/>
                    <a:pt x="52" y="32"/>
                  </a:cubicBezTo>
                  <a:cubicBezTo>
                    <a:pt x="52" y="32"/>
                    <a:pt x="52" y="32"/>
                    <a:pt x="52" y="32"/>
                  </a:cubicBezTo>
                  <a:cubicBezTo>
                    <a:pt x="52" y="33"/>
                    <a:pt x="52" y="33"/>
                    <a:pt x="52" y="33"/>
                  </a:cubicBezTo>
                  <a:cubicBezTo>
                    <a:pt x="51" y="34"/>
                    <a:pt x="51" y="34"/>
                    <a:pt x="51" y="34"/>
                  </a:cubicBezTo>
                  <a:cubicBezTo>
                    <a:pt x="50" y="36"/>
                    <a:pt x="50" y="36"/>
                    <a:pt x="50" y="36"/>
                  </a:cubicBezTo>
                  <a:cubicBezTo>
                    <a:pt x="49" y="38"/>
                    <a:pt x="49" y="38"/>
                    <a:pt x="49" y="38"/>
                  </a:cubicBezTo>
                  <a:cubicBezTo>
                    <a:pt x="48" y="39"/>
                    <a:pt x="48" y="39"/>
                    <a:pt x="48" y="39"/>
                  </a:cubicBezTo>
                  <a:cubicBezTo>
                    <a:pt x="47" y="41"/>
                    <a:pt x="47" y="41"/>
                    <a:pt x="47" y="41"/>
                  </a:cubicBezTo>
                  <a:cubicBezTo>
                    <a:pt x="47" y="41"/>
                    <a:pt x="47" y="41"/>
                    <a:pt x="47" y="41"/>
                  </a:cubicBezTo>
                  <a:cubicBezTo>
                    <a:pt x="47" y="41"/>
                    <a:pt x="47" y="41"/>
                    <a:pt x="47" y="41"/>
                  </a:cubicBezTo>
                  <a:cubicBezTo>
                    <a:pt x="46" y="42"/>
                    <a:pt x="46" y="42"/>
                    <a:pt x="46" y="42"/>
                  </a:cubicBezTo>
                  <a:cubicBezTo>
                    <a:pt x="46" y="42"/>
                    <a:pt x="46" y="42"/>
                    <a:pt x="46" y="42"/>
                  </a:cubicBezTo>
                  <a:cubicBezTo>
                    <a:pt x="46" y="42"/>
                    <a:pt x="46" y="42"/>
                    <a:pt x="46" y="42"/>
                  </a:cubicBezTo>
                  <a:cubicBezTo>
                    <a:pt x="45" y="44"/>
                    <a:pt x="45" y="44"/>
                    <a:pt x="45" y="44"/>
                  </a:cubicBezTo>
                  <a:cubicBezTo>
                    <a:pt x="45" y="45"/>
                    <a:pt x="45" y="45"/>
                    <a:pt x="45" y="45"/>
                  </a:cubicBezTo>
                  <a:cubicBezTo>
                    <a:pt x="45" y="45"/>
                    <a:pt x="45" y="45"/>
                    <a:pt x="45" y="45"/>
                  </a:cubicBezTo>
                  <a:cubicBezTo>
                    <a:pt x="45" y="45"/>
                    <a:pt x="45" y="45"/>
                    <a:pt x="45" y="45"/>
                  </a:cubicBezTo>
                  <a:cubicBezTo>
                    <a:pt x="45" y="45"/>
                    <a:pt x="45" y="45"/>
                    <a:pt x="45" y="45"/>
                  </a:cubicBezTo>
                  <a:cubicBezTo>
                    <a:pt x="45" y="45"/>
                    <a:pt x="45" y="45"/>
                    <a:pt x="45" y="45"/>
                  </a:cubicBezTo>
                  <a:cubicBezTo>
                    <a:pt x="45" y="46"/>
                    <a:pt x="45" y="46"/>
                    <a:pt x="45" y="46"/>
                  </a:cubicBezTo>
                  <a:cubicBezTo>
                    <a:pt x="45" y="46"/>
                    <a:pt x="45" y="46"/>
                    <a:pt x="45" y="46"/>
                  </a:cubicBezTo>
                  <a:cubicBezTo>
                    <a:pt x="44" y="48"/>
                    <a:pt x="44" y="48"/>
                    <a:pt x="44" y="48"/>
                  </a:cubicBezTo>
                  <a:cubicBezTo>
                    <a:pt x="43" y="50"/>
                    <a:pt x="43" y="50"/>
                    <a:pt x="43" y="50"/>
                  </a:cubicBezTo>
                  <a:cubicBezTo>
                    <a:pt x="42" y="52"/>
                    <a:pt x="42" y="52"/>
                    <a:pt x="42" y="52"/>
                  </a:cubicBezTo>
                  <a:cubicBezTo>
                    <a:pt x="42" y="53"/>
                    <a:pt x="42" y="53"/>
                    <a:pt x="42" y="53"/>
                  </a:cubicBezTo>
                  <a:cubicBezTo>
                    <a:pt x="42" y="53"/>
                    <a:pt x="42" y="53"/>
                    <a:pt x="42" y="53"/>
                  </a:cubicBezTo>
                  <a:cubicBezTo>
                    <a:pt x="42" y="53"/>
                    <a:pt x="42" y="53"/>
                    <a:pt x="42" y="53"/>
                  </a:cubicBezTo>
                  <a:cubicBezTo>
                    <a:pt x="42" y="53"/>
                    <a:pt x="42" y="53"/>
                    <a:pt x="42" y="53"/>
                  </a:cubicBezTo>
                  <a:cubicBezTo>
                    <a:pt x="42" y="53"/>
                    <a:pt x="42" y="53"/>
                    <a:pt x="42" y="53"/>
                  </a:cubicBezTo>
                  <a:cubicBezTo>
                    <a:pt x="42" y="54"/>
                    <a:pt x="42" y="54"/>
                    <a:pt x="42" y="54"/>
                  </a:cubicBezTo>
                  <a:cubicBezTo>
                    <a:pt x="41" y="54"/>
                    <a:pt x="41" y="54"/>
                    <a:pt x="41" y="54"/>
                  </a:cubicBezTo>
                  <a:cubicBezTo>
                    <a:pt x="41" y="54"/>
                    <a:pt x="41" y="54"/>
                    <a:pt x="41" y="54"/>
                  </a:cubicBezTo>
                  <a:cubicBezTo>
                    <a:pt x="41" y="56"/>
                    <a:pt x="41" y="56"/>
                    <a:pt x="41" y="56"/>
                  </a:cubicBezTo>
                  <a:cubicBezTo>
                    <a:pt x="41" y="56"/>
                    <a:pt x="41" y="56"/>
                    <a:pt x="41" y="56"/>
                  </a:cubicBezTo>
                  <a:cubicBezTo>
                    <a:pt x="40" y="58"/>
                    <a:pt x="40" y="58"/>
                    <a:pt x="40" y="58"/>
                  </a:cubicBezTo>
                  <a:cubicBezTo>
                    <a:pt x="40" y="59"/>
                    <a:pt x="40" y="59"/>
                    <a:pt x="40" y="59"/>
                  </a:cubicBezTo>
                  <a:cubicBezTo>
                    <a:pt x="39" y="60"/>
                    <a:pt x="39" y="60"/>
                    <a:pt x="39" y="60"/>
                  </a:cubicBezTo>
                  <a:cubicBezTo>
                    <a:pt x="38" y="63"/>
                    <a:pt x="38" y="63"/>
                    <a:pt x="38" y="63"/>
                  </a:cubicBezTo>
                  <a:cubicBezTo>
                    <a:pt x="37" y="65"/>
                    <a:pt x="37" y="65"/>
                    <a:pt x="37" y="65"/>
                  </a:cubicBezTo>
                  <a:cubicBezTo>
                    <a:pt x="37" y="65"/>
                    <a:pt x="37" y="65"/>
                    <a:pt x="37" y="65"/>
                  </a:cubicBezTo>
                  <a:cubicBezTo>
                    <a:pt x="36" y="66"/>
                    <a:pt x="36" y="66"/>
                    <a:pt x="36" y="66"/>
                  </a:cubicBezTo>
                  <a:cubicBezTo>
                    <a:pt x="35" y="67"/>
                    <a:pt x="35" y="67"/>
                    <a:pt x="35" y="67"/>
                  </a:cubicBezTo>
                  <a:cubicBezTo>
                    <a:pt x="34" y="67"/>
                    <a:pt x="34" y="67"/>
                    <a:pt x="34" y="67"/>
                  </a:cubicBezTo>
                  <a:cubicBezTo>
                    <a:pt x="34" y="68"/>
                    <a:pt x="34" y="68"/>
                    <a:pt x="34" y="68"/>
                  </a:cubicBezTo>
                  <a:cubicBezTo>
                    <a:pt x="34" y="68"/>
                    <a:pt x="34" y="68"/>
                    <a:pt x="34" y="68"/>
                  </a:cubicBezTo>
                  <a:cubicBezTo>
                    <a:pt x="34" y="68"/>
                    <a:pt x="34" y="68"/>
                    <a:pt x="34" y="68"/>
                  </a:cubicBezTo>
                  <a:cubicBezTo>
                    <a:pt x="34" y="68"/>
                    <a:pt x="34" y="68"/>
                    <a:pt x="34" y="68"/>
                  </a:cubicBezTo>
                  <a:cubicBezTo>
                    <a:pt x="34" y="68"/>
                    <a:pt x="34" y="68"/>
                    <a:pt x="34" y="68"/>
                  </a:cubicBezTo>
                  <a:cubicBezTo>
                    <a:pt x="34" y="68"/>
                    <a:pt x="34" y="68"/>
                    <a:pt x="34" y="68"/>
                  </a:cubicBezTo>
                  <a:cubicBezTo>
                    <a:pt x="33" y="69"/>
                    <a:pt x="33" y="69"/>
                    <a:pt x="33" y="69"/>
                  </a:cubicBezTo>
                  <a:cubicBezTo>
                    <a:pt x="33" y="69"/>
                    <a:pt x="33" y="69"/>
                    <a:pt x="33" y="69"/>
                  </a:cubicBezTo>
                  <a:cubicBezTo>
                    <a:pt x="33" y="69"/>
                    <a:pt x="33" y="69"/>
                    <a:pt x="33" y="69"/>
                  </a:cubicBezTo>
                  <a:cubicBezTo>
                    <a:pt x="33" y="69"/>
                    <a:pt x="33" y="69"/>
                    <a:pt x="33" y="69"/>
                  </a:cubicBezTo>
                  <a:cubicBezTo>
                    <a:pt x="33" y="69"/>
                    <a:pt x="33" y="69"/>
                    <a:pt x="33" y="69"/>
                  </a:cubicBezTo>
                  <a:cubicBezTo>
                    <a:pt x="32" y="69"/>
                    <a:pt x="32" y="69"/>
                    <a:pt x="32" y="69"/>
                  </a:cubicBezTo>
                  <a:cubicBezTo>
                    <a:pt x="32" y="70"/>
                    <a:pt x="32" y="70"/>
                    <a:pt x="32" y="70"/>
                  </a:cubicBezTo>
                  <a:cubicBezTo>
                    <a:pt x="31" y="70"/>
                    <a:pt x="31" y="70"/>
                    <a:pt x="31" y="70"/>
                  </a:cubicBezTo>
                  <a:cubicBezTo>
                    <a:pt x="30" y="70"/>
                    <a:pt x="30" y="70"/>
                    <a:pt x="30" y="70"/>
                  </a:cubicBezTo>
                  <a:cubicBezTo>
                    <a:pt x="29" y="71"/>
                    <a:pt x="29" y="71"/>
                    <a:pt x="29" y="71"/>
                  </a:cubicBezTo>
                  <a:cubicBezTo>
                    <a:pt x="29" y="71"/>
                    <a:pt x="29" y="71"/>
                    <a:pt x="29" y="71"/>
                  </a:cubicBezTo>
                  <a:cubicBezTo>
                    <a:pt x="29" y="72"/>
                    <a:pt x="29" y="72"/>
                    <a:pt x="29" y="72"/>
                  </a:cubicBezTo>
                  <a:cubicBezTo>
                    <a:pt x="29" y="72"/>
                    <a:pt x="29" y="72"/>
                    <a:pt x="29" y="72"/>
                  </a:cubicBezTo>
                  <a:cubicBezTo>
                    <a:pt x="29" y="72"/>
                    <a:pt x="29" y="72"/>
                    <a:pt x="29" y="72"/>
                  </a:cubicBezTo>
                  <a:cubicBezTo>
                    <a:pt x="28" y="73"/>
                    <a:pt x="28" y="73"/>
                    <a:pt x="28" y="73"/>
                  </a:cubicBezTo>
                  <a:cubicBezTo>
                    <a:pt x="28" y="73"/>
                    <a:pt x="28" y="73"/>
                    <a:pt x="28" y="73"/>
                  </a:cubicBezTo>
                  <a:cubicBezTo>
                    <a:pt x="28" y="73"/>
                    <a:pt x="28" y="73"/>
                    <a:pt x="28" y="73"/>
                  </a:cubicBezTo>
                  <a:cubicBezTo>
                    <a:pt x="23" y="77"/>
                    <a:pt x="23" y="77"/>
                    <a:pt x="23" y="77"/>
                  </a:cubicBezTo>
                  <a:cubicBezTo>
                    <a:pt x="22" y="77"/>
                    <a:pt x="22" y="77"/>
                    <a:pt x="22" y="77"/>
                  </a:cubicBezTo>
                  <a:cubicBezTo>
                    <a:pt x="22" y="77"/>
                    <a:pt x="22" y="77"/>
                    <a:pt x="22" y="77"/>
                  </a:cubicBezTo>
                  <a:cubicBezTo>
                    <a:pt x="21" y="77"/>
                    <a:pt x="21" y="77"/>
                    <a:pt x="21" y="77"/>
                  </a:cubicBezTo>
                  <a:cubicBezTo>
                    <a:pt x="21" y="77"/>
                    <a:pt x="21" y="77"/>
                    <a:pt x="21" y="77"/>
                  </a:cubicBezTo>
                  <a:cubicBezTo>
                    <a:pt x="21" y="77"/>
                    <a:pt x="21" y="77"/>
                    <a:pt x="21" y="77"/>
                  </a:cubicBezTo>
                  <a:cubicBezTo>
                    <a:pt x="20" y="77"/>
                    <a:pt x="20" y="77"/>
                    <a:pt x="20" y="77"/>
                  </a:cubicBezTo>
                  <a:cubicBezTo>
                    <a:pt x="20" y="78"/>
                    <a:pt x="20" y="78"/>
                    <a:pt x="20" y="78"/>
                  </a:cubicBezTo>
                  <a:cubicBezTo>
                    <a:pt x="20" y="78"/>
                    <a:pt x="20" y="78"/>
                    <a:pt x="20" y="78"/>
                  </a:cubicBezTo>
                  <a:cubicBezTo>
                    <a:pt x="20" y="79"/>
                    <a:pt x="20" y="79"/>
                    <a:pt x="20" y="79"/>
                  </a:cubicBezTo>
                  <a:cubicBezTo>
                    <a:pt x="19" y="79"/>
                    <a:pt x="19" y="79"/>
                    <a:pt x="19" y="79"/>
                  </a:cubicBezTo>
                  <a:cubicBezTo>
                    <a:pt x="19" y="79"/>
                    <a:pt x="19" y="79"/>
                    <a:pt x="19" y="79"/>
                  </a:cubicBezTo>
                  <a:cubicBezTo>
                    <a:pt x="19" y="79"/>
                    <a:pt x="19" y="79"/>
                    <a:pt x="19" y="79"/>
                  </a:cubicBezTo>
                  <a:cubicBezTo>
                    <a:pt x="18" y="80"/>
                    <a:pt x="18" y="80"/>
                    <a:pt x="18" y="80"/>
                  </a:cubicBezTo>
                  <a:cubicBezTo>
                    <a:pt x="17" y="81"/>
                    <a:pt x="17" y="81"/>
                    <a:pt x="17" y="81"/>
                  </a:cubicBezTo>
                  <a:cubicBezTo>
                    <a:pt x="17" y="81"/>
                    <a:pt x="17" y="81"/>
                    <a:pt x="17" y="81"/>
                  </a:cubicBezTo>
                  <a:cubicBezTo>
                    <a:pt x="17" y="81"/>
                    <a:pt x="17" y="81"/>
                    <a:pt x="17" y="81"/>
                  </a:cubicBezTo>
                  <a:cubicBezTo>
                    <a:pt x="17" y="82"/>
                    <a:pt x="17" y="82"/>
                    <a:pt x="17" y="82"/>
                  </a:cubicBezTo>
                  <a:cubicBezTo>
                    <a:pt x="17" y="82"/>
                    <a:pt x="17" y="82"/>
                    <a:pt x="17" y="82"/>
                  </a:cubicBezTo>
                  <a:cubicBezTo>
                    <a:pt x="17" y="83"/>
                    <a:pt x="17" y="83"/>
                    <a:pt x="17" y="83"/>
                  </a:cubicBezTo>
                  <a:cubicBezTo>
                    <a:pt x="15" y="84"/>
                    <a:pt x="15" y="84"/>
                    <a:pt x="15" y="84"/>
                  </a:cubicBezTo>
                  <a:cubicBezTo>
                    <a:pt x="14" y="85"/>
                    <a:pt x="14" y="85"/>
                    <a:pt x="14" y="85"/>
                  </a:cubicBezTo>
                  <a:cubicBezTo>
                    <a:pt x="14" y="85"/>
                    <a:pt x="14" y="85"/>
                    <a:pt x="14" y="85"/>
                  </a:cubicBezTo>
                  <a:cubicBezTo>
                    <a:pt x="14" y="85"/>
                    <a:pt x="14" y="85"/>
                    <a:pt x="14" y="85"/>
                  </a:cubicBezTo>
                  <a:cubicBezTo>
                    <a:pt x="13" y="86"/>
                    <a:pt x="13" y="86"/>
                    <a:pt x="13" y="86"/>
                  </a:cubicBezTo>
                  <a:cubicBezTo>
                    <a:pt x="13" y="87"/>
                    <a:pt x="13" y="87"/>
                    <a:pt x="13" y="87"/>
                  </a:cubicBezTo>
                  <a:cubicBezTo>
                    <a:pt x="12" y="87"/>
                    <a:pt x="12" y="87"/>
                    <a:pt x="12" y="87"/>
                  </a:cubicBezTo>
                  <a:cubicBezTo>
                    <a:pt x="12" y="88"/>
                    <a:pt x="12" y="88"/>
                    <a:pt x="12" y="88"/>
                  </a:cubicBezTo>
                  <a:cubicBezTo>
                    <a:pt x="12" y="88"/>
                    <a:pt x="12" y="88"/>
                    <a:pt x="12" y="88"/>
                  </a:cubicBezTo>
                  <a:cubicBezTo>
                    <a:pt x="12" y="88"/>
                    <a:pt x="12" y="88"/>
                    <a:pt x="12" y="88"/>
                  </a:cubicBezTo>
                  <a:cubicBezTo>
                    <a:pt x="12" y="89"/>
                    <a:pt x="12" y="89"/>
                    <a:pt x="12" y="89"/>
                  </a:cubicBezTo>
                  <a:cubicBezTo>
                    <a:pt x="11" y="89"/>
                    <a:pt x="11" y="89"/>
                    <a:pt x="11" y="89"/>
                  </a:cubicBezTo>
                  <a:cubicBezTo>
                    <a:pt x="10" y="90"/>
                    <a:pt x="10" y="90"/>
                    <a:pt x="10" y="90"/>
                  </a:cubicBezTo>
                  <a:cubicBezTo>
                    <a:pt x="10" y="91"/>
                    <a:pt x="10" y="91"/>
                    <a:pt x="10" y="91"/>
                  </a:cubicBezTo>
                  <a:cubicBezTo>
                    <a:pt x="9" y="91"/>
                    <a:pt x="9" y="91"/>
                    <a:pt x="9" y="91"/>
                  </a:cubicBezTo>
                  <a:cubicBezTo>
                    <a:pt x="9" y="91"/>
                    <a:pt x="9" y="91"/>
                    <a:pt x="9" y="91"/>
                  </a:cubicBezTo>
                  <a:cubicBezTo>
                    <a:pt x="9" y="91"/>
                    <a:pt x="9" y="91"/>
                    <a:pt x="8" y="92"/>
                  </a:cubicBezTo>
                  <a:cubicBezTo>
                    <a:pt x="8" y="92"/>
                    <a:pt x="8" y="92"/>
                    <a:pt x="8" y="92"/>
                  </a:cubicBezTo>
                  <a:cubicBezTo>
                    <a:pt x="8" y="92"/>
                    <a:pt x="8" y="92"/>
                    <a:pt x="8" y="92"/>
                  </a:cubicBezTo>
                  <a:cubicBezTo>
                    <a:pt x="8" y="92"/>
                    <a:pt x="8" y="92"/>
                    <a:pt x="8" y="92"/>
                  </a:cubicBezTo>
                  <a:cubicBezTo>
                    <a:pt x="7" y="93"/>
                    <a:pt x="7" y="93"/>
                    <a:pt x="7" y="93"/>
                  </a:cubicBezTo>
                  <a:cubicBezTo>
                    <a:pt x="6" y="93"/>
                    <a:pt x="6" y="93"/>
                    <a:pt x="6" y="93"/>
                  </a:cubicBezTo>
                  <a:cubicBezTo>
                    <a:pt x="6" y="93"/>
                    <a:pt x="6" y="93"/>
                    <a:pt x="6" y="93"/>
                  </a:cubicBezTo>
                  <a:cubicBezTo>
                    <a:pt x="6" y="94"/>
                    <a:pt x="6" y="94"/>
                    <a:pt x="6" y="94"/>
                  </a:cubicBezTo>
                  <a:cubicBezTo>
                    <a:pt x="6" y="94"/>
                    <a:pt x="6" y="94"/>
                    <a:pt x="6" y="94"/>
                  </a:cubicBezTo>
                  <a:cubicBezTo>
                    <a:pt x="6" y="94"/>
                    <a:pt x="6" y="94"/>
                    <a:pt x="6" y="94"/>
                  </a:cubicBezTo>
                  <a:cubicBezTo>
                    <a:pt x="6" y="94"/>
                    <a:pt x="6" y="94"/>
                    <a:pt x="6" y="94"/>
                  </a:cubicBezTo>
                  <a:cubicBezTo>
                    <a:pt x="6" y="95"/>
                    <a:pt x="6" y="95"/>
                    <a:pt x="6" y="95"/>
                  </a:cubicBezTo>
                  <a:cubicBezTo>
                    <a:pt x="6" y="95"/>
                    <a:pt x="6" y="95"/>
                    <a:pt x="6" y="95"/>
                  </a:cubicBezTo>
                  <a:cubicBezTo>
                    <a:pt x="6" y="95"/>
                    <a:pt x="6" y="95"/>
                    <a:pt x="6" y="95"/>
                  </a:cubicBezTo>
                  <a:cubicBezTo>
                    <a:pt x="6" y="96"/>
                    <a:pt x="6" y="96"/>
                    <a:pt x="6" y="96"/>
                  </a:cubicBezTo>
                  <a:cubicBezTo>
                    <a:pt x="6" y="96"/>
                    <a:pt x="6" y="96"/>
                    <a:pt x="6" y="96"/>
                  </a:cubicBezTo>
                  <a:cubicBezTo>
                    <a:pt x="6" y="96"/>
                    <a:pt x="6" y="96"/>
                    <a:pt x="6" y="96"/>
                  </a:cubicBezTo>
                  <a:cubicBezTo>
                    <a:pt x="6" y="97"/>
                    <a:pt x="6" y="97"/>
                    <a:pt x="6" y="97"/>
                  </a:cubicBezTo>
                  <a:cubicBezTo>
                    <a:pt x="4" y="100"/>
                    <a:pt x="4" y="100"/>
                    <a:pt x="4" y="100"/>
                  </a:cubicBezTo>
                  <a:cubicBezTo>
                    <a:pt x="4" y="100"/>
                    <a:pt x="4" y="100"/>
                    <a:pt x="4" y="100"/>
                  </a:cubicBezTo>
                  <a:cubicBezTo>
                    <a:pt x="4" y="101"/>
                    <a:pt x="4" y="101"/>
                    <a:pt x="4" y="101"/>
                  </a:cubicBezTo>
                  <a:cubicBezTo>
                    <a:pt x="4" y="102"/>
                    <a:pt x="4" y="102"/>
                    <a:pt x="4" y="102"/>
                  </a:cubicBezTo>
                  <a:cubicBezTo>
                    <a:pt x="4" y="102"/>
                    <a:pt x="4" y="102"/>
                    <a:pt x="4" y="102"/>
                  </a:cubicBezTo>
                  <a:cubicBezTo>
                    <a:pt x="4" y="102"/>
                    <a:pt x="4" y="102"/>
                    <a:pt x="4" y="102"/>
                  </a:cubicBezTo>
                  <a:cubicBezTo>
                    <a:pt x="4" y="103"/>
                    <a:pt x="4" y="103"/>
                    <a:pt x="4" y="103"/>
                  </a:cubicBezTo>
                  <a:cubicBezTo>
                    <a:pt x="4" y="103"/>
                    <a:pt x="4" y="103"/>
                    <a:pt x="4" y="103"/>
                  </a:cubicBezTo>
                  <a:cubicBezTo>
                    <a:pt x="4" y="103"/>
                    <a:pt x="4" y="103"/>
                    <a:pt x="4" y="103"/>
                  </a:cubicBezTo>
                  <a:cubicBezTo>
                    <a:pt x="4" y="103"/>
                    <a:pt x="4" y="103"/>
                    <a:pt x="4" y="103"/>
                  </a:cubicBezTo>
                  <a:cubicBezTo>
                    <a:pt x="4" y="104"/>
                    <a:pt x="4" y="104"/>
                    <a:pt x="4" y="104"/>
                  </a:cubicBezTo>
                  <a:cubicBezTo>
                    <a:pt x="4" y="105"/>
                    <a:pt x="4" y="105"/>
                    <a:pt x="4" y="105"/>
                  </a:cubicBezTo>
                  <a:cubicBezTo>
                    <a:pt x="4" y="105"/>
                    <a:pt x="4" y="105"/>
                    <a:pt x="4" y="105"/>
                  </a:cubicBezTo>
                  <a:cubicBezTo>
                    <a:pt x="4" y="105"/>
                    <a:pt x="4" y="105"/>
                    <a:pt x="4" y="105"/>
                  </a:cubicBezTo>
                  <a:cubicBezTo>
                    <a:pt x="4" y="106"/>
                    <a:pt x="4" y="106"/>
                    <a:pt x="4" y="106"/>
                  </a:cubicBezTo>
                  <a:cubicBezTo>
                    <a:pt x="5" y="106"/>
                    <a:pt x="5" y="106"/>
                    <a:pt x="5" y="106"/>
                  </a:cubicBezTo>
                  <a:cubicBezTo>
                    <a:pt x="4" y="107"/>
                    <a:pt x="4" y="107"/>
                    <a:pt x="4" y="107"/>
                  </a:cubicBezTo>
                  <a:cubicBezTo>
                    <a:pt x="4" y="107"/>
                    <a:pt x="4" y="107"/>
                    <a:pt x="4" y="107"/>
                  </a:cubicBezTo>
                  <a:cubicBezTo>
                    <a:pt x="4" y="107"/>
                    <a:pt x="4" y="107"/>
                    <a:pt x="4" y="107"/>
                  </a:cubicBezTo>
                  <a:cubicBezTo>
                    <a:pt x="4" y="107"/>
                    <a:pt x="4" y="107"/>
                    <a:pt x="4" y="107"/>
                  </a:cubicBezTo>
                  <a:cubicBezTo>
                    <a:pt x="4" y="107"/>
                    <a:pt x="4" y="107"/>
                    <a:pt x="4" y="107"/>
                  </a:cubicBezTo>
                  <a:cubicBezTo>
                    <a:pt x="4" y="107"/>
                    <a:pt x="4" y="107"/>
                    <a:pt x="4" y="107"/>
                  </a:cubicBezTo>
                  <a:cubicBezTo>
                    <a:pt x="4" y="107"/>
                    <a:pt x="4" y="107"/>
                    <a:pt x="4" y="107"/>
                  </a:cubicBezTo>
                  <a:cubicBezTo>
                    <a:pt x="3" y="107"/>
                    <a:pt x="3" y="107"/>
                    <a:pt x="3" y="107"/>
                  </a:cubicBezTo>
                  <a:cubicBezTo>
                    <a:pt x="2" y="107"/>
                    <a:pt x="2" y="107"/>
                    <a:pt x="2" y="107"/>
                  </a:cubicBezTo>
                  <a:cubicBezTo>
                    <a:pt x="2" y="107"/>
                    <a:pt x="2" y="107"/>
                    <a:pt x="2" y="107"/>
                  </a:cubicBezTo>
                  <a:cubicBezTo>
                    <a:pt x="2" y="107"/>
                    <a:pt x="2" y="107"/>
                    <a:pt x="2" y="107"/>
                  </a:cubicBezTo>
                  <a:cubicBezTo>
                    <a:pt x="2" y="108"/>
                    <a:pt x="2" y="108"/>
                    <a:pt x="2" y="108"/>
                  </a:cubicBezTo>
                  <a:cubicBezTo>
                    <a:pt x="1" y="108"/>
                    <a:pt x="1" y="108"/>
                    <a:pt x="1" y="108"/>
                  </a:cubicBezTo>
                  <a:cubicBezTo>
                    <a:pt x="1" y="108"/>
                    <a:pt x="1" y="108"/>
                    <a:pt x="1" y="108"/>
                  </a:cubicBezTo>
                  <a:cubicBezTo>
                    <a:pt x="1" y="108"/>
                    <a:pt x="1" y="108"/>
                    <a:pt x="1" y="108"/>
                  </a:cubicBezTo>
                  <a:cubicBezTo>
                    <a:pt x="0" y="109"/>
                    <a:pt x="0" y="109"/>
                    <a:pt x="0" y="109"/>
                  </a:cubicBezTo>
                  <a:cubicBezTo>
                    <a:pt x="0" y="109"/>
                    <a:pt x="0" y="109"/>
                    <a:pt x="0" y="109"/>
                  </a:cubicBezTo>
                  <a:cubicBezTo>
                    <a:pt x="2" y="109"/>
                    <a:pt x="2" y="109"/>
                    <a:pt x="2" y="109"/>
                  </a:cubicBezTo>
                  <a:cubicBezTo>
                    <a:pt x="6" y="108"/>
                    <a:pt x="6" y="108"/>
                    <a:pt x="6" y="108"/>
                  </a:cubicBezTo>
                  <a:cubicBezTo>
                    <a:pt x="7" y="107"/>
                    <a:pt x="7" y="107"/>
                    <a:pt x="7" y="107"/>
                  </a:cubicBezTo>
                  <a:cubicBezTo>
                    <a:pt x="8" y="107"/>
                    <a:pt x="8" y="107"/>
                    <a:pt x="8" y="107"/>
                  </a:cubicBezTo>
                  <a:cubicBezTo>
                    <a:pt x="8" y="107"/>
                    <a:pt x="8" y="107"/>
                    <a:pt x="9" y="108"/>
                  </a:cubicBezTo>
                  <a:cubicBezTo>
                    <a:pt x="9" y="108"/>
                    <a:pt x="9" y="108"/>
                    <a:pt x="9" y="108"/>
                  </a:cubicBezTo>
                  <a:cubicBezTo>
                    <a:pt x="9" y="108"/>
                    <a:pt x="9" y="108"/>
                    <a:pt x="9" y="108"/>
                  </a:cubicBezTo>
                  <a:cubicBezTo>
                    <a:pt x="9" y="108"/>
                    <a:pt x="9" y="108"/>
                    <a:pt x="9" y="108"/>
                  </a:cubicBezTo>
                  <a:cubicBezTo>
                    <a:pt x="9" y="108"/>
                    <a:pt x="9" y="108"/>
                    <a:pt x="9" y="108"/>
                  </a:cubicBezTo>
                  <a:cubicBezTo>
                    <a:pt x="9" y="108"/>
                    <a:pt x="9" y="108"/>
                    <a:pt x="9" y="108"/>
                  </a:cubicBezTo>
                  <a:cubicBezTo>
                    <a:pt x="10" y="108"/>
                    <a:pt x="10" y="108"/>
                    <a:pt x="10" y="108"/>
                  </a:cubicBezTo>
                  <a:cubicBezTo>
                    <a:pt x="10" y="108"/>
                    <a:pt x="10" y="107"/>
                    <a:pt x="10" y="107"/>
                  </a:cubicBezTo>
                  <a:cubicBezTo>
                    <a:pt x="11" y="107"/>
                    <a:pt x="11" y="107"/>
                    <a:pt x="11" y="107"/>
                  </a:cubicBezTo>
                  <a:cubicBezTo>
                    <a:pt x="11" y="107"/>
                    <a:pt x="11" y="107"/>
                    <a:pt x="11" y="107"/>
                  </a:cubicBezTo>
                  <a:cubicBezTo>
                    <a:pt x="12" y="107"/>
                    <a:pt x="12" y="107"/>
                    <a:pt x="12" y="107"/>
                  </a:cubicBezTo>
                  <a:cubicBezTo>
                    <a:pt x="14" y="106"/>
                    <a:pt x="14" y="106"/>
                    <a:pt x="14" y="106"/>
                  </a:cubicBezTo>
                  <a:cubicBezTo>
                    <a:pt x="17" y="106"/>
                    <a:pt x="17" y="106"/>
                    <a:pt x="17" y="106"/>
                  </a:cubicBezTo>
                  <a:cubicBezTo>
                    <a:pt x="18" y="105"/>
                    <a:pt x="18" y="105"/>
                    <a:pt x="18" y="105"/>
                  </a:cubicBezTo>
                  <a:cubicBezTo>
                    <a:pt x="19" y="105"/>
                    <a:pt x="19" y="105"/>
                    <a:pt x="19" y="105"/>
                  </a:cubicBezTo>
                  <a:cubicBezTo>
                    <a:pt x="19" y="105"/>
                    <a:pt x="19" y="105"/>
                    <a:pt x="19" y="105"/>
                  </a:cubicBezTo>
                  <a:cubicBezTo>
                    <a:pt x="21" y="104"/>
                    <a:pt x="21" y="104"/>
                    <a:pt x="21" y="104"/>
                  </a:cubicBezTo>
                  <a:cubicBezTo>
                    <a:pt x="22" y="104"/>
                    <a:pt x="22" y="104"/>
                    <a:pt x="22" y="104"/>
                  </a:cubicBezTo>
                  <a:cubicBezTo>
                    <a:pt x="24" y="104"/>
                    <a:pt x="24" y="104"/>
                    <a:pt x="24" y="104"/>
                  </a:cubicBezTo>
                  <a:cubicBezTo>
                    <a:pt x="25" y="103"/>
                    <a:pt x="25" y="103"/>
                    <a:pt x="25" y="103"/>
                  </a:cubicBezTo>
                  <a:cubicBezTo>
                    <a:pt x="28" y="103"/>
                    <a:pt x="28" y="103"/>
                    <a:pt x="28" y="103"/>
                  </a:cubicBezTo>
                  <a:cubicBezTo>
                    <a:pt x="29" y="102"/>
                    <a:pt x="29" y="102"/>
                    <a:pt x="29" y="102"/>
                  </a:cubicBezTo>
                  <a:cubicBezTo>
                    <a:pt x="29" y="102"/>
                    <a:pt x="29" y="102"/>
                    <a:pt x="29" y="102"/>
                  </a:cubicBezTo>
                  <a:cubicBezTo>
                    <a:pt x="30" y="102"/>
                    <a:pt x="30" y="102"/>
                    <a:pt x="30" y="102"/>
                  </a:cubicBezTo>
                  <a:cubicBezTo>
                    <a:pt x="32" y="101"/>
                    <a:pt x="32" y="101"/>
                    <a:pt x="32" y="101"/>
                  </a:cubicBezTo>
                  <a:cubicBezTo>
                    <a:pt x="33" y="101"/>
                    <a:pt x="33" y="101"/>
                    <a:pt x="33" y="101"/>
                  </a:cubicBezTo>
                  <a:cubicBezTo>
                    <a:pt x="33" y="101"/>
                    <a:pt x="33" y="101"/>
                    <a:pt x="33" y="101"/>
                  </a:cubicBezTo>
                  <a:cubicBezTo>
                    <a:pt x="33" y="101"/>
                    <a:pt x="33" y="101"/>
                    <a:pt x="33" y="100"/>
                  </a:cubicBezTo>
                  <a:cubicBezTo>
                    <a:pt x="33" y="100"/>
                    <a:pt x="33" y="100"/>
                    <a:pt x="33" y="100"/>
                  </a:cubicBezTo>
                  <a:cubicBezTo>
                    <a:pt x="33" y="100"/>
                    <a:pt x="33" y="100"/>
                    <a:pt x="33" y="100"/>
                  </a:cubicBezTo>
                  <a:cubicBezTo>
                    <a:pt x="33" y="98"/>
                    <a:pt x="33" y="98"/>
                    <a:pt x="33" y="98"/>
                  </a:cubicBezTo>
                  <a:cubicBezTo>
                    <a:pt x="33" y="98"/>
                    <a:pt x="33" y="98"/>
                    <a:pt x="33" y="98"/>
                  </a:cubicBezTo>
                  <a:cubicBezTo>
                    <a:pt x="33" y="98"/>
                    <a:pt x="33" y="98"/>
                    <a:pt x="33" y="97"/>
                  </a:cubicBezTo>
                  <a:cubicBezTo>
                    <a:pt x="33" y="97"/>
                    <a:pt x="33" y="97"/>
                    <a:pt x="33" y="97"/>
                  </a:cubicBezTo>
                  <a:cubicBezTo>
                    <a:pt x="33" y="97"/>
                    <a:pt x="33" y="97"/>
                    <a:pt x="33" y="97"/>
                  </a:cubicBezTo>
                  <a:cubicBezTo>
                    <a:pt x="33" y="96"/>
                    <a:pt x="33" y="96"/>
                    <a:pt x="33" y="96"/>
                  </a:cubicBezTo>
                  <a:cubicBezTo>
                    <a:pt x="33" y="96"/>
                    <a:pt x="33" y="95"/>
                    <a:pt x="33" y="95"/>
                  </a:cubicBezTo>
                  <a:cubicBezTo>
                    <a:pt x="34" y="95"/>
                    <a:pt x="34" y="95"/>
                    <a:pt x="34" y="95"/>
                  </a:cubicBezTo>
                  <a:cubicBezTo>
                    <a:pt x="34" y="95"/>
                    <a:pt x="34" y="95"/>
                    <a:pt x="34" y="95"/>
                  </a:cubicBezTo>
                  <a:cubicBezTo>
                    <a:pt x="34" y="94"/>
                    <a:pt x="34" y="94"/>
                    <a:pt x="35" y="94"/>
                  </a:cubicBezTo>
                  <a:cubicBezTo>
                    <a:pt x="36" y="94"/>
                    <a:pt x="36" y="94"/>
                    <a:pt x="36" y="94"/>
                  </a:cubicBezTo>
                  <a:cubicBezTo>
                    <a:pt x="36" y="94"/>
                    <a:pt x="36" y="94"/>
                    <a:pt x="36" y="94"/>
                  </a:cubicBezTo>
                  <a:cubicBezTo>
                    <a:pt x="37" y="94"/>
                    <a:pt x="37" y="94"/>
                    <a:pt x="37" y="94"/>
                  </a:cubicBezTo>
                  <a:cubicBezTo>
                    <a:pt x="37" y="94"/>
                    <a:pt x="37" y="94"/>
                    <a:pt x="37" y="94"/>
                  </a:cubicBezTo>
                  <a:cubicBezTo>
                    <a:pt x="37" y="94"/>
                    <a:pt x="37" y="94"/>
                    <a:pt x="37" y="94"/>
                  </a:cubicBezTo>
                  <a:cubicBezTo>
                    <a:pt x="37" y="93"/>
                    <a:pt x="38" y="93"/>
                    <a:pt x="38" y="93"/>
                  </a:cubicBezTo>
                  <a:cubicBezTo>
                    <a:pt x="38" y="93"/>
                    <a:pt x="38" y="93"/>
                    <a:pt x="39" y="93"/>
                  </a:cubicBezTo>
                  <a:cubicBezTo>
                    <a:pt x="39" y="93"/>
                    <a:pt x="39" y="92"/>
                    <a:pt x="39" y="92"/>
                  </a:cubicBezTo>
                  <a:cubicBezTo>
                    <a:pt x="39" y="92"/>
                    <a:pt x="39" y="92"/>
                    <a:pt x="40" y="92"/>
                  </a:cubicBezTo>
                  <a:cubicBezTo>
                    <a:pt x="41" y="92"/>
                    <a:pt x="41" y="92"/>
                    <a:pt x="41" y="92"/>
                  </a:cubicBezTo>
                  <a:cubicBezTo>
                    <a:pt x="41" y="92"/>
                    <a:pt x="41" y="92"/>
                    <a:pt x="41" y="92"/>
                  </a:cubicBezTo>
                  <a:cubicBezTo>
                    <a:pt x="41" y="91"/>
                    <a:pt x="41" y="91"/>
                    <a:pt x="41" y="91"/>
                  </a:cubicBezTo>
                  <a:cubicBezTo>
                    <a:pt x="41" y="90"/>
                    <a:pt x="41" y="90"/>
                    <a:pt x="42" y="90"/>
                  </a:cubicBezTo>
                  <a:cubicBezTo>
                    <a:pt x="42" y="90"/>
                    <a:pt x="42" y="89"/>
                    <a:pt x="42" y="89"/>
                  </a:cubicBezTo>
                  <a:cubicBezTo>
                    <a:pt x="42" y="89"/>
                    <a:pt x="42" y="89"/>
                    <a:pt x="42" y="89"/>
                  </a:cubicBezTo>
                  <a:cubicBezTo>
                    <a:pt x="42" y="87"/>
                    <a:pt x="42" y="87"/>
                    <a:pt x="42" y="87"/>
                  </a:cubicBezTo>
                  <a:cubicBezTo>
                    <a:pt x="43" y="85"/>
                    <a:pt x="43" y="85"/>
                    <a:pt x="43" y="85"/>
                  </a:cubicBezTo>
                  <a:cubicBezTo>
                    <a:pt x="43" y="85"/>
                    <a:pt x="43" y="85"/>
                    <a:pt x="43" y="85"/>
                  </a:cubicBezTo>
                  <a:cubicBezTo>
                    <a:pt x="44" y="84"/>
                    <a:pt x="44" y="84"/>
                    <a:pt x="44" y="84"/>
                  </a:cubicBezTo>
                  <a:cubicBezTo>
                    <a:pt x="44" y="84"/>
                    <a:pt x="44" y="84"/>
                    <a:pt x="44" y="84"/>
                  </a:cubicBezTo>
                  <a:cubicBezTo>
                    <a:pt x="44" y="84"/>
                    <a:pt x="44" y="84"/>
                    <a:pt x="44" y="83"/>
                  </a:cubicBezTo>
                  <a:cubicBezTo>
                    <a:pt x="45" y="83"/>
                    <a:pt x="45" y="83"/>
                    <a:pt x="45" y="83"/>
                  </a:cubicBezTo>
                  <a:cubicBezTo>
                    <a:pt x="45" y="83"/>
                    <a:pt x="45" y="83"/>
                    <a:pt x="45" y="83"/>
                  </a:cubicBezTo>
                  <a:cubicBezTo>
                    <a:pt x="45" y="83"/>
                    <a:pt x="44" y="83"/>
                    <a:pt x="44" y="82"/>
                  </a:cubicBezTo>
                  <a:cubicBezTo>
                    <a:pt x="44" y="81"/>
                    <a:pt x="44" y="81"/>
                    <a:pt x="44" y="81"/>
                  </a:cubicBezTo>
                  <a:cubicBezTo>
                    <a:pt x="44" y="81"/>
                    <a:pt x="45" y="81"/>
                    <a:pt x="45" y="81"/>
                  </a:cubicBezTo>
                  <a:cubicBezTo>
                    <a:pt x="45" y="80"/>
                    <a:pt x="45" y="80"/>
                    <a:pt x="45" y="80"/>
                  </a:cubicBezTo>
                  <a:cubicBezTo>
                    <a:pt x="45" y="80"/>
                    <a:pt x="45" y="80"/>
                    <a:pt x="45" y="80"/>
                  </a:cubicBezTo>
                  <a:cubicBezTo>
                    <a:pt x="45" y="80"/>
                    <a:pt x="45" y="80"/>
                    <a:pt x="45" y="80"/>
                  </a:cubicBezTo>
                  <a:cubicBezTo>
                    <a:pt x="45" y="79"/>
                    <a:pt x="45" y="79"/>
                    <a:pt x="45" y="79"/>
                  </a:cubicBezTo>
                  <a:cubicBezTo>
                    <a:pt x="45" y="78"/>
                    <a:pt x="45" y="78"/>
                    <a:pt x="45" y="78"/>
                  </a:cubicBezTo>
                  <a:cubicBezTo>
                    <a:pt x="45" y="78"/>
                    <a:pt x="45" y="78"/>
                    <a:pt x="45" y="78"/>
                  </a:cubicBezTo>
                  <a:cubicBezTo>
                    <a:pt x="45" y="78"/>
                    <a:pt x="45" y="78"/>
                    <a:pt x="45" y="78"/>
                  </a:cubicBezTo>
                  <a:cubicBezTo>
                    <a:pt x="44" y="77"/>
                    <a:pt x="44" y="77"/>
                    <a:pt x="44" y="77"/>
                  </a:cubicBezTo>
                  <a:cubicBezTo>
                    <a:pt x="44" y="77"/>
                    <a:pt x="44" y="77"/>
                    <a:pt x="44" y="77"/>
                  </a:cubicBezTo>
                  <a:cubicBezTo>
                    <a:pt x="44" y="76"/>
                    <a:pt x="44" y="76"/>
                    <a:pt x="44" y="76"/>
                  </a:cubicBezTo>
                  <a:cubicBezTo>
                    <a:pt x="44" y="76"/>
                    <a:pt x="45" y="76"/>
                    <a:pt x="45" y="76"/>
                  </a:cubicBezTo>
                  <a:cubicBezTo>
                    <a:pt x="45" y="75"/>
                    <a:pt x="45" y="75"/>
                    <a:pt x="45" y="75"/>
                  </a:cubicBezTo>
                  <a:cubicBezTo>
                    <a:pt x="45" y="75"/>
                    <a:pt x="45" y="75"/>
                    <a:pt x="45" y="75"/>
                  </a:cubicBezTo>
                  <a:cubicBezTo>
                    <a:pt x="44" y="75"/>
                    <a:pt x="44" y="75"/>
                    <a:pt x="44" y="75"/>
                  </a:cubicBezTo>
                  <a:cubicBezTo>
                    <a:pt x="44" y="75"/>
                    <a:pt x="44" y="74"/>
                    <a:pt x="44" y="74"/>
                  </a:cubicBezTo>
                  <a:cubicBezTo>
                    <a:pt x="44" y="73"/>
                    <a:pt x="44" y="73"/>
                    <a:pt x="44" y="73"/>
                  </a:cubicBezTo>
                  <a:cubicBezTo>
                    <a:pt x="44" y="73"/>
                    <a:pt x="44" y="73"/>
                    <a:pt x="44" y="73"/>
                  </a:cubicBezTo>
                  <a:cubicBezTo>
                    <a:pt x="44" y="72"/>
                    <a:pt x="44" y="72"/>
                    <a:pt x="44" y="72"/>
                  </a:cubicBezTo>
                  <a:cubicBezTo>
                    <a:pt x="44" y="71"/>
                    <a:pt x="44" y="71"/>
                    <a:pt x="44" y="71"/>
                  </a:cubicBezTo>
                  <a:cubicBezTo>
                    <a:pt x="44" y="71"/>
                    <a:pt x="44" y="71"/>
                    <a:pt x="44" y="71"/>
                  </a:cubicBezTo>
                  <a:cubicBezTo>
                    <a:pt x="44" y="71"/>
                    <a:pt x="44" y="71"/>
                    <a:pt x="44" y="71"/>
                  </a:cubicBezTo>
                  <a:cubicBezTo>
                    <a:pt x="44" y="70"/>
                    <a:pt x="45" y="70"/>
                    <a:pt x="45" y="70"/>
                  </a:cubicBezTo>
                  <a:cubicBezTo>
                    <a:pt x="45" y="70"/>
                    <a:pt x="45" y="70"/>
                    <a:pt x="45" y="70"/>
                  </a:cubicBezTo>
                  <a:cubicBezTo>
                    <a:pt x="46" y="69"/>
                    <a:pt x="46" y="69"/>
                    <a:pt x="46" y="69"/>
                  </a:cubicBezTo>
                  <a:cubicBezTo>
                    <a:pt x="46" y="69"/>
                    <a:pt x="46" y="69"/>
                    <a:pt x="46" y="69"/>
                  </a:cubicBezTo>
                  <a:cubicBezTo>
                    <a:pt x="46" y="67"/>
                    <a:pt x="46" y="67"/>
                    <a:pt x="46" y="67"/>
                  </a:cubicBezTo>
                  <a:cubicBezTo>
                    <a:pt x="46" y="65"/>
                    <a:pt x="46" y="65"/>
                    <a:pt x="46" y="65"/>
                  </a:cubicBezTo>
                  <a:cubicBezTo>
                    <a:pt x="45" y="65"/>
                    <a:pt x="45" y="65"/>
                    <a:pt x="45" y="65"/>
                  </a:cubicBezTo>
                  <a:cubicBezTo>
                    <a:pt x="45" y="65"/>
                    <a:pt x="45" y="65"/>
                    <a:pt x="45" y="64"/>
                  </a:cubicBezTo>
                  <a:cubicBezTo>
                    <a:pt x="45" y="64"/>
                    <a:pt x="45" y="64"/>
                    <a:pt x="45" y="64"/>
                  </a:cubicBezTo>
                  <a:cubicBezTo>
                    <a:pt x="45" y="63"/>
                    <a:pt x="45" y="63"/>
                    <a:pt x="46" y="63"/>
                  </a:cubicBezTo>
                  <a:cubicBezTo>
                    <a:pt x="46" y="63"/>
                    <a:pt x="46" y="63"/>
                    <a:pt x="46" y="63"/>
                  </a:cubicBezTo>
                  <a:cubicBezTo>
                    <a:pt x="46" y="61"/>
                    <a:pt x="46" y="61"/>
                    <a:pt x="46" y="61"/>
                  </a:cubicBezTo>
                  <a:cubicBezTo>
                    <a:pt x="48" y="57"/>
                    <a:pt x="48" y="57"/>
                    <a:pt x="48" y="57"/>
                  </a:cubicBezTo>
                  <a:cubicBezTo>
                    <a:pt x="48" y="54"/>
                    <a:pt x="48" y="54"/>
                    <a:pt x="48" y="54"/>
                  </a:cubicBezTo>
                  <a:cubicBezTo>
                    <a:pt x="51" y="48"/>
                    <a:pt x="51" y="48"/>
                    <a:pt x="51" y="48"/>
                  </a:cubicBezTo>
                  <a:cubicBezTo>
                    <a:pt x="51" y="46"/>
                    <a:pt x="51" y="46"/>
                    <a:pt x="51" y="46"/>
                  </a:cubicBezTo>
                  <a:cubicBezTo>
                    <a:pt x="51" y="46"/>
                    <a:pt x="51" y="45"/>
                    <a:pt x="52" y="45"/>
                  </a:cubicBezTo>
                  <a:cubicBezTo>
                    <a:pt x="52" y="45"/>
                    <a:pt x="52" y="45"/>
                    <a:pt x="53" y="45"/>
                  </a:cubicBezTo>
                  <a:cubicBezTo>
                    <a:pt x="55" y="45"/>
                    <a:pt x="55" y="45"/>
                    <a:pt x="55" y="45"/>
                  </a:cubicBezTo>
                  <a:cubicBezTo>
                    <a:pt x="56" y="45"/>
                    <a:pt x="56" y="46"/>
                    <a:pt x="56" y="46"/>
                  </a:cubicBezTo>
                  <a:cubicBezTo>
                    <a:pt x="56" y="47"/>
                    <a:pt x="56" y="47"/>
                    <a:pt x="56" y="47"/>
                  </a:cubicBezTo>
                  <a:cubicBezTo>
                    <a:pt x="56" y="48"/>
                    <a:pt x="56" y="48"/>
                    <a:pt x="56" y="48"/>
                  </a:cubicBezTo>
                  <a:cubicBezTo>
                    <a:pt x="57" y="48"/>
                    <a:pt x="57" y="48"/>
                    <a:pt x="57" y="48"/>
                  </a:cubicBezTo>
                  <a:cubicBezTo>
                    <a:pt x="58" y="49"/>
                    <a:pt x="58" y="49"/>
                    <a:pt x="58" y="49"/>
                  </a:cubicBezTo>
                  <a:cubicBezTo>
                    <a:pt x="60" y="47"/>
                    <a:pt x="60" y="47"/>
                    <a:pt x="60" y="47"/>
                  </a:cubicBezTo>
                  <a:cubicBezTo>
                    <a:pt x="60" y="47"/>
                    <a:pt x="60" y="47"/>
                    <a:pt x="60" y="47"/>
                  </a:cubicBezTo>
                  <a:cubicBezTo>
                    <a:pt x="60" y="47"/>
                    <a:pt x="61" y="46"/>
                    <a:pt x="61" y="46"/>
                  </a:cubicBezTo>
                  <a:cubicBezTo>
                    <a:pt x="61" y="46"/>
                    <a:pt x="61" y="46"/>
                    <a:pt x="61" y="46"/>
                  </a:cubicBezTo>
                  <a:cubicBezTo>
                    <a:pt x="61" y="46"/>
                    <a:pt x="61" y="46"/>
                    <a:pt x="61" y="46"/>
                  </a:cubicBezTo>
                  <a:cubicBezTo>
                    <a:pt x="61" y="46"/>
                    <a:pt x="61" y="46"/>
                    <a:pt x="62" y="45"/>
                  </a:cubicBezTo>
                  <a:cubicBezTo>
                    <a:pt x="62" y="45"/>
                    <a:pt x="62" y="45"/>
                    <a:pt x="62" y="45"/>
                  </a:cubicBezTo>
                  <a:cubicBezTo>
                    <a:pt x="62" y="45"/>
                    <a:pt x="62" y="45"/>
                    <a:pt x="62" y="45"/>
                  </a:cubicBezTo>
                  <a:cubicBezTo>
                    <a:pt x="62" y="43"/>
                    <a:pt x="61" y="41"/>
                    <a:pt x="60" y="39"/>
                  </a:cubicBezTo>
                  <a:cubicBezTo>
                    <a:pt x="62" y="39"/>
                    <a:pt x="63" y="38"/>
                    <a:pt x="64" y="38"/>
                  </a:cubicBezTo>
                  <a:cubicBezTo>
                    <a:pt x="64" y="38"/>
                    <a:pt x="64" y="37"/>
                    <a:pt x="64" y="37"/>
                  </a:cubicBezTo>
                  <a:cubicBezTo>
                    <a:pt x="66" y="36"/>
                    <a:pt x="68" y="35"/>
                    <a:pt x="70" y="35"/>
                  </a:cubicBezTo>
                  <a:cubicBezTo>
                    <a:pt x="70" y="35"/>
                    <a:pt x="70" y="35"/>
                    <a:pt x="70" y="35"/>
                  </a:cubicBezTo>
                  <a:cubicBezTo>
                    <a:pt x="70" y="35"/>
                    <a:pt x="70" y="35"/>
                    <a:pt x="70" y="35"/>
                  </a:cubicBezTo>
                  <a:cubicBezTo>
                    <a:pt x="70" y="36"/>
                    <a:pt x="70" y="36"/>
                    <a:pt x="70" y="36"/>
                  </a:cubicBezTo>
                  <a:cubicBezTo>
                    <a:pt x="70" y="36"/>
                    <a:pt x="70" y="36"/>
                    <a:pt x="70" y="36"/>
                  </a:cubicBezTo>
                  <a:cubicBezTo>
                    <a:pt x="71" y="36"/>
                    <a:pt x="71" y="36"/>
                    <a:pt x="71" y="36"/>
                  </a:cubicBezTo>
                  <a:cubicBezTo>
                    <a:pt x="71" y="36"/>
                    <a:pt x="71" y="36"/>
                    <a:pt x="71" y="36"/>
                  </a:cubicBezTo>
                  <a:cubicBezTo>
                    <a:pt x="71" y="36"/>
                    <a:pt x="71" y="36"/>
                    <a:pt x="71" y="36"/>
                  </a:cubicBezTo>
                  <a:cubicBezTo>
                    <a:pt x="71" y="36"/>
                    <a:pt x="71" y="36"/>
                    <a:pt x="71" y="36"/>
                  </a:cubicBezTo>
                  <a:cubicBezTo>
                    <a:pt x="72" y="36"/>
                    <a:pt x="72" y="36"/>
                    <a:pt x="72" y="36"/>
                  </a:cubicBezTo>
                  <a:cubicBezTo>
                    <a:pt x="72" y="36"/>
                    <a:pt x="72" y="36"/>
                    <a:pt x="72" y="36"/>
                  </a:cubicBezTo>
                  <a:cubicBezTo>
                    <a:pt x="72" y="36"/>
                    <a:pt x="72" y="36"/>
                    <a:pt x="72" y="36"/>
                  </a:cubicBezTo>
                  <a:cubicBezTo>
                    <a:pt x="73" y="36"/>
                    <a:pt x="73" y="36"/>
                    <a:pt x="73" y="36"/>
                  </a:cubicBezTo>
                  <a:cubicBezTo>
                    <a:pt x="73" y="36"/>
                    <a:pt x="73" y="36"/>
                    <a:pt x="73" y="36"/>
                  </a:cubicBezTo>
                  <a:cubicBezTo>
                    <a:pt x="73" y="36"/>
                    <a:pt x="73" y="36"/>
                    <a:pt x="73" y="36"/>
                  </a:cubicBezTo>
                  <a:cubicBezTo>
                    <a:pt x="73" y="36"/>
                    <a:pt x="73" y="36"/>
                    <a:pt x="73" y="36"/>
                  </a:cubicBezTo>
                  <a:cubicBezTo>
                    <a:pt x="73" y="36"/>
                    <a:pt x="73" y="36"/>
                    <a:pt x="73" y="36"/>
                  </a:cubicBezTo>
                  <a:cubicBezTo>
                    <a:pt x="74" y="36"/>
                    <a:pt x="74" y="36"/>
                    <a:pt x="74" y="36"/>
                  </a:cubicBezTo>
                  <a:cubicBezTo>
                    <a:pt x="74" y="36"/>
                    <a:pt x="74" y="36"/>
                    <a:pt x="74" y="36"/>
                  </a:cubicBezTo>
                  <a:cubicBezTo>
                    <a:pt x="74" y="36"/>
                    <a:pt x="74" y="37"/>
                    <a:pt x="74" y="37"/>
                  </a:cubicBezTo>
                  <a:cubicBezTo>
                    <a:pt x="74" y="37"/>
                    <a:pt x="74" y="37"/>
                    <a:pt x="74" y="37"/>
                  </a:cubicBezTo>
                  <a:cubicBezTo>
                    <a:pt x="74" y="37"/>
                    <a:pt x="74" y="37"/>
                    <a:pt x="74" y="37"/>
                  </a:cubicBezTo>
                  <a:cubicBezTo>
                    <a:pt x="74" y="37"/>
                    <a:pt x="74" y="37"/>
                    <a:pt x="74" y="37"/>
                  </a:cubicBezTo>
                  <a:cubicBezTo>
                    <a:pt x="74" y="36"/>
                    <a:pt x="74" y="36"/>
                    <a:pt x="74" y="36"/>
                  </a:cubicBezTo>
                  <a:cubicBezTo>
                    <a:pt x="74" y="36"/>
                    <a:pt x="74" y="36"/>
                    <a:pt x="74" y="36"/>
                  </a:cubicBezTo>
                  <a:cubicBezTo>
                    <a:pt x="75" y="36"/>
                    <a:pt x="75" y="36"/>
                    <a:pt x="75" y="36"/>
                  </a:cubicBezTo>
                  <a:cubicBezTo>
                    <a:pt x="75" y="36"/>
                    <a:pt x="75" y="36"/>
                    <a:pt x="75" y="36"/>
                  </a:cubicBezTo>
                  <a:cubicBezTo>
                    <a:pt x="75" y="35"/>
                    <a:pt x="75" y="35"/>
                    <a:pt x="75" y="35"/>
                  </a:cubicBezTo>
                  <a:cubicBezTo>
                    <a:pt x="75" y="35"/>
                    <a:pt x="75" y="35"/>
                    <a:pt x="75" y="35"/>
                  </a:cubicBezTo>
                  <a:cubicBezTo>
                    <a:pt x="75" y="35"/>
                    <a:pt x="75" y="35"/>
                    <a:pt x="75" y="35"/>
                  </a:cubicBezTo>
                  <a:cubicBezTo>
                    <a:pt x="76" y="35"/>
                    <a:pt x="76" y="35"/>
                    <a:pt x="76" y="35"/>
                  </a:cubicBezTo>
                  <a:cubicBezTo>
                    <a:pt x="76" y="35"/>
                    <a:pt x="76" y="35"/>
                    <a:pt x="76" y="35"/>
                  </a:cubicBezTo>
                  <a:cubicBezTo>
                    <a:pt x="76" y="35"/>
                    <a:pt x="76" y="35"/>
                    <a:pt x="76" y="35"/>
                  </a:cubicBezTo>
                  <a:cubicBezTo>
                    <a:pt x="76" y="35"/>
                    <a:pt x="76" y="35"/>
                    <a:pt x="76" y="35"/>
                  </a:cubicBezTo>
                  <a:cubicBezTo>
                    <a:pt x="76" y="35"/>
                    <a:pt x="76" y="35"/>
                    <a:pt x="76" y="35"/>
                  </a:cubicBezTo>
                  <a:cubicBezTo>
                    <a:pt x="77" y="35"/>
                    <a:pt x="77" y="35"/>
                    <a:pt x="77" y="35"/>
                  </a:cubicBezTo>
                  <a:cubicBezTo>
                    <a:pt x="77" y="35"/>
                    <a:pt x="77" y="35"/>
                    <a:pt x="77" y="35"/>
                  </a:cubicBezTo>
                  <a:cubicBezTo>
                    <a:pt x="77" y="35"/>
                    <a:pt x="77" y="35"/>
                    <a:pt x="77" y="35"/>
                  </a:cubicBezTo>
                  <a:cubicBezTo>
                    <a:pt x="77" y="35"/>
                    <a:pt x="77" y="35"/>
                    <a:pt x="77" y="35"/>
                  </a:cubicBezTo>
                  <a:cubicBezTo>
                    <a:pt x="77" y="35"/>
                    <a:pt x="77" y="35"/>
                    <a:pt x="77" y="35"/>
                  </a:cubicBezTo>
                  <a:cubicBezTo>
                    <a:pt x="77" y="34"/>
                    <a:pt x="77" y="34"/>
                    <a:pt x="77" y="34"/>
                  </a:cubicBezTo>
                  <a:cubicBezTo>
                    <a:pt x="77" y="34"/>
                    <a:pt x="77" y="34"/>
                    <a:pt x="77" y="34"/>
                  </a:cubicBezTo>
                  <a:cubicBezTo>
                    <a:pt x="78" y="34"/>
                    <a:pt x="78" y="34"/>
                    <a:pt x="78" y="34"/>
                  </a:cubicBezTo>
                  <a:cubicBezTo>
                    <a:pt x="78" y="34"/>
                    <a:pt x="78" y="34"/>
                    <a:pt x="78" y="34"/>
                  </a:cubicBezTo>
                  <a:cubicBezTo>
                    <a:pt x="78" y="34"/>
                    <a:pt x="78" y="34"/>
                    <a:pt x="78" y="34"/>
                  </a:cubicBezTo>
                  <a:cubicBezTo>
                    <a:pt x="78" y="34"/>
                    <a:pt x="78" y="34"/>
                    <a:pt x="78" y="34"/>
                  </a:cubicBezTo>
                  <a:cubicBezTo>
                    <a:pt x="79" y="34"/>
                    <a:pt x="79" y="34"/>
                    <a:pt x="79" y="34"/>
                  </a:cubicBezTo>
                  <a:cubicBezTo>
                    <a:pt x="79" y="34"/>
                    <a:pt x="79" y="34"/>
                    <a:pt x="79" y="34"/>
                  </a:cubicBezTo>
                  <a:cubicBezTo>
                    <a:pt x="79" y="34"/>
                    <a:pt x="79" y="34"/>
                    <a:pt x="79" y="34"/>
                  </a:cubicBezTo>
                  <a:cubicBezTo>
                    <a:pt x="79" y="34"/>
                    <a:pt x="79" y="34"/>
                    <a:pt x="79" y="34"/>
                  </a:cubicBezTo>
                  <a:cubicBezTo>
                    <a:pt x="79" y="33"/>
                    <a:pt x="79" y="33"/>
                    <a:pt x="79" y="33"/>
                  </a:cubicBezTo>
                  <a:cubicBezTo>
                    <a:pt x="79" y="33"/>
                    <a:pt x="79" y="33"/>
                    <a:pt x="79" y="33"/>
                  </a:cubicBezTo>
                  <a:cubicBezTo>
                    <a:pt x="79" y="33"/>
                    <a:pt x="79" y="33"/>
                    <a:pt x="79" y="33"/>
                  </a:cubicBezTo>
                  <a:cubicBezTo>
                    <a:pt x="79" y="32"/>
                    <a:pt x="79" y="32"/>
                    <a:pt x="79" y="32"/>
                  </a:cubicBezTo>
                  <a:cubicBezTo>
                    <a:pt x="80" y="32"/>
                    <a:pt x="80" y="32"/>
                    <a:pt x="80" y="32"/>
                  </a:cubicBezTo>
                  <a:cubicBezTo>
                    <a:pt x="80" y="32"/>
                    <a:pt x="80" y="32"/>
                    <a:pt x="80" y="32"/>
                  </a:cubicBezTo>
                  <a:cubicBezTo>
                    <a:pt x="80" y="32"/>
                    <a:pt x="80" y="32"/>
                    <a:pt x="80" y="32"/>
                  </a:cubicBezTo>
                  <a:cubicBezTo>
                    <a:pt x="80" y="32"/>
                    <a:pt x="80" y="32"/>
                    <a:pt x="80" y="32"/>
                  </a:cubicBezTo>
                  <a:cubicBezTo>
                    <a:pt x="80" y="32"/>
                    <a:pt x="80" y="32"/>
                    <a:pt x="80" y="32"/>
                  </a:cubicBezTo>
                  <a:cubicBezTo>
                    <a:pt x="80" y="31"/>
                    <a:pt x="80" y="31"/>
                    <a:pt x="80" y="31"/>
                  </a:cubicBezTo>
                  <a:cubicBezTo>
                    <a:pt x="80" y="31"/>
                    <a:pt x="80" y="31"/>
                    <a:pt x="80" y="31"/>
                  </a:cubicBezTo>
                  <a:cubicBezTo>
                    <a:pt x="81" y="31"/>
                    <a:pt x="81" y="31"/>
                    <a:pt x="81" y="31"/>
                  </a:cubicBezTo>
                  <a:cubicBezTo>
                    <a:pt x="81" y="31"/>
                    <a:pt x="81" y="31"/>
                    <a:pt x="81" y="31"/>
                  </a:cubicBezTo>
                  <a:cubicBezTo>
                    <a:pt x="81" y="31"/>
                    <a:pt x="81" y="31"/>
                    <a:pt x="81" y="31"/>
                  </a:cubicBezTo>
                  <a:cubicBezTo>
                    <a:pt x="82" y="31"/>
                    <a:pt x="82" y="31"/>
                    <a:pt x="82" y="31"/>
                  </a:cubicBezTo>
                  <a:cubicBezTo>
                    <a:pt x="82" y="30"/>
                    <a:pt x="82" y="30"/>
                    <a:pt x="82" y="30"/>
                  </a:cubicBezTo>
                  <a:cubicBezTo>
                    <a:pt x="82" y="30"/>
                    <a:pt x="82" y="30"/>
                    <a:pt x="82" y="30"/>
                  </a:cubicBezTo>
                  <a:cubicBezTo>
                    <a:pt x="82" y="30"/>
                    <a:pt x="82" y="30"/>
                    <a:pt x="82" y="30"/>
                  </a:cubicBezTo>
                  <a:cubicBezTo>
                    <a:pt x="82" y="30"/>
                    <a:pt x="82" y="30"/>
                    <a:pt x="82" y="30"/>
                  </a:cubicBezTo>
                  <a:cubicBezTo>
                    <a:pt x="83" y="30"/>
                    <a:pt x="83" y="30"/>
                    <a:pt x="83" y="30"/>
                  </a:cubicBezTo>
                  <a:cubicBezTo>
                    <a:pt x="83" y="30"/>
                    <a:pt x="83" y="30"/>
                    <a:pt x="83" y="30"/>
                  </a:cubicBezTo>
                  <a:cubicBezTo>
                    <a:pt x="83" y="30"/>
                    <a:pt x="83" y="30"/>
                    <a:pt x="83" y="30"/>
                  </a:cubicBezTo>
                  <a:cubicBezTo>
                    <a:pt x="83" y="29"/>
                    <a:pt x="83" y="29"/>
                    <a:pt x="83" y="29"/>
                  </a:cubicBezTo>
                  <a:cubicBezTo>
                    <a:pt x="84" y="29"/>
                    <a:pt x="84" y="29"/>
                    <a:pt x="84" y="29"/>
                  </a:cubicBezTo>
                  <a:cubicBezTo>
                    <a:pt x="84" y="29"/>
                    <a:pt x="84" y="29"/>
                    <a:pt x="84" y="29"/>
                  </a:cubicBezTo>
                  <a:cubicBezTo>
                    <a:pt x="84" y="28"/>
                    <a:pt x="84" y="28"/>
                    <a:pt x="84" y="28"/>
                  </a:cubicBezTo>
                  <a:cubicBezTo>
                    <a:pt x="84" y="28"/>
                    <a:pt x="84" y="28"/>
                    <a:pt x="84" y="28"/>
                  </a:cubicBezTo>
                  <a:cubicBezTo>
                    <a:pt x="86" y="27"/>
                    <a:pt x="86" y="27"/>
                    <a:pt x="86" y="27"/>
                  </a:cubicBezTo>
                  <a:cubicBezTo>
                    <a:pt x="86" y="28"/>
                    <a:pt x="86" y="28"/>
                    <a:pt x="86" y="28"/>
                  </a:cubicBezTo>
                  <a:cubicBezTo>
                    <a:pt x="86" y="28"/>
                    <a:pt x="86" y="28"/>
                    <a:pt x="86" y="28"/>
                  </a:cubicBezTo>
                  <a:cubicBezTo>
                    <a:pt x="86" y="28"/>
                    <a:pt x="86" y="28"/>
                    <a:pt x="86" y="28"/>
                  </a:cubicBezTo>
                  <a:cubicBezTo>
                    <a:pt x="86" y="28"/>
                    <a:pt x="86" y="28"/>
                    <a:pt x="86" y="28"/>
                  </a:cubicBezTo>
                  <a:cubicBezTo>
                    <a:pt x="86" y="28"/>
                    <a:pt x="86" y="28"/>
                    <a:pt x="86" y="28"/>
                  </a:cubicBezTo>
                  <a:cubicBezTo>
                    <a:pt x="86" y="28"/>
                    <a:pt x="86" y="28"/>
                    <a:pt x="86" y="28"/>
                  </a:cubicBezTo>
                  <a:cubicBezTo>
                    <a:pt x="87" y="28"/>
                    <a:pt x="87" y="28"/>
                    <a:pt x="87" y="28"/>
                  </a:cubicBezTo>
                  <a:cubicBezTo>
                    <a:pt x="87" y="28"/>
                    <a:pt x="87" y="28"/>
                    <a:pt x="87" y="28"/>
                  </a:cubicBezTo>
                  <a:cubicBezTo>
                    <a:pt x="87" y="28"/>
                    <a:pt x="87" y="28"/>
                    <a:pt x="87" y="28"/>
                  </a:cubicBezTo>
                  <a:cubicBezTo>
                    <a:pt x="87" y="28"/>
                    <a:pt x="87" y="28"/>
                    <a:pt x="87" y="28"/>
                  </a:cubicBezTo>
                  <a:cubicBezTo>
                    <a:pt x="87" y="28"/>
                    <a:pt x="87" y="28"/>
                    <a:pt x="87" y="28"/>
                  </a:cubicBezTo>
                  <a:cubicBezTo>
                    <a:pt x="87" y="28"/>
                    <a:pt x="87" y="28"/>
                    <a:pt x="87" y="28"/>
                  </a:cubicBezTo>
                  <a:cubicBezTo>
                    <a:pt x="87" y="28"/>
                    <a:pt x="87" y="28"/>
                    <a:pt x="87" y="28"/>
                  </a:cubicBezTo>
                  <a:cubicBezTo>
                    <a:pt x="87" y="28"/>
                    <a:pt x="87" y="28"/>
                    <a:pt x="87" y="28"/>
                  </a:cubicBezTo>
                  <a:cubicBezTo>
                    <a:pt x="87" y="27"/>
                    <a:pt x="87" y="27"/>
                    <a:pt x="87" y="27"/>
                  </a:cubicBezTo>
                  <a:cubicBezTo>
                    <a:pt x="87" y="27"/>
                    <a:pt x="87" y="27"/>
                    <a:pt x="87" y="27"/>
                  </a:cubicBezTo>
                  <a:cubicBezTo>
                    <a:pt x="87" y="27"/>
                    <a:pt x="87" y="27"/>
                    <a:pt x="87" y="27"/>
                  </a:cubicBezTo>
                  <a:cubicBezTo>
                    <a:pt x="87" y="27"/>
                    <a:pt x="87" y="27"/>
                    <a:pt x="87" y="27"/>
                  </a:cubicBezTo>
                  <a:cubicBezTo>
                    <a:pt x="87" y="27"/>
                    <a:pt x="87" y="27"/>
                    <a:pt x="87" y="27"/>
                  </a:cubicBezTo>
                  <a:cubicBezTo>
                    <a:pt x="87" y="27"/>
                    <a:pt x="87" y="27"/>
                    <a:pt x="87" y="27"/>
                  </a:cubicBezTo>
                  <a:cubicBezTo>
                    <a:pt x="88" y="27"/>
                    <a:pt x="88" y="27"/>
                    <a:pt x="88" y="27"/>
                  </a:cubicBezTo>
                  <a:cubicBezTo>
                    <a:pt x="89" y="27"/>
                    <a:pt x="89" y="27"/>
                    <a:pt x="89" y="27"/>
                  </a:cubicBezTo>
                  <a:cubicBezTo>
                    <a:pt x="90" y="26"/>
                    <a:pt x="90" y="26"/>
                    <a:pt x="90" y="26"/>
                  </a:cubicBezTo>
                  <a:cubicBezTo>
                    <a:pt x="90" y="26"/>
                    <a:pt x="90" y="26"/>
                    <a:pt x="90" y="26"/>
                  </a:cubicBezTo>
                  <a:cubicBezTo>
                    <a:pt x="90" y="24"/>
                    <a:pt x="90" y="24"/>
                    <a:pt x="90" y="24"/>
                  </a:cubicBezTo>
                  <a:cubicBezTo>
                    <a:pt x="91" y="24"/>
                    <a:pt x="91" y="24"/>
                    <a:pt x="91" y="24"/>
                  </a:cubicBezTo>
                  <a:cubicBezTo>
                    <a:pt x="91" y="24"/>
                    <a:pt x="91" y="24"/>
                    <a:pt x="91" y="24"/>
                  </a:cubicBezTo>
                  <a:cubicBezTo>
                    <a:pt x="91" y="24"/>
                    <a:pt x="91" y="24"/>
                    <a:pt x="91" y="24"/>
                  </a:cubicBezTo>
                  <a:cubicBezTo>
                    <a:pt x="91" y="24"/>
                    <a:pt x="91" y="24"/>
                    <a:pt x="91" y="24"/>
                  </a:cubicBezTo>
                  <a:cubicBezTo>
                    <a:pt x="91" y="24"/>
                    <a:pt x="91" y="24"/>
                    <a:pt x="91" y="24"/>
                  </a:cubicBezTo>
                  <a:cubicBezTo>
                    <a:pt x="91" y="23"/>
                    <a:pt x="91" y="23"/>
                    <a:pt x="91" y="23"/>
                  </a:cubicBezTo>
                  <a:cubicBezTo>
                    <a:pt x="91" y="24"/>
                    <a:pt x="91" y="24"/>
                    <a:pt x="91" y="24"/>
                  </a:cubicBezTo>
                  <a:cubicBezTo>
                    <a:pt x="91" y="24"/>
                    <a:pt x="91" y="24"/>
                    <a:pt x="91" y="24"/>
                  </a:cubicBezTo>
                  <a:cubicBezTo>
                    <a:pt x="92" y="24"/>
                    <a:pt x="92" y="24"/>
                    <a:pt x="92" y="24"/>
                  </a:cubicBezTo>
                  <a:cubicBezTo>
                    <a:pt x="92" y="24"/>
                    <a:pt x="92" y="24"/>
                    <a:pt x="92" y="24"/>
                  </a:cubicBezTo>
                  <a:cubicBezTo>
                    <a:pt x="93" y="25"/>
                    <a:pt x="93" y="25"/>
                    <a:pt x="93" y="25"/>
                  </a:cubicBezTo>
                  <a:cubicBezTo>
                    <a:pt x="93" y="25"/>
                    <a:pt x="93" y="25"/>
                    <a:pt x="93" y="25"/>
                  </a:cubicBezTo>
                  <a:cubicBezTo>
                    <a:pt x="95" y="25"/>
                    <a:pt x="95" y="25"/>
                    <a:pt x="95" y="25"/>
                  </a:cubicBezTo>
                  <a:cubicBezTo>
                    <a:pt x="96" y="25"/>
                    <a:pt x="96" y="25"/>
                    <a:pt x="96" y="25"/>
                  </a:cubicBezTo>
                  <a:cubicBezTo>
                    <a:pt x="97" y="25"/>
                    <a:pt x="97" y="25"/>
                    <a:pt x="97" y="25"/>
                  </a:cubicBezTo>
                  <a:cubicBezTo>
                    <a:pt x="97" y="25"/>
                    <a:pt x="97" y="25"/>
                    <a:pt x="97" y="25"/>
                  </a:cubicBezTo>
                  <a:cubicBezTo>
                    <a:pt x="98" y="25"/>
                    <a:pt x="98" y="25"/>
                    <a:pt x="98" y="25"/>
                  </a:cubicBezTo>
                  <a:cubicBezTo>
                    <a:pt x="98" y="25"/>
                    <a:pt x="98" y="25"/>
                    <a:pt x="98" y="25"/>
                  </a:cubicBezTo>
                  <a:cubicBezTo>
                    <a:pt x="98" y="25"/>
                    <a:pt x="98" y="25"/>
                    <a:pt x="98" y="25"/>
                  </a:cubicBezTo>
                  <a:cubicBezTo>
                    <a:pt x="98" y="26"/>
                    <a:pt x="98" y="26"/>
                    <a:pt x="98" y="26"/>
                  </a:cubicBezTo>
                  <a:cubicBezTo>
                    <a:pt x="98" y="26"/>
                    <a:pt x="98" y="26"/>
                    <a:pt x="98" y="26"/>
                  </a:cubicBezTo>
                  <a:cubicBezTo>
                    <a:pt x="99" y="26"/>
                    <a:pt x="99" y="26"/>
                    <a:pt x="99" y="26"/>
                  </a:cubicBezTo>
                  <a:cubicBezTo>
                    <a:pt x="99" y="26"/>
                    <a:pt x="99" y="26"/>
                    <a:pt x="99" y="26"/>
                  </a:cubicBezTo>
                  <a:cubicBezTo>
                    <a:pt x="99" y="25"/>
                    <a:pt x="99" y="25"/>
                    <a:pt x="99" y="25"/>
                  </a:cubicBezTo>
                  <a:cubicBezTo>
                    <a:pt x="100" y="25"/>
                    <a:pt x="100" y="25"/>
                    <a:pt x="100" y="25"/>
                  </a:cubicBezTo>
                  <a:cubicBezTo>
                    <a:pt x="102" y="24"/>
                    <a:pt x="102" y="24"/>
                    <a:pt x="102" y="24"/>
                  </a:cubicBezTo>
                  <a:cubicBezTo>
                    <a:pt x="103" y="22"/>
                    <a:pt x="103" y="22"/>
                    <a:pt x="103" y="22"/>
                  </a:cubicBezTo>
                  <a:cubicBezTo>
                    <a:pt x="104" y="21"/>
                    <a:pt x="104" y="21"/>
                    <a:pt x="104" y="21"/>
                  </a:cubicBezTo>
                  <a:cubicBezTo>
                    <a:pt x="104" y="21"/>
                    <a:pt x="104" y="21"/>
                    <a:pt x="104" y="21"/>
                  </a:cubicBezTo>
                  <a:cubicBezTo>
                    <a:pt x="104" y="21"/>
                    <a:pt x="104" y="21"/>
                    <a:pt x="104" y="21"/>
                  </a:cubicBezTo>
                  <a:cubicBezTo>
                    <a:pt x="104" y="20"/>
                    <a:pt x="104" y="20"/>
                    <a:pt x="104" y="20"/>
                  </a:cubicBezTo>
                  <a:cubicBezTo>
                    <a:pt x="104" y="20"/>
                    <a:pt x="104" y="20"/>
                    <a:pt x="104" y="20"/>
                  </a:cubicBezTo>
                  <a:cubicBezTo>
                    <a:pt x="104" y="20"/>
                    <a:pt x="104" y="20"/>
                    <a:pt x="104" y="20"/>
                  </a:cubicBezTo>
                  <a:cubicBezTo>
                    <a:pt x="104" y="20"/>
                    <a:pt x="104" y="20"/>
                    <a:pt x="104" y="20"/>
                  </a:cubicBezTo>
                  <a:cubicBezTo>
                    <a:pt x="104" y="20"/>
                    <a:pt x="104" y="20"/>
                    <a:pt x="104" y="20"/>
                  </a:cubicBezTo>
                  <a:cubicBezTo>
                    <a:pt x="104" y="20"/>
                    <a:pt x="104" y="20"/>
                    <a:pt x="104" y="20"/>
                  </a:cubicBezTo>
                  <a:cubicBezTo>
                    <a:pt x="104" y="20"/>
                    <a:pt x="104" y="20"/>
                    <a:pt x="104" y="20"/>
                  </a:cubicBezTo>
                  <a:cubicBezTo>
                    <a:pt x="106" y="19"/>
                    <a:pt x="106" y="19"/>
                    <a:pt x="106" y="19"/>
                  </a:cubicBezTo>
                  <a:cubicBezTo>
                    <a:pt x="106" y="19"/>
                    <a:pt x="106" y="19"/>
                    <a:pt x="106" y="19"/>
                  </a:cubicBezTo>
                  <a:cubicBezTo>
                    <a:pt x="106" y="18"/>
                    <a:pt x="106" y="18"/>
                    <a:pt x="106" y="18"/>
                  </a:cubicBezTo>
                  <a:cubicBezTo>
                    <a:pt x="106" y="18"/>
                    <a:pt x="106" y="18"/>
                    <a:pt x="106" y="18"/>
                  </a:cubicBezTo>
                  <a:cubicBezTo>
                    <a:pt x="106" y="17"/>
                    <a:pt x="106" y="17"/>
                    <a:pt x="106" y="17"/>
                  </a:cubicBezTo>
                  <a:cubicBezTo>
                    <a:pt x="106" y="17"/>
                    <a:pt x="106" y="17"/>
                    <a:pt x="106" y="17"/>
                  </a:cubicBezTo>
                  <a:cubicBezTo>
                    <a:pt x="106" y="17"/>
                    <a:pt x="106" y="17"/>
                    <a:pt x="106" y="17"/>
                  </a:cubicBezTo>
                  <a:cubicBezTo>
                    <a:pt x="106" y="17"/>
                    <a:pt x="106" y="17"/>
                    <a:pt x="106" y="17"/>
                  </a:cubicBezTo>
                  <a:cubicBezTo>
                    <a:pt x="106" y="17"/>
                    <a:pt x="106" y="17"/>
                    <a:pt x="106" y="17"/>
                  </a:cubicBezTo>
                  <a:cubicBezTo>
                    <a:pt x="106" y="17"/>
                    <a:pt x="106" y="17"/>
                    <a:pt x="106" y="17"/>
                  </a:cubicBezTo>
                  <a:cubicBezTo>
                    <a:pt x="106" y="17"/>
                    <a:pt x="106" y="17"/>
                    <a:pt x="106" y="17"/>
                  </a:cubicBezTo>
                  <a:cubicBezTo>
                    <a:pt x="106" y="16"/>
                    <a:pt x="106" y="16"/>
                    <a:pt x="106" y="16"/>
                  </a:cubicBezTo>
                  <a:cubicBezTo>
                    <a:pt x="106" y="16"/>
                    <a:pt x="106" y="16"/>
                    <a:pt x="106" y="16"/>
                  </a:cubicBezTo>
                  <a:cubicBezTo>
                    <a:pt x="106" y="16"/>
                    <a:pt x="106" y="16"/>
                    <a:pt x="106" y="16"/>
                  </a:cubicBezTo>
                  <a:cubicBezTo>
                    <a:pt x="106" y="16"/>
                    <a:pt x="106" y="16"/>
                    <a:pt x="106" y="16"/>
                  </a:cubicBezTo>
                  <a:cubicBezTo>
                    <a:pt x="106" y="16"/>
                    <a:pt x="106" y="16"/>
                    <a:pt x="106" y="16"/>
                  </a:cubicBezTo>
                  <a:cubicBezTo>
                    <a:pt x="106" y="16"/>
                    <a:pt x="106" y="16"/>
                    <a:pt x="106" y="16"/>
                  </a:cubicBezTo>
                  <a:cubicBezTo>
                    <a:pt x="108" y="14"/>
                    <a:pt x="108" y="14"/>
                    <a:pt x="108" y="14"/>
                  </a:cubicBezTo>
                  <a:cubicBezTo>
                    <a:pt x="108" y="14"/>
                    <a:pt x="108" y="14"/>
                    <a:pt x="108" y="14"/>
                  </a:cubicBezTo>
                  <a:cubicBezTo>
                    <a:pt x="109" y="14"/>
                    <a:pt x="109" y="14"/>
                    <a:pt x="109" y="14"/>
                  </a:cubicBezTo>
                  <a:cubicBezTo>
                    <a:pt x="110" y="13"/>
                    <a:pt x="110" y="13"/>
                    <a:pt x="110" y="13"/>
                  </a:cubicBezTo>
                  <a:cubicBezTo>
                    <a:pt x="110" y="13"/>
                    <a:pt x="110" y="13"/>
                    <a:pt x="110" y="13"/>
                  </a:cubicBezTo>
                  <a:cubicBezTo>
                    <a:pt x="110" y="13"/>
                    <a:pt x="110" y="13"/>
                    <a:pt x="110" y="13"/>
                  </a:cubicBezTo>
                  <a:cubicBezTo>
                    <a:pt x="110" y="13"/>
                    <a:pt x="110" y="13"/>
                    <a:pt x="110" y="13"/>
                  </a:cubicBezTo>
                  <a:cubicBezTo>
                    <a:pt x="110" y="12"/>
                    <a:pt x="110" y="12"/>
                    <a:pt x="110" y="12"/>
                  </a:cubicBezTo>
                  <a:cubicBezTo>
                    <a:pt x="110" y="12"/>
                    <a:pt x="110" y="12"/>
                    <a:pt x="110" y="12"/>
                  </a:cubicBezTo>
                  <a:cubicBezTo>
                    <a:pt x="110" y="12"/>
                    <a:pt x="110" y="12"/>
                    <a:pt x="110" y="12"/>
                  </a:cubicBezTo>
                  <a:cubicBezTo>
                    <a:pt x="111" y="11"/>
                    <a:pt x="111" y="11"/>
                    <a:pt x="111" y="11"/>
                  </a:cubicBezTo>
                  <a:cubicBezTo>
                    <a:pt x="111" y="11"/>
                    <a:pt x="111" y="11"/>
                    <a:pt x="111" y="11"/>
                  </a:cubicBezTo>
                  <a:cubicBezTo>
                    <a:pt x="111" y="11"/>
                    <a:pt x="111" y="11"/>
                    <a:pt x="111" y="11"/>
                  </a:cubicBezTo>
                  <a:cubicBezTo>
                    <a:pt x="111" y="11"/>
                    <a:pt x="111" y="11"/>
                    <a:pt x="111" y="11"/>
                  </a:cubicBezTo>
                  <a:cubicBezTo>
                    <a:pt x="111" y="11"/>
                    <a:pt x="111" y="11"/>
                    <a:pt x="111" y="11"/>
                  </a:cubicBezTo>
                  <a:cubicBezTo>
                    <a:pt x="111" y="10"/>
                    <a:pt x="111" y="10"/>
                    <a:pt x="111" y="10"/>
                  </a:cubicBezTo>
                  <a:cubicBezTo>
                    <a:pt x="111" y="10"/>
                    <a:pt x="111" y="10"/>
                    <a:pt x="111" y="10"/>
                  </a:cubicBezTo>
                  <a:close/>
                </a:path>
              </a:pathLst>
            </a:custGeom>
            <a:solidFill>
              <a:srgbClr val="B1B1B0"/>
            </a:solidFill>
            <a:ln w="635"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547" name="Freeform 14">
              <a:extLst>
                <a:ext uri="{FF2B5EF4-FFF2-40B4-BE49-F238E27FC236}">
                  <a16:creationId xmlns:a16="http://schemas.microsoft.com/office/drawing/2014/main" id="{2DAC2F54-A8C4-92AE-E97F-A7B95A63556A}"/>
                </a:ext>
              </a:extLst>
            </p:cNvPr>
            <p:cNvSpPr>
              <a:spLocks/>
            </p:cNvSpPr>
            <p:nvPr/>
          </p:nvSpPr>
          <p:spPr bwMode="gray">
            <a:xfrm>
              <a:off x="4710113" y="3341688"/>
              <a:ext cx="469900" cy="815975"/>
            </a:xfrm>
            <a:custGeom>
              <a:avLst/>
              <a:gdLst>
                <a:gd name="T0" fmla="*/ 80 w 88"/>
                <a:gd name="T1" fmla="*/ 38 h 153"/>
                <a:gd name="T2" fmla="*/ 76 w 88"/>
                <a:gd name="T3" fmla="*/ 30 h 153"/>
                <a:gd name="T4" fmla="*/ 68 w 88"/>
                <a:gd name="T5" fmla="*/ 16 h 153"/>
                <a:gd name="T6" fmla="*/ 59 w 88"/>
                <a:gd name="T7" fmla="*/ 1 h 153"/>
                <a:gd name="T8" fmla="*/ 52 w 88"/>
                <a:gd name="T9" fmla="*/ 4 h 153"/>
                <a:gd name="T10" fmla="*/ 37 w 88"/>
                <a:gd name="T11" fmla="*/ 19 h 153"/>
                <a:gd name="T12" fmla="*/ 35 w 88"/>
                <a:gd name="T13" fmla="*/ 30 h 153"/>
                <a:gd name="T14" fmla="*/ 36 w 88"/>
                <a:gd name="T15" fmla="*/ 38 h 153"/>
                <a:gd name="T16" fmla="*/ 32 w 88"/>
                <a:gd name="T17" fmla="*/ 50 h 153"/>
                <a:gd name="T18" fmla="*/ 24 w 88"/>
                <a:gd name="T19" fmla="*/ 55 h 153"/>
                <a:gd name="T20" fmla="*/ 15 w 88"/>
                <a:gd name="T21" fmla="*/ 62 h 153"/>
                <a:gd name="T22" fmla="*/ 0 w 88"/>
                <a:gd name="T23" fmla="*/ 66 h 153"/>
                <a:gd name="T24" fmla="*/ 1 w 88"/>
                <a:gd name="T25" fmla="*/ 70 h 153"/>
                <a:gd name="T26" fmla="*/ 3 w 88"/>
                <a:gd name="T27" fmla="*/ 76 h 153"/>
                <a:gd name="T28" fmla="*/ 3 w 88"/>
                <a:gd name="T29" fmla="*/ 80 h 153"/>
                <a:gd name="T30" fmla="*/ 4 w 88"/>
                <a:gd name="T31" fmla="*/ 85 h 153"/>
                <a:gd name="T32" fmla="*/ 5 w 88"/>
                <a:gd name="T33" fmla="*/ 89 h 153"/>
                <a:gd name="T34" fmla="*/ 6 w 88"/>
                <a:gd name="T35" fmla="*/ 93 h 153"/>
                <a:gd name="T36" fmla="*/ 8 w 88"/>
                <a:gd name="T37" fmla="*/ 93 h 153"/>
                <a:gd name="T38" fmla="*/ 13 w 88"/>
                <a:gd name="T39" fmla="*/ 144 h 153"/>
                <a:gd name="T40" fmla="*/ 14 w 88"/>
                <a:gd name="T41" fmla="*/ 147 h 153"/>
                <a:gd name="T42" fmla="*/ 11 w 88"/>
                <a:gd name="T43" fmla="*/ 150 h 153"/>
                <a:gd name="T44" fmla="*/ 11 w 88"/>
                <a:gd name="T45" fmla="*/ 151 h 153"/>
                <a:gd name="T46" fmla="*/ 15 w 88"/>
                <a:gd name="T47" fmla="*/ 150 h 153"/>
                <a:gd name="T48" fmla="*/ 17 w 88"/>
                <a:gd name="T49" fmla="*/ 148 h 153"/>
                <a:gd name="T50" fmla="*/ 18 w 88"/>
                <a:gd name="T51" fmla="*/ 146 h 153"/>
                <a:gd name="T52" fmla="*/ 19 w 88"/>
                <a:gd name="T53" fmla="*/ 146 h 153"/>
                <a:gd name="T54" fmla="*/ 23 w 88"/>
                <a:gd name="T55" fmla="*/ 145 h 153"/>
                <a:gd name="T56" fmla="*/ 32 w 88"/>
                <a:gd name="T57" fmla="*/ 140 h 153"/>
                <a:gd name="T58" fmla="*/ 34 w 88"/>
                <a:gd name="T59" fmla="*/ 139 h 153"/>
                <a:gd name="T60" fmla="*/ 32 w 88"/>
                <a:gd name="T61" fmla="*/ 141 h 153"/>
                <a:gd name="T62" fmla="*/ 31 w 88"/>
                <a:gd name="T63" fmla="*/ 143 h 153"/>
                <a:gd name="T64" fmla="*/ 34 w 88"/>
                <a:gd name="T65" fmla="*/ 140 h 153"/>
                <a:gd name="T66" fmla="*/ 36 w 88"/>
                <a:gd name="T67" fmla="*/ 139 h 153"/>
                <a:gd name="T68" fmla="*/ 38 w 88"/>
                <a:gd name="T69" fmla="*/ 138 h 153"/>
                <a:gd name="T70" fmla="*/ 36 w 88"/>
                <a:gd name="T71" fmla="*/ 136 h 153"/>
                <a:gd name="T72" fmla="*/ 36 w 88"/>
                <a:gd name="T73" fmla="*/ 134 h 153"/>
                <a:gd name="T74" fmla="*/ 44 w 88"/>
                <a:gd name="T75" fmla="*/ 127 h 153"/>
                <a:gd name="T76" fmla="*/ 51 w 88"/>
                <a:gd name="T77" fmla="*/ 121 h 153"/>
                <a:gd name="T78" fmla="*/ 51 w 88"/>
                <a:gd name="T79" fmla="*/ 127 h 153"/>
                <a:gd name="T80" fmla="*/ 56 w 88"/>
                <a:gd name="T81" fmla="*/ 122 h 153"/>
                <a:gd name="T82" fmla="*/ 63 w 88"/>
                <a:gd name="T83" fmla="*/ 120 h 153"/>
                <a:gd name="T84" fmla="*/ 60 w 88"/>
                <a:gd name="T85" fmla="*/ 109 h 153"/>
                <a:gd name="T86" fmla="*/ 60 w 88"/>
                <a:gd name="T87" fmla="*/ 114 h 153"/>
                <a:gd name="T88" fmla="*/ 53 w 88"/>
                <a:gd name="T89" fmla="*/ 112 h 153"/>
                <a:gd name="T90" fmla="*/ 47 w 88"/>
                <a:gd name="T91" fmla="*/ 106 h 153"/>
                <a:gd name="T92" fmla="*/ 47 w 88"/>
                <a:gd name="T93" fmla="*/ 100 h 153"/>
                <a:gd name="T94" fmla="*/ 48 w 88"/>
                <a:gd name="T95" fmla="*/ 91 h 153"/>
                <a:gd name="T96" fmla="*/ 50 w 88"/>
                <a:gd name="T97" fmla="*/ 83 h 153"/>
                <a:gd name="T98" fmla="*/ 54 w 88"/>
                <a:gd name="T99" fmla="*/ 78 h 153"/>
                <a:gd name="T100" fmla="*/ 61 w 88"/>
                <a:gd name="T101" fmla="*/ 72 h 153"/>
                <a:gd name="T102" fmla="*/ 68 w 88"/>
                <a:gd name="T103" fmla="*/ 66 h 153"/>
                <a:gd name="T104" fmla="*/ 73 w 88"/>
                <a:gd name="T105" fmla="*/ 62 h 153"/>
                <a:gd name="T106" fmla="*/ 79 w 88"/>
                <a:gd name="T107" fmla="*/ 54 h 153"/>
                <a:gd name="T108" fmla="*/ 84 w 88"/>
                <a:gd name="T109" fmla="*/ 50 h 153"/>
                <a:gd name="T110" fmla="*/ 15 w 88"/>
                <a:gd name="T111" fmla="*/ 144 h 153"/>
                <a:gd name="T112" fmla="*/ 24 w 88"/>
                <a:gd name="T113" fmla="*/ 140 h 153"/>
                <a:gd name="T114" fmla="*/ 20 w 88"/>
                <a:gd name="T115" fmla="*/ 140 h 153"/>
                <a:gd name="T116" fmla="*/ 27 w 88"/>
                <a:gd name="T117" fmla="*/ 136 h 153"/>
                <a:gd name="T118" fmla="*/ 64 w 88"/>
                <a:gd name="T119" fmla="*/ 64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153">
                  <a:moveTo>
                    <a:pt x="88" y="43"/>
                  </a:moveTo>
                  <a:cubicBezTo>
                    <a:pt x="88" y="43"/>
                    <a:pt x="88" y="43"/>
                    <a:pt x="88" y="43"/>
                  </a:cubicBezTo>
                  <a:cubicBezTo>
                    <a:pt x="87" y="43"/>
                    <a:pt x="87" y="43"/>
                    <a:pt x="87" y="43"/>
                  </a:cubicBezTo>
                  <a:cubicBezTo>
                    <a:pt x="87" y="42"/>
                    <a:pt x="87" y="42"/>
                    <a:pt x="86" y="42"/>
                  </a:cubicBezTo>
                  <a:cubicBezTo>
                    <a:pt x="86" y="42"/>
                    <a:pt x="86" y="42"/>
                    <a:pt x="86" y="42"/>
                  </a:cubicBezTo>
                  <a:cubicBezTo>
                    <a:pt x="86" y="41"/>
                    <a:pt x="86" y="41"/>
                    <a:pt x="86" y="41"/>
                  </a:cubicBezTo>
                  <a:cubicBezTo>
                    <a:pt x="86" y="41"/>
                    <a:pt x="86" y="40"/>
                    <a:pt x="85" y="40"/>
                  </a:cubicBezTo>
                  <a:cubicBezTo>
                    <a:pt x="85" y="40"/>
                    <a:pt x="85" y="39"/>
                    <a:pt x="85" y="39"/>
                  </a:cubicBezTo>
                  <a:cubicBezTo>
                    <a:pt x="85" y="39"/>
                    <a:pt x="85" y="39"/>
                    <a:pt x="84" y="39"/>
                  </a:cubicBezTo>
                  <a:cubicBezTo>
                    <a:pt x="84" y="38"/>
                    <a:pt x="84" y="38"/>
                    <a:pt x="84" y="38"/>
                  </a:cubicBezTo>
                  <a:cubicBezTo>
                    <a:pt x="84" y="38"/>
                    <a:pt x="83" y="37"/>
                    <a:pt x="83" y="37"/>
                  </a:cubicBezTo>
                  <a:cubicBezTo>
                    <a:pt x="82" y="37"/>
                    <a:pt x="82" y="37"/>
                    <a:pt x="82" y="37"/>
                  </a:cubicBezTo>
                  <a:cubicBezTo>
                    <a:pt x="82" y="37"/>
                    <a:pt x="82" y="37"/>
                    <a:pt x="81" y="37"/>
                  </a:cubicBezTo>
                  <a:cubicBezTo>
                    <a:pt x="81" y="37"/>
                    <a:pt x="81" y="37"/>
                    <a:pt x="81" y="37"/>
                  </a:cubicBezTo>
                  <a:cubicBezTo>
                    <a:pt x="80" y="37"/>
                    <a:pt x="80" y="37"/>
                    <a:pt x="80" y="38"/>
                  </a:cubicBezTo>
                  <a:cubicBezTo>
                    <a:pt x="80" y="38"/>
                    <a:pt x="80" y="38"/>
                    <a:pt x="80" y="38"/>
                  </a:cubicBezTo>
                  <a:cubicBezTo>
                    <a:pt x="80" y="38"/>
                    <a:pt x="79" y="37"/>
                    <a:pt x="79" y="37"/>
                  </a:cubicBezTo>
                  <a:cubicBezTo>
                    <a:pt x="79" y="37"/>
                    <a:pt x="79" y="37"/>
                    <a:pt x="79" y="37"/>
                  </a:cubicBezTo>
                  <a:cubicBezTo>
                    <a:pt x="79" y="37"/>
                    <a:pt x="79" y="37"/>
                    <a:pt x="79" y="37"/>
                  </a:cubicBezTo>
                  <a:cubicBezTo>
                    <a:pt x="79" y="37"/>
                    <a:pt x="79" y="37"/>
                    <a:pt x="79" y="37"/>
                  </a:cubicBezTo>
                  <a:cubicBezTo>
                    <a:pt x="79" y="37"/>
                    <a:pt x="79" y="36"/>
                    <a:pt x="79" y="36"/>
                  </a:cubicBezTo>
                  <a:cubicBezTo>
                    <a:pt x="79" y="35"/>
                    <a:pt x="79" y="35"/>
                    <a:pt x="79" y="35"/>
                  </a:cubicBezTo>
                  <a:cubicBezTo>
                    <a:pt x="78" y="35"/>
                    <a:pt x="78" y="35"/>
                    <a:pt x="78" y="35"/>
                  </a:cubicBezTo>
                  <a:cubicBezTo>
                    <a:pt x="78" y="34"/>
                    <a:pt x="78" y="34"/>
                    <a:pt x="78" y="34"/>
                  </a:cubicBezTo>
                  <a:cubicBezTo>
                    <a:pt x="78" y="34"/>
                    <a:pt x="78" y="34"/>
                    <a:pt x="78" y="34"/>
                  </a:cubicBezTo>
                  <a:cubicBezTo>
                    <a:pt x="78" y="33"/>
                    <a:pt x="78" y="33"/>
                    <a:pt x="78" y="33"/>
                  </a:cubicBezTo>
                  <a:cubicBezTo>
                    <a:pt x="78" y="33"/>
                    <a:pt x="78" y="33"/>
                    <a:pt x="78" y="33"/>
                  </a:cubicBezTo>
                  <a:cubicBezTo>
                    <a:pt x="78" y="32"/>
                    <a:pt x="78" y="32"/>
                    <a:pt x="78" y="32"/>
                  </a:cubicBezTo>
                  <a:cubicBezTo>
                    <a:pt x="78" y="32"/>
                    <a:pt x="78" y="32"/>
                    <a:pt x="78" y="31"/>
                  </a:cubicBezTo>
                  <a:cubicBezTo>
                    <a:pt x="78" y="31"/>
                    <a:pt x="78" y="31"/>
                    <a:pt x="78" y="31"/>
                  </a:cubicBezTo>
                  <a:cubicBezTo>
                    <a:pt x="77" y="31"/>
                    <a:pt x="77" y="30"/>
                    <a:pt x="76" y="30"/>
                  </a:cubicBezTo>
                  <a:cubicBezTo>
                    <a:pt x="76" y="30"/>
                    <a:pt x="76" y="30"/>
                    <a:pt x="76" y="30"/>
                  </a:cubicBezTo>
                  <a:cubicBezTo>
                    <a:pt x="76" y="30"/>
                    <a:pt x="76" y="30"/>
                    <a:pt x="76" y="30"/>
                  </a:cubicBezTo>
                  <a:cubicBezTo>
                    <a:pt x="75" y="30"/>
                    <a:pt x="75" y="30"/>
                    <a:pt x="75" y="31"/>
                  </a:cubicBezTo>
                  <a:cubicBezTo>
                    <a:pt x="75" y="31"/>
                    <a:pt x="75" y="31"/>
                    <a:pt x="75" y="31"/>
                  </a:cubicBezTo>
                  <a:cubicBezTo>
                    <a:pt x="74" y="31"/>
                    <a:pt x="74" y="31"/>
                    <a:pt x="74" y="31"/>
                  </a:cubicBezTo>
                  <a:cubicBezTo>
                    <a:pt x="74" y="31"/>
                    <a:pt x="74" y="30"/>
                    <a:pt x="73" y="30"/>
                  </a:cubicBezTo>
                  <a:cubicBezTo>
                    <a:pt x="73" y="30"/>
                    <a:pt x="73" y="30"/>
                    <a:pt x="72" y="30"/>
                  </a:cubicBezTo>
                  <a:cubicBezTo>
                    <a:pt x="72" y="30"/>
                    <a:pt x="72" y="30"/>
                    <a:pt x="72" y="30"/>
                  </a:cubicBezTo>
                  <a:cubicBezTo>
                    <a:pt x="72" y="30"/>
                    <a:pt x="72" y="30"/>
                    <a:pt x="72" y="30"/>
                  </a:cubicBezTo>
                  <a:cubicBezTo>
                    <a:pt x="72" y="28"/>
                    <a:pt x="72" y="28"/>
                    <a:pt x="72" y="28"/>
                  </a:cubicBezTo>
                  <a:cubicBezTo>
                    <a:pt x="72" y="28"/>
                    <a:pt x="72" y="28"/>
                    <a:pt x="72" y="28"/>
                  </a:cubicBezTo>
                  <a:cubicBezTo>
                    <a:pt x="72" y="26"/>
                    <a:pt x="72" y="26"/>
                    <a:pt x="72" y="26"/>
                  </a:cubicBezTo>
                  <a:cubicBezTo>
                    <a:pt x="72" y="26"/>
                    <a:pt x="71" y="26"/>
                    <a:pt x="71" y="26"/>
                  </a:cubicBezTo>
                  <a:cubicBezTo>
                    <a:pt x="71" y="26"/>
                    <a:pt x="71" y="26"/>
                    <a:pt x="71" y="26"/>
                  </a:cubicBezTo>
                  <a:cubicBezTo>
                    <a:pt x="70" y="24"/>
                    <a:pt x="70" y="24"/>
                    <a:pt x="70" y="24"/>
                  </a:cubicBezTo>
                  <a:cubicBezTo>
                    <a:pt x="70" y="21"/>
                    <a:pt x="70" y="21"/>
                    <a:pt x="70" y="21"/>
                  </a:cubicBezTo>
                  <a:cubicBezTo>
                    <a:pt x="68" y="16"/>
                    <a:pt x="68" y="16"/>
                    <a:pt x="68" y="16"/>
                  </a:cubicBezTo>
                  <a:cubicBezTo>
                    <a:pt x="67" y="13"/>
                    <a:pt x="67" y="13"/>
                    <a:pt x="67" y="13"/>
                  </a:cubicBezTo>
                  <a:cubicBezTo>
                    <a:pt x="65" y="6"/>
                    <a:pt x="65" y="6"/>
                    <a:pt x="65" y="6"/>
                  </a:cubicBezTo>
                  <a:cubicBezTo>
                    <a:pt x="65" y="5"/>
                    <a:pt x="65" y="5"/>
                    <a:pt x="65" y="5"/>
                  </a:cubicBezTo>
                  <a:cubicBezTo>
                    <a:pt x="65" y="5"/>
                    <a:pt x="65" y="5"/>
                    <a:pt x="65" y="5"/>
                  </a:cubicBezTo>
                  <a:cubicBezTo>
                    <a:pt x="65" y="5"/>
                    <a:pt x="64" y="4"/>
                    <a:pt x="64" y="4"/>
                  </a:cubicBezTo>
                  <a:cubicBezTo>
                    <a:pt x="63" y="4"/>
                    <a:pt x="63" y="4"/>
                    <a:pt x="63" y="4"/>
                  </a:cubicBezTo>
                  <a:cubicBezTo>
                    <a:pt x="63" y="4"/>
                    <a:pt x="63" y="4"/>
                    <a:pt x="63" y="4"/>
                  </a:cubicBezTo>
                  <a:cubicBezTo>
                    <a:pt x="63" y="4"/>
                    <a:pt x="62" y="3"/>
                    <a:pt x="62" y="3"/>
                  </a:cubicBezTo>
                  <a:cubicBezTo>
                    <a:pt x="62" y="3"/>
                    <a:pt x="62" y="3"/>
                    <a:pt x="62" y="3"/>
                  </a:cubicBezTo>
                  <a:cubicBezTo>
                    <a:pt x="62" y="3"/>
                    <a:pt x="62" y="3"/>
                    <a:pt x="62" y="3"/>
                  </a:cubicBezTo>
                  <a:cubicBezTo>
                    <a:pt x="61" y="2"/>
                    <a:pt x="61" y="2"/>
                    <a:pt x="61" y="2"/>
                  </a:cubicBezTo>
                  <a:cubicBezTo>
                    <a:pt x="61" y="2"/>
                    <a:pt x="61" y="2"/>
                    <a:pt x="61" y="2"/>
                  </a:cubicBezTo>
                  <a:cubicBezTo>
                    <a:pt x="60" y="2"/>
                    <a:pt x="60" y="2"/>
                    <a:pt x="60" y="2"/>
                  </a:cubicBezTo>
                  <a:cubicBezTo>
                    <a:pt x="60" y="2"/>
                    <a:pt x="60" y="2"/>
                    <a:pt x="60" y="2"/>
                  </a:cubicBezTo>
                  <a:cubicBezTo>
                    <a:pt x="60" y="2"/>
                    <a:pt x="60" y="2"/>
                    <a:pt x="60" y="2"/>
                  </a:cubicBezTo>
                  <a:cubicBezTo>
                    <a:pt x="59" y="1"/>
                    <a:pt x="59" y="1"/>
                    <a:pt x="59" y="1"/>
                  </a:cubicBezTo>
                  <a:cubicBezTo>
                    <a:pt x="59" y="1"/>
                    <a:pt x="59" y="1"/>
                    <a:pt x="59" y="1"/>
                  </a:cubicBezTo>
                  <a:cubicBezTo>
                    <a:pt x="58" y="1"/>
                    <a:pt x="58" y="1"/>
                    <a:pt x="58" y="1"/>
                  </a:cubicBezTo>
                  <a:cubicBezTo>
                    <a:pt x="58" y="1"/>
                    <a:pt x="58" y="1"/>
                    <a:pt x="58" y="1"/>
                  </a:cubicBezTo>
                  <a:cubicBezTo>
                    <a:pt x="57" y="1"/>
                    <a:pt x="57" y="0"/>
                    <a:pt x="56" y="1"/>
                  </a:cubicBezTo>
                  <a:cubicBezTo>
                    <a:pt x="56" y="1"/>
                    <a:pt x="56" y="1"/>
                    <a:pt x="56" y="1"/>
                  </a:cubicBezTo>
                  <a:cubicBezTo>
                    <a:pt x="55" y="1"/>
                    <a:pt x="55" y="1"/>
                    <a:pt x="55" y="1"/>
                  </a:cubicBezTo>
                  <a:cubicBezTo>
                    <a:pt x="55" y="2"/>
                    <a:pt x="54" y="2"/>
                    <a:pt x="54" y="2"/>
                  </a:cubicBezTo>
                  <a:cubicBezTo>
                    <a:pt x="54" y="3"/>
                    <a:pt x="54" y="3"/>
                    <a:pt x="54" y="3"/>
                  </a:cubicBezTo>
                  <a:cubicBezTo>
                    <a:pt x="54" y="3"/>
                    <a:pt x="54" y="3"/>
                    <a:pt x="54" y="3"/>
                  </a:cubicBezTo>
                  <a:cubicBezTo>
                    <a:pt x="54" y="3"/>
                    <a:pt x="54" y="3"/>
                    <a:pt x="54" y="3"/>
                  </a:cubicBezTo>
                  <a:cubicBezTo>
                    <a:pt x="53" y="3"/>
                    <a:pt x="53" y="3"/>
                    <a:pt x="53" y="3"/>
                  </a:cubicBezTo>
                  <a:cubicBezTo>
                    <a:pt x="53" y="3"/>
                    <a:pt x="53" y="3"/>
                    <a:pt x="53" y="3"/>
                  </a:cubicBezTo>
                  <a:cubicBezTo>
                    <a:pt x="53" y="3"/>
                    <a:pt x="53" y="3"/>
                    <a:pt x="53" y="3"/>
                  </a:cubicBezTo>
                  <a:cubicBezTo>
                    <a:pt x="53" y="3"/>
                    <a:pt x="53" y="3"/>
                    <a:pt x="53" y="3"/>
                  </a:cubicBezTo>
                  <a:cubicBezTo>
                    <a:pt x="52" y="4"/>
                    <a:pt x="52" y="4"/>
                    <a:pt x="52" y="4"/>
                  </a:cubicBezTo>
                  <a:cubicBezTo>
                    <a:pt x="52" y="4"/>
                    <a:pt x="52" y="4"/>
                    <a:pt x="52" y="4"/>
                  </a:cubicBezTo>
                  <a:cubicBezTo>
                    <a:pt x="52" y="4"/>
                    <a:pt x="52" y="4"/>
                    <a:pt x="52" y="4"/>
                  </a:cubicBezTo>
                  <a:cubicBezTo>
                    <a:pt x="52" y="4"/>
                    <a:pt x="51" y="5"/>
                    <a:pt x="51" y="5"/>
                  </a:cubicBezTo>
                  <a:cubicBezTo>
                    <a:pt x="51" y="5"/>
                    <a:pt x="51" y="5"/>
                    <a:pt x="51" y="5"/>
                  </a:cubicBezTo>
                  <a:cubicBezTo>
                    <a:pt x="49" y="7"/>
                    <a:pt x="49" y="7"/>
                    <a:pt x="49" y="7"/>
                  </a:cubicBezTo>
                  <a:cubicBezTo>
                    <a:pt x="48" y="6"/>
                    <a:pt x="48" y="6"/>
                    <a:pt x="48" y="6"/>
                  </a:cubicBezTo>
                  <a:cubicBezTo>
                    <a:pt x="48" y="6"/>
                    <a:pt x="48" y="6"/>
                    <a:pt x="47" y="6"/>
                  </a:cubicBezTo>
                  <a:cubicBezTo>
                    <a:pt x="47" y="5"/>
                    <a:pt x="47" y="5"/>
                    <a:pt x="47" y="5"/>
                  </a:cubicBezTo>
                  <a:cubicBezTo>
                    <a:pt x="47" y="4"/>
                    <a:pt x="47" y="4"/>
                    <a:pt x="47" y="4"/>
                  </a:cubicBezTo>
                  <a:cubicBezTo>
                    <a:pt x="47" y="4"/>
                    <a:pt x="47" y="3"/>
                    <a:pt x="46" y="3"/>
                  </a:cubicBezTo>
                  <a:cubicBezTo>
                    <a:pt x="44" y="3"/>
                    <a:pt x="44" y="3"/>
                    <a:pt x="44" y="3"/>
                  </a:cubicBezTo>
                  <a:cubicBezTo>
                    <a:pt x="43" y="3"/>
                    <a:pt x="43" y="3"/>
                    <a:pt x="43" y="3"/>
                  </a:cubicBezTo>
                  <a:cubicBezTo>
                    <a:pt x="42" y="3"/>
                    <a:pt x="42" y="4"/>
                    <a:pt x="42" y="4"/>
                  </a:cubicBezTo>
                  <a:cubicBezTo>
                    <a:pt x="42" y="6"/>
                    <a:pt x="42" y="6"/>
                    <a:pt x="42" y="6"/>
                  </a:cubicBezTo>
                  <a:cubicBezTo>
                    <a:pt x="39" y="12"/>
                    <a:pt x="39" y="12"/>
                    <a:pt x="39" y="12"/>
                  </a:cubicBezTo>
                  <a:cubicBezTo>
                    <a:pt x="39" y="15"/>
                    <a:pt x="39" y="15"/>
                    <a:pt x="39" y="15"/>
                  </a:cubicBezTo>
                  <a:cubicBezTo>
                    <a:pt x="37" y="19"/>
                    <a:pt x="37" y="19"/>
                    <a:pt x="37" y="19"/>
                  </a:cubicBezTo>
                  <a:cubicBezTo>
                    <a:pt x="37" y="21"/>
                    <a:pt x="37" y="21"/>
                    <a:pt x="37" y="21"/>
                  </a:cubicBezTo>
                  <a:cubicBezTo>
                    <a:pt x="37" y="21"/>
                    <a:pt x="37" y="21"/>
                    <a:pt x="37" y="21"/>
                  </a:cubicBezTo>
                  <a:cubicBezTo>
                    <a:pt x="36" y="21"/>
                    <a:pt x="36" y="21"/>
                    <a:pt x="36" y="22"/>
                  </a:cubicBezTo>
                  <a:cubicBezTo>
                    <a:pt x="36" y="22"/>
                    <a:pt x="36" y="22"/>
                    <a:pt x="36" y="22"/>
                  </a:cubicBezTo>
                  <a:cubicBezTo>
                    <a:pt x="36" y="23"/>
                    <a:pt x="36" y="23"/>
                    <a:pt x="36" y="23"/>
                  </a:cubicBezTo>
                  <a:cubicBezTo>
                    <a:pt x="37" y="23"/>
                    <a:pt x="37" y="23"/>
                    <a:pt x="37" y="23"/>
                  </a:cubicBezTo>
                  <a:cubicBezTo>
                    <a:pt x="37" y="25"/>
                    <a:pt x="37" y="25"/>
                    <a:pt x="37" y="25"/>
                  </a:cubicBezTo>
                  <a:cubicBezTo>
                    <a:pt x="37" y="27"/>
                    <a:pt x="37" y="27"/>
                    <a:pt x="37" y="27"/>
                  </a:cubicBezTo>
                  <a:cubicBezTo>
                    <a:pt x="37" y="27"/>
                    <a:pt x="37" y="27"/>
                    <a:pt x="37" y="27"/>
                  </a:cubicBezTo>
                  <a:cubicBezTo>
                    <a:pt x="37" y="27"/>
                    <a:pt x="37" y="27"/>
                    <a:pt x="37" y="27"/>
                  </a:cubicBezTo>
                  <a:cubicBezTo>
                    <a:pt x="36" y="28"/>
                    <a:pt x="36" y="28"/>
                    <a:pt x="36" y="28"/>
                  </a:cubicBezTo>
                  <a:cubicBezTo>
                    <a:pt x="36" y="28"/>
                    <a:pt x="36" y="28"/>
                    <a:pt x="36" y="28"/>
                  </a:cubicBezTo>
                  <a:cubicBezTo>
                    <a:pt x="36" y="28"/>
                    <a:pt x="35" y="28"/>
                    <a:pt x="35" y="29"/>
                  </a:cubicBezTo>
                  <a:cubicBezTo>
                    <a:pt x="35" y="29"/>
                    <a:pt x="35" y="29"/>
                    <a:pt x="35" y="29"/>
                  </a:cubicBezTo>
                  <a:cubicBezTo>
                    <a:pt x="35" y="29"/>
                    <a:pt x="35" y="29"/>
                    <a:pt x="35" y="29"/>
                  </a:cubicBezTo>
                  <a:cubicBezTo>
                    <a:pt x="35" y="29"/>
                    <a:pt x="35" y="29"/>
                    <a:pt x="35" y="30"/>
                  </a:cubicBezTo>
                  <a:cubicBezTo>
                    <a:pt x="35" y="31"/>
                    <a:pt x="35" y="31"/>
                    <a:pt x="35" y="31"/>
                  </a:cubicBezTo>
                  <a:cubicBezTo>
                    <a:pt x="35" y="31"/>
                    <a:pt x="35" y="31"/>
                    <a:pt x="35" y="31"/>
                  </a:cubicBezTo>
                  <a:cubicBezTo>
                    <a:pt x="35" y="32"/>
                    <a:pt x="35" y="32"/>
                    <a:pt x="35" y="32"/>
                  </a:cubicBezTo>
                  <a:cubicBezTo>
                    <a:pt x="35" y="32"/>
                    <a:pt x="35" y="33"/>
                    <a:pt x="35" y="33"/>
                  </a:cubicBezTo>
                  <a:cubicBezTo>
                    <a:pt x="36" y="33"/>
                    <a:pt x="36" y="33"/>
                    <a:pt x="36" y="33"/>
                  </a:cubicBezTo>
                  <a:cubicBezTo>
                    <a:pt x="36" y="33"/>
                    <a:pt x="36" y="33"/>
                    <a:pt x="36" y="33"/>
                  </a:cubicBezTo>
                  <a:cubicBezTo>
                    <a:pt x="36" y="34"/>
                    <a:pt x="36" y="34"/>
                    <a:pt x="36" y="34"/>
                  </a:cubicBezTo>
                  <a:cubicBezTo>
                    <a:pt x="36" y="34"/>
                    <a:pt x="35" y="34"/>
                    <a:pt x="35" y="34"/>
                  </a:cubicBezTo>
                  <a:cubicBezTo>
                    <a:pt x="35" y="35"/>
                    <a:pt x="35" y="35"/>
                    <a:pt x="35" y="35"/>
                  </a:cubicBezTo>
                  <a:cubicBezTo>
                    <a:pt x="35" y="35"/>
                    <a:pt x="35" y="35"/>
                    <a:pt x="35" y="35"/>
                  </a:cubicBezTo>
                  <a:cubicBezTo>
                    <a:pt x="35" y="35"/>
                    <a:pt x="35" y="35"/>
                    <a:pt x="36" y="36"/>
                  </a:cubicBezTo>
                  <a:cubicBezTo>
                    <a:pt x="36" y="36"/>
                    <a:pt x="36" y="36"/>
                    <a:pt x="36" y="36"/>
                  </a:cubicBezTo>
                  <a:cubicBezTo>
                    <a:pt x="36" y="36"/>
                    <a:pt x="36" y="36"/>
                    <a:pt x="36" y="36"/>
                  </a:cubicBezTo>
                  <a:cubicBezTo>
                    <a:pt x="36" y="37"/>
                    <a:pt x="36" y="37"/>
                    <a:pt x="36" y="37"/>
                  </a:cubicBezTo>
                  <a:cubicBezTo>
                    <a:pt x="36" y="37"/>
                    <a:pt x="36" y="37"/>
                    <a:pt x="37" y="38"/>
                  </a:cubicBezTo>
                  <a:cubicBezTo>
                    <a:pt x="36" y="38"/>
                    <a:pt x="36" y="38"/>
                    <a:pt x="36" y="38"/>
                  </a:cubicBezTo>
                  <a:cubicBezTo>
                    <a:pt x="36" y="39"/>
                    <a:pt x="36" y="39"/>
                    <a:pt x="36" y="39"/>
                  </a:cubicBezTo>
                  <a:cubicBezTo>
                    <a:pt x="36" y="39"/>
                    <a:pt x="35" y="39"/>
                    <a:pt x="35" y="39"/>
                  </a:cubicBezTo>
                  <a:cubicBezTo>
                    <a:pt x="35" y="40"/>
                    <a:pt x="35" y="40"/>
                    <a:pt x="35" y="40"/>
                  </a:cubicBezTo>
                  <a:cubicBezTo>
                    <a:pt x="35" y="41"/>
                    <a:pt x="36" y="41"/>
                    <a:pt x="36" y="41"/>
                  </a:cubicBezTo>
                  <a:cubicBezTo>
                    <a:pt x="36" y="41"/>
                    <a:pt x="36" y="41"/>
                    <a:pt x="36" y="41"/>
                  </a:cubicBezTo>
                  <a:cubicBezTo>
                    <a:pt x="35" y="41"/>
                    <a:pt x="35" y="41"/>
                    <a:pt x="35" y="41"/>
                  </a:cubicBezTo>
                  <a:cubicBezTo>
                    <a:pt x="35" y="42"/>
                    <a:pt x="35" y="42"/>
                    <a:pt x="35" y="42"/>
                  </a:cubicBezTo>
                  <a:cubicBezTo>
                    <a:pt x="35" y="42"/>
                    <a:pt x="35" y="42"/>
                    <a:pt x="35" y="42"/>
                  </a:cubicBezTo>
                  <a:cubicBezTo>
                    <a:pt x="34" y="43"/>
                    <a:pt x="34" y="43"/>
                    <a:pt x="34" y="43"/>
                  </a:cubicBezTo>
                  <a:cubicBezTo>
                    <a:pt x="34" y="43"/>
                    <a:pt x="34" y="43"/>
                    <a:pt x="34" y="43"/>
                  </a:cubicBezTo>
                  <a:cubicBezTo>
                    <a:pt x="33" y="45"/>
                    <a:pt x="33" y="45"/>
                    <a:pt x="33" y="45"/>
                  </a:cubicBezTo>
                  <a:cubicBezTo>
                    <a:pt x="33" y="47"/>
                    <a:pt x="33" y="47"/>
                    <a:pt x="33" y="47"/>
                  </a:cubicBezTo>
                  <a:cubicBezTo>
                    <a:pt x="33" y="47"/>
                    <a:pt x="33" y="47"/>
                    <a:pt x="33" y="47"/>
                  </a:cubicBezTo>
                  <a:cubicBezTo>
                    <a:pt x="33" y="47"/>
                    <a:pt x="33" y="48"/>
                    <a:pt x="33" y="48"/>
                  </a:cubicBezTo>
                  <a:cubicBezTo>
                    <a:pt x="32" y="48"/>
                    <a:pt x="32" y="48"/>
                    <a:pt x="32" y="49"/>
                  </a:cubicBezTo>
                  <a:cubicBezTo>
                    <a:pt x="32" y="50"/>
                    <a:pt x="32" y="50"/>
                    <a:pt x="32" y="50"/>
                  </a:cubicBezTo>
                  <a:cubicBezTo>
                    <a:pt x="32" y="50"/>
                    <a:pt x="32" y="50"/>
                    <a:pt x="32" y="50"/>
                  </a:cubicBezTo>
                  <a:cubicBezTo>
                    <a:pt x="31" y="50"/>
                    <a:pt x="31" y="50"/>
                    <a:pt x="31" y="50"/>
                  </a:cubicBezTo>
                  <a:cubicBezTo>
                    <a:pt x="30" y="50"/>
                    <a:pt x="30" y="50"/>
                    <a:pt x="30" y="50"/>
                  </a:cubicBezTo>
                  <a:cubicBezTo>
                    <a:pt x="30" y="50"/>
                    <a:pt x="30" y="51"/>
                    <a:pt x="30" y="51"/>
                  </a:cubicBezTo>
                  <a:cubicBezTo>
                    <a:pt x="29" y="51"/>
                    <a:pt x="29" y="51"/>
                    <a:pt x="29" y="51"/>
                  </a:cubicBezTo>
                  <a:cubicBezTo>
                    <a:pt x="29" y="51"/>
                    <a:pt x="28" y="51"/>
                    <a:pt x="28" y="52"/>
                  </a:cubicBezTo>
                  <a:cubicBezTo>
                    <a:pt x="28" y="52"/>
                    <a:pt x="28" y="52"/>
                    <a:pt x="28" y="52"/>
                  </a:cubicBezTo>
                  <a:cubicBezTo>
                    <a:pt x="28" y="52"/>
                    <a:pt x="28" y="52"/>
                    <a:pt x="28" y="52"/>
                  </a:cubicBezTo>
                  <a:cubicBezTo>
                    <a:pt x="27" y="52"/>
                    <a:pt x="27" y="52"/>
                    <a:pt x="27" y="52"/>
                  </a:cubicBezTo>
                  <a:cubicBezTo>
                    <a:pt x="27" y="52"/>
                    <a:pt x="27" y="52"/>
                    <a:pt x="27" y="52"/>
                  </a:cubicBezTo>
                  <a:cubicBezTo>
                    <a:pt x="26" y="52"/>
                    <a:pt x="26" y="52"/>
                    <a:pt x="26" y="52"/>
                  </a:cubicBezTo>
                  <a:cubicBezTo>
                    <a:pt x="25" y="52"/>
                    <a:pt x="25" y="52"/>
                    <a:pt x="25" y="53"/>
                  </a:cubicBezTo>
                  <a:cubicBezTo>
                    <a:pt x="25" y="53"/>
                    <a:pt x="25" y="53"/>
                    <a:pt x="25" y="53"/>
                  </a:cubicBezTo>
                  <a:cubicBezTo>
                    <a:pt x="24" y="53"/>
                    <a:pt x="24" y="53"/>
                    <a:pt x="24" y="53"/>
                  </a:cubicBezTo>
                  <a:cubicBezTo>
                    <a:pt x="24" y="53"/>
                    <a:pt x="24" y="54"/>
                    <a:pt x="24" y="54"/>
                  </a:cubicBezTo>
                  <a:cubicBezTo>
                    <a:pt x="24" y="54"/>
                    <a:pt x="24" y="54"/>
                    <a:pt x="24" y="55"/>
                  </a:cubicBezTo>
                  <a:cubicBezTo>
                    <a:pt x="24" y="55"/>
                    <a:pt x="24" y="55"/>
                    <a:pt x="24" y="55"/>
                  </a:cubicBezTo>
                  <a:cubicBezTo>
                    <a:pt x="24" y="55"/>
                    <a:pt x="24" y="55"/>
                    <a:pt x="24" y="55"/>
                  </a:cubicBezTo>
                  <a:cubicBezTo>
                    <a:pt x="24" y="56"/>
                    <a:pt x="24" y="56"/>
                    <a:pt x="24" y="56"/>
                  </a:cubicBezTo>
                  <a:cubicBezTo>
                    <a:pt x="24" y="56"/>
                    <a:pt x="24" y="56"/>
                    <a:pt x="24" y="56"/>
                  </a:cubicBezTo>
                  <a:cubicBezTo>
                    <a:pt x="24" y="58"/>
                    <a:pt x="24" y="58"/>
                    <a:pt x="24" y="58"/>
                  </a:cubicBezTo>
                  <a:cubicBezTo>
                    <a:pt x="24" y="58"/>
                    <a:pt x="24" y="58"/>
                    <a:pt x="24" y="58"/>
                  </a:cubicBezTo>
                  <a:cubicBezTo>
                    <a:pt x="24" y="58"/>
                    <a:pt x="24" y="58"/>
                    <a:pt x="24" y="58"/>
                  </a:cubicBezTo>
                  <a:cubicBezTo>
                    <a:pt x="24" y="59"/>
                    <a:pt x="24" y="59"/>
                    <a:pt x="24" y="59"/>
                  </a:cubicBezTo>
                  <a:cubicBezTo>
                    <a:pt x="24" y="59"/>
                    <a:pt x="24" y="59"/>
                    <a:pt x="24" y="59"/>
                  </a:cubicBezTo>
                  <a:cubicBezTo>
                    <a:pt x="23" y="59"/>
                    <a:pt x="23" y="59"/>
                    <a:pt x="23" y="59"/>
                  </a:cubicBezTo>
                  <a:cubicBezTo>
                    <a:pt x="21" y="60"/>
                    <a:pt x="21" y="60"/>
                    <a:pt x="21" y="60"/>
                  </a:cubicBezTo>
                  <a:cubicBezTo>
                    <a:pt x="20" y="60"/>
                    <a:pt x="20" y="60"/>
                    <a:pt x="20" y="60"/>
                  </a:cubicBezTo>
                  <a:cubicBezTo>
                    <a:pt x="20" y="60"/>
                    <a:pt x="20" y="60"/>
                    <a:pt x="20" y="60"/>
                  </a:cubicBezTo>
                  <a:cubicBezTo>
                    <a:pt x="19" y="61"/>
                    <a:pt x="19" y="61"/>
                    <a:pt x="19" y="61"/>
                  </a:cubicBezTo>
                  <a:cubicBezTo>
                    <a:pt x="16" y="61"/>
                    <a:pt x="16" y="61"/>
                    <a:pt x="16" y="61"/>
                  </a:cubicBezTo>
                  <a:cubicBezTo>
                    <a:pt x="15" y="62"/>
                    <a:pt x="15" y="62"/>
                    <a:pt x="15" y="62"/>
                  </a:cubicBezTo>
                  <a:cubicBezTo>
                    <a:pt x="13" y="62"/>
                    <a:pt x="13" y="62"/>
                    <a:pt x="13" y="62"/>
                  </a:cubicBezTo>
                  <a:cubicBezTo>
                    <a:pt x="12" y="62"/>
                    <a:pt x="12" y="62"/>
                    <a:pt x="12" y="62"/>
                  </a:cubicBezTo>
                  <a:cubicBezTo>
                    <a:pt x="10" y="63"/>
                    <a:pt x="10" y="63"/>
                    <a:pt x="10" y="63"/>
                  </a:cubicBezTo>
                  <a:cubicBezTo>
                    <a:pt x="10" y="63"/>
                    <a:pt x="10" y="63"/>
                    <a:pt x="10" y="63"/>
                  </a:cubicBezTo>
                  <a:cubicBezTo>
                    <a:pt x="9" y="63"/>
                    <a:pt x="9" y="63"/>
                    <a:pt x="9" y="63"/>
                  </a:cubicBezTo>
                  <a:cubicBezTo>
                    <a:pt x="8" y="64"/>
                    <a:pt x="8" y="64"/>
                    <a:pt x="8" y="64"/>
                  </a:cubicBezTo>
                  <a:cubicBezTo>
                    <a:pt x="5" y="64"/>
                    <a:pt x="5" y="64"/>
                    <a:pt x="5" y="64"/>
                  </a:cubicBezTo>
                  <a:cubicBezTo>
                    <a:pt x="3" y="65"/>
                    <a:pt x="3" y="65"/>
                    <a:pt x="3" y="65"/>
                  </a:cubicBezTo>
                  <a:cubicBezTo>
                    <a:pt x="2" y="65"/>
                    <a:pt x="2" y="65"/>
                    <a:pt x="2" y="65"/>
                  </a:cubicBezTo>
                  <a:cubicBezTo>
                    <a:pt x="2" y="65"/>
                    <a:pt x="2" y="65"/>
                    <a:pt x="2" y="65"/>
                  </a:cubicBezTo>
                  <a:cubicBezTo>
                    <a:pt x="1" y="65"/>
                    <a:pt x="1" y="65"/>
                    <a:pt x="1" y="65"/>
                  </a:cubicBezTo>
                  <a:cubicBezTo>
                    <a:pt x="1" y="65"/>
                    <a:pt x="1" y="66"/>
                    <a:pt x="1" y="66"/>
                  </a:cubicBezTo>
                  <a:cubicBezTo>
                    <a:pt x="0" y="66"/>
                    <a:pt x="0" y="66"/>
                    <a:pt x="0" y="66"/>
                  </a:cubicBezTo>
                  <a:cubicBezTo>
                    <a:pt x="0" y="66"/>
                    <a:pt x="0" y="66"/>
                    <a:pt x="0" y="66"/>
                  </a:cubicBezTo>
                  <a:cubicBezTo>
                    <a:pt x="0" y="66"/>
                    <a:pt x="0" y="66"/>
                    <a:pt x="0" y="66"/>
                  </a:cubicBezTo>
                  <a:cubicBezTo>
                    <a:pt x="0" y="66"/>
                    <a:pt x="0" y="66"/>
                    <a:pt x="0" y="66"/>
                  </a:cubicBezTo>
                  <a:cubicBezTo>
                    <a:pt x="0" y="66"/>
                    <a:pt x="0" y="66"/>
                    <a:pt x="0" y="66"/>
                  </a:cubicBezTo>
                  <a:cubicBezTo>
                    <a:pt x="0" y="67"/>
                    <a:pt x="0" y="67"/>
                    <a:pt x="0" y="67"/>
                  </a:cubicBezTo>
                  <a:cubicBezTo>
                    <a:pt x="0" y="67"/>
                    <a:pt x="0" y="67"/>
                    <a:pt x="0" y="67"/>
                  </a:cubicBezTo>
                  <a:cubicBezTo>
                    <a:pt x="0" y="67"/>
                    <a:pt x="0" y="67"/>
                    <a:pt x="0" y="67"/>
                  </a:cubicBezTo>
                  <a:cubicBezTo>
                    <a:pt x="0" y="67"/>
                    <a:pt x="0" y="67"/>
                    <a:pt x="0" y="67"/>
                  </a:cubicBezTo>
                  <a:cubicBezTo>
                    <a:pt x="0" y="67"/>
                    <a:pt x="0" y="67"/>
                    <a:pt x="0" y="67"/>
                  </a:cubicBezTo>
                  <a:cubicBezTo>
                    <a:pt x="0" y="68"/>
                    <a:pt x="0" y="68"/>
                    <a:pt x="0" y="68"/>
                  </a:cubicBezTo>
                  <a:cubicBezTo>
                    <a:pt x="0" y="68"/>
                    <a:pt x="0" y="68"/>
                    <a:pt x="0" y="68"/>
                  </a:cubicBezTo>
                  <a:cubicBezTo>
                    <a:pt x="0" y="68"/>
                    <a:pt x="0" y="68"/>
                    <a:pt x="0" y="68"/>
                  </a:cubicBezTo>
                  <a:cubicBezTo>
                    <a:pt x="1" y="68"/>
                    <a:pt x="1" y="68"/>
                    <a:pt x="1" y="68"/>
                  </a:cubicBezTo>
                  <a:cubicBezTo>
                    <a:pt x="1" y="68"/>
                    <a:pt x="1" y="68"/>
                    <a:pt x="1" y="68"/>
                  </a:cubicBezTo>
                  <a:cubicBezTo>
                    <a:pt x="1" y="68"/>
                    <a:pt x="1" y="68"/>
                    <a:pt x="1" y="68"/>
                  </a:cubicBezTo>
                  <a:cubicBezTo>
                    <a:pt x="1" y="68"/>
                    <a:pt x="1" y="68"/>
                    <a:pt x="1" y="68"/>
                  </a:cubicBezTo>
                  <a:cubicBezTo>
                    <a:pt x="1" y="68"/>
                    <a:pt x="1" y="68"/>
                    <a:pt x="1" y="68"/>
                  </a:cubicBezTo>
                  <a:cubicBezTo>
                    <a:pt x="1" y="70"/>
                    <a:pt x="1" y="70"/>
                    <a:pt x="1" y="70"/>
                  </a:cubicBezTo>
                  <a:cubicBezTo>
                    <a:pt x="1" y="70"/>
                    <a:pt x="1" y="70"/>
                    <a:pt x="1" y="70"/>
                  </a:cubicBezTo>
                  <a:cubicBezTo>
                    <a:pt x="1" y="70"/>
                    <a:pt x="1" y="70"/>
                    <a:pt x="1" y="70"/>
                  </a:cubicBezTo>
                  <a:cubicBezTo>
                    <a:pt x="1" y="71"/>
                    <a:pt x="1" y="71"/>
                    <a:pt x="1" y="71"/>
                  </a:cubicBezTo>
                  <a:cubicBezTo>
                    <a:pt x="1" y="71"/>
                    <a:pt x="1" y="71"/>
                    <a:pt x="1" y="71"/>
                  </a:cubicBezTo>
                  <a:cubicBezTo>
                    <a:pt x="1" y="72"/>
                    <a:pt x="1" y="72"/>
                    <a:pt x="1" y="72"/>
                  </a:cubicBezTo>
                  <a:cubicBezTo>
                    <a:pt x="1" y="72"/>
                    <a:pt x="1" y="72"/>
                    <a:pt x="1" y="72"/>
                  </a:cubicBezTo>
                  <a:cubicBezTo>
                    <a:pt x="1" y="73"/>
                    <a:pt x="1" y="73"/>
                    <a:pt x="1" y="73"/>
                  </a:cubicBezTo>
                  <a:cubicBezTo>
                    <a:pt x="1" y="73"/>
                    <a:pt x="1" y="73"/>
                    <a:pt x="1" y="73"/>
                  </a:cubicBezTo>
                  <a:cubicBezTo>
                    <a:pt x="2" y="73"/>
                    <a:pt x="2" y="73"/>
                    <a:pt x="2" y="73"/>
                  </a:cubicBezTo>
                  <a:cubicBezTo>
                    <a:pt x="2" y="74"/>
                    <a:pt x="2" y="74"/>
                    <a:pt x="2" y="74"/>
                  </a:cubicBezTo>
                  <a:cubicBezTo>
                    <a:pt x="3" y="74"/>
                    <a:pt x="3" y="74"/>
                    <a:pt x="3" y="74"/>
                  </a:cubicBezTo>
                  <a:cubicBezTo>
                    <a:pt x="3" y="75"/>
                    <a:pt x="3" y="75"/>
                    <a:pt x="3" y="75"/>
                  </a:cubicBezTo>
                  <a:cubicBezTo>
                    <a:pt x="3" y="75"/>
                    <a:pt x="3" y="75"/>
                    <a:pt x="3" y="75"/>
                  </a:cubicBezTo>
                  <a:cubicBezTo>
                    <a:pt x="3" y="75"/>
                    <a:pt x="3" y="75"/>
                    <a:pt x="3" y="75"/>
                  </a:cubicBezTo>
                  <a:cubicBezTo>
                    <a:pt x="3" y="75"/>
                    <a:pt x="3" y="75"/>
                    <a:pt x="3" y="75"/>
                  </a:cubicBezTo>
                  <a:cubicBezTo>
                    <a:pt x="3" y="75"/>
                    <a:pt x="3" y="75"/>
                    <a:pt x="3" y="75"/>
                  </a:cubicBezTo>
                  <a:cubicBezTo>
                    <a:pt x="3" y="76"/>
                    <a:pt x="3" y="76"/>
                    <a:pt x="3" y="76"/>
                  </a:cubicBezTo>
                  <a:cubicBezTo>
                    <a:pt x="3" y="76"/>
                    <a:pt x="3" y="76"/>
                    <a:pt x="3" y="76"/>
                  </a:cubicBezTo>
                  <a:cubicBezTo>
                    <a:pt x="3" y="77"/>
                    <a:pt x="3" y="77"/>
                    <a:pt x="3" y="77"/>
                  </a:cubicBezTo>
                  <a:cubicBezTo>
                    <a:pt x="3" y="77"/>
                    <a:pt x="3" y="77"/>
                    <a:pt x="3" y="77"/>
                  </a:cubicBezTo>
                  <a:cubicBezTo>
                    <a:pt x="3" y="77"/>
                    <a:pt x="3" y="77"/>
                    <a:pt x="3" y="77"/>
                  </a:cubicBezTo>
                  <a:cubicBezTo>
                    <a:pt x="3" y="77"/>
                    <a:pt x="3" y="77"/>
                    <a:pt x="3" y="77"/>
                  </a:cubicBezTo>
                  <a:cubicBezTo>
                    <a:pt x="3" y="77"/>
                    <a:pt x="3" y="77"/>
                    <a:pt x="3" y="77"/>
                  </a:cubicBezTo>
                  <a:cubicBezTo>
                    <a:pt x="3" y="78"/>
                    <a:pt x="3" y="78"/>
                    <a:pt x="3" y="78"/>
                  </a:cubicBezTo>
                  <a:cubicBezTo>
                    <a:pt x="3" y="78"/>
                    <a:pt x="3" y="78"/>
                    <a:pt x="3" y="78"/>
                  </a:cubicBezTo>
                  <a:cubicBezTo>
                    <a:pt x="4" y="79"/>
                    <a:pt x="4" y="79"/>
                    <a:pt x="4" y="79"/>
                  </a:cubicBezTo>
                  <a:cubicBezTo>
                    <a:pt x="4" y="79"/>
                    <a:pt x="4" y="79"/>
                    <a:pt x="4" y="79"/>
                  </a:cubicBezTo>
                  <a:cubicBezTo>
                    <a:pt x="4" y="79"/>
                    <a:pt x="4" y="79"/>
                    <a:pt x="4" y="79"/>
                  </a:cubicBezTo>
                  <a:cubicBezTo>
                    <a:pt x="4" y="79"/>
                    <a:pt x="4" y="79"/>
                    <a:pt x="4" y="79"/>
                  </a:cubicBezTo>
                  <a:cubicBezTo>
                    <a:pt x="3" y="80"/>
                    <a:pt x="3" y="80"/>
                    <a:pt x="3" y="80"/>
                  </a:cubicBezTo>
                  <a:cubicBezTo>
                    <a:pt x="3" y="80"/>
                    <a:pt x="3" y="80"/>
                    <a:pt x="3" y="80"/>
                  </a:cubicBezTo>
                  <a:cubicBezTo>
                    <a:pt x="3" y="80"/>
                    <a:pt x="3" y="80"/>
                    <a:pt x="3" y="80"/>
                  </a:cubicBezTo>
                  <a:cubicBezTo>
                    <a:pt x="3" y="80"/>
                    <a:pt x="3" y="80"/>
                    <a:pt x="3" y="80"/>
                  </a:cubicBezTo>
                  <a:cubicBezTo>
                    <a:pt x="3" y="80"/>
                    <a:pt x="3" y="80"/>
                    <a:pt x="3" y="80"/>
                  </a:cubicBezTo>
                  <a:cubicBezTo>
                    <a:pt x="3" y="80"/>
                    <a:pt x="3" y="80"/>
                    <a:pt x="3" y="80"/>
                  </a:cubicBezTo>
                  <a:cubicBezTo>
                    <a:pt x="3" y="81"/>
                    <a:pt x="3" y="81"/>
                    <a:pt x="3" y="81"/>
                  </a:cubicBezTo>
                  <a:cubicBezTo>
                    <a:pt x="3" y="81"/>
                    <a:pt x="3" y="81"/>
                    <a:pt x="3" y="81"/>
                  </a:cubicBezTo>
                  <a:cubicBezTo>
                    <a:pt x="3" y="83"/>
                    <a:pt x="3" y="83"/>
                    <a:pt x="3" y="83"/>
                  </a:cubicBezTo>
                  <a:cubicBezTo>
                    <a:pt x="3" y="83"/>
                    <a:pt x="3" y="83"/>
                    <a:pt x="3" y="83"/>
                  </a:cubicBezTo>
                  <a:cubicBezTo>
                    <a:pt x="3" y="83"/>
                    <a:pt x="3" y="83"/>
                    <a:pt x="3" y="83"/>
                  </a:cubicBezTo>
                  <a:cubicBezTo>
                    <a:pt x="3" y="84"/>
                    <a:pt x="3" y="84"/>
                    <a:pt x="3" y="84"/>
                  </a:cubicBezTo>
                  <a:cubicBezTo>
                    <a:pt x="3" y="84"/>
                    <a:pt x="3" y="84"/>
                    <a:pt x="3" y="84"/>
                  </a:cubicBezTo>
                  <a:cubicBezTo>
                    <a:pt x="3" y="84"/>
                    <a:pt x="3" y="84"/>
                    <a:pt x="3" y="84"/>
                  </a:cubicBezTo>
                  <a:cubicBezTo>
                    <a:pt x="3" y="84"/>
                    <a:pt x="3" y="84"/>
                    <a:pt x="3" y="84"/>
                  </a:cubicBezTo>
                  <a:cubicBezTo>
                    <a:pt x="3" y="84"/>
                    <a:pt x="3" y="84"/>
                    <a:pt x="3" y="84"/>
                  </a:cubicBezTo>
                  <a:cubicBezTo>
                    <a:pt x="3" y="84"/>
                    <a:pt x="3" y="84"/>
                    <a:pt x="3" y="84"/>
                  </a:cubicBezTo>
                  <a:cubicBezTo>
                    <a:pt x="3" y="84"/>
                    <a:pt x="3" y="84"/>
                    <a:pt x="3" y="84"/>
                  </a:cubicBezTo>
                  <a:cubicBezTo>
                    <a:pt x="4" y="85"/>
                    <a:pt x="4" y="85"/>
                    <a:pt x="4" y="85"/>
                  </a:cubicBezTo>
                  <a:cubicBezTo>
                    <a:pt x="4" y="85"/>
                    <a:pt x="4" y="85"/>
                    <a:pt x="4" y="85"/>
                  </a:cubicBezTo>
                  <a:cubicBezTo>
                    <a:pt x="4" y="86"/>
                    <a:pt x="4" y="86"/>
                    <a:pt x="4" y="86"/>
                  </a:cubicBezTo>
                  <a:cubicBezTo>
                    <a:pt x="4" y="86"/>
                    <a:pt x="4" y="86"/>
                    <a:pt x="4" y="86"/>
                  </a:cubicBezTo>
                  <a:cubicBezTo>
                    <a:pt x="4" y="86"/>
                    <a:pt x="4" y="86"/>
                    <a:pt x="4" y="86"/>
                  </a:cubicBezTo>
                  <a:cubicBezTo>
                    <a:pt x="4" y="87"/>
                    <a:pt x="4" y="87"/>
                    <a:pt x="4" y="87"/>
                  </a:cubicBezTo>
                  <a:cubicBezTo>
                    <a:pt x="4" y="87"/>
                    <a:pt x="4" y="87"/>
                    <a:pt x="4" y="87"/>
                  </a:cubicBezTo>
                  <a:cubicBezTo>
                    <a:pt x="5" y="87"/>
                    <a:pt x="5" y="87"/>
                    <a:pt x="5" y="87"/>
                  </a:cubicBezTo>
                  <a:cubicBezTo>
                    <a:pt x="5" y="87"/>
                    <a:pt x="5" y="87"/>
                    <a:pt x="5" y="87"/>
                  </a:cubicBezTo>
                  <a:cubicBezTo>
                    <a:pt x="5" y="87"/>
                    <a:pt x="5" y="87"/>
                    <a:pt x="5" y="87"/>
                  </a:cubicBezTo>
                  <a:cubicBezTo>
                    <a:pt x="5" y="88"/>
                    <a:pt x="5" y="88"/>
                    <a:pt x="5" y="88"/>
                  </a:cubicBezTo>
                  <a:cubicBezTo>
                    <a:pt x="5" y="88"/>
                    <a:pt x="5" y="88"/>
                    <a:pt x="5" y="88"/>
                  </a:cubicBezTo>
                  <a:cubicBezTo>
                    <a:pt x="5" y="88"/>
                    <a:pt x="5" y="88"/>
                    <a:pt x="5" y="88"/>
                  </a:cubicBezTo>
                  <a:cubicBezTo>
                    <a:pt x="5" y="88"/>
                    <a:pt x="5" y="88"/>
                    <a:pt x="5" y="88"/>
                  </a:cubicBezTo>
                  <a:cubicBezTo>
                    <a:pt x="5" y="88"/>
                    <a:pt x="5" y="88"/>
                    <a:pt x="5" y="88"/>
                  </a:cubicBezTo>
                  <a:cubicBezTo>
                    <a:pt x="5" y="89"/>
                    <a:pt x="5" y="89"/>
                    <a:pt x="5" y="89"/>
                  </a:cubicBezTo>
                  <a:cubicBezTo>
                    <a:pt x="5" y="89"/>
                    <a:pt x="5" y="89"/>
                    <a:pt x="5" y="89"/>
                  </a:cubicBezTo>
                  <a:cubicBezTo>
                    <a:pt x="5" y="89"/>
                    <a:pt x="5" y="89"/>
                    <a:pt x="5" y="89"/>
                  </a:cubicBezTo>
                  <a:cubicBezTo>
                    <a:pt x="5" y="89"/>
                    <a:pt x="5" y="89"/>
                    <a:pt x="5" y="89"/>
                  </a:cubicBezTo>
                  <a:cubicBezTo>
                    <a:pt x="5" y="92"/>
                    <a:pt x="5" y="92"/>
                    <a:pt x="5" y="92"/>
                  </a:cubicBezTo>
                  <a:cubicBezTo>
                    <a:pt x="5" y="92"/>
                    <a:pt x="5" y="92"/>
                    <a:pt x="5" y="92"/>
                  </a:cubicBezTo>
                  <a:cubicBezTo>
                    <a:pt x="5" y="92"/>
                    <a:pt x="5" y="92"/>
                    <a:pt x="5" y="92"/>
                  </a:cubicBezTo>
                  <a:cubicBezTo>
                    <a:pt x="5" y="93"/>
                    <a:pt x="5" y="93"/>
                    <a:pt x="5" y="93"/>
                  </a:cubicBezTo>
                  <a:cubicBezTo>
                    <a:pt x="5" y="93"/>
                    <a:pt x="5" y="93"/>
                    <a:pt x="5" y="93"/>
                  </a:cubicBezTo>
                  <a:cubicBezTo>
                    <a:pt x="5" y="93"/>
                    <a:pt x="5" y="93"/>
                    <a:pt x="5" y="93"/>
                  </a:cubicBezTo>
                  <a:cubicBezTo>
                    <a:pt x="6" y="93"/>
                    <a:pt x="6" y="93"/>
                    <a:pt x="6" y="93"/>
                  </a:cubicBezTo>
                  <a:cubicBezTo>
                    <a:pt x="6" y="93"/>
                    <a:pt x="6" y="93"/>
                    <a:pt x="6" y="93"/>
                  </a:cubicBezTo>
                  <a:cubicBezTo>
                    <a:pt x="6" y="93"/>
                    <a:pt x="6" y="93"/>
                    <a:pt x="6" y="93"/>
                  </a:cubicBezTo>
                  <a:cubicBezTo>
                    <a:pt x="6" y="93"/>
                    <a:pt x="6" y="93"/>
                    <a:pt x="6" y="93"/>
                  </a:cubicBezTo>
                  <a:cubicBezTo>
                    <a:pt x="6" y="93"/>
                    <a:pt x="6" y="93"/>
                    <a:pt x="6" y="93"/>
                  </a:cubicBezTo>
                  <a:cubicBezTo>
                    <a:pt x="6" y="93"/>
                    <a:pt x="6" y="93"/>
                    <a:pt x="6" y="93"/>
                  </a:cubicBezTo>
                  <a:cubicBezTo>
                    <a:pt x="6" y="93"/>
                    <a:pt x="6" y="93"/>
                    <a:pt x="6" y="93"/>
                  </a:cubicBezTo>
                  <a:cubicBezTo>
                    <a:pt x="6" y="93"/>
                    <a:pt x="6" y="93"/>
                    <a:pt x="6" y="93"/>
                  </a:cubicBezTo>
                  <a:cubicBezTo>
                    <a:pt x="6" y="93"/>
                    <a:pt x="6" y="93"/>
                    <a:pt x="6" y="93"/>
                  </a:cubicBezTo>
                  <a:cubicBezTo>
                    <a:pt x="6" y="92"/>
                    <a:pt x="6" y="92"/>
                    <a:pt x="6" y="92"/>
                  </a:cubicBezTo>
                  <a:cubicBezTo>
                    <a:pt x="6" y="92"/>
                    <a:pt x="6" y="92"/>
                    <a:pt x="6" y="92"/>
                  </a:cubicBezTo>
                  <a:cubicBezTo>
                    <a:pt x="6" y="92"/>
                    <a:pt x="6" y="92"/>
                    <a:pt x="6" y="92"/>
                  </a:cubicBezTo>
                  <a:cubicBezTo>
                    <a:pt x="6" y="92"/>
                    <a:pt x="6" y="92"/>
                    <a:pt x="6" y="92"/>
                  </a:cubicBezTo>
                  <a:cubicBezTo>
                    <a:pt x="6" y="92"/>
                    <a:pt x="6" y="92"/>
                    <a:pt x="6" y="92"/>
                  </a:cubicBezTo>
                  <a:cubicBezTo>
                    <a:pt x="6" y="92"/>
                    <a:pt x="6" y="92"/>
                    <a:pt x="6" y="92"/>
                  </a:cubicBezTo>
                  <a:cubicBezTo>
                    <a:pt x="6" y="92"/>
                    <a:pt x="6" y="92"/>
                    <a:pt x="6" y="92"/>
                  </a:cubicBezTo>
                  <a:cubicBezTo>
                    <a:pt x="7" y="92"/>
                    <a:pt x="7" y="92"/>
                    <a:pt x="7" y="92"/>
                  </a:cubicBezTo>
                  <a:cubicBezTo>
                    <a:pt x="7" y="92"/>
                    <a:pt x="7" y="92"/>
                    <a:pt x="7" y="92"/>
                  </a:cubicBezTo>
                  <a:cubicBezTo>
                    <a:pt x="7" y="92"/>
                    <a:pt x="7" y="92"/>
                    <a:pt x="7" y="92"/>
                  </a:cubicBezTo>
                  <a:cubicBezTo>
                    <a:pt x="7" y="92"/>
                    <a:pt x="7" y="92"/>
                    <a:pt x="7" y="92"/>
                  </a:cubicBezTo>
                  <a:cubicBezTo>
                    <a:pt x="8" y="93"/>
                    <a:pt x="8" y="93"/>
                    <a:pt x="8" y="93"/>
                  </a:cubicBezTo>
                  <a:cubicBezTo>
                    <a:pt x="8" y="93"/>
                    <a:pt x="8" y="93"/>
                    <a:pt x="8" y="93"/>
                  </a:cubicBezTo>
                  <a:cubicBezTo>
                    <a:pt x="8" y="93"/>
                    <a:pt x="8" y="93"/>
                    <a:pt x="8" y="93"/>
                  </a:cubicBezTo>
                  <a:cubicBezTo>
                    <a:pt x="8" y="93"/>
                    <a:pt x="8" y="93"/>
                    <a:pt x="8" y="93"/>
                  </a:cubicBezTo>
                  <a:cubicBezTo>
                    <a:pt x="8" y="93"/>
                    <a:pt x="8" y="93"/>
                    <a:pt x="8" y="93"/>
                  </a:cubicBezTo>
                  <a:cubicBezTo>
                    <a:pt x="9" y="98"/>
                    <a:pt x="10" y="102"/>
                    <a:pt x="11" y="107"/>
                  </a:cubicBezTo>
                  <a:cubicBezTo>
                    <a:pt x="11" y="107"/>
                    <a:pt x="11" y="107"/>
                    <a:pt x="11" y="107"/>
                  </a:cubicBezTo>
                  <a:cubicBezTo>
                    <a:pt x="11" y="108"/>
                    <a:pt x="11" y="108"/>
                    <a:pt x="11" y="108"/>
                  </a:cubicBezTo>
                  <a:cubicBezTo>
                    <a:pt x="11" y="108"/>
                    <a:pt x="11" y="108"/>
                    <a:pt x="11" y="108"/>
                  </a:cubicBezTo>
                  <a:cubicBezTo>
                    <a:pt x="12" y="109"/>
                    <a:pt x="12" y="109"/>
                    <a:pt x="12" y="109"/>
                  </a:cubicBezTo>
                  <a:cubicBezTo>
                    <a:pt x="12" y="109"/>
                    <a:pt x="12" y="109"/>
                    <a:pt x="12" y="109"/>
                  </a:cubicBezTo>
                  <a:cubicBezTo>
                    <a:pt x="12" y="110"/>
                    <a:pt x="12" y="110"/>
                    <a:pt x="12" y="110"/>
                  </a:cubicBezTo>
                  <a:cubicBezTo>
                    <a:pt x="12" y="114"/>
                    <a:pt x="12" y="119"/>
                    <a:pt x="11" y="124"/>
                  </a:cubicBezTo>
                  <a:cubicBezTo>
                    <a:pt x="12" y="124"/>
                    <a:pt x="12" y="124"/>
                    <a:pt x="12" y="124"/>
                  </a:cubicBezTo>
                  <a:cubicBezTo>
                    <a:pt x="13" y="129"/>
                    <a:pt x="14" y="134"/>
                    <a:pt x="15" y="140"/>
                  </a:cubicBezTo>
                  <a:cubicBezTo>
                    <a:pt x="15" y="140"/>
                    <a:pt x="15" y="140"/>
                    <a:pt x="16" y="141"/>
                  </a:cubicBezTo>
                  <a:cubicBezTo>
                    <a:pt x="16" y="141"/>
                    <a:pt x="16" y="141"/>
                    <a:pt x="16" y="141"/>
                  </a:cubicBezTo>
                  <a:cubicBezTo>
                    <a:pt x="16" y="141"/>
                    <a:pt x="16" y="141"/>
                    <a:pt x="16" y="141"/>
                  </a:cubicBezTo>
                  <a:cubicBezTo>
                    <a:pt x="16" y="141"/>
                    <a:pt x="16" y="141"/>
                    <a:pt x="16" y="141"/>
                  </a:cubicBezTo>
                  <a:cubicBezTo>
                    <a:pt x="15" y="142"/>
                    <a:pt x="14" y="143"/>
                    <a:pt x="13" y="144"/>
                  </a:cubicBezTo>
                  <a:cubicBezTo>
                    <a:pt x="13" y="144"/>
                    <a:pt x="13" y="144"/>
                    <a:pt x="13" y="144"/>
                  </a:cubicBezTo>
                  <a:cubicBezTo>
                    <a:pt x="13" y="144"/>
                    <a:pt x="13" y="144"/>
                    <a:pt x="13" y="144"/>
                  </a:cubicBezTo>
                  <a:cubicBezTo>
                    <a:pt x="13" y="144"/>
                    <a:pt x="14" y="145"/>
                    <a:pt x="14" y="145"/>
                  </a:cubicBezTo>
                  <a:cubicBezTo>
                    <a:pt x="14" y="145"/>
                    <a:pt x="14" y="145"/>
                    <a:pt x="14" y="145"/>
                  </a:cubicBezTo>
                  <a:cubicBezTo>
                    <a:pt x="14" y="145"/>
                    <a:pt x="14" y="145"/>
                    <a:pt x="14" y="145"/>
                  </a:cubicBezTo>
                  <a:cubicBezTo>
                    <a:pt x="14" y="145"/>
                    <a:pt x="14" y="145"/>
                    <a:pt x="14" y="145"/>
                  </a:cubicBezTo>
                  <a:cubicBezTo>
                    <a:pt x="14" y="145"/>
                    <a:pt x="14" y="145"/>
                    <a:pt x="14" y="145"/>
                  </a:cubicBezTo>
                  <a:cubicBezTo>
                    <a:pt x="14" y="145"/>
                    <a:pt x="14" y="145"/>
                    <a:pt x="14" y="145"/>
                  </a:cubicBezTo>
                  <a:cubicBezTo>
                    <a:pt x="15" y="146"/>
                    <a:pt x="15" y="146"/>
                    <a:pt x="15" y="146"/>
                  </a:cubicBezTo>
                  <a:cubicBezTo>
                    <a:pt x="15" y="146"/>
                    <a:pt x="15" y="146"/>
                    <a:pt x="15" y="146"/>
                  </a:cubicBezTo>
                  <a:cubicBezTo>
                    <a:pt x="15" y="146"/>
                    <a:pt x="15" y="146"/>
                    <a:pt x="15" y="146"/>
                  </a:cubicBezTo>
                  <a:cubicBezTo>
                    <a:pt x="15" y="146"/>
                    <a:pt x="15" y="146"/>
                    <a:pt x="15" y="146"/>
                  </a:cubicBezTo>
                  <a:cubicBezTo>
                    <a:pt x="14" y="147"/>
                    <a:pt x="14" y="147"/>
                    <a:pt x="14" y="147"/>
                  </a:cubicBezTo>
                  <a:cubicBezTo>
                    <a:pt x="14" y="147"/>
                    <a:pt x="14" y="147"/>
                    <a:pt x="14" y="147"/>
                  </a:cubicBezTo>
                  <a:cubicBezTo>
                    <a:pt x="14" y="147"/>
                    <a:pt x="14" y="147"/>
                    <a:pt x="14" y="147"/>
                  </a:cubicBezTo>
                  <a:cubicBezTo>
                    <a:pt x="14" y="147"/>
                    <a:pt x="14" y="147"/>
                    <a:pt x="14" y="147"/>
                  </a:cubicBezTo>
                  <a:cubicBezTo>
                    <a:pt x="14" y="147"/>
                    <a:pt x="14" y="147"/>
                    <a:pt x="14" y="147"/>
                  </a:cubicBezTo>
                  <a:cubicBezTo>
                    <a:pt x="13" y="148"/>
                    <a:pt x="13" y="148"/>
                    <a:pt x="13" y="148"/>
                  </a:cubicBezTo>
                  <a:cubicBezTo>
                    <a:pt x="13" y="148"/>
                    <a:pt x="13" y="148"/>
                    <a:pt x="13" y="148"/>
                  </a:cubicBezTo>
                  <a:cubicBezTo>
                    <a:pt x="13" y="149"/>
                    <a:pt x="13" y="149"/>
                    <a:pt x="13" y="149"/>
                  </a:cubicBezTo>
                  <a:cubicBezTo>
                    <a:pt x="13" y="149"/>
                    <a:pt x="13" y="149"/>
                    <a:pt x="13" y="149"/>
                  </a:cubicBezTo>
                  <a:cubicBezTo>
                    <a:pt x="13" y="149"/>
                    <a:pt x="13" y="149"/>
                    <a:pt x="13" y="149"/>
                  </a:cubicBezTo>
                  <a:cubicBezTo>
                    <a:pt x="13" y="149"/>
                    <a:pt x="13" y="149"/>
                    <a:pt x="13" y="149"/>
                  </a:cubicBezTo>
                  <a:cubicBezTo>
                    <a:pt x="13" y="149"/>
                    <a:pt x="13" y="149"/>
                    <a:pt x="13" y="149"/>
                  </a:cubicBezTo>
                  <a:cubicBezTo>
                    <a:pt x="13" y="150"/>
                    <a:pt x="13" y="150"/>
                    <a:pt x="13" y="150"/>
                  </a:cubicBezTo>
                  <a:cubicBezTo>
                    <a:pt x="13" y="150"/>
                    <a:pt x="13" y="150"/>
                    <a:pt x="13" y="150"/>
                  </a:cubicBezTo>
                  <a:cubicBezTo>
                    <a:pt x="13" y="150"/>
                    <a:pt x="13" y="150"/>
                    <a:pt x="13" y="150"/>
                  </a:cubicBezTo>
                  <a:cubicBezTo>
                    <a:pt x="13" y="150"/>
                    <a:pt x="13" y="150"/>
                    <a:pt x="13" y="150"/>
                  </a:cubicBezTo>
                  <a:cubicBezTo>
                    <a:pt x="12" y="150"/>
                    <a:pt x="12" y="150"/>
                    <a:pt x="12" y="150"/>
                  </a:cubicBezTo>
                  <a:cubicBezTo>
                    <a:pt x="12" y="151"/>
                    <a:pt x="12" y="151"/>
                    <a:pt x="12" y="151"/>
                  </a:cubicBezTo>
                  <a:cubicBezTo>
                    <a:pt x="11" y="151"/>
                    <a:pt x="11" y="151"/>
                    <a:pt x="11" y="151"/>
                  </a:cubicBezTo>
                  <a:cubicBezTo>
                    <a:pt x="11" y="150"/>
                    <a:pt x="11" y="150"/>
                    <a:pt x="11" y="150"/>
                  </a:cubicBezTo>
                  <a:cubicBezTo>
                    <a:pt x="11" y="150"/>
                    <a:pt x="11" y="150"/>
                    <a:pt x="11" y="150"/>
                  </a:cubicBezTo>
                  <a:cubicBezTo>
                    <a:pt x="11" y="150"/>
                    <a:pt x="11" y="150"/>
                    <a:pt x="11" y="150"/>
                  </a:cubicBezTo>
                  <a:cubicBezTo>
                    <a:pt x="11" y="150"/>
                    <a:pt x="11" y="150"/>
                    <a:pt x="11" y="150"/>
                  </a:cubicBezTo>
                  <a:cubicBezTo>
                    <a:pt x="11" y="150"/>
                    <a:pt x="11" y="150"/>
                    <a:pt x="11" y="150"/>
                  </a:cubicBezTo>
                  <a:cubicBezTo>
                    <a:pt x="11" y="150"/>
                    <a:pt x="11" y="150"/>
                    <a:pt x="11" y="150"/>
                  </a:cubicBezTo>
                  <a:cubicBezTo>
                    <a:pt x="11" y="150"/>
                    <a:pt x="11" y="150"/>
                    <a:pt x="11" y="150"/>
                  </a:cubicBezTo>
                  <a:cubicBezTo>
                    <a:pt x="11" y="150"/>
                    <a:pt x="11" y="150"/>
                    <a:pt x="11" y="150"/>
                  </a:cubicBezTo>
                  <a:cubicBezTo>
                    <a:pt x="11" y="151"/>
                    <a:pt x="11" y="151"/>
                    <a:pt x="11" y="151"/>
                  </a:cubicBezTo>
                  <a:cubicBezTo>
                    <a:pt x="11" y="151"/>
                    <a:pt x="11" y="151"/>
                    <a:pt x="11" y="151"/>
                  </a:cubicBezTo>
                  <a:cubicBezTo>
                    <a:pt x="11" y="151"/>
                    <a:pt x="11" y="151"/>
                    <a:pt x="11" y="151"/>
                  </a:cubicBezTo>
                  <a:cubicBezTo>
                    <a:pt x="11" y="152"/>
                    <a:pt x="11" y="152"/>
                    <a:pt x="11" y="152"/>
                  </a:cubicBezTo>
                  <a:cubicBezTo>
                    <a:pt x="11" y="152"/>
                    <a:pt x="11" y="152"/>
                    <a:pt x="11" y="152"/>
                  </a:cubicBezTo>
                  <a:cubicBezTo>
                    <a:pt x="11" y="153"/>
                    <a:pt x="11" y="153"/>
                    <a:pt x="11" y="153"/>
                  </a:cubicBezTo>
                  <a:cubicBezTo>
                    <a:pt x="11" y="153"/>
                    <a:pt x="11" y="153"/>
                    <a:pt x="11" y="153"/>
                  </a:cubicBezTo>
                  <a:cubicBezTo>
                    <a:pt x="11" y="152"/>
                    <a:pt x="11" y="152"/>
                    <a:pt x="11" y="152"/>
                  </a:cubicBezTo>
                  <a:cubicBezTo>
                    <a:pt x="11" y="152"/>
                    <a:pt x="11" y="152"/>
                    <a:pt x="11" y="152"/>
                  </a:cubicBezTo>
                  <a:cubicBezTo>
                    <a:pt x="11" y="151"/>
                    <a:pt x="11" y="151"/>
                    <a:pt x="11" y="151"/>
                  </a:cubicBezTo>
                  <a:cubicBezTo>
                    <a:pt x="12" y="151"/>
                    <a:pt x="12" y="151"/>
                    <a:pt x="12" y="151"/>
                  </a:cubicBezTo>
                  <a:cubicBezTo>
                    <a:pt x="12" y="151"/>
                    <a:pt x="12" y="151"/>
                    <a:pt x="12" y="151"/>
                  </a:cubicBezTo>
                  <a:cubicBezTo>
                    <a:pt x="12" y="151"/>
                    <a:pt x="12" y="151"/>
                    <a:pt x="12" y="151"/>
                  </a:cubicBezTo>
                  <a:cubicBezTo>
                    <a:pt x="12" y="151"/>
                    <a:pt x="12" y="151"/>
                    <a:pt x="12" y="151"/>
                  </a:cubicBezTo>
                  <a:cubicBezTo>
                    <a:pt x="13" y="150"/>
                    <a:pt x="13" y="150"/>
                    <a:pt x="13" y="150"/>
                  </a:cubicBezTo>
                  <a:cubicBezTo>
                    <a:pt x="14" y="150"/>
                    <a:pt x="14" y="150"/>
                    <a:pt x="14" y="150"/>
                  </a:cubicBezTo>
                  <a:cubicBezTo>
                    <a:pt x="14" y="151"/>
                    <a:pt x="14" y="151"/>
                    <a:pt x="14" y="151"/>
                  </a:cubicBezTo>
                  <a:cubicBezTo>
                    <a:pt x="14" y="150"/>
                    <a:pt x="14" y="150"/>
                    <a:pt x="14" y="150"/>
                  </a:cubicBezTo>
                  <a:cubicBezTo>
                    <a:pt x="14" y="150"/>
                    <a:pt x="14" y="150"/>
                    <a:pt x="14" y="150"/>
                  </a:cubicBezTo>
                  <a:cubicBezTo>
                    <a:pt x="14" y="150"/>
                    <a:pt x="14" y="150"/>
                    <a:pt x="14" y="150"/>
                  </a:cubicBezTo>
                  <a:cubicBezTo>
                    <a:pt x="14" y="149"/>
                    <a:pt x="14" y="149"/>
                    <a:pt x="14" y="149"/>
                  </a:cubicBezTo>
                  <a:cubicBezTo>
                    <a:pt x="14" y="150"/>
                    <a:pt x="14" y="150"/>
                    <a:pt x="14" y="150"/>
                  </a:cubicBezTo>
                  <a:cubicBezTo>
                    <a:pt x="14" y="150"/>
                    <a:pt x="14" y="150"/>
                    <a:pt x="14" y="150"/>
                  </a:cubicBezTo>
                  <a:cubicBezTo>
                    <a:pt x="15" y="150"/>
                    <a:pt x="15" y="150"/>
                    <a:pt x="15" y="150"/>
                  </a:cubicBezTo>
                  <a:cubicBezTo>
                    <a:pt x="15" y="150"/>
                    <a:pt x="15" y="150"/>
                    <a:pt x="15" y="150"/>
                  </a:cubicBezTo>
                  <a:cubicBezTo>
                    <a:pt x="15" y="150"/>
                    <a:pt x="15" y="150"/>
                    <a:pt x="15" y="150"/>
                  </a:cubicBezTo>
                  <a:cubicBezTo>
                    <a:pt x="15" y="149"/>
                    <a:pt x="15" y="149"/>
                    <a:pt x="15" y="149"/>
                  </a:cubicBezTo>
                  <a:cubicBezTo>
                    <a:pt x="14" y="149"/>
                    <a:pt x="14" y="149"/>
                    <a:pt x="14" y="149"/>
                  </a:cubicBezTo>
                  <a:cubicBezTo>
                    <a:pt x="14" y="149"/>
                    <a:pt x="14" y="149"/>
                    <a:pt x="14" y="149"/>
                  </a:cubicBezTo>
                  <a:cubicBezTo>
                    <a:pt x="14" y="149"/>
                    <a:pt x="14" y="149"/>
                    <a:pt x="14" y="149"/>
                  </a:cubicBezTo>
                  <a:cubicBezTo>
                    <a:pt x="14" y="149"/>
                    <a:pt x="14" y="149"/>
                    <a:pt x="14" y="149"/>
                  </a:cubicBezTo>
                  <a:cubicBezTo>
                    <a:pt x="15" y="149"/>
                    <a:pt x="15" y="149"/>
                    <a:pt x="15" y="149"/>
                  </a:cubicBezTo>
                  <a:cubicBezTo>
                    <a:pt x="15" y="149"/>
                    <a:pt x="15" y="149"/>
                    <a:pt x="15" y="149"/>
                  </a:cubicBezTo>
                  <a:cubicBezTo>
                    <a:pt x="15" y="149"/>
                    <a:pt x="15" y="149"/>
                    <a:pt x="15" y="149"/>
                  </a:cubicBezTo>
                  <a:cubicBezTo>
                    <a:pt x="15" y="149"/>
                    <a:pt x="15" y="149"/>
                    <a:pt x="15" y="149"/>
                  </a:cubicBezTo>
                  <a:cubicBezTo>
                    <a:pt x="15" y="148"/>
                    <a:pt x="15" y="148"/>
                    <a:pt x="15" y="148"/>
                  </a:cubicBezTo>
                  <a:cubicBezTo>
                    <a:pt x="15" y="148"/>
                    <a:pt x="15" y="148"/>
                    <a:pt x="15" y="148"/>
                  </a:cubicBezTo>
                  <a:cubicBezTo>
                    <a:pt x="16" y="147"/>
                    <a:pt x="16" y="147"/>
                    <a:pt x="16" y="147"/>
                  </a:cubicBezTo>
                  <a:cubicBezTo>
                    <a:pt x="17" y="147"/>
                    <a:pt x="17" y="147"/>
                    <a:pt x="17" y="147"/>
                  </a:cubicBezTo>
                  <a:cubicBezTo>
                    <a:pt x="17" y="147"/>
                    <a:pt x="17" y="147"/>
                    <a:pt x="17" y="147"/>
                  </a:cubicBezTo>
                  <a:cubicBezTo>
                    <a:pt x="17" y="147"/>
                    <a:pt x="17" y="147"/>
                    <a:pt x="17" y="147"/>
                  </a:cubicBezTo>
                  <a:cubicBezTo>
                    <a:pt x="17" y="148"/>
                    <a:pt x="17" y="148"/>
                    <a:pt x="17" y="148"/>
                  </a:cubicBezTo>
                  <a:cubicBezTo>
                    <a:pt x="17" y="147"/>
                    <a:pt x="17" y="147"/>
                    <a:pt x="17" y="147"/>
                  </a:cubicBezTo>
                  <a:cubicBezTo>
                    <a:pt x="17" y="148"/>
                    <a:pt x="17" y="148"/>
                    <a:pt x="17" y="148"/>
                  </a:cubicBezTo>
                  <a:cubicBezTo>
                    <a:pt x="17" y="148"/>
                    <a:pt x="17" y="148"/>
                    <a:pt x="17" y="148"/>
                  </a:cubicBezTo>
                  <a:cubicBezTo>
                    <a:pt x="17" y="148"/>
                    <a:pt x="17" y="148"/>
                    <a:pt x="17" y="148"/>
                  </a:cubicBezTo>
                  <a:cubicBezTo>
                    <a:pt x="17" y="147"/>
                    <a:pt x="17" y="147"/>
                    <a:pt x="17" y="147"/>
                  </a:cubicBezTo>
                  <a:cubicBezTo>
                    <a:pt x="17" y="147"/>
                    <a:pt x="17" y="147"/>
                    <a:pt x="17" y="147"/>
                  </a:cubicBezTo>
                  <a:cubicBezTo>
                    <a:pt x="17" y="148"/>
                    <a:pt x="17" y="148"/>
                    <a:pt x="17" y="148"/>
                  </a:cubicBezTo>
                  <a:cubicBezTo>
                    <a:pt x="18" y="148"/>
                    <a:pt x="18" y="148"/>
                    <a:pt x="18" y="148"/>
                  </a:cubicBezTo>
                  <a:cubicBezTo>
                    <a:pt x="18" y="148"/>
                    <a:pt x="18" y="148"/>
                    <a:pt x="18" y="148"/>
                  </a:cubicBezTo>
                  <a:cubicBezTo>
                    <a:pt x="18" y="147"/>
                    <a:pt x="18" y="147"/>
                    <a:pt x="18" y="147"/>
                  </a:cubicBezTo>
                  <a:cubicBezTo>
                    <a:pt x="18" y="147"/>
                    <a:pt x="18" y="147"/>
                    <a:pt x="18" y="147"/>
                  </a:cubicBezTo>
                  <a:cubicBezTo>
                    <a:pt x="18" y="147"/>
                    <a:pt x="18" y="147"/>
                    <a:pt x="18" y="147"/>
                  </a:cubicBezTo>
                  <a:cubicBezTo>
                    <a:pt x="18" y="147"/>
                    <a:pt x="17" y="147"/>
                    <a:pt x="17" y="147"/>
                  </a:cubicBezTo>
                  <a:cubicBezTo>
                    <a:pt x="17" y="146"/>
                    <a:pt x="17" y="146"/>
                    <a:pt x="17" y="146"/>
                  </a:cubicBezTo>
                  <a:cubicBezTo>
                    <a:pt x="18" y="146"/>
                    <a:pt x="18" y="146"/>
                    <a:pt x="18" y="146"/>
                  </a:cubicBezTo>
                  <a:cubicBezTo>
                    <a:pt x="18" y="146"/>
                    <a:pt x="18" y="146"/>
                    <a:pt x="18" y="146"/>
                  </a:cubicBezTo>
                  <a:cubicBezTo>
                    <a:pt x="18" y="147"/>
                    <a:pt x="18" y="147"/>
                    <a:pt x="18" y="147"/>
                  </a:cubicBezTo>
                  <a:cubicBezTo>
                    <a:pt x="18" y="147"/>
                    <a:pt x="18" y="147"/>
                    <a:pt x="18" y="147"/>
                  </a:cubicBezTo>
                  <a:cubicBezTo>
                    <a:pt x="18" y="147"/>
                    <a:pt x="18" y="147"/>
                    <a:pt x="18" y="147"/>
                  </a:cubicBezTo>
                  <a:cubicBezTo>
                    <a:pt x="19" y="147"/>
                    <a:pt x="19" y="147"/>
                    <a:pt x="19" y="147"/>
                  </a:cubicBezTo>
                  <a:cubicBezTo>
                    <a:pt x="19" y="147"/>
                    <a:pt x="19" y="147"/>
                    <a:pt x="19" y="147"/>
                  </a:cubicBezTo>
                  <a:cubicBezTo>
                    <a:pt x="19" y="147"/>
                    <a:pt x="19" y="147"/>
                    <a:pt x="19" y="147"/>
                  </a:cubicBezTo>
                  <a:cubicBezTo>
                    <a:pt x="19" y="147"/>
                    <a:pt x="19" y="147"/>
                    <a:pt x="19" y="147"/>
                  </a:cubicBezTo>
                  <a:cubicBezTo>
                    <a:pt x="19" y="146"/>
                    <a:pt x="19" y="146"/>
                    <a:pt x="19" y="146"/>
                  </a:cubicBezTo>
                  <a:cubicBezTo>
                    <a:pt x="19" y="146"/>
                    <a:pt x="19" y="146"/>
                    <a:pt x="19" y="146"/>
                  </a:cubicBezTo>
                  <a:cubicBezTo>
                    <a:pt x="19" y="146"/>
                    <a:pt x="19" y="146"/>
                    <a:pt x="19" y="146"/>
                  </a:cubicBezTo>
                  <a:cubicBezTo>
                    <a:pt x="19" y="146"/>
                    <a:pt x="19" y="146"/>
                    <a:pt x="19" y="146"/>
                  </a:cubicBezTo>
                  <a:cubicBezTo>
                    <a:pt x="18" y="146"/>
                    <a:pt x="18" y="146"/>
                    <a:pt x="18" y="146"/>
                  </a:cubicBezTo>
                  <a:cubicBezTo>
                    <a:pt x="18" y="146"/>
                    <a:pt x="18" y="146"/>
                    <a:pt x="18" y="146"/>
                  </a:cubicBezTo>
                  <a:cubicBezTo>
                    <a:pt x="19" y="146"/>
                    <a:pt x="19" y="146"/>
                    <a:pt x="19" y="146"/>
                  </a:cubicBezTo>
                  <a:cubicBezTo>
                    <a:pt x="19" y="146"/>
                    <a:pt x="19" y="146"/>
                    <a:pt x="19" y="146"/>
                  </a:cubicBezTo>
                  <a:cubicBezTo>
                    <a:pt x="19" y="146"/>
                    <a:pt x="19" y="146"/>
                    <a:pt x="19" y="146"/>
                  </a:cubicBezTo>
                  <a:cubicBezTo>
                    <a:pt x="19" y="146"/>
                    <a:pt x="19" y="146"/>
                    <a:pt x="19" y="146"/>
                  </a:cubicBezTo>
                  <a:cubicBezTo>
                    <a:pt x="19" y="146"/>
                    <a:pt x="19" y="146"/>
                    <a:pt x="19" y="146"/>
                  </a:cubicBezTo>
                  <a:cubicBezTo>
                    <a:pt x="20" y="146"/>
                    <a:pt x="20" y="146"/>
                    <a:pt x="20" y="146"/>
                  </a:cubicBezTo>
                  <a:cubicBezTo>
                    <a:pt x="20" y="146"/>
                    <a:pt x="20" y="146"/>
                    <a:pt x="20" y="146"/>
                  </a:cubicBezTo>
                  <a:cubicBezTo>
                    <a:pt x="21" y="146"/>
                    <a:pt x="21" y="146"/>
                    <a:pt x="21" y="146"/>
                  </a:cubicBezTo>
                  <a:cubicBezTo>
                    <a:pt x="21" y="146"/>
                    <a:pt x="21" y="146"/>
                    <a:pt x="21" y="146"/>
                  </a:cubicBezTo>
                  <a:cubicBezTo>
                    <a:pt x="21" y="146"/>
                    <a:pt x="21" y="146"/>
                    <a:pt x="21" y="146"/>
                  </a:cubicBezTo>
                  <a:cubicBezTo>
                    <a:pt x="21" y="146"/>
                    <a:pt x="21" y="146"/>
                    <a:pt x="21" y="146"/>
                  </a:cubicBezTo>
                  <a:cubicBezTo>
                    <a:pt x="22" y="146"/>
                    <a:pt x="22" y="146"/>
                    <a:pt x="22" y="146"/>
                  </a:cubicBezTo>
                  <a:cubicBezTo>
                    <a:pt x="22" y="145"/>
                    <a:pt x="22" y="145"/>
                    <a:pt x="22" y="145"/>
                  </a:cubicBezTo>
                  <a:cubicBezTo>
                    <a:pt x="22" y="145"/>
                    <a:pt x="22" y="145"/>
                    <a:pt x="22" y="145"/>
                  </a:cubicBezTo>
                  <a:cubicBezTo>
                    <a:pt x="22" y="145"/>
                    <a:pt x="22" y="145"/>
                    <a:pt x="22" y="145"/>
                  </a:cubicBezTo>
                  <a:cubicBezTo>
                    <a:pt x="22" y="145"/>
                    <a:pt x="22" y="145"/>
                    <a:pt x="22" y="145"/>
                  </a:cubicBezTo>
                  <a:cubicBezTo>
                    <a:pt x="23" y="144"/>
                    <a:pt x="23" y="144"/>
                    <a:pt x="23" y="144"/>
                  </a:cubicBezTo>
                  <a:cubicBezTo>
                    <a:pt x="23" y="144"/>
                    <a:pt x="23" y="144"/>
                    <a:pt x="23" y="144"/>
                  </a:cubicBezTo>
                  <a:cubicBezTo>
                    <a:pt x="23" y="145"/>
                    <a:pt x="23" y="145"/>
                    <a:pt x="23" y="145"/>
                  </a:cubicBezTo>
                  <a:cubicBezTo>
                    <a:pt x="23" y="145"/>
                    <a:pt x="23" y="145"/>
                    <a:pt x="23" y="145"/>
                  </a:cubicBezTo>
                  <a:cubicBezTo>
                    <a:pt x="23" y="145"/>
                    <a:pt x="23" y="145"/>
                    <a:pt x="23" y="145"/>
                  </a:cubicBezTo>
                  <a:cubicBezTo>
                    <a:pt x="23" y="145"/>
                    <a:pt x="23" y="145"/>
                    <a:pt x="23" y="145"/>
                  </a:cubicBezTo>
                  <a:cubicBezTo>
                    <a:pt x="23" y="144"/>
                    <a:pt x="23" y="144"/>
                    <a:pt x="23" y="144"/>
                  </a:cubicBezTo>
                  <a:cubicBezTo>
                    <a:pt x="23" y="144"/>
                    <a:pt x="23" y="144"/>
                    <a:pt x="23" y="144"/>
                  </a:cubicBezTo>
                  <a:cubicBezTo>
                    <a:pt x="24" y="144"/>
                    <a:pt x="24" y="144"/>
                    <a:pt x="24" y="144"/>
                  </a:cubicBezTo>
                  <a:cubicBezTo>
                    <a:pt x="24" y="144"/>
                    <a:pt x="24" y="144"/>
                    <a:pt x="24" y="144"/>
                  </a:cubicBezTo>
                  <a:cubicBezTo>
                    <a:pt x="26" y="144"/>
                    <a:pt x="26" y="144"/>
                    <a:pt x="26" y="144"/>
                  </a:cubicBezTo>
                  <a:cubicBezTo>
                    <a:pt x="27" y="143"/>
                    <a:pt x="27" y="143"/>
                    <a:pt x="27" y="143"/>
                  </a:cubicBezTo>
                  <a:cubicBezTo>
                    <a:pt x="28" y="143"/>
                    <a:pt x="28" y="143"/>
                    <a:pt x="28" y="143"/>
                  </a:cubicBezTo>
                  <a:cubicBezTo>
                    <a:pt x="29" y="143"/>
                    <a:pt x="29" y="143"/>
                    <a:pt x="29" y="143"/>
                  </a:cubicBezTo>
                  <a:cubicBezTo>
                    <a:pt x="30" y="142"/>
                    <a:pt x="30" y="142"/>
                    <a:pt x="30" y="142"/>
                  </a:cubicBezTo>
                  <a:cubicBezTo>
                    <a:pt x="30" y="142"/>
                    <a:pt x="30" y="142"/>
                    <a:pt x="30" y="142"/>
                  </a:cubicBezTo>
                  <a:cubicBezTo>
                    <a:pt x="31" y="141"/>
                    <a:pt x="31" y="141"/>
                    <a:pt x="31" y="141"/>
                  </a:cubicBezTo>
                  <a:cubicBezTo>
                    <a:pt x="32" y="140"/>
                    <a:pt x="32" y="140"/>
                    <a:pt x="32" y="140"/>
                  </a:cubicBezTo>
                  <a:cubicBezTo>
                    <a:pt x="32" y="140"/>
                    <a:pt x="32" y="140"/>
                    <a:pt x="32" y="140"/>
                  </a:cubicBezTo>
                  <a:cubicBezTo>
                    <a:pt x="32" y="140"/>
                    <a:pt x="32" y="140"/>
                    <a:pt x="32" y="140"/>
                  </a:cubicBezTo>
                  <a:cubicBezTo>
                    <a:pt x="33" y="139"/>
                    <a:pt x="33" y="139"/>
                    <a:pt x="33" y="139"/>
                  </a:cubicBezTo>
                  <a:cubicBezTo>
                    <a:pt x="33" y="139"/>
                    <a:pt x="33" y="139"/>
                    <a:pt x="33" y="139"/>
                  </a:cubicBezTo>
                  <a:cubicBezTo>
                    <a:pt x="33" y="138"/>
                    <a:pt x="33" y="138"/>
                    <a:pt x="33" y="138"/>
                  </a:cubicBezTo>
                  <a:cubicBezTo>
                    <a:pt x="33" y="138"/>
                    <a:pt x="33" y="138"/>
                    <a:pt x="33" y="138"/>
                  </a:cubicBezTo>
                  <a:cubicBezTo>
                    <a:pt x="34" y="137"/>
                    <a:pt x="34" y="137"/>
                    <a:pt x="34" y="137"/>
                  </a:cubicBezTo>
                  <a:cubicBezTo>
                    <a:pt x="34" y="137"/>
                    <a:pt x="34" y="137"/>
                    <a:pt x="34" y="137"/>
                  </a:cubicBezTo>
                  <a:cubicBezTo>
                    <a:pt x="35" y="137"/>
                    <a:pt x="35" y="137"/>
                    <a:pt x="35" y="137"/>
                  </a:cubicBezTo>
                  <a:cubicBezTo>
                    <a:pt x="35" y="137"/>
                    <a:pt x="35" y="137"/>
                    <a:pt x="35" y="137"/>
                  </a:cubicBezTo>
                  <a:cubicBezTo>
                    <a:pt x="35" y="138"/>
                    <a:pt x="35" y="138"/>
                    <a:pt x="35" y="138"/>
                  </a:cubicBezTo>
                  <a:cubicBezTo>
                    <a:pt x="35" y="138"/>
                    <a:pt x="35" y="138"/>
                    <a:pt x="35" y="138"/>
                  </a:cubicBezTo>
                  <a:cubicBezTo>
                    <a:pt x="35" y="138"/>
                    <a:pt x="35" y="138"/>
                    <a:pt x="35" y="138"/>
                  </a:cubicBezTo>
                  <a:cubicBezTo>
                    <a:pt x="35" y="138"/>
                    <a:pt x="35" y="138"/>
                    <a:pt x="35" y="138"/>
                  </a:cubicBezTo>
                  <a:cubicBezTo>
                    <a:pt x="34" y="138"/>
                    <a:pt x="34" y="138"/>
                    <a:pt x="34" y="138"/>
                  </a:cubicBezTo>
                  <a:cubicBezTo>
                    <a:pt x="34" y="138"/>
                    <a:pt x="34" y="138"/>
                    <a:pt x="34" y="138"/>
                  </a:cubicBezTo>
                  <a:cubicBezTo>
                    <a:pt x="34" y="139"/>
                    <a:pt x="34" y="139"/>
                    <a:pt x="34" y="139"/>
                  </a:cubicBezTo>
                  <a:cubicBezTo>
                    <a:pt x="33" y="140"/>
                    <a:pt x="33" y="140"/>
                    <a:pt x="33" y="140"/>
                  </a:cubicBezTo>
                  <a:cubicBezTo>
                    <a:pt x="33" y="140"/>
                    <a:pt x="33" y="140"/>
                    <a:pt x="33" y="140"/>
                  </a:cubicBezTo>
                  <a:cubicBezTo>
                    <a:pt x="33" y="140"/>
                    <a:pt x="33" y="140"/>
                    <a:pt x="33" y="140"/>
                  </a:cubicBezTo>
                  <a:cubicBezTo>
                    <a:pt x="33" y="140"/>
                    <a:pt x="33" y="140"/>
                    <a:pt x="33" y="140"/>
                  </a:cubicBezTo>
                  <a:cubicBezTo>
                    <a:pt x="33" y="140"/>
                    <a:pt x="33" y="140"/>
                    <a:pt x="33" y="140"/>
                  </a:cubicBezTo>
                  <a:cubicBezTo>
                    <a:pt x="33" y="140"/>
                    <a:pt x="33" y="140"/>
                    <a:pt x="33" y="140"/>
                  </a:cubicBezTo>
                  <a:cubicBezTo>
                    <a:pt x="33" y="140"/>
                    <a:pt x="33" y="140"/>
                    <a:pt x="33" y="140"/>
                  </a:cubicBezTo>
                  <a:cubicBezTo>
                    <a:pt x="33" y="141"/>
                    <a:pt x="33" y="141"/>
                    <a:pt x="33" y="141"/>
                  </a:cubicBezTo>
                  <a:cubicBezTo>
                    <a:pt x="33" y="141"/>
                    <a:pt x="33" y="141"/>
                    <a:pt x="33" y="141"/>
                  </a:cubicBezTo>
                  <a:cubicBezTo>
                    <a:pt x="33" y="141"/>
                    <a:pt x="33" y="141"/>
                    <a:pt x="33" y="141"/>
                  </a:cubicBezTo>
                  <a:cubicBezTo>
                    <a:pt x="33" y="141"/>
                    <a:pt x="33" y="141"/>
                    <a:pt x="33" y="141"/>
                  </a:cubicBezTo>
                  <a:cubicBezTo>
                    <a:pt x="33" y="141"/>
                    <a:pt x="33" y="141"/>
                    <a:pt x="33" y="141"/>
                  </a:cubicBezTo>
                  <a:cubicBezTo>
                    <a:pt x="33" y="142"/>
                    <a:pt x="33" y="142"/>
                    <a:pt x="33" y="142"/>
                  </a:cubicBezTo>
                  <a:cubicBezTo>
                    <a:pt x="33" y="141"/>
                    <a:pt x="33" y="141"/>
                    <a:pt x="33" y="141"/>
                  </a:cubicBezTo>
                  <a:cubicBezTo>
                    <a:pt x="32" y="141"/>
                    <a:pt x="32" y="141"/>
                    <a:pt x="32" y="141"/>
                  </a:cubicBezTo>
                  <a:cubicBezTo>
                    <a:pt x="32" y="141"/>
                    <a:pt x="32" y="141"/>
                    <a:pt x="32" y="141"/>
                  </a:cubicBezTo>
                  <a:cubicBezTo>
                    <a:pt x="32" y="142"/>
                    <a:pt x="32" y="142"/>
                    <a:pt x="32" y="142"/>
                  </a:cubicBezTo>
                  <a:cubicBezTo>
                    <a:pt x="32" y="142"/>
                    <a:pt x="32" y="142"/>
                    <a:pt x="32" y="142"/>
                  </a:cubicBezTo>
                  <a:cubicBezTo>
                    <a:pt x="32" y="142"/>
                    <a:pt x="32" y="142"/>
                    <a:pt x="32" y="142"/>
                  </a:cubicBezTo>
                  <a:cubicBezTo>
                    <a:pt x="32" y="142"/>
                    <a:pt x="32" y="142"/>
                    <a:pt x="32" y="142"/>
                  </a:cubicBezTo>
                  <a:cubicBezTo>
                    <a:pt x="32" y="142"/>
                    <a:pt x="32" y="142"/>
                    <a:pt x="32" y="142"/>
                  </a:cubicBezTo>
                  <a:cubicBezTo>
                    <a:pt x="31" y="142"/>
                    <a:pt x="31" y="142"/>
                    <a:pt x="31" y="142"/>
                  </a:cubicBezTo>
                  <a:cubicBezTo>
                    <a:pt x="31" y="142"/>
                    <a:pt x="31" y="142"/>
                    <a:pt x="31" y="142"/>
                  </a:cubicBezTo>
                  <a:cubicBezTo>
                    <a:pt x="31" y="142"/>
                    <a:pt x="31" y="142"/>
                    <a:pt x="31" y="142"/>
                  </a:cubicBezTo>
                  <a:cubicBezTo>
                    <a:pt x="31" y="143"/>
                    <a:pt x="31" y="143"/>
                    <a:pt x="31" y="143"/>
                  </a:cubicBezTo>
                  <a:cubicBezTo>
                    <a:pt x="31" y="143"/>
                    <a:pt x="31" y="143"/>
                    <a:pt x="31" y="143"/>
                  </a:cubicBezTo>
                  <a:cubicBezTo>
                    <a:pt x="30" y="143"/>
                    <a:pt x="30" y="143"/>
                    <a:pt x="30" y="143"/>
                  </a:cubicBezTo>
                  <a:cubicBezTo>
                    <a:pt x="30" y="144"/>
                    <a:pt x="30" y="144"/>
                    <a:pt x="30" y="144"/>
                  </a:cubicBezTo>
                  <a:cubicBezTo>
                    <a:pt x="31" y="144"/>
                    <a:pt x="31" y="144"/>
                    <a:pt x="31" y="144"/>
                  </a:cubicBezTo>
                  <a:cubicBezTo>
                    <a:pt x="31" y="144"/>
                    <a:pt x="31" y="144"/>
                    <a:pt x="31" y="144"/>
                  </a:cubicBezTo>
                  <a:cubicBezTo>
                    <a:pt x="31" y="144"/>
                    <a:pt x="31" y="144"/>
                    <a:pt x="31" y="144"/>
                  </a:cubicBezTo>
                  <a:cubicBezTo>
                    <a:pt x="31" y="143"/>
                    <a:pt x="31" y="143"/>
                    <a:pt x="31" y="143"/>
                  </a:cubicBezTo>
                  <a:cubicBezTo>
                    <a:pt x="31" y="143"/>
                    <a:pt x="31" y="143"/>
                    <a:pt x="31" y="143"/>
                  </a:cubicBezTo>
                  <a:cubicBezTo>
                    <a:pt x="32" y="143"/>
                    <a:pt x="32" y="143"/>
                    <a:pt x="32" y="143"/>
                  </a:cubicBezTo>
                  <a:cubicBezTo>
                    <a:pt x="34" y="141"/>
                    <a:pt x="34" y="141"/>
                    <a:pt x="34" y="141"/>
                  </a:cubicBezTo>
                  <a:cubicBezTo>
                    <a:pt x="34" y="141"/>
                    <a:pt x="34" y="141"/>
                    <a:pt x="34" y="141"/>
                  </a:cubicBezTo>
                  <a:cubicBezTo>
                    <a:pt x="34" y="141"/>
                    <a:pt x="34" y="141"/>
                    <a:pt x="34" y="141"/>
                  </a:cubicBezTo>
                  <a:cubicBezTo>
                    <a:pt x="34" y="141"/>
                    <a:pt x="34" y="141"/>
                    <a:pt x="34" y="141"/>
                  </a:cubicBezTo>
                  <a:cubicBezTo>
                    <a:pt x="34" y="141"/>
                    <a:pt x="34" y="141"/>
                    <a:pt x="34" y="141"/>
                  </a:cubicBezTo>
                  <a:cubicBezTo>
                    <a:pt x="34" y="140"/>
                    <a:pt x="34" y="140"/>
                    <a:pt x="34" y="140"/>
                  </a:cubicBezTo>
                  <a:cubicBezTo>
                    <a:pt x="34" y="140"/>
                    <a:pt x="34" y="140"/>
                    <a:pt x="34" y="140"/>
                  </a:cubicBezTo>
                  <a:cubicBezTo>
                    <a:pt x="34" y="140"/>
                    <a:pt x="34" y="140"/>
                    <a:pt x="34" y="140"/>
                  </a:cubicBezTo>
                  <a:cubicBezTo>
                    <a:pt x="35" y="140"/>
                    <a:pt x="35" y="140"/>
                    <a:pt x="35" y="140"/>
                  </a:cubicBezTo>
                  <a:cubicBezTo>
                    <a:pt x="35" y="140"/>
                    <a:pt x="35" y="140"/>
                    <a:pt x="35" y="140"/>
                  </a:cubicBezTo>
                  <a:cubicBezTo>
                    <a:pt x="35" y="140"/>
                    <a:pt x="35" y="140"/>
                    <a:pt x="35" y="140"/>
                  </a:cubicBezTo>
                  <a:cubicBezTo>
                    <a:pt x="35" y="140"/>
                    <a:pt x="35" y="140"/>
                    <a:pt x="35" y="140"/>
                  </a:cubicBezTo>
                  <a:cubicBezTo>
                    <a:pt x="34" y="140"/>
                    <a:pt x="34" y="140"/>
                    <a:pt x="34" y="140"/>
                  </a:cubicBezTo>
                  <a:cubicBezTo>
                    <a:pt x="34" y="140"/>
                    <a:pt x="34" y="140"/>
                    <a:pt x="34" y="140"/>
                  </a:cubicBezTo>
                  <a:cubicBezTo>
                    <a:pt x="34" y="140"/>
                    <a:pt x="34" y="140"/>
                    <a:pt x="34" y="140"/>
                  </a:cubicBezTo>
                  <a:cubicBezTo>
                    <a:pt x="33" y="140"/>
                    <a:pt x="33" y="140"/>
                    <a:pt x="33" y="140"/>
                  </a:cubicBezTo>
                  <a:cubicBezTo>
                    <a:pt x="33" y="140"/>
                    <a:pt x="33" y="140"/>
                    <a:pt x="33" y="140"/>
                  </a:cubicBezTo>
                  <a:cubicBezTo>
                    <a:pt x="33" y="139"/>
                    <a:pt x="33" y="139"/>
                    <a:pt x="33" y="139"/>
                  </a:cubicBezTo>
                  <a:cubicBezTo>
                    <a:pt x="34" y="139"/>
                    <a:pt x="34" y="139"/>
                    <a:pt x="34" y="139"/>
                  </a:cubicBezTo>
                  <a:cubicBezTo>
                    <a:pt x="34" y="139"/>
                    <a:pt x="34" y="139"/>
                    <a:pt x="34" y="139"/>
                  </a:cubicBezTo>
                  <a:cubicBezTo>
                    <a:pt x="34" y="139"/>
                    <a:pt x="34" y="139"/>
                    <a:pt x="34" y="139"/>
                  </a:cubicBezTo>
                  <a:cubicBezTo>
                    <a:pt x="34" y="139"/>
                    <a:pt x="34" y="139"/>
                    <a:pt x="34" y="139"/>
                  </a:cubicBezTo>
                  <a:cubicBezTo>
                    <a:pt x="34" y="139"/>
                    <a:pt x="34" y="139"/>
                    <a:pt x="34" y="139"/>
                  </a:cubicBezTo>
                  <a:cubicBezTo>
                    <a:pt x="35" y="139"/>
                    <a:pt x="35" y="139"/>
                    <a:pt x="35" y="139"/>
                  </a:cubicBezTo>
                  <a:cubicBezTo>
                    <a:pt x="35" y="139"/>
                    <a:pt x="35" y="139"/>
                    <a:pt x="35" y="139"/>
                  </a:cubicBezTo>
                  <a:cubicBezTo>
                    <a:pt x="35" y="139"/>
                    <a:pt x="35" y="139"/>
                    <a:pt x="35" y="139"/>
                  </a:cubicBezTo>
                  <a:cubicBezTo>
                    <a:pt x="35" y="140"/>
                    <a:pt x="35" y="140"/>
                    <a:pt x="35" y="140"/>
                  </a:cubicBezTo>
                  <a:cubicBezTo>
                    <a:pt x="35" y="140"/>
                    <a:pt x="35" y="140"/>
                    <a:pt x="35" y="140"/>
                  </a:cubicBezTo>
                  <a:cubicBezTo>
                    <a:pt x="35" y="140"/>
                    <a:pt x="35" y="140"/>
                    <a:pt x="35" y="140"/>
                  </a:cubicBezTo>
                  <a:cubicBezTo>
                    <a:pt x="36" y="139"/>
                    <a:pt x="36" y="139"/>
                    <a:pt x="36" y="139"/>
                  </a:cubicBezTo>
                  <a:cubicBezTo>
                    <a:pt x="37" y="139"/>
                    <a:pt x="37" y="139"/>
                    <a:pt x="37" y="139"/>
                  </a:cubicBezTo>
                  <a:cubicBezTo>
                    <a:pt x="37" y="139"/>
                    <a:pt x="37" y="138"/>
                    <a:pt x="37" y="138"/>
                  </a:cubicBezTo>
                  <a:cubicBezTo>
                    <a:pt x="37" y="138"/>
                    <a:pt x="37" y="138"/>
                    <a:pt x="37" y="138"/>
                  </a:cubicBezTo>
                  <a:cubicBezTo>
                    <a:pt x="37" y="138"/>
                    <a:pt x="37" y="138"/>
                    <a:pt x="37" y="138"/>
                  </a:cubicBezTo>
                  <a:cubicBezTo>
                    <a:pt x="37" y="138"/>
                    <a:pt x="37" y="138"/>
                    <a:pt x="37" y="138"/>
                  </a:cubicBezTo>
                  <a:cubicBezTo>
                    <a:pt x="37" y="138"/>
                    <a:pt x="37" y="138"/>
                    <a:pt x="37" y="138"/>
                  </a:cubicBezTo>
                  <a:cubicBezTo>
                    <a:pt x="37" y="138"/>
                    <a:pt x="37" y="138"/>
                    <a:pt x="37" y="138"/>
                  </a:cubicBezTo>
                  <a:cubicBezTo>
                    <a:pt x="37" y="138"/>
                    <a:pt x="37" y="138"/>
                    <a:pt x="37" y="138"/>
                  </a:cubicBezTo>
                  <a:cubicBezTo>
                    <a:pt x="37" y="138"/>
                    <a:pt x="37" y="138"/>
                    <a:pt x="37" y="138"/>
                  </a:cubicBezTo>
                  <a:cubicBezTo>
                    <a:pt x="37" y="138"/>
                    <a:pt x="37" y="138"/>
                    <a:pt x="37" y="138"/>
                  </a:cubicBezTo>
                  <a:cubicBezTo>
                    <a:pt x="37" y="138"/>
                    <a:pt x="37" y="138"/>
                    <a:pt x="37" y="138"/>
                  </a:cubicBezTo>
                  <a:cubicBezTo>
                    <a:pt x="37" y="138"/>
                    <a:pt x="37" y="138"/>
                    <a:pt x="37" y="138"/>
                  </a:cubicBezTo>
                  <a:cubicBezTo>
                    <a:pt x="38" y="138"/>
                    <a:pt x="38" y="138"/>
                    <a:pt x="38" y="138"/>
                  </a:cubicBezTo>
                  <a:cubicBezTo>
                    <a:pt x="38" y="138"/>
                    <a:pt x="38" y="138"/>
                    <a:pt x="38" y="138"/>
                  </a:cubicBezTo>
                  <a:cubicBezTo>
                    <a:pt x="38" y="138"/>
                    <a:pt x="38" y="138"/>
                    <a:pt x="38" y="138"/>
                  </a:cubicBezTo>
                  <a:cubicBezTo>
                    <a:pt x="38" y="138"/>
                    <a:pt x="38" y="138"/>
                    <a:pt x="38" y="138"/>
                  </a:cubicBezTo>
                  <a:cubicBezTo>
                    <a:pt x="39" y="136"/>
                    <a:pt x="39" y="136"/>
                    <a:pt x="39" y="136"/>
                  </a:cubicBezTo>
                  <a:cubicBezTo>
                    <a:pt x="39" y="136"/>
                    <a:pt x="39" y="136"/>
                    <a:pt x="39" y="136"/>
                  </a:cubicBezTo>
                  <a:cubicBezTo>
                    <a:pt x="39" y="135"/>
                    <a:pt x="39" y="135"/>
                    <a:pt x="39" y="135"/>
                  </a:cubicBezTo>
                  <a:cubicBezTo>
                    <a:pt x="39" y="135"/>
                    <a:pt x="39" y="135"/>
                    <a:pt x="39" y="134"/>
                  </a:cubicBezTo>
                  <a:cubicBezTo>
                    <a:pt x="39" y="134"/>
                    <a:pt x="39" y="134"/>
                    <a:pt x="38" y="134"/>
                  </a:cubicBezTo>
                  <a:cubicBezTo>
                    <a:pt x="38" y="134"/>
                    <a:pt x="38" y="134"/>
                    <a:pt x="38" y="134"/>
                  </a:cubicBezTo>
                  <a:cubicBezTo>
                    <a:pt x="38" y="134"/>
                    <a:pt x="38" y="134"/>
                    <a:pt x="38" y="134"/>
                  </a:cubicBezTo>
                  <a:cubicBezTo>
                    <a:pt x="38" y="134"/>
                    <a:pt x="38" y="134"/>
                    <a:pt x="38" y="134"/>
                  </a:cubicBezTo>
                  <a:cubicBezTo>
                    <a:pt x="38" y="135"/>
                    <a:pt x="38" y="135"/>
                    <a:pt x="38" y="135"/>
                  </a:cubicBezTo>
                  <a:cubicBezTo>
                    <a:pt x="37" y="135"/>
                    <a:pt x="37" y="135"/>
                    <a:pt x="37" y="135"/>
                  </a:cubicBezTo>
                  <a:cubicBezTo>
                    <a:pt x="37" y="134"/>
                    <a:pt x="37" y="134"/>
                    <a:pt x="37" y="134"/>
                  </a:cubicBezTo>
                  <a:cubicBezTo>
                    <a:pt x="37" y="135"/>
                    <a:pt x="37" y="135"/>
                    <a:pt x="37" y="135"/>
                  </a:cubicBezTo>
                  <a:cubicBezTo>
                    <a:pt x="37" y="135"/>
                    <a:pt x="37" y="135"/>
                    <a:pt x="37" y="135"/>
                  </a:cubicBezTo>
                  <a:cubicBezTo>
                    <a:pt x="36" y="135"/>
                    <a:pt x="36" y="135"/>
                    <a:pt x="36" y="135"/>
                  </a:cubicBezTo>
                  <a:cubicBezTo>
                    <a:pt x="36" y="135"/>
                    <a:pt x="36" y="135"/>
                    <a:pt x="36" y="136"/>
                  </a:cubicBezTo>
                  <a:cubicBezTo>
                    <a:pt x="36" y="136"/>
                    <a:pt x="36" y="136"/>
                    <a:pt x="36" y="136"/>
                  </a:cubicBezTo>
                  <a:cubicBezTo>
                    <a:pt x="36" y="136"/>
                    <a:pt x="36" y="136"/>
                    <a:pt x="36" y="136"/>
                  </a:cubicBezTo>
                  <a:cubicBezTo>
                    <a:pt x="35" y="136"/>
                    <a:pt x="35" y="136"/>
                    <a:pt x="35" y="136"/>
                  </a:cubicBezTo>
                  <a:cubicBezTo>
                    <a:pt x="35" y="136"/>
                    <a:pt x="35" y="136"/>
                    <a:pt x="34" y="136"/>
                  </a:cubicBezTo>
                  <a:cubicBezTo>
                    <a:pt x="34" y="136"/>
                    <a:pt x="34" y="136"/>
                    <a:pt x="34" y="136"/>
                  </a:cubicBezTo>
                  <a:cubicBezTo>
                    <a:pt x="34" y="136"/>
                    <a:pt x="34" y="136"/>
                    <a:pt x="33" y="136"/>
                  </a:cubicBezTo>
                  <a:cubicBezTo>
                    <a:pt x="33" y="135"/>
                    <a:pt x="33" y="135"/>
                    <a:pt x="33" y="135"/>
                  </a:cubicBezTo>
                  <a:cubicBezTo>
                    <a:pt x="33" y="135"/>
                    <a:pt x="33" y="134"/>
                    <a:pt x="32" y="134"/>
                  </a:cubicBezTo>
                  <a:cubicBezTo>
                    <a:pt x="32" y="134"/>
                    <a:pt x="32" y="134"/>
                    <a:pt x="32" y="134"/>
                  </a:cubicBezTo>
                  <a:cubicBezTo>
                    <a:pt x="33" y="134"/>
                    <a:pt x="33" y="134"/>
                    <a:pt x="33" y="134"/>
                  </a:cubicBezTo>
                  <a:cubicBezTo>
                    <a:pt x="33" y="134"/>
                    <a:pt x="33" y="134"/>
                    <a:pt x="33" y="134"/>
                  </a:cubicBezTo>
                  <a:cubicBezTo>
                    <a:pt x="33" y="134"/>
                    <a:pt x="33" y="134"/>
                    <a:pt x="34" y="134"/>
                  </a:cubicBezTo>
                  <a:cubicBezTo>
                    <a:pt x="34" y="134"/>
                    <a:pt x="34" y="133"/>
                    <a:pt x="34" y="133"/>
                  </a:cubicBezTo>
                  <a:cubicBezTo>
                    <a:pt x="34" y="133"/>
                    <a:pt x="34" y="133"/>
                    <a:pt x="34" y="133"/>
                  </a:cubicBezTo>
                  <a:cubicBezTo>
                    <a:pt x="34" y="133"/>
                    <a:pt x="34" y="133"/>
                    <a:pt x="34" y="133"/>
                  </a:cubicBezTo>
                  <a:cubicBezTo>
                    <a:pt x="34" y="133"/>
                    <a:pt x="35" y="134"/>
                    <a:pt x="35" y="134"/>
                  </a:cubicBezTo>
                  <a:cubicBezTo>
                    <a:pt x="36" y="134"/>
                    <a:pt x="36" y="134"/>
                    <a:pt x="36" y="134"/>
                  </a:cubicBezTo>
                  <a:cubicBezTo>
                    <a:pt x="36" y="134"/>
                    <a:pt x="36" y="133"/>
                    <a:pt x="36" y="133"/>
                  </a:cubicBezTo>
                  <a:cubicBezTo>
                    <a:pt x="36" y="133"/>
                    <a:pt x="36" y="133"/>
                    <a:pt x="36" y="133"/>
                  </a:cubicBezTo>
                  <a:cubicBezTo>
                    <a:pt x="37" y="133"/>
                    <a:pt x="37" y="133"/>
                    <a:pt x="37" y="132"/>
                  </a:cubicBezTo>
                  <a:cubicBezTo>
                    <a:pt x="37" y="132"/>
                    <a:pt x="37" y="132"/>
                    <a:pt x="37" y="132"/>
                  </a:cubicBezTo>
                  <a:cubicBezTo>
                    <a:pt x="37" y="132"/>
                    <a:pt x="37" y="132"/>
                    <a:pt x="37" y="132"/>
                  </a:cubicBezTo>
                  <a:cubicBezTo>
                    <a:pt x="37" y="132"/>
                    <a:pt x="37" y="132"/>
                    <a:pt x="37" y="132"/>
                  </a:cubicBezTo>
                  <a:cubicBezTo>
                    <a:pt x="38" y="132"/>
                    <a:pt x="38" y="132"/>
                    <a:pt x="38" y="132"/>
                  </a:cubicBezTo>
                  <a:cubicBezTo>
                    <a:pt x="38" y="132"/>
                    <a:pt x="38" y="132"/>
                    <a:pt x="38" y="132"/>
                  </a:cubicBezTo>
                  <a:cubicBezTo>
                    <a:pt x="39" y="132"/>
                    <a:pt x="39" y="132"/>
                    <a:pt x="39" y="132"/>
                  </a:cubicBezTo>
                  <a:cubicBezTo>
                    <a:pt x="39" y="131"/>
                    <a:pt x="39" y="131"/>
                    <a:pt x="39" y="131"/>
                  </a:cubicBezTo>
                  <a:cubicBezTo>
                    <a:pt x="39" y="130"/>
                    <a:pt x="39" y="130"/>
                    <a:pt x="39" y="130"/>
                  </a:cubicBezTo>
                  <a:cubicBezTo>
                    <a:pt x="42" y="129"/>
                    <a:pt x="42" y="129"/>
                    <a:pt x="42" y="129"/>
                  </a:cubicBezTo>
                  <a:cubicBezTo>
                    <a:pt x="43" y="129"/>
                    <a:pt x="43" y="129"/>
                    <a:pt x="43" y="129"/>
                  </a:cubicBezTo>
                  <a:cubicBezTo>
                    <a:pt x="44" y="129"/>
                    <a:pt x="44" y="129"/>
                    <a:pt x="44" y="128"/>
                  </a:cubicBezTo>
                  <a:cubicBezTo>
                    <a:pt x="44" y="128"/>
                    <a:pt x="44" y="128"/>
                    <a:pt x="44" y="128"/>
                  </a:cubicBezTo>
                  <a:cubicBezTo>
                    <a:pt x="44" y="127"/>
                    <a:pt x="44" y="127"/>
                    <a:pt x="44" y="127"/>
                  </a:cubicBezTo>
                  <a:cubicBezTo>
                    <a:pt x="44" y="127"/>
                    <a:pt x="44" y="127"/>
                    <a:pt x="44" y="127"/>
                  </a:cubicBezTo>
                  <a:cubicBezTo>
                    <a:pt x="45" y="127"/>
                    <a:pt x="45" y="127"/>
                    <a:pt x="45" y="127"/>
                  </a:cubicBezTo>
                  <a:cubicBezTo>
                    <a:pt x="45" y="127"/>
                    <a:pt x="45" y="127"/>
                    <a:pt x="45" y="127"/>
                  </a:cubicBezTo>
                  <a:cubicBezTo>
                    <a:pt x="45" y="127"/>
                    <a:pt x="45" y="127"/>
                    <a:pt x="45" y="127"/>
                  </a:cubicBezTo>
                  <a:cubicBezTo>
                    <a:pt x="46" y="127"/>
                    <a:pt x="46" y="127"/>
                    <a:pt x="46" y="127"/>
                  </a:cubicBezTo>
                  <a:cubicBezTo>
                    <a:pt x="46" y="126"/>
                    <a:pt x="47" y="126"/>
                    <a:pt x="47" y="126"/>
                  </a:cubicBezTo>
                  <a:cubicBezTo>
                    <a:pt x="47" y="126"/>
                    <a:pt x="48" y="125"/>
                    <a:pt x="48" y="125"/>
                  </a:cubicBezTo>
                  <a:cubicBezTo>
                    <a:pt x="48" y="125"/>
                    <a:pt x="48" y="125"/>
                    <a:pt x="48" y="125"/>
                  </a:cubicBezTo>
                  <a:cubicBezTo>
                    <a:pt x="48" y="125"/>
                    <a:pt x="48" y="125"/>
                    <a:pt x="48" y="125"/>
                  </a:cubicBezTo>
                  <a:cubicBezTo>
                    <a:pt x="49" y="125"/>
                    <a:pt x="49" y="125"/>
                    <a:pt x="49" y="125"/>
                  </a:cubicBezTo>
                  <a:cubicBezTo>
                    <a:pt x="49" y="125"/>
                    <a:pt x="49" y="124"/>
                    <a:pt x="49" y="124"/>
                  </a:cubicBezTo>
                  <a:cubicBezTo>
                    <a:pt x="50" y="124"/>
                    <a:pt x="50" y="124"/>
                    <a:pt x="50" y="124"/>
                  </a:cubicBezTo>
                  <a:cubicBezTo>
                    <a:pt x="50" y="124"/>
                    <a:pt x="50" y="124"/>
                    <a:pt x="50" y="124"/>
                  </a:cubicBezTo>
                  <a:cubicBezTo>
                    <a:pt x="50" y="123"/>
                    <a:pt x="50" y="123"/>
                    <a:pt x="50" y="123"/>
                  </a:cubicBezTo>
                  <a:cubicBezTo>
                    <a:pt x="50" y="122"/>
                    <a:pt x="50" y="122"/>
                    <a:pt x="50" y="122"/>
                  </a:cubicBezTo>
                  <a:cubicBezTo>
                    <a:pt x="51" y="122"/>
                    <a:pt x="51" y="122"/>
                    <a:pt x="51" y="121"/>
                  </a:cubicBezTo>
                  <a:cubicBezTo>
                    <a:pt x="51" y="121"/>
                    <a:pt x="51" y="121"/>
                    <a:pt x="51" y="121"/>
                  </a:cubicBezTo>
                  <a:cubicBezTo>
                    <a:pt x="52" y="121"/>
                    <a:pt x="52" y="121"/>
                    <a:pt x="52" y="120"/>
                  </a:cubicBezTo>
                  <a:cubicBezTo>
                    <a:pt x="52" y="120"/>
                    <a:pt x="52" y="120"/>
                    <a:pt x="52" y="120"/>
                  </a:cubicBezTo>
                  <a:cubicBezTo>
                    <a:pt x="52" y="120"/>
                    <a:pt x="52" y="120"/>
                    <a:pt x="52" y="120"/>
                  </a:cubicBezTo>
                  <a:cubicBezTo>
                    <a:pt x="52" y="121"/>
                    <a:pt x="52" y="121"/>
                    <a:pt x="52" y="121"/>
                  </a:cubicBezTo>
                  <a:cubicBezTo>
                    <a:pt x="52" y="121"/>
                    <a:pt x="52" y="121"/>
                    <a:pt x="52" y="122"/>
                  </a:cubicBezTo>
                  <a:cubicBezTo>
                    <a:pt x="52" y="122"/>
                    <a:pt x="52" y="122"/>
                    <a:pt x="53" y="123"/>
                  </a:cubicBezTo>
                  <a:cubicBezTo>
                    <a:pt x="53" y="123"/>
                    <a:pt x="53" y="123"/>
                    <a:pt x="53" y="123"/>
                  </a:cubicBezTo>
                  <a:cubicBezTo>
                    <a:pt x="53" y="123"/>
                    <a:pt x="53" y="123"/>
                    <a:pt x="53" y="123"/>
                  </a:cubicBezTo>
                  <a:cubicBezTo>
                    <a:pt x="53" y="123"/>
                    <a:pt x="52" y="123"/>
                    <a:pt x="52" y="123"/>
                  </a:cubicBezTo>
                  <a:cubicBezTo>
                    <a:pt x="52" y="123"/>
                    <a:pt x="52" y="124"/>
                    <a:pt x="52" y="124"/>
                  </a:cubicBezTo>
                  <a:cubicBezTo>
                    <a:pt x="52" y="124"/>
                    <a:pt x="52" y="124"/>
                    <a:pt x="52" y="124"/>
                  </a:cubicBezTo>
                  <a:cubicBezTo>
                    <a:pt x="51" y="124"/>
                    <a:pt x="51" y="124"/>
                    <a:pt x="51" y="124"/>
                  </a:cubicBezTo>
                  <a:cubicBezTo>
                    <a:pt x="51" y="125"/>
                    <a:pt x="51" y="125"/>
                    <a:pt x="51" y="125"/>
                  </a:cubicBezTo>
                  <a:cubicBezTo>
                    <a:pt x="51" y="126"/>
                    <a:pt x="51" y="126"/>
                    <a:pt x="51" y="126"/>
                  </a:cubicBezTo>
                  <a:cubicBezTo>
                    <a:pt x="51" y="127"/>
                    <a:pt x="51" y="127"/>
                    <a:pt x="51" y="127"/>
                  </a:cubicBezTo>
                  <a:cubicBezTo>
                    <a:pt x="51" y="127"/>
                    <a:pt x="52" y="127"/>
                    <a:pt x="52" y="127"/>
                  </a:cubicBezTo>
                  <a:cubicBezTo>
                    <a:pt x="53" y="127"/>
                    <a:pt x="53" y="127"/>
                    <a:pt x="53" y="127"/>
                  </a:cubicBezTo>
                  <a:cubicBezTo>
                    <a:pt x="54" y="127"/>
                    <a:pt x="54" y="127"/>
                    <a:pt x="54" y="126"/>
                  </a:cubicBezTo>
                  <a:cubicBezTo>
                    <a:pt x="54" y="126"/>
                    <a:pt x="54" y="126"/>
                    <a:pt x="54" y="126"/>
                  </a:cubicBezTo>
                  <a:cubicBezTo>
                    <a:pt x="54" y="126"/>
                    <a:pt x="55" y="126"/>
                    <a:pt x="55" y="126"/>
                  </a:cubicBezTo>
                  <a:cubicBezTo>
                    <a:pt x="57" y="125"/>
                    <a:pt x="57" y="125"/>
                    <a:pt x="57" y="125"/>
                  </a:cubicBezTo>
                  <a:cubicBezTo>
                    <a:pt x="57" y="125"/>
                    <a:pt x="57" y="125"/>
                    <a:pt x="57" y="125"/>
                  </a:cubicBezTo>
                  <a:cubicBezTo>
                    <a:pt x="57" y="125"/>
                    <a:pt x="57" y="125"/>
                    <a:pt x="58" y="125"/>
                  </a:cubicBezTo>
                  <a:cubicBezTo>
                    <a:pt x="58" y="125"/>
                    <a:pt x="58" y="125"/>
                    <a:pt x="58" y="125"/>
                  </a:cubicBezTo>
                  <a:cubicBezTo>
                    <a:pt x="58" y="125"/>
                    <a:pt x="58" y="124"/>
                    <a:pt x="58" y="124"/>
                  </a:cubicBezTo>
                  <a:cubicBezTo>
                    <a:pt x="58" y="124"/>
                    <a:pt x="58" y="123"/>
                    <a:pt x="58" y="123"/>
                  </a:cubicBezTo>
                  <a:cubicBezTo>
                    <a:pt x="58" y="123"/>
                    <a:pt x="58" y="123"/>
                    <a:pt x="58" y="123"/>
                  </a:cubicBezTo>
                  <a:cubicBezTo>
                    <a:pt x="58" y="123"/>
                    <a:pt x="58" y="122"/>
                    <a:pt x="58" y="122"/>
                  </a:cubicBezTo>
                  <a:cubicBezTo>
                    <a:pt x="58" y="122"/>
                    <a:pt x="58" y="122"/>
                    <a:pt x="58" y="122"/>
                  </a:cubicBezTo>
                  <a:cubicBezTo>
                    <a:pt x="57" y="122"/>
                    <a:pt x="57" y="122"/>
                    <a:pt x="56" y="122"/>
                  </a:cubicBezTo>
                  <a:cubicBezTo>
                    <a:pt x="56" y="122"/>
                    <a:pt x="56" y="122"/>
                    <a:pt x="56" y="122"/>
                  </a:cubicBezTo>
                  <a:cubicBezTo>
                    <a:pt x="56" y="122"/>
                    <a:pt x="56" y="122"/>
                    <a:pt x="56" y="122"/>
                  </a:cubicBezTo>
                  <a:cubicBezTo>
                    <a:pt x="56" y="122"/>
                    <a:pt x="56" y="122"/>
                    <a:pt x="56" y="121"/>
                  </a:cubicBezTo>
                  <a:cubicBezTo>
                    <a:pt x="56" y="121"/>
                    <a:pt x="56" y="121"/>
                    <a:pt x="57" y="121"/>
                  </a:cubicBezTo>
                  <a:cubicBezTo>
                    <a:pt x="57" y="120"/>
                    <a:pt x="57" y="120"/>
                    <a:pt x="57" y="120"/>
                  </a:cubicBezTo>
                  <a:cubicBezTo>
                    <a:pt x="57" y="120"/>
                    <a:pt x="57" y="120"/>
                    <a:pt x="57" y="120"/>
                  </a:cubicBezTo>
                  <a:cubicBezTo>
                    <a:pt x="57" y="120"/>
                    <a:pt x="57" y="120"/>
                    <a:pt x="57" y="120"/>
                  </a:cubicBezTo>
                  <a:cubicBezTo>
                    <a:pt x="57" y="120"/>
                    <a:pt x="57" y="120"/>
                    <a:pt x="58" y="120"/>
                  </a:cubicBezTo>
                  <a:cubicBezTo>
                    <a:pt x="58" y="120"/>
                    <a:pt x="58" y="120"/>
                    <a:pt x="58" y="120"/>
                  </a:cubicBezTo>
                  <a:cubicBezTo>
                    <a:pt x="58" y="119"/>
                    <a:pt x="58" y="119"/>
                    <a:pt x="58" y="119"/>
                  </a:cubicBezTo>
                  <a:cubicBezTo>
                    <a:pt x="58" y="120"/>
                    <a:pt x="58" y="120"/>
                    <a:pt x="58" y="120"/>
                  </a:cubicBezTo>
                  <a:cubicBezTo>
                    <a:pt x="59" y="120"/>
                    <a:pt x="59" y="119"/>
                    <a:pt x="60" y="119"/>
                  </a:cubicBezTo>
                  <a:cubicBezTo>
                    <a:pt x="60" y="119"/>
                    <a:pt x="60" y="119"/>
                    <a:pt x="60" y="119"/>
                  </a:cubicBezTo>
                  <a:cubicBezTo>
                    <a:pt x="60" y="119"/>
                    <a:pt x="60" y="119"/>
                    <a:pt x="60" y="118"/>
                  </a:cubicBezTo>
                  <a:cubicBezTo>
                    <a:pt x="61" y="118"/>
                    <a:pt x="61" y="118"/>
                    <a:pt x="61" y="118"/>
                  </a:cubicBezTo>
                  <a:cubicBezTo>
                    <a:pt x="62" y="119"/>
                    <a:pt x="62" y="119"/>
                    <a:pt x="62" y="119"/>
                  </a:cubicBezTo>
                  <a:cubicBezTo>
                    <a:pt x="62" y="119"/>
                    <a:pt x="62" y="120"/>
                    <a:pt x="63" y="120"/>
                  </a:cubicBezTo>
                  <a:cubicBezTo>
                    <a:pt x="63" y="120"/>
                    <a:pt x="64" y="119"/>
                    <a:pt x="64" y="119"/>
                  </a:cubicBezTo>
                  <a:cubicBezTo>
                    <a:pt x="64" y="118"/>
                    <a:pt x="64" y="118"/>
                    <a:pt x="64" y="118"/>
                  </a:cubicBezTo>
                  <a:cubicBezTo>
                    <a:pt x="64" y="118"/>
                    <a:pt x="64" y="118"/>
                    <a:pt x="64" y="118"/>
                  </a:cubicBezTo>
                  <a:cubicBezTo>
                    <a:pt x="64" y="118"/>
                    <a:pt x="64" y="117"/>
                    <a:pt x="64" y="117"/>
                  </a:cubicBezTo>
                  <a:cubicBezTo>
                    <a:pt x="64" y="117"/>
                    <a:pt x="64" y="117"/>
                    <a:pt x="64" y="117"/>
                  </a:cubicBezTo>
                  <a:cubicBezTo>
                    <a:pt x="64" y="117"/>
                    <a:pt x="64" y="116"/>
                    <a:pt x="64" y="116"/>
                  </a:cubicBezTo>
                  <a:cubicBezTo>
                    <a:pt x="64" y="116"/>
                    <a:pt x="64" y="116"/>
                    <a:pt x="64" y="116"/>
                  </a:cubicBezTo>
                  <a:cubicBezTo>
                    <a:pt x="64" y="115"/>
                    <a:pt x="64" y="115"/>
                    <a:pt x="64" y="115"/>
                  </a:cubicBezTo>
                  <a:cubicBezTo>
                    <a:pt x="64" y="114"/>
                    <a:pt x="64" y="114"/>
                    <a:pt x="64" y="114"/>
                  </a:cubicBezTo>
                  <a:cubicBezTo>
                    <a:pt x="64" y="113"/>
                    <a:pt x="63" y="113"/>
                    <a:pt x="63" y="113"/>
                  </a:cubicBezTo>
                  <a:cubicBezTo>
                    <a:pt x="63" y="113"/>
                    <a:pt x="63" y="113"/>
                    <a:pt x="63" y="113"/>
                  </a:cubicBezTo>
                  <a:cubicBezTo>
                    <a:pt x="62" y="110"/>
                    <a:pt x="62" y="110"/>
                    <a:pt x="62" y="110"/>
                  </a:cubicBezTo>
                  <a:cubicBezTo>
                    <a:pt x="61" y="110"/>
                    <a:pt x="61" y="110"/>
                    <a:pt x="61" y="110"/>
                  </a:cubicBezTo>
                  <a:cubicBezTo>
                    <a:pt x="61" y="109"/>
                    <a:pt x="61" y="109"/>
                    <a:pt x="61" y="109"/>
                  </a:cubicBezTo>
                  <a:cubicBezTo>
                    <a:pt x="60" y="109"/>
                    <a:pt x="60" y="109"/>
                    <a:pt x="60" y="109"/>
                  </a:cubicBezTo>
                  <a:cubicBezTo>
                    <a:pt x="60" y="109"/>
                    <a:pt x="60" y="109"/>
                    <a:pt x="60" y="109"/>
                  </a:cubicBezTo>
                  <a:cubicBezTo>
                    <a:pt x="59" y="108"/>
                    <a:pt x="59" y="108"/>
                    <a:pt x="59" y="108"/>
                  </a:cubicBezTo>
                  <a:cubicBezTo>
                    <a:pt x="57" y="108"/>
                    <a:pt x="57" y="108"/>
                    <a:pt x="57" y="108"/>
                  </a:cubicBezTo>
                  <a:cubicBezTo>
                    <a:pt x="57" y="108"/>
                    <a:pt x="56" y="108"/>
                    <a:pt x="56" y="109"/>
                  </a:cubicBezTo>
                  <a:cubicBezTo>
                    <a:pt x="56" y="109"/>
                    <a:pt x="56" y="109"/>
                    <a:pt x="56" y="109"/>
                  </a:cubicBezTo>
                  <a:cubicBezTo>
                    <a:pt x="56" y="110"/>
                    <a:pt x="56" y="110"/>
                    <a:pt x="56" y="110"/>
                  </a:cubicBezTo>
                  <a:cubicBezTo>
                    <a:pt x="56" y="110"/>
                    <a:pt x="56" y="111"/>
                    <a:pt x="56" y="111"/>
                  </a:cubicBezTo>
                  <a:cubicBezTo>
                    <a:pt x="56" y="111"/>
                    <a:pt x="56" y="111"/>
                    <a:pt x="56" y="111"/>
                  </a:cubicBezTo>
                  <a:cubicBezTo>
                    <a:pt x="56" y="111"/>
                    <a:pt x="56" y="111"/>
                    <a:pt x="56" y="111"/>
                  </a:cubicBezTo>
                  <a:cubicBezTo>
                    <a:pt x="57" y="111"/>
                    <a:pt x="57" y="112"/>
                    <a:pt x="57" y="112"/>
                  </a:cubicBezTo>
                  <a:cubicBezTo>
                    <a:pt x="57" y="112"/>
                    <a:pt x="57" y="112"/>
                    <a:pt x="57" y="112"/>
                  </a:cubicBezTo>
                  <a:cubicBezTo>
                    <a:pt x="57" y="112"/>
                    <a:pt x="57" y="112"/>
                    <a:pt x="57" y="112"/>
                  </a:cubicBezTo>
                  <a:cubicBezTo>
                    <a:pt x="57" y="112"/>
                    <a:pt x="57" y="112"/>
                    <a:pt x="57" y="112"/>
                  </a:cubicBezTo>
                  <a:cubicBezTo>
                    <a:pt x="58" y="112"/>
                    <a:pt x="58" y="112"/>
                    <a:pt x="58" y="112"/>
                  </a:cubicBezTo>
                  <a:cubicBezTo>
                    <a:pt x="58" y="112"/>
                    <a:pt x="58" y="112"/>
                    <a:pt x="59" y="111"/>
                  </a:cubicBezTo>
                  <a:cubicBezTo>
                    <a:pt x="59" y="113"/>
                    <a:pt x="59" y="113"/>
                    <a:pt x="59" y="113"/>
                  </a:cubicBezTo>
                  <a:cubicBezTo>
                    <a:pt x="59" y="113"/>
                    <a:pt x="59" y="114"/>
                    <a:pt x="60" y="114"/>
                  </a:cubicBezTo>
                  <a:cubicBezTo>
                    <a:pt x="60" y="114"/>
                    <a:pt x="60" y="114"/>
                    <a:pt x="60" y="114"/>
                  </a:cubicBezTo>
                  <a:cubicBezTo>
                    <a:pt x="58" y="115"/>
                    <a:pt x="58" y="115"/>
                    <a:pt x="58" y="115"/>
                  </a:cubicBezTo>
                  <a:cubicBezTo>
                    <a:pt x="58" y="115"/>
                    <a:pt x="58" y="115"/>
                    <a:pt x="58" y="115"/>
                  </a:cubicBezTo>
                  <a:cubicBezTo>
                    <a:pt x="58" y="115"/>
                    <a:pt x="58" y="115"/>
                    <a:pt x="58" y="115"/>
                  </a:cubicBezTo>
                  <a:cubicBezTo>
                    <a:pt x="56" y="116"/>
                    <a:pt x="56" y="116"/>
                    <a:pt x="56" y="116"/>
                  </a:cubicBezTo>
                  <a:cubicBezTo>
                    <a:pt x="56" y="116"/>
                    <a:pt x="56" y="116"/>
                    <a:pt x="56" y="116"/>
                  </a:cubicBezTo>
                  <a:cubicBezTo>
                    <a:pt x="56" y="115"/>
                    <a:pt x="56" y="115"/>
                    <a:pt x="56" y="115"/>
                  </a:cubicBezTo>
                  <a:cubicBezTo>
                    <a:pt x="55" y="115"/>
                    <a:pt x="55" y="115"/>
                    <a:pt x="55" y="115"/>
                  </a:cubicBezTo>
                  <a:cubicBezTo>
                    <a:pt x="55" y="115"/>
                    <a:pt x="55" y="115"/>
                    <a:pt x="55" y="115"/>
                  </a:cubicBezTo>
                  <a:cubicBezTo>
                    <a:pt x="55" y="115"/>
                    <a:pt x="55" y="115"/>
                    <a:pt x="55" y="115"/>
                  </a:cubicBezTo>
                  <a:cubicBezTo>
                    <a:pt x="54" y="114"/>
                    <a:pt x="54" y="114"/>
                    <a:pt x="54" y="114"/>
                  </a:cubicBezTo>
                  <a:cubicBezTo>
                    <a:pt x="54" y="114"/>
                    <a:pt x="54" y="114"/>
                    <a:pt x="54" y="114"/>
                  </a:cubicBezTo>
                  <a:cubicBezTo>
                    <a:pt x="54" y="113"/>
                    <a:pt x="54" y="113"/>
                    <a:pt x="54" y="113"/>
                  </a:cubicBezTo>
                  <a:cubicBezTo>
                    <a:pt x="54" y="113"/>
                    <a:pt x="53" y="112"/>
                    <a:pt x="53" y="112"/>
                  </a:cubicBezTo>
                  <a:cubicBezTo>
                    <a:pt x="53" y="112"/>
                    <a:pt x="53" y="112"/>
                    <a:pt x="53" y="112"/>
                  </a:cubicBezTo>
                  <a:cubicBezTo>
                    <a:pt x="53" y="112"/>
                    <a:pt x="53" y="112"/>
                    <a:pt x="53" y="112"/>
                  </a:cubicBezTo>
                  <a:cubicBezTo>
                    <a:pt x="52" y="111"/>
                    <a:pt x="52" y="111"/>
                    <a:pt x="52" y="111"/>
                  </a:cubicBezTo>
                  <a:cubicBezTo>
                    <a:pt x="52" y="111"/>
                    <a:pt x="52" y="111"/>
                    <a:pt x="52" y="111"/>
                  </a:cubicBezTo>
                  <a:cubicBezTo>
                    <a:pt x="52" y="111"/>
                    <a:pt x="52" y="110"/>
                    <a:pt x="51" y="110"/>
                  </a:cubicBezTo>
                  <a:cubicBezTo>
                    <a:pt x="51" y="110"/>
                    <a:pt x="51" y="110"/>
                    <a:pt x="51" y="110"/>
                  </a:cubicBezTo>
                  <a:cubicBezTo>
                    <a:pt x="50" y="109"/>
                    <a:pt x="50" y="109"/>
                    <a:pt x="50" y="109"/>
                  </a:cubicBezTo>
                  <a:cubicBezTo>
                    <a:pt x="50" y="109"/>
                    <a:pt x="50" y="109"/>
                    <a:pt x="50" y="109"/>
                  </a:cubicBezTo>
                  <a:cubicBezTo>
                    <a:pt x="50" y="109"/>
                    <a:pt x="50" y="108"/>
                    <a:pt x="50" y="108"/>
                  </a:cubicBezTo>
                  <a:cubicBezTo>
                    <a:pt x="49" y="108"/>
                    <a:pt x="49" y="108"/>
                    <a:pt x="49" y="108"/>
                  </a:cubicBezTo>
                  <a:cubicBezTo>
                    <a:pt x="49" y="108"/>
                    <a:pt x="49" y="108"/>
                    <a:pt x="49" y="108"/>
                  </a:cubicBezTo>
                  <a:cubicBezTo>
                    <a:pt x="49" y="108"/>
                    <a:pt x="48" y="108"/>
                    <a:pt x="48" y="108"/>
                  </a:cubicBezTo>
                  <a:cubicBezTo>
                    <a:pt x="47" y="108"/>
                    <a:pt x="47" y="108"/>
                    <a:pt x="47" y="108"/>
                  </a:cubicBezTo>
                  <a:cubicBezTo>
                    <a:pt x="47" y="107"/>
                    <a:pt x="47" y="107"/>
                    <a:pt x="47" y="107"/>
                  </a:cubicBezTo>
                  <a:cubicBezTo>
                    <a:pt x="46" y="107"/>
                    <a:pt x="46" y="107"/>
                    <a:pt x="46" y="107"/>
                  </a:cubicBezTo>
                  <a:cubicBezTo>
                    <a:pt x="46" y="107"/>
                    <a:pt x="46" y="107"/>
                    <a:pt x="46" y="107"/>
                  </a:cubicBezTo>
                  <a:cubicBezTo>
                    <a:pt x="46" y="107"/>
                    <a:pt x="46" y="107"/>
                    <a:pt x="46" y="107"/>
                  </a:cubicBezTo>
                  <a:cubicBezTo>
                    <a:pt x="46" y="107"/>
                    <a:pt x="47" y="107"/>
                    <a:pt x="47" y="106"/>
                  </a:cubicBezTo>
                  <a:cubicBezTo>
                    <a:pt x="47" y="106"/>
                    <a:pt x="47" y="106"/>
                    <a:pt x="47" y="105"/>
                  </a:cubicBezTo>
                  <a:cubicBezTo>
                    <a:pt x="47" y="105"/>
                    <a:pt x="47" y="105"/>
                    <a:pt x="47" y="105"/>
                  </a:cubicBezTo>
                  <a:cubicBezTo>
                    <a:pt x="47" y="104"/>
                    <a:pt x="47" y="104"/>
                    <a:pt x="47" y="104"/>
                  </a:cubicBezTo>
                  <a:cubicBezTo>
                    <a:pt x="47" y="104"/>
                    <a:pt x="47" y="104"/>
                    <a:pt x="47" y="104"/>
                  </a:cubicBezTo>
                  <a:cubicBezTo>
                    <a:pt x="48" y="103"/>
                    <a:pt x="48" y="103"/>
                    <a:pt x="48" y="103"/>
                  </a:cubicBezTo>
                  <a:cubicBezTo>
                    <a:pt x="48" y="103"/>
                    <a:pt x="48" y="103"/>
                    <a:pt x="48" y="103"/>
                  </a:cubicBezTo>
                  <a:cubicBezTo>
                    <a:pt x="49" y="103"/>
                    <a:pt x="49" y="103"/>
                    <a:pt x="49" y="103"/>
                  </a:cubicBezTo>
                  <a:cubicBezTo>
                    <a:pt x="49" y="102"/>
                    <a:pt x="49" y="102"/>
                    <a:pt x="49" y="102"/>
                  </a:cubicBezTo>
                  <a:cubicBezTo>
                    <a:pt x="50" y="101"/>
                    <a:pt x="50" y="101"/>
                    <a:pt x="50" y="101"/>
                  </a:cubicBezTo>
                  <a:cubicBezTo>
                    <a:pt x="50" y="101"/>
                    <a:pt x="50" y="101"/>
                    <a:pt x="50" y="101"/>
                  </a:cubicBezTo>
                  <a:cubicBezTo>
                    <a:pt x="50" y="100"/>
                    <a:pt x="50" y="100"/>
                    <a:pt x="50" y="100"/>
                  </a:cubicBezTo>
                  <a:cubicBezTo>
                    <a:pt x="50" y="100"/>
                    <a:pt x="50" y="99"/>
                    <a:pt x="49" y="99"/>
                  </a:cubicBezTo>
                  <a:cubicBezTo>
                    <a:pt x="49" y="99"/>
                    <a:pt x="49" y="99"/>
                    <a:pt x="49" y="99"/>
                  </a:cubicBezTo>
                  <a:cubicBezTo>
                    <a:pt x="49" y="99"/>
                    <a:pt x="49" y="99"/>
                    <a:pt x="48" y="99"/>
                  </a:cubicBezTo>
                  <a:cubicBezTo>
                    <a:pt x="48" y="99"/>
                    <a:pt x="48" y="99"/>
                    <a:pt x="48" y="99"/>
                  </a:cubicBezTo>
                  <a:cubicBezTo>
                    <a:pt x="47" y="99"/>
                    <a:pt x="47" y="99"/>
                    <a:pt x="47" y="100"/>
                  </a:cubicBezTo>
                  <a:cubicBezTo>
                    <a:pt x="47" y="100"/>
                    <a:pt x="47" y="99"/>
                    <a:pt x="47" y="99"/>
                  </a:cubicBezTo>
                  <a:cubicBezTo>
                    <a:pt x="46" y="98"/>
                    <a:pt x="46" y="98"/>
                    <a:pt x="46" y="98"/>
                  </a:cubicBezTo>
                  <a:cubicBezTo>
                    <a:pt x="46" y="98"/>
                    <a:pt x="46" y="98"/>
                    <a:pt x="46" y="98"/>
                  </a:cubicBezTo>
                  <a:cubicBezTo>
                    <a:pt x="46" y="98"/>
                    <a:pt x="46" y="98"/>
                    <a:pt x="46" y="98"/>
                  </a:cubicBezTo>
                  <a:cubicBezTo>
                    <a:pt x="46" y="98"/>
                    <a:pt x="46" y="98"/>
                    <a:pt x="46" y="98"/>
                  </a:cubicBezTo>
                  <a:cubicBezTo>
                    <a:pt x="46" y="98"/>
                    <a:pt x="46" y="98"/>
                    <a:pt x="46" y="97"/>
                  </a:cubicBezTo>
                  <a:cubicBezTo>
                    <a:pt x="46" y="97"/>
                    <a:pt x="46" y="97"/>
                    <a:pt x="46" y="97"/>
                  </a:cubicBezTo>
                  <a:cubicBezTo>
                    <a:pt x="47" y="97"/>
                    <a:pt x="47" y="96"/>
                    <a:pt x="47" y="96"/>
                  </a:cubicBezTo>
                  <a:cubicBezTo>
                    <a:pt x="47" y="95"/>
                    <a:pt x="47" y="95"/>
                    <a:pt x="47" y="95"/>
                  </a:cubicBezTo>
                  <a:cubicBezTo>
                    <a:pt x="47" y="94"/>
                    <a:pt x="47" y="94"/>
                    <a:pt x="47" y="94"/>
                  </a:cubicBezTo>
                  <a:cubicBezTo>
                    <a:pt x="47" y="94"/>
                    <a:pt x="47" y="94"/>
                    <a:pt x="47" y="94"/>
                  </a:cubicBezTo>
                  <a:cubicBezTo>
                    <a:pt x="47" y="94"/>
                    <a:pt x="47" y="94"/>
                    <a:pt x="47" y="94"/>
                  </a:cubicBezTo>
                  <a:cubicBezTo>
                    <a:pt x="47" y="94"/>
                    <a:pt x="48" y="93"/>
                    <a:pt x="48" y="93"/>
                  </a:cubicBezTo>
                  <a:cubicBezTo>
                    <a:pt x="48" y="92"/>
                    <a:pt x="48" y="92"/>
                    <a:pt x="48" y="92"/>
                  </a:cubicBezTo>
                  <a:cubicBezTo>
                    <a:pt x="48" y="92"/>
                    <a:pt x="48" y="92"/>
                    <a:pt x="48" y="92"/>
                  </a:cubicBezTo>
                  <a:cubicBezTo>
                    <a:pt x="48" y="92"/>
                    <a:pt x="48" y="92"/>
                    <a:pt x="48" y="91"/>
                  </a:cubicBezTo>
                  <a:cubicBezTo>
                    <a:pt x="48" y="91"/>
                    <a:pt x="48" y="91"/>
                    <a:pt x="48" y="90"/>
                  </a:cubicBezTo>
                  <a:cubicBezTo>
                    <a:pt x="48" y="90"/>
                    <a:pt x="48" y="90"/>
                    <a:pt x="48" y="90"/>
                  </a:cubicBezTo>
                  <a:cubicBezTo>
                    <a:pt x="48" y="90"/>
                    <a:pt x="48" y="89"/>
                    <a:pt x="48" y="89"/>
                  </a:cubicBezTo>
                  <a:cubicBezTo>
                    <a:pt x="48" y="89"/>
                    <a:pt x="48" y="89"/>
                    <a:pt x="48" y="89"/>
                  </a:cubicBezTo>
                  <a:cubicBezTo>
                    <a:pt x="48" y="89"/>
                    <a:pt x="48" y="89"/>
                    <a:pt x="48" y="88"/>
                  </a:cubicBezTo>
                  <a:cubicBezTo>
                    <a:pt x="48" y="88"/>
                    <a:pt x="48" y="88"/>
                    <a:pt x="48" y="88"/>
                  </a:cubicBezTo>
                  <a:cubicBezTo>
                    <a:pt x="48" y="88"/>
                    <a:pt x="48" y="88"/>
                    <a:pt x="48" y="87"/>
                  </a:cubicBezTo>
                  <a:cubicBezTo>
                    <a:pt x="49" y="87"/>
                    <a:pt x="49" y="87"/>
                    <a:pt x="49" y="87"/>
                  </a:cubicBezTo>
                  <a:cubicBezTo>
                    <a:pt x="49" y="87"/>
                    <a:pt x="49" y="87"/>
                    <a:pt x="49" y="87"/>
                  </a:cubicBezTo>
                  <a:cubicBezTo>
                    <a:pt x="49" y="87"/>
                    <a:pt x="49" y="87"/>
                    <a:pt x="49" y="87"/>
                  </a:cubicBezTo>
                  <a:cubicBezTo>
                    <a:pt x="49" y="86"/>
                    <a:pt x="49" y="86"/>
                    <a:pt x="49" y="86"/>
                  </a:cubicBezTo>
                  <a:cubicBezTo>
                    <a:pt x="50" y="86"/>
                    <a:pt x="50" y="86"/>
                    <a:pt x="50" y="85"/>
                  </a:cubicBezTo>
                  <a:cubicBezTo>
                    <a:pt x="50" y="85"/>
                    <a:pt x="50" y="85"/>
                    <a:pt x="50" y="85"/>
                  </a:cubicBezTo>
                  <a:cubicBezTo>
                    <a:pt x="50" y="85"/>
                    <a:pt x="50" y="85"/>
                    <a:pt x="50" y="84"/>
                  </a:cubicBezTo>
                  <a:cubicBezTo>
                    <a:pt x="50" y="84"/>
                    <a:pt x="50" y="84"/>
                    <a:pt x="50" y="84"/>
                  </a:cubicBezTo>
                  <a:cubicBezTo>
                    <a:pt x="50" y="84"/>
                    <a:pt x="50" y="84"/>
                    <a:pt x="50" y="83"/>
                  </a:cubicBezTo>
                  <a:cubicBezTo>
                    <a:pt x="50" y="83"/>
                    <a:pt x="50" y="83"/>
                    <a:pt x="50" y="83"/>
                  </a:cubicBezTo>
                  <a:cubicBezTo>
                    <a:pt x="50" y="83"/>
                    <a:pt x="50" y="83"/>
                    <a:pt x="50" y="83"/>
                  </a:cubicBezTo>
                  <a:cubicBezTo>
                    <a:pt x="50" y="83"/>
                    <a:pt x="50" y="83"/>
                    <a:pt x="50" y="83"/>
                  </a:cubicBezTo>
                  <a:cubicBezTo>
                    <a:pt x="51" y="82"/>
                    <a:pt x="51" y="82"/>
                    <a:pt x="51" y="82"/>
                  </a:cubicBezTo>
                  <a:cubicBezTo>
                    <a:pt x="51" y="81"/>
                    <a:pt x="51" y="81"/>
                    <a:pt x="51" y="81"/>
                  </a:cubicBezTo>
                  <a:cubicBezTo>
                    <a:pt x="51" y="81"/>
                    <a:pt x="51" y="80"/>
                    <a:pt x="51" y="80"/>
                  </a:cubicBezTo>
                  <a:cubicBezTo>
                    <a:pt x="51" y="80"/>
                    <a:pt x="51" y="80"/>
                    <a:pt x="51" y="79"/>
                  </a:cubicBezTo>
                  <a:cubicBezTo>
                    <a:pt x="51" y="79"/>
                    <a:pt x="51" y="79"/>
                    <a:pt x="51" y="79"/>
                  </a:cubicBezTo>
                  <a:cubicBezTo>
                    <a:pt x="51" y="78"/>
                    <a:pt x="51" y="78"/>
                    <a:pt x="51" y="78"/>
                  </a:cubicBezTo>
                  <a:cubicBezTo>
                    <a:pt x="51" y="78"/>
                    <a:pt x="51" y="78"/>
                    <a:pt x="51" y="78"/>
                  </a:cubicBezTo>
                  <a:cubicBezTo>
                    <a:pt x="51" y="78"/>
                    <a:pt x="51" y="78"/>
                    <a:pt x="52" y="78"/>
                  </a:cubicBezTo>
                  <a:cubicBezTo>
                    <a:pt x="52" y="78"/>
                    <a:pt x="52" y="78"/>
                    <a:pt x="52" y="78"/>
                  </a:cubicBezTo>
                  <a:cubicBezTo>
                    <a:pt x="52" y="78"/>
                    <a:pt x="52" y="79"/>
                    <a:pt x="52" y="79"/>
                  </a:cubicBezTo>
                  <a:cubicBezTo>
                    <a:pt x="53" y="79"/>
                    <a:pt x="53" y="78"/>
                    <a:pt x="54" y="78"/>
                  </a:cubicBezTo>
                  <a:cubicBezTo>
                    <a:pt x="54" y="77"/>
                    <a:pt x="54" y="77"/>
                    <a:pt x="54" y="77"/>
                  </a:cubicBezTo>
                  <a:cubicBezTo>
                    <a:pt x="54" y="78"/>
                    <a:pt x="54" y="78"/>
                    <a:pt x="54" y="78"/>
                  </a:cubicBezTo>
                  <a:cubicBezTo>
                    <a:pt x="54" y="78"/>
                    <a:pt x="55" y="78"/>
                    <a:pt x="55" y="78"/>
                  </a:cubicBezTo>
                  <a:cubicBezTo>
                    <a:pt x="55" y="78"/>
                    <a:pt x="56" y="78"/>
                    <a:pt x="56" y="77"/>
                  </a:cubicBezTo>
                  <a:cubicBezTo>
                    <a:pt x="56" y="77"/>
                    <a:pt x="56" y="77"/>
                    <a:pt x="56" y="77"/>
                  </a:cubicBezTo>
                  <a:cubicBezTo>
                    <a:pt x="57" y="76"/>
                    <a:pt x="57" y="76"/>
                    <a:pt x="57" y="76"/>
                  </a:cubicBezTo>
                  <a:cubicBezTo>
                    <a:pt x="57" y="76"/>
                    <a:pt x="57" y="76"/>
                    <a:pt x="57" y="76"/>
                  </a:cubicBezTo>
                  <a:cubicBezTo>
                    <a:pt x="57" y="75"/>
                    <a:pt x="57" y="75"/>
                    <a:pt x="57" y="75"/>
                  </a:cubicBezTo>
                  <a:cubicBezTo>
                    <a:pt x="57" y="75"/>
                    <a:pt x="57" y="76"/>
                    <a:pt x="58" y="76"/>
                  </a:cubicBezTo>
                  <a:cubicBezTo>
                    <a:pt x="58" y="75"/>
                    <a:pt x="59" y="75"/>
                    <a:pt x="59" y="74"/>
                  </a:cubicBezTo>
                  <a:cubicBezTo>
                    <a:pt x="59" y="74"/>
                    <a:pt x="59" y="74"/>
                    <a:pt x="59" y="74"/>
                  </a:cubicBezTo>
                  <a:cubicBezTo>
                    <a:pt x="59" y="74"/>
                    <a:pt x="59" y="74"/>
                    <a:pt x="59" y="74"/>
                  </a:cubicBezTo>
                  <a:cubicBezTo>
                    <a:pt x="59" y="73"/>
                    <a:pt x="59" y="73"/>
                    <a:pt x="59" y="73"/>
                  </a:cubicBezTo>
                  <a:cubicBezTo>
                    <a:pt x="59" y="73"/>
                    <a:pt x="60" y="73"/>
                    <a:pt x="60" y="73"/>
                  </a:cubicBezTo>
                  <a:cubicBezTo>
                    <a:pt x="60" y="71"/>
                    <a:pt x="60" y="71"/>
                    <a:pt x="60" y="71"/>
                  </a:cubicBezTo>
                  <a:cubicBezTo>
                    <a:pt x="60" y="72"/>
                    <a:pt x="60" y="72"/>
                    <a:pt x="60" y="72"/>
                  </a:cubicBezTo>
                  <a:cubicBezTo>
                    <a:pt x="60" y="72"/>
                    <a:pt x="60" y="72"/>
                    <a:pt x="61" y="72"/>
                  </a:cubicBezTo>
                  <a:cubicBezTo>
                    <a:pt x="61" y="72"/>
                    <a:pt x="61" y="72"/>
                    <a:pt x="61" y="72"/>
                  </a:cubicBezTo>
                  <a:cubicBezTo>
                    <a:pt x="62" y="72"/>
                    <a:pt x="62" y="72"/>
                    <a:pt x="62" y="72"/>
                  </a:cubicBezTo>
                  <a:cubicBezTo>
                    <a:pt x="62" y="72"/>
                    <a:pt x="62" y="71"/>
                    <a:pt x="63" y="71"/>
                  </a:cubicBezTo>
                  <a:cubicBezTo>
                    <a:pt x="63" y="71"/>
                    <a:pt x="63" y="71"/>
                    <a:pt x="63" y="71"/>
                  </a:cubicBezTo>
                  <a:cubicBezTo>
                    <a:pt x="63" y="71"/>
                    <a:pt x="63" y="70"/>
                    <a:pt x="63" y="70"/>
                  </a:cubicBezTo>
                  <a:cubicBezTo>
                    <a:pt x="63" y="70"/>
                    <a:pt x="63" y="70"/>
                    <a:pt x="63" y="70"/>
                  </a:cubicBezTo>
                  <a:cubicBezTo>
                    <a:pt x="63" y="69"/>
                    <a:pt x="64" y="69"/>
                    <a:pt x="64" y="69"/>
                  </a:cubicBezTo>
                  <a:cubicBezTo>
                    <a:pt x="64" y="68"/>
                    <a:pt x="64" y="68"/>
                    <a:pt x="64" y="68"/>
                  </a:cubicBezTo>
                  <a:cubicBezTo>
                    <a:pt x="64" y="68"/>
                    <a:pt x="64" y="68"/>
                    <a:pt x="64" y="67"/>
                  </a:cubicBezTo>
                  <a:cubicBezTo>
                    <a:pt x="64" y="67"/>
                    <a:pt x="64" y="67"/>
                    <a:pt x="64" y="67"/>
                  </a:cubicBezTo>
                  <a:cubicBezTo>
                    <a:pt x="64" y="67"/>
                    <a:pt x="65" y="67"/>
                    <a:pt x="65" y="67"/>
                  </a:cubicBezTo>
                  <a:cubicBezTo>
                    <a:pt x="65" y="67"/>
                    <a:pt x="65" y="67"/>
                    <a:pt x="65" y="67"/>
                  </a:cubicBezTo>
                  <a:cubicBezTo>
                    <a:pt x="65" y="68"/>
                    <a:pt x="65" y="68"/>
                    <a:pt x="66" y="68"/>
                  </a:cubicBezTo>
                  <a:cubicBezTo>
                    <a:pt x="67" y="68"/>
                    <a:pt x="67" y="68"/>
                    <a:pt x="67" y="68"/>
                  </a:cubicBezTo>
                  <a:cubicBezTo>
                    <a:pt x="67" y="68"/>
                    <a:pt x="67" y="68"/>
                    <a:pt x="67" y="67"/>
                  </a:cubicBezTo>
                  <a:cubicBezTo>
                    <a:pt x="68" y="67"/>
                    <a:pt x="68" y="67"/>
                    <a:pt x="68" y="67"/>
                  </a:cubicBezTo>
                  <a:cubicBezTo>
                    <a:pt x="68" y="66"/>
                    <a:pt x="68" y="66"/>
                    <a:pt x="68" y="66"/>
                  </a:cubicBezTo>
                  <a:cubicBezTo>
                    <a:pt x="68" y="65"/>
                    <a:pt x="68" y="65"/>
                    <a:pt x="68" y="65"/>
                  </a:cubicBezTo>
                  <a:cubicBezTo>
                    <a:pt x="68" y="65"/>
                    <a:pt x="68" y="65"/>
                    <a:pt x="68" y="65"/>
                  </a:cubicBezTo>
                  <a:cubicBezTo>
                    <a:pt x="68" y="65"/>
                    <a:pt x="68" y="65"/>
                    <a:pt x="68" y="65"/>
                  </a:cubicBezTo>
                  <a:cubicBezTo>
                    <a:pt x="69" y="65"/>
                    <a:pt x="69" y="65"/>
                    <a:pt x="69" y="65"/>
                  </a:cubicBezTo>
                  <a:cubicBezTo>
                    <a:pt x="69" y="64"/>
                    <a:pt x="69" y="64"/>
                    <a:pt x="69" y="64"/>
                  </a:cubicBezTo>
                  <a:cubicBezTo>
                    <a:pt x="69" y="64"/>
                    <a:pt x="69" y="64"/>
                    <a:pt x="69" y="64"/>
                  </a:cubicBezTo>
                  <a:cubicBezTo>
                    <a:pt x="70" y="64"/>
                    <a:pt x="70" y="63"/>
                    <a:pt x="69" y="63"/>
                  </a:cubicBezTo>
                  <a:cubicBezTo>
                    <a:pt x="69" y="63"/>
                    <a:pt x="69" y="63"/>
                    <a:pt x="70" y="63"/>
                  </a:cubicBezTo>
                  <a:cubicBezTo>
                    <a:pt x="70" y="63"/>
                    <a:pt x="70" y="63"/>
                    <a:pt x="70" y="63"/>
                  </a:cubicBezTo>
                  <a:cubicBezTo>
                    <a:pt x="70" y="63"/>
                    <a:pt x="70" y="62"/>
                    <a:pt x="70" y="62"/>
                  </a:cubicBezTo>
                  <a:cubicBezTo>
                    <a:pt x="70" y="62"/>
                    <a:pt x="70" y="62"/>
                    <a:pt x="70" y="62"/>
                  </a:cubicBezTo>
                  <a:cubicBezTo>
                    <a:pt x="70" y="62"/>
                    <a:pt x="71" y="62"/>
                    <a:pt x="71" y="62"/>
                  </a:cubicBezTo>
                  <a:cubicBezTo>
                    <a:pt x="71" y="62"/>
                    <a:pt x="71" y="62"/>
                    <a:pt x="71" y="62"/>
                  </a:cubicBezTo>
                  <a:cubicBezTo>
                    <a:pt x="72" y="62"/>
                    <a:pt x="72" y="62"/>
                    <a:pt x="72" y="62"/>
                  </a:cubicBezTo>
                  <a:cubicBezTo>
                    <a:pt x="73" y="62"/>
                    <a:pt x="73" y="62"/>
                    <a:pt x="73" y="62"/>
                  </a:cubicBezTo>
                  <a:cubicBezTo>
                    <a:pt x="73" y="62"/>
                    <a:pt x="73" y="62"/>
                    <a:pt x="73" y="62"/>
                  </a:cubicBezTo>
                  <a:cubicBezTo>
                    <a:pt x="73" y="61"/>
                    <a:pt x="74" y="61"/>
                    <a:pt x="74" y="61"/>
                  </a:cubicBezTo>
                  <a:cubicBezTo>
                    <a:pt x="74" y="60"/>
                    <a:pt x="74" y="60"/>
                    <a:pt x="74" y="60"/>
                  </a:cubicBezTo>
                  <a:cubicBezTo>
                    <a:pt x="74" y="60"/>
                    <a:pt x="74" y="60"/>
                    <a:pt x="74" y="60"/>
                  </a:cubicBezTo>
                  <a:cubicBezTo>
                    <a:pt x="74" y="60"/>
                    <a:pt x="74" y="60"/>
                    <a:pt x="74" y="60"/>
                  </a:cubicBezTo>
                  <a:cubicBezTo>
                    <a:pt x="74" y="60"/>
                    <a:pt x="75" y="59"/>
                    <a:pt x="75" y="59"/>
                  </a:cubicBezTo>
                  <a:cubicBezTo>
                    <a:pt x="75" y="59"/>
                    <a:pt x="75" y="59"/>
                    <a:pt x="75" y="59"/>
                  </a:cubicBezTo>
                  <a:cubicBezTo>
                    <a:pt x="75" y="59"/>
                    <a:pt x="75" y="59"/>
                    <a:pt x="75" y="59"/>
                  </a:cubicBezTo>
                  <a:cubicBezTo>
                    <a:pt x="76" y="59"/>
                    <a:pt x="76" y="58"/>
                    <a:pt x="76" y="58"/>
                  </a:cubicBezTo>
                  <a:cubicBezTo>
                    <a:pt x="76" y="58"/>
                    <a:pt x="76" y="58"/>
                    <a:pt x="76" y="58"/>
                  </a:cubicBezTo>
                  <a:cubicBezTo>
                    <a:pt x="77" y="57"/>
                    <a:pt x="77" y="57"/>
                    <a:pt x="77" y="57"/>
                  </a:cubicBezTo>
                  <a:cubicBezTo>
                    <a:pt x="77" y="57"/>
                    <a:pt x="78" y="56"/>
                    <a:pt x="78" y="56"/>
                  </a:cubicBezTo>
                  <a:cubicBezTo>
                    <a:pt x="78" y="55"/>
                    <a:pt x="78" y="55"/>
                    <a:pt x="78" y="55"/>
                  </a:cubicBezTo>
                  <a:cubicBezTo>
                    <a:pt x="78" y="55"/>
                    <a:pt x="78" y="55"/>
                    <a:pt x="78" y="54"/>
                  </a:cubicBezTo>
                  <a:cubicBezTo>
                    <a:pt x="78" y="54"/>
                    <a:pt x="78" y="54"/>
                    <a:pt x="78" y="54"/>
                  </a:cubicBezTo>
                  <a:cubicBezTo>
                    <a:pt x="78" y="54"/>
                    <a:pt x="78" y="54"/>
                    <a:pt x="78" y="54"/>
                  </a:cubicBezTo>
                  <a:cubicBezTo>
                    <a:pt x="79" y="54"/>
                    <a:pt x="79" y="54"/>
                    <a:pt x="79" y="54"/>
                  </a:cubicBezTo>
                  <a:cubicBezTo>
                    <a:pt x="79" y="54"/>
                    <a:pt x="80" y="54"/>
                    <a:pt x="80" y="54"/>
                  </a:cubicBezTo>
                  <a:cubicBezTo>
                    <a:pt x="80" y="54"/>
                    <a:pt x="80" y="54"/>
                    <a:pt x="80" y="53"/>
                  </a:cubicBezTo>
                  <a:cubicBezTo>
                    <a:pt x="80" y="53"/>
                    <a:pt x="80" y="53"/>
                    <a:pt x="80" y="53"/>
                  </a:cubicBezTo>
                  <a:cubicBezTo>
                    <a:pt x="80" y="53"/>
                    <a:pt x="81" y="53"/>
                    <a:pt x="81" y="53"/>
                  </a:cubicBezTo>
                  <a:cubicBezTo>
                    <a:pt x="81" y="53"/>
                    <a:pt x="81" y="53"/>
                    <a:pt x="81" y="53"/>
                  </a:cubicBezTo>
                  <a:cubicBezTo>
                    <a:pt x="81" y="53"/>
                    <a:pt x="81" y="53"/>
                    <a:pt x="81" y="53"/>
                  </a:cubicBezTo>
                  <a:cubicBezTo>
                    <a:pt x="82" y="52"/>
                    <a:pt x="82" y="52"/>
                    <a:pt x="82" y="51"/>
                  </a:cubicBezTo>
                  <a:cubicBezTo>
                    <a:pt x="82" y="51"/>
                    <a:pt x="82" y="51"/>
                    <a:pt x="81" y="51"/>
                  </a:cubicBezTo>
                  <a:cubicBezTo>
                    <a:pt x="81" y="51"/>
                    <a:pt x="81" y="51"/>
                    <a:pt x="81" y="51"/>
                  </a:cubicBezTo>
                  <a:cubicBezTo>
                    <a:pt x="82" y="51"/>
                    <a:pt x="82" y="51"/>
                    <a:pt x="82" y="51"/>
                  </a:cubicBezTo>
                  <a:cubicBezTo>
                    <a:pt x="82" y="51"/>
                    <a:pt x="82" y="51"/>
                    <a:pt x="82" y="51"/>
                  </a:cubicBezTo>
                  <a:cubicBezTo>
                    <a:pt x="82" y="51"/>
                    <a:pt x="82" y="51"/>
                    <a:pt x="82" y="51"/>
                  </a:cubicBezTo>
                  <a:cubicBezTo>
                    <a:pt x="82" y="51"/>
                    <a:pt x="82" y="51"/>
                    <a:pt x="82" y="51"/>
                  </a:cubicBezTo>
                  <a:cubicBezTo>
                    <a:pt x="82" y="51"/>
                    <a:pt x="83" y="51"/>
                    <a:pt x="83" y="51"/>
                  </a:cubicBezTo>
                  <a:cubicBezTo>
                    <a:pt x="83" y="51"/>
                    <a:pt x="84" y="50"/>
                    <a:pt x="84" y="50"/>
                  </a:cubicBezTo>
                  <a:cubicBezTo>
                    <a:pt x="84" y="50"/>
                    <a:pt x="84" y="50"/>
                    <a:pt x="84" y="50"/>
                  </a:cubicBezTo>
                  <a:cubicBezTo>
                    <a:pt x="84" y="50"/>
                    <a:pt x="84" y="50"/>
                    <a:pt x="84" y="50"/>
                  </a:cubicBezTo>
                  <a:cubicBezTo>
                    <a:pt x="84" y="50"/>
                    <a:pt x="84" y="50"/>
                    <a:pt x="84" y="50"/>
                  </a:cubicBezTo>
                  <a:cubicBezTo>
                    <a:pt x="85" y="50"/>
                    <a:pt x="85" y="50"/>
                    <a:pt x="85" y="49"/>
                  </a:cubicBezTo>
                  <a:cubicBezTo>
                    <a:pt x="85" y="49"/>
                    <a:pt x="85" y="49"/>
                    <a:pt x="85" y="49"/>
                  </a:cubicBezTo>
                  <a:cubicBezTo>
                    <a:pt x="86" y="49"/>
                    <a:pt x="86" y="49"/>
                    <a:pt x="86" y="48"/>
                  </a:cubicBezTo>
                  <a:cubicBezTo>
                    <a:pt x="86" y="48"/>
                    <a:pt x="86" y="48"/>
                    <a:pt x="86" y="48"/>
                  </a:cubicBezTo>
                  <a:cubicBezTo>
                    <a:pt x="87" y="47"/>
                    <a:pt x="87" y="47"/>
                    <a:pt x="87" y="47"/>
                  </a:cubicBezTo>
                  <a:cubicBezTo>
                    <a:pt x="87" y="47"/>
                    <a:pt x="87" y="47"/>
                    <a:pt x="87" y="46"/>
                  </a:cubicBezTo>
                  <a:cubicBezTo>
                    <a:pt x="87" y="46"/>
                    <a:pt x="87" y="46"/>
                    <a:pt x="87" y="46"/>
                  </a:cubicBezTo>
                  <a:cubicBezTo>
                    <a:pt x="87" y="46"/>
                    <a:pt x="87" y="46"/>
                    <a:pt x="87" y="46"/>
                  </a:cubicBezTo>
                  <a:cubicBezTo>
                    <a:pt x="87" y="46"/>
                    <a:pt x="88" y="45"/>
                    <a:pt x="88" y="45"/>
                  </a:cubicBezTo>
                  <a:cubicBezTo>
                    <a:pt x="88" y="45"/>
                    <a:pt x="88" y="45"/>
                    <a:pt x="88" y="45"/>
                  </a:cubicBezTo>
                  <a:cubicBezTo>
                    <a:pt x="88" y="44"/>
                    <a:pt x="88" y="44"/>
                    <a:pt x="88" y="44"/>
                  </a:cubicBezTo>
                  <a:cubicBezTo>
                    <a:pt x="88" y="44"/>
                    <a:pt x="88" y="44"/>
                    <a:pt x="88" y="44"/>
                  </a:cubicBezTo>
                  <a:cubicBezTo>
                    <a:pt x="88" y="44"/>
                    <a:pt x="88" y="43"/>
                    <a:pt x="88" y="43"/>
                  </a:cubicBezTo>
                  <a:close/>
                  <a:moveTo>
                    <a:pt x="15" y="144"/>
                  </a:moveTo>
                  <a:cubicBezTo>
                    <a:pt x="15" y="144"/>
                    <a:pt x="15" y="144"/>
                    <a:pt x="14" y="144"/>
                  </a:cubicBezTo>
                  <a:cubicBezTo>
                    <a:pt x="14" y="144"/>
                    <a:pt x="14" y="144"/>
                    <a:pt x="14" y="144"/>
                  </a:cubicBezTo>
                  <a:cubicBezTo>
                    <a:pt x="14" y="144"/>
                    <a:pt x="14" y="144"/>
                    <a:pt x="14" y="144"/>
                  </a:cubicBezTo>
                  <a:cubicBezTo>
                    <a:pt x="14" y="144"/>
                    <a:pt x="15" y="144"/>
                    <a:pt x="15" y="144"/>
                  </a:cubicBezTo>
                  <a:cubicBezTo>
                    <a:pt x="15" y="144"/>
                    <a:pt x="15" y="144"/>
                    <a:pt x="15" y="144"/>
                  </a:cubicBezTo>
                  <a:close/>
                  <a:moveTo>
                    <a:pt x="31" y="135"/>
                  </a:moveTo>
                  <a:cubicBezTo>
                    <a:pt x="31" y="135"/>
                    <a:pt x="31" y="135"/>
                    <a:pt x="31" y="135"/>
                  </a:cubicBezTo>
                  <a:cubicBezTo>
                    <a:pt x="31" y="135"/>
                    <a:pt x="30" y="135"/>
                    <a:pt x="30" y="135"/>
                  </a:cubicBezTo>
                  <a:cubicBezTo>
                    <a:pt x="30" y="136"/>
                    <a:pt x="30" y="136"/>
                    <a:pt x="30" y="136"/>
                  </a:cubicBezTo>
                  <a:cubicBezTo>
                    <a:pt x="29" y="137"/>
                    <a:pt x="29" y="137"/>
                    <a:pt x="29" y="137"/>
                  </a:cubicBezTo>
                  <a:cubicBezTo>
                    <a:pt x="29" y="137"/>
                    <a:pt x="29" y="137"/>
                    <a:pt x="29" y="137"/>
                  </a:cubicBezTo>
                  <a:cubicBezTo>
                    <a:pt x="28" y="138"/>
                    <a:pt x="28" y="138"/>
                    <a:pt x="28" y="138"/>
                  </a:cubicBezTo>
                  <a:cubicBezTo>
                    <a:pt x="27" y="139"/>
                    <a:pt x="27" y="139"/>
                    <a:pt x="27" y="139"/>
                  </a:cubicBezTo>
                  <a:cubicBezTo>
                    <a:pt x="27" y="139"/>
                    <a:pt x="27" y="139"/>
                    <a:pt x="27" y="139"/>
                  </a:cubicBezTo>
                  <a:cubicBezTo>
                    <a:pt x="26" y="140"/>
                    <a:pt x="26" y="140"/>
                    <a:pt x="26" y="140"/>
                  </a:cubicBezTo>
                  <a:cubicBezTo>
                    <a:pt x="24" y="140"/>
                    <a:pt x="24" y="140"/>
                    <a:pt x="24" y="140"/>
                  </a:cubicBezTo>
                  <a:cubicBezTo>
                    <a:pt x="23" y="140"/>
                    <a:pt x="23" y="140"/>
                    <a:pt x="23" y="140"/>
                  </a:cubicBezTo>
                  <a:cubicBezTo>
                    <a:pt x="21" y="141"/>
                    <a:pt x="21" y="141"/>
                    <a:pt x="21" y="141"/>
                  </a:cubicBezTo>
                  <a:cubicBezTo>
                    <a:pt x="21" y="141"/>
                    <a:pt x="21" y="141"/>
                    <a:pt x="21" y="141"/>
                  </a:cubicBezTo>
                  <a:cubicBezTo>
                    <a:pt x="21" y="141"/>
                    <a:pt x="20" y="141"/>
                    <a:pt x="20" y="142"/>
                  </a:cubicBezTo>
                  <a:cubicBezTo>
                    <a:pt x="20" y="142"/>
                    <a:pt x="20" y="142"/>
                    <a:pt x="20" y="142"/>
                  </a:cubicBezTo>
                  <a:cubicBezTo>
                    <a:pt x="19" y="142"/>
                    <a:pt x="19" y="143"/>
                    <a:pt x="19" y="143"/>
                  </a:cubicBezTo>
                  <a:cubicBezTo>
                    <a:pt x="19" y="143"/>
                    <a:pt x="19" y="143"/>
                    <a:pt x="19" y="143"/>
                  </a:cubicBezTo>
                  <a:cubicBezTo>
                    <a:pt x="18" y="142"/>
                    <a:pt x="18" y="142"/>
                    <a:pt x="18" y="142"/>
                  </a:cubicBezTo>
                  <a:cubicBezTo>
                    <a:pt x="17" y="142"/>
                    <a:pt x="17" y="142"/>
                    <a:pt x="17" y="142"/>
                  </a:cubicBezTo>
                  <a:cubicBezTo>
                    <a:pt x="18" y="142"/>
                    <a:pt x="18" y="142"/>
                    <a:pt x="18" y="142"/>
                  </a:cubicBezTo>
                  <a:cubicBezTo>
                    <a:pt x="18" y="141"/>
                    <a:pt x="18" y="141"/>
                    <a:pt x="18" y="141"/>
                  </a:cubicBezTo>
                  <a:cubicBezTo>
                    <a:pt x="19" y="141"/>
                    <a:pt x="19" y="141"/>
                    <a:pt x="19" y="141"/>
                  </a:cubicBezTo>
                  <a:cubicBezTo>
                    <a:pt x="19" y="141"/>
                    <a:pt x="19" y="141"/>
                    <a:pt x="19" y="140"/>
                  </a:cubicBezTo>
                  <a:cubicBezTo>
                    <a:pt x="20" y="140"/>
                    <a:pt x="20" y="140"/>
                    <a:pt x="20" y="140"/>
                  </a:cubicBezTo>
                  <a:cubicBezTo>
                    <a:pt x="20" y="140"/>
                    <a:pt x="20" y="140"/>
                    <a:pt x="20" y="140"/>
                  </a:cubicBezTo>
                  <a:cubicBezTo>
                    <a:pt x="20" y="140"/>
                    <a:pt x="20" y="140"/>
                    <a:pt x="20" y="140"/>
                  </a:cubicBezTo>
                  <a:cubicBezTo>
                    <a:pt x="21" y="140"/>
                    <a:pt x="21" y="140"/>
                    <a:pt x="21" y="139"/>
                  </a:cubicBezTo>
                  <a:cubicBezTo>
                    <a:pt x="22" y="139"/>
                    <a:pt x="22" y="139"/>
                    <a:pt x="22" y="139"/>
                  </a:cubicBezTo>
                  <a:cubicBezTo>
                    <a:pt x="22" y="139"/>
                    <a:pt x="22" y="139"/>
                    <a:pt x="22" y="139"/>
                  </a:cubicBezTo>
                  <a:cubicBezTo>
                    <a:pt x="22" y="138"/>
                    <a:pt x="22" y="138"/>
                    <a:pt x="22" y="138"/>
                  </a:cubicBezTo>
                  <a:cubicBezTo>
                    <a:pt x="23" y="138"/>
                    <a:pt x="23" y="138"/>
                    <a:pt x="23" y="138"/>
                  </a:cubicBezTo>
                  <a:cubicBezTo>
                    <a:pt x="23" y="138"/>
                    <a:pt x="23" y="138"/>
                    <a:pt x="23" y="138"/>
                  </a:cubicBezTo>
                  <a:cubicBezTo>
                    <a:pt x="23" y="137"/>
                    <a:pt x="23" y="137"/>
                    <a:pt x="23" y="137"/>
                  </a:cubicBezTo>
                  <a:cubicBezTo>
                    <a:pt x="24" y="137"/>
                    <a:pt x="24" y="137"/>
                    <a:pt x="24" y="137"/>
                  </a:cubicBezTo>
                  <a:cubicBezTo>
                    <a:pt x="24" y="137"/>
                    <a:pt x="24" y="137"/>
                    <a:pt x="24" y="137"/>
                  </a:cubicBezTo>
                  <a:cubicBezTo>
                    <a:pt x="24" y="137"/>
                    <a:pt x="24" y="137"/>
                    <a:pt x="24" y="137"/>
                  </a:cubicBezTo>
                  <a:cubicBezTo>
                    <a:pt x="24" y="137"/>
                    <a:pt x="24" y="137"/>
                    <a:pt x="24" y="137"/>
                  </a:cubicBezTo>
                  <a:cubicBezTo>
                    <a:pt x="25" y="137"/>
                    <a:pt x="25" y="137"/>
                    <a:pt x="25" y="137"/>
                  </a:cubicBezTo>
                  <a:cubicBezTo>
                    <a:pt x="26" y="137"/>
                    <a:pt x="26" y="137"/>
                    <a:pt x="26" y="136"/>
                  </a:cubicBezTo>
                  <a:cubicBezTo>
                    <a:pt x="26" y="136"/>
                    <a:pt x="26" y="136"/>
                    <a:pt x="26" y="136"/>
                  </a:cubicBezTo>
                  <a:cubicBezTo>
                    <a:pt x="26" y="136"/>
                    <a:pt x="27" y="136"/>
                    <a:pt x="27" y="136"/>
                  </a:cubicBezTo>
                  <a:cubicBezTo>
                    <a:pt x="27" y="136"/>
                    <a:pt x="27" y="136"/>
                    <a:pt x="27" y="136"/>
                  </a:cubicBezTo>
                  <a:cubicBezTo>
                    <a:pt x="27" y="136"/>
                    <a:pt x="28" y="136"/>
                    <a:pt x="28" y="135"/>
                  </a:cubicBezTo>
                  <a:cubicBezTo>
                    <a:pt x="28" y="135"/>
                    <a:pt x="28" y="135"/>
                    <a:pt x="28" y="135"/>
                  </a:cubicBezTo>
                  <a:cubicBezTo>
                    <a:pt x="28" y="135"/>
                    <a:pt x="28" y="135"/>
                    <a:pt x="28" y="135"/>
                  </a:cubicBezTo>
                  <a:cubicBezTo>
                    <a:pt x="28" y="136"/>
                    <a:pt x="28" y="136"/>
                    <a:pt x="29" y="136"/>
                  </a:cubicBezTo>
                  <a:cubicBezTo>
                    <a:pt x="29" y="136"/>
                    <a:pt x="29" y="136"/>
                    <a:pt x="29" y="136"/>
                  </a:cubicBezTo>
                  <a:cubicBezTo>
                    <a:pt x="29" y="136"/>
                    <a:pt x="29" y="136"/>
                    <a:pt x="29" y="136"/>
                  </a:cubicBezTo>
                  <a:cubicBezTo>
                    <a:pt x="30" y="136"/>
                    <a:pt x="30" y="135"/>
                    <a:pt x="30" y="135"/>
                  </a:cubicBezTo>
                  <a:cubicBezTo>
                    <a:pt x="31" y="135"/>
                    <a:pt x="31" y="135"/>
                    <a:pt x="31" y="135"/>
                  </a:cubicBezTo>
                  <a:cubicBezTo>
                    <a:pt x="31" y="135"/>
                    <a:pt x="31" y="135"/>
                    <a:pt x="31" y="135"/>
                  </a:cubicBezTo>
                  <a:cubicBezTo>
                    <a:pt x="31" y="135"/>
                    <a:pt x="31" y="135"/>
                    <a:pt x="31" y="135"/>
                  </a:cubicBezTo>
                  <a:close/>
                  <a:moveTo>
                    <a:pt x="65" y="64"/>
                  </a:moveTo>
                  <a:cubicBezTo>
                    <a:pt x="64" y="65"/>
                    <a:pt x="64" y="65"/>
                    <a:pt x="64" y="66"/>
                  </a:cubicBezTo>
                  <a:cubicBezTo>
                    <a:pt x="64" y="66"/>
                    <a:pt x="64" y="66"/>
                    <a:pt x="64" y="66"/>
                  </a:cubicBezTo>
                  <a:cubicBezTo>
                    <a:pt x="64" y="66"/>
                    <a:pt x="64" y="66"/>
                    <a:pt x="64" y="66"/>
                  </a:cubicBezTo>
                  <a:cubicBezTo>
                    <a:pt x="64" y="64"/>
                    <a:pt x="64" y="64"/>
                    <a:pt x="64" y="64"/>
                  </a:cubicBezTo>
                  <a:cubicBezTo>
                    <a:pt x="64" y="64"/>
                    <a:pt x="64" y="64"/>
                    <a:pt x="64" y="64"/>
                  </a:cubicBezTo>
                  <a:cubicBezTo>
                    <a:pt x="64" y="63"/>
                    <a:pt x="64" y="63"/>
                    <a:pt x="64" y="63"/>
                  </a:cubicBezTo>
                  <a:cubicBezTo>
                    <a:pt x="64" y="63"/>
                    <a:pt x="64" y="63"/>
                    <a:pt x="64" y="63"/>
                  </a:cubicBezTo>
                  <a:cubicBezTo>
                    <a:pt x="64" y="63"/>
                    <a:pt x="64" y="62"/>
                    <a:pt x="64" y="62"/>
                  </a:cubicBezTo>
                  <a:cubicBezTo>
                    <a:pt x="65" y="62"/>
                    <a:pt x="65" y="62"/>
                    <a:pt x="65" y="62"/>
                  </a:cubicBezTo>
                  <a:cubicBezTo>
                    <a:pt x="65" y="62"/>
                    <a:pt x="66" y="62"/>
                    <a:pt x="66" y="62"/>
                  </a:cubicBezTo>
                  <a:cubicBezTo>
                    <a:pt x="66" y="62"/>
                    <a:pt x="66" y="62"/>
                    <a:pt x="66" y="62"/>
                  </a:cubicBezTo>
                  <a:cubicBezTo>
                    <a:pt x="66" y="62"/>
                    <a:pt x="66" y="62"/>
                    <a:pt x="66" y="62"/>
                  </a:cubicBezTo>
                  <a:cubicBezTo>
                    <a:pt x="66" y="62"/>
                    <a:pt x="66" y="62"/>
                    <a:pt x="66" y="62"/>
                  </a:cubicBezTo>
                  <a:cubicBezTo>
                    <a:pt x="66" y="63"/>
                    <a:pt x="66" y="63"/>
                    <a:pt x="66" y="63"/>
                  </a:cubicBezTo>
                  <a:cubicBezTo>
                    <a:pt x="66" y="64"/>
                    <a:pt x="66" y="64"/>
                    <a:pt x="66" y="64"/>
                  </a:cubicBezTo>
                  <a:cubicBezTo>
                    <a:pt x="66" y="64"/>
                    <a:pt x="66" y="64"/>
                    <a:pt x="66" y="64"/>
                  </a:cubicBezTo>
                  <a:cubicBezTo>
                    <a:pt x="66" y="64"/>
                    <a:pt x="66" y="64"/>
                    <a:pt x="66" y="64"/>
                  </a:cubicBezTo>
                  <a:lnTo>
                    <a:pt x="65" y="64"/>
                  </a:lnTo>
                  <a:close/>
                </a:path>
              </a:pathLst>
            </a:custGeom>
            <a:solidFill>
              <a:schemeClr val="accent1"/>
            </a:solidFill>
            <a:ln w="63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548" name="Freeform 15">
              <a:extLst>
                <a:ext uri="{FF2B5EF4-FFF2-40B4-BE49-F238E27FC236}">
                  <a16:creationId xmlns:a16="http://schemas.microsoft.com/office/drawing/2014/main" id="{5DD3D36D-4C11-652E-FF04-C6E49311BFC7}"/>
                </a:ext>
              </a:extLst>
            </p:cNvPr>
            <p:cNvSpPr>
              <a:spLocks/>
            </p:cNvSpPr>
            <p:nvPr/>
          </p:nvSpPr>
          <p:spPr bwMode="gray">
            <a:xfrm>
              <a:off x="1023938" y="5054600"/>
              <a:ext cx="20638" cy="20638"/>
            </a:xfrm>
            <a:custGeom>
              <a:avLst/>
              <a:gdLst>
                <a:gd name="T0" fmla="*/ 4 w 4"/>
                <a:gd name="T1" fmla="*/ 1 h 4"/>
                <a:gd name="T2" fmla="*/ 3 w 4"/>
                <a:gd name="T3" fmla="*/ 1 h 4"/>
                <a:gd name="T4" fmla="*/ 3 w 4"/>
                <a:gd name="T5" fmla="*/ 1 h 4"/>
                <a:gd name="T6" fmla="*/ 2 w 4"/>
                <a:gd name="T7" fmla="*/ 0 h 4"/>
                <a:gd name="T8" fmla="*/ 2 w 4"/>
                <a:gd name="T9" fmla="*/ 0 h 4"/>
                <a:gd name="T10" fmla="*/ 2 w 4"/>
                <a:gd name="T11" fmla="*/ 0 h 4"/>
                <a:gd name="T12" fmla="*/ 0 w 4"/>
                <a:gd name="T13" fmla="*/ 0 h 4"/>
                <a:gd name="T14" fmla="*/ 0 w 4"/>
                <a:gd name="T15" fmla="*/ 1 h 4"/>
                <a:gd name="T16" fmla="*/ 0 w 4"/>
                <a:gd name="T17" fmla="*/ 2 h 4"/>
                <a:gd name="T18" fmla="*/ 1 w 4"/>
                <a:gd name="T19" fmla="*/ 3 h 4"/>
                <a:gd name="T20" fmla="*/ 1 w 4"/>
                <a:gd name="T21" fmla="*/ 3 h 4"/>
                <a:gd name="T22" fmla="*/ 1 w 4"/>
                <a:gd name="T23" fmla="*/ 3 h 4"/>
                <a:gd name="T24" fmla="*/ 1 w 4"/>
                <a:gd name="T25" fmla="*/ 3 h 4"/>
                <a:gd name="T26" fmla="*/ 2 w 4"/>
                <a:gd name="T27" fmla="*/ 4 h 4"/>
                <a:gd name="T28" fmla="*/ 2 w 4"/>
                <a:gd name="T29" fmla="*/ 4 h 4"/>
                <a:gd name="T30" fmla="*/ 2 w 4"/>
                <a:gd name="T31" fmla="*/ 4 h 4"/>
                <a:gd name="T32" fmla="*/ 3 w 4"/>
                <a:gd name="T33" fmla="*/ 4 h 4"/>
                <a:gd name="T34" fmla="*/ 4 w 4"/>
                <a:gd name="T35" fmla="*/ 3 h 4"/>
                <a:gd name="T36" fmla="*/ 4 w 4"/>
                <a:gd name="T37" fmla="*/ 3 h 4"/>
                <a:gd name="T38" fmla="*/ 4 w 4"/>
                <a:gd name="T39" fmla="*/ 2 h 4"/>
                <a:gd name="T40" fmla="*/ 4 w 4"/>
                <a:gd name="T41"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4">
                  <a:moveTo>
                    <a:pt x="4" y="1"/>
                  </a:moveTo>
                  <a:cubicBezTo>
                    <a:pt x="3" y="1"/>
                    <a:pt x="3" y="1"/>
                    <a:pt x="3" y="1"/>
                  </a:cubicBezTo>
                  <a:cubicBezTo>
                    <a:pt x="3" y="1"/>
                    <a:pt x="3" y="1"/>
                    <a:pt x="3" y="1"/>
                  </a:cubicBezTo>
                  <a:cubicBezTo>
                    <a:pt x="2" y="0"/>
                    <a:pt x="2" y="0"/>
                    <a:pt x="2" y="0"/>
                  </a:cubicBezTo>
                  <a:cubicBezTo>
                    <a:pt x="2" y="0"/>
                    <a:pt x="2" y="0"/>
                    <a:pt x="2" y="0"/>
                  </a:cubicBezTo>
                  <a:cubicBezTo>
                    <a:pt x="2" y="0"/>
                    <a:pt x="2" y="0"/>
                    <a:pt x="2" y="0"/>
                  </a:cubicBezTo>
                  <a:cubicBezTo>
                    <a:pt x="1" y="0"/>
                    <a:pt x="1" y="0"/>
                    <a:pt x="0" y="0"/>
                  </a:cubicBezTo>
                  <a:cubicBezTo>
                    <a:pt x="0" y="0"/>
                    <a:pt x="0" y="1"/>
                    <a:pt x="0" y="1"/>
                  </a:cubicBezTo>
                  <a:cubicBezTo>
                    <a:pt x="0" y="2"/>
                    <a:pt x="0" y="2"/>
                    <a:pt x="0" y="2"/>
                  </a:cubicBezTo>
                  <a:cubicBezTo>
                    <a:pt x="0" y="2"/>
                    <a:pt x="0" y="2"/>
                    <a:pt x="1" y="3"/>
                  </a:cubicBezTo>
                  <a:cubicBezTo>
                    <a:pt x="1" y="3"/>
                    <a:pt x="1" y="3"/>
                    <a:pt x="1" y="3"/>
                  </a:cubicBezTo>
                  <a:cubicBezTo>
                    <a:pt x="1" y="3"/>
                    <a:pt x="1" y="3"/>
                    <a:pt x="1" y="3"/>
                  </a:cubicBezTo>
                  <a:cubicBezTo>
                    <a:pt x="1" y="3"/>
                    <a:pt x="1" y="3"/>
                    <a:pt x="1" y="3"/>
                  </a:cubicBezTo>
                  <a:cubicBezTo>
                    <a:pt x="2" y="4"/>
                    <a:pt x="2" y="4"/>
                    <a:pt x="2" y="4"/>
                  </a:cubicBezTo>
                  <a:cubicBezTo>
                    <a:pt x="2" y="4"/>
                    <a:pt x="2" y="4"/>
                    <a:pt x="2" y="4"/>
                  </a:cubicBezTo>
                  <a:cubicBezTo>
                    <a:pt x="2" y="4"/>
                    <a:pt x="2" y="4"/>
                    <a:pt x="2" y="4"/>
                  </a:cubicBezTo>
                  <a:cubicBezTo>
                    <a:pt x="3" y="4"/>
                    <a:pt x="3" y="4"/>
                    <a:pt x="3" y="4"/>
                  </a:cubicBezTo>
                  <a:cubicBezTo>
                    <a:pt x="3" y="4"/>
                    <a:pt x="4" y="4"/>
                    <a:pt x="4" y="3"/>
                  </a:cubicBezTo>
                  <a:cubicBezTo>
                    <a:pt x="4" y="3"/>
                    <a:pt x="4" y="3"/>
                    <a:pt x="4" y="3"/>
                  </a:cubicBezTo>
                  <a:cubicBezTo>
                    <a:pt x="4" y="2"/>
                    <a:pt x="4" y="2"/>
                    <a:pt x="4" y="2"/>
                  </a:cubicBezTo>
                  <a:cubicBezTo>
                    <a:pt x="4" y="1"/>
                    <a:pt x="4" y="1"/>
                    <a:pt x="4" y="1"/>
                  </a:cubicBezTo>
                  <a:close/>
                </a:path>
              </a:pathLst>
            </a:custGeom>
            <a:solidFill>
              <a:srgbClr val="F59E00"/>
            </a:solidFill>
            <a:ln w="63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549" name="Freeform 16">
              <a:extLst>
                <a:ext uri="{FF2B5EF4-FFF2-40B4-BE49-F238E27FC236}">
                  <a16:creationId xmlns:a16="http://schemas.microsoft.com/office/drawing/2014/main" id="{CEFBE86F-967E-9FAB-9020-3DD15BFA44A0}"/>
                </a:ext>
              </a:extLst>
            </p:cNvPr>
            <p:cNvSpPr>
              <a:spLocks/>
            </p:cNvSpPr>
            <p:nvPr/>
          </p:nvSpPr>
          <p:spPr bwMode="gray">
            <a:xfrm>
              <a:off x="820738" y="4530725"/>
              <a:ext cx="11113" cy="11113"/>
            </a:xfrm>
            <a:custGeom>
              <a:avLst/>
              <a:gdLst>
                <a:gd name="T0" fmla="*/ 1 w 2"/>
                <a:gd name="T1" fmla="*/ 0 h 2"/>
                <a:gd name="T2" fmla="*/ 1 w 2"/>
                <a:gd name="T3" fmla="*/ 0 h 2"/>
                <a:gd name="T4" fmla="*/ 0 w 2"/>
                <a:gd name="T5" fmla="*/ 1 h 2"/>
                <a:gd name="T6" fmla="*/ 0 w 2"/>
                <a:gd name="T7" fmla="*/ 1 h 2"/>
                <a:gd name="T8" fmla="*/ 0 w 2"/>
                <a:gd name="T9" fmla="*/ 1 h 2"/>
                <a:gd name="T10" fmla="*/ 1 w 2"/>
                <a:gd name="T11" fmla="*/ 2 h 2"/>
                <a:gd name="T12" fmla="*/ 1 w 2"/>
                <a:gd name="T13" fmla="*/ 2 h 2"/>
                <a:gd name="T14" fmla="*/ 2 w 2"/>
                <a:gd name="T15" fmla="*/ 1 h 2"/>
                <a:gd name="T16" fmla="*/ 2 w 2"/>
                <a:gd name="T17" fmla="*/ 1 h 2"/>
                <a:gd name="T18" fmla="*/ 2 w 2"/>
                <a:gd name="T19" fmla="*/ 1 h 2"/>
                <a:gd name="T20" fmla="*/ 1 w 2"/>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2">
                  <a:moveTo>
                    <a:pt x="1" y="0"/>
                  </a:moveTo>
                  <a:cubicBezTo>
                    <a:pt x="1" y="0"/>
                    <a:pt x="1" y="0"/>
                    <a:pt x="1" y="0"/>
                  </a:cubicBezTo>
                  <a:cubicBezTo>
                    <a:pt x="1" y="0"/>
                    <a:pt x="0" y="1"/>
                    <a:pt x="0" y="1"/>
                  </a:cubicBezTo>
                  <a:cubicBezTo>
                    <a:pt x="0" y="1"/>
                    <a:pt x="0" y="1"/>
                    <a:pt x="0" y="1"/>
                  </a:cubicBezTo>
                  <a:cubicBezTo>
                    <a:pt x="0" y="1"/>
                    <a:pt x="0" y="1"/>
                    <a:pt x="0" y="1"/>
                  </a:cubicBezTo>
                  <a:cubicBezTo>
                    <a:pt x="0" y="2"/>
                    <a:pt x="1" y="2"/>
                    <a:pt x="1" y="2"/>
                  </a:cubicBezTo>
                  <a:cubicBezTo>
                    <a:pt x="1" y="2"/>
                    <a:pt x="1" y="2"/>
                    <a:pt x="1" y="2"/>
                  </a:cubicBezTo>
                  <a:cubicBezTo>
                    <a:pt x="2" y="2"/>
                    <a:pt x="2" y="2"/>
                    <a:pt x="2" y="1"/>
                  </a:cubicBezTo>
                  <a:cubicBezTo>
                    <a:pt x="2" y="1"/>
                    <a:pt x="2" y="1"/>
                    <a:pt x="2" y="1"/>
                  </a:cubicBezTo>
                  <a:cubicBezTo>
                    <a:pt x="2" y="1"/>
                    <a:pt x="2" y="1"/>
                    <a:pt x="2" y="1"/>
                  </a:cubicBezTo>
                  <a:cubicBezTo>
                    <a:pt x="2" y="1"/>
                    <a:pt x="2" y="0"/>
                    <a:pt x="1" y="0"/>
                  </a:cubicBezTo>
                  <a:close/>
                </a:path>
              </a:pathLst>
            </a:custGeom>
            <a:solidFill>
              <a:srgbClr val="F59E00"/>
            </a:solidFill>
            <a:ln w="63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550" name="Freeform 17">
              <a:extLst>
                <a:ext uri="{FF2B5EF4-FFF2-40B4-BE49-F238E27FC236}">
                  <a16:creationId xmlns:a16="http://schemas.microsoft.com/office/drawing/2014/main" id="{6E123A9E-B7A9-7CC9-147E-19B7222DDA69}"/>
                </a:ext>
              </a:extLst>
            </p:cNvPr>
            <p:cNvSpPr>
              <a:spLocks/>
            </p:cNvSpPr>
            <p:nvPr/>
          </p:nvSpPr>
          <p:spPr bwMode="gray">
            <a:xfrm>
              <a:off x="960438" y="4957763"/>
              <a:ext cx="100013" cy="31750"/>
            </a:xfrm>
            <a:custGeom>
              <a:avLst/>
              <a:gdLst>
                <a:gd name="T0" fmla="*/ 19 w 19"/>
                <a:gd name="T1" fmla="*/ 4 h 6"/>
                <a:gd name="T2" fmla="*/ 17 w 19"/>
                <a:gd name="T3" fmla="*/ 4 h 6"/>
                <a:gd name="T4" fmla="*/ 16 w 19"/>
                <a:gd name="T5" fmla="*/ 3 h 6"/>
                <a:gd name="T6" fmla="*/ 15 w 19"/>
                <a:gd name="T7" fmla="*/ 2 h 6"/>
                <a:gd name="T8" fmla="*/ 14 w 19"/>
                <a:gd name="T9" fmla="*/ 3 h 6"/>
                <a:gd name="T10" fmla="*/ 13 w 19"/>
                <a:gd name="T11" fmla="*/ 2 h 6"/>
                <a:gd name="T12" fmla="*/ 13 w 19"/>
                <a:gd name="T13" fmla="*/ 2 h 6"/>
                <a:gd name="T14" fmla="*/ 11 w 19"/>
                <a:gd name="T15" fmla="*/ 2 h 6"/>
                <a:gd name="T16" fmla="*/ 10 w 19"/>
                <a:gd name="T17" fmla="*/ 1 h 6"/>
                <a:gd name="T18" fmla="*/ 9 w 19"/>
                <a:gd name="T19" fmla="*/ 2 h 6"/>
                <a:gd name="T20" fmla="*/ 9 w 19"/>
                <a:gd name="T21" fmla="*/ 3 h 6"/>
                <a:gd name="T22" fmla="*/ 8 w 19"/>
                <a:gd name="T23" fmla="*/ 2 h 6"/>
                <a:gd name="T24" fmla="*/ 7 w 19"/>
                <a:gd name="T25" fmla="*/ 2 h 6"/>
                <a:gd name="T26" fmla="*/ 6 w 19"/>
                <a:gd name="T27" fmla="*/ 2 h 6"/>
                <a:gd name="T28" fmla="*/ 5 w 19"/>
                <a:gd name="T29" fmla="*/ 1 h 6"/>
                <a:gd name="T30" fmla="*/ 4 w 19"/>
                <a:gd name="T31" fmla="*/ 1 h 6"/>
                <a:gd name="T32" fmla="*/ 4 w 19"/>
                <a:gd name="T33" fmla="*/ 0 h 6"/>
                <a:gd name="T34" fmla="*/ 3 w 19"/>
                <a:gd name="T35" fmla="*/ 0 h 6"/>
                <a:gd name="T36" fmla="*/ 2 w 19"/>
                <a:gd name="T37" fmla="*/ 0 h 6"/>
                <a:gd name="T38" fmla="*/ 2 w 19"/>
                <a:gd name="T39" fmla="*/ 0 h 6"/>
                <a:gd name="T40" fmla="*/ 0 w 19"/>
                <a:gd name="T41" fmla="*/ 2 h 6"/>
                <a:gd name="T42" fmla="*/ 2 w 19"/>
                <a:gd name="T43" fmla="*/ 3 h 6"/>
                <a:gd name="T44" fmla="*/ 3 w 19"/>
                <a:gd name="T45" fmla="*/ 3 h 6"/>
                <a:gd name="T46" fmla="*/ 4 w 19"/>
                <a:gd name="T47" fmla="*/ 3 h 6"/>
                <a:gd name="T48" fmla="*/ 4 w 19"/>
                <a:gd name="T49" fmla="*/ 4 h 6"/>
                <a:gd name="T50" fmla="*/ 5 w 19"/>
                <a:gd name="T51" fmla="*/ 5 h 6"/>
                <a:gd name="T52" fmla="*/ 6 w 19"/>
                <a:gd name="T53" fmla="*/ 6 h 6"/>
                <a:gd name="T54" fmla="*/ 8 w 19"/>
                <a:gd name="T55" fmla="*/ 6 h 6"/>
                <a:gd name="T56" fmla="*/ 9 w 19"/>
                <a:gd name="T57" fmla="*/ 5 h 6"/>
                <a:gd name="T58" fmla="*/ 9 w 19"/>
                <a:gd name="T59" fmla="*/ 5 h 6"/>
                <a:gd name="T60" fmla="*/ 11 w 19"/>
                <a:gd name="T61" fmla="*/ 6 h 6"/>
                <a:gd name="T62" fmla="*/ 16 w 19"/>
                <a:gd name="T63" fmla="*/ 6 h 6"/>
                <a:gd name="T64" fmla="*/ 17 w 19"/>
                <a:gd name="T65" fmla="*/ 5 h 6"/>
                <a:gd name="T66" fmla="*/ 17 w 19"/>
                <a:gd name="T67" fmla="*/ 6 h 6"/>
                <a:gd name="T68" fmla="*/ 18 w 19"/>
                <a:gd name="T69" fmla="*/ 6 h 6"/>
                <a:gd name="T70" fmla="*/ 19 w 19"/>
                <a:gd name="T7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 h="6">
                  <a:moveTo>
                    <a:pt x="19" y="4"/>
                  </a:moveTo>
                  <a:cubicBezTo>
                    <a:pt x="19" y="4"/>
                    <a:pt x="19" y="4"/>
                    <a:pt x="19" y="4"/>
                  </a:cubicBezTo>
                  <a:cubicBezTo>
                    <a:pt x="18" y="4"/>
                    <a:pt x="18" y="3"/>
                    <a:pt x="17" y="4"/>
                  </a:cubicBezTo>
                  <a:cubicBezTo>
                    <a:pt x="17" y="4"/>
                    <a:pt x="17" y="4"/>
                    <a:pt x="17" y="4"/>
                  </a:cubicBezTo>
                  <a:cubicBezTo>
                    <a:pt x="17" y="3"/>
                    <a:pt x="17" y="3"/>
                    <a:pt x="17" y="3"/>
                  </a:cubicBezTo>
                  <a:cubicBezTo>
                    <a:pt x="16" y="3"/>
                    <a:pt x="16" y="3"/>
                    <a:pt x="16" y="3"/>
                  </a:cubicBezTo>
                  <a:cubicBezTo>
                    <a:pt x="16" y="3"/>
                    <a:pt x="16" y="2"/>
                    <a:pt x="16" y="2"/>
                  </a:cubicBezTo>
                  <a:cubicBezTo>
                    <a:pt x="15" y="2"/>
                    <a:pt x="15" y="2"/>
                    <a:pt x="15" y="2"/>
                  </a:cubicBezTo>
                  <a:cubicBezTo>
                    <a:pt x="15" y="2"/>
                    <a:pt x="15" y="3"/>
                    <a:pt x="15" y="3"/>
                  </a:cubicBezTo>
                  <a:cubicBezTo>
                    <a:pt x="14" y="3"/>
                    <a:pt x="14" y="3"/>
                    <a:pt x="14" y="3"/>
                  </a:cubicBezTo>
                  <a:cubicBezTo>
                    <a:pt x="14" y="3"/>
                    <a:pt x="14" y="3"/>
                    <a:pt x="14" y="3"/>
                  </a:cubicBezTo>
                  <a:cubicBezTo>
                    <a:pt x="13" y="2"/>
                    <a:pt x="13" y="2"/>
                    <a:pt x="13" y="2"/>
                  </a:cubicBezTo>
                  <a:cubicBezTo>
                    <a:pt x="13" y="2"/>
                    <a:pt x="13" y="2"/>
                    <a:pt x="13" y="2"/>
                  </a:cubicBezTo>
                  <a:cubicBezTo>
                    <a:pt x="13" y="2"/>
                    <a:pt x="13" y="2"/>
                    <a:pt x="13" y="2"/>
                  </a:cubicBezTo>
                  <a:cubicBezTo>
                    <a:pt x="12" y="2"/>
                    <a:pt x="12" y="2"/>
                    <a:pt x="12" y="2"/>
                  </a:cubicBezTo>
                  <a:cubicBezTo>
                    <a:pt x="11" y="2"/>
                    <a:pt x="11" y="2"/>
                    <a:pt x="11" y="2"/>
                  </a:cubicBezTo>
                  <a:cubicBezTo>
                    <a:pt x="11" y="1"/>
                    <a:pt x="11" y="1"/>
                    <a:pt x="11" y="1"/>
                  </a:cubicBezTo>
                  <a:cubicBezTo>
                    <a:pt x="10" y="1"/>
                    <a:pt x="10" y="1"/>
                    <a:pt x="10" y="1"/>
                  </a:cubicBezTo>
                  <a:cubicBezTo>
                    <a:pt x="9" y="1"/>
                    <a:pt x="9" y="1"/>
                    <a:pt x="9" y="2"/>
                  </a:cubicBezTo>
                  <a:cubicBezTo>
                    <a:pt x="9" y="2"/>
                    <a:pt x="9" y="2"/>
                    <a:pt x="9" y="2"/>
                  </a:cubicBezTo>
                  <a:cubicBezTo>
                    <a:pt x="9" y="2"/>
                    <a:pt x="9" y="2"/>
                    <a:pt x="9" y="3"/>
                  </a:cubicBezTo>
                  <a:cubicBezTo>
                    <a:pt x="9" y="3"/>
                    <a:pt x="9" y="3"/>
                    <a:pt x="9" y="3"/>
                  </a:cubicBezTo>
                  <a:cubicBezTo>
                    <a:pt x="9" y="2"/>
                    <a:pt x="9" y="2"/>
                    <a:pt x="9" y="2"/>
                  </a:cubicBezTo>
                  <a:cubicBezTo>
                    <a:pt x="9" y="2"/>
                    <a:pt x="9" y="2"/>
                    <a:pt x="8" y="2"/>
                  </a:cubicBezTo>
                  <a:cubicBezTo>
                    <a:pt x="8" y="1"/>
                    <a:pt x="7" y="1"/>
                    <a:pt x="7" y="2"/>
                  </a:cubicBezTo>
                  <a:cubicBezTo>
                    <a:pt x="7" y="2"/>
                    <a:pt x="7" y="2"/>
                    <a:pt x="7" y="2"/>
                  </a:cubicBezTo>
                  <a:cubicBezTo>
                    <a:pt x="6" y="1"/>
                    <a:pt x="6" y="1"/>
                    <a:pt x="6" y="2"/>
                  </a:cubicBezTo>
                  <a:cubicBezTo>
                    <a:pt x="6" y="2"/>
                    <a:pt x="6" y="2"/>
                    <a:pt x="6" y="2"/>
                  </a:cubicBezTo>
                  <a:cubicBezTo>
                    <a:pt x="6" y="2"/>
                    <a:pt x="6" y="2"/>
                    <a:pt x="6" y="2"/>
                  </a:cubicBezTo>
                  <a:cubicBezTo>
                    <a:pt x="5" y="2"/>
                    <a:pt x="5" y="1"/>
                    <a:pt x="5" y="1"/>
                  </a:cubicBezTo>
                  <a:cubicBezTo>
                    <a:pt x="5" y="1"/>
                    <a:pt x="5" y="1"/>
                    <a:pt x="5" y="1"/>
                  </a:cubicBezTo>
                  <a:cubicBezTo>
                    <a:pt x="5" y="1"/>
                    <a:pt x="5" y="1"/>
                    <a:pt x="4" y="1"/>
                  </a:cubicBezTo>
                  <a:cubicBezTo>
                    <a:pt x="4" y="1"/>
                    <a:pt x="4" y="1"/>
                    <a:pt x="4" y="0"/>
                  </a:cubicBezTo>
                  <a:cubicBezTo>
                    <a:pt x="4" y="0"/>
                    <a:pt x="4" y="0"/>
                    <a:pt x="4" y="0"/>
                  </a:cubicBezTo>
                  <a:cubicBezTo>
                    <a:pt x="4" y="0"/>
                    <a:pt x="3" y="0"/>
                    <a:pt x="3" y="0"/>
                  </a:cubicBezTo>
                  <a:cubicBezTo>
                    <a:pt x="3" y="0"/>
                    <a:pt x="3" y="0"/>
                    <a:pt x="3" y="0"/>
                  </a:cubicBezTo>
                  <a:cubicBezTo>
                    <a:pt x="3" y="0"/>
                    <a:pt x="2" y="0"/>
                    <a:pt x="2" y="0"/>
                  </a:cubicBezTo>
                  <a:cubicBezTo>
                    <a:pt x="2" y="0"/>
                    <a:pt x="2" y="0"/>
                    <a:pt x="2" y="0"/>
                  </a:cubicBezTo>
                  <a:cubicBezTo>
                    <a:pt x="2" y="0"/>
                    <a:pt x="2" y="0"/>
                    <a:pt x="2" y="0"/>
                  </a:cubicBezTo>
                  <a:cubicBezTo>
                    <a:pt x="2" y="0"/>
                    <a:pt x="2" y="0"/>
                    <a:pt x="2" y="0"/>
                  </a:cubicBezTo>
                  <a:cubicBezTo>
                    <a:pt x="1" y="0"/>
                    <a:pt x="0" y="1"/>
                    <a:pt x="0" y="1"/>
                  </a:cubicBezTo>
                  <a:cubicBezTo>
                    <a:pt x="0" y="2"/>
                    <a:pt x="0" y="2"/>
                    <a:pt x="0" y="2"/>
                  </a:cubicBezTo>
                  <a:cubicBezTo>
                    <a:pt x="0" y="2"/>
                    <a:pt x="1" y="3"/>
                    <a:pt x="1" y="3"/>
                  </a:cubicBezTo>
                  <a:cubicBezTo>
                    <a:pt x="1" y="3"/>
                    <a:pt x="2" y="3"/>
                    <a:pt x="2" y="3"/>
                  </a:cubicBezTo>
                  <a:cubicBezTo>
                    <a:pt x="2" y="3"/>
                    <a:pt x="2" y="3"/>
                    <a:pt x="2" y="3"/>
                  </a:cubicBezTo>
                  <a:cubicBezTo>
                    <a:pt x="2" y="3"/>
                    <a:pt x="3" y="3"/>
                    <a:pt x="3" y="3"/>
                  </a:cubicBezTo>
                  <a:cubicBezTo>
                    <a:pt x="4" y="3"/>
                    <a:pt x="4" y="3"/>
                    <a:pt x="4" y="3"/>
                  </a:cubicBezTo>
                  <a:cubicBezTo>
                    <a:pt x="4" y="3"/>
                    <a:pt x="4" y="3"/>
                    <a:pt x="4" y="3"/>
                  </a:cubicBezTo>
                  <a:cubicBezTo>
                    <a:pt x="4" y="4"/>
                    <a:pt x="4" y="4"/>
                    <a:pt x="4" y="4"/>
                  </a:cubicBezTo>
                  <a:cubicBezTo>
                    <a:pt x="4" y="4"/>
                    <a:pt x="4" y="4"/>
                    <a:pt x="4" y="4"/>
                  </a:cubicBezTo>
                  <a:cubicBezTo>
                    <a:pt x="4" y="5"/>
                    <a:pt x="4" y="5"/>
                    <a:pt x="5" y="5"/>
                  </a:cubicBezTo>
                  <a:cubicBezTo>
                    <a:pt x="5" y="5"/>
                    <a:pt x="5" y="5"/>
                    <a:pt x="5" y="5"/>
                  </a:cubicBezTo>
                  <a:cubicBezTo>
                    <a:pt x="5" y="6"/>
                    <a:pt x="5" y="6"/>
                    <a:pt x="5" y="6"/>
                  </a:cubicBezTo>
                  <a:cubicBezTo>
                    <a:pt x="5" y="6"/>
                    <a:pt x="6" y="6"/>
                    <a:pt x="6" y="6"/>
                  </a:cubicBezTo>
                  <a:cubicBezTo>
                    <a:pt x="7" y="6"/>
                    <a:pt x="7" y="6"/>
                    <a:pt x="7" y="6"/>
                  </a:cubicBezTo>
                  <a:cubicBezTo>
                    <a:pt x="7" y="6"/>
                    <a:pt x="8" y="6"/>
                    <a:pt x="8" y="6"/>
                  </a:cubicBezTo>
                  <a:cubicBezTo>
                    <a:pt x="9" y="6"/>
                    <a:pt x="9" y="6"/>
                    <a:pt x="9" y="6"/>
                  </a:cubicBezTo>
                  <a:cubicBezTo>
                    <a:pt x="9" y="5"/>
                    <a:pt x="9" y="5"/>
                    <a:pt x="9" y="5"/>
                  </a:cubicBezTo>
                  <a:cubicBezTo>
                    <a:pt x="9" y="5"/>
                    <a:pt x="9" y="5"/>
                    <a:pt x="9" y="5"/>
                  </a:cubicBezTo>
                  <a:cubicBezTo>
                    <a:pt x="9" y="5"/>
                    <a:pt x="9" y="5"/>
                    <a:pt x="9" y="5"/>
                  </a:cubicBezTo>
                  <a:cubicBezTo>
                    <a:pt x="10" y="5"/>
                    <a:pt x="10" y="5"/>
                    <a:pt x="10" y="5"/>
                  </a:cubicBezTo>
                  <a:cubicBezTo>
                    <a:pt x="11" y="6"/>
                    <a:pt x="11" y="6"/>
                    <a:pt x="11" y="6"/>
                  </a:cubicBezTo>
                  <a:cubicBezTo>
                    <a:pt x="11" y="6"/>
                    <a:pt x="11" y="6"/>
                    <a:pt x="11" y="6"/>
                  </a:cubicBezTo>
                  <a:cubicBezTo>
                    <a:pt x="16" y="6"/>
                    <a:pt x="16" y="6"/>
                    <a:pt x="16" y="6"/>
                  </a:cubicBezTo>
                  <a:cubicBezTo>
                    <a:pt x="16" y="6"/>
                    <a:pt x="16" y="6"/>
                    <a:pt x="16" y="6"/>
                  </a:cubicBezTo>
                  <a:cubicBezTo>
                    <a:pt x="17" y="5"/>
                    <a:pt x="17" y="5"/>
                    <a:pt x="17" y="5"/>
                  </a:cubicBezTo>
                  <a:cubicBezTo>
                    <a:pt x="17" y="5"/>
                    <a:pt x="17" y="5"/>
                    <a:pt x="17" y="5"/>
                  </a:cubicBezTo>
                  <a:cubicBezTo>
                    <a:pt x="17" y="5"/>
                    <a:pt x="17" y="6"/>
                    <a:pt x="17" y="6"/>
                  </a:cubicBezTo>
                  <a:cubicBezTo>
                    <a:pt x="17" y="6"/>
                    <a:pt x="17" y="6"/>
                    <a:pt x="18" y="6"/>
                  </a:cubicBezTo>
                  <a:cubicBezTo>
                    <a:pt x="18" y="6"/>
                    <a:pt x="18" y="6"/>
                    <a:pt x="18" y="6"/>
                  </a:cubicBezTo>
                  <a:cubicBezTo>
                    <a:pt x="19" y="6"/>
                    <a:pt x="19" y="6"/>
                    <a:pt x="19" y="5"/>
                  </a:cubicBezTo>
                  <a:cubicBezTo>
                    <a:pt x="19" y="5"/>
                    <a:pt x="19" y="4"/>
                    <a:pt x="19" y="4"/>
                  </a:cubicBezTo>
                  <a:close/>
                </a:path>
              </a:pathLst>
            </a:custGeom>
            <a:solidFill>
              <a:srgbClr val="F59E00"/>
            </a:solidFill>
            <a:ln w="63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551" name="Freeform 18">
              <a:extLst>
                <a:ext uri="{FF2B5EF4-FFF2-40B4-BE49-F238E27FC236}">
                  <a16:creationId xmlns:a16="http://schemas.microsoft.com/office/drawing/2014/main" id="{38A47178-6B15-2FE9-04E1-914AED521587}"/>
                </a:ext>
              </a:extLst>
            </p:cNvPr>
            <p:cNvSpPr>
              <a:spLocks/>
            </p:cNvSpPr>
            <p:nvPr/>
          </p:nvSpPr>
          <p:spPr bwMode="gray">
            <a:xfrm>
              <a:off x="768350" y="4067175"/>
              <a:ext cx="746125" cy="1125538"/>
            </a:xfrm>
            <a:custGeom>
              <a:avLst/>
              <a:gdLst>
                <a:gd name="T0" fmla="*/ 137 w 140"/>
                <a:gd name="T1" fmla="*/ 175 h 211"/>
                <a:gd name="T2" fmla="*/ 134 w 140"/>
                <a:gd name="T3" fmla="*/ 167 h 211"/>
                <a:gd name="T4" fmla="*/ 123 w 140"/>
                <a:gd name="T5" fmla="*/ 151 h 211"/>
                <a:gd name="T6" fmla="*/ 96 w 140"/>
                <a:gd name="T7" fmla="*/ 114 h 211"/>
                <a:gd name="T8" fmla="*/ 68 w 140"/>
                <a:gd name="T9" fmla="*/ 79 h 211"/>
                <a:gd name="T10" fmla="*/ 69 w 140"/>
                <a:gd name="T11" fmla="*/ 31 h 211"/>
                <a:gd name="T12" fmla="*/ 22 w 140"/>
                <a:gd name="T13" fmla="*/ 2 h 211"/>
                <a:gd name="T14" fmla="*/ 9 w 140"/>
                <a:gd name="T15" fmla="*/ 3 h 211"/>
                <a:gd name="T16" fmla="*/ 9 w 140"/>
                <a:gd name="T17" fmla="*/ 9 h 211"/>
                <a:gd name="T18" fmla="*/ 8 w 140"/>
                <a:gd name="T19" fmla="*/ 14 h 211"/>
                <a:gd name="T20" fmla="*/ 6 w 140"/>
                <a:gd name="T21" fmla="*/ 22 h 211"/>
                <a:gd name="T22" fmla="*/ 2 w 140"/>
                <a:gd name="T23" fmla="*/ 26 h 211"/>
                <a:gd name="T24" fmla="*/ 0 w 140"/>
                <a:gd name="T25" fmla="*/ 33 h 211"/>
                <a:gd name="T26" fmla="*/ 3 w 140"/>
                <a:gd name="T27" fmla="*/ 39 h 211"/>
                <a:gd name="T28" fmla="*/ 6 w 140"/>
                <a:gd name="T29" fmla="*/ 46 h 211"/>
                <a:gd name="T30" fmla="*/ 5 w 140"/>
                <a:gd name="T31" fmla="*/ 57 h 211"/>
                <a:gd name="T32" fmla="*/ 5 w 140"/>
                <a:gd name="T33" fmla="*/ 63 h 211"/>
                <a:gd name="T34" fmla="*/ 12 w 140"/>
                <a:gd name="T35" fmla="*/ 75 h 211"/>
                <a:gd name="T36" fmla="*/ 12 w 140"/>
                <a:gd name="T37" fmla="*/ 81 h 211"/>
                <a:gd name="T38" fmla="*/ 14 w 140"/>
                <a:gd name="T39" fmla="*/ 83 h 211"/>
                <a:gd name="T40" fmla="*/ 17 w 140"/>
                <a:gd name="T41" fmla="*/ 86 h 211"/>
                <a:gd name="T42" fmla="*/ 17 w 140"/>
                <a:gd name="T43" fmla="*/ 94 h 211"/>
                <a:gd name="T44" fmla="*/ 18 w 140"/>
                <a:gd name="T45" fmla="*/ 99 h 211"/>
                <a:gd name="T46" fmla="*/ 22 w 140"/>
                <a:gd name="T47" fmla="*/ 107 h 211"/>
                <a:gd name="T48" fmla="*/ 25 w 140"/>
                <a:gd name="T49" fmla="*/ 110 h 211"/>
                <a:gd name="T50" fmla="*/ 23 w 140"/>
                <a:gd name="T51" fmla="*/ 112 h 211"/>
                <a:gd name="T52" fmla="*/ 22 w 140"/>
                <a:gd name="T53" fmla="*/ 118 h 211"/>
                <a:gd name="T54" fmla="*/ 24 w 140"/>
                <a:gd name="T55" fmla="*/ 122 h 211"/>
                <a:gd name="T56" fmla="*/ 27 w 140"/>
                <a:gd name="T57" fmla="*/ 128 h 211"/>
                <a:gd name="T58" fmla="*/ 29 w 140"/>
                <a:gd name="T59" fmla="*/ 132 h 211"/>
                <a:gd name="T60" fmla="*/ 33 w 140"/>
                <a:gd name="T61" fmla="*/ 139 h 211"/>
                <a:gd name="T62" fmla="*/ 35 w 140"/>
                <a:gd name="T63" fmla="*/ 146 h 211"/>
                <a:gd name="T64" fmla="*/ 36 w 140"/>
                <a:gd name="T65" fmla="*/ 149 h 211"/>
                <a:gd name="T66" fmla="*/ 36 w 140"/>
                <a:gd name="T67" fmla="*/ 154 h 211"/>
                <a:gd name="T68" fmla="*/ 36 w 140"/>
                <a:gd name="T69" fmla="*/ 158 h 211"/>
                <a:gd name="T70" fmla="*/ 41 w 140"/>
                <a:gd name="T71" fmla="*/ 161 h 211"/>
                <a:gd name="T72" fmla="*/ 48 w 140"/>
                <a:gd name="T73" fmla="*/ 164 h 211"/>
                <a:gd name="T74" fmla="*/ 53 w 140"/>
                <a:gd name="T75" fmla="*/ 165 h 211"/>
                <a:gd name="T76" fmla="*/ 58 w 140"/>
                <a:gd name="T77" fmla="*/ 171 h 211"/>
                <a:gd name="T78" fmla="*/ 64 w 140"/>
                <a:gd name="T79" fmla="*/ 174 h 211"/>
                <a:gd name="T80" fmla="*/ 68 w 140"/>
                <a:gd name="T81" fmla="*/ 178 h 211"/>
                <a:gd name="T82" fmla="*/ 70 w 140"/>
                <a:gd name="T83" fmla="*/ 182 h 211"/>
                <a:gd name="T84" fmla="*/ 75 w 140"/>
                <a:gd name="T85" fmla="*/ 184 h 211"/>
                <a:gd name="T86" fmla="*/ 84 w 140"/>
                <a:gd name="T87" fmla="*/ 196 h 211"/>
                <a:gd name="T88" fmla="*/ 84 w 140"/>
                <a:gd name="T89" fmla="*/ 205 h 211"/>
                <a:gd name="T90" fmla="*/ 94 w 140"/>
                <a:gd name="T91" fmla="*/ 209 h 211"/>
                <a:gd name="T92" fmla="*/ 114 w 140"/>
                <a:gd name="T93" fmla="*/ 210 h 211"/>
                <a:gd name="T94" fmla="*/ 130 w 140"/>
                <a:gd name="T95" fmla="*/ 210 h 211"/>
                <a:gd name="T96" fmla="*/ 131 w 140"/>
                <a:gd name="T97" fmla="*/ 204 h 211"/>
                <a:gd name="T98" fmla="*/ 128 w 140"/>
                <a:gd name="T99" fmla="*/ 201 h 211"/>
                <a:gd name="T100" fmla="*/ 129 w 140"/>
                <a:gd name="T101" fmla="*/ 196 h 211"/>
                <a:gd name="T102" fmla="*/ 132 w 140"/>
                <a:gd name="T103" fmla="*/ 191 h 211"/>
                <a:gd name="T104" fmla="*/ 134 w 140"/>
                <a:gd name="T105" fmla="*/ 185 h 211"/>
                <a:gd name="T106" fmla="*/ 138 w 140"/>
                <a:gd name="T107" fmla="*/ 182 h 211"/>
                <a:gd name="T108" fmla="*/ 22 w 140"/>
                <a:gd name="T109" fmla="*/ 83 h 211"/>
                <a:gd name="T110" fmla="*/ 22 w 140"/>
                <a:gd name="T111" fmla="*/ 9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0" h="211">
                  <a:moveTo>
                    <a:pt x="140" y="178"/>
                  </a:moveTo>
                  <a:cubicBezTo>
                    <a:pt x="140" y="178"/>
                    <a:pt x="140" y="178"/>
                    <a:pt x="140" y="178"/>
                  </a:cubicBezTo>
                  <a:cubicBezTo>
                    <a:pt x="139" y="177"/>
                    <a:pt x="139" y="177"/>
                    <a:pt x="139" y="177"/>
                  </a:cubicBezTo>
                  <a:cubicBezTo>
                    <a:pt x="139" y="177"/>
                    <a:pt x="139" y="177"/>
                    <a:pt x="139" y="177"/>
                  </a:cubicBezTo>
                  <a:cubicBezTo>
                    <a:pt x="138" y="176"/>
                    <a:pt x="138" y="176"/>
                    <a:pt x="138" y="176"/>
                  </a:cubicBezTo>
                  <a:cubicBezTo>
                    <a:pt x="138" y="176"/>
                    <a:pt x="138" y="175"/>
                    <a:pt x="137" y="175"/>
                  </a:cubicBezTo>
                  <a:cubicBezTo>
                    <a:pt x="137" y="175"/>
                    <a:pt x="137" y="175"/>
                    <a:pt x="137" y="175"/>
                  </a:cubicBezTo>
                  <a:cubicBezTo>
                    <a:pt x="137" y="175"/>
                    <a:pt x="137" y="175"/>
                    <a:pt x="137" y="175"/>
                  </a:cubicBezTo>
                  <a:cubicBezTo>
                    <a:pt x="137" y="175"/>
                    <a:pt x="137" y="175"/>
                    <a:pt x="137" y="175"/>
                  </a:cubicBezTo>
                  <a:cubicBezTo>
                    <a:pt x="137" y="174"/>
                    <a:pt x="137" y="174"/>
                    <a:pt x="137" y="173"/>
                  </a:cubicBezTo>
                  <a:cubicBezTo>
                    <a:pt x="137" y="173"/>
                    <a:pt x="137" y="173"/>
                    <a:pt x="136" y="173"/>
                  </a:cubicBezTo>
                  <a:cubicBezTo>
                    <a:pt x="136" y="173"/>
                    <a:pt x="136" y="173"/>
                    <a:pt x="136" y="172"/>
                  </a:cubicBezTo>
                  <a:cubicBezTo>
                    <a:pt x="136" y="172"/>
                    <a:pt x="136" y="172"/>
                    <a:pt x="136" y="172"/>
                  </a:cubicBezTo>
                  <a:cubicBezTo>
                    <a:pt x="136" y="172"/>
                    <a:pt x="136" y="171"/>
                    <a:pt x="136" y="171"/>
                  </a:cubicBezTo>
                  <a:cubicBezTo>
                    <a:pt x="135" y="169"/>
                    <a:pt x="135" y="169"/>
                    <a:pt x="135" y="169"/>
                  </a:cubicBezTo>
                  <a:cubicBezTo>
                    <a:pt x="135" y="169"/>
                    <a:pt x="135" y="168"/>
                    <a:pt x="135" y="168"/>
                  </a:cubicBezTo>
                  <a:cubicBezTo>
                    <a:pt x="135" y="168"/>
                    <a:pt x="135" y="168"/>
                    <a:pt x="135" y="168"/>
                  </a:cubicBezTo>
                  <a:cubicBezTo>
                    <a:pt x="135" y="168"/>
                    <a:pt x="135" y="167"/>
                    <a:pt x="134" y="167"/>
                  </a:cubicBezTo>
                  <a:cubicBezTo>
                    <a:pt x="134" y="167"/>
                    <a:pt x="134" y="167"/>
                    <a:pt x="134" y="167"/>
                  </a:cubicBezTo>
                  <a:cubicBezTo>
                    <a:pt x="134" y="167"/>
                    <a:pt x="134" y="167"/>
                    <a:pt x="134" y="166"/>
                  </a:cubicBezTo>
                  <a:cubicBezTo>
                    <a:pt x="134" y="166"/>
                    <a:pt x="134" y="166"/>
                    <a:pt x="134" y="166"/>
                  </a:cubicBezTo>
                  <a:cubicBezTo>
                    <a:pt x="134" y="166"/>
                    <a:pt x="134" y="166"/>
                    <a:pt x="134" y="166"/>
                  </a:cubicBezTo>
                  <a:cubicBezTo>
                    <a:pt x="134" y="164"/>
                    <a:pt x="134" y="164"/>
                    <a:pt x="134" y="164"/>
                  </a:cubicBezTo>
                  <a:cubicBezTo>
                    <a:pt x="134" y="164"/>
                    <a:pt x="134" y="163"/>
                    <a:pt x="134" y="163"/>
                  </a:cubicBezTo>
                  <a:cubicBezTo>
                    <a:pt x="131" y="160"/>
                    <a:pt x="131" y="160"/>
                    <a:pt x="131" y="160"/>
                  </a:cubicBezTo>
                  <a:cubicBezTo>
                    <a:pt x="126" y="153"/>
                    <a:pt x="126" y="153"/>
                    <a:pt x="126" y="153"/>
                  </a:cubicBezTo>
                  <a:cubicBezTo>
                    <a:pt x="123" y="151"/>
                    <a:pt x="123" y="151"/>
                    <a:pt x="123" y="151"/>
                  </a:cubicBezTo>
                  <a:cubicBezTo>
                    <a:pt x="121" y="147"/>
                    <a:pt x="121" y="147"/>
                    <a:pt x="121" y="147"/>
                  </a:cubicBezTo>
                  <a:cubicBezTo>
                    <a:pt x="119" y="145"/>
                    <a:pt x="119" y="145"/>
                    <a:pt x="119" y="145"/>
                  </a:cubicBezTo>
                  <a:cubicBezTo>
                    <a:pt x="117" y="142"/>
                    <a:pt x="117" y="142"/>
                    <a:pt x="117" y="142"/>
                  </a:cubicBezTo>
                  <a:cubicBezTo>
                    <a:pt x="114" y="139"/>
                    <a:pt x="114" y="139"/>
                    <a:pt x="114" y="139"/>
                  </a:cubicBezTo>
                  <a:cubicBezTo>
                    <a:pt x="113" y="136"/>
                    <a:pt x="113" y="136"/>
                    <a:pt x="113" y="136"/>
                  </a:cubicBezTo>
                  <a:cubicBezTo>
                    <a:pt x="108" y="130"/>
                    <a:pt x="108" y="130"/>
                    <a:pt x="108" y="130"/>
                  </a:cubicBezTo>
                  <a:cubicBezTo>
                    <a:pt x="104" y="124"/>
                    <a:pt x="104" y="124"/>
                    <a:pt x="104" y="124"/>
                  </a:cubicBezTo>
                  <a:cubicBezTo>
                    <a:pt x="101" y="121"/>
                    <a:pt x="101" y="121"/>
                    <a:pt x="101" y="121"/>
                  </a:cubicBezTo>
                  <a:cubicBezTo>
                    <a:pt x="96" y="114"/>
                    <a:pt x="96" y="114"/>
                    <a:pt x="96" y="114"/>
                  </a:cubicBezTo>
                  <a:cubicBezTo>
                    <a:pt x="94" y="112"/>
                    <a:pt x="94" y="112"/>
                    <a:pt x="94" y="112"/>
                  </a:cubicBezTo>
                  <a:cubicBezTo>
                    <a:pt x="91" y="108"/>
                    <a:pt x="91" y="108"/>
                    <a:pt x="91" y="108"/>
                  </a:cubicBezTo>
                  <a:cubicBezTo>
                    <a:pt x="89" y="105"/>
                    <a:pt x="89" y="105"/>
                    <a:pt x="89" y="105"/>
                  </a:cubicBezTo>
                  <a:cubicBezTo>
                    <a:pt x="84" y="98"/>
                    <a:pt x="84" y="98"/>
                    <a:pt x="84" y="98"/>
                  </a:cubicBezTo>
                  <a:cubicBezTo>
                    <a:pt x="80" y="94"/>
                    <a:pt x="80" y="94"/>
                    <a:pt x="80" y="94"/>
                  </a:cubicBezTo>
                  <a:cubicBezTo>
                    <a:pt x="77" y="90"/>
                    <a:pt x="77" y="90"/>
                    <a:pt x="77" y="90"/>
                  </a:cubicBezTo>
                  <a:cubicBezTo>
                    <a:pt x="74" y="86"/>
                    <a:pt x="74" y="86"/>
                    <a:pt x="74" y="86"/>
                  </a:cubicBezTo>
                  <a:cubicBezTo>
                    <a:pt x="71" y="82"/>
                    <a:pt x="71" y="82"/>
                    <a:pt x="71" y="82"/>
                  </a:cubicBezTo>
                  <a:cubicBezTo>
                    <a:pt x="68" y="79"/>
                    <a:pt x="68" y="79"/>
                    <a:pt x="68" y="79"/>
                  </a:cubicBezTo>
                  <a:cubicBezTo>
                    <a:pt x="65" y="75"/>
                    <a:pt x="65" y="75"/>
                    <a:pt x="65" y="75"/>
                  </a:cubicBezTo>
                  <a:cubicBezTo>
                    <a:pt x="62" y="71"/>
                    <a:pt x="62" y="71"/>
                    <a:pt x="62" y="71"/>
                  </a:cubicBezTo>
                  <a:cubicBezTo>
                    <a:pt x="62" y="70"/>
                    <a:pt x="62" y="70"/>
                    <a:pt x="62" y="70"/>
                  </a:cubicBezTo>
                  <a:cubicBezTo>
                    <a:pt x="65" y="60"/>
                    <a:pt x="65" y="60"/>
                    <a:pt x="65" y="60"/>
                  </a:cubicBezTo>
                  <a:cubicBezTo>
                    <a:pt x="65" y="56"/>
                    <a:pt x="65" y="56"/>
                    <a:pt x="65" y="56"/>
                  </a:cubicBezTo>
                  <a:cubicBezTo>
                    <a:pt x="66" y="49"/>
                    <a:pt x="66" y="49"/>
                    <a:pt x="66" y="49"/>
                  </a:cubicBezTo>
                  <a:cubicBezTo>
                    <a:pt x="67" y="45"/>
                    <a:pt x="67" y="45"/>
                    <a:pt x="67" y="45"/>
                  </a:cubicBezTo>
                  <a:cubicBezTo>
                    <a:pt x="69" y="34"/>
                    <a:pt x="69" y="34"/>
                    <a:pt x="69" y="34"/>
                  </a:cubicBezTo>
                  <a:cubicBezTo>
                    <a:pt x="69" y="31"/>
                    <a:pt x="69" y="31"/>
                    <a:pt x="69" y="31"/>
                  </a:cubicBezTo>
                  <a:cubicBezTo>
                    <a:pt x="71" y="24"/>
                    <a:pt x="71" y="24"/>
                    <a:pt x="71" y="24"/>
                  </a:cubicBezTo>
                  <a:cubicBezTo>
                    <a:pt x="72" y="17"/>
                    <a:pt x="72" y="17"/>
                    <a:pt x="72" y="17"/>
                  </a:cubicBezTo>
                  <a:cubicBezTo>
                    <a:pt x="72" y="13"/>
                    <a:pt x="72" y="13"/>
                    <a:pt x="72" y="13"/>
                  </a:cubicBezTo>
                  <a:cubicBezTo>
                    <a:pt x="72" y="13"/>
                    <a:pt x="72" y="12"/>
                    <a:pt x="72" y="12"/>
                  </a:cubicBezTo>
                  <a:cubicBezTo>
                    <a:pt x="72" y="12"/>
                    <a:pt x="72" y="12"/>
                    <a:pt x="72" y="12"/>
                  </a:cubicBezTo>
                  <a:cubicBezTo>
                    <a:pt x="52" y="8"/>
                    <a:pt x="52" y="8"/>
                    <a:pt x="52" y="8"/>
                  </a:cubicBezTo>
                  <a:cubicBezTo>
                    <a:pt x="49" y="7"/>
                    <a:pt x="49" y="7"/>
                    <a:pt x="49" y="7"/>
                  </a:cubicBezTo>
                  <a:cubicBezTo>
                    <a:pt x="26" y="3"/>
                    <a:pt x="26" y="3"/>
                    <a:pt x="26" y="3"/>
                  </a:cubicBezTo>
                  <a:cubicBezTo>
                    <a:pt x="22" y="2"/>
                    <a:pt x="22" y="2"/>
                    <a:pt x="22" y="2"/>
                  </a:cubicBezTo>
                  <a:cubicBezTo>
                    <a:pt x="18" y="1"/>
                    <a:pt x="18" y="1"/>
                    <a:pt x="18" y="1"/>
                  </a:cubicBezTo>
                  <a:cubicBezTo>
                    <a:pt x="15" y="0"/>
                    <a:pt x="15" y="0"/>
                    <a:pt x="15" y="0"/>
                  </a:cubicBezTo>
                  <a:cubicBezTo>
                    <a:pt x="11" y="0"/>
                    <a:pt x="11" y="0"/>
                    <a:pt x="11" y="0"/>
                  </a:cubicBezTo>
                  <a:cubicBezTo>
                    <a:pt x="10" y="0"/>
                    <a:pt x="10" y="0"/>
                    <a:pt x="10" y="0"/>
                  </a:cubicBezTo>
                  <a:cubicBezTo>
                    <a:pt x="10" y="0"/>
                    <a:pt x="9" y="0"/>
                    <a:pt x="9" y="1"/>
                  </a:cubicBezTo>
                  <a:cubicBezTo>
                    <a:pt x="9" y="1"/>
                    <a:pt x="9" y="1"/>
                    <a:pt x="9" y="1"/>
                  </a:cubicBezTo>
                  <a:cubicBezTo>
                    <a:pt x="9" y="2"/>
                    <a:pt x="9" y="2"/>
                    <a:pt x="9" y="2"/>
                  </a:cubicBezTo>
                  <a:cubicBezTo>
                    <a:pt x="9" y="3"/>
                    <a:pt x="9" y="3"/>
                    <a:pt x="9" y="3"/>
                  </a:cubicBezTo>
                  <a:cubicBezTo>
                    <a:pt x="9" y="3"/>
                    <a:pt x="9" y="3"/>
                    <a:pt x="9" y="3"/>
                  </a:cubicBezTo>
                  <a:cubicBezTo>
                    <a:pt x="9" y="3"/>
                    <a:pt x="9" y="3"/>
                    <a:pt x="9" y="3"/>
                  </a:cubicBezTo>
                  <a:cubicBezTo>
                    <a:pt x="8" y="3"/>
                    <a:pt x="8" y="3"/>
                    <a:pt x="8" y="3"/>
                  </a:cubicBezTo>
                  <a:cubicBezTo>
                    <a:pt x="8" y="4"/>
                    <a:pt x="8" y="4"/>
                    <a:pt x="8" y="4"/>
                  </a:cubicBezTo>
                  <a:cubicBezTo>
                    <a:pt x="8" y="4"/>
                    <a:pt x="8" y="5"/>
                    <a:pt x="8" y="5"/>
                  </a:cubicBezTo>
                  <a:cubicBezTo>
                    <a:pt x="9" y="6"/>
                    <a:pt x="9" y="6"/>
                    <a:pt x="9" y="6"/>
                  </a:cubicBezTo>
                  <a:cubicBezTo>
                    <a:pt x="9" y="6"/>
                    <a:pt x="9" y="6"/>
                    <a:pt x="9" y="6"/>
                  </a:cubicBezTo>
                  <a:cubicBezTo>
                    <a:pt x="9" y="8"/>
                    <a:pt x="9" y="8"/>
                    <a:pt x="9" y="8"/>
                  </a:cubicBezTo>
                  <a:cubicBezTo>
                    <a:pt x="9" y="8"/>
                    <a:pt x="9" y="8"/>
                    <a:pt x="9" y="8"/>
                  </a:cubicBezTo>
                  <a:cubicBezTo>
                    <a:pt x="9" y="9"/>
                    <a:pt x="9" y="9"/>
                    <a:pt x="9" y="9"/>
                  </a:cubicBezTo>
                  <a:cubicBezTo>
                    <a:pt x="9" y="9"/>
                    <a:pt x="9" y="9"/>
                    <a:pt x="9" y="9"/>
                  </a:cubicBezTo>
                  <a:cubicBezTo>
                    <a:pt x="9" y="9"/>
                    <a:pt x="9" y="9"/>
                    <a:pt x="9" y="10"/>
                  </a:cubicBezTo>
                  <a:cubicBezTo>
                    <a:pt x="9" y="10"/>
                    <a:pt x="9" y="10"/>
                    <a:pt x="9" y="10"/>
                  </a:cubicBezTo>
                  <a:cubicBezTo>
                    <a:pt x="9" y="10"/>
                    <a:pt x="9" y="10"/>
                    <a:pt x="9" y="10"/>
                  </a:cubicBezTo>
                  <a:cubicBezTo>
                    <a:pt x="9" y="11"/>
                    <a:pt x="9" y="11"/>
                    <a:pt x="9" y="11"/>
                  </a:cubicBezTo>
                  <a:cubicBezTo>
                    <a:pt x="9" y="12"/>
                    <a:pt x="9" y="12"/>
                    <a:pt x="9" y="12"/>
                  </a:cubicBezTo>
                  <a:cubicBezTo>
                    <a:pt x="9" y="13"/>
                    <a:pt x="9" y="13"/>
                    <a:pt x="9" y="13"/>
                  </a:cubicBezTo>
                  <a:cubicBezTo>
                    <a:pt x="9" y="13"/>
                    <a:pt x="8" y="13"/>
                    <a:pt x="8" y="13"/>
                  </a:cubicBezTo>
                  <a:cubicBezTo>
                    <a:pt x="8" y="14"/>
                    <a:pt x="8" y="14"/>
                    <a:pt x="8" y="14"/>
                  </a:cubicBezTo>
                  <a:cubicBezTo>
                    <a:pt x="7" y="16"/>
                    <a:pt x="7" y="16"/>
                    <a:pt x="7" y="16"/>
                  </a:cubicBezTo>
                  <a:cubicBezTo>
                    <a:pt x="7" y="16"/>
                    <a:pt x="7" y="16"/>
                    <a:pt x="7" y="16"/>
                  </a:cubicBezTo>
                  <a:cubicBezTo>
                    <a:pt x="7" y="17"/>
                    <a:pt x="7" y="17"/>
                    <a:pt x="7" y="17"/>
                  </a:cubicBezTo>
                  <a:cubicBezTo>
                    <a:pt x="7" y="18"/>
                    <a:pt x="7" y="18"/>
                    <a:pt x="7" y="18"/>
                  </a:cubicBezTo>
                  <a:cubicBezTo>
                    <a:pt x="6" y="18"/>
                    <a:pt x="6" y="18"/>
                    <a:pt x="6" y="18"/>
                  </a:cubicBezTo>
                  <a:cubicBezTo>
                    <a:pt x="6" y="18"/>
                    <a:pt x="6" y="19"/>
                    <a:pt x="6" y="19"/>
                  </a:cubicBezTo>
                  <a:cubicBezTo>
                    <a:pt x="7" y="20"/>
                    <a:pt x="7" y="20"/>
                    <a:pt x="7" y="20"/>
                  </a:cubicBezTo>
                  <a:cubicBezTo>
                    <a:pt x="6" y="22"/>
                    <a:pt x="6" y="22"/>
                    <a:pt x="6" y="22"/>
                  </a:cubicBezTo>
                  <a:cubicBezTo>
                    <a:pt x="6" y="22"/>
                    <a:pt x="6" y="22"/>
                    <a:pt x="6" y="22"/>
                  </a:cubicBezTo>
                  <a:cubicBezTo>
                    <a:pt x="5" y="23"/>
                    <a:pt x="5" y="23"/>
                    <a:pt x="5" y="23"/>
                  </a:cubicBezTo>
                  <a:cubicBezTo>
                    <a:pt x="4" y="23"/>
                    <a:pt x="4" y="23"/>
                    <a:pt x="4" y="23"/>
                  </a:cubicBezTo>
                  <a:cubicBezTo>
                    <a:pt x="4" y="24"/>
                    <a:pt x="4" y="24"/>
                    <a:pt x="4" y="24"/>
                  </a:cubicBezTo>
                  <a:cubicBezTo>
                    <a:pt x="4" y="24"/>
                    <a:pt x="4" y="24"/>
                    <a:pt x="4" y="24"/>
                  </a:cubicBezTo>
                  <a:cubicBezTo>
                    <a:pt x="3" y="24"/>
                    <a:pt x="3" y="24"/>
                    <a:pt x="3" y="24"/>
                  </a:cubicBezTo>
                  <a:cubicBezTo>
                    <a:pt x="3" y="24"/>
                    <a:pt x="3" y="25"/>
                    <a:pt x="3" y="25"/>
                  </a:cubicBezTo>
                  <a:cubicBezTo>
                    <a:pt x="3" y="25"/>
                    <a:pt x="3" y="25"/>
                    <a:pt x="3" y="25"/>
                  </a:cubicBezTo>
                  <a:cubicBezTo>
                    <a:pt x="3" y="25"/>
                    <a:pt x="3" y="26"/>
                    <a:pt x="3" y="26"/>
                  </a:cubicBezTo>
                  <a:cubicBezTo>
                    <a:pt x="3" y="26"/>
                    <a:pt x="2" y="26"/>
                    <a:pt x="2" y="26"/>
                  </a:cubicBezTo>
                  <a:cubicBezTo>
                    <a:pt x="2" y="26"/>
                    <a:pt x="2" y="26"/>
                    <a:pt x="2" y="27"/>
                  </a:cubicBezTo>
                  <a:cubicBezTo>
                    <a:pt x="1" y="28"/>
                    <a:pt x="1" y="28"/>
                    <a:pt x="1" y="28"/>
                  </a:cubicBezTo>
                  <a:cubicBezTo>
                    <a:pt x="1" y="28"/>
                    <a:pt x="1" y="28"/>
                    <a:pt x="1" y="28"/>
                  </a:cubicBezTo>
                  <a:cubicBezTo>
                    <a:pt x="1" y="28"/>
                    <a:pt x="1" y="28"/>
                    <a:pt x="1" y="29"/>
                  </a:cubicBezTo>
                  <a:cubicBezTo>
                    <a:pt x="0" y="29"/>
                    <a:pt x="0" y="29"/>
                    <a:pt x="0" y="30"/>
                  </a:cubicBezTo>
                  <a:cubicBezTo>
                    <a:pt x="0" y="31"/>
                    <a:pt x="0" y="31"/>
                    <a:pt x="0" y="31"/>
                  </a:cubicBezTo>
                  <a:cubicBezTo>
                    <a:pt x="0" y="31"/>
                    <a:pt x="0" y="31"/>
                    <a:pt x="0" y="31"/>
                  </a:cubicBezTo>
                  <a:cubicBezTo>
                    <a:pt x="1" y="32"/>
                    <a:pt x="1" y="32"/>
                    <a:pt x="1" y="32"/>
                  </a:cubicBezTo>
                  <a:cubicBezTo>
                    <a:pt x="0" y="33"/>
                    <a:pt x="0" y="33"/>
                    <a:pt x="0" y="33"/>
                  </a:cubicBezTo>
                  <a:cubicBezTo>
                    <a:pt x="0" y="33"/>
                    <a:pt x="0" y="33"/>
                    <a:pt x="0" y="33"/>
                  </a:cubicBezTo>
                  <a:cubicBezTo>
                    <a:pt x="0" y="34"/>
                    <a:pt x="0" y="34"/>
                    <a:pt x="0" y="34"/>
                  </a:cubicBezTo>
                  <a:cubicBezTo>
                    <a:pt x="0" y="34"/>
                    <a:pt x="0" y="35"/>
                    <a:pt x="1" y="35"/>
                  </a:cubicBezTo>
                  <a:cubicBezTo>
                    <a:pt x="1" y="35"/>
                    <a:pt x="1" y="35"/>
                    <a:pt x="1" y="35"/>
                  </a:cubicBezTo>
                  <a:cubicBezTo>
                    <a:pt x="2" y="37"/>
                    <a:pt x="2" y="37"/>
                    <a:pt x="2" y="37"/>
                  </a:cubicBezTo>
                  <a:cubicBezTo>
                    <a:pt x="2" y="37"/>
                    <a:pt x="2" y="37"/>
                    <a:pt x="2" y="37"/>
                  </a:cubicBezTo>
                  <a:cubicBezTo>
                    <a:pt x="3" y="38"/>
                    <a:pt x="3" y="38"/>
                    <a:pt x="3" y="38"/>
                  </a:cubicBezTo>
                  <a:cubicBezTo>
                    <a:pt x="3" y="38"/>
                    <a:pt x="3" y="38"/>
                    <a:pt x="3" y="38"/>
                  </a:cubicBezTo>
                  <a:cubicBezTo>
                    <a:pt x="3" y="39"/>
                    <a:pt x="3" y="39"/>
                    <a:pt x="3" y="39"/>
                  </a:cubicBezTo>
                  <a:cubicBezTo>
                    <a:pt x="3" y="39"/>
                    <a:pt x="3" y="39"/>
                    <a:pt x="3" y="39"/>
                  </a:cubicBezTo>
                  <a:cubicBezTo>
                    <a:pt x="3" y="39"/>
                    <a:pt x="4" y="40"/>
                    <a:pt x="4" y="40"/>
                  </a:cubicBezTo>
                  <a:cubicBezTo>
                    <a:pt x="4" y="40"/>
                    <a:pt x="4" y="40"/>
                    <a:pt x="4" y="40"/>
                  </a:cubicBezTo>
                  <a:cubicBezTo>
                    <a:pt x="4" y="40"/>
                    <a:pt x="4" y="40"/>
                    <a:pt x="4" y="40"/>
                  </a:cubicBezTo>
                  <a:cubicBezTo>
                    <a:pt x="4" y="40"/>
                    <a:pt x="4" y="40"/>
                    <a:pt x="4" y="40"/>
                  </a:cubicBezTo>
                  <a:cubicBezTo>
                    <a:pt x="6" y="44"/>
                    <a:pt x="6" y="44"/>
                    <a:pt x="6" y="44"/>
                  </a:cubicBezTo>
                  <a:cubicBezTo>
                    <a:pt x="6" y="44"/>
                    <a:pt x="6" y="44"/>
                    <a:pt x="6" y="44"/>
                  </a:cubicBezTo>
                  <a:cubicBezTo>
                    <a:pt x="5" y="45"/>
                    <a:pt x="5" y="45"/>
                    <a:pt x="6" y="45"/>
                  </a:cubicBezTo>
                  <a:cubicBezTo>
                    <a:pt x="6" y="46"/>
                    <a:pt x="6" y="46"/>
                    <a:pt x="6" y="46"/>
                  </a:cubicBezTo>
                  <a:cubicBezTo>
                    <a:pt x="6" y="46"/>
                    <a:pt x="6" y="46"/>
                    <a:pt x="6" y="47"/>
                  </a:cubicBezTo>
                  <a:cubicBezTo>
                    <a:pt x="6" y="48"/>
                    <a:pt x="6" y="48"/>
                    <a:pt x="6" y="48"/>
                  </a:cubicBezTo>
                  <a:cubicBezTo>
                    <a:pt x="6" y="49"/>
                    <a:pt x="6" y="49"/>
                    <a:pt x="6" y="49"/>
                  </a:cubicBezTo>
                  <a:cubicBezTo>
                    <a:pt x="6" y="49"/>
                    <a:pt x="6" y="49"/>
                    <a:pt x="6" y="50"/>
                  </a:cubicBezTo>
                  <a:cubicBezTo>
                    <a:pt x="5" y="52"/>
                    <a:pt x="5" y="52"/>
                    <a:pt x="5" y="52"/>
                  </a:cubicBezTo>
                  <a:cubicBezTo>
                    <a:pt x="5" y="52"/>
                    <a:pt x="5" y="52"/>
                    <a:pt x="5" y="52"/>
                  </a:cubicBezTo>
                  <a:cubicBezTo>
                    <a:pt x="5" y="52"/>
                    <a:pt x="5" y="53"/>
                    <a:pt x="5" y="53"/>
                  </a:cubicBezTo>
                  <a:cubicBezTo>
                    <a:pt x="5" y="56"/>
                    <a:pt x="5" y="56"/>
                    <a:pt x="5" y="56"/>
                  </a:cubicBezTo>
                  <a:cubicBezTo>
                    <a:pt x="5" y="57"/>
                    <a:pt x="5" y="57"/>
                    <a:pt x="5" y="57"/>
                  </a:cubicBezTo>
                  <a:cubicBezTo>
                    <a:pt x="5" y="58"/>
                    <a:pt x="5" y="58"/>
                    <a:pt x="5" y="58"/>
                  </a:cubicBezTo>
                  <a:cubicBezTo>
                    <a:pt x="5" y="58"/>
                    <a:pt x="5" y="58"/>
                    <a:pt x="5" y="58"/>
                  </a:cubicBezTo>
                  <a:cubicBezTo>
                    <a:pt x="5" y="59"/>
                    <a:pt x="5" y="59"/>
                    <a:pt x="5" y="59"/>
                  </a:cubicBezTo>
                  <a:cubicBezTo>
                    <a:pt x="5" y="60"/>
                    <a:pt x="5" y="60"/>
                    <a:pt x="5" y="60"/>
                  </a:cubicBezTo>
                  <a:cubicBezTo>
                    <a:pt x="5" y="60"/>
                    <a:pt x="5" y="60"/>
                    <a:pt x="5" y="60"/>
                  </a:cubicBezTo>
                  <a:cubicBezTo>
                    <a:pt x="4" y="60"/>
                    <a:pt x="4" y="61"/>
                    <a:pt x="4" y="61"/>
                  </a:cubicBezTo>
                  <a:cubicBezTo>
                    <a:pt x="4" y="62"/>
                    <a:pt x="4" y="62"/>
                    <a:pt x="4" y="62"/>
                  </a:cubicBezTo>
                  <a:cubicBezTo>
                    <a:pt x="4" y="62"/>
                    <a:pt x="4" y="62"/>
                    <a:pt x="4" y="62"/>
                  </a:cubicBezTo>
                  <a:cubicBezTo>
                    <a:pt x="5" y="63"/>
                    <a:pt x="5" y="63"/>
                    <a:pt x="5" y="63"/>
                  </a:cubicBezTo>
                  <a:cubicBezTo>
                    <a:pt x="5" y="63"/>
                    <a:pt x="5" y="63"/>
                    <a:pt x="5" y="63"/>
                  </a:cubicBezTo>
                  <a:cubicBezTo>
                    <a:pt x="6" y="65"/>
                    <a:pt x="6" y="65"/>
                    <a:pt x="6" y="65"/>
                  </a:cubicBezTo>
                  <a:cubicBezTo>
                    <a:pt x="6" y="65"/>
                    <a:pt x="6" y="65"/>
                    <a:pt x="6" y="65"/>
                  </a:cubicBezTo>
                  <a:cubicBezTo>
                    <a:pt x="6" y="65"/>
                    <a:pt x="6" y="66"/>
                    <a:pt x="6" y="66"/>
                  </a:cubicBezTo>
                  <a:cubicBezTo>
                    <a:pt x="7" y="66"/>
                    <a:pt x="7" y="66"/>
                    <a:pt x="7" y="66"/>
                  </a:cubicBezTo>
                  <a:cubicBezTo>
                    <a:pt x="9" y="71"/>
                    <a:pt x="9" y="71"/>
                    <a:pt x="9" y="71"/>
                  </a:cubicBezTo>
                  <a:cubicBezTo>
                    <a:pt x="9" y="71"/>
                    <a:pt x="9" y="71"/>
                    <a:pt x="9" y="71"/>
                  </a:cubicBezTo>
                  <a:cubicBezTo>
                    <a:pt x="11" y="74"/>
                    <a:pt x="11" y="74"/>
                    <a:pt x="11" y="74"/>
                  </a:cubicBezTo>
                  <a:cubicBezTo>
                    <a:pt x="12" y="75"/>
                    <a:pt x="12" y="75"/>
                    <a:pt x="12" y="75"/>
                  </a:cubicBezTo>
                  <a:cubicBezTo>
                    <a:pt x="12" y="75"/>
                    <a:pt x="12" y="75"/>
                    <a:pt x="12" y="75"/>
                  </a:cubicBezTo>
                  <a:cubicBezTo>
                    <a:pt x="12" y="75"/>
                    <a:pt x="12" y="76"/>
                    <a:pt x="12" y="76"/>
                  </a:cubicBezTo>
                  <a:cubicBezTo>
                    <a:pt x="12" y="76"/>
                    <a:pt x="12" y="76"/>
                    <a:pt x="12" y="76"/>
                  </a:cubicBezTo>
                  <a:cubicBezTo>
                    <a:pt x="12" y="76"/>
                    <a:pt x="12" y="77"/>
                    <a:pt x="12" y="77"/>
                  </a:cubicBezTo>
                  <a:cubicBezTo>
                    <a:pt x="12" y="77"/>
                    <a:pt x="12" y="77"/>
                    <a:pt x="13" y="77"/>
                  </a:cubicBezTo>
                  <a:cubicBezTo>
                    <a:pt x="12" y="77"/>
                    <a:pt x="12" y="78"/>
                    <a:pt x="12" y="78"/>
                  </a:cubicBezTo>
                  <a:cubicBezTo>
                    <a:pt x="13" y="79"/>
                    <a:pt x="13" y="79"/>
                    <a:pt x="13" y="79"/>
                  </a:cubicBezTo>
                  <a:cubicBezTo>
                    <a:pt x="12" y="81"/>
                    <a:pt x="12" y="81"/>
                    <a:pt x="12" y="81"/>
                  </a:cubicBezTo>
                  <a:cubicBezTo>
                    <a:pt x="12" y="81"/>
                    <a:pt x="12" y="81"/>
                    <a:pt x="12" y="81"/>
                  </a:cubicBezTo>
                  <a:cubicBezTo>
                    <a:pt x="11" y="81"/>
                    <a:pt x="11" y="82"/>
                    <a:pt x="11" y="82"/>
                  </a:cubicBezTo>
                  <a:cubicBezTo>
                    <a:pt x="11" y="82"/>
                    <a:pt x="11" y="83"/>
                    <a:pt x="11" y="83"/>
                  </a:cubicBezTo>
                  <a:cubicBezTo>
                    <a:pt x="12" y="84"/>
                    <a:pt x="12" y="84"/>
                    <a:pt x="12" y="84"/>
                  </a:cubicBezTo>
                  <a:cubicBezTo>
                    <a:pt x="12" y="84"/>
                    <a:pt x="12" y="84"/>
                    <a:pt x="12" y="84"/>
                  </a:cubicBezTo>
                  <a:cubicBezTo>
                    <a:pt x="13" y="84"/>
                    <a:pt x="13" y="84"/>
                    <a:pt x="13" y="84"/>
                  </a:cubicBezTo>
                  <a:cubicBezTo>
                    <a:pt x="13" y="84"/>
                    <a:pt x="13" y="84"/>
                    <a:pt x="13" y="84"/>
                  </a:cubicBezTo>
                  <a:cubicBezTo>
                    <a:pt x="14" y="83"/>
                    <a:pt x="14" y="83"/>
                    <a:pt x="14" y="83"/>
                  </a:cubicBezTo>
                  <a:cubicBezTo>
                    <a:pt x="14" y="83"/>
                    <a:pt x="14" y="83"/>
                    <a:pt x="14" y="83"/>
                  </a:cubicBezTo>
                  <a:cubicBezTo>
                    <a:pt x="14" y="83"/>
                    <a:pt x="14" y="83"/>
                    <a:pt x="14" y="83"/>
                  </a:cubicBezTo>
                  <a:cubicBezTo>
                    <a:pt x="14" y="84"/>
                    <a:pt x="15" y="84"/>
                    <a:pt x="15" y="84"/>
                  </a:cubicBezTo>
                  <a:cubicBezTo>
                    <a:pt x="15" y="84"/>
                    <a:pt x="15" y="84"/>
                    <a:pt x="15" y="84"/>
                  </a:cubicBezTo>
                  <a:cubicBezTo>
                    <a:pt x="15" y="84"/>
                    <a:pt x="15" y="85"/>
                    <a:pt x="15" y="85"/>
                  </a:cubicBezTo>
                  <a:cubicBezTo>
                    <a:pt x="15" y="85"/>
                    <a:pt x="15" y="85"/>
                    <a:pt x="15" y="85"/>
                  </a:cubicBezTo>
                  <a:cubicBezTo>
                    <a:pt x="15" y="86"/>
                    <a:pt x="15" y="86"/>
                    <a:pt x="15" y="86"/>
                  </a:cubicBezTo>
                  <a:cubicBezTo>
                    <a:pt x="16" y="86"/>
                    <a:pt x="16" y="86"/>
                    <a:pt x="16" y="86"/>
                  </a:cubicBezTo>
                  <a:cubicBezTo>
                    <a:pt x="16" y="86"/>
                    <a:pt x="16" y="86"/>
                    <a:pt x="16" y="86"/>
                  </a:cubicBezTo>
                  <a:cubicBezTo>
                    <a:pt x="17" y="86"/>
                    <a:pt x="17" y="86"/>
                    <a:pt x="17" y="86"/>
                  </a:cubicBezTo>
                  <a:cubicBezTo>
                    <a:pt x="17" y="86"/>
                    <a:pt x="17" y="86"/>
                    <a:pt x="17" y="86"/>
                  </a:cubicBezTo>
                  <a:cubicBezTo>
                    <a:pt x="18" y="87"/>
                    <a:pt x="18" y="87"/>
                    <a:pt x="18" y="87"/>
                  </a:cubicBezTo>
                  <a:cubicBezTo>
                    <a:pt x="18" y="88"/>
                    <a:pt x="18" y="88"/>
                    <a:pt x="18" y="88"/>
                  </a:cubicBezTo>
                  <a:cubicBezTo>
                    <a:pt x="18" y="88"/>
                    <a:pt x="18" y="88"/>
                    <a:pt x="18" y="88"/>
                  </a:cubicBezTo>
                  <a:cubicBezTo>
                    <a:pt x="18" y="88"/>
                    <a:pt x="18" y="88"/>
                    <a:pt x="18" y="89"/>
                  </a:cubicBezTo>
                  <a:cubicBezTo>
                    <a:pt x="18" y="91"/>
                    <a:pt x="18" y="91"/>
                    <a:pt x="18" y="91"/>
                  </a:cubicBezTo>
                  <a:cubicBezTo>
                    <a:pt x="18" y="92"/>
                    <a:pt x="18" y="92"/>
                    <a:pt x="18" y="92"/>
                  </a:cubicBezTo>
                  <a:cubicBezTo>
                    <a:pt x="17" y="92"/>
                    <a:pt x="17" y="92"/>
                    <a:pt x="17" y="92"/>
                  </a:cubicBezTo>
                  <a:cubicBezTo>
                    <a:pt x="17" y="92"/>
                    <a:pt x="17" y="92"/>
                    <a:pt x="17" y="93"/>
                  </a:cubicBezTo>
                  <a:cubicBezTo>
                    <a:pt x="17" y="94"/>
                    <a:pt x="17" y="94"/>
                    <a:pt x="17" y="94"/>
                  </a:cubicBezTo>
                  <a:cubicBezTo>
                    <a:pt x="17" y="94"/>
                    <a:pt x="17" y="94"/>
                    <a:pt x="17" y="95"/>
                  </a:cubicBezTo>
                  <a:cubicBezTo>
                    <a:pt x="17" y="95"/>
                    <a:pt x="18" y="95"/>
                    <a:pt x="18" y="95"/>
                  </a:cubicBezTo>
                  <a:cubicBezTo>
                    <a:pt x="18" y="95"/>
                    <a:pt x="18" y="95"/>
                    <a:pt x="18" y="95"/>
                  </a:cubicBezTo>
                  <a:cubicBezTo>
                    <a:pt x="18" y="96"/>
                    <a:pt x="18" y="96"/>
                    <a:pt x="18" y="96"/>
                  </a:cubicBezTo>
                  <a:cubicBezTo>
                    <a:pt x="18" y="97"/>
                    <a:pt x="18" y="97"/>
                    <a:pt x="18" y="97"/>
                  </a:cubicBezTo>
                  <a:cubicBezTo>
                    <a:pt x="18" y="98"/>
                    <a:pt x="18" y="98"/>
                    <a:pt x="18" y="98"/>
                  </a:cubicBezTo>
                  <a:cubicBezTo>
                    <a:pt x="18" y="98"/>
                    <a:pt x="18" y="98"/>
                    <a:pt x="18" y="98"/>
                  </a:cubicBezTo>
                  <a:cubicBezTo>
                    <a:pt x="18" y="99"/>
                    <a:pt x="18" y="99"/>
                    <a:pt x="18" y="99"/>
                  </a:cubicBezTo>
                  <a:cubicBezTo>
                    <a:pt x="18" y="99"/>
                    <a:pt x="18" y="99"/>
                    <a:pt x="18" y="99"/>
                  </a:cubicBezTo>
                  <a:cubicBezTo>
                    <a:pt x="17" y="99"/>
                    <a:pt x="17" y="99"/>
                    <a:pt x="18" y="100"/>
                  </a:cubicBezTo>
                  <a:cubicBezTo>
                    <a:pt x="18" y="101"/>
                    <a:pt x="18" y="101"/>
                    <a:pt x="18" y="101"/>
                  </a:cubicBezTo>
                  <a:cubicBezTo>
                    <a:pt x="18" y="102"/>
                    <a:pt x="18" y="102"/>
                    <a:pt x="18" y="102"/>
                  </a:cubicBezTo>
                  <a:cubicBezTo>
                    <a:pt x="18" y="102"/>
                    <a:pt x="18" y="102"/>
                    <a:pt x="18" y="103"/>
                  </a:cubicBezTo>
                  <a:cubicBezTo>
                    <a:pt x="19" y="103"/>
                    <a:pt x="19" y="103"/>
                    <a:pt x="19" y="103"/>
                  </a:cubicBezTo>
                  <a:cubicBezTo>
                    <a:pt x="20" y="104"/>
                    <a:pt x="20" y="104"/>
                    <a:pt x="20" y="104"/>
                  </a:cubicBezTo>
                  <a:cubicBezTo>
                    <a:pt x="20" y="105"/>
                    <a:pt x="20" y="105"/>
                    <a:pt x="20" y="105"/>
                  </a:cubicBezTo>
                  <a:cubicBezTo>
                    <a:pt x="21" y="106"/>
                    <a:pt x="21" y="106"/>
                    <a:pt x="21" y="106"/>
                  </a:cubicBezTo>
                  <a:cubicBezTo>
                    <a:pt x="22" y="107"/>
                    <a:pt x="22" y="107"/>
                    <a:pt x="22" y="107"/>
                  </a:cubicBezTo>
                  <a:cubicBezTo>
                    <a:pt x="22" y="107"/>
                    <a:pt x="22" y="107"/>
                    <a:pt x="22" y="107"/>
                  </a:cubicBezTo>
                  <a:cubicBezTo>
                    <a:pt x="23" y="107"/>
                    <a:pt x="23" y="107"/>
                    <a:pt x="23" y="107"/>
                  </a:cubicBezTo>
                  <a:cubicBezTo>
                    <a:pt x="23" y="107"/>
                    <a:pt x="23" y="107"/>
                    <a:pt x="23" y="107"/>
                  </a:cubicBezTo>
                  <a:cubicBezTo>
                    <a:pt x="24" y="107"/>
                    <a:pt x="24" y="107"/>
                    <a:pt x="24" y="107"/>
                  </a:cubicBezTo>
                  <a:cubicBezTo>
                    <a:pt x="25" y="107"/>
                    <a:pt x="25" y="107"/>
                    <a:pt x="25" y="107"/>
                  </a:cubicBezTo>
                  <a:cubicBezTo>
                    <a:pt x="25" y="109"/>
                    <a:pt x="25" y="109"/>
                    <a:pt x="25" y="109"/>
                  </a:cubicBezTo>
                  <a:cubicBezTo>
                    <a:pt x="25" y="109"/>
                    <a:pt x="25" y="110"/>
                    <a:pt x="25" y="110"/>
                  </a:cubicBezTo>
                  <a:cubicBezTo>
                    <a:pt x="25" y="110"/>
                    <a:pt x="25" y="110"/>
                    <a:pt x="25" y="110"/>
                  </a:cubicBezTo>
                  <a:cubicBezTo>
                    <a:pt x="25" y="110"/>
                    <a:pt x="25" y="110"/>
                    <a:pt x="25" y="110"/>
                  </a:cubicBezTo>
                  <a:cubicBezTo>
                    <a:pt x="25" y="110"/>
                    <a:pt x="25" y="111"/>
                    <a:pt x="25" y="111"/>
                  </a:cubicBezTo>
                  <a:cubicBezTo>
                    <a:pt x="25" y="111"/>
                    <a:pt x="25" y="111"/>
                    <a:pt x="25" y="111"/>
                  </a:cubicBezTo>
                  <a:cubicBezTo>
                    <a:pt x="25" y="112"/>
                    <a:pt x="25" y="112"/>
                    <a:pt x="25" y="112"/>
                  </a:cubicBezTo>
                  <a:cubicBezTo>
                    <a:pt x="25" y="112"/>
                    <a:pt x="25" y="112"/>
                    <a:pt x="25" y="112"/>
                  </a:cubicBezTo>
                  <a:cubicBezTo>
                    <a:pt x="25" y="112"/>
                    <a:pt x="25" y="112"/>
                    <a:pt x="25" y="112"/>
                  </a:cubicBezTo>
                  <a:cubicBezTo>
                    <a:pt x="25" y="112"/>
                    <a:pt x="25" y="112"/>
                    <a:pt x="24" y="112"/>
                  </a:cubicBezTo>
                  <a:cubicBezTo>
                    <a:pt x="24" y="112"/>
                    <a:pt x="24" y="112"/>
                    <a:pt x="24" y="112"/>
                  </a:cubicBezTo>
                  <a:cubicBezTo>
                    <a:pt x="24" y="111"/>
                    <a:pt x="23" y="111"/>
                    <a:pt x="23" y="112"/>
                  </a:cubicBezTo>
                  <a:cubicBezTo>
                    <a:pt x="23" y="112"/>
                    <a:pt x="23" y="112"/>
                    <a:pt x="23" y="112"/>
                  </a:cubicBezTo>
                  <a:cubicBezTo>
                    <a:pt x="22" y="112"/>
                    <a:pt x="22" y="112"/>
                    <a:pt x="22" y="112"/>
                  </a:cubicBezTo>
                  <a:cubicBezTo>
                    <a:pt x="22" y="113"/>
                    <a:pt x="22" y="113"/>
                    <a:pt x="22" y="113"/>
                  </a:cubicBezTo>
                  <a:cubicBezTo>
                    <a:pt x="22" y="114"/>
                    <a:pt x="22" y="114"/>
                    <a:pt x="22" y="114"/>
                  </a:cubicBezTo>
                  <a:cubicBezTo>
                    <a:pt x="22" y="114"/>
                    <a:pt x="22" y="114"/>
                    <a:pt x="22" y="114"/>
                  </a:cubicBezTo>
                  <a:cubicBezTo>
                    <a:pt x="22" y="114"/>
                    <a:pt x="22" y="114"/>
                    <a:pt x="22" y="115"/>
                  </a:cubicBezTo>
                  <a:cubicBezTo>
                    <a:pt x="22" y="115"/>
                    <a:pt x="22" y="115"/>
                    <a:pt x="22" y="115"/>
                  </a:cubicBezTo>
                  <a:cubicBezTo>
                    <a:pt x="22" y="116"/>
                    <a:pt x="22" y="116"/>
                    <a:pt x="22" y="116"/>
                  </a:cubicBezTo>
                  <a:cubicBezTo>
                    <a:pt x="22" y="117"/>
                    <a:pt x="22" y="117"/>
                    <a:pt x="22" y="117"/>
                  </a:cubicBezTo>
                  <a:cubicBezTo>
                    <a:pt x="22" y="118"/>
                    <a:pt x="22" y="118"/>
                    <a:pt x="22" y="118"/>
                  </a:cubicBezTo>
                  <a:cubicBezTo>
                    <a:pt x="22" y="118"/>
                    <a:pt x="22" y="118"/>
                    <a:pt x="22" y="118"/>
                  </a:cubicBezTo>
                  <a:cubicBezTo>
                    <a:pt x="22" y="118"/>
                    <a:pt x="22" y="118"/>
                    <a:pt x="22" y="118"/>
                  </a:cubicBezTo>
                  <a:cubicBezTo>
                    <a:pt x="22" y="118"/>
                    <a:pt x="22" y="118"/>
                    <a:pt x="22" y="119"/>
                  </a:cubicBezTo>
                  <a:cubicBezTo>
                    <a:pt x="22" y="119"/>
                    <a:pt x="22" y="119"/>
                    <a:pt x="22" y="119"/>
                  </a:cubicBezTo>
                  <a:cubicBezTo>
                    <a:pt x="22" y="120"/>
                    <a:pt x="22" y="120"/>
                    <a:pt x="22" y="120"/>
                  </a:cubicBezTo>
                  <a:cubicBezTo>
                    <a:pt x="22" y="120"/>
                    <a:pt x="22" y="120"/>
                    <a:pt x="23" y="120"/>
                  </a:cubicBezTo>
                  <a:cubicBezTo>
                    <a:pt x="23" y="121"/>
                    <a:pt x="23" y="121"/>
                    <a:pt x="23" y="121"/>
                  </a:cubicBezTo>
                  <a:cubicBezTo>
                    <a:pt x="23" y="121"/>
                    <a:pt x="23" y="121"/>
                    <a:pt x="23" y="121"/>
                  </a:cubicBezTo>
                  <a:cubicBezTo>
                    <a:pt x="24" y="122"/>
                    <a:pt x="24" y="122"/>
                    <a:pt x="24" y="122"/>
                  </a:cubicBezTo>
                  <a:cubicBezTo>
                    <a:pt x="24" y="122"/>
                    <a:pt x="24" y="122"/>
                    <a:pt x="24" y="122"/>
                  </a:cubicBezTo>
                  <a:cubicBezTo>
                    <a:pt x="25" y="123"/>
                    <a:pt x="25" y="123"/>
                    <a:pt x="25" y="123"/>
                  </a:cubicBezTo>
                  <a:cubicBezTo>
                    <a:pt x="26" y="125"/>
                    <a:pt x="26" y="125"/>
                    <a:pt x="26" y="125"/>
                  </a:cubicBezTo>
                  <a:cubicBezTo>
                    <a:pt x="26" y="125"/>
                    <a:pt x="26" y="125"/>
                    <a:pt x="26" y="125"/>
                  </a:cubicBezTo>
                  <a:cubicBezTo>
                    <a:pt x="26" y="126"/>
                    <a:pt x="26" y="126"/>
                    <a:pt x="26" y="126"/>
                  </a:cubicBezTo>
                  <a:cubicBezTo>
                    <a:pt x="26" y="126"/>
                    <a:pt x="26" y="126"/>
                    <a:pt x="26" y="126"/>
                  </a:cubicBezTo>
                  <a:cubicBezTo>
                    <a:pt x="26" y="127"/>
                    <a:pt x="26" y="127"/>
                    <a:pt x="27" y="127"/>
                  </a:cubicBezTo>
                  <a:cubicBezTo>
                    <a:pt x="27" y="127"/>
                    <a:pt x="27" y="127"/>
                    <a:pt x="27" y="127"/>
                  </a:cubicBezTo>
                  <a:cubicBezTo>
                    <a:pt x="27" y="127"/>
                    <a:pt x="27" y="128"/>
                    <a:pt x="27" y="128"/>
                  </a:cubicBezTo>
                  <a:cubicBezTo>
                    <a:pt x="27" y="129"/>
                    <a:pt x="27" y="129"/>
                    <a:pt x="27" y="129"/>
                  </a:cubicBezTo>
                  <a:cubicBezTo>
                    <a:pt x="27" y="129"/>
                    <a:pt x="27" y="129"/>
                    <a:pt x="27" y="129"/>
                  </a:cubicBezTo>
                  <a:cubicBezTo>
                    <a:pt x="28" y="130"/>
                    <a:pt x="28" y="130"/>
                    <a:pt x="28" y="130"/>
                  </a:cubicBezTo>
                  <a:cubicBezTo>
                    <a:pt x="28" y="130"/>
                    <a:pt x="28" y="130"/>
                    <a:pt x="28" y="130"/>
                  </a:cubicBezTo>
                  <a:cubicBezTo>
                    <a:pt x="28" y="130"/>
                    <a:pt x="28" y="130"/>
                    <a:pt x="28" y="130"/>
                  </a:cubicBezTo>
                  <a:cubicBezTo>
                    <a:pt x="28" y="131"/>
                    <a:pt x="28" y="131"/>
                    <a:pt x="28" y="131"/>
                  </a:cubicBezTo>
                  <a:cubicBezTo>
                    <a:pt x="29" y="131"/>
                    <a:pt x="29" y="131"/>
                    <a:pt x="29" y="131"/>
                  </a:cubicBezTo>
                  <a:cubicBezTo>
                    <a:pt x="29" y="132"/>
                    <a:pt x="29" y="132"/>
                    <a:pt x="29" y="132"/>
                  </a:cubicBezTo>
                  <a:cubicBezTo>
                    <a:pt x="29" y="132"/>
                    <a:pt x="29" y="132"/>
                    <a:pt x="29" y="132"/>
                  </a:cubicBezTo>
                  <a:cubicBezTo>
                    <a:pt x="29" y="134"/>
                    <a:pt x="29" y="134"/>
                    <a:pt x="29" y="134"/>
                  </a:cubicBezTo>
                  <a:cubicBezTo>
                    <a:pt x="29" y="134"/>
                    <a:pt x="30" y="135"/>
                    <a:pt x="30" y="135"/>
                  </a:cubicBezTo>
                  <a:cubicBezTo>
                    <a:pt x="31" y="136"/>
                    <a:pt x="31" y="136"/>
                    <a:pt x="31" y="136"/>
                  </a:cubicBezTo>
                  <a:cubicBezTo>
                    <a:pt x="31" y="136"/>
                    <a:pt x="31" y="136"/>
                    <a:pt x="31" y="136"/>
                  </a:cubicBezTo>
                  <a:cubicBezTo>
                    <a:pt x="32" y="137"/>
                    <a:pt x="32" y="137"/>
                    <a:pt x="32" y="137"/>
                  </a:cubicBezTo>
                  <a:cubicBezTo>
                    <a:pt x="32" y="138"/>
                    <a:pt x="32" y="138"/>
                    <a:pt x="32" y="138"/>
                  </a:cubicBezTo>
                  <a:cubicBezTo>
                    <a:pt x="32" y="138"/>
                    <a:pt x="32" y="138"/>
                    <a:pt x="32" y="138"/>
                  </a:cubicBezTo>
                  <a:cubicBezTo>
                    <a:pt x="33" y="139"/>
                    <a:pt x="33" y="139"/>
                    <a:pt x="33" y="139"/>
                  </a:cubicBezTo>
                  <a:cubicBezTo>
                    <a:pt x="33" y="139"/>
                    <a:pt x="33" y="139"/>
                    <a:pt x="33" y="139"/>
                  </a:cubicBezTo>
                  <a:cubicBezTo>
                    <a:pt x="33" y="140"/>
                    <a:pt x="33" y="140"/>
                    <a:pt x="34" y="140"/>
                  </a:cubicBezTo>
                  <a:cubicBezTo>
                    <a:pt x="35" y="140"/>
                    <a:pt x="35" y="140"/>
                    <a:pt x="35" y="140"/>
                  </a:cubicBezTo>
                  <a:cubicBezTo>
                    <a:pt x="35" y="141"/>
                    <a:pt x="35" y="141"/>
                    <a:pt x="35" y="141"/>
                  </a:cubicBezTo>
                  <a:cubicBezTo>
                    <a:pt x="34" y="142"/>
                    <a:pt x="34" y="142"/>
                    <a:pt x="34" y="142"/>
                  </a:cubicBezTo>
                  <a:cubicBezTo>
                    <a:pt x="34" y="142"/>
                    <a:pt x="34" y="142"/>
                    <a:pt x="34" y="142"/>
                  </a:cubicBezTo>
                  <a:cubicBezTo>
                    <a:pt x="34" y="144"/>
                    <a:pt x="34" y="144"/>
                    <a:pt x="34" y="144"/>
                  </a:cubicBezTo>
                  <a:cubicBezTo>
                    <a:pt x="34" y="144"/>
                    <a:pt x="34" y="145"/>
                    <a:pt x="34" y="145"/>
                  </a:cubicBezTo>
                  <a:cubicBezTo>
                    <a:pt x="35" y="145"/>
                    <a:pt x="35" y="145"/>
                    <a:pt x="35" y="145"/>
                  </a:cubicBezTo>
                  <a:cubicBezTo>
                    <a:pt x="35" y="146"/>
                    <a:pt x="35" y="146"/>
                    <a:pt x="35" y="146"/>
                  </a:cubicBezTo>
                  <a:cubicBezTo>
                    <a:pt x="36" y="146"/>
                    <a:pt x="36" y="147"/>
                    <a:pt x="37" y="146"/>
                  </a:cubicBezTo>
                  <a:cubicBezTo>
                    <a:pt x="37" y="146"/>
                    <a:pt x="37" y="146"/>
                    <a:pt x="37" y="146"/>
                  </a:cubicBezTo>
                  <a:cubicBezTo>
                    <a:pt x="37" y="146"/>
                    <a:pt x="37" y="146"/>
                    <a:pt x="37" y="146"/>
                  </a:cubicBezTo>
                  <a:cubicBezTo>
                    <a:pt x="37" y="146"/>
                    <a:pt x="37" y="146"/>
                    <a:pt x="37" y="146"/>
                  </a:cubicBezTo>
                  <a:cubicBezTo>
                    <a:pt x="37" y="147"/>
                    <a:pt x="37" y="147"/>
                    <a:pt x="37" y="147"/>
                  </a:cubicBezTo>
                  <a:cubicBezTo>
                    <a:pt x="37" y="148"/>
                    <a:pt x="37" y="148"/>
                    <a:pt x="37" y="148"/>
                  </a:cubicBezTo>
                  <a:cubicBezTo>
                    <a:pt x="37" y="148"/>
                    <a:pt x="37" y="148"/>
                    <a:pt x="37" y="148"/>
                  </a:cubicBezTo>
                  <a:cubicBezTo>
                    <a:pt x="37" y="149"/>
                    <a:pt x="37" y="149"/>
                    <a:pt x="37" y="149"/>
                  </a:cubicBezTo>
                  <a:cubicBezTo>
                    <a:pt x="36" y="149"/>
                    <a:pt x="36" y="149"/>
                    <a:pt x="36" y="149"/>
                  </a:cubicBezTo>
                  <a:cubicBezTo>
                    <a:pt x="36" y="149"/>
                    <a:pt x="36" y="149"/>
                    <a:pt x="36" y="149"/>
                  </a:cubicBezTo>
                  <a:cubicBezTo>
                    <a:pt x="36" y="149"/>
                    <a:pt x="36" y="150"/>
                    <a:pt x="36" y="150"/>
                  </a:cubicBezTo>
                  <a:cubicBezTo>
                    <a:pt x="36" y="150"/>
                    <a:pt x="36" y="151"/>
                    <a:pt x="36" y="151"/>
                  </a:cubicBezTo>
                  <a:cubicBezTo>
                    <a:pt x="36" y="151"/>
                    <a:pt x="36" y="151"/>
                    <a:pt x="36" y="151"/>
                  </a:cubicBezTo>
                  <a:cubicBezTo>
                    <a:pt x="36" y="152"/>
                    <a:pt x="36" y="152"/>
                    <a:pt x="36" y="152"/>
                  </a:cubicBezTo>
                  <a:cubicBezTo>
                    <a:pt x="36" y="152"/>
                    <a:pt x="36" y="152"/>
                    <a:pt x="36" y="152"/>
                  </a:cubicBezTo>
                  <a:cubicBezTo>
                    <a:pt x="36" y="153"/>
                    <a:pt x="36" y="153"/>
                    <a:pt x="36" y="153"/>
                  </a:cubicBezTo>
                  <a:cubicBezTo>
                    <a:pt x="36" y="153"/>
                    <a:pt x="36" y="153"/>
                    <a:pt x="36" y="154"/>
                  </a:cubicBezTo>
                  <a:cubicBezTo>
                    <a:pt x="36" y="154"/>
                    <a:pt x="36" y="154"/>
                    <a:pt x="36" y="154"/>
                  </a:cubicBezTo>
                  <a:cubicBezTo>
                    <a:pt x="36" y="155"/>
                    <a:pt x="36" y="155"/>
                    <a:pt x="36" y="155"/>
                  </a:cubicBezTo>
                  <a:cubicBezTo>
                    <a:pt x="36" y="155"/>
                    <a:pt x="36" y="155"/>
                    <a:pt x="36" y="155"/>
                  </a:cubicBezTo>
                  <a:cubicBezTo>
                    <a:pt x="35" y="156"/>
                    <a:pt x="35" y="156"/>
                    <a:pt x="35" y="156"/>
                  </a:cubicBezTo>
                  <a:cubicBezTo>
                    <a:pt x="35" y="156"/>
                    <a:pt x="35" y="156"/>
                    <a:pt x="35" y="156"/>
                  </a:cubicBezTo>
                  <a:cubicBezTo>
                    <a:pt x="35" y="156"/>
                    <a:pt x="35" y="156"/>
                    <a:pt x="35" y="156"/>
                  </a:cubicBezTo>
                  <a:cubicBezTo>
                    <a:pt x="35" y="156"/>
                    <a:pt x="35" y="157"/>
                    <a:pt x="35" y="157"/>
                  </a:cubicBezTo>
                  <a:cubicBezTo>
                    <a:pt x="35" y="157"/>
                    <a:pt x="35" y="157"/>
                    <a:pt x="35" y="157"/>
                  </a:cubicBezTo>
                  <a:cubicBezTo>
                    <a:pt x="35" y="157"/>
                    <a:pt x="35" y="158"/>
                    <a:pt x="35" y="158"/>
                  </a:cubicBezTo>
                  <a:cubicBezTo>
                    <a:pt x="36" y="158"/>
                    <a:pt x="36" y="158"/>
                    <a:pt x="36" y="158"/>
                  </a:cubicBezTo>
                  <a:cubicBezTo>
                    <a:pt x="36" y="158"/>
                    <a:pt x="36" y="158"/>
                    <a:pt x="36" y="158"/>
                  </a:cubicBezTo>
                  <a:cubicBezTo>
                    <a:pt x="36" y="159"/>
                    <a:pt x="36" y="159"/>
                    <a:pt x="36" y="159"/>
                  </a:cubicBezTo>
                  <a:cubicBezTo>
                    <a:pt x="37" y="159"/>
                    <a:pt x="37" y="159"/>
                    <a:pt x="37" y="159"/>
                  </a:cubicBezTo>
                  <a:cubicBezTo>
                    <a:pt x="37" y="160"/>
                    <a:pt x="37" y="160"/>
                    <a:pt x="37" y="160"/>
                  </a:cubicBezTo>
                  <a:cubicBezTo>
                    <a:pt x="37" y="160"/>
                    <a:pt x="37" y="160"/>
                    <a:pt x="38" y="160"/>
                  </a:cubicBezTo>
                  <a:cubicBezTo>
                    <a:pt x="38" y="161"/>
                    <a:pt x="38" y="161"/>
                    <a:pt x="38" y="161"/>
                  </a:cubicBezTo>
                  <a:cubicBezTo>
                    <a:pt x="38" y="161"/>
                    <a:pt x="38" y="161"/>
                    <a:pt x="39" y="161"/>
                  </a:cubicBezTo>
                  <a:cubicBezTo>
                    <a:pt x="39" y="161"/>
                    <a:pt x="39" y="161"/>
                    <a:pt x="39" y="161"/>
                  </a:cubicBezTo>
                  <a:cubicBezTo>
                    <a:pt x="41" y="161"/>
                    <a:pt x="41" y="161"/>
                    <a:pt x="41" y="161"/>
                  </a:cubicBezTo>
                  <a:cubicBezTo>
                    <a:pt x="43" y="162"/>
                    <a:pt x="43" y="162"/>
                    <a:pt x="43" y="162"/>
                  </a:cubicBezTo>
                  <a:cubicBezTo>
                    <a:pt x="44" y="162"/>
                    <a:pt x="44" y="162"/>
                    <a:pt x="44" y="162"/>
                  </a:cubicBezTo>
                  <a:cubicBezTo>
                    <a:pt x="44" y="162"/>
                    <a:pt x="44" y="162"/>
                    <a:pt x="44" y="162"/>
                  </a:cubicBezTo>
                  <a:cubicBezTo>
                    <a:pt x="44" y="162"/>
                    <a:pt x="44" y="162"/>
                    <a:pt x="44" y="162"/>
                  </a:cubicBezTo>
                  <a:cubicBezTo>
                    <a:pt x="45" y="162"/>
                    <a:pt x="45" y="162"/>
                    <a:pt x="45" y="162"/>
                  </a:cubicBezTo>
                  <a:cubicBezTo>
                    <a:pt x="47" y="163"/>
                    <a:pt x="47" y="163"/>
                    <a:pt x="47" y="163"/>
                  </a:cubicBezTo>
                  <a:cubicBezTo>
                    <a:pt x="47" y="163"/>
                    <a:pt x="48" y="164"/>
                    <a:pt x="48" y="164"/>
                  </a:cubicBezTo>
                  <a:cubicBezTo>
                    <a:pt x="48" y="164"/>
                    <a:pt x="48" y="164"/>
                    <a:pt x="48" y="164"/>
                  </a:cubicBezTo>
                  <a:cubicBezTo>
                    <a:pt x="48" y="164"/>
                    <a:pt x="48" y="164"/>
                    <a:pt x="48" y="164"/>
                  </a:cubicBezTo>
                  <a:cubicBezTo>
                    <a:pt x="48" y="164"/>
                    <a:pt x="49" y="164"/>
                    <a:pt x="49" y="164"/>
                  </a:cubicBezTo>
                  <a:cubicBezTo>
                    <a:pt x="49" y="164"/>
                    <a:pt x="49" y="164"/>
                    <a:pt x="49" y="164"/>
                  </a:cubicBezTo>
                  <a:cubicBezTo>
                    <a:pt x="50" y="164"/>
                    <a:pt x="50" y="164"/>
                    <a:pt x="50" y="164"/>
                  </a:cubicBezTo>
                  <a:cubicBezTo>
                    <a:pt x="50" y="165"/>
                    <a:pt x="50" y="165"/>
                    <a:pt x="50" y="165"/>
                  </a:cubicBezTo>
                  <a:cubicBezTo>
                    <a:pt x="50" y="165"/>
                    <a:pt x="50" y="165"/>
                    <a:pt x="50" y="165"/>
                  </a:cubicBezTo>
                  <a:cubicBezTo>
                    <a:pt x="51" y="165"/>
                    <a:pt x="51" y="164"/>
                    <a:pt x="51" y="164"/>
                  </a:cubicBezTo>
                  <a:cubicBezTo>
                    <a:pt x="52" y="164"/>
                    <a:pt x="52" y="164"/>
                    <a:pt x="52" y="164"/>
                  </a:cubicBezTo>
                  <a:cubicBezTo>
                    <a:pt x="52" y="165"/>
                    <a:pt x="52" y="165"/>
                    <a:pt x="52" y="165"/>
                  </a:cubicBezTo>
                  <a:cubicBezTo>
                    <a:pt x="52" y="165"/>
                    <a:pt x="52" y="165"/>
                    <a:pt x="53" y="165"/>
                  </a:cubicBezTo>
                  <a:cubicBezTo>
                    <a:pt x="53" y="165"/>
                    <a:pt x="53" y="165"/>
                    <a:pt x="53" y="165"/>
                  </a:cubicBezTo>
                  <a:cubicBezTo>
                    <a:pt x="54" y="166"/>
                    <a:pt x="54" y="166"/>
                    <a:pt x="54" y="166"/>
                  </a:cubicBezTo>
                  <a:cubicBezTo>
                    <a:pt x="55" y="168"/>
                    <a:pt x="55" y="168"/>
                    <a:pt x="55" y="168"/>
                  </a:cubicBezTo>
                  <a:cubicBezTo>
                    <a:pt x="55" y="168"/>
                    <a:pt x="56" y="168"/>
                    <a:pt x="56" y="168"/>
                  </a:cubicBezTo>
                  <a:cubicBezTo>
                    <a:pt x="56" y="168"/>
                    <a:pt x="56" y="169"/>
                    <a:pt x="56" y="169"/>
                  </a:cubicBezTo>
                  <a:cubicBezTo>
                    <a:pt x="56" y="170"/>
                    <a:pt x="56" y="170"/>
                    <a:pt x="56" y="170"/>
                  </a:cubicBezTo>
                  <a:cubicBezTo>
                    <a:pt x="56" y="170"/>
                    <a:pt x="57" y="171"/>
                    <a:pt x="57" y="171"/>
                  </a:cubicBezTo>
                  <a:cubicBezTo>
                    <a:pt x="58" y="171"/>
                    <a:pt x="58" y="171"/>
                    <a:pt x="58" y="171"/>
                  </a:cubicBezTo>
                  <a:cubicBezTo>
                    <a:pt x="58" y="171"/>
                    <a:pt x="58" y="171"/>
                    <a:pt x="58" y="171"/>
                  </a:cubicBezTo>
                  <a:cubicBezTo>
                    <a:pt x="58" y="172"/>
                    <a:pt x="58" y="172"/>
                    <a:pt x="58" y="172"/>
                  </a:cubicBezTo>
                  <a:cubicBezTo>
                    <a:pt x="58" y="172"/>
                    <a:pt x="58" y="172"/>
                    <a:pt x="58" y="172"/>
                  </a:cubicBezTo>
                  <a:cubicBezTo>
                    <a:pt x="58" y="172"/>
                    <a:pt x="59" y="172"/>
                    <a:pt x="59" y="172"/>
                  </a:cubicBezTo>
                  <a:cubicBezTo>
                    <a:pt x="60" y="173"/>
                    <a:pt x="60" y="173"/>
                    <a:pt x="60" y="173"/>
                  </a:cubicBezTo>
                  <a:cubicBezTo>
                    <a:pt x="62" y="174"/>
                    <a:pt x="62" y="174"/>
                    <a:pt x="62" y="174"/>
                  </a:cubicBezTo>
                  <a:cubicBezTo>
                    <a:pt x="63" y="174"/>
                    <a:pt x="63" y="174"/>
                    <a:pt x="63" y="174"/>
                  </a:cubicBezTo>
                  <a:cubicBezTo>
                    <a:pt x="63" y="175"/>
                    <a:pt x="63" y="175"/>
                    <a:pt x="63" y="175"/>
                  </a:cubicBezTo>
                  <a:cubicBezTo>
                    <a:pt x="63" y="175"/>
                    <a:pt x="63" y="175"/>
                    <a:pt x="63" y="175"/>
                  </a:cubicBezTo>
                  <a:cubicBezTo>
                    <a:pt x="64" y="175"/>
                    <a:pt x="64" y="175"/>
                    <a:pt x="64" y="174"/>
                  </a:cubicBezTo>
                  <a:cubicBezTo>
                    <a:pt x="66" y="174"/>
                    <a:pt x="66" y="174"/>
                    <a:pt x="66" y="174"/>
                  </a:cubicBezTo>
                  <a:cubicBezTo>
                    <a:pt x="66" y="175"/>
                    <a:pt x="66" y="175"/>
                    <a:pt x="67" y="175"/>
                  </a:cubicBezTo>
                  <a:cubicBezTo>
                    <a:pt x="67" y="175"/>
                    <a:pt x="67" y="175"/>
                    <a:pt x="67" y="175"/>
                  </a:cubicBezTo>
                  <a:cubicBezTo>
                    <a:pt x="67" y="175"/>
                    <a:pt x="67" y="175"/>
                    <a:pt x="67" y="175"/>
                  </a:cubicBezTo>
                  <a:cubicBezTo>
                    <a:pt x="68" y="175"/>
                    <a:pt x="68" y="175"/>
                    <a:pt x="68" y="175"/>
                  </a:cubicBezTo>
                  <a:cubicBezTo>
                    <a:pt x="68" y="176"/>
                    <a:pt x="68" y="176"/>
                    <a:pt x="68" y="176"/>
                  </a:cubicBezTo>
                  <a:cubicBezTo>
                    <a:pt x="68" y="177"/>
                    <a:pt x="68" y="177"/>
                    <a:pt x="68" y="177"/>
                  </a:cubicBezTo>
                  <a:cubicBezTo>
                    <a:pt x="68" y="178"/>
                    <a:pt x="68" y="178"/>
                    <a:pt x="68" y="178"/>
                  </a:cubicBezTo>
                  <a:cubicBezTo>
                    <a:pt x="68" y="178"/>
                    <a:pt x="68" y="178"/>
                    <a:pt x="68" y="178"/>
                  </a:cubicBezTo>
                  <a:cubicBezTo>
                    <a:pt x="68" y="178"/>
                    <a:pt x="68" y="178"/>
                    <a:pt x="68" y="178"/>
                  </a:cubicBezTo>
                  <a:cubicBezTo>
                    <a:pt x="68" y="179"/>
                    <a:pt x="68" y="179"/>
                    <a:pt x="68" y="179"/>
                  </a:cubicBezTo>
                  <a:cubicBezTo>
                    <a:pt x="68" y="179"/>
                    <a:pt x="68" y="179"/>
                    <a:pt x="68" y="180"/>
                  </a:cubicBezTo>
                  <a:cubicBezTo>
                    <a:pt x="68" y="180"/>
                    <a:pt x="68" y="180"/>
                    <a:pt x="68" y="180"/>
                  </a:cubicBezTo>
                  <a:cubicBezTo>
                    <a:pt x="68" y="181"/>
                    <a:pt x="68" y="181"/>
                    <a:pt x="68" y="181"/>
                  </a:cubicBezTo>
                  <a:cubicBezTo>
                    <a:pt x="68" y="181"/>
                    <a:pt x="69" y="181"/>
                    <a:pt x="69" y="181"/>
                  </a:cubicBezTo>
                  <a:cubicBezTo>
                    <a:pt x="69" y="181"/>
                    <a:pt x="69" y="181"/>
                    <a:pt x="69" y="181"/>
                  </a:cubicBezTo>
                  <a:cubicBezTo>
                    <a:pt x="69" y="181"/>
                    <a:pt x="69" y="181"/>
                    <a:pt x="69" y="181"/>
                  </a:cubicBezTo>
                  <a:cubicBezTo>
                    <a:pt x="69" y="182"/>
                    <a:pt x="70" y="182"/>
                    <a:pt x="70" y="182"/>
                  </a:cubicBezTo>
                  <a:cubicBezTo>
                    <a:pt x="71" y="182"/>
                    <a:pt x="71" y="182"/>
                    <a:pt x="71" y="182"/>
                  </a:cubicBezTo>
                  <a:cubicBezTo>
                    <a:pt x="72" y="182"/>
                    <a:pt x="72" y="182"/>
                    <a:pt x="72" y="182"/>
                  </a:cubicBezTo>
                  <a:cubicBezTo>
                    <a:pt x="72" y="182"/>
                    <a:pt x="72" y="182"/>
                    <a:pt x="72" y="181"/>
                  </a:cubicBezTo>
                  <a:cubicBezTo>
                    <a:pt x="72" y="181"/>
                    <a:pt x="72" y="181"/>
                    <a:pt x="72" y="181"/>
                  </a:cubicBezTo>
                  <a:cubicBezTo>
                    <a:pt x="73" y="181"/>
                    <a:pt x="73" y="181"/>
                    <a:pt x="73" y="181"/>
                  </a:cubicBezTo>
                  <a:cubicBezTo>
                    <a:pt x="73" y="182"/>
                    <a:pt x="73" y="182"/>
                    <a:pt x="73" y="182"/>
                  </a:cubicBezTo>
                  <a:cubicBezTo>
                    <a:pt x="73" y="182"/>
                    <a:pt x="73" y="182"/>
                    <a:pt x="73" y="182"/>
                  </a:cubicBezTo>
                  <a:cubicBezTo>
                    <a:pt x="75" y="184"/>
                    <a:pt x="75" y="184"/>
                    <a:pt x="75" y="184"/>
                  </a:cubicBezTo>
                  <a:cubicBezTo>
                    <a:pt x="75" y="184"/>
                    <a:pt x="75" y="184"/>
                    <a:pt x="75" y="184"/>
                  </a:cubicBezTo>
                  <a:cubicBezTo>
                    <a:pt x="77" y="186"/>
                    <a:pt x="77" y="186"/>
                    <a:pt x="77" y="186"/>
                  </a:cubicBezTo>
                  <a:cubicBezTo>
                    <a:pt x="78" y="187"/>
                    <a:pt x="78" y="187"/>
                    <a:pt x="78" y="187"/>
                  </a:cubicBezTo>
                  <a:cubicBezTo>
                    <a:pt x="78" y="188"/>
                    <a:pt x="78" y="188"/>
                    <a:pt x="78" y="188"/>
                  </a:cubicBezTo>
                  <a:cubicBezTo>
                    <a:pt x="78" y="188"/>
                    <a:pt x="79" y="188"/>
                    <a:pt x="79" y="188"/>
                  </a:cubicBezTo>
                  <a:cubicBezTo>
                    <a:pt x="79" y="189"/>
                    <a:pt x="79" y="189"/>
                    <a:pt x="79" y="189"/>
                  </a:cubicBezTo>
                  <a:cubicBezTo>
                    <a:pt x="80" y="190"/>
                    <a:pt x="80" y="190"/>
                    <a:pt x="80" y="190"/>
                  </a:cubicBezTo>
                  <a:cubicBezTo>
                    <a:pt x="82" y="191"/>
                    <a:pt x="82" y="191"/>
                    <a:pt x="82" y="191"/>
                  </a:cubicBezTo>
                  <a:cubicBezTo>
                    <a:pt x="83" y="195"/>
                    <a:pt x="83" y="195"/>
                    <a:pt x="83" y="195"/>
                  </a:cubicBezTo>
                  <a:cubicBezTo>
                    <a:pt x="84" y="196"/>
                    <a:pt x="84" y="196"/>
                    <a:pt x="84" y="196"/>
                  </a:cubicBezTo>
                  <a:cubicBezTo>
                    <a:pt x="84" y="197"/>
                    <a:pt x="84" y="197"/>
                    <a:pt x="84" y="197"/>
                  </a:cubicBezTo>
                  <a:cubicBezTo>
                    <a:pt x="84" y="198"/>
                    <a:pt x="84" y="198"/>
                    <a:pt x="84" y="198"/>
                  </a:cubicBezTo>
                  <a:cubicBezTo>
                    <a:pt x="84" y="200"/>
                    <a:pt x="84" y="200"/>
                    <a:pt x="84" y="200"/>
                  </a:cubicBezTo>
                  <a:cubicBezTo>
                    <a:pt x="84" y="200"/>
                    <a:pt x="84" y="200"/>
                    <a:pt x="84" y="201"/>
                  </a:cubicBezTo>
                  <a:cubicBezTo>
                    <a:pt x="83" y="201"/>
                    <a:pt x="83" y="201"/>
                    <a:pt x="83" y="201"/>
                  </a:cubicBezTo>
                  <a:cubicBezTo>
                    <a:pt x="83" y="202"/>
                    <a:pt x="83" y="202"/>
                    <a:pt x="84" y="202"/>
                  </a:cubicBezTo>
                  <a:cubicBezTo>
                    <a:pt x="84" y="203"/>
                    <a:pt x="84" y="203"/>
                    <a:pt x="84" y="203"/>
                  </a:cubicBezTo>
                  <a:cubicBezTo>
                    <a:pt x="83" y="204"/>
                    <a:pt x="83" y="204"/>
                    <a:pt x="83" y="204"/>
                  </a:cubicBezTo>
                  <a:cubicBezTo>
                    <a:pt x="83" y="204"/>
                    <a:pt x="83" y="205"/>
                    <a:pt x="84" y="205"/>
                  </a:cubicBezTo>
                  <a:cubicBezTo>
                    <a:pt x="84" y="205"/>
                    <a:pt x="85" y="206"/>
                    <a:pt x="85" y="206"/>
                  </a:cubicBezTo>
                  <a:cubicBezTo>
                    <a:pt x="85" y="207"/>
                    <a:pt x="85" y="207"/>
                    <a:pt x="85" y="207"/>
                  </a:cubicBezTo>
                  <a:cubicBezTo>
                    <a:pt x="85" y="208"/>
                    <a:pt x="86" y="208"/>
                    <a:pt x="86" y="208"/>
                  </a:cubicBezTo>
                  <a:cubicBezTo>
                    <a:pt x="86" y="208"/>
                    <a:pt x="86" y="208"/>
                    <a:pt x="86" y="208"/>
                  </a:cubicBezTo>
                  <a:cubicBezTo>
                    <a:pt x="87" y="208"/>
                    <a:pt x="87" y="208"/>
                    <a:pt x="87" y="208"/>
                  </a:cubicBezTo>
                  <a:cubicBezTo>
                    <a:pt x="88" y="209"/>
                    <a:pt x="88" y="209"/>
                    <a:pt x="88" y="209"/>
                  </a:cubicBezTo>
                  <a:cubicBezTo>
                    <a:pt x="89" y="209"/>
                    <a:pt x="89" y="209"/>
                    <a:pt x="89" y="209"/>
                  </a:cubicBezTo>
                  <a:cubicBezTo>
                    <a:pt x="92" y="209"/>
                    <a:pt x="92" y="209"/>
                    <a:pt x="92" y="209"/>
                  </a:cubicBezTo>
                  <a:cubicBezTo>
                    <a:pt x="94" y="209"/>
                    <a:pt x="94" y="209"/>
                    <a:pt x="94" y="209"/>
                  </a:cubicBezTo>
                  <a:cubicBezTo>
                    <a:pt x="99" y="209"/>
                    <a:pt x="99" y="209"/>
                    <a:pt x="99" y="209"/>
                  </a:cubicBezTo>
                  <a:cubicBezTo>
                    <a:pt x="100" y="210"/>
                    <a:pt x="100" y="210"/>
                    <a:pt x="100" y="210"/>
                  </a:cubicBezTo>
                  <a:cubicBezTo>
                    <a:pt x="100" y="210"/>
                    <a:pt x="101" y="210"/>
                    <a:pt x="101" y="210"/>
                  </a:cubicBezTo>
                  <a:cubicBezTo>
                    <a:pt x="104" y="210"/>
                    <a:pt x="104" y="210"/>
                    <a:pt x="104" y="210"/>
                  </a:cubicBezTo>
                  <a:cubicBezTo>
                    <a:pt x="107" y="210"/>
                    <a:pt x="107" y="210"/>
                    <a:pt x="107" y="210"/>
                  </a:cubicBezTo>
                  <a:cubicBezTo>
                    <a:pt x="113" y="210"/>
                    <a:pt x="113" y="210"/>
                    <a:pt x="113" y="210"/>
                  </a:cubicBezTo>
                  <a:cubicBezTo>
                    <a:pt x="113" y="210"/>
                    <a:pt x="113" y="210"/>
                    <a:pt x="113" y="210"/>
                  </a:cubicBezTo>
                  <a:cubicBezTo>
                    <a:pt x="114" y="210"/>
                    <a:pt x="114" y="210"/>
                    <a:pt x="114" y="210"/>
                  </a:cubicBezTo>
                  <a:cubicBezTo>
                    <a:pt x="114" y="210"/>
                    <a:pt x="114" y="210"/>
                    <a:pt x="114" y="210"/>
                  </a:cubicBezTo>
                  <a:cubicBezTo>
                    <a:pt x="120" y="210"/>
                    <a:pt x="120" y="210"/>
                    <a:pt x="120" y="210"/>
                  </a:cubicBezTo>
                  <a:cubicBezTo>
                    <a:pt x="121" y="211"/>
                    <a:pt x="121" y="211"/>
                    <a:pt x="121" y="211"/>
                  </a:cubicBezTo>
                  <a:cubicBezTo>
                    <a:pt x="126" y="211"/>
                    <a:pt x="126" y="211"/>
                    <a:pt x="126" y="211"/>
                  </a:cubicBezTo>
                  <a:cubicBezTo>
                    <a:pt x="126" y="211"/>
                    <a:pt x="126" y="211"/>
                    <a:pt x="126" y="210"/>
                  </a:cubicBezTo>
                  <a:cubicBezTo>
                    <a:pt x="126" y="210"/>
                    <a:pt x="126" y="210"/>
                    <a:pt x="126" y="210"/>
                  </a:cubicBezTo>
                  <a:cubicBezTo>
                    <a:pt x="128" y="211"/>
                    <a:pt x="128" y="211"/>
                    <a:pt x="128" y="211"/>
                  </a:cubicBezTo>
                  <a:cubicBezTo>
                    <a:pt x="129" y="211"/>
                    <a:pt x="129" y="211"/>
                    <a:pt x="129" y="211"/>
                  </a:cubicBezTo>
                  <a:cubicBezTo>
                    <a:pt x="129" y="211"/>
                    <a:pt x="129" y="210"/>
                    <a:pt x="129" y="210"/>
                  </a:cubicBezTo>
                  <a:cubicBezTo>
                    <a:pt x="130" y="210"/>
                    <a:pt x="130" y="210"/>
                    <a:pt x="130" y="210"/>
                  </a:cubicBezTo>
                  <a:cubicBezTo>
                    <a:pt x="130" y="210"/>
                    <a:pt x="130" y="210"/>
                    <a:pt x="130" y="209"/>
                  </a:cubicBezTo>
                  <a:cubicBezTo>
                    <a:pt x="130" y="209"/>
                    <a:pt x="130" y="209"/>
                    <a:pt x="130" y="209"/>
                  </a:cubicBezTo>
                  <a:cubicBezTo>
                    <a:pt x="131" y="209"/>
                    <a:pt x="131" y="209"/>
                    <a:pt x="131" y="209"/>
                  </a:cubicBezTo>
                  <a:cubicBezTo>
                    <a:pt x="131" y="208"/>
                    <a:pt x="131" y="208"/>
                    <a:pt x="131" y="208"/>
                  </a:cubicBezTo>
                  <a:cubicBezTo>
                    <a:pt x="131" y="208"/>
                    <a:pt x="131" y="208"/>
                    <a:pt x="131" y="208"/>
                  </a:cubicBezTo>
                  <a:cubicBezTo>
                    <a:pt x="131" y="207"/>
                    <a:pt x="132" y="207"/>
                    <a:pt x="131" y="207"/>
                  </a:cubicBezTo>
                  <a:cubicBezTo>
                    <a:pt x="131" y="206"/>
                    <a:pt x="131" y="206"/>
                    <a:pt x="131" y="206"/>
                  </a:cubicBezTo>
                  <a:cubicBezTo>
                    <a:pt x="131" y="206"/>
                    <a:pt x="131" y="205"/>
                    <a:pt x="131" y="205"/>
                  </a:cubicBezTo>
                  <a:cubicBezTo>
                    <a:pt x="131" y="204"/>
                    <a:pt x="131" y="204"/>
                    <a:pt x="131" y="204"/>
                  </a:cubicBezTo>
                  <a:cubicBezTo>
                    <a:pt x="131" y="204"/>
                    <a:pt x="131" y="204"/>
                    <a:pt x="131" y="204"/>
                  </a:cubicBezTo>
                  <a:cubicBezTo>
                    <a:pt x="131" y="203"/>
                    <a:pt x="131" y="203"/>
                    <a:pt x="131" y="203"/>
                  </a:cubicBezTo>
                  <a:cubicBezTo>
                    <a:pt x="131" y="203"/>
                    <a:pt x="131" y="203"/>
                    <a:pt x="131" y="203"/>
                  </a:cubicBezTo>
                  <a:cubicBezTo>
                    <a:pt x="130" y="203"/>
                    <a:pt x="130" y="203"/>
                    <a:pt x="130" y="203"/>
                  </a:cubicBezTo>
                  <a:cubicBezTo>
                    <a:pt x="130" y="202"/>
                    <a:pt x="130" y="202"/>
                    <a:pt x="129" y="202"/>
                  </a:cubicBezTo>
                  <a:cubicBezTo>
                    <a:pt x="128" y="202"/>
                    <a:pt x="128" y="202"/>
                    <a:pt x="128" y="202"/>
                  </a:cubicBezTo>
                  <a:cubicBezTo>
                    <a:pt x="128" y="202"/>
                    <a:pt x="128" y="202"/>
                    <a:pt x="128" y="202"/>
                  </a:cubicBezTo>
                  <a:cubicBezTo>
                    <a:pt x="128" y="202"/>
                    <a:pt x="128" y="202"/>
                    <a:pt x="128" y="202"/>
                  </a:cubicBezTo>
                  <a:cubicBezTo>
                    <a:pt x="128" y="201"/>
                    <a:pt x="128" y="201"/>
                    <a:pt x="128" y="201"/>
                  </a:cubicBezTo>
                  <a:cubicBezTo>
                    <a:pt x="129" y="201"/>
                    <a:pt x="129" y="201"/>
                    <a:pt x="129" y="201"/>
                  </a:cubicBezTo>
                  <a:cubicBezTo>
                    <a:pt x="129" y="199"/>
                    <a:pt x="129" y="199"/>
                    <a:pt x="129" y="199"/>
                  </a:cubicBezTo>
                  <a:cubicBezTo>
                    <a:pt x="129" y="198"/>
                    <a:pt x="129" y="198"/>
                    <a:pt x="128" y="198"/>
                  </a:cubicBezTo>
                  <a:cubicBezTo>
                    <a:pt x="128" y="198"/>
                    <a:pt x="128" y="198"/>
                    <a:pt x="128" y="198"/>
                  </a:cubicBezTo>
                  <a:cubicBezTo>
                    <a:pt x="128" y="197"/>
                    <a:pt x="129" y="197"/>
                    <a:pt x="129" y="197"/>
                  </a:cubicBezTo>
                  <a:cubicBezTo>
                    <a:pt x="129" y="197"/>
                    <a:pt x="129" y="197"/>
                    <a:pt x="129" y="197"/>
                  </a:cubicBezTo>
                  <a:cubicBezTo>
                    <a:pt x="129" y="197"/>
                    <a:pt x="129" y="197"/>
                    <a:pt x="129" y="197"/>
                  </a:cubicBezTo>
                  <a:cubicBezTo>
                    <a:pt x="129" y="197"/>
                    <a:pt x="129" y="197"/>
                    <a:pt x="129" y="196"/>
                  </a:cubicBezTo>
                  <a:cubicBezTo>
                    <a:pt x="129" y="196"/>
                    <a:pt x="129" y="196"/>
                    <a:pt x="129" y="196"/>
                  </a:cubicBezTo>
                  <a:cubicBezTo>
                    <a:pt x="129" y="196"/>
                    <a:pt x="130" y="196"/>
                    <a:pt x="130" y="196"/>
                  </a:cubicBezTo>
                  <a:cubicBezTo>
                    <a:pt x="130" y="195"/>
                    <a:pt x="130" y="195"/>
                    <a:pt x="130" y="195"/>
                  </a:cubicBezTo>
                  <a:cubicBezTo>
                    <a:pt x="131" y="195"/>
                    <a:pt x="131" y="195"/>
                    <a:pt x="131" y="195"/>
                  </a:cubicBezTo>
                  <a:cubicBezTo>
                    <a:pt x="131" y="195"/>
                    <a:pt x="131" y="194"/>
                    <a:pt x="131" y="194"/>
                  </a:cubicBezTo>
                  <a:cubicBezTo>
                    <a:pt x="131" y="194"/>
                    <a:pt x="131" y="194"/>
                    <a:pt x="131" y="194"/>
                  </a:cubicBezTo>
                  <a:cubicBezTo>
                    <a:pt x="132" y="194"/>
                    <a:pt x="132" y="194"/>
                    <a:pt x="132" y="193"/>
                  </a:cubicBezTo>
                  <a:cubicBezTo>
                    <a:pt x="132" y="192"/>
                    <a:pt x="132" y="192"/>
                    <a:pt x="132" y="192"/>
                  </a:cubicBezTo>
                  <a:cubicBezTo>
                    <a:pt x="132" y="192"/>
                    <a:pt x="132" y="192"/>
                    <a:pt x="132" y="192"/>
                  </a:cubicBezTo>
                  <a:cubicBezTo>
                    <a:pt x="132" y="191"/>
                    <a:pt x="132" y="191"/>
                    <a:pt x="132" y="191"/>
                  </a:cubicBezTo>
                  <a:cubicBezTo>
                    <a:pt x="133" y="191"/>
                    <a:pt x="133" y="191"/>
                    <a:pt x="133" y="191"/>
                  </a:cubicBezTo>
                  <a:cubicBezTo>
                    <a:pt x="133" y="190"/>
                    <a:pt x="133" y="190"/>
                    <a:pt x="133" y="190"/>
                  </a:cubicBezTo>
                  <a:cubicBezTo>
                    <a:pt x="133" y="187"/>
                    <a:pt x="133" y="187"/>
                    <a:pt x="133" y="187"/>
                  </a:cubicBezTo>
                  <a:cubicBezTo>
                    <a:pt x="133" y="187"/>
                    <a:pt x="133" y="187"/>
                    <a:pt x="133" y="187"/>
                  </a:cubicBezTo>
                  <a:cubicBezTo>
                    <a:pt x="133" y="187"/>
                    <a:pt x="133" y="186"/>
                    <a:pt x="133" y="186"/>
                  </a:cubicBezTo>
                  <a:cubicBezTo>
                    <a:pt x="133" y="186"/>
                    <a:pt x="133" y="186"/>
                    <a:pt x="133" y="186"/>
                  </a:cubicBezTo>
                  <a:cubicBezTo>
                    <a:pt x="133" y="185"/>
                    <a:pt x="133" y="185"/>
                    <a:pt x="133" y="185"/>
                  </a:cubicBezTo>
                  <a:cubicBezTo>
                    <a:pt x="133" y="185"/>
                    <a:pt x="133" y="185"/>
                    <a:pt x="133" y="185"/>
                  </a:cubicBezTo>
                  <a:cubicBezTo>
                    <a:pt x="134" y="185"/>
                    <a:pt x="134" y="185"/>
                    <a:pt x="134" y="185"/>
                  </a:cubicBezTo>
                  <a:cubicBezTo>
                    <a:pt x="135" y="184"/>
                    <a:pt x="135" y="184"/>
                    <a:pt x="135" y="184"/>
                  </a:cubicBezTo>
                  <a:cubicBezTo>
                    <a:pt x="135" y="184"/>
                    <a:pt x="135" y="184"/>
                    <a:pt x="135" y="184"/>
                  </a:cubicBezTo>
                  <a:cubicBezTo>
                    <a:pt x="135" y="184"/>
                    <a:pt x="135" y="184"/>
                    <a:pt x="135" y="184"/>
                  </a:cubicBezTo>
                  <a:cubicBezTo>
                    <a:pt x="135" y="183"/>
                    <a:pt x="135" y="183"/>
                    <a:pt x="135" y="183"/>
                  </a:cubicBezTo>
                  <a:cubicBezTo>
                    <a:pt x="135" y="183"/>
                    <a:pt x="135" y="183"/>
                    <a:pt x="135" y="183"/>
                  </a:cubicBezTo>
                  <a:cubicBezTo>
                    <a:pt x="135" y="183"/>
                    <a:pt x="135" y="183"/>
                    <a:pt x="135" y="183"/>
                  </a:cubicBezTo>
                  <a:cubicBezTo>
                    <a:pt x="135" y="183"/>
                    <a:pt x="136" y="183"/>
                    <a:pt x="136" y="183"/>
                  </a:cubicBezTo>
                  <a:cubicBezTo>
                    <a:pt x="137" y="182"/>
                    <a:pt x="137" y="182"/>
                    <a:pt x="137" y="182"/>
                  </a:cubicBezTo>
                  <a:cubicBezTo>
                    <a:pt x="138" y="182"/>
                    <a:pt x="138" y="182"/>
                    <a:pt x="138" y="182"/>
                  </a:cubicBezTo>
                  <a:cubicBezTo>
                    <a:pt x="139" y="181"/>
                    <a:pt x="139" y="181"/>
                    <a:pt x="139" y="181"/>
                  </a:cubicBezTo>
                  <a:cubicBezTo>
                    <a:pt x="140" y="180"/>
                    <a:pt x="140" y="180"/>
                    <a:pt x="140" y="180"/>
                  </a:cubicBezTo>
                  <a:cubicBezTo>
                    <a:pt x="140" y="180"/>
                    <a:pt x="140" y="180"/>
                    <a:pt x="140" y="180"/>
                  </a:cubicBezTo>
                  <a:cubicBezTo>
                    <a:pt x="140" y="180"/>
                    <a:pt x="140" y="180"/>
                    <a:pt x="140" y="180"/>
                  </a:cubicBezTo>
                  <a:cubicBezTo>
                    <a:pt x="140" y="179"/>
                    <a:pt x="140" y="179"/>
                    <a:pt x="140" y="179"/>
                  </a:cubicBezTo>
                  <a:cubicBezTo>
                    <a:pt x="140" y="179"/>
                    <a:pt x="140" y="179"/>
                    <a:pt x="140" y="179"/>
                  </a:cubicBezTo>
                  <a:cubicBezTo>
                    <a:pt x="140" y="179"/>
                    <a:pt x="140" y="179"/>
                    <a:pt x="140" y="179"/>
                  </a:cubicBezTo>
                  <a:lnTo>
                    <a:pt x="140" y="178"/>
                  </a:lnTo>
                  <a:close/>
                  <a:moveTo>
                    <a:pt x="22" y="83"/>
                  </a:moveTo>
                  <a:cubicBezTo>
                    <a:pt x="22" y="83"/>
                    <a:pt x="22" y="83"/>
                    <a:pt x="21" y="83"/>
                  </a:cubicBezTo>
                  <a:cubicBezTo>
                    <a:pt x="21" y="83"/>
                    <a:pt x="21" y="83"/>
                    <a:pt x="21" y="83"/>
                  </a:cubicBezTo>
                  <a:cubicBezTo>
                    <a:pt x="21" y="83"/>
                    <a:pt x="21" y="83"/>
                    <a:pt x="21" y="83"/>
                  </a:cubicBezTo>
                  <a:cubicBezTo>
                    <a:pt x="21" y="83"/>
                    <a:pt x="21" y="83"/>
                    <a:pt x="21" y="83"/>
                  </a:cubicBezTo>
                  <a:cubicBezTo>
                    <a:pt x="22" y="83"/>
                    <a:pt x="22" y="83"/>
                    <a:pt x="22" y="83"/>
                  </a:cubicBezTo>
                  <a:cubicBezTo>
                    <a:pt x="23" y="83"/>
                    <a:pt x="23" y="83"/>
                    <a:pt x="23" y="83"/>
                  </a:cubicBezTo>
                  <a:lnTo>
                    <a:pt x="22" y="83"/>
                  </a:lnTo>
                  <a:close/>
                  <a:moveTo>
                    <a:pt x="22" y="90"/>
                  </a:moveTo>
                  <a:cubicBezTo>
                    <a:pt x="22" y="90"/>
                    <a:pt x="22" y="90"/>
                    <a:pt x="22" y="90"/>
                  </a:cubicBezTo>
                  <a:cubicBezTo>
                    <a:pt x="22" y="90"/>
                    <a:pt x="22" y="91"/>
                    <a:pt x="22" y="91"/>
                  </a:cubicBezTo>
                  <a:cubicBezTo>
                    <a:pt x="22" y="91"/>
                    <a:pt x="22" y="91"/>
                    <a:pt x="22" y="91"/>
                  </a:cubicBezTo>
                  <a:cubicBezTo>
                    <a:pt x="22" y="91"/>
                    <a:pt x="22" y="92"/>
                    <a:pt x="23" y="92"/>
                  </a:cubicBezTo>
                  <a:cubicBezTo>
                    <a:pt x="23" y="92"/>
                    <a:pt x="23" y="92"/>
                    <a:pt x="23" y="92"/>
                  </a:cubicBezTo>
                  <a:cubicBezTo>
                    <a:pt x="23" y="92"/>
                    <a:pt x="23" y="92"/>
                    <a:pt x="23" y="92"/>
                  </a:cubicBezTo>
                  <a:cubicBezTo>
                    <a:pt x="23" y="92"/>
                    <a:pt x="22" y="92"/>
                    <a:pt x="22" y="92"/>
                  </a:cubicBezTo>
                  <a:cubicBezTo>
                    <a:pt x="22" y="91"/>
                    <a:pt x="22" y="91"/>
                    <a:pt x="22" y="91"/>
                  </a:cubicBezTo>
                  <a:lnTo>
                    <a:pt x="22" y="90"/>
                  </a:lnTo>
                  <a:close/>
                </a:path>
              </a:pathLst>
            </a:custGeom>
            <a:solidFill>
              <a:srgbClr val="F59E00"/>
            </a:solidFill>
            <a:ln w="63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552" name="Freeform 19">
              <a:extLst>
                <a:ext uri="{FF2B5EF4-FFF2-40B4-BE49-F238E27FC236}">
                  <a16:creationId xmlns:a16="http://schemas.microsoft.com/office/drawing/2014/main" id="{142BF330-DB0E-2AAE-1D0B-251DE14DFFA8}"/>
                </a:ext>
              </a:extLst>
            </p:cNvPr>
            <p:cNvSpPr>
              <a:spLocks/>
            </p:cNvSpPr>
            <p:nvPr/>
          </p:nvSpPr>
          <p:spPr bwMode="gray">
            <a:xfrm>
              <a:off x="1109663" y="5048250"/>
              <a:ext cx="36513" cy="31750"/>
            </a:xfrm>
            <a:custGeom>
              <a:avLst/>
              <a:gdLst>
                <a:gd name="T0" fmla="*/ 6 w 7"/>
                <a:gd name="T1" fmla="*/ 4 h 6"/>
                <a:gd name="T2" fmla="*/ 6 w 7"/>
                <a:gd name="T3" fmla="*/ 3 h 6"/>
                <a:gd name="T4" fmla="*/ 6 w 7"/>
                <a:gd name="T5" fmla="*/ 3 h 6"/>
                <a:gd name="T6" fmla="*/ 5 w 7"/>
                <a:gd name="T7" fmla="*/ 2 h 6"/>
                <a:gd name="T8" fmla="*/ 4 w 7"/>
                <a:gd name="T9" fmla="*/ 1 h 6"/>
                <a:gd name="T10" fmla="*/ 3 w 7"/>
                <a:gd name="T11" fmla="*/ 0 h 6"/>
                <a:gd name="T12" fmla="*/ 2 w 7"/>
                <a:gd name="T13" fmla="*/ 0 h 6"/>
                <a:gd name="T14" fmla="*/ 1 w 7"/>
                <a:gd name="T15" fmla="*/ 0 h 6"/>
                <a:gd name="T16" fmla="*/ 1 w 7"/>
                <a:gd name="T17" fmla="*/ 0 h 6"/>
                <a:gd name="T18" fmla="*/ 0 w 7"/>
                <a:gd name="T19" fmla="*/ 1 h 6"/>
                <a:gd name="T20" fmla="*/ 0 w 7"/>
                <a:gd name="T21" fmla="*/ 1 h 6"/>
                <a:gd name="T22" fmla="*/ 1 w 7"/>
                <a:gd name="T23" fmla="*/ 2 h 6"/>
                <a:gd name="T24" fmla="*/ 1 w 7"/>
                <a:gd name="T25" fmla="*/ 2 h 6"/>
                <a:gd name="T26" fmla="*/ 1 w 7"/>
                <a:gd name="T27" fmla="*/ 3 h 6"/>
                <a:gd name="T28" fmla="*/ 2 w 7"/>
                <a:gd name="T29" fmla="*/ 3 h 6"/>
                <a:gd name="T30" fmla="*/ 2 w 7"/>
                <a:gd name="T31" fmla="*/ 4 h 6"/>
                <a:gd name="T32" fmla="*/ 3 w 7"/>
                <a:gd name="T33" fmla="*/ 5 h 6"/>
                <a:gd name="T34" fmla="*/ 3 w 7"/>
                <a:gd name="T35" fmla="*/ 6 h 6"/>
                <a:gd name="T36" fmla="*/ 4 w 7"/>
                <a:gd name="T37" fmla="*/ 6 h 6"/>
                <a:gd name="T38" fmla="*/ 4 w 7"/>
                <a:gd name="T39" fmla="*/ 6 h 6"/>
                <a:gd name="T40" fmla="*/ 5 w 7"/>
                <a:gd name="T41" fmla="*/ 6 h 6"/>
                <a:gd name="T42" fmla="*/ 5 w 7"/>
                <a:gd name="T43" fmla="*/ 6 h 6"/>
                <a:gd name="T44" fmla="*/ 5 w 7"/>
                <a:gd name="T45" fmla="*/ 6 h 6"/>
                <a:gd name="T46" fmla="*/ 6 w 7"/>
                <a:gd name="T47" fmla="*/ 6 h 6"/>
                <a:gd name="T48" fmla="*/ 7 w 7"/>
                <a:gd name="T49" fmla="*/ 5 h 6"/>
                <a:gd name="T50" fmla="*/ 7 w 7"/>
                <a:gd name="T51" fmla="*/ 5 h 6"/>
                <a:gd name="T52" fmla="*/ 6 w 7"/>
                <a:gd name="T53"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 h="6">
                  <a:moveTo>
                    <a:pt x="6" y="4"/>
                  </a:moveTo>
                  <a:cubicBezTo>
                    <a:pt x="6" y="3"/>
                    <a:pt x="6" y="3"/>
                    <a:pt x="6" y="3"/>
                  </a:cubicBezTo>
                  <a:cubicBezTo>
                    <a:pt x="6" y="3"/>
                    <a:pt x="6" y="3"/>
                    <a:pt x="6" y="3"/>
                  </a:cubicBezTo>
                  <a:cubicBezTo>
                    <a:pt x="6" y="2"/>
                    <a:pt x="5" y="2"/>
                    <a:pt x="5" y="2"/>
                  </a:cubicBezTo>
                  <a:cubicBezTo>
                    <a:pt x="4" y="1"/>
                    <a:pt x="4" y="1"/>
                    <a:pt x="4" y="1"/>
                  </a:cubicBezTo>
                  <a:cubicBezTo>
                    <a:pt x="3" y="0"/>
                    <a:pt x="3" y="0"/>
                    <a:pt x="3" y="0"/>
                  </a:cubicBezTo>
                  <a:cubicBezTo>
                    <a:pt x="3" y="0"/>
                    <a:pt x="2" y="0"/>
                    <a:pt x="2" y="0"/>
                  </a:cubicBezTo>
                  <a:cubicBezTo>
                    <a:pt x="1" y="0"/>
                    <a:pt x="1" y="0"/>
                    <a:pt x="1" y="0"/>
                  </a:cubicBezTo>
                  <a:cubicBezTo>
                    <a:pt x="1" y="0"/>
                    <a:pt x="1" y="0"/>
                    <a:pt x="1" y="0"/>
                  </a:cubicBezTo>
                  <a:cubicBezTo>
                    <a:pt x="0" y="0"/>
                    <a:pt x="0" y="1"/>
                    <a:pt x="0" y="1"/>
                  </a:cubicBezTo>
                  <a:cubicBezTo>
                    <a:pt x="0" y="1"/>
                    <a:pt x="0" y="1"/>
                    <a:pt x="0" y="1"/>
                  </a:cubicBezTo>
                  <a:cubicBezTo>
                    <a:pt x="0" y="2"/>
                    <a:pt x="1" y="2"/>
                    <a:pt x="1" y="2"/>
                  </a:cubicBezTo>
                  <a:cubicBezTo>
                    <a:pt x="1" y="2"/>
                    <a:pt x="1" y="2"/>
                    <a:pt x="1" y="2"/>
                  </a:cubicBezTo>
                  <a:cubicBezTo>
                    <a:pt x="1" y="3"/>
                    <a:pt x="1" y="3"/>
                    <a:pt x="1" y="3"/>
                  </a:cubicBezTo>
                  <a:cubicBezTo>
                    <a:pt x="1" y="3"/>
                    <a:pt x="2" y="3"/>
                    <a:pt x="2" y="3"/>
                  </a:cubicBezTo>
                  <a:cubicBezTo>
                    <a:pt x="2" y="4"/>
                    <a:pt x="2" y="4"/>
                    <a:pt x="2" y="4"/>
                  </a:cubicBezTo>
                  <a:cubicBezTo>
                    <a:pt x="2" y="5"/>
                    <a:pt x="2" y="5"/>
                    <a:pt x="3" y="5"/>
                  </a:cubicBezTo>
                  <a:cubicBezTo>
                    <a:pt x="3" y="6"/>
                    <a:pt x="3" y="6"/>
                    <a:pt x="3" y="6"/>
                  </a:cubicBezTo>
                  <a:cubicBezTo>
                    <a:pt x="3" y="6"/>
                    <a:pt x="3" y="6"/>
                    <a:pt x="4" y="6"/>
                  </a:cubicBezTo>
                  <a:cubicBezTo>
                    <a:pt x="4" y="6"/>
                    <a:pt x="4" y="6"/>
                    <a:pt x="4" y="6"/>
                  </a:cubicBezTo>
                  <a:cubicBezTo>
                    <a:pt x="4" y="6"/>
                    <a:pt x="4" y="6"/>
                    <a:pt x="5" y="6"/>
                  </a:cubicBezTo>
                  <a:cubicBezTo>
                    <a:pt x="5" y="6"/>
                    <a:pt x="5" y="6"/>
                    <a:pt x="5" y="6"/>
                  </a:cubicBezTo>
                  <a:cubicBezTo>
                    <a:pt x="5" y="6"/>
                    <a:pt x="5" y="6"/>
                    <a:pt x="5" y="6"/>
                  </a:cubicBezTo>
                  <a:cubicBezTo>
                    <a:pt x="6" y="6"/>
                    <a:pt x="6" y="6"/>
                    <a:pt x="6" y="6"/>
                  </a:cubicBezTo>
                  <a:cubicBezTo>
                    <a:pt x="6" y="6"/>
                    <a:pt x="7" y="5"/>
                    <a:pt x="7" y="5"/>
                  </a:cubicBezTo>
                  <a:cubicBezTo>
                    <a:pt x="7" y="5"/>
                    <a:pt x="7" y="5"/>
                    <a:pt x="7" y="5"/>
                  </a:cubicBezTo>
                  <a:cubicBezTo>
                    <a:pt x="7" y="5"/>
                    <a:pt x="6" y="5"/>
                    <a:pt x="6" y="4"/>
                  </a:cubicBezTo>
                  <a:close/>
                </a:path>
              </a:pathLst>
            </a:custGeom>
            <a:solidFill>
              <a:srgbClr val="F59E00"/>
            </a:solidFill>
            <a:ln w="63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553" name="Freeform 20">
              <a:extLst>
                <a:ext uri="{FF2B5EF4-FFF2-40B4-BE49-F238E27FC236}">
                  <a16:creationId xmlns:a16="http://schemas.microsoft.com/office/drawing/2014/main" id="{7712027E-240D-224D-675F-BCF33BBBD8E1}"/>
                </a:ext>
              </a:extLst>
            </p:cNvPr>
            <p:cNvSpPr>
              <a:spLocks/>
            </p:cNvSpPr>
            <p:nvPr/>
          </p:nvSpPr>
          <p:spPr bwMode="gray">
            <a:xfrm>
              <a:off x="1071563" y="5043488"/>
              <a:ext cx="11113" cy="11113"/>
            </a:xfrm>
            <a:custGeom>
              <a:avLst/>
              <a:gdLst>
                <a:gd name="T0" fmla="*/ 1 w 2"/>
                <a:gd name="T1" fmla="*/ 0 h 2"/>
                <a:gd name="T2" fmla="*/ 1 w 2"/>
                <a:gd name="T3" fmla="*/ 0 h 2"/>
                <a:gd name="T4" fmla="*/ 0 w 2"/>
                <a:gd name="T5" fmla="*/ 1 h 2"/>
                <a:gd name="T6" fmla="*/ 0 w 2"/>
                <a:gd name="T7" fmla="*/ 1 h 2"/>
                <a:gd name="T8" fmla="*/ 1 w 2"/>
                <a:gd name="T9" fmla="*/ 2 h 2"/>
                <a:gd name="T10" fmla="*/ 1 w 2"/>
                <a:gd name="T11" fmla="*/ 2 h 2"/>
                <a:gd name="T12" fmla="*/ 2 w 2"/>
                <a:gd name="T13" fmla="*/ 2 h 2"/>
                <a:gd name="T14" fmla="*/ 2 w 2"/>
                <a:gd name="T15" fmla="*/ 1 h 2"/>
                <a:gd name="T16" fmla="*/ 2 w 2"/>
                <a:gd name="T17" fmla="*/ 0 h 2"/>
                <a:gd name="T18" fmla="*/ 1 w 2"/>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2">
                  <a:moveTo>
                    <a:pt x="1" y="0"/>
                  </a:moveTo>
                  <a:cubicBezTo>
                    <a:pt x="1" y="0"/>
                    <a:pt x="1" y="0"/>
                    <a:pt x="1" y="0"/>
                  </a:cubicBezTo>
                  <a:cubicBezTo>
                    <a:pt x="0" y="0"/>
                    <a:pt x="0" y="0"/>
                    <a:pt x="0" y="1"/>
                  </a:cubicBezTo>
                  <a:cubicBezTo>
                    <a:pt x="0" y="1"/>
                    <a:pt x="0" y="1"/>
                    <a:pt x="0" y="1"/>
                  </a:cubicBezTo>
                  <a:cubicBezTo>
                    <a:pt x="0" y="1"/>
                    <a:pt x="0" y="2"/>
                    <a:pt x="1" y="2"/>
                  </a:cubicBezTo>
                  <a:cubicBezTo>
                    <a:pt x="1" y="2"/>
                    <a:pt x="1" y="2"/>
                    <a:pt x="1" y="2"/>
                  </a:cubicBezTo>
                  <a:cubicBezTo>
                    <a:pt x="1" y="2"/>
                    <a:pt x="2" y="2"/>
                    <a:pt x="2" y="2"/>
                  </a:cubicBezTo>
                  <a:cubicBezTo>
                    <a:pt x="2" y="1"/>
                    <a:pt x="2" y="1"/>
                    <a:pt x="2" y="1"/>
                  </a:cubicBezTo>
                  <a:cubicBezTo>
                    <a:pt x="2" y="1"/>
                    <a:pt x="2" y="1"/>
                    <a:pt x="2" y="0"/>
                  </a:cubicBezTo>
                  <a:cubicBezTo>
                    <a:pt x="2" y="0"/>
                    <a:pt x="2" y="0"/>
                    <a:pt x="1" y="0"/>
                  </a:cubicBezTo>
                  <a:close/>
                </a:path>
              </a:pathLst>
            </a:custGeom>
            <a:solidFill>
              <a:srgbClr val="F59E00"/>
            </a:solidFill>
            <a:ln w="63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554" name="Freeform 21">
              <a:extLst>
                <a:ext uri="{FF2B5EF4-FFF2-40B4-BE49-F238E27FC236}">
                  <a16:creationId xmlns:a16="http://schemas.microsoft.com/office/drawing/2014/main" id="{1CE06410-5805-3688-D47C-7386E0ED3FC5}"/>
                </a:ext>
              </a:extLst>
            </p:cNvPr>
            <p:cNvSpPr>
              <a:spLocks/>
            </p:cNvSpPr>
            <p:nvPr/>
          </p:nvSpPr>
          <p:spPr bwMode="gray">
            <a:xfrm>
              <a:off x="1098550" y="5097463"/>
              <a:ext cx="31750" cy="36513"/>
            </a:xfrm>
            <a:custGeom>
              <a:avLst/>
              <a:gdLst>
                <a:gd name="T0" fmla="*/ 5 w 6"/>
                <a:gd name="T1" fmla="*/ 4 h 7"/>
                <a:gd name="T2" fmla="*/ 5 w 6"/>
                <a:gd name="T3" fmla="*/ 3 h 7"/>
                <a:gd name="T4" fmla="*/ 5 w 6"/>
                <a:gd name="T5" fmla="*/ 3 h 7"/>
                <a:gd name="T6" fmla="*/ 4 w 6"/>
                <a:gd name="T7" fmla="*/ 2 h 7"/>
                <a:gd name="T8" fmla="*/ 4 w 6"/>
                <a:gd name="T9" fmla="*/ 2 h 7"/>
                <a:gd name="T10" fmla="*/ 4 w 6"/>
                <a:gd name="T11" fmla="*/ 2 h 7"/>
                <a:gd name="T12" fmla="*/ 3 w 6"/>
                <a:gd name="T13" fmla="*/ 1 h 7"/>
                <a:gd name="T14" fmla="*/ 3 w 6"/>
                <a:gd name="T15" fmla="*/ 1 h 7"/>
                <a:gd name="T16" fmla="*/ 3 w 6"/>
                <a:gd name="T17" fmla="*/ 0 h 7"/>
                <a:gd name="T18" fmla="*/ 2 w 6"/>
                <a:gd name="T19" fmla="*/ 0 h 7"/>
                <a:gd name="T20" fmla="*/ 2 w 6"/>
                <a:gd name="T21" fmla="*/ 0 h 7"/>
                <a:gd name="T22" fmla="*/ 2 w 6"/>
                <a:gd name="T23" fmla="*/ 0 h 7"/>
                <a:gd name="T24" fmla="*/ 1 w 6"/>
                <a:gd name="T25" fmla="*/ 0 h 7"/>
                <a:gd name="T26" fmla="*/ 1 w 6"/>
                <a:gd name="T27" fmla="*/ 1 h 7"/>
                <a:gd name="T28" fmla="*/ 1 w 6"/>
                <a:gd name="T29" fmla="*/ 2 h 7"/>
                <a:gd name="T30" fmla="*/ 1 w 6"/>
                <a:gd name="T31" fmla="*/ 3 h 7"/>
                <a:gd name="T32" fmla="*/ 1 w 6"/>
                <a:gd name="T33" fmla="*/ 3 h 7"/>
                <a:gd name="T34" fmla="*/ 1 w 6"/>
                <a:gd name="T35" fmla="*/ 4 h 7"/>
                <a:gd name="T36" fmla="*/ 2 w 6"/>
                <a:gd name="T37" fmla="*/ 4 h 7"/>
                <a:gd name="T38" fmla="*/ 2 w 6"/>
                <a:gd name="T39" fmla="*/ 5 h 7"/>
                <a:gd name="T40" fmla="*/ 2 w 6"/>
                <a:gd name="T41" fmla="*/ 5 h 7"/>
                <a:gd name="T42" fmla="*/ 2 w 6"/>
                <a:gd name="T43" fmla="*/ 6 h 7"/>
                <a:gd name="T44" fmla="*/ 3 w 6"/>
                <a:gd name="T45" fmla="*/ 6 h 7"/>
                <a:gd name="T46" fmla="*/ 4 w 6"/>
                <a:gd name="T47" fmla="*/ 7 h 7"/>
                <a:gd name="T48" fmla="*/ 4 w 6"/>
                <a:gd name="T49" fmla="*/ 7 h 7"/>
                <a:gd name="T50" fmla="*/ 5 w 6"/>
                <a:gd name="T51" fmla="*/ 7 h 7"/>
                <a:gd name="T52" fmla="*/ 5 w 6"/>
                <a:gd name="T53" fmla="*/ 7 h 7"/>
                <a:gd name="T54" fmla="*/ 6 w 6"/>
                <a:gd name="T55" fmla="*/ 6 h 7"/>
                <a:gd name="T56" fmla="*/ 6 w 6"/>
                <a:gd name="T57" fmla="*/ 6 h 7"/>
                <a:gd name="T58" fmla="*/ 6 w 6"/>
                <a:gd name="T59" fmla="*/ 5 h 7"/>
                <a:gd name="T60" fmla="*/ 6 w 6"/>
                <a:gd name="T61" fmla="*/ 4 h 7"/>
                <a:gd name="T62" fmla="*/ 5 w 6"/>
                <a:gd name="T6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 h="7">
                  <a:moveTo>
                    <a:pt x="5" y="4"/>
                  </a:moveTo>
                  <a:cubicBezTo>
                    <a:pt x="5" y="3"/>
                    <a:pt x="5" y="3"/>
                    <a:pt x="5" y="3"/>
                  </a:cubicBezTo>
                  <a:cubicBezTo>
                    <a:pt x="5" y="3"/>
                    <a:pt x="5" y="3"/>
                    <a:pt x="5" y="3"/>
                  </a:cubicBezTo>
                  <a:cubicBezTo>
                    <a:pt x="4" y="2"/>
                    <a:pt x="4" y="2"/>
                    <a:pt x="4" y="2"/>
                  </a:cubicBezTo>
                  <a:cubicBezTo>
                    <a:pt x="4" y="2"/>
                    <a:pt x="4" y="2"/>
                    <a:pt x="4" y="2"/>
                  </a:cubicBezTo>
                  <a:cubicBezTo>
                    <a:pt x="4" y="2"/>
                    <a:pt x="4" y="2"/>
                    <a:pt x="4" y="2"/>
                  </a:cubicBezTo>
                  <a:cubicBezTo>
                    <a:pt x="4" y="1"/>
                    <a:pt x="4" y="1"/>
                    <a:pt x="3" y="1"/>
                  </a:cubicBezTo>
                  <a:cubicBezTo>
                    <a:pt x="3" y="1"/>
                    <a:pt x="3" y="1"/>
                    <a:pt x="3" y="1"/>
                  </a:cubicBezTo>
                  <a:cubicBezTo>
                    <a:pt x="3" y="0"/>
                    <a:pt x="3" y="0"/>
                    <a:pt x="3" y="0"/>
                  </a:cubicBezTo>
                  <a:cubicBezTo>
                    <a:pt x="3" y="0"/>
                    <a:pt x="3" y="0"/>
                    <a:pt x="2" y="0"/>
                  </a:cubicBezTo>
                  <a:cubicBezTo>
                    <a:pt x="2" y="0"/>
                    <a:pt x="2" y="0"/>
                    <a:pt x="2" y="0"/>
                  </a:cubicBezTo>
                  <a:cubicBezTo>
                    <a:pt x="2" y="0"/>
                    <a:pt x="2" y="0"/>
                    <a:pt x="2" y="0"/>
                  </a:cubicBezTo>
                  <a:cubicBezTo>
                    <a:pt x="1" y="0"/>
                    <a:pt x="1" y="0"/>
                    <a:pt x="1" y="0"/>
                  </a:cubicBezTo>
                  <a:cubicBezTo>
                    <a:pt x="1" y="1"/>
                    <a:pt x="1" y="1"/>
                    <a:pt x="1" y="1"/>
                  </a:cubicBezTo>
                  <a:cubicBezTo>
                    <a:pt x="0" y="1"/>
                    <a:pt x="1" y="2"/>
                    <a:pt x="1" y="2"/>
                  </a:cubicBezTo>
                  <a:cubicBezTo>
                    <a:pt x="1" y="3"/>
                    <a:pt x="1" y="3"/>
                    <a:pt x="1" y="3"/>
                  </a:cubicBezTo>
                  <a:cubicBezTo>
                    <a:pt x="1" y="3"/>
                    <a:pt x="1" y="3"/>
                    <a:pt x="1" y="3"/>
                  </a:cubicBezTo>
                  <a:cubicBezTo>
                    <a:pt x="1" y="3"/>
                    <a:pt x="1" y="3"/>
                    <a:pt x="1" y="4"/>
                  </a:cubicBezTo>
                  <a:cubicBezTo>
                    <a:pt x="2" y="4"/>
                    <a:pt x="2" y="4"/>
                    <a:pt x="2" y="4"/>
                  </a:cubicBezTo>
                  <a:cubicBezTo>
                    <a:pt x="2" y="4"/>
                    <a:pt x="2" y="5"/>
                    <a:pt x="2" y="5"/>
                  </a:cubicBezTo>
                  <a:cubicBezTo>
                    <a:pt x="2" y="5"/>
                    <a:pt x="2" y="5"/>
                    <a:pt x="2" y="5"/>
                  </a:cubicBezTo>
                  <a:cubicBezTo>
                    <a:pt x="2" y="6"/>
                    <a:pt x="2" y="6"/>
                    <a:pt x="2" y="6"/>
                  </a:cubicBezTo>
                  <a:cubicBezTo>
                    <a:pt x="3" y="6"/>
                    <a:pt x="3" y="6"/>
                    <a:pt x="3" y="6"/>
                  </a:cubicBezTo>
                  <a:cubicBezTo>
                    <a:pt x="3" y="6"/>
                    <a:pt x="3" y="7"/>
                    <a:pt x="4" y="7"/>
                  </a:cubicBezTo>
                  <a:cubicBezTo>
                    <a:pt x="4" y="7"/>
                    <a:pt x="4" y="7"/>
                    <a:pt x="4" y="7"/>
                  </a:cubicBezTo>
                  <a:cubicBezTo>
                    <a:pt x="4" y="7"/>
                    <a:pt x="4" y="7"/>
                    <a:pt x="5" y="7"/>
                  </a:cubicBezTo>
                  <a:cubicBezTo>
                    <a:pt x="5" y="7"/>
                    <a:pt x="5" y="7"/>
                    <a:pt x="5" y="7"/>
                  </a:cubicBezTo>
                  <a:cubicBezTo>
                    <a:pt x="5" y="7"/>
                    <a:pt x="6" y="7"/>
                    <a:pt x="6" y="6"/>
                  </a:cubicBezTo>
                  <a:cubicBezTo>
                    <a:pt x="6" y="6"/>
                    <a:pt x="6" y="6"/>
                    <a:pt x="6" y="6"/>
                  </a:cubicBezTo>
                  <a:cubicBezTo>
                    <a:pt x="6" y="5"/>
                    <a:pt x="6" y="5"/>
                    <a:pt x="6" y="5"/>
                  </a:cubicBezTo>
                  <a:cubicBezTo>
                    <a:pt x="6" y="5"/>
                    <a:pt x="6" y="4"/>
                    <a:pt x="6" y="4"/>
                  </a:cubicBezTo>
                  <a:lnTo>
                    <a:pt x="5" y="4"/>
                  </a:lnTo>
                  <a:close/>
                </a:path>
              </a:pathLst>
            </a:custGeom>
            <a:solidFill>
              <a:srgbClr val="F59E00"/>
            </a:solidFill>
            <a:ln w="63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555" name="Freeform 22">
              <a:extLst>
                <a:ext uri="{FF2B5EF4-FFF2-40B4-BE49-F238E27FC236}">
                  <a16:creationId xmlns:a16="http://schemas.microsoft.com/office/drawing/2014/main" id="{35EF4F60-3FA1-AE6F-8AA2-B5E0E6F23AB9}"/>
                </a:ext>
              </a:extLst>
            </p:cNvPr>
            <p:cNvSpPr>
              <a:spLocks/>
            </p:cNvSpPr>
            <p:nvPr/>
          </p:nvSpPr>
          <p:spPr bwMode="gray">
            <a:xfrm>
              <a:off x="3484563" y="3576638"/>
              <a:ext cx="65088" cy="53975"/>
            </a:xfrm>
            <a:custGeom>
              <a:avLst/>
              <a:gdLst>
                <a:gd name="T0" fmla="*/ 1 w 12"/>
                <a:gd name="T1" fmla="*/ 8 h 10"/>
                <a:gd name="T2" fmla="*/ 1 w 12"/>
                <a:gd name="T3" fmla="*/ 9 h 10"/>
                <a:gd name="T4" fmla="*/ 2 w 12"/>
                <a:gd name="T5" fmla="*/ 9 h 10"/>
                <a:gd name="T6" fmla="*/ 2 w 12"/>
                <a:gd name="T7" fmla="*/ 10 h 10"/>
                <a:gd name="T8" fmla="*/ 3 w 12"/>
                <a:gd name="T9" fmla="*/ 10 h 10"/>
                <a:gd name="T10" fmla="*/ 3 w 12"/>
                <a:gd name="T11" fmla="*/ 9 h 10"/>
                <a:gd name="T12" fmla="*/ 4 w 12"/>
                <a:gd name="T13" fmla="*/ 9 h 10"/>
                <a:gd name="T14" fmla="*/ 5 w 12"/>
                <a:gd name="T15" fmla="*/ 8 h 10"/>
                <a:gd name="T16" fmla="*/ 6 w 12"/>
                <a:gd name="T17" fmla="*/ 8 h 10"/>
                <a:gd name="T18" fmla="*/ 7 w 12"/>
                <a:gd name="T19" fmla="*/ 8 h 10"/>
                <a:gd name="T20" fmla="*/ 7 w 12"/>
                <a:gd name="T21" fmla="*/ 7 h 10"/>
                <a:gd name="T22" fmla="*/ 7 w 12"/>
                <a:gd name="T23" fmla="*/ 7 h 10"/>
                <a:gd name="T24" fmla="*/ 7 w 12"/>
                <a:gd name="T25" fmla="*/ 6 h 10"/>
                <a:gd name="T26" fmla="*/ 9 w 12"/>
                <a:gd name="T27" fmla="*/ 5 h 10"/>
                <a:gd name="T28" fmla="*/ 10 w 12"/>
                <a:gd name="T29" fmla="*/ 5 h 10"/>
                <a:gd name="T30" fmla="*/ 10 w 12"/>
                <a:gd name="T31" fmla="*/ 5 h 10"/>
                <a:gd name="T32" fmla="*/ 11 w 12"/>
                <a:gd name="T33" fmla="*/ 4 h 10"/>
                <a:gd name="T34" fmla="*/ 11 w 12"/>
                <a:gd name="T35" fmla="*/ 3 h 10"/>
                <a:gd name="T36" fmla="*/ 12 w 12"/>
                <a:gd name="T37" fmla="*/ 3 h 10"/>
                <a:gd name="T38" fmla="*/ 12 w 12"/>
                <a:gd name="T39" fmla="*/ 2 h 10"/>
                <a:gd name="T40" fmla="*/ 12 w 12"/>
                <a:gd name="T41" fmla="*/ 2 h 10"/>
                <a:gd name="T42" fmla="*/ 12 w 12"/>
                <a:gd name="T43" fmla="*/ 1 h 10"/>
                <a:gd name="T44" fmla="*/ 12 w 12"/>
                <a:gd name="T45" fmla="*/ 1 h 10"/>
                <a:gd name="T46" fmla="*/ 11 w 12"/>
                <a:gd name="T47" fmla="*/ 0 h 10"/>
                <a:gd name="T48" fmla="*/ 10 w 12"/>
                <a:gd name="T49" fmla="*/ 0 h 10"/>
                <a:gd name="T50" fmla="*/ 10 w 12"/>
                <a:gd name="T51" fmla="*/ 0 h 10"/>
                <a:gd name="T52" fmla="*/ 9 w 12"/>
                <a:gd name="T53" fmla="*/ 1 h 10"/>
                <a:gd name="T54" fmla="*/ 6 w 12"/>
                <a:gd name="T55" fmla="*/ 3 h 10"/>
                <a:gd name="T56" fmla="*/ 6 w 12"/>
                <a:gd name="T57" fmla="*/ 3 h 10"/>
                <a:gd name="T58" fmla="*/ 5 w 12"/>
                <a:gd name="T59" fmla="*/ 3 h 10"/>
                <a:gd name="T60" fmla="*/ 5 w 12"/>
                <a:gd name="T61" fmla="*/ 3 h 10"/>
                <a:gd name="T62" fmla="*/ 4 w 12"/>
                <a:gd name="T63" fmla="*/ 4 h 10"/>
                <a:gd name="T64" fmla="*/ 4 w 12"/>
                <a:gd name="T65" fmla="*/ 4 h 10"/>
                <a:gd name="T66" fmla="*/ 1 w 12"/>
                <a:gd name="T67" fmla="*/ 6 h 10"/>
                <a:gd name="T68" fmla="*/ 1 w 12"/>
                <a:gd name="T69" fmla="*/ 7 h 10"/>
                <a:gd name="T70" fmla="*/ 1 w 12"/>
                <a:gd name="T71"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10">
                  <a:moveTo>
                    <a:pt x="1" y="8"/>
                  </a:moveTo>
                  <a:cubicBezTo>
                    <a:pt x="1" y="8"/>
                    <a:pt x="1" y="9"/>
                    <a:pt x="1" y="9"/>
                  </a:cubicBezTo>
                  <a:cubicBezTo>
                    <a:pt x="2" y="9"/>
                    <a:pt x="2" y="9"/>
                    <a:pt x="2" y="9"/>
                  </a:cubicBezTo>
                  <a:cubicBezTo>
                    <a:pt x="2" y="10"/>
                    <a:pt x="2" y="10"/>
                    <a:pt x="2" y="10"/>
                  </a:cubicBezTo>
                  <a:cubicBezTo>
                    <a:pt x="3" y="10"/>
                    <a:pt x="3" y="10"/>
                    <a:pt x="3" y="10"/>
                  </a:cubicBezTo>
                  <a:cubicBezTo>
                    <a:pt x="3" y="10"/>
                    <a:pt x="3" y="10"/>
                    <a:pt x="3" y="9"/>
                  </a:cubicBezTo>
                  <a:cubicBezTo>
                    <a:pt x="4" y="9"/>
                    <a:pt x="4" y="9"/>
                    <a:pt x="4" y="9"/>
                  </a:cubicBezTo>
                  <a:cubicBezTo>
                    <a:pt x="5" y="8"/>
                    <a:pt x="5" y="8"/>
                    <a:pt x="5" y="8"/>
                  </a:cubicBezTo>
                  <a:cubicBezTo>
                    <a:pt x="6" y="8"/>
                    <a:pt x="6" y="8"/>
                    <a:pt x="6" y="8"/>
                  </a:cubicBezTo>
                  <a:cubicBezTo>
                    <a:pt x="6" y="8"/>
                    <a:pt x="7" y="8"/>
                    <a:pt x="7" y="8"/>
                  </a:cubicBezTo>
                  <a:cubicBezTo>
                    <a:pt x="7" y="8"/>
                    <a:pt x="7" y="7"/>
                    <a:pt x="7" y="7"/>
                  </a:cubicBezTo>
                  <a:cubicBezTo>
                    <a:pt x="7" y="7"/>
                    <a:pt x="7" y="7"/>
                    <a:pt x="7" y="7"/>
                  </a:cubicBezTo>
                  <a:cubicBezTo>
                    <a:pt x="7" y="7"/>
                    <a:pt x="7" y="7"/>
                    <a:pt x="7" y="6"/>
                  </a:cubicBezTo>
                  <a:cubicBezTo>
                    <a:pt x="9" y="5"/>
                    <a:pt x="9" y="5"/>
                    <a:pt x="9" y="5"/>
                  </a:cubicBezTo>
                  <a:cubicBezTo>
                    <a:pt x="10" y="5"/>
                    <a:pt x="10" y="5"/>
                    <a:pt x="10" y="5"/>
                  </a:cubicBezTo>
                  <a:cubicBezTo>
                    <a:pt x="10" y="5"/>
                    <a:pt x="10" y="5"/>
                    <a:pt x="10" y="5"/>
                  </a:cubicBezTo>
                  <a:cubicBezTo>
                    <a:pt x="11" y="4"/>
                    <a:pt x="11" y="4"/>
                    <a:pt x="11" y="4"/>
                  </a:cubicBezTo>
                  <a:cubicBezTo>
                    <a:pt x="11" y="4"/>
                    <a:pt x="11" y="3"/>
                    <a:pt x="11" y="3"/>
                  </a:cubicBezTo>
                  <a:cubicBezTo>
                    <a:pt x="12" y="3"/>
                    <a:pt x="12" y="3"/>
                    <a:pt x="12" y="3"/>
                  </a:cubicBezTo>
                  <a:cubicBezTo>
                    <a:pt x="12" y="3"/>
                    <a:pt x="12" y="2"/>
                    <a:pt x="12" y="2"/>
                  </a:cubicBezTo>
                  <a:cubicBezTo>
                    <a:pt x="12" y="2"/>
                    <a:pt x="12" y="2"/>
                    <a:pt x="12" y="2"/>
                  </a:cubicBezTo>
                  <a:cubicBezTo>
                    <a:pt x="12" y="2"/>
                    <a:pt x="12" y="2"/>
                    <a:pt x="12" y="1"/>
                  </a:cubicBezTo>
                  <a:cubicBezTo>
                    <a:pt x="12" y="1"/>
                    <a:pt x="12" y="1"/>
                    <a:pt x="12" y="1"/>
                  </a:cubicBezTo>
                  <a:cubicBezTo>
                    <a:pt x="12" y="0"/>
                    <a:pt x="12" y="0"/>
                    <a:pt x="11" y="0"/>
                  </a:cubicBezTo>
                  <a:cubicBezTo>
                    <a:pt x="11" y="0"/>
                    <a:pt x="11" y="0"/>
                    <a:pt x="10" y="0"/>
                  </a:cubicBezTo>
                  <a:cubicBezTo>
                    <a:pt x="10" y="0"/>
                    <a:pt x="10" y="0"/>
                    <a:pt x="10" y="0"/>
                  </a:cubicBezTo>
                  <a:cubicBezTo>
                    <a:pt x="9" y="0"/>
                    <a:pt x="9" y="0"/>
                    <a:pt x="9" y="1"/>
                  </a:cubicBezTo>
                  <a:cubicBezTo>
                    <a:pt x="6" y="3"/>
                    <a:pt x="6" y="3"/>
                    <a:pt x="6" y="3"/>
                  </a:cubicBezTo>
                  <a:cubicBezTo>
                    <a:pt x="6" y="3"/>
                    <a:pt x="6" y="3"/>
                    <a:pt x="6" y="3"/>
                  </a:cubicBezTo>
                  <a:cubicBezTo>
                    <a:pt x="6" y="3"/>
                    <a:pt x="5" y="3"/>
                    <a:pt x="5" y="3"/>
                  </a:cubicBezTo>
                  <a:cubicBezTo>
                    <a:pt x="5" y="3"/>
                    <a:pt x="5" y="3"/>
                    <a:pt x="5" y="3"/>
                  </a:cubicBezTo>
                  <a:cubicBezTo>
                    <a:pt x="5" y="3"/>
                    <a:pt x="4" y="4"/>
                    <a:pt x="4" y="4"/>
                  </a:cubicBezTo>
                  <a:cubicBezTo>
                    <a:pt x="4" y="4"/>
                    <a:pt x="4" y="4"/>
                    <a:pt x="4" y="4"/>
                  </a:cubicBezTo>
                  <a:cubicBezTo>
                    <a:pt x="1" y="6"/>
                    <a:pt x="1" y="6"/>
                    <a:pt x="1" y="6"/>
                  </a:cubicBezTo>
                  <a:cubicBezTo>
                    <a:pt x="1" y="7"/>
                    <a:pt x="0" y="7"/>
                    <a:pt x="1" y="7"/>
                  </a:cubicBezTo>
                  <a:cubicBezTo>
                    <a:pt x="1" y="8"/>
                    <a:pt x="1" y="8"/>
                    <a:pt x="1" y="8"/>
                  </a:cubicBezTo>
                  <a:close/>
                </a:path>
              </a:pathLst>
            </a:custGeom>
            <a:solidFill>
              <a:srgbClr val="F59E00"/>
            </a:solidFill>
            <a:ln w="63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559" name="Freeform 23">
              <a:extLst>
                <a:ext uri="{FF2B5EF4-FFF2-40B4-BE49-F238E27FC236}">
                  <a16:creationId xmlns:a16="http://schemas.microsoft.com/office/drawing/2014/main" id="{6ED41F77-C49C-4A31-130A-CBFCC442D5C9}"/>
                </a:ext>
              </a:extLst>
            </p:cNvPr>
            <p:cNvSpPr>
              <a:spLocks/>
            </p:cNvSpPr>
            <p:nvPr/>
          </p:nvSpPr>
          <p:spPr bwMode="gray">
            <a:xfrm>
              <a:off x="3778250" y="3790950"/>
              <a:ext cx="20638" cy="36513"/>
            </a:xfrm>
            <a:custGeom>
              <a:avLst/>
              <a:gdLst>
                <a:gd name="T0" fmla="*/ 0 w 4"/>
                <a:gd name="T1" fmla="*/ 6 h 7"/>
                <a:gd name="T2" fmla="*/ 1 w 4"/>
                <a:gd name="T3" fmla="*/ 6 h 7"/>
                <a:gd name="T4" fmla="*/ 1 w 4"/>
                <a:gd name="T5" fmla="*/ 7 h 7"/>
                <a:gd name="T6" fmla="*/ 2 w 4"/>
                <a:gd name="T7" fmla="*/ 7 h 7"/>
                <a:gd name="T8" fmla="*/ 2 w 4"/>
                <a:gd name="T9" fmla="*/ 7 h 7"/>
                <a:gd name="T10" fmla="*/ 3 w 4"/>
                <a:gd name="T11" fmla="*/ 6 h 7"/>
                <a:gd name="T12" fmla="*/ 4 w 4"/>
                <a:gd name="T13" fmla="*/ 6 h 7"/>
                <a:gd name="T14" fmla="*/ 4 w 4"/>
                <a:gd name="T15" fmla="*/ 5 h 7"/>
                <a:gd name="T16" fmla="*/ 4 w 4"/>
                <a:gd name="T17" fmla="*/ 5 h 7"/>
                <a:gd name="T18" fmla="*/ 4 w 4"/>
                <a:gd name="T19" fmla="*/ 3 h 7"/>
                <a:gd name="T20" fmla="*/ 4 w 4"/>
                <a:gd name="T21" fmla="*/ 2 h 7"/>
                <a:gd name="T22" fmla="*/ 4 w 4"/>
                <a:gd name="T23" fmla="*/ 2 h 7"/>
                <a:gd name="T24" fmla="*/ 4 w 4"/>
                <a:gd name="T25" fmla="*/ 2 h 7"/>
                <a:gd name="T26" fmla="*/ 4 w 4"/>
                <a:gd name="T27" fmla="*/ 1 h 7"/>
                <a:gd name="T28" fmla="*/ 3 w 4"/>
                <a:gd name="T29" fmla="*/ 0 h 7"/>
                <a:gd name="T30" fmla="*/ 3 w 4"/>
                <a:gd name="T31" fmla="*/ 0 h 7"/>
                <a:gd name="T32" fmla="*/ 2 w 4"/>
                <a:gd name="T33" fmla="*/ 0 h 7"/>
                <a:gd name="T34" fmla="*/ 1 w 4"/>
                <a:gd name="T35" fmla="*/ 0 h 7"/>
                <a:gd name="T36" fmla="*/ 1 w 4"/>
                <a:gd name="T37" fmla="*/ 1 h 7"/>
                <a:gd name="T38" fmla="*/ 1 w 4"/>
                <a:gd name="T39" fmla="*/ 1 h 7"/>
                <a:gd name="T40" fmla="*/ 1 w 4"/>
                <a:gd name="T41" fmla="*/ 1 h 7"/>
                <a:gd name="T42" fmla="*/ 1 w 4"/>
                <a:gd name="T43" fmla="*/ 2 h 7"/>
                <a:gd name="T44" fmla="*/ 1 w 4"/>
                <a:gd name="T45" fmla="*/ 2 h 7"/>
                <a:gd name="T46" fmla="*/ 1 w 4"/>
                <a:gd name="T47" fmla="*/ 3 h 7"/>
                <a:gd name="T48" fmla="*/ 0 w 4"/>
                <a:gd name="T49" fmla="*/ 3 h 7"/>
                <a:gd name="T50" fmla="*/ 0 w 4"/>
                <a:gd name="T51" fmla="*/ 4 h 7"/>
                <a:gd name="T52" fmla="*/ 0 w 4"/>
                <a:gd name="T53" fmla="*/ 5 h 7"/>
                <a:gd name="T54" fmla="*/ 0 w 4"/>
                <a:gd name="T55" fmla="*/ 5 h 7"/>
                <a:gd name="T56" fmla="*/ 0 w 4"/>
                <a:gd name="T5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 h="7">
                  <a:moveTo>
                    <a:pt x="0" y="6"/>
                  </a:moveTo>
                  <a:cubicBezTo>
                    <a:pt x="1" y="6"/>
                    <a:pt x="1" y="6"/>
                    <a:pt x="1" y="6"/>
                  </a:cubicBezTo>
                  <a:cubicBezTo>
                    <a:pt x="1" y="6"/>
                    <a:pt x="1" y="7"/>
                    <a:pt x="1" y="7"/>
                  </a:cubicBezTo>
                  <a:cubicBezTo>
                    <a:pt x="2" y="7"/>
                    <a:pt x="2" y="7"/>
                    <a:pt x="2" y="7"/>
                  </a:cubicBezTo>
                  <a:cubicBezTo>
                    <a:pt x="2" y="7"/>
                    <a:pt x="2" y="7"/>
                    <a:pt x="2" y="7"/>
                  </a:cubicBezTo>
                  <a:cubicBezTo>
                    <a:pt x="3" y="6"/>
                    <a:pt x="3" y="6"/>
                    <a:pt x="3" y="6"/>
                  </a:cubicBezTo>
                  <a:cubicBezTo>
                    <a:pt x="3" y="6"/>
                    <a:pt x="3" y="6"/>
                    <a:pt x="4" y="6"/>
                  </a:cubicBezTo>
                  <a:cubicBezTo>
                    <a:pt x="4" y="5"/>
                    <a:pt x="4" y="5"/>
                    <a:pt x="4" y="5"/>
                  </a:cubicBezTo>
                  <a:cubicBezTo>
                    <a:pt x="4" y="5"/>
                    <a:pt x="4" y="5"/>
                    <a:pt x="4" y="5"/>
                  </a:cubicBezTo>
                  <a:cubicBezTo>
                    <a:pt x="4" y="3"/>
                    <a:pt x="4" y="3"/>
                    <a:pt x="4" y="3"/>
                  </a:cubicBezTo>
                  <a:cubicBezTo>
                    <a:pt x="4" y="3"/>
                    <a:pt x="4" y="3"/>
                    <a:pt x="4" y="2"/>
                  </a:cubicBezTo>
                  <a:cubicBezTo>
                    <a:pt x="4" y="2"/>
                    <a:pt x="4" y="2"/>
                    <a:pt x="4" y="2"/>
                  </a:cubicBezTo>
                  <a:cubicBezTo>
                    <a:pt x="4" y="2"/>
                    <a:pt x="4" y="2"/>
                    <a:pt x="4" y="2"/>
                  </a:cubicBezTo>
                  <a:cubicBezTo>
                    <a:pt x="4" y="1"/>
                    <a:pt x="4" y="1"/>
                    <a:pt x="4" y="1"/>
                  </a:cubicBezTo>
                  <a:cubicBezTo>
                    <a:pt x="4" y="0"/>
                    <a:pt x="4" y="0"/>
                    <a:pt x="3" y="0"/>
                  </a:cubicBezTo>
                  <a:cubicBezTo>
                    <a:pt x="3" y="0"/>
                    <a:pt x="3" y="0"/>
                    <a:pt x="3" y="0"/>
                  </a:cubicBezTo>
                  <a:cubicBezTo>
                    <a:pt x="2" y="0"/>
                    <a:pt x="2" y="0"/>
                    <a:pt x="2" y="0"/>
                  </a:cubicBezTo>
                  <a:cubicBezTo>
                    <a:pt x="2" y="0"/>
                    <a:pt x="2" y="0"/>
                    <a:pt x="1" y="0"/>
                  </a:cubicBezTo>
                  <a:cubicBezTo>
                    <a:pt x="1" y="0"/>
                    <a:pt x="1" y="0"/>
                    <a:pt x="1" y="1"/>
                  </a:cubicBezTo>
                  <a:cubicBezTo>
                    <a:pt x="1" y="1"/>
                    <a:pt x="1" y="1"/>
                    <a:pt x="1" y="1"/>
                  </a:cubicBezTo>
                  <a:cubicBezTo>
                    <a:pt x="1" y="1"/>
                    <a:pt x="1" y="1"/>
                    <a:pt x="1" y="1"/>
                  </a:cubicBezTo>
                  <a:cubicBezTo>
                    <a:pt x="1" y="1"/>
                    <a:pt x="1" y="2"/>
                    <a:pt x="1" y="2"/>
                  </a:cubicBezTo>
                  <a:cubicBezTo>
                    <a:pt x="1" y="2"/>
                    <a:pt x="1" y="2"/>
                    <a:pt x="1" y="2"/>
                  </a:cubicBezTo>
                  <a:cubicBezTo>
                    <a:pt x="1" y="3"/>
                    <a:pt x="1" y="3"/>
                    <a:pt x="1" y="3"/>
                  </a:cubicBezTo>
                  <a:cubicBezTo>
                    <a:pt x="0" y="3"/>
                    <a:pt x="0" y="3"/>
                    <a:pt x="0" y="3"/>
                  </a:cubicBezTo>
                  <a:cubicBezTo>
                    <a:pt x="0" y="4"/>
                    <a:pt x="0" y="4"/>
                    <a:pt x="0" y="4"/>
                  </a:cubicBezTo>
                  <a:cubicBezTo>
                    <a:pt x="0" y="4"/>
                    <a:pt x="0" y="5"/>
                    <a:pt x="0" y="5"/>
                  </a:cubicBezTo>
                  <a:cubicBezTo>
                    <a:pt x="0" y="5"/>
                    <a:pt x="0" y="5"/>
                    <a:pt x="0" y="5"/>
                  </a:cubicBezTo>
                  <a:cubicBezTo>
                    <a:pt x="0" y="6"/>
                    <a:pt x="0" y="6"/>
                    <a:pt x="0" y="6"/>
                  </a:cubicBezTo>
                  <a:close/>
                </a:path>
              </a:pathLst>
            </a:custGeom>
            <a:solidFill>
              <a:srgbClr val="F59E00"/>
            </a:solidFill>
            <a:ln w="63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560" name="Freeform 24">
              <a:extLst>
                <a:ext uri="{FF2B5EF4-FFF2-40B4-BE49-F238E27FC236}">
                  <a16:creationId xmlns:a16="http://schemas.microsoft.com/office/drawing/2014/main" id="{D176D47E-0563-4D8E-408E-97F60B3DFC26}"/>
                </a:ext>
              </a:extLst>
            </p:cNvPr>
            <p:cNvSpPr>
              <a:spLocks/>
            </p:cNvSpPr>
            <p:nvPr/>
          </p:nvSpPr>
          <p:spPr bwMode="gray">
            <a:xfrm>
              <a:off x="3762375" y="3832225"/>
              <a:ext cx="15875" cy="17463"/>
            </a:xfrm>
            <a:custGeom>
              <a:avLst/>
              <a:gdLst>
                <a:gd name="T0" fmla="*/ 1 w 3"/>
                <a:gd name="T1" fmla="*/ 2 h 3"/>
                <a:gd name="T2" fmla="*/ 2 w 3"/>
                <a:gd name="T3" fmla="*/ 3 h 3"/>
                <a:gd name="T4" fmla="*/ 2 w 3"/>
                <a:gd name="T5" fmla="*/ 3 h 3"/>
                <a:gd name="T6" fmla="*/ 2 w 3"/>
                <a:gd name="T7" fmla="*/ 3 h 3"/>
                <a:gd name="T8" fmla="*/ 3 w 3"/>
                <a:gd name="T9" fmla="*/ 2 h 3"/>
                <a:gd name="T10" fmla="*/ 3 w 3"/>
                <a:gd name="T11" fmla="*/ 1 h 3"/>
                <a:gd name="T12" fmla="*/ 3 w 3"/>
                <a:gd name="T13" fmla="*/ 0 h 3"/>
                <a:gd name="T14" fmla="*/ 2 w 3"/>
                <a:gd name="T15" fmla="*/ 0 h 3"/>
                <a:gd name="T16" fmla="*/ 2 w 3"/>
                <a:gd name="T17" fmla="*/ 0 h 3"/>
                <a:gd name="T18" fmla="*/ 1 w 3"/>
                <a:gd name="T19" fmla="*/ 0 h 3"/>
                <a:gd name="T20" fmla="*/ 0 w 3"/>
                <a:gd name="T21" fmla="*/ 0 h 3"/>
                <a:gd name="T22" fmla="*/ 0 w 3"/>
                <a:gd name="T23" fmla="*/ 1 h 3"/>
                <a:gd name="T24" fmla="*/ 1 w 3"/>
                <a:gd name="T25"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3">
                  <a:moveTo>
                    <a:pt x="1" y="2"/>
                  </a:moveTo>
                  <a:cubicBezTo>
                    <a:pt x="1" y="3"/>
                    <a:pt x="1" y="3"/>
                    <a:pt x="2" y="3"/>
                  </a:cubicBezTo>
                  <a:cubicBezTo>
                    <a:pt x="2" y="3"/>
                    <a:pt x="2" y="3"/>
                    <a:pt x="2" y="3"/>
                  </a:cubicBezTo>
                  <a:cubicBezTo>
                    <a:pt x="2" y="3"/>
                    <a:pt x="2" y="3"/>
                    <a:pt x="2" y="3"/>
                  </a:cubicBezTo>
                  <a:cubicBezTo>
                    <a:pt x="2" y="3"/>
                    <a:pt x="3" y="2"/>
                    <a:pt x="3" y="2"/>
                  </a:cubicBezTo>
                  <a:cubicBezTo>
                    <a:pt x="3" y="1"/>
                    <a:pt x="3" y="1"/>
                    <a:pt x="3" y="1"/>
                  </a:cubicBezTo>
                  <a:cubicBezTo>
                    <a:pt x="3" y="1"/>
                    <a:pt x="3" y="1"/>
                    <a:pt x="3" y="0"/>
                  </a:cubicBezTo>
                  <a:cubicBezTo>
                    <a:pt x="2" y="0"/>
                    <a:pt x="2" y="0"/>
                    <a:pt x="2" y="0"/>
                  </a:cubicBezTo>
                  <a:cubicBezTo>
                    <a:pt x="2" y="0"/>
                    <a:pt x="2" y="0"/>
                    <a:pt x="2" y="0"/>
                  </a:cubicBezTo>
                  <a:cubicBezTo>
                    <a:pt x="1" y="0"/>
                    <a:pt x="1" y="0"/>
                    <a:pt x="1" y="0"/>
                  </a:cubicBezTo>
                  <a:cubicBezTo>
                    <a:pt x="0" y="0"/>
                    <a:pt x="0" y="0"/>
                    <a:pt x="0" y="0"/>
                  </a:cubicBezTo>
                  <a:cubicBezTo>
                    <a:pt x="0" y="1"/>
                    <a:pt x="0" y="1"/>
                    <a:pt x="0" y="1"/>
                  </a:cubicBezTo>
                  <a:lnTo>
                    <a:pt x="1" y="2"/>
                  </a:lnTo>
                  <a:close/>
                </a:path>
              </a:pathLst>
            </a:custGeom>
            <a:solidFill>
              <a:srgbClr val="F59E00"/>
            </a:solidFill>
            <a:ln w="63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561" name="Freeform 25">
              <a:extLst>
                <a:ext uri="{FF2B5EF4-FFF2-40B4-BE49-F238E27FC236}">
                  <a16:creationId xmlns:a16="http://schemas.microsoft.com/office/drawing/2014/main" id="{91437A61-E49A-59E2-574D-0EC93FA5619D}"/>
                </a:ext>
              </a:extLst>
            </p:cNvPr>
            <p:cNvSpPr>
              <a:spLocks/>
            </p:cNvSpPr>
            <p:nvPr/>
          </p:nvSpPr>
          <p:spPr bwMode="gray">
            <a:xfrm>
              <a:off x="3683000" y="5486400"/>
              <a:ext cx="47625" cy="74613"/>
            </a:xfrm>
            <a:custGeom>
              <a:avLst/>
              <a:gdLst>
                <a:gd name="T0" fmla="*/ 9 w 9"/>
                <a:gd name="T1" fmla="*/ 5 h 14"/>
                <a:gd name="T2" fmla="*/ 9 w 9"/>
                <a:gd name="T3" fmla="*/ 4 h 14"/>
                <a:gd name="T4" fmla="*/ 9 w 9"/>
                <a:gd name="T5" fmla="*/ 3 h 14"/>
                <a:gd name="T6" fmla="*/ 8 w 9"/>
                <a:gd name="T7" fmla="*/ 2 h 14"/>
                <a:gd name="T8" fmla="*/ 8 w 9"/>
                <a:gd name="T9" fmla="*/ 2 h 14"/>
                <a:gd name="T10" fmla="*/ 8 w 9"/>
                <a:gd name="T11" fmla="*/ 1 h 14"/>
                <a:gd name="T12" fmla="*/ 7 w 9"/>
                <a:gd name="T13" fmla="*/ 0 h 14"/>
                <a:gd name="T14" fmla="*/ 7 w 9"/>
                <a:gd name="T15" fmla="*/ 0 h 14"/>
                <a:gd name="T16" fmla="*/ 6 w 9"/>
                <a:gd name="T17" fmla="*/ 0 h 14"/>
                <a:gd name="T18" fmla="*/ 6 w 9"/>
                <a:gd name="T19" fmla="*/ 0 h 14"/>
                <a:gd name="T20" fmla="*/ 5 w 9"/>
                <a:gd name="T21" fmla="*/ 1 h 14"/>
                <a:gd name="T22" fmla="*/ 5 w 9"/>
                <a:gd name="T23" fmla="*/ 1 h 14"/>
                <a:gd name="T24" fmla="*/ 6 w 9"/>
                <a:gd name="T25" fmla="*/ 2 h 14"/>
                <a:gd name="T26" fmla="*/ 6 w 9"/>
                <a:gd name="T27" fmla="*/ 2 h 14"/>
                <a:gd name="T28" fmla="*/ 6 w 9"/>
                <a:gd name="T29" fmla="*/ 3 h 14"/>
                <a:gd name="T30" fmla="*/ 6 w 9"/>
                <a:gd name="T31" fmla="*/ 3 h 14"/>
                <a:gd name="T32" fmla="*/ 5 w 9"/>
                <a:gd name="T33" fmla="*/ 4 h 14"/>
                <a:gd name="T34" fmla="*/ 5 w 9"/>
                <a:gd name="T35" fmla="*/ 4 h 14"/>
                <a:gd name="T36" fmla="*/ 5 w 9"/>
                <a:gd name="T37" fmla="*/ 5 h 14"/>
                <a:gd name="T38" fmla="*/ 5 w 9"/>
                <a:gd name="T39" fmla="*/ 5 h 14"/>
                <a:gd name="T40" fmla="*/ 4 w 9"/>
                <a:gd name="T41" fmla="*/ 6 h 14"/>
                <a:gd name="T42" fmla="*/ 4 w 9"/>
                <a:gd name="T43" fmla="*/ 6 h 14"/>
                <a:gd name="T44" fmla="*/ 4 w 9"/>
                <a:gd name="T45" fmla="*/ 6 h 14"/>
                <a:gd name="T46" fmla="*/ 5 w 9"/>
                <a:gd name="T47" fmla="*/ 7 h 14"/>
                <a:gd name="T48" fmla="*/ 5 w 9"/>
                <a:gd name="T49" fmla="*/ 7 h 14"/>
                <a:gd name="T50" fmla="*/ 5 w 9"/>
                <a:gd name="T51" fmla="*/ 8 h 14"/>
                <a:gd name="T52" fmla="*/ 5 w 9"/>
                <a:gd name="T53" fmla="*/ 8 h 14"/>
                <a:gd name="T54" fmla="*/ 4 w 9"/>
                <a:gd name="T55" fmla="*/ 9 h 14"/>
                <a:gd name="T56" fmla="*/ 4 w 9"/>
                <a:gd name="T57" fmla="*/ 9 h 14"/>
                <a:gd name="T58" fmla="*/ 4 w 9"/>
                <a:gd name="T59" fmla="*/ 10 h 14"/>
                <a:gd name="T60" fmla="*/ 4 w 9"/>
                <a:gd name="T61" fmla="*/ 10 h 14"/>
                <a:gd name="T62" fmla="*/ 4 w 9"/>
                <a:gd name="T63" fmla="*/ 10 h 14"/>
                <a:gd name="T64" fmla="*/ 4 w 9"/>
                <a:gd name="T65" fmla="*/ 10 h 14"/>
                <a:gd name="T66" fmla="*/ 3 w 9"/>
                <a:gd name="T67" fmla="*/ 11 h 14"/>
                <a:gd name="T68" fmla="*/ 3 w 9"/>
                <a:gd name="T69" fmla="*/ 11 h 14"/>
                <a:gd name="T70" fmla="*/ 3 w 9"/>
                <a:gd name="T71" fmla="*/ 11 h 14"/>
                <a:gd name="T72" fmla="*/ 2 w 9"/>
                <a:gd name="T73" fmla="*/ 12 h 14"/>
                <a:gd name="T74" fmla="*/ 1 w 9"/>
                <a:gd name="T75" fmla="*/ 12 h 14"/>
                <a:gd name="T76" fmla="*/ 0 w 9"/>
                <a:gd name="T77" fmla="*/ 13 h 14"/>
                <a:gd name="T78" fmla="*/ 1 w 9"/>
                <a:gd name="T79" fmla="*/ 14 h 14"/>
                <a:gd name="T80" fmla="*/ 1 w 9"/>
                <a:gd name="T81" fmla="*/ 14 h 14"/>
                <a:gd name="T82" fmla="*/ 2 w 9"/>
                <a:gd name="T83" fmla="*/ 14 h 14"/>
                <a:gd name="T84" fmla="*/ 2 w 9"/>
                <a:gd name="T85" fmla="*/ 14 h 14"/>
                <a:gd name="T86" fmla="*/ 2 w 9"/>
                <a:gd name="T87" fmla="*/ 14 h 14"/>
                <a:gd name="T88" fmla="*/ 3 w 9"/>
                <a:gd name="T89" fmla="*/ 14 h 14"/>
                <a:gd name="T90" fmla="*/ 3 w 9"/>
                <a:gd name="T91" fmla="*/ 14 h 14"/>
                <a:gd name="T92" fmla="*/ 4 w 9"/>
                <a:gd name="T93" fmla="*/ 13 h 14"/>
                <a:gd name="T94" fmla="*/ 4 w 9"/>
                <a:gd name="T95" fmla="*/ 13 h 14"/>
                <a:gd name="T96" fmla="*/ 5 w 9"/>
                <a:gd name="T97" fmla="*/ 12 h 14"/>
                <a:gd name="T98" fmla="*/ 5 w 9"/>
                <a:gd name="T99" fmla="*/ 11 h 14"/>
                <a:gd name="T100" fmla="*/ 5 w 9"/>
                <a:gd name="T101" fmla="*/ 11 h 14"/>
                <a:gd name="T102" fmla="*/ 6 w 9"/>
                <a:gd name="T103" fmla="*/ 10 h 14"/>
                <a:gd name="T104" fmla="*/ 6 w 9"/>
                <a:gd name="T105" fmla="*/ 10 h 14"/>
                <a:gd name="T106" fmla="*/ 6 w 9"/>
                <a:gd name="T107" fmla="*/ 9 h 14"/>
                <a:gd name="T108" fmla="*/ 7 w 9"/>
                <a:gd name="T109" fmla="*/ 9 h 14"/>
                <a:gd name="T110" fmla="*/ 8 w 9"/>
                <a:gd name="T111" fmla="*/ 8 h 14"/>
                <a:gd name="T112" fmla="*/ 8 w 9"/>
                <a:gd name="T113" fmla="*/ 7 h 14"/>
                <a:gd name="T114" fmla="*/ 8 w 9"/>
                <a:gd name="T115" fmla="*/ 7 h 14"/>
                <a:gd name="T116" fmla="*/ 9 w 9"/>
                <a:gd name="T117" fmla="*/ 6 h 14"/>
                <a:gd name="T118" fmla="*/ 9 w 9"/>
                <a:gd name="T119" fmla="*/ 6 h 14"/>
                <a:gd name="T120" fmla="*/ 9 w 9"/>
                <a:gd name="T121" fmla="*/ 5 h 14"/>
                <a:gd name="T122" fmla="*/ 9 w 9"/>
                <a:gd name="T123" fmla="*/ 5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 h="14">
                  <a:moveTo>
                    <a:pt x="9" y="5"/>
                  </a:moveTo>
                  <a:cubicBezTo>
                    <a:pt x="9" y="4"/>
                    <a:pt x="9" y="4"/>
                    <a:pt x="9" y="4"/>
                  </a:cubicBezTo>
                  <a:cubicBezTo>
                    <a:pt x="9" y="3"/>
                    <a:pt x="9" y="3"/>
                    <a:pt x="9" y="3"/>
                  </a:cubicBezTo>
                  <a:cubicBezTo>
                    <a:pt x="8" y="2"/>
                    <a:pt x="8" y="2"/>
                    <a:pt x="8" y="2"/>
                  </a:cubicBezTo>
                  <a:cubicBezTo>
                    <a:pt x="8" y="2"/>
                    <a:pt x="8" y="2"/>
                    <a:pt x="8" y="2"/>
                  </a:cubicBezTo>
                  <a:cubicBezTo>
                    <a:pt x="8" y="1"/>
                    <a:pt x="8" y="1"/>
                    <a:pt x="8" y="1"/>
                  </a:cubicBezTo>
                  <a:cubicBezTo>
                    <a:pt x="8" y="1"/>
                    <a:pt x="8" y="0"/>
                    <a:pt x="7" y="0"/>
                  </a:cubicBezTo>
                  <a:cubicBezTo>
                    <a:pt x="7" y="0"/>
                    <a:pt x="7" y="0"/>
                    <a:pt x="7" y="0"/>
                  </a:cubicBezTo>
                  <a:cubicBezTo>
                    <a:pt x="7" y="0"/>
                    <a:pt x="7" y="0"/>
                    <a:pt x="6" y="0"/>
                  </a:cubicBezTo>
                  <a:cubicBezTo>
                    <a:pt x="6" y="0"/>
                    <a:pt x="6" y="0"/>
                    <a:pt x="6" y="0"/>
                  </a:cubicBezTo>
                  <a:cubicBezTo>
                    <a:pt x="6" y="0"/>
                    <a:pt x="5" y="0"/>
                    <a:pt x="5" y="1"/>
                  </a:cubicBezTo>
                  <a:cubicBezTo>
                    <a:pt x="5" y="1"/>
                    <a:pt x="5" y="1"/>
                    <a:pt x="5" y="1"/>
                  </a:cubicBezTo>
                  <a:cubicBezTo>
                    <a:pt x="5" y="1"/>
                    <a:pt x="6" y="2"/>
                    <a:pt x="6" y="2"/>
                  </a:cubicBezTo>
                  <a:cubicBezTo>
                    <a:pt x="6" y="2"/>
                    <a:pt x="6" y="2"/>
                    <a:pt x="6" y="2"/>
                  </a:cubicBezTo>
                  <a:cubicBezTo>
                    <a:pt x="6" y="2"/>
                    <a:pt x="6" y="3"/>
                    <a:pt x="6" y="3"/>
                  </a:cubicBezTo>
                  <a:cubicBezTo>
                    <a:pt x="6" y="3"/>
                    <a:pt x="6" y="3"/>
                    <a:pt x="6" y="3"/>
                  </a:cubicBezTo>
                  <a:cubicBezTo>
                    <a:pt x="6" y="3"/>
                    <a:pt x="5" y="3"/>
                    <a:pt x="5" y="4"/>
                  </a:cubicBezTo>
                  <a:cubicBezTo>
                    <a:pt x="5" y="4"/>
                    <a:pt x="5" y="4"/>
                    <a:pt x="5" y="4"/>
                  </a:cubicBezTo>
                  <a:cubicBezTo>
                    <a:pt x="5" y="4"/>
                    <a:pt x="5" y="4"/>
                    <a:pt x="5" y="5"/>
                  </a:cubicBezTo>
                  <a:cubicBezTo>
                    <a:pt x="5" y="5"/>
                    <a:pt x="5" y="5"/>
                    <a:pt x="5" y="5"/>
                  </a:cubicBezTo>
                  <a:cubicBezTo>
                    <a:pt x="4" y="5"/>
                    <a:pt x="4" y="5"/>
                    <a:pt x="4" y="6"/>
                  </a:cubicBezTo>
                  <a:cubicBezTo>
                    <a:pt x="4" y="6"/>
                    <a:pt x="4" y="6"/>
                    <a:pt x="4" y="6"/>
                  </a:cubicBezTo>
                  <a:cubicBezTo>
                    <a:pt x="4" y="6"/>
                    <a:pt x="4" y="6"/>
                    <a:pt x="4" y="6"/>
                  </a:cubicBezTo>
                  <a:cubicBezTo>
                    <a:pt x="4" y="7"/>
                    <a:pt x="5" y="7"/>
                    <a:pt x="5" y="7"/>
                  </a:cubicBezTo>
                  <a:cubicBezTo>
                    <a:pt x="5" y="7"/>
                    <a:pt x="5" y="7"/>
                    <a:pt x="5" y="7"/>
                  </a:cubicBezTo>
                  <a:cubicBezTo>
                    <a:pt x="5" y="8"/>
                    <a:pt x="5" y="8"/>
                    <a:pt x="5" y="8"/>
                  </a:cubicBezTo>
                  <a:cubicBezTo>
                    <a:pt x="5" y="8"/>
                    <a:pt x="5" y="8"/>
                    <a:pt x="5" y="8"/>
                  </a:cubicBezTo>
                  <a:cubicBezTo>
                    <a:pt x="5" y="8"/>
                    <a:pt x="4" y="9"/>
                    <a:pt x="4" y="9"/>
                  </a:cubicBezTo>
                  <a:cubicBezTo>
                    <a:pt x="4" y="9"/>
                    <a:pt x="4" y="9"/>
                    <a:pt x="4" y="9"/>
                  </a:cubicBezTo>
                  <a:cubicBezTo>
                    <a:pt x="4" y="10"/>
                    <a:pt x="4" y="10"/>
                    <a:pt x="4" y="10"/>
                  </a:cubicBezTo>
                  <a:cubicBezTo>
                    <a:pt x="4" y="10"/>
                    <a:pt x="4" y="10"/>
                    <a:pt x="4" y="10"/>
                  </a:cubicBezTo>
                  <a:cubicBezTo>
                    <a:pt x="4" y="10"/>
                    <a:pt x="4" y="10"/>
                    <a:pt x="4" y="10"/>
                  </a:cubicBezTo>
                  <a:cubicBezTo>
                    <a:pt x="4" y="10"/>
                    <a:pt x="4" y="10"/>
                    <a:pt x="4" y="10"/>
                  </a:cubicBezTo>
                  <a:cubicBezTo>
                    <a:pt x="3" y="10"/>
                    <a:pt x="3" y="10"/>
                    <a:pt x="3" y="11"/>
                  </a:cubicBezTo>
                  <a:cubicBezTo>
                    <a:pt x="3" y="11"/>
                    <a:pt x="3" y="11"/>
                    <a:pt x="3" y="11"/>
                  </a:cubicBezTo>
                  <a:cubicBezTo>
                    <a:pt x="3" y="11"/>
                    <a:pt x="3" y="11"/>
                    <a:pt x="3" y="11"/>
                  </a:cubicBezTo>
                  <a:cubicBezTo>
                    <a:pt x="2" y="11"/>
                    <a:pt x="2" y="12"/>
                    <a:pt x="2" y="12"/>
                  </a:cubicBezTo>
                  <a:cubicBezTo>
                    <a:pt x="1" y="12"/>
                    <a:pt x="1" y="12"/>
                    <a:pt x="1" y="12"/>
                  </a:cubicBezTo>
                  <a:cubicBezTo>
                    <a:pt x="1" y="12"/>
                    <a:pt x="0" y="12"/>
                    <a:pt x="0" y="13"/>
                  </a:cubicBezTo>
                  <a:cubicBezTo>
                    <a:pt x="0" y="13"/>
                    <a:pt x="1" y="14"/>
                    <a:pt x="1" y="14"/>
                  </a:cubicBezTo>
                  <a:cubicBezTo>
                    <a:pt x="1" y="14"/>
                    <a:pt x="1" y="14"/>
                    <a:pt x="1" y="14"/>
                  </a:cubicBezTo>
                  <a:cubicBezTo>
                    <a:pt x="2" y="14"/>
                    <a:pt x="2" y="14"/>
                    <a:pt x="2" y="14"/>
                  </a:cubicBezTo>
                  <a:cubicBezTo>
                    <a:pt x="2" y="14"/>
                    <a:pt x="2" y="14"/>
                    <a:pt x="2" y="14"/>
                  </a:cubicBezTo>
                  <a:cubicBezTo>
                    <a:pt x="2" y="14"/>
                    <a:pt x="2" y="14"/>
                    <a:pt x="2" y="14"/>
                  </a:cubicBezTo>
                  <a:cubicBezTo>
                    <a:pt x="2" y="14"/>
                    <a:pt x="2" y="14"/>
                    <a:pt x="3" y="14"/>
                  </a:cubicBezTo>
                  <a:cubicBezTo>
                    <a:pt x="3" y="14"/>
                    <a:pt x="3" y="14"/>
                    <a:pt x="3" y="14"/>
                  </a:cubicBezTo>
                  <a:cubicBezTo>
                    <a:pt x="3" y="13"/>
                    <a:pt x="4" y="13"/>
                    <a:pt x="4" y="13"/>
                  </a:cubicBezTo>
                  <a:cubicBezTo>
                    <a:pt x="4" y="13"/>
                    <a:pt x="4" y="13"/>
                    <a:pt x="4" y="13"/>
                  </a:cubicBezTo>
                  <a:cubicBezTo>
                    <a:pt x="5" y="12"/>
                    <a:pt x="5" y="12"/>
                    <a:pt x="5" y="12"/>
                  </a:cubicBezTo>
                  <a:cubicBezTo>
                    <a:pt x="5" y="11"/>
                    <a:pt x="6" y="11"/>
                    <a:pt x="5" y="11"/>
                  </a:cubicBezTo>
                  <a:cubicBezTo>
                    <a:pt x="5" y="11"/>
                    <a:pt x="5" y="11"/>
                    <a:pt x="5" y="11"/>
                  </a:cubicBezTo>
                  <a:cubicBezTo>
                    <a:pt x="6" y="11"/>
                    <a:pt x="6" y="10"/>
                    <a:pt x="6" y="10"/>
                  </a:cubicBezTo>
                  <a:cubicBezTo>
                    <a:pt x="6" y="10"/>
                    <a:pt x="6" y="10"/>
                    <a:pt x="6" y="10"/>
                  </a:cubicBezTo>
                  <a:cubicBezTo>
                    <a:pt x="6" y="9"/>
                    <a:pt x="6" y="9"/>
                    <a:pt x="6" y="9"/>
                  </a:cubicBezTo>
                  <a:cubicBezTo>
                    <a:pt x="7" y="9"/>
                    <a:pt x="7" y="9"/>
                    <a:pt x="7" y="9"/>
                  </a:cubicBezTo>
                  <a:cubicBezTo>
                    <a:pt x="8" y="8"/>
                    <a:pt x="8" y="8"/>
                    <a:pt x="8" y="8"/>
                  </a:cubicBezTo>
                  <a:cubicBezTo>
                    <a:pt x="8" y="8"/>
                    <a:pt x="8" y="7"/>
                    <a:pt x="8" y="7"/>
                  </a:cubicBezTo>
                  <a:cubicBezTo>
                    <a:pt x="8" y="7"/>
                    <a:pt x="8" y="7"/>
                    <a:pt x="8" y="7"/>
                  </a:cubicBezTo>
                  <a:cubicBezTo>
                    <a:pt x="9" y="6"/>
                    <a:pt x="9" y="6"/>
                    <a:pt x="9" y="6"/>
                  </a:cubicBezTo>
                  <a:cubicBezTo>
                    <a:pt x="9" y="6"/>
                    <a:pt x="9" y="6"/>
                    <a:pt x="9" y="6"/>
                  </a:cubicBezTo>
                  <a:cubicBezTo>
                    <a:pt x="9" y="5"/>
                    <a:pt x="9" y="5"/>
                    <a:pt x="9" y="5"/>
                  </a:cubicBezTo>
                  <a:cubicBezTo>
                    <a:pt x="9" y="5"/>
                    <a:pt x="9" y="5"/>
                    <a:pt x="9" y="5"/>
                  </a:cubicBezTo>
                  <a:close/>
                </a:path>
              </a:pathLst>
            </a:custGeom>
            <a:solidFill>
              <a:srgbClr val="F59E00"/>
            </a:solidFill>
            <a:ln w="63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562" name="Rectangle 26">
              <a:extLst>
                <a:ext uri="{FF2B5EF4-FFF2-40B4-BE49-F238E27FC236}">
                  <a16:creationId xmlns:a16="http://schemas.microsoft.com/office/drawing/2014/main" id="{991B461D-D9DB-8C54-166F-61D8B9295D35}"/>
                </a:ext>
              </a:extLst>
            </p:cNvPr>
            <p:cNvSpPr>
              <a:spLocks/>
            </p:cNvSpPr>
            <p:nvPr/>
          </p:nvSpPr>
          <p:spPr bwMode="gray">
            <a:xfrm>
              <a:off x="4705350" y="4749800"/>
              <a:ext cx="1588" cy="6350"/>
            </a:xfrm>
            <a:prstGeom prst="rect">
              <a:avLst/>
            </a:prstGeom>
            <a:solidFill>
              <a:srgbClr val="B1B1B0"/>
            </a:solidFill>
            <a:ln w="635">
              <a:solidFill>
                <a:schemeClr val="accent5"/>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563" name="Freeform 27">
              <a:extLst>
                <a:ext uri="{FF2B5EF4-FFF2-40B4-BE49-F238E27FC236}">
                  <a16:creationId xmlns:a16="http://schemas.microsoft.com/office/drawing/2014/main" id="{675BB607-BAAB-32E6-40F0-96B36E969DD0}"/>
                </a:ext>
              </a:extLst>
            </p:cNvPr>
            <p:cNvSpPr>
              <a:spLocks/>
            </p:cNvSpPr>
            <p:nvPr/>
          </p:nvSpPr>
          <p:spPr bwMode="gray">
            <a:xfrm>
              <a:off x="3549650" y="4606925"/>
              <a:ext cx="1230313" cy="1354138"/>
            </a:xfrm>
            <a:custGeom>
              <a:avLst/>
              <a:gdLst>
                <a:gd name="T0" fmla="*/ 221 w 231"/>
                <a:gd name="T1" fmla="*/ 1 h 254"/>
                <a:gd name="T2" fmla="*/ 220 w 231"/>
                <a:gd name="T3" fmla="*/ 6 h 254"/>
                <a:gd name="T4" fmla="*/ 223 w 231"/>
                <a:gd name="T5" fmla="*/ 11 h 254"/>
                <a:gd name="T6" fmla="*/ 223 w 231"/>
                <a:gd name="T7" fmla="*/ 21 h 254"/>
                <a:gd name="T8" fmla="*/ 224 w 231"/>
                <a:gd name="T9" fmla="*/ 22 h 254"/>
                <a:gd name="T10" fmla="*/ 227 w 231"/>
                <a:gd name="T11" fmla="*/ 16 h 254"/>
                <a:gd name="T12" fmla="*/ 222 w 231"/>
                <a:gd name="T13" fmla="*/ 30 h 254"/>
                <a:gd name="T14" fmla="*/ 216 w 231"/>
                <a:gd name="T15" fmla="*/ 31 h 254"/>
                <a:gd name="T16" fmla="*/ 214 w 231"/>
                <a:gd name="T17" fmla="*/ 27 h 254"/>
                <a:gd name="T18" fmla="*/ 207 w 231"/>
                <a:gd name="T19" fmla="*/ 27 h 254"/>
                <a:gd name="T20" fmla="*/ 197 w 231"/>
                <a:gd name="T21" fmla="*/ 29 h 254"/>
                <a:gd name="T22" fmla="*/ 192 w 231"/>
                <a:gd name="T23" fmla="*/ 12 h 254"/>
                <a:gd name="T24" fmla="*/ 146 w 231"/>
                <a:gd name="T25" fmla="*/ 18 h 254"/>
                <a:gd name="T26" fmla="*/ 117 w 231"/>
                <a:gd name="T27" fmla="*/ 23 h 254"/>
                <a:gd name="T28" fmla="*/ 92 w 231"/>
                <a:gd name="T29" fmla="*/ 26 h 254"/>
                <a:gd name="T30" fmla="*/ 48 w 231"/>
                <a:gd name="T31" fmla="*/ 31 h 254"/>
                <a:gd name="T32" fmla="*/ 30 w 231"/>
                <a:gd name="T33" fmla="*/ 37 h 254"/>
                <a:gd name="T34" fmla="*/ 7 w 231"/>
                <a:gd name="T35" fmla="*/ 43 h 254"/>
                <a:gd name="T36" fmla="*/ 6 w 231"/>
                <a:gd name="T37" fmla="*/ 53 h 254"/>
                <a:gd name="T38" fmla="*/ 2 w 231"/>
                <a:gd name="T39" fmla="*/ 67 h 254"/>
                <a:gd name="T40" fmla="*/ 20 w 231"/>
                <a:gd name="T41" fmla="*/ 125 h 254"/>
                <a:gd name="T42" fmla="*/ 18 w 231"/>
                <a:gd name="T43" fmla="*/ 156 h 254"/>
                <a:gd name="T44" fmla="*/ 33 w 231"/>
                <a:gd name="T45" fmla="*/ 160 h 254"/>
                <a:gd name="T46" fmla="*/ 39 w 231"/>
                <a:gd name="T47" fmla="*/ 163 h 254"/>
                <a:gd name="T48" fmla="*/ 57 w 231"/>
                <a:gd name="T49" fmla="*/ 159 h 254"/>
                <a:gd name="T50" fmla="*/ 85 w 231"/>
                <a:gd name="T51" fmla="*/ 161 h 254"/>
                <a:gd name="T52" fmla="*/ 92 w 231"/>
                <a:gd name="T53" fmla="*/ 167 h 254"/>
                <a:gd name="T54" fmla="*/ 102 w 231"/>
                <a:gd name="T55" fmla="*/ 163 h 254"/>
                <a:gd name="T56" fmla="*/ 109 w 231"/>
                <a:gd name="T57" fmla="*/ 156 h 254"/>
                <a:gd name="T58" fmla="*/ 118 w 231"/>
                <a:gd name="T59" fmla="*/ 160 h 254"/>
                <a:gd name="T60" fmla="*/ 126 w 231"/>
                <a:gd name="T61" fmla="*/ 167 h 254"/>
                <a:gd name="T62" fmla="*/ 134 w 231"/>
                <a:gd name="T63" fmla="*/ 172 h 254"/>
                <a:gd name="T64" fmla="*/ 137 w 231"/>
                <a:gd name="T65" fmla="*/ 184 h 254"/>
                <a:gd name="T66" fmla="*/ 136 w 231"/>
                <a:gd name="T67" fmla="*/ 196 h 254"/>
                <a:gd name="T68" fmla="*/ 139 w 231"/>
                <a:gd name="T69" fmla="*/ 202 h 254"/>
                <a:gd name="T70" fmla="*/ 145 w 231"/>
                <a:gd name="T71" fmla="*/ 210 h 254"/>
                <a:gd name="T72" fmla="*/ 152 w 231"/>
                <a:gd name="T73" fmla="*/ 221 h 254"/>
                <a:gd name="T74" fmla="*/ 161 w 231"/>
                <a:gd name="T75" fmla="*/ 229 h 254"/>
                <a:gd name="T76" fmla="*/ 169 w 231"/>
                <a:gd name="T77" fmla="*/ 234 h 254"/>
                <a:gd name="T78" fmla="*/ 174 w 231"/>
                <a:gd name="T79" fmla="*/ 244 h 254"/>
                <a:gd name="T80" fmla="*/ 181 w 231"/>
                <a:gd name="T81" fmla="*/ 247 h 254"/>
                <a:gd name="T82" fmla="*/ 181 w 231"/>
                <a:gd name="T83" fmla="*/ 251 h 254"/>
                <a:gd name="T84" fmla="*/ 189 w 231"/>
                <a:gd name="T85" fmla="*/ 243 h 254"/>
                <a:gd name="T86" fmla="*/ 190 w 231"/>
                <a:gd name="T87" fmla="*/ 231 h 254"/>
                <a:gd name="T88" fmla="*/ 190 w 231"/>
                <a:gd name="T89" fmla="*/ 207 h 254"/>
                <a:gd name="T90" fmla="*/ 179 w 231"/>
                <a:gd name="T91" fmla="*/ 188 h 254"/>
                <a:gd name="T92" fmla="*/ 168 w 231"/>
                <a:gd name="T93" fmla="*/ 167 h 254"/>
                <a:gd name="T94" fmla="*/ 158 w 231"/>
                <a:gd name="T95" fmla="*/ 150 h 254"/>
                <a:gd name="T96" fmla="*/ 152 w 231"/>
                <a:gd name="T97" fmla="*/ 134 h 254"/>
                <a:gd name="T98" fmla="*/ 154 w 231"/>
                <a:gd name="T99" fmla="*/ 118 h 254"/>
                <a:gd name="T100" fmla="*/ 158 w 231"/>
                <a:gd name="T101" fmla="*/ 107 h 254"/>
                <a:gd name="T102" fmla="*/ 164 w 231"/>
                <a:gd name="T103" fmla="*/ 98 h 254"/>
                <a:gd name="T104" fmla="*/ 174 w 231"/>
                <a:gd name="T105" fmla="*/ 88 h 254"/>
                <a:gd name="T106" fmla="*/ 180 w 231"/>
                <a:gd name="T107" fmla="*/ 81 h 254"/>
                <a:gd name="T108" fmla="*/ 190 w 231"/>
                <a:gd name="T109" fmla="*/ 64 h 254"/>
                <a:gd name="T110" fmla="*/ 199 w 231"/>
                <a:gd name="T111" fmla="*/ 58 h 254"/>
                <a:gd name="T112" fmla="*/ 215 w 231"/>
                <a:gd name="T113" fmla="*/ 42 h 254"/>
                <a:gd name="T114" fmla="*/ 223 w 231"/>
                <a:gd name="T115" fmla="*/ 34 h 254"/>
                <a:gd name="T116" fmla="*/ 231 w 231"/>
                <a:gd name="T117" fmla="*/ 26 h 254"/>
                <a:gd name="T118" fmla="*/ 43 w 231"/>
                <a:gd name="T119" fmla="*/ 156 h 254"/>
                <a:gd name="T120" fmla="*/ 143 w 231"/>
                <a:gd name="T121" fmla="*/ 198 h 254"/>
                <a:gd name="T122" fmla="*/ 184 w 231"/>
                <a:gd name="T123" fmla="*/ 245 h 254"/>
                <a:gd name="T124" fmla="*/ 183 w 231"/>
                <a:gd name="T125" fmla="*/ 24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1" h="254">
                  <a:moveTo>
                    <a:pt x="231" y="24"/>
                  </a:moveTo>
                  <a:cubicBezTo>
                    <a:pt x="231" y="21"/>
                    <a:pt x="231" y="21"/>
                    <a:pt x="231" y="21"/>
                  </a:cubicBezTo>
                  <a:cubicBezTo>
                    <a:pt x="231" y="19"/>
                    <a:pt x="231" y="19"/>
                    <a:pt x="231" y="19"/>
                  </a:cubicBezTo>
                  <a:cubicBezTo>
                    <a:pt x="231" y="19"/>
                    <a:pt x="231" y="19"/>
                    <a:pt x="231" y="19"/>
                  </a:cubicBezTo>
                  <a:cubicBezTo>
                    <a:pt x="230" y="17"/>
                    <a:pt x="230" y="17"/>
                    <a:pt x="230" y="17"/>
                  </a:cubicBezTo>
                  <a:cubicBezTo>
                    <a:pt x="230" y="17"/>
                    <a:pt x="230" y="16"/>
                    <a:pt x="230" y="16"/>
                  </a:cubicBezTo>
                  <a:cubicBezTo>
                    <a:pt x="230" y="16"/>
                    <a:pt x="230" y="16"/>
                    <a:pt x="230" y="16"/>
                  </a:cubicBezTo>
                  <a:cubicBezTo>
                    <a:pt x="229" y="15"/>
                    <a:pt x="229" y="15"/>
                    <a:pt x="229" y="15"/>
                  </a:cubicBezTo>
                  <a:cubicBezTo>
                    <a:pt x="229" y="15"/>
                    <a:pt x="229" y="15"/>
                    <a:pt x="229" y="15"/>
                  </a:cubicBezTo>
                  <a:cubicBezTo>
                    <a:pt x="229" y="14"/>
                    <a:pt x="229" y="14"/>
                    <a:pt x="228" y="14"/>
                  </a:cubicBezTo>
                  <a:cubicBezTo>
                    <a:pt x="228" y="14"/>
                    <a:pt x="228" y="14"/>
                    <a:pt x="228" y="14"/>
                  </a:cubicBezTo>
                  <a:cubicBezTo>
                    <a:pt x="228" y="13"/>
                    <a:pt x="228" y="13"/>
                    <a:pt x="228" y="13"/>
                  </a:cubicBezTo>
                  <a:cubicBezTo>
                    <a:pt x="228" y="13"/>
                    <a:pt x="228" y="13"/>
                    <a:pt x="228" y="13"/>
                  </a:cubicBezTo>
                  <a:cubicBezTo>
                    <a:pt x="224" y="8"/>
                    <a:pt x="224" y="8"/>
                    <a:pt x="224" y="8"/>
                  </a:cubicBezTo>
                  <a:cubicBezTo>
                    <a:pt x="222" y="6"/>
                    <a:pt x="222" y="6"/>
                    <a:pt x="222" y="6"/>
                  </a:cubicBezTo>
                  <a:cubicBezTo>
                    <a:pt x="222" y="6"/>
                    <a:pt x="222" y="6"/>
                    <a:pt x="222" y="6"/>
                  </a:cubicBezTo>
                  <a:cubicBezTo>
                    <a:pt x="222" y="5"/>
                    <a:pt x="222" y="5"/>
                    <a:pt x="222" y="5"/>
                  </a:cubicBezTo>
                  <a:cubicBezTo>
                    <a:pt x="222" y="4"/>
                    <a:pt x="222" y="4"/>
                    <a:pt x="222" y="4"/>
                  </a:cubicBezTo>
                  <a:cubicBezTo>
                    <a:pt x="222" y="4"/>
                    <a:pt x="222" y="4"/>
                    <a:pt x="222" y="4"/>
                  </a:cubicBezTo>
                  <a:cubicBezTo>
                    <a:pt x="221" y="1"/>
                    <a:pt x="221" y="1"/>
                    <a:pt x="221" y="1"/>
                  </a:cubicBezTo>
                  <a:cubicBezTo>
                    <a:pt x="220" y="1"/>
                    <a:pt x="220" y="0"/>
                    <a:pt x="220" y="0"/>
                  </a:cubicBezTo>
                  <a:cubicBezTo>
                    <a:pt x="220" y="0"/>
                    <a:pt x="220" y="0"/>
                    <a:pt x="220" y="0"/>
                  </a:cubicBezTo>
                  <a:cubicBezTo>
                    <a:pt x="219" y="0"/>
                    <a:pt x="219" y="0"/>
                    <a:pt x="219" y="0"/>
                  </a:cubicBezTo>
                  <a:cubicBezTo>
                    <a:pt x="219" y="1"/>
                    <a:pt x="219" y="1"/>
                    <a:pt x="219" y="1"/>
                  </a:cubicBezTo>
                  <a:cubicBezTo>
                    <a:pt x="220" y="2"/>
                    <a:pt x="220" y="2"/>
                    <a:pt x="220" y="2"/>
                  </a:cubicBezTo>
                  <a:cubicBezTo>
                    <a:pt x="220" y="2"/>
                    <a:pt x="220" y="3"/>
                    <a:pt x="220" y="3"/>
                  </a:cubicBezTo>
                  <a:cubicBezTo>
                    <a:pt x="220" y="3"/>
                    <a:pt x="220" y="3"/>
                    <a:pt x="220" y="3"/>
                  </a:cubicBezTo>
                  <a:cubicBezTo>
                    <a:pt x="220" y="3"/>
                    <a:pt x="220" y="3"/>
                    <a:pt x="220" y="3"/>
                  </a:cubicBezTo>
                  <a:cubicBezTo>
                    <a:pt x="219" y="4"/>
                    <a:pt x="219" y="4"/>
                    <a:pt x="219" y="4"/>
                  </a:cubicBezTo>
                  <a:cubicBezTo>
                    <a:pt x="219" y="4"/>
                    <a:pt x="219" y="4"/>
                    <a:pt x="219" y="4"/>
                  </a:cubicBezTo>
                  <a:cubicBezTo>
                    <a:pt x="219" y="4"/>
                    <a:pt x="219" y="4"/>
                    <a:pt x="219" y="4"/>
                  </a:cubicBezTo>
                  <a:cubicBezTo>
                    <a:pt x="220" y="4"/>
                    <a:pt x="220" y="4"/>
                    <a:pt x="220" y="4"/>
                  </a:cubicBezTo>
                  <a:cubicBezTo>
                    <a:pt x="220" y="4"/>
                    <a:pt x="220" y="4"/>
                    <a:pt x="220" y="4"/>
                  </a:cubicBezTo>
                  <a:cubicBezTo>
                    <a:pt x="220" y="4"/>
                    <a:pt x="220" y="4"/>
                    <a:pt x="220" y="4"/>
                  </a:cubicBezTo>
                  <a:cubicBezTo>
                    <a:pt x="220" y="4"/>
                    <a:pt x="220" y="4"/>
                    <a:pt x="220" y="4"/>
                  </a:cubicBezTo>
                  <a:cubicBezTo>
                    <a:pt x="220" y="5"/>
                    <a:pt x="220" y="5"/>
                    <a:pt x="220" y="5"/>
                  </a:cubicBezTo>
                  <a:cubicBezTo>
                    <a:pt x="220" y="5"/>
                    <a:pt x="220" y="5"/>
                    <a:pt x="220" y="5"/>
                  </a:cubicBezTo>
                  <a:cubicBezTo>
                    <a:pt x="220" y="6"/>
                    <a:pt x="220" y="6"/>
                    <a:pt x="220" y="6"/>
                  </a:cubicBezTo>
                  <a:cubicBezTo>
                    <a:pt x="220" y="6"/>
                    <a:pt x="220" y="6"/>
                    <a:pt x="220" y="6"/>
                  </a:cubicBezTo>
                  <a:cubicBezTo>
                    <a:pt x="220" y="6"/>
                    <a:pt x="220" y="6"/>
                    <a:pt x="220" y="6"/>
                  </a:cubicBezTo>
                  <a:cubicBezTo>
                    <a:pt x="220" y="6"/>
                    <a:pt x="220" y="6"/>
                    <a:pt x="220" y="6"/>
                  </a:cubicBezTo>
                  <a:cubicBezTo>
                    <a:pt x="221" y="7"/>
                    <a:pt x="221" y="7"/>
                    <a:pt x="221" y="7"/>
                  </a:cubicBezTo>
                  <a:cubicBezTo>
                    <a:pt x="221" y="7"/>
                    <a:pt x="221" y="7"/>
                    <a:pt x="221" y="7"/>
                  </a:cubicBezTo>
                  <a:cubicBezTo>
                    <a:pt x="221" y="7"/>
                    <a:pt x="221" y="7"/>
                    <a:pt x="221" y="7"/>
                  </a:cubicBezTo>
                  <a:cubicBezTo>
                    <a:pt x="222" y="7"/>
                    <a:pt x="222" y="7"/>
                    <a:pt x="222" y="7"/>
                  </a:cubicBezTo>
                  <a:cubicBezTo>
                    <a:pt x="222" y="8"/>
                    <a:pt x="222" y="8"/>
                    <a:pt x="222" y="8"/>
                  </a:cubicBezTo>
                  <a:cubicBezTo>
                    <a:pt x="222" y="8"/>
                    <a:pt x="222" y="8"/>
                    <a:pt x="222" y="8"/>
                  </a:cubicBezTo>
                  <a:cubicBezTo>
                    <a:pt x="222" y="8"/>
                    <a:pt x="222" y="8"/>
                    <a:pt x="222" y="8"/>
                  </a:cubicBezTo>
                  <a:cubicBezTo>
                    <a:pt x="222" y="9"/>
                    <a:pt x="222" y="9"/>
                    <a:pt x="222" y="9"/>
                  </a:cubicBezTo>
                  <a:cubicBezTo>
                    <a:pt x="222" y="9"/>
                    <a:pt x="222" y="9"/>
                    <a:pt x="222" y="9"/>
                  </a:cubicBezTo>
                  <a:cubicBezTo>
                    <a:pt x="222" y="10"/>
                    <a:pt x="222" y="10"/>
                    <a:pt x="222" y="10"/>
                  </a:cubicBezTo>
                  <a:cubicBezTo>
                    <a:pt x="221" y="11"/>
                    <a:pt x="221" y="11"/>
                    <a:pt x="221" y="11"/>
                  </a:cubicBezTo>
                  <a:cubicBezTo>
                    <a:pt x="220" y="10"/>
                    <a:pt x="220" y="10"/>
                    <a:pt x="220" y="10"/>
                  </a:cubicBezTo>
                  <a:cubicBezTo>
                    <a:pt x="220" y="10"/>
                    <a:pt x="220" y="10"/>
                    <a:pt x="220" y="10"/>
                  </a:cubicBezTo>
                  <a:cubicBezTo>
                    <a:pt x="220" y="10"/>
                    <a:pt x="220" y="11"/>
                    <a:pt x="220" y="11"/>
                  </a:cubicBezTo>
                  <a:cubicBezTo>
                    <a:pt x="222" y="11"/>
                    <a:pt x="222" y="11"/>
                    <a:pt x="222" y="11"/>
                  </a:cubicBezTo>
                  <a:cubicBezTo>
                    <a:pt x="223" y="11"/>
                    <a:pt x="223" y="11"/>
                    <a:pt x="223" y="11"/>
                  </a:cubicBezTo>
                  <a:cubicBezTo>
                    <a:pt x="223" y="11"/>
                    <a:pt x="223" y="11"/>
                    <a:pt x="223" y="11"/>
                  </a:cubicBezTo>
                  <a:cubicBezTo>
                    <a:pt x="223" y="11"/>
                    <a:pt x="223" y="11"/>
                    <a:pt x="223" y="11"/>
                  </a:cubicBezTo>
                  <a:cubicBezTo>
                    <a:pt x="223" y="11"/>
                    <a:pt x="223" y="11"/>
                    <a:pt x="223" y="11"/>
                  </a:cubicBezTo>
                  <a:cubicBezTo>
                    <a:pt x="227" y="13"/>
                    <a:pt x="227" y="13"/>
                    <a:pt x="227" y="13"/>
                  </a:cubicBezTo>
                  <a:cubicBezTo>
                    <a:pt x="224" y="13"/>
                    <a:pt x="224" y="13"/>
                    <a:pt x="224" y="13"/>
                  </a:cubicBezTo>
                  <a:cubicBezTo>
                    <a:pt x="224" y="13"/>
                    <a:pt x="224" y="13"/>
                    <a:pt x="224" y="13"/>
                  </a:cubicBezTo>
                  <a:cubicBezTo>
                    <a:pt x="224" y="13"/>
                    <a:pt x="224" y="13"/>
                    <a:pt x="224" y="13"/>
                  </a:cubicBezTo>
                  <a:cubicBezTo>
                    <a:pt x="225" y="14"/>
                    <a:pt x="225" y="14"/>
                    <a:pt x="225" y="14"/>
                  </a:cubicBezTo>
                  <a:cubicBezTo>
                    <a:pt x="224" y="14"/>
                    <a:pt x="224" y="14"/>
                    <a:pt x="224" y="14"/>
                  </a:cubicBezTo>
                  <a:cubicBezTo>
                    <a:pt x="224" y="14"/>
                    <a:pt x="224" y="14"/>
                    <a:pt x="224" y="14"/>
                  </a:cubicBezTo>
                  <a:cubicBezTo>
                    <a:pt x="226" y="16"/>
                    <a:pt x="226" y="16"/>
                    <a:pt x="226" y="16"/>
                  </a:cubicBezTo>
                  <a:cubicBezTo>
                    <a:pt x="225" y="16"/>
                    <a:pt x="225" y="16"/>
                    <a:pt x="225" y="16"/>
                  </a:cubicBezTo>
                  <a:cubicBezTo>
                    <a:pt x="225" y="17"/>
                    <a:pt x="225" y="17"/>
                    <a:pt x="225" y="17"/>
                  </a:cubicBezTo>
                  <a:cubicBezTo>
                    <a:pt x="225" y="18"/>
                    <a:pt x="225" y="18"/>
                    <a:pt x="225" y="18"/>
                  </a:cubicBezTo>
                  <a:cubicBezTo>
                    <a:pt x="225" y="19"/>
                    <a:pt x="225" y="19"/>
                    <a:pt x="225" y="19"/>
                  </a:cubicBezTo>
                  <a:cubicBezTo>
                    <a:pt x="225" y="19"/>
                    <a:pt x="225" y="19"/>
                    <a:pt x="225" y="19"/>
                  </a:cubicBezTo>
                  <a:cubicBezTo>
                    <a:pt x="225" y="19"/>
                    <a:pt x="225" y="19"/>
                    <a:pt x="225" y="19"/>
                  </a:cubicBezTo>
                  <a:cubicBezTo>
                    <a:pt x="225" y="20"/>
                    <a:pt x="225" y="20"/>
                    <a:pt x="225" y="20"/>
                  </a:cubicBezTo>
                  <a:cubicBezTo>
                    <a:pt x="225" y="20"/>
                    <a:pt x="225" y="20"/>
                    <a:pt x="225" y="20"/>
                  </a:cubicBezTo>
                  <a:cubicBezTo>
                    <a:pt x="225" y="21"/>
                    <a:pt x="225" y="21"/>
                    <a:pt x="225" y="21"/>
                  </a:cubicBezTo>
                  <a:cubicBezTo>
                    <a:pt x="224" y="21"/>
                    <a:pt x="224" y="21"/>
                    <a:pt x="224" y="21"/>
                  </a:cubicBezTo>
                  <a:cubicBezTo>
                    <a:pt x="223" y="21"/>
                    <a:pt x="223" y="21"/>
                    <a:pt x="223" y="21"/>
                  </a:cubicBezTo>
                  <a:cubicBezTo>
                    <a:pt x="223" y="21"/>
                    <a:pt x="223" y="21"/>
                    <a:pt x="223" y="21"/>
                  </a:cubicBezTo>
                  <a:cubicBezTo>
                    <a:pt x="223" y="21"/>
                    <a:pt x="223" y="21"/>
                    <a:pt x="223" y="21"/>
                  </a:cubicBezTo>
                  <a:cubicBezTo>
                    <a:pt x="222" y="22"/>
                    <a:pt x="222" y="22"/>
                    <a:pt x="222" y="22"/>
                  </a:cubicBezTo>
                  <a:cubicBezTo>
                    <a:pt x="222" y="22"/>
                    <a:pt x="222" y="22"/>
                    <a:pt x="222" y="22"/>
                  </a:cubicBezTo>
                  <a:cubicBezTo>
                    <a:pt x="222" y="22"/>
                    <a:pt x="222" y="22"/>
                    <a:pt x="222" y="22"/>
                  </a:cubicBezTo>
                  <a:cubicBezTo>
                    <a:pt x="222" y="22"/>
                    <a:pt x="222" y="22"/>
                    <a:pt x="222" y="22"/>
                  </a:cubicBezTo>
                  <a:cubicBezTo>
                    <a:pt x="223" y="22"/>
                    <a:pt x="223" y="22"/>
                    <a:pt x="223" y="22"/>
                  </a:cubicBezTo>
                  <a:cubicBezTo>
                    <a:pt x="222" y="23"/>
                    <a:pt x="222" y="23"/>
                    <a:pt x="222" y="23"/>
                  </a:cubicBezTo>
                  <a:cubicBezTo>
                    <a:pt x="222" y="24"/>
                    <a:pt x="222" y="24"/>
                    <a:pt x="222" y="24"/>
                  </a:cubicBezTo>
                  <a:cubicBezTo>
                    <a:pt x="222" y="24"/>
                    <a:pt x="222" y="24"/>
                    <a:pt x="222" y="24"/>
                  </a:cubicBezTo>
                  <a:cubicBezTo>
                    <a:pt x="222" y="24"/>
                    <a:pt x="222" y="24"/>
                    <a:pt x="222" y="24"/>
                  </a:cubicBezTo>
                  <a:cubicBezTo>
                    <a:pt x="222" y="24"/>
                    <a:pt x="222" y="24"/>
                    <a:pt x="222" y="24"/>
                  </a:cubicBezTo>
                  <a:cubicBezTo>
                    <a:pt x="223" y="24"/>
                    <a:pt x="223" y="24"/>
                    <a:pt x="223" y="24"/>
                  </a:cubicBezTo>
                  <a:cubicBezTo>
                    <a:pt x="223" y="24"/>
                    <a:pt x="223" y="24"/>
                    <a:pt x="223" y="24"/>
                  </a:cubicBezTo>
                  <a:cubicBezTo>
                    <a:pt x="223" y="24"/>
                    <a:pt x="223" y="24"/>
                    <a:pt x="223" y="24"/>
                  </a:cubicBezTo>
                  <a:cubicBezTo>
                    <a:pt x="223" y="24"/>
                    <a:pt x="223" y="24"/>
                    <a:pt x="223" y="24"/>
                  </a:cubicBezTo>
                  <a:cubicBezTo>
                    <a:pt x="223" y="23"/>
                    <a:pt x="223" y="23"/>
                    <a:pt x="223" y="23"/>
                  </a:cubicBezTo>
                  <a:cubicBezTo>
                    <a:pt x="223" y="23"/>
                    <a:pt x="223" y="23"/>
                    <a:pt x="223" y="23"/>
                  </a:cubicBezTo>
                  <a:cubicBezTo>
                    <a:pt x="223" y="23"/>
                    <a:pt x="223" y="22"/>
                    <a:pt x="223" y="22"/>
                  </a:cubicBezTo>
                  <a:cubicBezTo>
                    <a:pt x="223" y="22"/>
                    <a:pt x="223" y="22"/>
                    <a:pt x="223" y="22"/>
                  </a:cubicBezTo>
                  <a:cubicBezTo>
                    <a:pt x="223" y="22"/>
                    <a:pt x="224" y="22"/>
                    <a:pt x="224" y="22"/>
                  </a:cubicBezTo>
                  <a:cubicBezTo>
                    <a:pt x="224" y="22"/>
                    <a:pt x="224" y="22"/>
                    <a:pt x="224" y="22"/>
                  </a:cubicBezTo>
                  <a:cubicBezTo>
                    <a:pt x="224" y="22"/>
                    <a:pt x="224" y="22"/>
                    <a:pt x="224" y="22"/>
                  </a:cubicBezTo>
                  <a:cubicBezTo>
                    <a:pt x="225" y="22"/>
                    <a:pt x="225" y="21"/>
                    <a:pt x="225" y="21"/>
                  </a:cubicBezTo>
                  <a:cubicBezTo>
                    <a:pt x="226" y="21"/>
                    <a:pt x="226" y="21"/>
                    <a:pt x="226" y="21"/>
                  </a:cubicBezTo>
                  <a:cubicBezTo>
                    <a:pt x="226" y="20"/>
                    <a:pt x="226" y="20"/>
                    <a:pt x="226" y="20"/>
                  </a:cubicBezTo>
                  <a:cubicBezTo>
                    <a:pt x="226" y="20"/>
                    <a:pt x="226" y="20"/>
                    <a:pt x="226" y="20"/>
                  </a:cubicBezTo>
                  <a:cubicBezTo>
                    <a:pt x="226" y="20"/>
                    <a:pt x="226" y="19"/>
                    <a:pt x="226" y="19"/>
                  </a:cubicBezTo>
                  <a:cubicBezTo>
                    <a:pt x="226" y="19"/>
                    <a:pt x="226" y="19"/>
                    <a:pt x="226" y="19"/>
                  </a:cubicBezTo>
                  <a:cubicBezTo>
                    <a:pt x="226" y="18"/>
                    <a:pt x="226" y="18"/>
                    <a:pt x="226" y="18"/>
                  </a:cubicBezTo>
                  <a:cubicBezTo>
                    <a:pt x="226" y="18"/>
                    <a:pt x="226" y="18"/>
                    <a:pt x="226" y="17"/>
                  </a:cubicBezTo>
                  <a:cubicBezTo>
                    <a:pt x="226" y="17"/>
                    <a:pt x="226" y="17"/>
                    <a:pt x="226" y="17"/>
                  </a:cubicBezTo>
                  <a:cubicBezTo>
                    <a:pt x="226" y="17"/>
                    <a:pt x="226" y="16"/>
                    <a:pt x="226" y="16"/>
                  </a:cubicBezTo>
                  <a:cubicBezTo>
                    <a:pt x="225" y="16"/>
                    <a:pt x="225" y="16"/>
                    <a:pt x="225" y="16"/>
                  </a:cubicBezTo>
                  <a:cubicBezTo>
                    <a:pt x="226" y="16"/>
                    <a:pt x="226" y="16"/>
                    <a:pt x="226" y="16"/>
                  </a:cubicBezTo>
                  <a:cubicBezTo>
                    <a:pt x="226" y="16"/>
                    <a:pt x="226" y="16"/>
                    <a:pt x="226" y="16"/>
                  </a:cubicBezTo>
                  <a:cubicBezTo>
                    <a:pt x="226" y="16"/>
                    <a:pt x="226" y="16"/>
                    <a:pt x="226" y="16"/>
                  </a:cubicBezTo>
                  <a:cubicBezTo>
                    <a:pt x="226" y="16"/>
                    <a:pt x="226" y="16"/>
                    <a:pt x="226" y="16"/>
                  </a:cubicBezTo>
                  <a:cubicBezTo>
                    <a:pt x="227" y="16"/>
                    <a:pt x="227" y="16"/>
                    <a:pt x="227" y="16"/>
                  </a:cubicBezTo>
                  <a:cubicBezTo>
                    <a:pt x="227" y="16"/>
                    <a:pt x="227" y="16"/>
                    <a:pt x="227" y="16"/>
                  </a:cubicBezTo>
                  <a:cubicBezTo>
                    <a:pt x="227" y="16"/>
                    <a:pt x="227" y="16"/>
                    <a:pt x="227" y="16"/>
                  </a:cubicBezTo>
                  <a:cubicBezTo>
                    <a:pt x="227" y="17"/>
                    <a:pt x="227" y="17"/>
                    <a:pt x="228" y="17"/>
                  </a:cubicBezTo>
                  <a:cubicBezTo>
                    <a:pt x="228" y="17"/>
                    <a:pt x="228" y="17"/>
                    <a:pt x="228" y="17"/>
                  </a:cubicBezTo>
                  <a:cubicBezTo>
                    <a:pt x="228" y="18"/>
                    <a:pt x="228" y="18"/>
                    <a:pt x="228" y="18"/>
                  </a:cubicBezTo>
                  <a:cubicBezTo>
                    <a:pt x="229" y="19"/>
                    <a:pt x="229" y="19"/>
                    <a:pt x="229" y="19"/>
                  </a:cubicBezTo>
                  <a:cubicBezTo>
                    <a:pt x="229" y="21"/>
                    <a:pt x="229" y="21"/>
                    <a:pt x="229" y="21"/>
                  </a:cubicBezTo>
                  <a:cubicBezTo>
                    <a:pt x="229" y="21"/>
                    <a:pt x="229" y="21"/>
                    <a:pt x="229" y="21"/>
                  </a:cubicBezTo>
                  <a:cubicBezTo>
                    <a:pt x="229" y="22"/>
                    <a:pt x="229" y="22"/>
                    <a:pt x="229" y="22"/>
                  </a:cubicBezTo>
                  <a:cubicBezTo>
                    <a:pt x="229" y="25"/>
                    <a:pt x="229" y="25"/>
                    <a:pt x="229" y="25"/>
                  </a:cubicBezTo>
                  <a:cubicBezTo>
                    <a:pt x="227" y="26"/>
                    <a:pt x="227" y="26"/>
                    <a:pt x="227" y="26"/>
                  </a:cubicBezTo>
                  <a:cubicBezTo>
                    <a:pt x="227" y="26"/>
                    <a:pt x="227" y="26"/>
                    <a:pt x="227" y="26"/>
                  </a:cubicBezTo>
                  <a:cubicBezTo>
                    <a:pt x="227" y="26"/>
                    <a:pt x="226" y="26"/>
                    <a:pt x="226" y="27"/>
                  </a:cubicBezTo>
                  <a:cubicBezTo>
                    <a:pt x="226" y="27"/>
                    <a:pt x="226" y="27"/>
                    <a:pt x="226" y="27"/>
                  </a:cubicBezTo>
                  <a:cubicBezTo>
                    <a:pt x="226" y="27"/>
                    <a:pt x="226" y="27"/>
                    <a:pt x="226" y="27"/>
                  </a:cubicBezTo>
                  <a:cubicBezTo>
                    <a:pt x="226" y="27"/>
                    <a:pt x="226" y="27"/>
                    <a:pt x="225" y="27"/>
                  </a:cubicBezTo>
                  <a:cubicBezTo>
                    <a:pt x="224" y="28"/>
                    <a:pt x="224" y="28"/>
                    <a:pt x="224" y="28"/>
                  </a:cubicBezTo>
                  <a:cubicBezTo>
                    <a:pt x="224" y="28"/>
                    <a:pt x="224" y="28"/>
                    <a:pt x="224" y="28"/>
                  </a:cubicBezTo>
                  <a:cubicBezTo>
                    <a:pt x="224" y="29"/>
                    <a:pt x="224" y="29"/>
                    <a:pt x="224" y="29"/>
                  </a:cubicBezTo>
                  <a:cubicBezTo>
                    <a:pt x="223" y="29"/>
                    <a:pt x="223" y="29"/>
                    <a:pt x="223" y="29"/>
                  </a:cubicBezTo>
                  <a:cubicBezTo>
                    <a:pt x="223" y="29"/>
                    <a:pt x="222" y="29"/>
                    <a:pt x="222" y="30"/>
                  </a:cubicBezTo>
                  <a:cubicBezTo>
                    <a:pt x="222" y="30"/>
                    <a:pt x="222" y="30"/>
                    <a:pt x="222" y="30"/>
                  </a:cubicBezTo>
                  <a:cubicBezTo>
                    <a:pt x="222" y="30"/>
                    <a:pt x="222" y="30"/>
                    <a:pt x="222" y="30"/>
                  </a:cubicBezTo>
                  <a:cubicBezTo>
                    <a:pt x="222" y="30"/>
                    <a:pt x="221" y="31"/>
                    <a:pt x="221" y="31"/>
                  </a:cubicBezTo>
                  <a:cubicBezTo>
                    <a:pt x="221" y="31"/>
                    <a:pt x="221" y="31"/>
                    <a:pt x="221" y="32"/>
                  </a:cubicBezTo>
                  <a:cubicBezTo>
                    <a:pt x="221" y="33"/>
                    <a:pt x="221" y="33"/>
                    <a:pt x="221" y="33"/>
                  </a:cubicBezTo>
                  <a:cubicBezTo>
                    <a:pt x="221" y="33"/>
                    <a:pt x="221" y="33"/>
                    <a:pt x="221" y="33"/>
                  </a:cubicBezTo>
                  <a:cubicBezTo>
                    <a:pt x="221" y="33"/>
                    <a:pt x="221" y="33"/>
                    <a:pt x="221" y="33"/>
                  </a:cubicBezTo>
                  <a:cubicBezTo>
                    <a:pt x="221" y="33"/>
                    <a:pt x="221" y="33"/>
                    <a:pt x="221" y="33"/>
                  </a:cubicBezTo>
                  <a:cubicBezTo>
                    <a:pt x="221" y="33"/>
                    <a:pt x="221" y="33"/>
                    <a:pt x="220" y="33"/>
                  </a:cubicBezTo>
                  <a:cubicBezTo>
                    <a:pt x="220" y="33"/>
                    <a:pt x="220" y="33"/>
                    <a:pt x="220" y="33"/>
                  </a:cubicBezTo>
                  <a:cubicBezTo>
                    <a:pt x="220" y="33"/>
                    <a:pt x="220" y="33"/>
                    <a:pt x="219" y="33"/>
                  </a:cubicBezTo>
                  <a:cubicBezTo>
                    <a:pt x="219" y="33"/>
                    <a:pt x="219" y="33"/>
                    <a:pt x="219" y="33"/>
                  </a:cubicBezTo>
                  <a:cubicBezTo>
                    <a:pt x="219" y="32"/>
                    <a:pt x="219" y="32"/>
                    <a:pt x="219" y="32"/>
                  </a:cubicBezTo>
                  <a:cubicBezTo>
                    <a:pt x="219" y="32"/>
                    <a:pt x="219" y="32"/>
                    <a:pt x="218" y="32"/>
                  </a:cubicBezTo>
                  <a:cubicBezTo>
                    <a:pt x="218" y="32"/>
                    <a:pt x="218" y="32"/>
                    <a:pt x="218" y="32"/>
                  </a:cubicBezTo>
                  <a:cubicBezTo>
                    <a:pt x="218" y="32"/>
                    <a:pt x="218" y="32"/>
                    <a:pt x="218" y="33"/>
                  </a:cubicBezTo>
                  <a:cubicBezTo>
                    <a:pt x="217" y="32"/>
                    <a:pt x="217" y="32"/>
                    <a:pt x="217" y="32"/>
                  </a:cubicBezTo>
                  <a:cubicBezTo>
                    <a:pt x="217" y="32"/>
                    <a:pt x="216" y="31"/>
                    <a:pt x="216" y="32"/>
                  </a:cubicBezTo>
                  <a:cubicBezTo>
                    <a:pt x="216" y="31"/>
                    <a:pt x="216" y="31"/>
                    <a:pt x="216" y="31"/>
                  </a:cubicBezTo>
                  <a:cubicBezTo>
                    <a:pt x="216" y="31"/>
                    <a:pt x="216" y="31"/>
                    <a:pt x="215" y="31"/>
                  </a:cubicBezTo>
                  <a:cubicBezTo>
                    <a:pt x="216" y="31"/>
                    <a:pt x="216" y="31"/>
                    <a:pt x="216" y="31"/>
                  </a:cubicBezTo>
                  <a:cubicBezTo>
                    <a:pt x="216" y="30"/>
                    <a:pt x="216" y="30"/>
                    <a:pt x="216" y="30"/>
                  </a:cubicBezTo>
                  <a:cubicBezTo>
                    <a:pt x="216" y="29"/>
                    <a:pt x="216" y="29"/>
                    <a:pt x="216" y="29"/>
                  </a:cubicBezTo>
                  <a:cubicBezTo>
                    <a:pt x="216" y="29"/>
                    <a:pt x="216" y="28"/>
                    <a:pt x="216" y="28"/>
                  </a:cubicBezTo>
                  <a:cubicBezTo>
                    <a:pt x="216" y="28"/>
                    <a:pt x="216" y="28"/>
                    <a:pt x="216" y="28"/>
                  </a:cubicBezTo>
                  <a:cubicBezTo>
                    <a:pt x="216" y="28"/>
                    <a:pt x="216" y="28"/>
                    <a:pt x="216" y="28"/>
                  </a:cubicBezTo>
                  <a:cubicBezTo>
                    <a:pt x="216" y="28"/>
                    <a:pt x="217" y="28"/>
                    <a:pt x="217" y="28"/>
                  </a:cubicBezTo>
                  <a:cubicBezTo>
                    <a:pt x="217" y="28"/>
                    <a:pt x="217" y="28"/>
                    <a:pt x="217" y="28"/>
                  </a:cubicBezTo>
                  <a:cubicBezTo>
                    <a:pt x="217" y="27"/>
                    <a:pt x="217" y="27"/>
                    <a:pt x="217" y="27"/>
                  </a:cubicBezTo>
                  <a:cubicBezTo>
                    <a:pt x="216" y="27"/>
                    <a:pt x="216" y="27"/>
                    <a:pt x="216" y="27"/>
                  </a:cubicBezTo>
                  <a:cubicBezTo>
                    <a:pt x="216" y="27"/>
                    <a:pt x="216" y="27"/>
                    <a:pt x="216" y="27"/>
                  </a:cubicBezTo>
                  <a:cubicBezTo>
                    <a:pt x="216" y="27"/>
                    <a:pt x="216" y="27"/>
                    <a:pt x="216" y="27"/>
                  </a:cubicBezTo>
                  <a:cubicBezTo>
                    <a:pt x="215" y="27"/>
                    <a:pt x="215" y="27"/>
                    <a:pt x="215" y="27"/>
                  </a:cubicBezTo>
                  <a:cubicBezTo>
                    <a:pt x="215" y="28"/>
                    <a:pt x="215" y="28"/>
                    <a:pt x="215" y="28"/>
                  </a:cubicBezTo>
                  <a:cubicBezTo>
                    <a:pt x="215" y="28"/>
                    <a:pt x="215" y="28"/>
                    <a:pt x="215" y="28"/>
                  </a:cubicBezTo>
                  <a:cubicBezTo>
                    <a:pt x="215" y="28"/>
                    <a:pt x="215" y="28"/>
                    <a:pt x="215" y="28"/>
                  </a:cubicBezTo>
                  <a:cubicBezTo>
                    <a:pt x="214" y="29"/>
                    <a:pt x="214" y="29"/>
                    <a:pt x="214" y="29"/>
                  </a:cubicBezTo>
                  <a:cubicBezTo>
                    <a:pt x="214" y="29"/>
                    <a:pt x="214" y="29"/>
                    <a:pt x="214" y="29"/>
                  </a:cubicBezTo>
                  <a:cubicBezTo>
                    <a:pt x="214" y="29"/>
                    <a:pt x="214" y="29"/>
                    <a:pt x="214" y="29"/>
                  </a:cubicBezTo>
                  <a:cubicBezTo>
                    <a:pt x="214" y="28"/>
                    <a:pt x="214" y="28"/>
                    <a:pt x="214" y="28"/>
                  </a:cubicBezTo>
                  <a:cubicBezTo>
                    <a:pt x="214" y="27"/>
                    <a:pt x="214" y="27"/>
                    <a:pt x="214" y="27"/>
                  </a:cubicBezTo>
                  <a:cubicBezTo>
                    <a:pt x="213" y="28"/>
                    <a:pt x="213" y="28"/>
                    <a:pt x="213" y="28"/>
                  </a:cubicBezTo>
                  <a:cubicBezTo>
                    <a:pt x="213" y="28"/>
                    <a:pt x="213" y="28"/>
                    <a:pt x="213" y="28"/>
                  </a:cubicBezTo>
                  <a:cubicBezTo>
                    <a:pt x="213" y="28"/>
                    <a:pt x="213" y="28"/>
                    <a:pt x="213" y="28"/>
                  </a:cubicBezTo>
                  <a:cubicBezTo>
                    <a:pt x="213" y="28"/>
                    <a:pt x="213" y="28"/>
                    <a:pt x="213" y="28"/>
                  </a:cubicBezTo>
                  <a:cubicBezTo>
                    <a:pt x="212" y="28"/>
                    <a:pt x="212" y="28"/>
                    <a:pt x="212" y="28"/>
                  </a:cubicBezTo>
                  <a:cubicBezTo>
                    <a:pt x="212" y="28"/>
                    <a:pt x="212" y="28"/>
                    <a:pt x="212" y="28"/>
                  </a:cubicBezTo>
                  <a:cubicBezTo>
                    <a:pt x="211" y="27"/>
                    <a:pt x="211" y="27"/>
                    <a:pt x="211" y="27"/>
                  </a:cubicBezTo>
                  <a:cubicBezTo>
                    <a:pt x="211" y="27"/>
                    <a:pt x="211" y="27"/>
                    <a:pt x="211" y="27"/>
                  </a:cubicBezTo>
                  <a:cubicBezTo>
                    <a:pt x="211" y="27"/>
                    <a:pt x="211" y="27"/>
                    <a:pt x="211" y="27"/>
                  </a:cubicBezTo>
                  <a:cubicBezTo>
                    <a:pt x="210" y="27"/>
                    <a:pt x="210" y="27"/>
                    <a:pt x="210" y="27"/>
                  </a:cubicBezTo>
                  <a:cubicBezTo>
                    <a:pt x="210" y="27"/>
                    <a:pt x="210" y="27"/>
                    <a:pt x="210" y="27"/>
                  </a:cubicBezTo>
                  <a:cubicBezTo>
                    <a:pt x="210" y="27"/>
                    <a:pt x="210" y="27"/>
                    <a:pt x="210" y="27"/>
                  </a:cubicBezTo>
                  <a:cubicBezTo>
                    <a:pt x="210" y="27"/>
                    <a:pt x="210" y="27"/>
                    <a:pt x="210" y="27"/>
                  </a:cubicBezTo>
                  <a:cubicBezTo>
                    <a:pt x="209" y="29"/>
                    <a:pt x="209" y="29"/>
                    <a:pt x="209" y="29"/>
                  </a:cubicBezTo>
                  <a:cubicBezTo>
                    <a:pt x="208" y="27"/>
                    <a:pt x="208" y="27"/>
                    <a:pt x="208" y="27"/>
                  </a:cubicBezTo>
                  <a:cubicBezTo>
                    <a:pt x="208" y="27"/>
                    <a:pt x="208" y="27"/>
                    <a:pt x="208" y="27"/>
                  </a:cubicBezTo>
                  <a:cubicBezTo>
                    <a:pt x="208" y="27"/>
                    <a:pt x="208" y="27"/>
                    <a:pt x="208" y="27"/>
                  </a:cubicBezTo>
                  <a:cubicBezTo>
                    <a:pt x="208" y="27"/>
                    <a:pt x="208" y="27"/>
                    <a:pt x="208" y="27"/>
                  </a:cubicBezTo>
                  <a:cubicBezTo>
                    <a:pt x="208" y="28"/>
                    <a:pt x="208" y="28"/>
                    <a:pt x="208" y="28"/>
                  </a:cubicBezTo>
                  <a:cubicBezTo>
                    <a:pt x="207" y="27"/>
                    <a:pt x="207" y="27"/>
                    <a:pt x="207" y="27"/>
                  </a:cubicBezTo>
                  <a:cubicBezTo>
                    <a:pt x="207" y="27"/>
                    <a:pt x="207" y="27"/>
                    <a:pt x="207" y="27"/>
                  </a:cubicBezTo>
                  <a:cubicBezTo>
                    <a:pt x="207" y="27"/>
                    <a:pt x="207" y="27"/>
                    <a:pt x="207" y="27"/>
                  </a:cubicBezTo>
                  <a:cubicBezTo>
                    <a:pt x="206" y="27"/>
                    <a:pt x="206" y="27"/>
                    <a:pt x="206" y="27"/>
                  </a:cubicBezTo>
                  <a:cubicBezTo>
                    <a:pt x="206" y="27"/>
                    <a:pt x="206" y="27"/>
                    <a:pt x="206" y="27"/>
                  </a:cubicBezTo>
                  <a:cubicBezTo>
                    <a:pt x="205" y="27"/>
                    <a:pt x="205" y="27"/>
                    <a:pt x="205" y="27"/>
                  </a:cubicBezTo>
                  <a:cubicBezTo>
                    <a:pt x="205" y="26"/>
                    <a:pt x="205" y="26"/>
                    <a:pt x="205" y="26"/>
                  </a:cubicBezTo>
                  <a:cubicBezTo>
                    <a:pt x="205" y="26"/>
                    <a:pt x="205" y="26"/>
                    <a:pt x="205" y="26"/>
                  </a:cubicBezTo>
                  <a:cubicBezTo>
                    <a:pt x="205" y="26"/>
                    <a:pt x="205" y="26"/>
                    <a:pt x="205" y="26"/>
                  </a:cubicBezTo>
                  <a:cubicBezTo>
                    <a:pt x="205" y="27"/>
                    <a:pt x="205" y="27"/>
                    <a:pt x="205" y="27"/>
                  </a:cubicBezTo>
                  <a:cubicBezTo>
                    <a:pt x="204" y="26"/>
                    <a:pt x="204" y="26"/>
                    <a:pt x="204" y="26"/>
                  </a:cubicBezTo>
                  <a:cubicBezTo>
                    <a:pt x="204" y="26"/>
                    <a:pt x="204" y="26"/>
                    <a:pt x="204" y="26"/>
                  </a:cubicBezTo>
                  <a:cubicBezTo>
                    <a:pt x="203" y="26"/>
                    <a:pt x="203" y="26"/>
                    <a:pt x="203" y="26"/>
                  </a:cubicBezTo>
                  <a:cubicBezTo>
                    <a:pt x="203" y="25"/>
                    <a:pt x="203" y="25"/>
                    <a:pt x="203" y="25"/>
                  </a:cubicBezTo>
                  <a:cubicBezTo>
                    <a:pt x="203" y="25"/>
                    <a:pt x="203" y="25"/>
                    <a:pt x="203" y="25"/>
                  </a:cubicBezTo>
                  <a:cubicBezTo>
                    <a:pt x="203" y="25"/>
                    <a:pt x="203" y="25"/>
                    <a:pt x="203" y="25"/>
                  </a:cubicBezTo>
                  <a:cubicBezTo>
                    <a:pt x="202" y="25"/>
                    <a:pt x="202" y="25"/>
                    <a:pt x="202" y="25"/>
                  </a:cubicBezTo>
                  <a:cubicBezTo>
                    <a:pt x="201" y="25"/>
                    <a:pt x="201" y="25"/>
                    <a:pt x="201" y="25"/>
                  </a:cubicBezTo>
                  <a:cubicBezTo>
                    <a:pt x="201" y="28"/>
                    <a:pt x="201" y="28"/>
                    <a:pt x="201" y="28"/>
                  </a:cubicBezTo>
                  <a:cubicBezTo>
                    <a:pt x="200" y="29"/>
                    <a:pt x="200" y="29"/>
                    <a:pt x="200" y="29"/>
                  </a:cubicBezTo>
                  <a:cubicBezTo>
                    <a:pt x="197" y="29"/>
                    <a:pt x="197" y="29"/>
                    <a:pt x="197" y="29"/>
                  </a:cubicBezTo>
                  <a:cubicBezTo>
                    <a:pt x="196" y="26"/>
                    <a:pt x="196" y="26"/>
                    <a:pt x="196" y="26"/>
                  </a:cubicBezTo>
                  <a:cubicBezTo>
                    <a:pt x="196" y="25"/>
                    <a:pt x="196" y="25"/>
                    <a:pt x="196" y="25"/>
                  </a:cubicBezTo>
                  <a:cubicBezTo>
                    <a:pt x="196" y="25"/>
                    <a:pt x="196" y="25"/>
                    <a:pt x="196" y="25"/>
                  </a:cubicBezTo>
                  <a:cubicBezTo>
                    <a:pt x="195" y="25"/>
                    <a:pt x="195" y="25"/>
                    <a:pt x="195" y="25"/>
                  </a:cubicBezTo>
                  <a:cubicBezTo>
                    <a:pt x="192" y="26"/>
                    <a:pt x="192" y="26"/>
                    <a:pt x="192" y="26"/>
                  </a:cubicBezTo>
                  <a:cubicBezTo>
                    <a:pt x="189" y="24"/>
                    <a:pt x="189" y="24"/>
                    <a:pt x="189" y="24"/>
                  </a:cubicBezTo>
                  <a:cubicBezTo>
                    <a:pt x="191" y="20"/>
                    <a:pt x="191" y="20"/>
                    <a:pt x="191" y="20"/>
                  </a:cubicBezTo>
                  <a:cubicBezTo>
                    <a:pt x="191" y="18"/>
                    <a:pt x="191" y="18"/>
                    <a:pt x="191" y="18"/>
                  </a:cubicBezTo>
                  <a:cubicBezTo>
                    <a:pt x="192" y="17"/>
                    <a:pt x="192" y="17"/>
                    <a:pt x="192" y="17"/>
                  </a:cubicBezTo>
                  <a:cubicBezTo>
                    <a:pt x="193" y="15"/>
                    <a:pt x="193" y="15"/>
                    <a:pt x="193" y="15"/>
                  </a:cubicBezTo>
                  <a:cubicBezTo>
                    <a:pt x="196" y="15"/>
                    <a:pt x="196" y="15"/>
                    <a:pt x="196" y="15"/>
                  </a:cubicBezTo>
                  <a:cubicBezTo>
                    <a:pt x="197" y="15"/>
                    <a:pt x="197" y="15"/>
                    <a:pt x="197" y="15"/>
                  </a:cubicBezTo>
                  <a:cubicBezTo>
                    <a:pt x="197" y="15"/>
                    <a:pt x="197" y="15"/>
                    <a:pt x="197" y="15"/>
                  </a:cubicBezTo>
                  <a:cubicBezTo>
                    <a:pt x="197" y="14"/>
                    <a:pt x="197" y="14"/>
                    <a:pt x="197" y="14"/>
                  </a:cubicBezTo>
                  <a:cubicBezTo>
                    <a:pt x="196" y="14"/>
                    <a:pt x="196" y="14"/>
                    <a:pt x="196" y="14"/>
                  </a:cubicBezTo>
                  <a:cubicBezTo>
                    <a:pt x="194" y="14"/>
                    <a:pt x="194" y="14"/>
                    <a:pt x="194" y="14"/>
                  </a:cubicBezTo>
                  <a:cubicBezTo>
                    <a:pt x="194" y="13"/>
                    <a:pt x="194" y="13"/>
                    <a:pt x="194" y="13"/>
                  </a:cubicBezTo>
                  <a:cubicBezTo>
                    <a:pt x="192" y="13"/>
                    <a:pt x="192" y="13"/>
                    <a:pt x="192" y="13"/>
                  </a:cubicBezTo>
                  <a:cubicBezTo>
                    <a:pt x="193" y="13"/>
                    <a:pt x="193" y="13"/>
                    <a:pt x="193" y="13"/>
                  </a:cubicBezTo>
                  <a:cubicBezTo>
                    <a:pt x="192" y="12"/>
                    <a:pt x="192" y="12"/>
                    <a:pt x="192" y="12"/>
                  </a:cubicBezTo>
                  <a:cubicBezTo>
                    <a:pt x="191" y="12"/>
                    <a:pt x="191" y="12"/>
                    <a:pt x="191" y="12"/>
                  </a:cubicBezTo>
                  <a:cubicBezTo>
                    <a:pt x="189" y="10"/>
                    <a:pt x="189" y="10"/>
                    <a:pt x="189" y="10"/>
                  </a:cubicBezTo>
                  <a:cubicBezTo>
                    <a:pt x="189" y="9"/>
                    <a:pt x="189" y="9"/>
                    <a:pt x="189" y="9"/>
                  </a:cubicBezTo>
                  <a:cubicBezTo>
                    <a:pt x="189" y="9"/>
                    <a:pt x="189" y="9"/>
                    <a:pt x="189" y="9"/>
                  </a:cubicBezTo>
                  <a:cubicBezTo>
                    <a:pt x="187" y="10"/>
                    <a:pt x="187" y="10"/>
                    <a:pt x="187" y="10"/>
                  </a:cubicBezTo>
                  <a:cubicBezTo>
                    <a:pt x="184" y="11"/>
                    <a:pt x="184" y="11"/>
                    <a:pt x="184" y="11"/>
                  </a:cubicBezTo>
                  <a:cubicBezTo>
                    <a:pt x="181" y="11"/>
                    <a:pt x="181" y="11"/>
                    <a:pt x="181" y="11"/>
                  </a:cubicBezTo>
                  <a:cubicBezTo>
                    <a:pt x="179" y="12"/>
                    <a:pt x="179" y="12"/>
                    <a:pt x="179" y="12"/>
                  </a:cubicBezTo>
                  <a:cubicBezTo>
                    <a:pt x="176" y="12"/>
                    <a:pt x="176" y="12"/>
                    <a:pt x="176" y="12"/>
                  </a:cubicBezTo>
                  <a:cubicBezTo>
                    <a:pt x="174" y="13"/>
                    <a:pt x="174" y="13"/>
                    <a:pt x="174" y="13"/>
                  </a:cubicBezTo>
                  <a:cubicBezTo>
                    <a:pt x="170" y="14"/>
                    <a:pt x="170" y="14"/>
                    <a:pt x="170" y="14"/>
                  </a:cubicBezTo>
                  <a:cubicBezTo>
                    <a:pt x="168" y="14"/>
                    <a:pt x="168" y="14"/>
                    <a:pt x="168" y="14"/>
                  </a:cubicBezTo>
                  <a:cubicBezTo>
                    <a:pt x="165" y="15"/>
                    <a:pt x="165" y="15"/>
                    <a:pt x="165" y="15"/>
                  </a:cubicBezTo>
                  <a:cubicBezTo>
                    <a:pt x="162" y="15"/>
                    <a:pt x="162" y="15"/>
                    <a:pt x="162" y="15"/>
                  </a:cubicBezTo>
                  <a:cubicBezTo>
                    <a:pt x="160" y="16"/>
                    <a:pt x="160" y="16"/>
                    <a:pt x="160" y="16"/>
                  </a:cubicBezTo>
                  <a:cubicBezTo>
                    <a:pt x="157" y="16"/>
                    <a:pt x="157" y="16"/>
                    <a:pt x="157" y="16"/>
                  </a:cubicBezTo>
                  <a:cubicBezTo>
                    <a:pt x="154" y="17"/>
                    <a:pt x="154" y="17"/>
                    <a:pt x="154" y="17"/>
                  </a:cubicBezTo>
                  <a:cubicBezTo>
                    <a:pt x="151" y="17"/>
                    <a:pt x="151" y="17"/>
                    <a:pt x="151" y="17"/>
                  </a:cubicBezTo>
                  <a:cubicBezTo>
                    <a:pt x="149" y="17"/>
                    <a:pt x="149" y="17"/>
                    <a:pt x="149" y="17"/>
                  </a:cubicBezTo>
                  <a:cubicBezTo>
                    <a:pt x="146" y="18"/>
                    <a:pt x="146" y="18"/>
                    <a:pt x="146" y="18"/>
                  </a:cubicBezTo>
                  <a:cubicBezTo>
                    <a:pt x="143" y="19"/>
                    <a:pt x="143" y="19"/>
                    <a:pt x="143" y="19"/>
                  </a:cubicBezTo>
                  <a:cubicBezTo>
                    <a:pt x="141" y="19"/>
                    <a:pt x="141" y="19"/>
                    <a:pt x="141" y="19"/>
                  </a:cubicBezTo>
                  <a:cubicBezTo>
                    <a:pt x="135" y="20"/>
                    <a:pt x="135" y="20"/>
                    <a:pt x="135" y="20"/>
                  </a:cubicBezTo>
                  <a:cubicBezTo>
                    <a:pt x="133" y="20"/>
                    <a:pt x="133" y="20"/>
                    <a:pt x="133" y="20"/>
                  </a:cubicBezTo>
                  <a:cubicBezTo>
                    <a:pt x="129" y="21"/>
                    <a:pt x="129" y="21"/>
                    <a:pt x="129" y="21"/>
                  </a:cubicBezTo>
                  <a:cubicBezTo>
                    <a:pt x="129" y="21"/>
                    <a:pt x="129" y="21"/>
                    <a:pt x="129" y="21"/>
                  </a:cubicBezTo>
                  <a:cubicBezTo>
                    <a:pt x="129" y="21"/>
                    <a:pt x="129" y="21"/>
                    <a:pt x="129" y="21"/>
                  </a:cubicBezTo>
                  <a:cubicBezTo>
                    <a:pt x="129" y="21"/>
                    <a:pt x="128" y="21"/>
                    <a:pt x="128" y="20"/>
                  </a:cubicBezTo>
                  <a:cubicBezTo>
                    <a:pt x="128" y="21"/>
                    <a:pt x="128" y="21"/>
                    <a:pt x="128" y="21"/>
                  </a:cubicBezTo>
                  <a:cubicBezTo>
                    <a:pt x="127" y="21"/>
                    <a:pt x="127" y="21"/>
                    <a:pt x="127" y="21"/>
                  </a:cubicBezTo>
                  <a:cubicBezTo>
                    <a:pt x="126" y="21"/>
                    <a:pt x="126" y="21"/>
                    <a:pt x="126" y="21"/>
                  </a:cubicBezTo>
                  <a:cubicBezTo>
                    <a:pt x="126" y="21"/>
                    <a:pt x="126" y="21"/>
                    <a:pt x="126" y="21"/>
                  </a:cubicBezTo>
                  <a:cubicBezTo>
                    <a:pt x="125" y="21"/>
                    <a:pt x="125" y="21"/>
                    <a:pt x="125" y="21"/>
                  </a:cubicBezTo>
                  <a:cubicBezTo>
                    <a:pt x="125" y="22"/>
                    <a:pt x="125" y="22"/>
                    <a:pt x="125" y="22"/>
                  </a:cubicBezTo>
                  <a:cubicBezTo>
                    <a:pt x="125" y="22"/>
                    <a:pt x="124" y="22"/>
                    <a:pt x="124" y="22"/>
                  </a:cubicBezTo>
                  <a:cubicBezTo>
                    <a:pt x="124" y="22"/>
                    <a:pt x="124" y="22"/>
                    <a:pt x="124" y="22"/>
                  </a:cubicBezTo>
                  <a:cubicBezTo>
                    <a:pt x="122" y="22"/>
                    <a:pt x="122" y="22"/>
                    <a:pt x="122" y="22"/>
                  </a:cubicBezTo>
                  <a:cubicBezTo>
                    <a:pt x="120" y="22"/>
                    <a:pt x="120" y="22"/>
                    <a:pt x="120" y="22"/>
                  </a:cubicBezTo>
                  <a:cubicBezTo>
                    <a:pt x="119" y="22"/>
                    <a:pt x="119" y="22"/>
                    <a:pt x="119" y="22"/>
                  </a:cubicBezTo>
                  <a:cubicBezTo>
                    <a:pt x="117" y="23"/>
                    <a:pt x="117" y="23"/>
                    <a:pt x="117" y="23"/>
                  </a:cubicBezTo>
                  <a:cubicBezTo>
                    <a:pt x="117" y="23"/>
                    <a:pt x="117" y="23"/>
                    <a:pt x="117" y="23"/>
                  </a:cubicBezTo>
                  <a:cubicBezTo>
                    <a:pt x="116" y="23"/>
                    <a:pt x="116" y="23"/>
                    <a:pt x="116" y="23"/>
                  </a:cubicBezTo>
                  <a:cubicBezTo>
                    <a:pt x="114" y="23"/>
                    <a:pt x="114" y="23"/>
                    <a:pt x="114" y="23"/>
                  </a:cubicBezTo>
                  <a:cubicBezTo>
                    <a:pt x="113" y="24"/>
                    <a:pt x="113" y="24"/>
                    <a:pt x="113" y="24"/>
                  </a:cubicBezTo>
                  <a:cubicBezTo>
                    <a:pt x="113" y="24"/>
                    <a:pt x="112" y="24"/>
                    <a:pt x="112" y="24"/>
                  </a:cubicBezTo>
                  <a:cubicBezTo>
                    <a:pt x="111" y="24"/>
                    <a:pt x="111" y="24"/>
                    <a:pt x="111" y="24"/>
                  </a:cubicBezTo>
                  <a:cubicBezTo>
                    <a:pt x="109" y="24"/>
                    <a:pt x="109" y="24"/>
                    <a:pt x="109" y="24"/>
                  </a:cubicBezTo>
                  <a:cubicBezTo>
                    <a:pt x="108" y="25"/>
                    <a:pt x="108" y="25"/>
                    <a:pt x="108" y="25"/>
                  </a:cubicBezTo>
                  <a:cubicBezTo>
                    <a:pt x="108" y="25"/>
                    <a:pt x="107" y="25"/>
                    <a:pt x="107" y="25"/>
                  </a:cubicBezTo>
                  <a:cubicBezTo>
                    <a:pt x="106" y="25"/>
                    <a:pt x="106" y="25"/>
                    <a:pt x="106" y="25"/>
                  </a:cubicBezTo>
                  <a:cubicBezTo>
                    <a:pt x="104" y="25"/>
                    <a:pt x="104" y="25"/>
                    <a:pt x="104" y="25"/>
                  </a:cubicBezTo>
                  <a:cubicBezTo>
                    <a:pt x="101" y="25"/>
                    <a:pt x="101" y="25"/>
                    <a:pt x="101" y="25"/>
                  </a:cubicBezTo>
                  <a:cubicBezTo>
                    <a:pt x="100" y="26"/>
                    <a:pt x="100" y="26"/>
                    <a:pt x="100" y="26"/>
                  </a:cubicBezTo>
                  <a:cubicBezTo>
                    <a:pt x="98" y="26"/>
                    <a:pt x="98" y="26"/>
                    <a:pt x="98" y="26"/>
                  </a:cubicBezTo>
                  <a:cubicBezTo>
                    <a:pt x="98" y="26"/>
                    <a:pt x="98" y="26"/>
                    <a:pt x="97" y="26"/>
                  </a:cubicBezTo>
                  <a:cubicBezTo>
                    <a:pt x="97" y="26"/>
                    <a:pt x="97" y="26"/>
                    <a:pt x="97" y="25"/>
                  </a:cubicBezTo>
                  <a:cubicBezTo>
                    <a:pt x="96" y="25"/>
                    <a:pt x="96" y="25"/>
                    <a:pt x="96" y="25"/>
                  </a:cubicBezTo>
                  <a:cubicBezTo>
                    <a:pt x="95" y="26"/>
                    <a:pt x="95" y="26"/>
                    <a:pt x="95" y="26"/>
                  </a:cubicBezTo>
                  <a:cubicBezTo>
                    <a:pt x="95" y="26"/>
                    <a:pt x="95" y="26"/>
                    <a:pt x="95" y="26"/>
                  </a:cubicBezTo>
                  <a:cubicBezTo>
                    <a:pt x="92" y="26"/>
                    <a:pt x="92" y="26"/>
                    <a:pt x="92" y="26"/>
                  </a:cubicBezTo>
                  <a:cubicBezTo>
                    <a:pt x="90" y="26"/>
                    <a:pt x="90" y="26"/>
                    <a:pt x="90" y="26"/>
                  </a:cubicBezTo>
                  <a:cubicBezTo>
                    <a:pt x="83" y="27"/>
                    <a:pt x="83" y="27"/>
                    <a:pt x="83" y="27"/>
                  </a:cubicBezTo>
                  <a:cubicBezTo>
                    <a:pt x="80" y="27"/>
                    <a:pt x="80" y="27"/>
                    <a:pt x="80" y="27"/>
                  </a:cubicBezTo>
                  <a:cubicBezTo>
                    <a:pt x="76" y="28"/>
                    <a:pt x="76" y="28"/>
                    <a:pt x="76" y="28"/>
                  </a:cubicBezTo>
                  <a:cubicBezTo>
                    <a:pt x="71" y="28"/>
                    <a:pt x="71" y="28"/>
                    <a:pt x="71" y="28"/>
                  </a:cubicBezTo>
                  <a:cubicBezTo>
                    <a:pt x="68" y="29"/>
                    <a:pt x="68" y="29"/>
                    <a:pt x="68" y="29"/>
                  </a:cubicBezTo>
                  <a:cubicBezTo>
                    <a:pt x="64" y="29"/>
                    <a:pt x="64" y="29"/>
                    <a:pt x="64" y="29"/>
                  </a:cubicBezTo>
                  <a:cubicBezTo>
                    <a:pt x="58" y="30"/>
                    <a:pt x="58" y="30"/>
                    <a:pt x="58" y="30"/>
                  </a:cubicBezTo>
                  <a:cubicBezTo>
                    <a:pt x="55" y="30"/>
                    <a:pt x="55" y="30"/>
                    <a:pt x="55" y="30"/>
                  </a:cubicBezTo>
                  <a:cubicBezTo>
                    <a:pt x="55" y="30"/>
                    <a:pt x="55" y="30"/>
                    <a:pt x="54" y="30"/>
                  </a:cubicBezTo>
                  <a:cubicBezTo>
                    <a:pt x="53" y="30"/>
                    <a:pt x="53" y="30"/>
                    <a:pt x="53" y="30"/>
                  </a:cubicBezTo>
                  <a:cubicBezTo>
                    <a:pt x="53" y="30"/>
                    <a:pt x="53" y="30"/>
                    <a:pt x="53" y="30"/>
                  </a:cubicBezTo>
                  <a:cubicBezTo>
                    <a:pt x="53" y="31"/>
                    <a:pt x="52" y="31"/>
                    <a:pt x="52" y="31"/>
                  </a:cubicBezTo>
                  <a:cubicBezTo>
                    <a:pt x="52" y="31"/>
                    <a:pt x="52" y="31"/>
                    <a:pt x="52" y="31"/>
                  </a:cubicBezTo>
                  <a:cubicBezTo>
                    <a:pt x="52" y="31"/>
                    <a:pt x="52" y="31"/>
                    <a:pt x="52" y="31"/>
                  </a:cubicBezTo>
                  <a:cubicBezTo>
                    <a:pt x="52" y="31"/>
                    <a:pt x="52" y="31"/>
                    <a:pt x="52" y="31"/>
                  </a:cubicBezTo>
                  <a:cubicBezTo>
                    <a:pt x="51" y="31"/>
                    <a:pt x="51" y="31"/>
                    <a:pt x="51" y="31"/>
                  </a:cubicBezTo>
                  <a:cubicBezTo>
                    <a:pt x="50" y="31"/>
                    <a:pt x="50" y="31"/>
                    <a:pt x="50" y="31"/>
                  </a:cubicBezTo>
                  <a:cubicBezTo>
                    <a:pt x="50" y="31"/>
                    <a:pt x="50" y="31"/>
                    <a:pt x="49" y="31"/>
                  </a:cubicBezTo>
                  <a:cubicBezTo>
                    <a:pt x="48" y="31"/>
                    <a:pt x="48" y="31"/>
                    <a:pt x="48" y="31"/>
                  </a:cubicBezTo>
                  <a:cubicBezTo>
                    <a:pt x="47" y="31"/>
                    <a:pt x="47" y="31"/>
                    <a:pt x="47" y="31"/>
                  </a:cubicBezTo>
                  <a:cubicBezTo>
                    <a:pt x="45" y="31"/>
                    <a:pt x="45" y="31"/>
                    <a:pt x="45" y="31"/>
                  </a:cubicBezTo>
                  <a:cubicBezTo>
                    <a:pt x="43" y="32"/>
                    <a:pt x="43" y="32"/>
                    <a:pt x="43" y="32"/>
                  </a:cubicBezTo>
                  <a:cubicBezTo>
                    <a:pt x="43" y="32"/>
                    <a:pt x="43" y="32"/>
                    <a:pt x="43" y="32"/>
                  </a:cubicBezTo>
                  <a:cubicBezTo>
                    <a:pt x="41" y="32"/>
                    <a:pt x="41" y="32"/>
                    <a:pt x="41" y="32"/>
                  </a:cubicBezTo>
                  <a:cubicBezTo>
                    <a:pt x="38" y="33"/>
                    <a:pt x="38" y="33"/>
                    <a:pt x="38" y="33"/>
                  </a:cubicBezTo>
                  <a:cubicBezTo>
                    <a:pt x="35" y="33"/>
                    <a:pt x="35" y="33"/>
                    <a:pt x="35" y="33"/>
                  </a:cubicBezTo>
                  <a:cubicBezTo>
                    <a:pt x="34" y="33"/>
                    <a:pt x="34" y="33"/>
                    <a:pt x="34" y="33"/>
                  </a:cubicBezTo>
                  <a:cubicBezTo>
                    <a:pt x="34" y="33"/>
                    <a:pt x="34" y="33"/>
                    <a:pt x="34" y="33"/>
                  </a:cubicBezTo>
                  <a:cubicBezTo>
                    <a:pt x="33" y="33"/>
                    <a:pt x="33" y="33"/>
                    <a:pt x="33" y="33"/>
                  </a:cubicBezTo>
                  <a:cubicBezTo>
                    <a:pt x="33" y="33"/>
                    <a:pt x="33" y="33"/>
                    <a:pt x="33" y="33"/>
                  </a:cubicBezTo>
                  <a:cubicBezTo>
                    <a:pt x="32" y="33"/>
                    <a:pt x="32" y="33"/>
                    <a:pt x="32" y="33"/>
                  </a:cubicBezTo>
                  <a:cubicBezTo>
                    <a:pt x="32" y="33"/>
                    <a:pt x="32" y="33"/>
                    <a:pt x="32" y="33"/>
                  </a:cubicBezTo>
                  <a:cubicBezTo>
                    <a:pt x="31" y="33"/>
                    <a:pt x="31" y="33"/>
                    <a:pt x="31" y="33"/>
                  </a:cubicBezTo>
                  <a:cubicBezTo>
                    <a:pt x="31" y="33"/>
                    <a:pt x="31" y="33"/>
                    <a:pt x="31" y="33"/>
                  </a:cubicBezTo>
                  <a:cubicBezTo>
                    <a:pt x="30" y="33"/>
                    <a:pt x="30" y="33"/>
                    <a:pt x="30" y="33"/>
                  </a:cubicBezTo>
                  <a:cubicBezTo>
                    <a:pt x="30" y="33"/>
                    <a:pt x="30" y="33"/>
                    <a:pt x="30" y="33"/>
                  </a:cubicBezTo>
                  <a:cubicBezTo>
                    <a:pt x="31" y="34"/>
                    <a:pt x="31" y="34"/>
                    <a:pt x="31" y="34"/>
                  </a:cubicBezTo>
                  <a:cubicBezTo>
                    <a:pt x="31" y="36"/>
                    <a:pt x="31" y="36"/>
                    <a:pt x="31" y="36"/>
                  </a:cubicBezTo>
                  <a:cubicBezTo>
                    <a:pt x="31" y="36"/>
                    <a:pt x="30" y="37"/>
                    <a:pt x="30" y="37"/>
                  </a:cubicBezTo>
                  <a:cubicBezTo>
                    <a:pt x="27" y="37"/>
                    <a:pt x="27" y="37"/>
                    <a:pt x="27" y="37"/>
                  </a:cubicBezTo>
                  <a:cubicBezTo>
                    <a:pt x="24" y="37"/>
                    <a:pt x="24" y="37"/>
                    <a:pt x="24" y="37"/>
                  </a:cubicBezTo>
                  <a:cubicBezTo>
                    <a:pt x="22" y="37"/>
                    <a:pt x="22" y="37"/>
                    <a:pt x="22" y="37"/>
                  </a:cubicBezTo>
                  <a:cubicBezTo>
                    <a:pt x="16" y="38"/>
                    <a:pt x="16" y="38"/>
                    <a:pt x="16" y="38"/>
                  </a:cubicBezTo>
                  <a:cubicBezTo>
                    <a:pt x="13" y="38"/>
                    <a:pt x="13" y="38"/>
                    <a:pt x="13" y="38"/>
                  </a:cubicBezTo>
                  <a:cubicBezTo>
                    <a:pt x="11" y="39"/>
                    <a:pt x="11" y="39"/>
                    <a:pt x="11" y="39"/>
                  </a:cubicBezTo>
                  <a:cubicBezTo>
                    <a:pt x="10" y="39"/>
                    <a:pt x="10" y="39"/>
                    <a:pt x="10" y="39"/>
                  </a:cubicBezTo>
                  <a:cubicBezTo>
                    <a:pt x="10" y="39"/>
                    <a:pt x="10" y="39"/>
                    <a:pt x="10" y="39"/>
                  </a:cubicBezTo>
                  <a:cubicBezTo>
                    <a:pt x="10" y="39"/>
                    <a:pt x="10" y="39"/>
                    <a:pt x="10" y="39"/>
                  </a:cubicBezTo>
                  <a:cubicBezTo>
                    <a:pt x="9" y="39"/>
                    <a:pt x="9" y="39"/>
                    <a:pt x="9" y="39"/>
                  </a:cubicBezTo>
                  <a:cubicBezTo>
                    <a:pt x="9" y="39"/>
                    <a:pt x="9" y="39"/>
                    <a:pt x="9" y="39"/>
                  </a:cubicBezTo>
                  <a:cubicBezTo>
                    <a:pt x="9" y="39"/>
                    <a:pt x="9" y="39"/>
                    <a:pt x="9" y="39"/>
                  </a:cubicBezTo>
                  <a:cubicBezTo>
                    <a:pt x="8" y="40"/>
                    <a:pt x="8" y="40"/>
                    <a:pt x="8" y="40"/>
                  </a:cubicBezTo>
                  <a:cubicBezTo>
                    <a:pt x="8" y="40"/>
                    <a:pt x="7" y="41"/>
                    <a:pt x="7" y="41"/>
                  </a:cubicBezTo>
                  <a:cubicBezTo>
                    <a:pt x="7" y="41"/>
                    <a:pt x="7" y="41"/>
                    <a:pt x="7" y="41"/>
                  </a:cubicBezTo>
                  <a:cubicBezTo>
                    <a:pt x="7" y="41"/>
                    <a:pt x="7" y="41"/>
                    <a:pt x="7" y="41"/>
                  </a:cubicBezTo>
                  <a:cubicBezTo>
                    <a:pt x="7" y="42"/>
                    <a:pt x="7" y="42"/>
                    <a:pt x="7" y="42"/>
                  </a:cubicBezTo>
                  <a:cubicBezTo>
                    <a:pt x="7" y="42"/>
                    <a:pt x="7" y="42"/>
                    <a:pt x="7" y="42"/>
                  </a:cubicBezTo>
                  <a:cubicBezTo>
                    <a:pt x="7" y="43"/>
                    <a:pt x="7" y="43"/>
                    <a:pt x="7" y="43"/>
                  </a:cubicBezTo>
                  <a:cubicBezTo>
                    <a:pt x="7" y="43"/>
                    <a:pt x="7" y="43"/>
                    <a:pt x="7" y="43"/>
                  </a:cubicBezTo>
                  <a:cubicBezTo>
                    <a:pt x="7" y="44"/>
                    <a:pt x="7" y="44"/>
                    <a:pt x="7" y="44"/>
                  </a:cubicBezTo>
                  <a:cubicBezTo>
                    <a:pt x="7" y="44"/>
                    <a:pt x="7" y="44"/>
                    <a:pt x="7" y="45"/>
                  </a:cubicBezTo>
                  <a:cubicBezTo>
                    <a:pt x="7" y="45"/>
                    <a:pt x="6" y="45"/>
                    <a:pt x="6" y="45"/>
                  </a:cubicBezTo>
                  <a:cubicBezTo>
                    <a:pt x="6" y="45"/>
                    <a:pt x="6" y="45"/>
                    <a:pt x="6" y="45"/>
                  </a:cubicBezTo>
                  <a:cubicBezTo>
                    <a:pt x="6" y="45"/>
                    <a:pt x="6" y="45"/>
                    <a:pt x="6" y="45"/>
                  </a:cubicBezTo>
                  <a:cubicBezTo>
                    <a:pt x="6" y="45"/>
                    <a:pt x="7" y="46"/>
                    <a:pt x="6" y="46"/>
                  </a:cubicBezTo>
                  <a:cubicBezTo>
                    <a:pt x="6" y="47"/>
                    <a:pt x="6" y="47"/>
                    <a:pt x="6" y="47"/>
                  </a:cubicBezTo>
                  <a:cubicBezTo>
                    <a:pt x="6" y="47"/>
                    <a:pt x="6" y="47"/>
                    <a:pt x="6" y="47"/>
                  </a:cubicBezTo>
                  <a:cubicBezTo>
                    <a:pt x="6" y="48"/>
                    <a:pt x="6" y="48"/>
                    <a:pt x="6" y="48"/>
                  </a:cubicBezTo>
                  <a:cubicBezTo>
                    <a:pt x="6" y="48"/>
                    <a:pt x="5" y="48"/>
                    <a:pt x="5" y="48"/>
                  </a:cubicBezTo>
                  <a:cubicBezTo>
                    <a:pt x="5" y="48"/>
                    <a:pt x="5" y="48"/>
                    <a:pt x="5" y="48"/>
                  </a:cubicBezTo>
                  <a:cubicBezTo>
                    <a:pt x="6" y="48"/>
                    <a:pt x="6" y="49"/>
                    <a:pt x="6" y="49"/>
                  </a:cubicBezTo>
                  <a:cubicBezTo>
                    <a:pt x="6" y="49"/>
                    <a:pt x="6" y="49"/>
                    <a:pt x="6" y="49"/>
                  </a:cubicBezTo>
                  <a:cubicBezTo>
                    <a:pt x="6" y="49"/>
                    <a:pt x="7" y="50"/>
                    <a:pt x="7" y="50"/>
                  </a:cubicBezTo>
                  <a:cubicBezTo>
                    <a:pt x="7" y="51"/>
                    <a:pt x="7" y="51"/>
                    <a:pt x="7" y="51"/>
                  </a:cubicBezTo>
                  <a:cubicBezTo>
                    <a:pt x="7" y="51"/>
                    <a:pt x="6" y="52"/>
                    <a:pt x="6" y="52"/>
                  </a:cubicBezTo>
                  <a:cubicBezTo>
                    <a:pt x="6" y="52"/>
                    <a:pt x="6" y="52"/>
                    <a:pt x="6" y="52"/>
                  </a:cubicBezTo>
                  <a:cubicBezTo>
                    <a:pt x="6" y="52"/>
                    <a:pt x="6" y="52"/>
                    <a:pt x="6" y="52"/>
                  </a:cubicBezTo>
                  <a:cubicBezTo>
                    <a:pt x="6" y="53"/>
                    <a:pt x="6" y="53"/>
                    <a:pt x="6" y="53"/>
                  </a:cubicBezTo>
                  <a:cubicBezTo>
                    <a:pt x="6" y="53"/>
                    <a:pt x="6" y="53"/>
                    <a:pt x="6" y="53"/>
                  </a:cubicBezTo>
                  <a:cubicBezTo>
                    <a:pt x="5" y="54"/>
                    <a:pt x="5" y="54"/>
                    <a:pt x="5" y="54"/>
                  </a:cubicBezTo>
                  <a:cubicBezTo>
                    <a:pt x="5" y="54"/>
                    <a:pt x="5" y="54"/>
                    <a:pt x="5" y="54"/>
                  </a:cubicBezTo>
                  <a:cubicBezTo>
                    <a:pt x="3" y="55"/>
                    <a:pt x="3" y="55"/>
                    <a:pt x="3" y="55"/>
                  </a:cubicBezTo>
                  <a:cubicBezTo>
                    <a:pt x="3" y="56"/>
                    <a:pt x="3" y="56"/>
                    <a:pt x="3" y="56"/>
                  </a:cubicBezTo>
                  <a:cubicBezTo>
                    <a:pt x="3" y="56"/>
                    <a:pt x="3" y="56"/>
                    <a:pt x="3" y="56"/>
                  </a:cubicBezTo>
                  <a:cubicBezTo>
                    <a:pt x="3" y="57"/>
                    <a:pt x="3" y="57"/>
                    <a:pt x="3" y="57"/>
                  </a:cubicBezTo>
                  <a:cubicBezTo>
                    <a:pt x="3" y="57"/>
                    <a:pt x="3" y="57"/>
                    <a:pt x="3" y="58"/>
                  </a:cubicBezTo>
                  <a:cubicBezTo>
                    <a:pt x="3" y="58"/>
                    <a:pt x="3" y="58"/>
                    <a:pt x="3" y="58"/>
                  </a:cubicBezTo>
                  <a:cubicBezTo>
                    <a:pt x="3" y="59"/>
                    <a:pt x="3" y="59"/>
                    <a:pt x="3" y="59"/>
                  </a:cubicBezTo>
                  <a:cubicBezTo>
                    <a:pt x="3" y="59"/>
                    <a:pt x="3" y="59"/>
                    <a:pt x="3" y="60"/>
                  </a:cubicBezTo>
                  <a:cubicBezTo>
                    <a:pt x="3" y="60"/>
                    <a:pt x="3" y="60"/>
                    <a:pt x="3" y="60"/>
                  </a:cubicBezTo>
                  <a:cubicBezTo>
                    <a:pt x="3" y="60"/>
                    <a:pt x="2" y="60"/>
                    <a:pt x="2" y="60"/>
                  </a:cubicBezTo>
                  <a:cubicBezTo>
                    <a:pt x="2" y="60"/>
                    <a:pt x="2" y="60"/>
                    <a:pt x="2" y="61"/>
                  </a:cubicBezTo>
                  <a:cubicBezTo>
                    <a:pt x="2" y="61"/>
                    <a:pt x="2" y="61"/>
                    <a:pt x="2" y="61"/>
                  </a:cubicBezTo>
                  <a:cubicBezTo>
                    <a:pt x="2" y="61"/>
                    <a:pt x="2" y="61"/>
                    <a:pt x="2" y="62"/>
                  </a:cubicBezTo>
                  <a:cubicBezTo>
                    <a:pt x="1" y="63"/>
                    <a:pt x="1" y="63"/>
                    <a:pt x="1" y="63"/>
                  </a:cubicBezTo>
                  <a:cubicBezTo>
                    <a:pt x="1" y="64"/>
                    <a:pt x="1" y="64"/>
                    <a:pt x="1" y="64"/>
                  </a:cubicBezTo>
                  <a:cubicBezTo>
                    <a:pt x="2" y="66"/>
                    <a:pt x="2" y="66"/>
                    <a:pt x="2" y="66"/>
                  </a:cubicBezTo>
                  <a:cubicBezTo>
                    <a:pt x="2" y="66"/>
                    <a:pt x="2" y="66"/>
                    <a:pt x="2" y="66"/>
                  </a:cubicBezTo>
                  <a:cubicBezTo>
                    <a:pt x="2" y="67"/>
                    <a:pt x="2" y="67"/>
                    <a:pt x="2" y="67"/>
                  </a:cubicBezTo>
                  <a:cubicBezTo>
                    <a:pt x="2" y="67"/>
                    <a:pt x="1" y="67"/>
                    <a:pt x="1" y="68"/>
                  </a:cubicBezTo>
                  <a:cubicBezTo>
                    <a:pt x="1" y="68"/>
                    <a:pt x="1" y="68"/>
                    <a:pt x="1" y="68"/>
                  </a:cubicBezTo>
                  <a:cubicBezTo>
                    <a:pt x="1" y="68"/>
                    <a:pt x="1" y="68"/>
                    <a:pt x="0" y="68"/>
                  </a:cubicBezTo>
                  <a:cubicBezTo>
                    <a:pt x="0" y="68"/>
                    <a:pt x="0" y="68"/>
                    <a:pt x="0" y="68"/>
                  </a:cubicBezTo>
                  <a:cubicBezTo>
                    <a:pt x="0" y="69"/>
                    <a:pt x="0" y="69"/>
                    <a:pt x="0" y="69"/>
                  </a:cubicBezTo>
                  <a:cubicBezTo>
                    <a:pt x="1" y="69"/>
                    <a:pt x="1" y="69"/>
                    <a:pt x="1" y="69"/>
                  </a:cubicBezTo>
                  <a:cubicBezTo>
                    <a:pt x="3" y="69"/>
                    <a:pt x="3" y="69"/>
                    <a:pt x="3" y="69"/>
                  </a:cubicBezTo>
                  <a:cubicBezTo>
                    <a:pt x="5" y="69"/>
                    <a:pt x="5" y="69"/>
                    <a:pt x="5" y="69"/>
                  </a:cubicBezTo>
                  <a:cubicBezTo>
                    <a:pt x="4" y="70"/>
                    <a:pt x="4" y="70"/>
                    <a:pt x="4" y="70"/>
                  </a:cubicBezTo>
                  <a:cubicBezTo>
                    <a:pt x="5" y="85"/>
                    <a:pt x="5" y="85"/>
                    <a:pt x="5" y="85"/>
                  </a:cubicBezTo>
                  <a:cubicBezTo>
                    <a:pt x="6" y="91"/>
                    <a:pt x="6" y="91"/>
                    <a:pt x="6" y="91"/>
                  </a:cubicBezTo>
                  <a:cubicBezTo>
                    <a:pt x="6" y="91"/>
                    <a:pt x="6" y="91"/>
                    <a:pt x="6" y="91"/>
                  </a:cubicBezTo>
                  <a:cubicBezTo>
                    <a:pt x="8" y="96"/>
                    <a:pt x="8" y="96"/>
                    <a:pt x="8" y="96"/>
                  </a:cubicBezTo>
                  <a:cubicBezTo>
                    <a:pt x="13" y="111"/>
                    <a:pt x="13" y="111"/>
                    <a:pt x="13" y="111"/>
                  </a:cubicBezTo>
                  <a:cubicBezTo>
                    <a:pt x="13" y="111"/>
                    <a:pt x="13" y="111"/>
                    <a:pt x="13" y="111"/>
                  </a:cubicBezTo>
                  <a:cubicBezTo>
                    <a:pt x="16" y="117"/>
                    <a:pt x="16" y="117"/>
                    <a:pt x="16" y="117"/>
                  </a:cubicBezTo>
                  <a:cubicBezTo>
                    <a:pt x="17" y="119"/>
                    <a:pt x="17" y="119"/>
                    <a:pt x="17" y="119"/>
                  </a:cubicBezTo>
                  <a:cubicBezTo>
                    <a:pt x="19" y="123"/>
                    <a:pt x="19" y="123"/>
                    <a:pt x="19" y="123"/>
                  </a:cubicBezTo>
                  <a:cubicBezTo>
                    <a:pt x="19" y="125"/>
                    <a:pt x="19" y="125"/>
                    <a:pt x="19" y="125"/>
                  </a:cubicBezTo>
                  <a:cubicBezTo>
                    <a:pt x="20" y="125"/>
                    <a:pt x="20" y="125"/>
                    <a:pt x="20" y="125"/>
                  </a:cubicBezTo>
                  <a:cubicBezTo>
                    <a:pt x="20" y="125"/>
                    <a:pt x="20" y="125"/>
                    <a:pt x="20" y="125"/>
                  </a:cubicBezTo>
                  <a:cubicBezTo>
                    <a:pt x="18" y="131"/>
                    <a:pt x="18" y="131"/>
                    <a:pt x="18" y="131"/>
                  </a:cubicBezTo>
                  <a:cubicBezTo>
                    <a:pt x="18" y="132"/>
                    <a:pt x="18" y="132"/>
                    <a:pt x="18" y="132"/>
                  </a:cubicBezTo>
                  <a:cubicBezTo>
                    <a:pt x="18" y="132"/>
                    <a:pt x="18" y="132"/>
                    <a:pt x="18" y="132"/>
                  </a:cubicBezTo>
                  <a:cubicBezTo>
                    <a:pt x="18" y="133"/>
                    <a:pt x="18" y="133"/>
                    <a:pt x="18" y="133"/>
                  </a:cubicBezTo>
                  <a:cubicBezTo>
                    <a:pt x="18" y="133"/>
                    <a:pt x="18" y="133"/>
                    <a:pt x="18" y="133"/>
                  </a:cubicBezTo>
                  <a:cubicBezTo>
                    <a:pt x="16" y="134"/>
                    <a:pt x="16" y="136"/>
                    <a:pt x="16" y="138"/>
                  </a:cubicBezTo>
                  <a:cubicBezTo>
                    <a:pt x="16" y="139"/>
                    <a:pt x="16" y="139"/>
                    <a:pt x="16" y="139"/>
                  </a:cubicBezTo>
                  <a:cubicBezTo>
                    <a:pt x="16" y="139"/>
                    <a:pt x="16" y="139"/>
                    <a:pt x="16" y="140"/>
                  </a:cubicBezTo>
                  <a:cubicBezTo>
                    <a:pt x="16" y="140"/>
                    <a:pt x="16" y="141"/>
                    <a:pt x="17" y="141"/>
                  </a:cubicBezTo>
                  <a:cubicBezTo>
                    <a:pt x="17" y="141"/>
                    <a:pt x="17" y="141"/>
                    <a:pt x="17" y="141"/>
                  </a:cubicBezTo>
                  <a:cubicBezTo>
                    <a:pt x="17" y="144"/>
                    <a:pt x="17" y="144"/>
                    <a:pt x="17" y="144"/>
                  </a:cubicBezTo>
                  <a:cubicBezTo>
                    <a:pt x="17" y="147"/>
                    <a:pt x="17" y="147"/>
                    <a:pt x="17" y="147"/>
                  </a:cubicBezTo>
                  <a:cubicBezTo>
                    <a:pt x="17" y="152"/>
                    <a:pt x="17" y="152"/>
                    <a:pt x="17" y="152"/>
                  </a:cubicBezTo>
                  <a:cubicBezTo>
                    <a:pt x="17" y="152"/>
                    <a:pt x="17" y="152"/>
                    <a:pt x="17" y="152"/>
                  </a:cubicBezTo>
                  <a:cubicBezTo>
                    <a:pt x="17" y="153"/>
                    <a:pt x="17" y="153"/>
                    <a:pt x="17" y="154"/>
                  </a:cubicBezTo>
                  <a:cubicBezTo>
                    <a:pt x="17" y="154"/>
                    <a:pt x="17" y="154"/>
                    <a:pt x="17" y="154"/>
                  </a:cubicBezTo>
                  <a:cubicBezTo>
                    <a:pt x="17" y="154"/>
                    <a:pt x="17" y="155"/>
                    <a:pt x="17" y="155"/>
                  </a:cubicBezTo>
                  <a:cubicBezTo>
                    <a:pt x="17" y="155"/>
                    <a:pt x="18" y="155"/>
                    <a:pt x="18" y="155"/>
                  </a:cubicBezTo>
                  <a:cubicBezTo>
                    <a:pt x="18" y="156"/>
                    <a:pt x="18" y="156"/>
                    <a:pt x="18" y="156"/>
                  </a:cubicBezTo>
                  <a:cubicBezTo>
                    <a:pt x="18" y="156"/>
                    <a:pt x="18" y="156"/>
                    <a:pt x="19" y="157"/>
                  </a:cubicBezTo>
                  <a:cubicBezTo>
                    <a:pt x="19" y="157"/>
                    <a:pt x="19" y="157"/>
                    <a:pt x="19" y="157"/>
                  </a:cubicBezTo>
                  <a:cubicBezTo>
                    <a:pt x="19" y="157"/>
                    <a:pt x="19" y="157"/>
                    <a:pt x="19" y="157"/>
                  </a:cubicBezTo>
                  <a:cubicBezTo>
                    <a:pt x="20" y="157"/>
                    <a:pt x="20" y="158"/>
                    <a:pt x="20" y="158"/>
                  </a:cubicBezTo>
                  <a:cubicBezTo>
                    <a:pt x="20" y="158"/>
                    <a:pt x="21" y="158"/>
                    <a:pt x="21" y="158"/>
                  </a:cubicBezTo>
                  <a:cubicBezTo>
                    <a:pt x="21" y="158"/>
                    <a:pt x="21" y="158"/>
                    <a:pt x="22" y="158"/>
                  </a:cubicBezTo>
                  <a:cubicBezTo>
                    <a:pt x="22" y="158"/>
                    <a:pt x="22" y="159"/>
                    <a:pt x="23" y="159"/>
                  </a:cubicBezTo>
                  <a:cubicBezTo>
                    <a:pt x="23" y="159"/>
                    <a:pt x="23" y="159"/>
                    <a:pt x="23" y="159"/>
                  </a:cubicBezTo>
                  <a:cubicBezTo>
                    <a:pt x="28" y="159"/>
                    <a:pt x="28" y="159"/>
                    <a:pt x="28" y="159"/>
                  </a:cubicBezTo>
                  <a:cubicBezTo>
                    <a:pt x="28" y="159"/>
                    <a:pt x="28" y="159"/>
                    <a:pt x="29" y="159"/>
                  </a:cubicBezTo>
                  <a:cubicBezTo>
                    <a:pt x="29" y="159"/>
                    <a:pt x="29" y="160"/>
                    <a:pt x="29" y="160"/>
                  </a:cubicBezTo>
                  <a:cubicBezTo>
                    <a:pt x="29" y="160"/>
                    <a:pt x="29" y="160"/>
                    <a:pt x="29" y="160"/>
                  </a:cubicBezTo>
                  <a:cubicBezTo>
                    <a:pt x="30" y="160"/>
                    <a:pt x="30" y="160"/>
                    <a:pt x="30" y="160"/>
                  </a:cubicBezTo>
                  <a:cubicBezTo>
                    <a:pt x="30" y="160"/>
                    <a:pt x="30" y="160"/>
                    <a:pt x="30" y="160"/>
                  </a:cubicBezTo>
                  <a:cubicBezTo>
                    <a:pt x="31" y="160"/>
                    <a:pt x="31" y="160"/>
                    <a:pt x="31" y="160"/>
                  </a:cubicBezTo>
                  <a:cubicBezTo>
                    <a:pt x="31" y="160"/>
                    <a:pt x="31" y="160"/>
                    <a:pt x="31" y="160"/>
                  </a:cubicBezTo>
                  <a:cubicBezTo>
                    <a:pt x="32" y="160"/>
                    <a:pt x="32" y="160"/>
                    <a:pt x="32" y="160"/>
                  </a:cubicBezTo>
                  <a:cubicBezTo>
                    <a:pt x="32" y="160"/>
                    <a:pt x="32" y="160"/>
                    <a:pt x="32" y="160"/>
                  </a:cubicBezTo>
                  <a:cubicBezTo>
                    <a:pt x="32" y="160"/>
                    <a:pt x="32" y="160"/>
                    <a:pt x="32" y="160"/>
                  </a:cubicBezTo>
                  <a:cubicBezTo>
                    <a:pt x="33" y="160"/>
                    <a:pt x="33" y="160"/>
                    <a:pt x="33" y="160"/>
                  </a:cubicBezTo>
                  <a:cubicBezTo>
                    <a:pt x="33" y="160"/>
                    <a:pt x="33" y="160"/>
                    <a:pt x="34" y="160"/>
                  </a:cubicBezTo>
                  <a:cubicBezTo>
                    <a:pt x="34" y="160"/>
                    <a:pt x="34" y="160"/>
                    <a:pt x="34" y="160"/>
                  </a:cubicBezTo>
                  <a:cubicBezTo>
                    <a:pt x="34" y="160"/>
                    <a:pt x="35" y="160"/>
                    <a:pt x="35" y="160"/>
                  </a:cubicBezTo>
                  <a:cubicBezTo>
                    <a:pt x="35" y="160"/>
                    <a:pt x="35" y="160"/>
                    <a:pt x="35" y="160"/>
                  </a:cubicBezTo>
                  <a:cubicBezTo>
                    <a:pt x="36" y="160"/>
                    <a:pt x="36" y="160"/>
                    <a:pt x="36" y="160"/>
                  </a:cubicBezTo>
                  <a:cubicBezTo>
                    <a:pt x="36" y="160"/>
                    <a:pt x="37" y="160"/>
                    <a:pt x="37" y="160"/>
                  </a:cubicBezTo>
                  <a:cubicBezTo>
                    <a:pt x="37" y="160"/>
                    <a:pt x="37" y="160"/>
                    <a:pt x="37" y="160"/>
                  </a:cubicBezTo>
                  <a:cubicBezTo>
                    <a:pt x="38" y="160"/>
                    <a:pt x="38" y="160"/>
                    <a:pt x="38" y="160"/>
                  </a:cubicBezTo>
                  <a:cubicBezTo>
                    <a:pt x="38" y="160"/>
                    <a:pt x="38" y="160"/>
                    <a:pt x="38" y="160"/>
                  </a:cubicBezTo>
                  <a:cubicBezTo>
                    <a:pt x="38" y="160"/>
                    <a:pt x="38" y="160"/>
                    <a:pt x="39" y="160"/>
                  </a:cubicBezTo>
                  <a:cubicBezTo>
                    <a:pt x="39" y="160"/>
                    <a:pt x="39" y="160"/>
                    <a:pt x="39" y="160"/>
                  </a:cubicBezTo>
                  <a:cubicBezTo>
                    <a:pt x="39" y="160"/>
                    <a:pt x="39" y="160"/>
                    <a:pt x="39" y="160"/>
                  </a:cubicBezTo>
                  <a:cubicBezTo>
                    <a:pt x="39" y="160"/>
                    <a:pt x="39" y="160"/>
                    <a:pt x="39" y="160"/>
                  </a:cubicBezTo>
                  <a:cubicBezTo>
                    <a:pt x="39" y="160"/>
                    <a:pt x="39" y="160"/>
                    <a:pt x="39" y="160"/>
                  </a:cubicBezTo>
                  <a:cubicBezTo>
                    <a:pt x="39" y="160"/>
                    <a:pt x="39" y="160"/>
                    <a:pt x="40" y="161"/>
                  </a:cubicBezTo>
                  <a:cubicBezTo>
                    <a:pt x="39" y="161"/>
                    <a:pt x="39" y="161"/>
                    <a:pt x="39" y="161"/>
                  </a:cubicBezTo>
                  <a:cubicBezTo>
                    <a:pt x="38" y="161"/>
                    <a:pt x="38" y="161"/>
                    <a:pt x="38" y="162"/>
                  </a:cubicBezTo>
                  <a:cubicBezTo>
                    <a:pt x="38" y="162"/>
                    <a:pt x="38" y="162"/>
                    <a:pt x="38" y="162"/>
                  </a:cubicBezTo>
                  <a:cubicBezTo>
                    <a:pt x="38" y="163"/>
                    <a:pt x="38" y="163"/>
                    <a:pt x="38" y="163"/>
                  </a:cubicBezTo>
                  <a:cubicBezTo>
                    <a:pt x="39" y="163"/>
                    <a:pt x="39" y="163"/>
                    <a:pt x="39" y="163"/>
                  </a:cubicBezTo>
                  <a:cubicBezTo>
                    <a:pt x="39" y="163"/>
                    <a:pt x="39" y="163"/>
                    <a:pt x="39" y="163"/>
                  </a:cubicBezTo>
                  <a:cubicBezTo>
                    <a:pt x="43" y="162"/>
                    <a:pt x="43" y="162"/>
                    <a:pt x="43" y="162"/>
                  </a:cubicBezTo>
                  <a:cubicBezTo>
                    <a:pt x="43" y="162"/>
                    <a:pt x="43" y="162"/>
                    <a:pt x="43" y="162"/>
                  </a:cubicBezTo>
                  <a:cubicBezTo>
                    <a:pt x="43" y="162"/>
                    <a:pt x="43" y="162"/>
                    <a:pt x="43" y="162"/>
                  </a:cubicBezTo>
                  <a:cubicBezTo>
                    <a:pt x="43" y="163"/>
                    <a:pt x="43" y="163"/>
                    <a:pt x="44" y="163"/>
                  </a:cubicBezTo>
                  <a:cubicBezTo>
                    <a:pt x="44" y="163"/>
                    <a:pt x="44" y="163"/>
                    <a:pt x="44" y="163"/>
                  </a:cubicBezTo>
                  <a:cubicBezTo>
                    <a:pt x="46" y="162"/>
                    <a:pt x="46" y="162"/>
                    <a:pt x="46" y="162"/>
                  </a:cubicBezTo>
                  <a:cubicBezTo>
                    <a:pt x="46" y="162"/>
                    <a:pt x="46" y="162"/>
                    <a:pt x="47" y="162"/>
                  </a:cubicBezTo>
                  <a:cubicBezTo>
                    <a:pt x="50" y="162"/>
                    <a:pt x="50" y="162"/>
                    <a:pt x="50" y="162"/>
                  </a:cubicBezTo>
                  <a:cubicBezTo>
                    <a:pt x="50" y="162"/>
                    <a:pt x="50" y="162"/>
                    <a:pt x="50" y="161"/>
                  </a:cubicBezTo>
                  <a:cubicBezTo>
                    <a:pt x="51" y="161"/>
                    <a:pt x="51" y="161"/>
                    <a:pt x="51" y="161"/>
                  </a:cubicBezTo>
                  <a:cubicBezTo>
                    <a:pt x="51" y="161"/>
                    <a:pt x="51" y="160"/>
                    <a:pt x="51" y="160"/>
                  </a:cubicBezTo>
                  <a:cubicBezTo>
                    <a:pt x="52" y="160"/>
                    <a:pt x="52" y="160"/>
                    <a:pt x="52" y="160"/>
                  </a:cubicBezTo>
                  <a:cubicBezTo>
                    <a:pt x="52" y="160"/>
                    <a:pt x="52" y="160"/>
                    <a:pt x="52" y="160"/>
                  </a:cubicBezTo>
                  <a:cubicBezTo>
                    <a:pt x="52" y="160"/>
                    <a:pt x="53" y="160"/>
                    <a:pt x="53" y="160"/>
                  </a:cubicBezTo>
                  <a:cubicBezTo>
                    <a:pt x="53" y="160"/>
                    <a:pt x="53" y="160"/>
                    <a:pt x="53" y="160"/>
                  </a:cubicBezTo>
                  <a:cubicBezTo>
                    <a:pt x="56" y="159"/>
                    <a:pt x="56" y="159"/>
                    <a:pt x="56" y="159"/>
                  </a:cubicBezTo>
                  <a:cubicBezTo>
                    <a:pt x="56" y="159"/>
                    <a:pt x="56" y="159"/>
                    <a:pt x="56" y="159"/>
                  </a:cubicBezTo>
                  <a:cubicBezTo>
                    <a:pt x="56" y="159"/>
                    <a:pt x="56" y="159"/>
                    <a:pt x="56" y="159"/>
                  </a:cubicBezTo>
                  <a:cubicBezTo>
                    <a:pt x="57" y="159"/>
                    <a:pt x="57" y="159"/>
                    <a:pt x="57" y="159"/>
                  </a:cubicBezTo>
                  <a:cubicBezTo>
                    <a:pt x="57" y="159"/>
                    <a:pt x="57" y="159"/>
                    <a:pt x="57" y="159"/>
                  </a:cubicBezTo>
                  <a:cubicBezTo>
                    <a:pt x="68" y="156"/>
                    <a:pt x="68" y="156"/>
                    <a:pt x="68" y="156"/>
                  </a:cubicBezTo>
                  <a:cubicBezTo>
                    <a:pt x="71" y="156"/>
                    <a:pt x="71" y="156"/>
                    <a:pt x="71" y="156"/>
                  </a:cubicBezTo>
                  <a:cubicBezTo>
                    <a:pt x="74" y="156"/>
                    <a:pt x="74" y="156"/>
                    <a:pt x="74" y="156"/>
                  </a:cubicBezTo>
                  <a:cubicBezTo>
                    <a:pt x="76" y="156"/>
                    <a:pt x="76" y="156"/>
                    <a:pt x="76" y="156"/>
                  </a:cubicBezTo>
                  <a:cubicBezTo>
                    <a:pt x="78" y="157"/>
                    <a:pt x="78" y="157"/>
                    <a:pt x="78" y="157"/>
                  </a:cubicBezTo>
                  <a:cubicBezTo>
                    <a:pt x="78" y="157"/>
                    <a:pt x="78" y="157"/>
                    <a:pt x="78" y="157"/>
                  </a:cubicBezTo>
                  <a:cubicBezTo>
                    <a:pt x="80" y="158"/>
                    <a:pt x="80" y="158"/>
                    <a:pt x="80" y="158"/>
                  </a:cubicBezTo>
                  <a:cubicBezTo>
                    <a:pt x="82" y="159"/>
                    <a:pt x="82" y="159"/>
                    <a:pt x="82" y="159"/>
                  </a:cubicBezTo>
                  <a:cubicBezTo>
                    <a:pt x="82" y="159"/>
                    <a:pt x="82" y="159"/>
                    <a:pt x="82" y="159"/>
                  </a:cubicBezTo>
                  <a:cubicBezTo>
                    <a:pt x="82" y="159"/>
                    <a:pt x="82" y="159"/>
                    <a:pt x="82" y="159"/>
                  </a:cubicBezTo>
                  <a:cubicBezTo>
                    <a:pt x="83" y="159"/>
                    <a:pt x="83" y="159"/>
                    <a:pt x="83" y="159"/>
                  </a:cubicBezTo>
                  <a:cubicBezTo>
                    <a:pt x="83" y="159"/>
                    <a:pt x="83" y="159"/>
                    <a:pt x="83" y="159"/>
                  </a:cubicBezTo>
                  <a:cubicBezTo>
                    <a:pt x="84" y="160"/>
                    <a:pt x="84" y="160"/>
                    <a:pt x="84" y="160"/>
                  </a:cubicBezTo>
                  <a:cubicBezTo>
                    <a:pt x="84" y="160"/>
                    <a:pt x="84" y="160"/>
                    <a:pt x="84" y="160"/>
                  </a:cubicBezTo>
                  <a:cubicBezTo>
                    <a:pt x="84" y="160"/>
                    <a:pt x="84" y="161"/>
                    <a:pt x="85" y="161"/>
                  </a:cubicBezTo>
                  <a:cubicBezTo>
                    <a:pt x="85" y="161"/>
                    <a:pt x="85" y="161"/>
                    <a:pt x="85" y="161"/>
                  </a:cubicBezTo>
                  <a:cubicBezTo>
                    <a:pt x="85" y="161"/>
                    <a:pt x="85" y="161"/>
                    <a:pt x="85" y="161"/>
                  </a:cubicBezTo>
                  <a:cubicBezTo>
                    <a:pt x="85" y="161"/>
                    <a:pt x="85" y="161"/>
                    <a:pt x="85" y="161"/>
                  </a:cubicBezTo>
                  <a:cubicBezTo>
                    <a:pt x="85" y="161"/>
                    <a:pt x="85" y="161"/>
                    <a:pt x="85" y="161"/>
                  </a:cubicBezTo>
                  <a:cubicBezTo>
                    <a:pt x="85" y="161"/>
                    <a:pt x="85" y="161"/>
                    <a:pt x="85" y="161"/>
                  </a:cubicBezTo>
                  <a:cubicBezTo>
                    <a:pt x="85" y="161"/>
                    <a:pt x="85" y="161"/>
                    <a:pt x="85" y="161"/>
                  </a:cubicBezTo>
                  <a:cubicBezTo>
                    <a:pt x="85" y="161"/>
                    <a:pt x="85" y="161"/>
                    <a:pt x="85" y="161"/>
                  </a:cubicBezTo>
                  <a:cubicBezTo>
                    <a:pt x="85" y="161"/>
                    <a:pt x="85" y="161"/>
                    <a:pt x="85" y="161"/>
                  </a:cubicBezTo>
                  <a:cubicBezTo>
                    <a:pt x="85" y="161"/>
                    <a:pt x="85" y="161"/>
                    <a:pt x="85" y="161"/>
                  </a:cubicBezTo>
                  <a:cubicBezTo>
                    <a:pt x="85" y="161"/>
                    <a:pt x="85" y="161"/>
                    <a:pt x="85" y="161"/>
                  </a:cubicBezTo>
                  <a:cubicBezTo>
                    <a:pt x="86" y="162"/>
                    <a:pt x="86" y="162"/>
                    <a:pt x="86" y="162"/>
                  </a:cubicBezTo>
                  <a:cubicBezTo>
                    <a:pt x="88" y="162"/>
                    <a:pt x="88" y="162"/>
                    <a:pt x="88" y="162"/>
                  </a:cubicBezTo>
                  <a:cubicBezTo>
                    <a:pt x="88" y="162"/>
                    <a:pt x="88" y="162"/>
                    <a:pt x="88" y="162"/>
                  </a:cubicBezTo>
                  <a:cubicBezTo>
                    <a:pt x="88" y="164"/>
                    <a:pt x="88" y="164"/>
                    <a:pt x="88" y="164"/>
                  </a:cubicBezTo>
                  <a:cubicBezTo>
                    <a:pt x="88" y="166"/>
                    <a:pt x="88" y="166"/>
                    <a:pt x="88" y="166"/>
                  </a:cubicBezTo>
                  <a:cubicBezTo>
                    <a:pt x="88" y="166"/>
                    <a:pt x="88" y="166"/>
                    <a:pt x="88" y="166"/>
                  </a:cubicBezTo>
                  <a:cubicBezTo>
                    <a:pt x="89" y="167"/>
                    <a:pt x="89" y="167"/>
                    <a:pt x="89" y="167"/>
                  </a:cubicBezTo>
                  <a:cubicBezTo>
                    <a:pt x="89" y="167"/>
                    <a:pt x="89" y="167"/>
                    <a:pt x="90" y="167"/>
                  </a:cubicBezTo>
                  <a:cubicBezTo>
                    <a:pt x="90" y="167"/>
                    <a:pt x="90" y="167"/>
                    <a:pt x="90" y="167"/>
                  </a:cubicBezTo>
                  <a:cubicBezTo>
                    <a:pt x="90" y="167"/>
                    <a:pt x="90" y="167"/>
                    <a:pt x="90" y="167"/>
                  </a:cubicBezTo>
                  <a:cubicBezTo>
                    <a:pt x="91" y="167"/>
                    <a:pt x="91" y="167"/>
                    <a:pt x="91" y="167"/>
                  </a:cubicBezTo>
                  <a:cubicBezTo>
                    <a:pt x="91" y="167"/>
                    <a:pt x="91" y="167"/>
                    <a:pt x="91" y="167"/>
                  </a:cubicBezTo>
                  <a:cubicBezTo>
                    <a:pt x="92" y="167"/>
                    <a:pt x="92" y="167"/>
                    <a:pt x="92" y="167"/>
                  </a:cubicBezTo>
                  <a:cubicBezTo>
                    <a:pt x="92" y="167"/>
                    <a:pt x="92" y="167"/>
                    <a:pt x="92" y="167"/>
                  </a:cubicBezTo>
                  <a:cubicBezTo>
                    <a:pt x="92" y="167"/>
                    <a:pt x="92" y="167"/>
                    <a:pt x="92" y="167"/>
                  </a:cubicBezTo>
                  <a:cubicBezTo>
                    <a:pt x="92" y="167"/>
                    <a:pt x="92" y="167"/>
                    <a:pt x="92" y="167"/>
                  </a:cubicBezTo>
                  <a:cubicBezTo>
                    <a:pt x="93" y="167"/>
                    <a:pt x="93" y="168"/>
                    <a:pt x="93" y="168"/>
                  </a:cubicBezTo>
                  <a:cubicBezTo>
                    <a:pt x="94" y="168"/>
                    <a:pt x="94" y="168"/>
                    <a:pt x="94" y="168"/>
                  </a:cubicBezTo>
                  <a:cubicBezTo>
                    <a:pt x="95" y="168"/>
                    <a:pt x="95" y="168"/>
                    <a:pt x="95" y="168"/>
                  </a:cubicBezTo>
                  <a:cubicBezTo>
                    <a:pt x="95" y="168"/>
                    <a:pt x="95" y="168"/>
                    <a:pt x="95" y="168"/>
                  </a:cubicBezTo>
                  <a:cubicBezTo>
                    <a:pt x="95" y="168"/>
                    <a:pt x="95" y="168"/>
                    <a:pt x="95" y="168"/>
                  </a:cubicBezTo>
                  <a:cubicBezTo>
                    <a:pt x="95" y="168"/>
                    <a:pt x="95" y="168"/>
                    <a:pt x="95" y="168"/>
                  </a:cubicBezTo>
                  <a:cubicBezTo>
                    <a:pt x="96" y="168"/>
                    <a:pt x="96" y="168"/>
                    <a:pt x="96" y="168"/>
                  </a:cubicBezTo>
                  <a:cubicBezTo>
                    <a:pt x="96" y="168"/>
                    <a:pt x="96" y="168"/>
                    <a:pt x="96" y="168"/>
                  </a:cubicBezTo>
                  <a:cubicBezTo>
                    <a:pt x="98" y="167"/>
                    <a:pt x="98" y="167"/>
                    <a:pt x="98" y="167"/>
                  </a:cubicBezTo>
                  <a:cubicBezTo>
                    <a:pt x="98" y="167"/>
                    <a:pt x="98" y="166"/>
                    <a:pt x="98" y="166"/>
                  </a:cubicBezTo>
                  <a:cubicBezTo>
                    <a:pt x="98" y="166"/>
                    <a:pt x="98" y="166"/>
                    <a:pt x="98" y="166"/>
                  </a:cubicBezTo>
                  <a:cubicBezTo>
                    <a:pt x="100" y="165"/>
                    <a:pt x="100" y="165"/>
                    <a:pt x="100" y="165"/>
                  </a:cubicBezTo>
                  <a:cubicBezTo>
                    <a:pt x="100" y="165"/>
                    <a:pt x="100" y="165"/>
                    <a:pt x="100" y="165"/>
                  </a:cubicBezTo>
                  <a:cubicBezTo>
                    <a:pt x="100" y="165"/>
                    <a:pt x="100" y="165"/>
                    <a:pt x="100" y="165"/>
                  </a:cubicBezTo>
                  <a:cubicBezTo>
                    <a:pt x="100" y="165"/>
                    <a:pt x="100" y="165"/>
                    <a:pt x="100" y="165"/>
                  </a:cubicBezTo>
                  <a:cubicBezTo>
                    <a:pt x="101" y="165"/>
                    <a:pt x="101" y="165"/>
                    <a:pt x="101" y="164"/>
                  </a:cubicBezTo>
                  <a:cubicBezTo>
                    <a:pt x="101" y="164"/>
                    <a:pt x="102" y="164"/>
                    <a:pt x="102" y="163"/>
                  </a:cubicBezTo>
                  <a:cubicBezTo>
                    <a:pt x="102" y="163"/>
                    <a:pt x="102" y="163"/>
                    <a:pt x="102" y="163"/>
                  </a:cubicBezTo>
                  <a:cubicBezTo>
                    <a:pt x="102" y="163"/>
                    <a:pt x="103" y="163"/>
                    <a:pt x="103" y="163"/>
                  </a:cubicBezTo>
                  <a:cubicBezTo>
                    <a:pt x="103" y="163"/>
                    <a:pt x="103" y="163"/>
                    <a:pt x="103" y="163"/>
                  </a:cubicBezTo>
                  <a:cubicBezTo>
                    <a:pt x="103" y="162"/>
                    <a:pt x="103" y="162"/>
                    <a:pt x="103" y="162"/>
                  </a:cubicBezTo>
                  <a:cubicBezTo>
                    <a:pt x="103" y="162"/>
                    <a:pt x="104" y="162"/>
                    <a:pt x="104" y="161"/>
                  </a:cubicBezTo>
                  <a:cubicBezTo>
                    <a:pt x="104" y="161"/>
                    <a:pt x="103" y="161"/>
                    <a:pt x="103" y="161"/>
                  </a:cubicBezTo>
                  <a:cubicBezTo>
                    <a:pt x="103" y="161"/>
                    <a:pt x="103" y="161"/>
                    <a:pt x="103" y="161"/>
                  </a:cubicBezTo>
                  <a:cubicBezTo>
                    <a:pt x="103" y="161"/>
                    <a:pt x="104" y="161"/>
                    <a:pt x="104" y="161"/>
                  </a:cubicBezTo>
                  <a:cubicBezTo>
                    <a:pt x="104" y="161"/>
                    <a:pt x="104" y="160"/>
                    <a:pt x="105" y="160"/>
                  </a:cubicBezTo>
                  <a:cubicBezTo>
                    <a:pt x="105" y="160"/>
                    <a:pt x="105" y="160"/>
                    <a:pt x="105" y="160"/>
                  </a:cubicBezTo>
                  <a:cubicBezTo>
                    <a:pt x="105" y="161"/>
                    <a:pt x="106" y="161"/>
                    <a:pt x="106" y="160"/>
                  </a:cubicBezTo>
                  <a:cubicBezTo>
                    <a:pt x="107" y="160"/>
                    <a:pt x="107" y="160"/>
                    <a:pt x="107" y="160"/>
                  </a:cubicBezTo>
                  <a:cubicBezTo>
                    <a:pt x="107" y="159"/>
                    <a:pt x="107" y="159"/>
                    <a:pt x="107" y="158"/>
                  </a:cubicBezTo>
                  <a:cubicBezTo>
                    <a:pt x="107" y="158"/>
                    <a:pt x="107" y="158"/>
                    <a:pt x="107" y="158"/>
                  </a:cubicBezTo>
                  <a:cubicBezTo>
                    <a:pt x="107" y="158"/>
                    <a:pt x="107" y="158"/>
                    <a:pt x="107" y="158"/>
                  </a:cubicBezTo>
                  <a:cubicBezTo>
                    <a:pt x="107" y="158"/>
                    <a:pt x="107" y="157"/>
                    <a:pt x="107" y="157"/>
                  </a:cubicBezTo>
                  <a:cubicBezTo>
                    <a:pt x="107" y="157"/>
                    <a:pt x="107" y="157"/>
                    <a:pt x="107" y="157"/>
                  </a:cubicBezTo>
                  <a:cubicBezTo>
                    <a:pt x="107" y="157"/>
                    <a:pt x="107" y="157"/>
                    <a:pt x="107" y="157"/>
                  </a:cubicBezTo>
                  <a:cubicBezTo>
                    <a:pt x="107" y="157"/>
                    <a:pt x="107" y="157"/>
                    <a:pt x="108" y="156"/>
                  </a:cubicBezTo>
                  <a:cubicBezTo>
                    <a:pt x="108" y="156"/>
                    <a:pt x="108" y="156"/>
                    <a:pt x="108" y="156"/>
                  </a:cubicBezTo>
                  <a:cubicBezTo>
                    <a:pt x="109" y="156"/>
                    <a:pt x="109" y="156"/>
                    <a:pt x="109" y="156"/>
                  </a:cubicBezTo>
                  <a:cubicBezTo>
                    <a:pt x="109" y="156"/>
                    <a:pt x="109" y="156"/>
                    <a:pt x="109" y="156"/>
                  </a:cubicBezTo>
                  <a:cubicBezTo>
                    <a:pt x="110" y="156"/>
                    <a:pt x="110" y="156"/>
                    <a:pt x="110" y="156"/>
                  </a:cubicBezTo>
                  <a:cubicBezTo>
                    <a:pt x="111" y="156"/>
                    <a:pt x="111" y="156"/>
                    <a:pt x="111" y="156"/>
                  </a:cubicBezTo>
                  <a:cubicBezTo>
                    <a:pt x="111" y="156"/>
                    <a:pt x="111" y="156"/>
                    <a:pt x="111" y="156"/>
                  </a:cubicBezTo>
                  <a:cubicBezTo>
                    <a:pt x="111" y="156"/>
                    <a:pt x="111" y="156"/>
                    <a:pt x="111" y="156"/>
                  </a:cubicBezTo>
                  <a:cubicBezTo>
                    <a:pt x="111" y="156"/>
                    <a:pt x="112" y="156"/>
                    <a:pt x="112" y="156"/>
                  </a:cubicBezTo>
                  <a:cubicBezTo>
                    <a:pt x="114" y="157"/>
                    <a:pt x="114" y="157"/>
                    <a:pt x="114" y="157"/>
                  </a:cubicBezTo>
                  <a:cubicBezTo>
                    <a:pt x="114" y="157"/>
                    <a:pt x="114" y="157"/>
                    <a:pt x="114" y="157"/>
                  </a:cubicBezTo>
                  <a:cubicBezTo>
                    <a:pt x="114" y="157"/>
                    <a:pt x="114" y="157"/>
                    <a:pt x="114" y="157"/>
                  </a:cubicBezTo>
                  <a:cubicBezTo>
                    <a:pt x="115" y="157"/>
                    <a:pt x="115" y="157"/>
                    <a:pt x="115" y="157"/>
                  </a:cubicBezTo>
                  <a:cubicBezTo>
                    <a:pt x="115" y="157"/>
                    <a:pt x="115" y="157"/>
                    <a:pt x="115" y="157"/>
                  </a:cubicBezTo>
                  <a:cubicBezTo>
                    <a:pt x="115" y="157"/>
                    <a:pt x="115" y="157"/>
                    <a:pt x="115" y="157"/>
                  </a:cubicBezTo>
                  <a:cubicBezTo>
                    <a:pt x="116" y="157"/>
                    <a:pt x="116" y="157"/>
                    <a:pt x="116" y="157"/>
                  </a:cubicBezTo>
                  <a:cubicBezTo>
                    <a:pt x="116" y="158"/>
                    <a:pt x="116" y="158"/>
                    <a:pt x="116" y="158"/>
                  </a:cubicBezTo>
                  <a:cubicBezTo>
                    <a:pt x="116" y="158"/>
                    <a:pt x="117" y="159"/>
                    <a:pt x="117" y="159"/>
                  </a:cubicBezTo>
                  <a:cubicBezTo>
                    <a:pt x="117" y="159"/>
                    <a:pt x="117" y="159"/>
                    <a:pt x="117" y="159"/>
                  </a:cubicBezTo>
                  <a:cubicBezTo>
                    <a:pt x="117" y="159"/>
                    <a:pt x="117" y="159"/>
                    <a:pt x="118" y="160"/>
                  </a:cubicBezTo>
                  <a:cubicBezTo>
                    <a:pt x="118" y="160"/>
                    <a:pt x="118" y="160"/>
                    <a:pt x="118" y="160"/>
                  </a:cubicBezTo>
                  <a:cubicBezTo>
                    <a:pt x="118" y="160"/>
                    <a:pt x="118" y="160"/>
                    <a:pt x="118" y="160"/>
                  </a:cubicBezTo>
                  <a:cubicBezTo>
                    <a:pt x="118" y="160"/>
                    <a:pt x="118" y="160"/>
                    <a:pt x="118" y="160"/>
                  </a:cubicBezTo>
                  <a:cubicBezTo>
                    <a:pt x="118" y="161"/>
                    <a:pt x="118" y="161"/>
                    <a:pt x="118" y="161"/>
                  </a:cubicBezTo>
                  <a:cubicBezTo>
                    <a:pt x="119" y="161"/>
                    <a:pt x="119" y="161"/>
                    <a:pt x="119" y="161"/>
                  </a:cubicBezTo>
                  <a:cubicBezTo>
                    <a:pt x="119" y="162"/>
                    <a:pt x="119" y="162"/>
                    <a:pt x="119" y="162"/>
                  </a:cubicBezTo>
                  <a:cubicBezTo>
                    <a:pt x="120" y="162"/>
                    <a:pt x="120" y="162"/>
                    <a:pt x="120" y="162"/>
                  </a:cubicBezTo>
                  <a:cubicBezTo>
                    <a:pt x="120" y="162"/>
                    <a:pt x="120" y="162"/>
                    <a:pt x="120" y="162"/>
                  </a:cubicBezTo>
                  <a:cubicBezTo>
                    <a:pt x="120" y="162"/>
                    <a:pt x="121" y="162"/>
                    <a:pt x="121" y="162"/>
                  </a:cubicBezTo>
                  <a:cubicBezTo>
                    <a:pt x="121" y="162"/>
                    <a:pt x="121" y="163"/>
                    <a:pt x="121" y="163"/>
                  </a:cubicBezTo>
                  <a:cubicBezTo>
                    <a:pt x="122" y="163"/>
                    <a:pt x="122" y="163"/>
                    <a:pt x="122" y="163"/>
                  </a:cubicBezTo>
                  <a:cubicBezTo>
                    <a:pt x="122" y="163"/>
                    <a:pt x="122" y="163"/>
                    <a:pt x="122" y="163"/>
                  </a:cubicBezTo>
                  <a:cubicBezTo>
                    <a:pt x="121" y="163"/>
                    <a:pt x="121" y="163"/>
                    <a:pt x="122" y="164"/>
                  </a:cubicBezTo>
                  <a:cubicBezTo>
                    <a:pt x="122" y="164"/>
                    <a:pt x="122" y="164"/>
                    <a:pt x="122" y="164"/>
                  </a:cubicBezTo>
                  <a:cubicBezTo>
                    <a:pt x="122" y="164"/>
                    <a:pt x="122" y="164"/>
                    <a:pt x="122" y="164"/>
                  </a:cubicBezTo>
                  <a:cubicBezTo>
                    <a:pt x="122" y="165"/>
                    <a:pt x="122" y="165"/>
                    <a:pt x="122" y="165"/>
                  </a:cubicBezTo>
                  <a:cubicBezTo>
                    <a:pt x="123" y="165"/>
                    <a:pt x="123" y="165"/>
                    <a:pt x="123" y="165"/>
                  </a:cubicBezTo>
                  <a:cubicBezTo>
                    <a:pt x="123" y="165"/>
                    <a:pt x="123" y="165"/>
                    <a:pt x="123" y="165"/>
                  </a:cubicBezTo>
                  <a:cubicBezTo>
                    <a:pt x="124" y="166"/>
                    <a:pt x="124" y="166"/>
                    <a:pt x="124" y="166"/>
                  </a:cubicBezTo>
                  <a:cubicBezTo>
                    <a:pt x="125" y="167"/>
                    <a:pt x="125" y="167"/>
                    <a:pt x="125" y="167"/>
                  </a:cubicBezTo>
                  <a:cubicBezTo>
                    <a:pt x="125" y="167"/>
                    <a:pt x="125" y="167"/>
                    <a:pt x="125" y="167"/>
                  </a:cubicBezTo>
                  <a:cubicBezTo>
                    <a:pt x="126" y="167"/>
                    <a:pt x="126" y="167"/>
                    <a:pt x="126" y="167"/>
                  </a:cubicBezTo>
                  <a:cubicBezTo>
                    <a:pt x="126" y="167"/>
                    <a:pt x="126" y="167"/>
                    <a:pt x="126" y="167"/>
                  </a:cubicBezTo>
                  <a:cubicBezTo>
                    <a:pt x="126" y="167"/>
                    <a:pt x="126" y="167"/>
                    <a:pt x="126" y="167"/>
                  </a:cubicBezTo>
                  <a:cubicBezTo>
                    <a:pt x="127" y="168"/>
                    <a:pt x="127" y="168"/>
                    <a:pt x="127" y="168"/>
                  </a:cubicBezTo>
                  <a:cubicBezTo>
                    <a:pt x="127" y="168"/>
                    <a:pt x="127" y="168"/>
                    <a:pt x="127" y="168"/>
                  </a:cubicBezTo>
                  <a:cubicBezTo>
                    <a:pt x="127" y="169"/>
                    <a:pt x="127" y="169"/>
                    <a:pt x="128" y="169"/>
                  </a:cubicBezTo>
                  <a:cubicBezTo>
                    <a:pt x="128" y="169"/>
                    <a:pt x="128" y="169"/>
                    <a:pt x="128" y="169"/>
                  </a:cubicBezTo>
                  <a:cubicBezTo>
                    <a:pt x="128" y="170"/>
                    <a:pt x="128" y="170"/>
                    <a:pt x="128" y="170"/>
                  </a:cubicBezTo>
                  <a:cubicBezTo>
                    <a:pt x="128" y="170"/>
                    <a:pt x="129" y="170"/>
                    <a:pt x="129" y="170"/>
                  </a:cubicBezTo>
                  <a:cubicBezTo>
                    <a:pt x="129" y="170"/>
                    <a:pt x="129" y="170"/>
                    <a:pt x="129" y="170"/>
                  </a:cubicBezTo>
                  <a:cubicBezTo>
                    <a:pt x="129" y="170"/>
                    <a:pt x="129" y="170"/>
                    <a:pt x="129" y="170"/>
                  </a:cubicBezTo>
                  <a:cubicBezTo>
                    <a:pt x="129" y="171"/>
                    <a:pt x="129" y="171"/>
                    <a:pt x="129" y="171"/>
                  </a:cubicBezTo>
                  <a:cubicBezTo>
                    <a:pt x="129" y="172"/>
                    <a:pt x="129" y="172"/>
                    <a:pt x="130" y="172"/>
                  </a:cubicBezTo>
                  <a:cubicBezTo>
                    <a:pt x="130" y="172"/>
                    <a:pt x="130" y="172"/>
                    <a:pt x="130" y="172"/>
                  </a:cubicBezTo>
                  <a:cubicBezTo>
                    <a:pt x="131" y="172"/>
                    <a:pt x="131" y="172"/>
                    <a:pt x="131" y="171"/>
                  </a:cubicBezTo>
                  <a:cubicBezTo>
                    <a:pt x="131" y="171"/>
                    <a:pt x="131" y="171"/>
                    <a:pt x="131" y="171"/>
                  </a:cubicBezTo>
                  <a:cubicBezTo>
                    <a:pt x="131" y="171"/>
                    <a:pt x="131" y="171"/>
                    <a:pt x="131" y="171"/>
                  </a:cubicBezTo>
                  <a:cubicBezTo>
                    <a:pt x="133" y="171"/>
                    <a:pt x="133" y="171"/>
                    <a:pt x="133" y="171"/>
                  </a:cubicBezTo>
                  <a:cubicBezTo>
                    <a:pt x="133" y="171"/>
                    <a:pt x="133" y="171"/>
                    <a:pt x="133" y="171"/>
                  </a:cubicBezTo>
                  <a:cubicBezTo>
                    <a:pt x="133" y="171"/>
                    <a:pt x="133" y="171"/>
                    <a:pt x="133" y="171"/>
                  </a:cubicBezTo>
                  <a:cubicBezTo>
                    <a:pt x="133" y="171"/>
                    <a:pt x="133" y="171"/>
                    <a:pt x="133" y="171"/>
                  </a:cubicBezTo>
                  <a:cubicBezTo>
                    <a:pt x="133" y="172"/>
                    <a:pt x="133" y="172"/>
                    <a:pt x="134" y="172"/>
                  </a:cubicBezTo>
                  <a:cubicBezTo>
                    <a:pt x="134" y="172"/>
                    <a:pt x="134" y="172"/>
                    <a:pt x="134" y="172"/>
                  </a:cubicBezTo>
                  <a:cubicBezTo>
                    <a:pt x="134" y="172"/>
                    <a:pt x="134" y="172"/>
                    <a:pt x="134" y="172"/>
                  </a:cubicBezTo>
                  <a:cubicBezTo>
                    <a:pt x="134" y="173"/>
                    <a:pt x="134" y="173"/>
                    <a:pt x="134" y="173"/>
                  </a:cubicBezTo>
                  <a:cubicBezTo>
                    <a:pt x="134" y="173"/>
                    <a:pt x="135" y="173"/>
                    <a:pt x="135" y="173"/>
                  </a:cubicBezTo>
                  <a:cubicBezTo>
                    <a:pt x="135" y="174"/>
                    <a:pt x="135" y="174"/>
                    <a:pt x="135" y="174"/>
                  </a:cubicBezTo>
                  <a:cubicBezTo>
                    <a:pt x="135" y="174"/>
                    <a:pt x="135" y="174"/>
                    <a:pt x="135" y="175"/>
                  </a:cubicBezTo>
                  <a:cubicBezTo>
                    <a:pt x="136" y="175"/>
                    <a:pt x="136" y="175"/>
                    <a:pt x="136" y="175"/>
                  </a:cubicBezTo>
                  <a:cubicBezTo>
                    <a:pt x="135" y="175"/>
                    <a:pt x="135" y="175"/>
                    <a:pt x="135" y="175"/>
                  </a:cubicBezTo>
                  <a:cubicBezTo>
                    <a:pt x="135" y="175"/>
                    <a:pt x="135" y="175"/>
                    <a:pt x="135" y="176"/>
                  </a:cubicBezTo>
                  <a:cubicBezTo>
                    <a:pt x="135" y="176"/>
                    <a:pt x="135" y="176"/>
                    <a:pt x="135" y="176"/>
                  </a:cubicBezTo>
                  <a:cubicBezTo>
                    <a:pt x="135" y="176"/>
                    <a:pt x="135" y="176"/>
                    <a:pt x="135" y="176"/>
                  </a:cubicBezTo>
                  <a:cubicBezTo>
                    <a:pt x="135" y="176"/>
                    <a:pt x="135" y="177"/>
                    <a:pt x="135" y="177"/>
                  </a:cubicBezTo>
                  <a:cubicBezTo>
                    <a:pt x="135" y="177"/>
                    <a:pt x="135" y="177"/>
                    <a:pt x="135" y="177"/>
                  </a:cubicBezTo>
                  <a:cubicBezTo>
                    <a:pt x="135" y="178"/>
                    <a:pt x="136" y="178"/>
                    <a:pt x="136" y="178"/>
                  </a:cubicBezTo>
                  <a:cubicBezTo>
                    <a:pt x="136" y="178"/>
                    <a:pt x="136" y="178"/>
                    <a:pt x="136" y="178"/>
                  </a:cubicBezTo>
                  <a:cubicBezTo>
                    <a:pt x="136" y="179"/>
                    <a:pt x="136" y="179"/>
                    <a:pt x="137" y="179"/>
                  </a:cubicBezTo>
                  <a:cubicBezTo>
                    <a:pt x="137" y="179"/>
                    <a:pt x="137" y="179"/>
                    <a:pt x="137" y="179"/>
                  </a:cubicBezTo>
                  <a:cubicBezTo>
                    <a:pt x="137" y="180"/>
                    <a:pt x="137" y="180"/>
                    <a:pt x="137" y="180"/>
                  </a:cubicBezTo>
                  <a:cubicBezTo>
                    <a:pt x="137" y="180"/>
                    <a:pt x="137" y="181"/>
                    <a:pt x="137" y="181"/>
                  </a:cubicBezTo>
                  <a:cubicBezTo>
                    <a:pt x="137" y="184"/>
                    <a:pt x="137" y="184"/>
                    <a:pt x="137" y="184"/>
                  </a:cubicBezTo>
                  <a:cubicBezTo>
                    <a:pt x="137" y="184"/>
                    <a:pt x="137" y="184"/>
                    <a:pt x="137" y="185"/>
                  </a:cubicBezTo>
                  <a:cubicBezTo>
                    <a:pt x="137" y="186"/>
                    <a:pt x="137" y="186"/>
                    <a:pt x="137" y="186"/>
                  </a:cubicBezTo>
                  <a:cubicBezTo>
                    <a:pt x="137" y="186"/>
                    <a:pt x="137" y="187"/>
                    <a:pt x="137" y="187"/>
                  </a:cubicBezTo>
                  <a:cubicBezTo>
                    <a:pt x="137" y="187"/>
                    <a:pt x="137" y="187"/>
                    <a:pt x="137" y="187"/>
                  </a:cubicBezTo>
                  <a:cubicBezTo>
                    <a:pt x="137" y="188"/>
                    <a:pt x="137" y="188"/>
                    <a:pt x="137" y="188"/>
                  </a:cubicBezTo>
                  <a:cubicBezTo>
                    <a:pt x="136" y="188"/>
                    <a:pt x="136" y="188"/>
                    <a:pt x="136" y="188"/>
                  </a:cubicBezTo>
                  <a:cubicBezTo>
                    <a:pt x="136" y="189"/>
                    <a:pt x="136" y="189"/>
                    <a:pt x="136" y="189"/>
                  </a:cubicBezTo>
                  <a:cubicBezTo>
                    <a:pt x="136" y="190"/>
                    <a:pt x="136" y="190"/>
                    <a:pt x="136" y="190"/>
                  </a:cubicBezTo>
                  <a:cubicBezTo>
                    <a:pt x="136" y="190"/>
                    <a:pt x="136" y="190"/>
                    <a:pt x="137" y="190"/>
                  </a:cubicBezTo>
                  <a:cubicBezTo>
                    <a:pt x="137" y="190"/>
                    <a:pt x="137" y="190"/>
                    <a:pt x="137" y="190"/>
                  </a:cubicBezTo>
                  <a:cubicBezTo>
                    <a:pt x="137" y="191"/>
                    <a:pt x="137" y="191"/>
                    <a:pt x="137" y="191"/>
                  </a:cubicBezTo>
                  <a:cubicBezTo>
                    <a:pt x="137" y="193"/>
                    <a:pt x="137" y="193"/>
                    <a:pt x="137" y="193"/>
                  </a:cubicBezTo>
                  <a:cubicBezTo>
                    <a:pt x="136" y="193"/>
                    <a:pt x="136" y="193"/>
                    <a:pt x="136" y="194"/>
                  </a:cubicBezTo>
                  <a:cubicBezTo>
                    <a:pt x="136" y="194"/>
                    <a:pt x="136" y="194"/>
                    <a:pt x="136" y="194"/>
                  </a:cubicBezTo>
                  <a:cubicBezTo>
                    <a:pt x="136" y="194"/>
                    <a:pt x="136" y="194"/>
                    <a:pt x="136" y="194"/>
                  </a:cubicBezTo>
                  <a:cubicBezTo>
                    <a:pt x="136" y="194"/>
                    <a:pt x="136" y="194"/>
                    <a:pt x="136" y="194"/>
                  </a:cubicBezTo>
                  <a:cubicBezTo>
                    <a:pt x="136" y="195"/>
                    <a:pt x="136" y="195"/>
                    <a:pt x="136" y="195"/>
                  </a:cubicBezTo>
                  <a:cubicBezTo>
                    <a:pt x="136" y="196"/>
                    <a:pt x="136" y="196"/>
                    <a:pt x="136" y="196"/>
                  </a:cubicBezTo>
                  <a:cubicBezTo>
                    <a:pt x="136" y="196"/>
                    <a:pt x="136" y="196"/>
                    <a:pt x="136" y="196"/>
                  </a:cubicBezTo>
                  <a:cubicBezTo>
                    <a:pt x="136" y="196"/>
                    <a:pt x="136" y="196"/>
                    <a:pt x="136" y="196"/>
                  </a:cubicBezTo>
                  <a:cubicBezTo>
                    <a:pt x="136" y="196"/>
                    <a:pt x="136" y="197"/>
                    <a:pt x="136" y="197"/>
                  </a:cubicBezTo>
                  <a:cubicBezTo>
                    <a:pt x="137" y="197"/>
                    <a:pt x="137" y="197"/>
                    <a:pt x="137" y="197"/>
                  </a:cubicBezTo>
                  <a:cubicBezTo>
                    <a:pt x="137" y="197"/>
                    <a:pt x="137" y="198"/>
                    <a:pt x="137" y="198"/>
                  </a:cubicBezTo>
                  <a:cubicBezTo>
                    <a:pt x="138" y="198"/>
                    <a:pt x="138" y="198"/>
                    <a:pt x="138" y="198"/>
                  </a:cubicBezTo>
                  <a:cubicBezTo>
                    <a:pt x="138" y="199"/>
                    <a:pt x="138" y="199"/>
                    <a:pt x="138" y="199"/>
                  </a:cubicBezTo>
                  <a:cubicBezTo>
                    <a:pt x="138" y="199"/>
                    <a:pt x="138" y="199"/>
                    <a:pt x="138" y="199"/>
                  </a:cubicBezTo>
                  <a:cubicBezTo>
                    <a:pt x="138" y="199"/>
                    <a:pt x="139" y="199"/>
                    <a:pt x="139" y="200"/>
                  </a:cubicBezTo>
                  <a:cubicBezTo>
                    <a:pt x="139" y="200"/>
                    <a:pt x="139" y="200"/>
                    <a:pt x="139" y="200"/>
                  </a:cubicBezTo>
                  <a:cubicBezTo>
                    <a:pt x="140" y="200"/>
                    <a:pt x="140" y="201"/>
                    <a:pt x="140" y="200"/>
                  </a:cubicBezTo>
                  <a:cubicBezTo>
                    <a:pt x="141" y="200"/>
                    <a:pt x="141" y="200"/>
                    <a:pt x="141" y="199"/>
                  </a:cubicBezTo>
                  <a:cubicBezTo>
                    <a:pt x="141" y="199"/>
                    <a:pt x="141" y="199"/>
                    <a:pt x="141" y="199"/>
                  </a:cubicBezTo>
                  <a:cubicBezTo>
                    <a:pt x="142" y="199"/>
                    <a:pt x="142" y="199"/>
                    <a:pt x="142" y="199"/>
                  </a:cubicBezTo>
                  <a:cubicBezTo>
                    <a:pt x="142" y="199"/>
                    <a:pt x="142" y="199"/>
                    <a:pt x="142" y="199"/>
                  </a:cubicBezTo>
                  <a:cubicBezTo>
                    <a:pt x="142" y="199"/>
                    <a:pt x="142" y="199"/>
                    <a:pt x="142" y="199"/>
                  </a:cubicBezTo>
                  <a:cubicBezTo>
                    <a:pt x="142" y="200"/>
                    <a:pt x="142" y="200"/>
                    <a:pt x="142" y="200"/>
                  </a:cubicBezTo>
                  <a:cubicBezTo>
                    <a:pt x="141" y="200"/>
                    <a:pt x="141" y="200"/>
                    <a:pt x="141" y="201"/>
                  </a:cubicBezTo>
                  <a:cubicBezTo>
                    <a:pt x="141" y="201"/>
                    <a:pt x="141" y="201"/>
                    <a:pt x="141" y="201"/>
                  </a:cubicBezTo>
                  <a:cubicBezTo>
                    <a:pt x="141" y="201"/>
                    <a:pt x="140" y="200"/>
                    <a:pt x="140" y="201"/>
                  </a:cubicBezTo>
                  <a:cubicBezTo>
                    <a:pt x="140" y="201"/>
                    <a:pt x="139" y="201"/>
                    <a:pt x="139" y="202"/>
                  </a:cubicBezTo>
                  <a:cubicBezTo>
                    <a:pt x="139" y="202"/>
                    <a:pt x="139" y="202"/>
                    <a:pt x="139" y="202"/>
                  </a:cubicBezTo>
                  <a:cubicBezTo>
                    <a:pt x="139" y="202"/>
                    <a:pt x="139" y="203"/>
                    <a:pt x="139" y="203"/>
                  </a:cubicBezTo>
                  <a:cubicBezTo>
                    <a:pt x="140" y="204"/>
                    <a:pt x="140" y="204"/>
                    <a:pt x="140" y="204"/>
                  </a:cubicBezTo>
                  <a:cubicBezTo>
                    <a:pt x="140" y="204"/>
                    <a:pt x="140" y="204"/>
                    <a:pt x="140" y="204"/>
                  </a:cubicBezTo>
                  <a:cubicBezTo>
                    <a:pt x="140" y="204"/>
                    <a:pt x="140" y="204"/>
                    <a:pt x="141" y="204"/>
                  </a:cubicBezTo>
                  <a:cubicBezTo>
                    <a:pt x="141" y="204"/>
                    <a:pt x="141" y="205"/>
                    <a:pt x="141" y="205"/>
                  </a:cubicBezTo>
                  <a:cubicBezTo>
                    <a:pt x="141" y="205"/>
                    <a:pt x="141" y="205"/>
                    <a:pt x="141" y="205"/>
                  </a:cubicBezTo>
                  <a:cubicBezTo>
                    <a:pt x="141" y="205"/>
                    <a:pt x="141" y="205"/>
                    <a:pt x="141" y="205"/>
                  </a:cubicBezTo>
                  <a:cubicBezTo>
                    <a:pt x="141" y="205"/>
                    <a:pt x="141" y="205"/>
                    <a:pt x="141" y="205"/>
                  </a:cubicBezTo>
                  <a:cubicBezTo>
                    <a:pt x="142" y="206"/>
                    <a:pt x="142" y="206"/>
                    <a:pt x="142" y="206"/>
                  </a:cubicBezTo>
                  <a:cubicBezTo>
                    <a:pt x="142" y="206"/>
                    <a:pt x="143" y="207"/>
                    <a:pt x="143" y="207"/>
                  </a:cubicBezTo>
                  <a:cubicBezTo>
                    <a:pt x="143" y="207"/>
                    <a:pt x="143" y="207"/>
                    <a:pt x="143" y="207"/>
                  </a:cubicBezTo>
                  <a:cubicBezTo>
                    <a:pt x="143" y="207"/>
                    <a:pt x="143" y="207"/>
                    <a:pt x="143" y="207"/>
                  </a:cubicBezTo>
                  <a:cubicBezTo>
                    <a:pt x="143" y="207"/>
                    <a:pt x="143" y="207"/>
                    <a:pt x="143" y="207"/>
                  </a:cubicBezTo>
                  <a:cubicBezTo>
                    <a:pt x="143" y="207"/>
                    <a:pt x="143" y="207"/>
                    <a:pt x="143" y="207"/>
                  </a:cubicBezTo>
                  <a:cubicBezTo>
                    <a:pt x="143" y="207"/>
                    <a:pt x="143" y="207"/>
                    <a:pt x="143" y="207"/>
                  </a:cubicBezTo>
                  <a:cubicBezTo>
                    <a:pt x="144" y="208"/>
                    <a:pt x="144" y="208"/>
                    <a:pt x="144" y="208"/>
                  </a:cubicBezTo>
                  <a:cubicBezTo>
                    <a:pt x="144" y="208"/>
                    <a:pt x="144" y="208"/>
                    <a:pt x="144" y="208"/>
                  </a:cubicBezTo>
                  <a:cubicBezTo>
                    <a:pt x="144" y="209"/>
                    <a:pt x="144" y="209"/>
                    <a:pt x="145" y="209"/>
                  </a:cubicBezTo>
                  <a:cubicBezTo>
                    <a:pt x="145" y="209"/>
                    <a:pt x="145" y="209"/>
                    <a:pt x="145" y="209"/>
                  </a:cubicBezTo>
                  <a:cubicBezTo>
                    <a:pt x="145" y="210"/>
                    <a:pt x="145" y="210"/>
                    <a:pt x="145" y="210"/>
                  </a:cubicBezTo>
                  <a:cubicBezTo>
                    <a:pt x="145" y="210"/>
                    <a:pt x="145" y="210"/>
                    <a:pt x="145" y="210"/>
                  </a:cubicBezTo>
                  <a:cubicBezTo>
                    <a:pt x="147" y="213"/>
                    <a:pt x="147" y="213"/>
                    <a:pt x="147" y="213"/>
                  </a:cubicBezTo>
                  <a:cubicBezTo>
                    <a:pt x="148" y="213"/>
                    <a:pt x="148" y="213"/>
                    <a:pt x="148" y="213"/>
                  </a:cubicBezTo>
                  <a:cubicBezTo>
                    <a:pt x="148" y="213"/>
                    <a:pt x="148" y="214"/>
                    <a:pt x="148" y="214"/>
                  </a:cubicBezTo>
                  <a:cubicBezTo>
                    <a:pt x="148" y="214"/>
                    <a:pt x="148" y="214"/>
                    <a:pt x="148" y="214"/>
                  </a:cubicBezTo>
                  <a:cubicBezTo>
                    <a:pt x="149" y="214"/>
                    <a:pt x="149" y="214"/>
                    <a:pt x="149" y="214"/>
                  </a:cubicBezTo>
                  <a:cubicBezTo>
                    <a:pt x="149" y="215"/>
                    <a:pt x="149" y="215"/>
                    <a:pt x="149" y="215"/>
                  </a:cubicBezTo>
                  <a:cubicBezTo>
                    <a:pt x="149" y="215"/>
                    <a:pt x="149" y="215"/>
                    <a:pt x="149" y="215"/>
                  </a:cubicBezTo>
                  <a:cubicBezTo>
                    <a:pt x="149" y="215"/>
                    <a:pt x="149" y="216"/>
                    <a:pt x="149" y="216"/>
                  </a:cubicBezTo>
                  <a:cubicBezTo>
                    <a:pt x="150" y="216"/>
                    <a:pt x="150" y="216"/>
                    <a:pt x="150" y="216"/>
                  </a:cubicBezTo>
                  <a:cubicBezTo>
                    <a:pt x="150" y="216"/>
                    <a:pt x="150" y="216"/>
                    <a:pt x="150" y="216"/>
                  </a:cubicBezTo>
                  <a:cubicBezTo>
                    <a:pt x="150" y="217"/>
                    <a:pt x="150" y="217"/>
                    <a:pt x="150" y="217"/>
                  </a:cubicBezTo>
                  <a:cubicBezTo>
                    <a:pt x="150" y="218"/>
                    <a:pt x="150" y="218"/>
                    <a:pt x="150" y="218"/>
                  </a:cubicBezTo>
                  <a:cubicBezTo>
                    <a:pt x="150" y="218"/>
                    <a:pt x="151" y="219"/>
                    <a:pt x="151" y="219"/>
                  </a:cubicBezTo>
                  <a:cubicBezTo>
                    <a:pt x="151" y="219"/>
                    <a:pt x="151" y="219"/>
                    <a:pt x="151" y="219"/>
                  </a:cubicBezTo>
                  <a:cubicBezTo>
                    <a:pt x="151" y="219"/>
                    <a:pt x="151" y="219"/>
                    <a:pt x="151" y="220"/>
                  </a:cubicBezTo>
                  <a:cubicBezTo>
                    <a:pt x="152" y="220"/>
                    <a:pt x="152" y="220"/>
                    <a:pt x="152" y="220"/>
                  </a:cubicBezTo>
                  <a:cubicBezTo>
                    <a:pt x="152" y="221"/>
                    <a:pt x="152" y="221"/>
                    <a:pt x="152" y="221"/>
                  </a:cubicBezTo>
                  <a:cubicBezTo>
                    <a:pt x="152" y="221"/>
                    <a:pt x="152" y="221"/>
                    <a:pt x="152" y="221"/>
                  </a:cubicBezTo>
                  <a:cubicBezTo>
                    <a:pt x="152" y="221"/>
                    <a:pt x="152" y="221"/>
                    <a:pt x="152" y="221"/>
                  </a:cubicBezTo>
                  <a:cubicBezTo>
                    <a:pt x="152" y="222"/>
                    <a:pt x="152" y="222"/>
                    <a:pt x="152" y="222"/>
                  </a:cubicBezTo>
                  <a:cubicBezTo>
                    <a:pt x="152" y="222"/>
                    <a:pt x="153" y="222"/>
                    <a:pt x="153" y="222"/>
                  </a:cubicBezTo>
                  <a:cubicBezTo>
                    <a:pt x="155" y="223"/>
                    <a:pt x="155" y="223"/>
                    <a:pt x="155" y="223"/>
                  </a:cubicBezTo>
                  <a:cubicBezTo>
                    <a:pt x="155" y="223"/>
                    <a:pt x="155" y="223"/>
                    <a:pt x="155" y="223"/>
                  </a:cubicBezTo>
                  <a:cubicBezTo>
                    <a:pt x="155" y="223"/>
                    <a:pt x="155" y="223"/>
                    <a:pt x="156" y="223"/>
                  </a:cubicBezTo>
                  <a:cubicBezTo>
                    <a:pt x="156" y="222"/>
                    <a:pt x="156" y="222"/>
                    <a:pt x="156" y="222"/>
                  </a:cubicBezTo>
                  <a:cubicBezTo>
                    <a:pt x="156" y="222"/>
                    <a:pt x="156" y="222"/>
                    <a:pt x="157" y="222"/>
                  </a:cubicBezTo>
                  <a:cubicBezTo>
                    <a:pt x="157" y="222"/>
                    <a:pt x="157" y="222"/>
                    <a:pt x="157" y="222"/>
                  </a:cubicBezTo>
                  <a:cubicBezTo>
                    <a:pt x="157" y="222"/>
                    <a:pt x="157" y="222"/>
                    <a:pt x="157" y="222"/>
                  </a:cubicBezTo>
                  <a:cubicBezTo>
                    <a:pt x="157" y="222"/>
                    <a:pt x="157" y="222"/>
                    <a:pt x="157" y="222"/>
                  </a:cubicBezTo>
                  <a:cubicBezTo>
                    <a:pt x="158" y="222"/>
                    <a:pt x="158" y="222"/>
                    <a:pt x="158" y="222"/>
                  </a:cubicBezTo>
                  <a:cubicBezTo>
                    <a:pt x="158" y="222"/>
                    <a:pt x="158" y="222"/>
                    <a:pt x="158" y="222"/>
                  </a:cubicBezTo>
                  <a:cubicBezTo>
                    <a:pt x="158" y="222"/>
                    <a:pt x="158" y="222"/>
                    <a:pt x="158" y="223"/>
                  </a:cubicBezTo>
                  <a:cubicBezTo>
                    <a:pt x="158" y="223"/>
                    <a:pt x="158" y="223"/>
                    <a:pt x="159" y="224"/>
                  </a:cubicBezTo>
                  <a:cubicBezTo>
                    <a:pt x="159" y="224"/>
                    <a:pt x="159" y="224"/>
                    <a:pt x="159" y="224"/>
                  </a:cubicBezTo>
                  <a:cubicBezTo>
                    <a:pt x="159" y="226"/>
                    <a:pt x="159" y="226"/>
                    <a:pt x="159" y="226"/>
                  </a:cubicBezTo>
                  <a:cubicBezTo>
                    <a:pt x="160" y="228"/>
                    <a:pt x="160" y="228"/>
                    <a:pt x="160" y="228"/>
                  </a:cubicBezTo>
                  <a:cubicBezTo>
                    <a:pt x="160" y="228"/>
                    <a:pt x="160" y="228"/>
                    <a:pt x="161" y="228"/>
                  </a:cubicBezTo>
                  <a:cubicBezTo>
                    <a:pt x="161" y="228"/>
                    <a:pt x="161" y="228"/>
                    <a:pt x="161" y="229"/>
                  </a:cubicBezTo>
                  <a:cubicBezTo>
                    <a:pt x="161" y="229"/>
                    <a:pt x="161" y="229"/>
                    <a:pt x="161" y="229"/>
                  </a:cubicBezTo>
                  <a:cubicBezTo>
                    <a:pt x="161" y="229"/>
                    <a:pt x="161" y="229"/>
                    <a:pt x="161" y="229"/>
                  </a:cubicBezTo>
                  <a:cubicBezTo>
                    <a:pt x="161" y="229"/>
                    <a:pt x="161" y="229"/>
                    <a:pt x="161" y="229"/>
                  </a:cubicBezTo>
                  <a:cubicBezTo>
                    <a:pt x="161" y="230"/>
                    <a:pt x="161" y="230"/>
                    <a:pt x="161" y="230"/>
                  </a:cubicBezTo>
                  <a:cubicBezTo>
                    <a:pt x="162" y="231"/>
                    <a:pt x="162" y="231"/>
                    <a:pt x="162" y="231"/>
                  </a:cubicBezTo>
                  <a:cubicBezTo>
                    <a:pt x="162" y="231"/>
                    <a:pt x="162" y="231"/>
                    <a:pt x="162" y="231"/>
                  </a:cubicBezTo>
                  <a:cubicBezTo>
                    <a:pt x="162" y="232"/>
                    <a:pt x="162" y="232"/>
                    <a:pt x="163" y="232"/>
                  </a:cubicBezTo>
                  <a:cubicBezTo>
                    <a:pt x="163" y="232"/>
                    <a:pt x="163" y="233"/>
                    <a:pt x="163" y="233"/>
                  </a:cubicBezTo>
                  <a:cubicBezTo>
                    <a:pt x="164" y="233"/>
                    <a:pt x="164" y="233"/>
                    <a:pt x="164" y="233"/>
                  </a:cubicBezTo>
                  <a:cubicBezTo>
                    <a:pt x="164" y="233"/>
                    <a:pt x="164" y="232"/>
                    <a:pt x="165" y="232"/>
                  </a:cubicBezTo>
                  <a:cubicBezTo>
                    <a:pt x="165" y="232"/>
                    <a:pt x="165" y="232"/>
                    <a:pt x="165" y="232"/>
                  </a:cubicBezTo>
                  <a:cubicBezTo>
                    <a:pt x="165" y="232"/>
                    <a:pt x="165" y="232"/>
                    <a:pt x="165" y="232"/>
                  </a:cubicBezTo>
                  <a:cubicBezTo>
                    <a:pt x="165" y="232"/>
                    <a:pt x="165" y="232"/>
                    <a:pt x="166" y="232"/>
                  </a:cubicBezTo>
                  <a:cubicBezTo>
                    <a:pt x="166" y="232"/>
                    <a:pt x="166" y="232"/>
                    <a:pt x="166" y="232"/>
                  </a:cubicBezTo>
                  <a:cubicBezTo>
                    <a:pt x="166" y="233"/>
                    <a:pt x="167" y="233"/>
                    <a:pt x="167" y="233"/>
                  </a:cubicBezTo>
                  <a:cubicBezTo>
                    <a:pt x="167" y="233"/>
                    <a:pt x="167" y="233"/>
                    <a:pt x="167" y="233"/>
                  </a:cubicBezTo>
                  <a:cubicBezTo>
                    <a:pt x="167" y="233"/>
                    <a:pt x="168" y="233"/>
                    <a:pt x="168" y="233"/>
                  </a:cubicBezTo>
                  <a:cubicBezTo>
                    <a:pt x="168" y="233"/>
                    <a:pt x="168" y="233"/>
                    <a:pt x="168" y="233"/>
                  </a:cubicBezTo>
                  <a:cubicBezTo>
                    <a:pt x="168" y="233"/>
                    <a:pt x="168" y="233"/>
                    <a:pt x="169" y="233"/>
                  </a:cubicBezTo>
                  <a:cubicBezTo>
                    <a:pt x="169" y="233"/>
                    <a:pt x="169" y="233"/>
                    <a:pt x="169" y="233"/>
                  </a:cubicBezTo>
                  <a:cubicBezTo>
                    <a:pt x="169" y="233"/>
                    <a:pt x="169" y="233"/>
                    <a:pt x="169" y="234"/>
                  </a:cubicBezTo>
                  <a:cubicBezTo>
                    <a:pt x="170" y="234"/>
                    <a:pt x="170" y="234"/>
                    <a:pt x="170" y="234"/>
                  </a:cubicBezTo>
                  <a:cubicBezTo>
                    <a:pt x="170" y="234"/>
                    <a:pt x="170" y="234"/>
                    <a:pt x="170" y="234"/>
                  </a:cubicBezTo>
                  <a:cubicBezTo>
                    <a:pt x="170" y="234"/>
                    <a:pt x="170" y="235"/>
                    <a:pt x="170" y="235"/>
                  </a:cubicBezTo>
                  <a:cubicBezTo>
                    <a:pt x="170" y="235"/>
                    <a:pt x="171" y="235"/>
                    <a:pt x="171" y="235"/>
                  </a:cubicBezTo>
                  <a:cubicBezTo>
                    <a:pt x="171" y="235"/>
                    <a:pt x="171" y="235"/>
                    <a:pt x="171" y="235"/>
                  </a:cubicBezTo>
                  <a:cubicBezTo>
                    <a:pt x="171" y="236"/>
                    <a:pt x="171" y="236"/>
                    <a:pt x="171" y="236"/>
                  </a:cubicBezTo>
                  <a:cubicBezTo>
                    <a:pt x="171" y="236"/>
                    <a:pt x="171" y="236"/>
                    <a:pt x="171" y="236"/>
                  </a:cubicBezTo>
                  <a:cubicBezTo>
                    <a:pt x="172" y="237"/>
                    <a:pt x="172" y="237"/>
                    <a:pt x="172" y="237"/>
                  </a:cubicBezTo>
                  <a:cubicBezTo>
                    <a:pt x="172" y="237"/>
                    <a:pt x="172" y="237"/>
                    <a:pt x="172" y="237"/>
                  </a:cubicBezTo>
                  <a:cubicBezTo>
                    <a:pt x="172" y="237"/>
                    <a:pt x="172" y="237"/>
                    <a:pt x="172" y="238"/>
                  </a:cubicBezTo>
                  <a:cubicBezTo>
                    <a:pt x="173" y="238"/>
                    <a:pt x="173" y="238"/>
                    <a:pt x="173" y="238"/>
                  </a:cubicBezTo>
                  <a:cubicBezTo>
                    <a:pt x="173" y="239"/>
                    <a:pt x="173" y="239"/>
                    <a:pt x="173" y="239"/>
                  </a:cubicBezTo>
                  <a:cubicBezTo>
                    <a:pt x="173" y="239"/>
                    <a:pt x="173" y="239"/>
                    <a:pt x="174" y="239"/>
                  </a:cubicBezTo>
                  <a:cubicBezTo>
                    <a:pt x="174" y="240"/>
                    <a:pt x="174" y="240"/>
                    <a:pt x="174" y="240"/>
                  </a:cubicBezTo>
                  <a:cubicBezTo>
                    <a:pt x="174" y="240"/>
                    <a:pt x="174" y="240"/>
                    <a:pt x="174" y="240"/>
                  </a:cubicBezTo>
                  <a:cubicBezTo>
                    <a:pt x="174" y="241"/>
                    <a:pt x="174" y="241"/>
                    <a:pt x="174" y="241"/>
                  </a:cubicBezTo>
                  <a:cubicBezTo>
                    <a:pt x="174" y="241"/>
                    <a:pt x="174" y="241"/>
                    <a:pt x="174" y="241"/>
                  </a:cubicBezTo>
                  <a:cubicBezTo>
                    <a:pt x="174" y="243"/>
                    <a:pt x="174" y="243"/>
                    <a:pt x="174" y="243"/>
                  </a:cubicBezTo>
                  <a:cubicBezTo>
                    <a:pt x="174" y="243"/>
                    <a:pt x="174" y="243"/>
                    <a:pt x="174" y="243"/>
                  </a:cubicBezTo>
                  <a:cubicBezTo>
                    <a:pt x="174" y="244"/>
                    <a:pt x="174" y="244"/>
                    <a:pt x="174" y="244"/>
                  </a:cubicBezTo>
                  <a:cubicBezTo>
                    <a:pt x="174" y="244"/>
                    <a:pt x="175" y="245"/>
                    <a:pt x="175" y="245"/>
                  </a:cubicBezTo>
                  <a:cubicBezTo>
                    <a:pt x="176" y="245"/>
                    <a:pt x="176" y="245"/>
                    <a:pt x="176" y="245"/>
                  </a:cubicBezTo>
                  <a:cubicBezTo>
                    <a:pt x="176" y="245"/>
                    <a:pt x="176" y="245"/>
                    <a:pt x="177" y="245"/>
                  </a:cubicBezTo>
                  <a:cubicBezTo>
                    <a:pt x="177" y="245"/>
                    <a:pt x="177" y="245"/>
                    <a:pt x="177" y="245"/>
                  </a:cubicBezTo>
                  <a:cubicBezTo>
                    <a:pt x="178" y="245"/>
                    <a:pt x="178" y="245"/>
                    <a:pt x="178" y="245"/>
                  </a:cubicBezTo>
                  <a:cubicBezTo>
                    <a:pt x="178" y="245"/>
                    <a:pt x="178" y="245"/>
                    <a:pt x="178" y="245"/>
                  </a:cubicBezTo>
                  <a:cubicBezTo>
                    <a:pt x="179" y="244"/>
                    <a:pt x="179" y="244"/>
                    <a:pt x="179" y="244"/>
                  </a:cubicBezTo>
                  <a:cubicBezTo>
                    <a:pt x="180" y="244"/>
                    <a:pt x="180" y="244"/>
                    <a:pt x="180" y="244"/>
                  </a:cubicBezTo>
                  <a:cubicBezTo>
                    <a:pt x="180" y="244"/>
                    <a:pt x="180" y="244"/>
                    <a:pt x="180" y="244"/>
                  </a:cubicBezTo>
                  <a:cubicBezTo>
                    <a:pt x="181" y="244"/>
                    <a:pt x="181" y="244"/>
                    <a:pt x="181" y="244"/>
                  </a:cubicBezTo>
                  <a:cubicBezTo>
                    <a:pt x="182" y="244"/>
                    <a:pt x="182" y="244"/>
                    <a:pt x="182" y="244"/>
                  </a:cubicBezTo>
                  <a:cubicBezTo>
                    <a:pt x="182" y="244"/>
                    <a:pt x="182" y="244"/>
                    <a:pt x="182" y="244"/>
                  </a:cubicBezTo>
                  <a:cubicBezTo>
                    <a:pt x="182" y="244"/>
                    <a:pt x="182" y="244"/>
                    <a:pt x="182" y="244"/>
                  </a:cubicBezTo>
                  <a:cubicBezTo>
                    <a:pt x="182" y="244"/>
                    <a:pt x="182" y="244"/>
                    <a:pt x="182" y="244"/>
                  </a:cubicBezTo>
                  <a:cubicBezTo>
                    <a:pt x="182" y="244"/>
                    <a:pt x="182" y="244"/>
                    <a:pt x="182" y="245"/>
                  </a:cubicBezTo>
                  <a:cubicBezTo>
                    <a:pt x="181" y="244"/>
                    <a:pt x="181" y="244"/>
                    <a:pt x="181" y="244"/>
                  </a:cubicBezTo>
                  <a:cubicBezTo>
                    <a:pt x="181" y="244"/>
                    <a:pt x="181" y="244"/>
                    <a:pt x="181" y="244"/>
                  </a:cubicBezTo>
                  <a:cubicBezTo>
                    <a:pt x="180" y="244"/>
                    <a:pt x="180" y="245"/>
                    <a:pt x="180" y="245"/>
                  </a:cubicBezTo>
                  <a:cubicBezTo>
                    <a:pt x="180" y="246"/>
                    <a:pt x="181" y="246"/>
                    <a:pt x="181" y="246"/>
                  </a:cubicBezTo>
                  <a:cubicBezTo>
                    <a:pt x="181" y="246"/>
                    <a:pt x="181" y="247"/>
                    <a:pt x="181" y="247"/>
                  </a:cubicBezTo>
                  <a:cubicBezTo>
                    <a:pt x="181" y="247"/>
                    <a:pt x="181" y="247"/>
                    <a:pt x="182" y="248"/>
                  </a:cubicBezTo>
                  <a:cubicBezTo>
                    <a:pt x="181" y="248"/>
                    <a:pt x="181" y="248"/>
                    <a:pt x="181" y="248"/>
                  </a:cubicBezTo>
                  <a:cubicBezTo>
                    <a:pt x="181" y="249"/>
                    <a:pt x="181" y="249"/>
                    <a:pt x="181" y="249"/>
                  </a:cubicBezTo>
                  <a:cubicBezTo>
                    <a:pt x="181" y="249"/>
                    <a:pt x="181" y="250"/>
                    <a:pt x="181" y="250"/>
                  </a:cubicBezTo>
                  <a:cubicBezTo>
                    <a:pt x="180" y="250"/>
                    <a:pt x="180" y="250"/>
                    <a:pt x="180" y="250"/>
                  </a:cubicBezTo>
                  <a:cubicBezTo>
                    <a:pt x="180" y="250"/>
                    <a:pt x="180" y="250"/>
                    <a:pt x="180" y="250"/>
                  </a:cubicBezTo>
                  <a:cubicBezTo>
                    <a:pt x="180" y="250"/>
                    <a:pt x="180" y="250"/>
                    <a:pt x="179" y="250"/>
                  </a:cubicBezTo>
                  <a:cubicBezTo>
                    <a:pt x="178" y="251"/>
                    <a:pt x="178" y="251"/>
                    <a:pt x="178" y="251"/>
                  </a:cubicBezTo>
                  <a:cubicBezTo>
                    <a:pt x="178" y="251"/>
                    <a:pt x="178" y="251"/>
                    <a:pt x="178" y="251"/>
                  </a:cubicBezTo>
                  <a:cubicBezTo>
                    <a:pt x="178" y="251"/>
                    <a:pt x="178" y="251"/>
                    <a:pt x="177" y="251"/>
                  </a:cubicBezTo>
                  <a:cubicBezTo>
                    <a:pt x="177" y="252"/>
                    <a:pt x="177" y="252"/>
                    <a:pt x="177" y="252"/>
                  </a:cubicBezTo>
                  <a:cubicBezTo>
                    <a:pt x="177" y="252"/>
                    <a:pt x="176" y="252"/>
                    <a:pt x="176" y="253"/>
                  </a:cubicBezTo>
                  <a:cubicBezTo>
                    <a:pt x="176" y="253"/>
                    <a:pt x="177" y="253"/>
                    <a:pt x="177" y="254"/>
                  </a:cubicBezTo>
                  <a:cubicBezTo>
                    <a:pt x="177" y="254"/>
                    <a:pt x="177" y="254"/>
                    <a:pt x="178" y="254"/>
                  </a:cubicBezTo>
                  <a:cubicBezTo>
                    <a:pt x="178" y="254"/>
                    <a:pt x="178" y="254"/>
                    <a:pt x="178" y="254"/>
                  </a:cubicBezTo>
                  <a:cubicBezTo>
                    <a:pt x="179" y="253"/>
                    <a:pt x="179" y="253"/>
                    <a:pt x="179" y="253"/>
                  </a:cubicBezTo>
                  <a:cubicBezTo>
                    <a:pt x="179" y="253"/>
                    <a:pt x="180" y="253"/>
                    <a:pt x="180" y="253"/>
                  </a:cubicBezTo>
                  <a:cubicBezTo>
                    <a:pt x="181" y="252"/>
                    <a:pt x="181" y="252"/>
                    <a:pt x="181" y="252"/>
                  </a:cubicBezTo>
                  <a:cubicBezTo>
                    <a:pt x="181" y="252"/>
                    <a:pt x="181" y="252"/>
                    <a:pt x="181" y="252"/>
                  </a:cubicBezTo>
                  <a:cubicBezTo>
                    <a:pt x="181" y="252"/>
                    <a:pt x="181" y="251"/>
                    <a:pt x="181" y="251"/>
                  </a:cubicBezTo>
                  <a:cubicBezTo>
                    <a:pt x="181" y="251"/>
                    <a:pt x="181" y="251"/>
                    <a:pt x="181" y="251"/>
                  </a:cubicBezTo>
                  <a:cubicBezTo>
                    <a:pt x="182" y="251"/>
                    <a:pt x="182" y="251"/>
                    <a:pt x="182" y="251"/>
                  </a:cubicBezTo>
                  <a:cubicBezTo>
                    <a:pt x="183" y="250"/>
                    <a:pt x="183" y="250"/>
                    <a:pt x="183" y="250"/>
                  </a:cubicBezTo>
                  <a:cubicBezTo>
                    <a:pt x="183" y="250"/>
                    <a:pt x="183" y="250"/>
                    <a:pt x="183" y="250"/>
                  </a:cubicBezTo>
                  <a:cubicBezTo>
                    <a:pt x="183" y="250"/>
                    <a:pt x="184" y="250"/>
                    <a:pt x="184" y="249"/>
                  </a:cubicBezTo>
                  <a:cubicBezTo>
                    <a:pt x="184" y="249"/>
                    <a:pt x="184" y="249"/>
                    <a:pt x="184" y="249"/>
                  </a:cubicBezTo>
                  <a:cubicBezTo>
                    <a:pt x="184" y="249"/>
                    <a:pt x="184" y="249"/>
                    <a:pt x="184" y="249"/>
                  </a:cubicBezTo>
                  <a:cubicBezTo>
                    <a:pt x="185" y="249"/>
                    <a:pt x="185" y="249"/>
                    <a:pt x="185" y="248"/>
                  </a:cubicBezTo>
                  <a:cubicBezTo>
                    <a:pt x="185" y="248"/>
                    <a:pt x="185" y="248"/>
                    <a:pt x="185" y="248"/>
                  </a:cubicBezTo>
                  <a:cubicBezTo>
                    <a:pt x="185" y="248"/>
                    <a:pt x="185" y="248"/>
                    <a:pt x="185" y="248"/>
                  </a:cubicBezTo>
                  <a:cubicBezTo>
                    <a:pt x="186" y="247"/>
                    <a:pt x="186" y="247"/>
                    <a:pt x="186" y="247"/>
                  </a:cubicBezTo>
                  <a:cubicBezTo>
                    <a:pt x="186" y="247"/>
                    <a:pt x="186" y="247"/>
                    <a:pt x="186" y="247"/>
                  </a:cubicBezTo>
                  <a:cubicBezTo>
                    <a:pt x="186" y="247"/>
                    <a:pt x="187" y="247"/>
                    <a:pt x="187" y="247"/>
                  </a:cubicBezTo>
                  <a:cubicBezTo>
                    <a:pt x="187" y="246"/>
                    <a:pt x="187" y="246"/>
                    <a:pt x="187" y="246"/>
                  </a:cubicBezTo>
                  <a:cubicBezTo>
                    <a:pt x="187" y="246"/>
                    <a:pt x="187" y="246"/>
                    <a:pt x="187" y="246"/>
                  </a:cubicBezTo>
                  <a:cubicBezTo>
                    <a:pt x="188" y="245"/>
                    <a:pt x="188" y="245"/>
                    <a:pt x="188" y="245"/>
                  </a:cubicBezTo>
                  <a:cubicBezTo>
                    <a:pt x="188" y="245"/>
                    <a:pt x="188" y="245"/>
                    <a:pt x="188" y="245"/>
                  </a:cubicBezTo>
                  <a:cubicBezTo>
                    <a:pt x="188" y="244"/>
                    <a:pt x="188" y="244"/>
                    <a:pt x="188" y="244"/>
                  </a:cubicBezTo>
                  <a:cubicBezTo>
                    <a:pt x="188" y="244"/>
                    <a:pt x="188" y="244"/>
                    <a:pt x="188" y="244"/>
                  </a:cubicBezTo>
                  <a:cubicBezTo>
                    <a:pt x="188" y="244"/>
                    <a:pt x="189" y="244"/>
                    <a:pt x="189" y="243"/>
                  </a:cubicBezTo>
                  <a:cubicBezTo>
                    <a:pt x="190" y="241"/>
                    <a:pt x="190" y="241"/>
                    <a:pt x="190" y="241"/>
                  </a:cubicBezTo>
                  <a:cubicBezTo>
                    <a:pt x="190" y="241"/>
                    <a:pt x="190" y="241"/>
                    <a:pt x="190" y="241"/>
                  </a:cubicBezTo>
                  <a:cubicBezTo>
                    <a:pt x="190" y="240"/>
                    <a:pt x="190" y="240"/>
                    <a:pt x="190" y="240"/>
                  </a:cubicBezTo>
                  <a:cubicBezTo>
                    <a:pt x="191" y="239"/>
                    <a:pt x="191" y="239"/>
                    <a:pt x="191" y="239"/>
                  </a:cubicBezTo>
                  <a:cubicBezTo>
                    <a:pt x="191" y="239"/>
                    <a:pt x="191" y="239"/>
                    <a:pt x="191" y="238"/>
                  </a:cubicBezTo>
                  <a:cubicBezTo>
                    <a:pt x="191" y="238"/>
                    <a:pt x="191" y="238"/>
                    <a:pt x="191" y="238"/>
                  </a:cubicBezTo>
                  <a:cubicBezTo>
                    <a:pt x="191" y="238"/>
                    <a:pt x="191" y="237"/>
                    <a:pt x="191" y="237"/>
                  </a:cubicBezTo>
                  <a:cubicBezTo>
                    <a:pt x="191" y="237"/>
                    <a:pt x="191" y="237"/>
                    <a:pt x="191" y="237"/>
                  </a:cubicBezTo>
                  <a:cubicBezTo>
                    <a:pt x="191" y="236"/>
                    <a:pt x="191" y="236"/>
                    <a:pt x="191" y="236"/>
                  </a:cubicBezTo>
                  <a:cubicBezTo>
                    <a:pt x="191" y="236"/>
                    <a:pt x="192" y="236"/>
                    <a:pt x="192" y="236"/>
                  </a:cubicBezTo>
                  <a:cubicBezTo>
                    <a:pt x="192" y="234"/>
                    <a:pt x="192" y="234"/>
                    <a:pt x="192" y="234"/>
                  </a:cubicBezTo>
                  <a:cubicBezTo>
                    <a:pt x="192" y="233"/>
                    <a:pt x="191" y="233"/>
                    <a:pt x="191" y="233"/>
                  </a:cubicBezTo>
                  <a:cubicBezTo>
                    <a:pt x="190" y="233"/>
                    <a:pt x="190" y="233"/>
                    <a:pt x="190" y="234"/>
                  </a:cubicBezTo>
                  <a:cubicBezTo>
                    <a:pt x="190" y="235"/>
                    <a:pt x="190" y="235"/>
                    <a:pt x="190" y="235"/>
                  </a:cubicBezTo>
                  <a:cubicBezTo>
                    <a:pt x="190" y="235"/>
                    <a:pt x="190" y="235"/>
                    <a:pt x="190" y="235"/>
                  </a:cubicBezTo>
                  <a:cubicBezTo>
                    <a:pt x="189" y="235"/>
                    <a:pt x="189" y="235"/>
                    <a:pt x="189" y="234"/>
                  </a:cubicBezTo>
                  <a:cubicBezTo>
                    <a:pt x="189" y="234"/>
                    <a:pt x="190" y="234"/>
                    <a:pt x="190" y="234"/>
                  </a:cubicBezTo>
                  <a:cubicBezTo>
                    <a:pt x="190" y="232"/>
                    <a:pt x="190" y="232"/>
                    <a:pt x="190" y="232"/>
                  </a:cubicBezTo>
                  <a:cubicBezTo>
                    <a:pt x="190" y="232"/>
                    <a:pt x="190" y="232"/>
                    <a:pt x="190" y="232"/>
                  </a:cubicBezTo>
                  <a:cubicBezTo>
                    <a:pt x="190" y="232"/>
                    <a:pt x="190" y="232"/>
                    <a:pt x="190" y="231"/>
                  </a:cubicBezTo>
                  <a:cubicBezTo>
                    <a:pt x="190" y="231"/>
                    <a:pt x="190" y="231"/>
                    <a:pt x="190" y="231"/>
                  </a:cubicBezTo>
                  <a:cubicBezTo>
                    <a:pt x="190" y="231"/>
                    <a:pt x="190" y="231"/>
                    <a:pt x="190" y="231"/>
                  </a:cubicBezTo>
                  <a:cubicBezTo>
                    <a:pt x="191" y="231"/>
                    <a:pt x="191" y="231"/>
                    <a:pt x="191" y="231"/>
                  </a:cubicBezTo>
                  <a:cubicBezTo>
                    <a:pt x="191" y="231"/>
                    <a:pt x="192" y="231"/>
                    <a:pt x="192" y="230"/>
                  </a:cubicBezTo>
                  <a:cubicBezTo>
                    <a:pt x="192" y="229"/>
                    <a:pt x="192" y="229"/>
                    <a:pt x="192" y="229"/>
                  </a:cubicBezTo>
                  <a:cubicBezTo>
                    <a:pt x="192" y="229"/>
                    <a:pt x="192" y="229"/>
                    <a:pt x="192" y="229"/>
                  </a:cubicBezTo>
                  <a:cubicBezTo>
                    <a:pt x="192" y="229"/>
                    <a:pt x="192" y="229"/>
                    <a:pt x="192" y="228"/>
                  </a:cubicBezTo>
                  <a:cubicBezTo>
                    <a:pt x="191" y="222"/>
                    <a:pt x="191" y="222"/>
                    <a:pt x="191" y="222"/>
                  </a:cubicBezTo>
                  <a:cubicBezTo>
                    <a:pt x="191" y="222"/>
                    <a:pt x="191" y="222"/>
                    <a:pt x="191" y="222"/>
                  </a:cubicBezTo>
                  <a:cubicBezTo>
                    <a:pt x="191" y="221"/>
                    <a:pt x="191" y="221"/>
                    <a:pt x="191" y="221"/>
                  </a:cubicBezTo>
                  <a:cubicBezTo>
                    <a:pt x="191" y="217"/>
                    <a:pt x="191" y="217"/>
                    <a:pt x="191" y="217"/>
                  </a:cubicBezTo>
                  <a:cubicBezTo>
                    <a:pt x="191" y="217"/>
                    <a:pt x="191" y="217"/>
                    <a:pt x="191" y="217"/>
                  </a:cubicBezTo>
                  <a:cubicBezTo>
                    <a:pt x="190" y="216"/>
                    <a:pt x="190" y="216"/>
                    <a:pt x="190" y="216"/>
                  </a:cubicBezTo>
                  <a:cubicBezTo>
                    <a:pt x="191" y="216"/>
                    <a:pt x="191" y="216"/>
                    <a:pt x="191" y="216"/>
                  </a:cubicBezTo>
                  <a:cubicBezTo>
                    <a:pt x="191" y="216"/>
                    <a:pt x="191" y="216"/>
                    <a:pt x="191" y="215"/>
                  </a:cubicBezTo>
                  <a:cubicBezTo>
                    <a:pt x="190" y="209"/>
                    <a:pt x="190" y="209"/>
                    <a:pt x="190" y="209"/>
                  </a:cubicBezTo>
                  <a:cubicBezTo>
                    <a:pt x="190" y="209"/>
                    <a:pt x="190" y="209"/>
                    <a:pt x="190" y="209"/>
                  </a:cubicBezTo>
                  <a:cubicBezTo>
                    <a:pt x="190" y="209"/>
                    <a:pt x="190" y="209"/>
                    <a:pt x="190" y="208"/>
                  </a:cubicBezTo>
                  <a:cubicBezTo>
                    <a:pt x="190" y="208"/>
                    <a:pt x="190" y="208"/>
                    <a:pt x="190" y="208"/>
                  </a:cubicBezTo>
                  <a:cubicBezTo>
                    <a:pt x="190" y="207"/>
                    <a:pt x="190" y="207"/>
                    <a:pt x="190" y="207"/>
                  </a:cubicBezTo>
                  <a:cubicBezTo>
                    <a:pt x="190" y="207"/>
                    <a:pt x="190" y="207"/>
                    <a:pt x="190" y="207"/>
                  </a:cubicBezTo>
                  <a:cubicBezTo>
                    <a:pt x="189" y="206"/>
                    <a:pt x="189" y="206"/>
                    <a:pt x="189" y="206"/>
                  </a:cubicBezTo>
                  <a:cubicBezTo>
                    <a:pt x="189" y="206"/>
                    <a:pt x="189" y="206"/>
                    <a:pt x="189" y="206"/>
                  </a:cubicBezTo>
                  <a:cubicBezTo>
                    <a:pt x="189" y="205"/>
                    <a:pt x="189" y="205"/>
                    <a:pt x="189" y="205"/>
                  </a:cubicBezTo>
                  <a:cubicBezTo>
                    <a:pt x="189" y="205"/>
                    <a:pt x="189" y="205"/>
                    <a:pt x="189" y="205"/>
                  </a:cubicBezTo>
                  <a:cubicBezTo>
                    <a:pt x="189" y="204"/>
                    <a:pt x="188" y="204"/>
                    <a:pt x="188" y="204"/>
                  </a:cubicBezTo>
                  <a:cubicBezTo>
                    <a:pt x="188" y="203"/>
                    <a:pt x="188" y="203"/>
                    <a:pt x="188" y="203"/>
                  </a:cubicBezTo>
                  <a:cubicBezTo>
                    <a:pt x="187" y="202"/>
                    <a:pt x="187" y="202"/>
                    <a:pt x="187" y="202"/>
                  </a:cubicBezTo>
                  <a:cubicBezTo>
                    <a:pt x="187" y="201"/>
                    <a:pt x="187" y="201"/>
                    <a:pt x="187" y="201"/>
                  </a:cubicBezTo>
                  <a:cubicBezTo>
                    <a:pt x="187" y="201"/>
                    <a:pt x="187" y="201"/>
                    <a:pt x="187" y="201"/>
                  </a:cubicBezTo>
                  <a:cubicBezTo>
                    <a:pt x="187" y="201"/>
                    <a:pt x="186" y="201"/>
                    <a:pt x="186" y="200"/>
                  </a:cubicBezTo>
                  <a:cubicBezTo>
                    <a:pt x="186" y="200"/>
                    <a:pt x="186" y="200"/>
                    <a:pt x="186" y="200"/>
                  </a:cubicBezTo>
                  <a:cubicBezTo>
                    <a:pt x="186" y="200"/>
                    <a:pt x="186" y="200"/>
                    <a:pt x="185" y="199"/>
                  </a:cubicBezTo>
                  <a:cubicBezTo>
                    <a:pt x="182" y="193"/>
                    <a:pt x="182" y="193"/>
                    <a:pt x="182" y="193"/>
                  </a:cubicBezTo>
                  <a:cubicBezTo>
                    <a:pt x="182" y="192"/>
                    <a:pt x="182" y="192"/>
                    <a:pt x="182" y="192"/>
                  </a:cubicBezTo>
                  <a:cubicBezTo>
                    <a:pt x="182" y="192"/>
                    <a:pt x="182" y="192"/>
                    <a:pt x="182" y="192"/>
                  </a:cubicBezTo>
                  <a:cubicBezTo>
                    <a:pt x="182" y="192"/>
                    <a:pt x="181" y="192"/>
                    <a:pt x="181" y="191"/>
                  </a:cubicBezTo>
                  <a:cubicBezTo>
                    <a:pt x="180" y="189"/>
                    <a:pt x="180" y="189"/>
                    <a:pt x="180" y="189"/>
                  </a:cubicBezTo>
                  <a:cubicBezTo>
                    <a:pt x="179" y="188"/>
                    <a:pt x="179" y="188"/>
                    <a:pt x="179" y="188"/>
                  </a:cubicBezTo>
                  <a:cubicBezTo>
                    <a:pt x="179" y="188"/>
                    <a:pt x="179" y="188"/>
                    <a:pt x="179" y="188"/>
                  </a:cubicBezTo>
                  <a:cubicBezTo>
                    <a:pt x="179" y="187"/>
                    <a:pt x="179" y="187"/>
                    <a:pt x="179" y="187"/>
                  </a:cubicBezTo>
                  <a:cubicBezTo>
                    <a:pt x="179" y="187"/>
                    <a:pt x="179" y="187"/>
                    <a:pt x="179" y="187"/>
                  </a:cubicBezTo>
                  <a:cubicBezTo>
                    <a:pt x="177" y="185"/>
                    <a:pt x="177" y="185"/>
                    <a:pt x="177" y="185"/>
                  </a:cubicBezTo>
                  <a:cubicBezTo>
                    <a:pt x="176" y="184"/>
                    <a:pt x="176" y="184"/>
                    <a:pt x="176" y="184"/>
                  </a:cubicBezTo>
                  <a:cubicBezTo>
                    <a:pt x="176" y="184"/>
                    <a:pt x="176" y="184"/>
                    <a:pt x="176" y="184"/>
                  </a:cubicBezTo>
                  <a:cubicBezTo>
                    <a:pt x="176" y="184"/>
                    <a:pt x="176" y="183"/>
                    <a:pt x="176" y="183"/>
                  </a:cubicBezTo>
                  <a:cubicBezTo>
                    <a:pt x="175" y="182"/>
                    <a:pt x="175" y="182"/>
                    <a:pt x="175" y="182"/>
                  </a:cubicBezTo>
                  <a:cubicBezTo>
                    <a:pt x="175" y="181"/>
                    <a:pt x="175" y="181"/>
                    <a:pt x="175" y="181"/>
                  </a:cubicBezTo>
                  <a:cubicBezTo>
                    <a:pt x="175" y="181"/>
                    <a:pt x="175" y="180"/>
                    <a:pt x="175" y="180"/>
                  </a:cubicBezTo>
                  <a:cubicBezTo>
                    <a:pt x="175" y="180"/>
                    <a:pt x="175" y="180"/>
                    <a:pt x="175" y="180"/>
                  </a:cubicBezTo>
                  <a:cubicBezTo>
                    <a:pt x="175" y="178"/>
                    <a:pt x="175" y="178"/>
                    <a:pt x="175" y="178"/>
                  </a:cubicBezTo>
                  <a:cubicBezTo>
                    <a:pt x="175" y="178"/>
                    <a:pt x="175" y="178"/>
                    <a:pt x="175" y="178"/>
                  </a:cubicBezTo>
                  <a:cubicBezTo>
                    <a:pt x="175" y="178"/>
                    <a:pt x="176" y="177"/>
                    <a:pt x="176" y="177"/>
                  </a:cubicBezTo>
                  <a:cubicBezTo>
                    <a:pt x="176" y="177"/>
                    <a:pt x="176" y="177"/>
                    <a:pt x="176" y="177"/>
                  </a:cubicBezTo>
                  <a:cubicBezTo>
                    <a:pt x="176" y="177"/>
                    <a:pt x="175" y="177"/>
                    <a:pt x="175" y="176"/>
                  </a:cubicBezTo>
                  <a:cubicBezTo>
                    <a:pt x="174" y="174"/>
                    <a:pt x="174" y="174"/>
                    <a:pt x="174" y="174"/>
                  </a:cubicBezTo>
                  <a:cubicBezTo>
                    <a:pt x="174" y="174"/>
                    <a:pt x="174" y="174"/>
                    <a:pt x="174" y="174"/>
                  </a:cubicBezTo>
                  <a:cubicBezTo>
                    <a:pt x="173" y="173"/>
                    <a:pt x="173" y="173"/>
                    <a:pt x="173" y="173"/>
                  </a:cubicBezTo>
                  <a:cubicBezTo>
                    <a:pt x="170" y="170"/>
                    <a:pt x="170" y="170"/>
                    <a:pt x="170" y="170"/>
                  </a:cubicBezTo>
                  <a:cubicBezTo>
                    <a:pt x="168" y="167"/>
                    <a:pt x="168" y="167"/>
                    <a:pt x="168" y="167"/>
                  </a:cubicBezTo>
                  <a:cubicBezTo>
                    <a:pt x="168" y="167"/>
                    <a:pt x="168" y="167"/>
                    <a:pt x="168" y="167"/>
                  </a:cubicBezTo>
                  <a:cubicBezTo>
                    <a:pt x="168" y="167"/>
                    <a:pt x="168" y="166"/>
                    <a:pt x="167" y="166"/>
                  </a:cubicBezTo>
                  <a:cubicBezTo>
                    <a:pt x="167" y="166"/>
                    <a:pt x="167" y="166"/>
                    <a:pt x="167" y="166"/>
                  </a:cubicBezTo>
                  <a:cubicBezTo>
                    <a:pt x="167" y="166"/>
                    <a:pt x="167" y="166"/>
                    <a:pt x="167" y="166"/>
                  </a:cubicBezTo>
                  <a:cubicBezTo>
                    <a:pt x="167" y="165"/>
                    <a:pt x="167" y="165"/>
                    <a:pt x="167" y="165"/>
                  </a:cubicBezTo>
                  <a:cubicBezTo>
                    <a:pt x="165" y="163"/>
                    <a:pt x="165" y="163"/>
                    <a:pt x="165" y="163"/>
                  </a:cubicBezTo>
                  <a:cubicBezTo>
                    <a:pt x="163" y="160"/>
                    <a:pt x="163" y="160"/>
                    <a:pt x="163" y="160"/>
                  </a:cubicBezTo>
                  <a:cubicBezTo>
                    <a:pt x="161" y="157"/>
                    <a:pt x="161" y="157"/>
                    <a:pt x="161" y="157"/>
                  </a:cubicBezTo>
                  <a:cubicBezTo>
                    <a:pt x="161" y="156"/>
                    <a:pt x="161" y="156"/>
                    <a:pt x="161" y="156"/>
                  </a:cubicBezTo>
                  <a:cubicBezTo>
                    <a:pt x="161" y="156"/>
                    <a:pt x="161" y="156"/>
                    <a:pt x="161" y="156"/>
                  </a:cubicBezTo>
                  <a:cubicBezTo>
                    <a:pt x="161" y="156"/>
                    <a:pt x="160" y="155"/>
                    <a:pt x="160" y="155"/>
                  </a:cubicBezTo>
                  <a:cubicBezTo>
                    <a:pt x="160" y="155"/>
                    <a:pt x="160" y="155"/>
                    <a:pt x="160" y="155"/>
                  </a:cubicBezTo>
                  <a:cubicBezTo>
                    <a:pt x="159" y="153"/>
                    <a:pt x="159" y="153"/>
                    <a:pt x="159" y="153"/>
                  </a:cubicBezTo>
                  <a:cubicBezTo>
                    <a:pt x="159" y="153"/>
                    <a:pt x="159" y="153"/>
                    <a:pt x="159" y="153"/>
                  </a:cubicBezTo>
                  <a:cubicBezTo>
                    <a:pt x="159" y="153"/>
                    <a:pt x="159" y="152"/>
                    <a:pt x="159" y="152"/>
                  </a:cubicBezTo>
                  <a:cubicBezTo>
                    <a:pt x="158" y="152"/>
                    <a:pt x="158" y="152"/>
                    <a:pt x="158" y="152"/>
                  </a:cubicBezTo>
                  <a:cubicBezTo>
                    <a:pt x="158" y="151"/>
                    <a:pt x="158" y="151"/>
                    <a:pt x="158" y="151"/>
                  </a:cubicBezTo>
                  <a:cubicBezTo>
                    <a:pt x="158" y="151"/>
                    <a:pt x="158" y="151"/>
                    <a:pt x="158" y="151"/>
                  </a:cubicBezTo>
                  <a:cubicBezTo>
                    <a:pt x="158" y="151"/>
                    <a:pt x="158" y="150"/>
                    <a:pt x="158" y="150"/>
                  </a:cubicBezTo>
                  <a:cubicBezTo>
                    <a:pt x="158" y="150"/>
                    <a:pt x="158" y="150"/>
                    <a:pt x="158" y="150"/>
                  </a:cubicBezTo>
                  <a:cubicBezTo>
                    <a:pt x="157" y="148"/>
                    <a:pt x="157" y="148"/>
                    <a:pt x="157" y="148"/>
                  </a:cubicBezTo>
                  <a:cubicBezTo>
                    <a:pt x="157" y="147"/>
                    <a:pt x="157" y="147"/>
                    <a:pt x="157" y="147"/>
                  </a:cubicBezTo>
                  <a:cubicBezTo>
                    <a:pt x="157" y="146"/>
                    <a:pt x="157" y="146"/>
                    <a:pt x="157" y="146"/>
                  </a:cubicBezTo>
                  <a:cubicBezTo>
                    <a:pt x="157" y="146"/>
                    <a:pt x="156" y="146"/>
                    <a:pt x="156" y="146"/>
                  </a:cubicBezTo>
                  <a:cubicBezTo>
                    <a:pt x="156" y="145"/>
                    <a:pt x="156" y="145"/>
                    <a:pt x="156" y="145"/>
                  </a:cubicBezTo>
                  <a:cubicBezTo>
                    <a:pt x="156" y="145"/>
                    <a:pt x="156" y="145"/>
                    <a:pt x="156" y="145"/>
                  </a:cubicBezTo>
                  <a:cubicBezTo>
                    <a:pt x="155" y="143"/>
                    <a:pt x="155" y="143"/>
                    <a:pt x="155" y="143"/>
                  </a:cubicBezTo>
                  <a:cubicBezTo>
                    <a:pt x="155" y="142"/>
                    <a:pt x="155" y="142"/>
                    <a:pt x="155" y="142"/>
                  </a:cubicBezTo>
                  <a:cubicBezTo>
                    <a:pt x="155" y="141"/>
                    <a:pt x="155" y="141"/>
                    <a:pt x="155" y="141"/>
                  </a:cubicBezTo>
                  <a:cubicBezTo>
                    <a:pt x="154" y="141"/>
                    <a:pt x="154" y="141"/>
                    <a:pt x="154" y="141"/>
                  </a:cubicBezTo>
                  <a:cubicBezTo>
                    <a:pt x="154" y="140"/>
                    <a:pt x="154" y="140"/>
                    <a:pt x="154" y="140"/>
                  </a:cubicBezTo>
                  <a:cubicBezTo>
                    <a:pt x="154" y="140"/>
                    <a:pt x="154" y="139"/>
                    <a:pt x="154" y="139"/>
                  </a:cubicBezTo>
                  <a:cubicBezTo>
                    <a:pt x="154" y="139"/>
                    <a:pt x="153" y="139"/>
                    <a:pt x="153" y="139"/>
                  </a:cubicBezTo>
                  <a:cubicBezTo>
                    <a:pt x="153" y="139"/>
                    <a:pt x="153" y="139"/>
                    <a:pt x="153" y="139"/>
                  </a:cubicBezTo>
                  <a:cubicBezTo>
                    <a:pt x="153" y="139"/>
                    <a:pt x="153" y="139"/>
                    <a:pt x="153" y="139"/>
                  </a:cubicBezTo>
                  <a:cubicBezTo>
                    <a:pt x="153" y="137"/>
                    <a:pt x="153" y="137"/>
                    <a:pt x="153" y="137"/>
                  </a:cubicBezTo>
                  <a:cubicBezTo>
                    <a:pt x="153" y="135"/>
                    <a:pt x="153" y="135"/>
                    <a:pt x="153" y="135"/>
                  </a:cubicBezTo>
                  <a:cubicBezTo>
                    <a:pt x="153" y="135"/>
                    <a:pt x="153" y="135"/>
                    <a:pt x="153" y="135"/>
                  </a:cubicBezTo>
                  <a:cubicBezTo>
                    <a:pt x="153" y="135"/>
                    <a:pt x="153" y="135"/>
                    <a:pt x="153" y="135"/>
                  </a:cubicBezTo>
                  <a:cubicBezTo>
                    <a:pt x="153" y="135"/>
                    <a:pt x="153" y="135"/>
                    <a:pt x="152" y="134"/>
                  </a:cubicBezTo>
                  <a:cubicBezTo>
                    <a:pt x="153" y="134"/>
                    <a:pt x="153" y="134"/>
                    <a:pt x="153" y="134"/>
                  </a:cubicBezTo>
                  <a:cubicBezTo>
                    <a:pt x="153" y="131"/>
                    <a:pt x="153" y="131"/>
                    <a:pt x="153" y="131"/>
                  </a:cubicBezTo>
                  <a:cubicBezTo>
                    <a:pt x="153" y="131"/>
                    <a:pt x="152" y="130"/>
                    <a:pt x="152" y="130"/>
                  </a:cubicBezTo>
                  <a:cubicBezTo>
                    <a:pt x="152" y="130"/>
                    <a:pt x="152" y="130"/>
                    <a:pt x="152" y="130"/>
                  </a:cubicBezTo>
                  <a:cubicBezTo>
                    <a:pt x="152" y="130"/>
                    <a:pt x="152" y="130"/>
                    <a:pt x="152" y="130"/>
                  </a:cubicBezTo>
                  <a:cubicBezTo>
                    <a:pt x="152" y="128"/>
                    <a:pt x="152" y="128"/>
                    <a:pt x="152" y="128"/>
                  </a:cubicBezTo>
                  <a:cubicBezTo>
                    <a:pt x="152" y="128"/>
                    <a:pt x="153" y="127"/>
                    <a:pt x="153" y="127"/>
                  </a:cubicBezTo>
                  <a:cubicBezTo>
                    <a:pt x="153" y="126"/>
                    <a:pt x="153" y="126"/>
                    <a:pt x="153" y="126"/>
                  </a:cubicBezTo>
                  <a:cubicBezTo>
                    <a:pt x="153" y="126"/>
                    <a:pt x="154" y="126"/>
                    <a:pt x="154" y="125"/>
                  </a:cubicBezTo>
                  <a:cubicBezTo>
                    <a:pt x="154" y="124"/>
                    <a:pt x="154" y="124"/>
                    <a:pt x="154" y="124"/>
                  </a:cubicBezTo>
                  <a:cubicBezTo>
                    <a:pt x="154" y="124"/>
                    <a:pt x="154" y="124"/>
                    <a:pt x="153" y="123"/>
                  </a:cubicBezTo>
                  <a:cubicBezTo>
                    <a:pt x="153" y="123"/>
                    <a:pt x="153" y="123"/>
                    <a:pt x="153" y="123"/>
                  </a:cubicBezTo>
                  <a:cubicBezTo>
                    <a:pt x="153" y="123"/>
                    <a:pt x="153" y="123"/>
                    <a:pt x="153" y="123"/>
                  </a:cubicBezTo>
                  <a:cubicBezTo>
                    <a:pt x="153" y="123"/>
                    <a:pt x="153" y="123"/>
                    <a:pt x="153" y="123"/>
                  </a:cubicBezTo>
                  <a:cubicBezTo>
                    <a:pt x="153" y="122"/>
                    <a:pt x="154" y="122"/>
                    <a:pt x="154" y="122"/>
                  </a:cubicBezTo>
                  <a:cubicBezTo>
                    <a:pt x="154" y="122"/>
                    <a:pt x="154" y="121"/>
                    <a:pt x="153" y="121"/>
                  </a:cubicBezTo>
                  <a:cubicBezTo>
                    <a:pt x="154" y="120"/>
                    <a:pt x="154" y="120"/>
                    <a:pt x="154" y="120"/>
                  </a:cubicBezTo>
                  <a:cubicBezTo>
                    <a:pt x="154" y="120"/>
                    <a:pt x="154" y="119"/>
                    <a:pt x="154" y="119"/>
                  </a:cubicBezTo>
                  <a:cubicBezTo>
                    <a:pt x="154" y="119"/>
                    <a:pt x="154" y="119"/>
                    <a:pt x="154" y="119"/>
                  </a:cubicBezTo>
                  <a:cubicBezTo>
                    <a:pt x="154" y="119"/>
                    <a:pt x="154" y="118"/>
                    <a:pt x="154" y="118"/>
                  </a:cubicBezTo>
                  <a:cubicBezTo>
                    <a:pt x="155" y="118"/>
                    <a:pt x="155" y="118"/>
                    <a:pt x="155" y="118"/>
                  </a:cubicBezTo>
                  <a:cubicBezTo>
                    <a:pt x="155" y="118"/>
                    <a:pt x="155" y="117"/>
                    <a:pt x="155" y="117"/>
                  </a:cubicBezTo>
                  <a:cubicBezTo>
                    <a:pt x="155" y="115"/>
                    <a:pt x="155" y="115"/>
                    <a:pt x="155" y="115"/>
                  </a:cubicBezTo>
                  <a:cubicBezTo>
                    <a:pt x="155" y="115"/>
                    <a:pt x="155" y="115"/>
                    <a:pt x="155" y="115"/>
                  </a:cubicBezTo>
                  <a:cubicBezTo>
                    <a:pt x="155" y="115"/>
                    <a:pt x="155" y="115"/>
                    <a:pt x="155" y="115"/>
                  </a:cubicBezTo>
                  <a:cubicBezTo>
                    <a:pt x="155" y="115"/>
                    <a:pt x="155" y="114"/>
                    <a:pt x="155" y="114"/>
                  </a:cubicBezTo>
                  <a:cubicBezTo>
                    <a:pt x="155" y="114"/>
                    <a:pt x="155" y="114"/>
                    <a:pt x="155" y="114"/>
                  </a:cubicBezTo>
                  <a:cubicBezTo>
                    <a:pt x="155" y="114"/>
                    <a:pt x="155" y="113"/>
                    <a:pt x="155" y="113"/>
                  </a:cubicBezTo>
                  <a:cubicBezTo>
                    <a:pt x="155" y="112"/>
                    <a:pt x="155" y="112"/>
                    <a:pt x="155" y="112"/>
                  </a:cubicBezTo>
                  <a:cubicBezTo>
                    <a:pt x="155" y="112"/>
                    <a:pt x="155" y="112"/>
                    <a:pt x="155" y="112"/>
                  </a:cubicBezTo>
                  <a:cubicBezTo>
                    <a:pt x="155" y="112"/>
                    <a:pt x="155" y="112"/>
                    <a:pt x="155" y="112"/>
                  </a:cubicBezTo>
                  <a:cubicBezTo>
                    <a:pt x="156" y="112"/>
                    <a:pt x="156" y="112"/>
                    <a:pt x="156" y="112"/>
                  </a:cubicBezTo>
                  <a:cubicBezTo>
                    <a:pt x="156" y="112"/>
                    <a:pt x="156" y="112"/>
                    <a:pt x="156" y="112"/>
                  </a:cubicBezTo>
                  <a:cubicBezTo>
                    <a:pt x="157" y="112"/>
                    <a:pt x="157" y="111"/>
                    <a:pt x="157" y="111"/>
                  </a:cubicBezTo>
                  <a:cubicBezTo>
                    <a:pt x="157" y="110"/>
                    <a:pt x="157" y="110"/>
                    <a:pt x="157" y="110"/>
                  </a:cubicBezTo>
                  <a:cubicBezTo>
                    <a:pt x="157" y="110"/>
                    <a:pt x="157" y="110"/>
                    <a:pt x="157" y="110"/>
                  </a:cubicBezTo>
                  <a:cubicBezTo>
                    <a:pt x="158" y="109"/>
                    <a:pt x="158" y="109"/>
                    <a:pt x="158" y="109"/>
                  </a:cubicBezTo>
                  <a:cubicBezTo>
                    <a:pt x="158" y="108"/>
                    <a:pt x="158" y="108"/>
                    <a:pt x="158" y="107"/>
                  </a:cubicBezTo>
                  <a:cubicBezTo>
                    <a:pt x="158" y="107"/>
                    <a:pt x="158" y="107"/>
                    <a:pt x="158" y="107"/>
                  </a:cubicBezTo>
                  <a:cubicBezTo>
                    <a:pt x="158" y="107"/>
                    <a:pt x="158" y="107"/>
                    <a:pt x="158" y="107"/>
                  </a:cubicBezTo>
                  <a:cubicBezTo>
                    <a:pt x="158" y="106"/>
                    <a:pt x="158" y="106"/>
                    <a:pt x="158" y="106"/>
                  </a:cubicBezTo>
                  <a:cubicBezTo>
                    <a:pt x="158" y="106"/>
                    <a:pt x="158" y="106"/>
                    <a:pt x="158" y="106"/>
                  </a:cubicBezTo>
                  <a:cubicBezTo>
                    <a:pt x="160" y="105"/>
                    <a:pt x="160" y="105"/>
                    <a:pt x="160" y="105"/>
                  </a:cubicBezTo>
                  <a:cubicBezTo>
                    <a:pt x="160" y="105"/>
                    <a:pt x="160" y="105"/>
                    <a:pt x="160" y="105"/>
                  </a:cubicBezTo>
                  <a:cubicBezTo>
                    <a:pt x="160" y="104"/>
                    <a:pt x="160" y="104"/>
                    <a:pt x="160" y="104"/>
                  </a:cubicBezTo>
                  <a:cubicBezTo>
                    <a:pt x="160" y="104"/>
                    <a:pt x="160" y="104"/>
                    <a:pt x="160" y="104"/>
                  </a:cubicBezTo>
                  <a:cubicBezTo>
                    <a:pt x="160" y="104"/>
                    <a:pt x="160" y="104"/>
                    <a:pt x="160" y="103"/>
                  </a:cubicBezTo>
                  <a:cubicBezTo>
                    <a:pt x="160" y="103"/>
                    <a:pt x="160" y="103"/>
                    <a:pt x="160" y="103"/>
                  </a:cubicBezTo>
                  <a:cubicBezTo>
                    <a:pt x="161" y="103"/>
                    <a:pt x="161" y="103"/>
                    <a:pt x="161" y="103"/>
                  </a:cubicBezTo>
                  <a:cubicBezTo>
                    <a:pt x="161" y="103"/>
                    <a:pt x="161" y="103"/>
                    <a:pt x="161" y="103"/>
                  </a:cubicBezTo>
                  <a:cubicBezTo>
                    <a:pt x="161" y="103"/>
                    <a:pt x="161" y="103"/>
                    <a:pt x="161" y="103"/>
                  </a:cubicBezTo>
                  <a:cubicBezTo>
                    <a:pt x="162" y="102"/>
                    <a:pt x="162" y="102"/>
                    <a:pt x="162" y="102"/>
                  </a:cubicBezTo>
                  <a:cubicBezTo>
                    <a:pt x="162" y="102"/>
                    <a:pt x="162" y="102"/>
                    <a:pt x="162" y="102"/>
                  </a:cubicBezTo>
                  <a:cubicBezTo>
                    <a:pt x="163" y="101"/>
                    <a:pt x="163" y="101"/>
                    <a:pt x="163" y="101"/>
                  </a:cubicBezTo>
                  <a:cubicBezTo>
                    <a:pt x="163" y="101"/>
                    <a:pt x="163" y="101"/>
                    <a:pt x="163" y="101"/>
                  </a:cubicBezTo>
                  <a:cubicBezTo>
                    <a:pt x="164" y="100"/>
                    <a:pt x="164" y="100"/>
                    <a:pt x="164" y="100"/>
                  </a:cubicBezTo>
                  <a:cubicBezTo>
                    <a:pt x="164" y="99"/>
                    <a:pt x="164" y="99"/>
                    <a:pt x="164" y="99"/>
                  </a:cubicBezTo>
                  <a:cubicBezTo>
                    <a:pt x="164" y="98"/>
                    <a:pt x="164" y="98"/>
                    <a:pt x="164" y="98"/>
                  </a:cubicBezTo>
                  <a:cubicBezTo>
                    <a:pt x="164" y="98"/>
                    <a:pt x="164" y="98"/>
                    <a:pt x="164" y="98"/>
                  </a:cubicBezTo>
                  <a:cubicBezTo>
                    <a:pt x="164" y="98"/>
                    <a:pt x="164" y="98"/>
                    <a:pt x="164" y="98"/>
                  </a:cubicBezTo>
                  <a:cubicBezTo>
                    <a:pt x="164" y="98"/>
                    <a:pt x="164" y="98"/>
                    <a:pt x="164" y="98"/>
                  </a:cubicBezTo>
                  <a:cubicBezTo>
                    <a:pt x="165" y="98"/>
                    <a:pt x="165" y="97"/>
                    <a:pt x="165" y="97"/>
                  </a:cubicBezTo>
                  <a:cubicBezTo>
                    <a:pt x="165" y="97"/>
                    <a:pt x="165" y="97"/>
                    <a:pt x="165" y="97"/>
                  </a:cubicBezTo>
                  <a:cubicBezTo>
                    <a:pt x="166" y="96"/>
                    <a:pt x="166" y="96"/>
                    <a:pt x="166" y="96"/>
                  </a:cubicBezTo>
                  <a:cubicBezTo>
                    <a:pt x="166" y="96"/>
                    <a:pt x="166" y="96"/>
                    <a:pt x="167" y="96"/>
                  </a:cubicBezTo>
                  <a:cubicBezTo>
                    <a:pt x="167" y="96"/>
                    <a:pt x="167" y="96"/>
                    <a:pt x="167" y="96"/>
                  </a:cubicBezTo>
                  <a:cubicBezTo>
                    <a:pt x="167" y="96"/>
                    <a:pt x="168" y="95"/>
                    <a:pt x="168" y="95"/>
                  </a:cubicBezTo>
                  <a:cubicBezTo>
                    <a:pt x="168" y="95"/>
                    <a:pt x="168" y="95"/>
                    <a:pt x="168" y="95"/>
                  </a:cubicBezTo>
                  <a:cubicBezTo>
                    <a:pt x="168" y="95"/>
                    <a:pt x="168" y="95"/>
                    <a:pt x="169" y="95"/>
                  </a:cubicBezTo>
                  <a:cubicBezTo>
                    <a:pt x="169" y="94"/>
                    <a:pt x="169" y="94"/>
                    <a:pt x="169" y="94"/>
                  </a:cubicBezTo>
                  <a:cubicBezTo>
                    <a:pt x="170" y="94"/>
                    <a:pt x="170" y="94"/>
                    <a:pt x="170" y="93"/>
                  </a:cubicBezTo>
                  <a:cubicBezTo>
                    <a:pt x="170" y="93"/>
                    <a:pt x="170" y="93"/>
                    <a:pt x="170" y="93"/>
                  </a:cubicBezTo>
                  <a:cubicBezTo>
                    <a:pt x="170" y="93"/>
                    <a:pt x="170" y="93"/>
                    <a:pt x="171" y="93"/>
                  </a:cubicBezTo>
                  <a:cubicBezTo>
                    <a:pt x="172" y="92"/>
                    <a:pt x="172" y="92"/>
                    <a:pt x="172" y="92"/>
                  </a:cubicBezTo>
                  <a:cubicBezTo>
                    <a:pt x="172" y="91"/>
                    <a:pt x="172" y="91"/>
                    <a:pt x="172" y="91"/>
                  </a:cubicBezTo>
                  <a:cubicBezTo>
                    <a:pt x="172" y="90"/>
                    <a:pt x="172" y="90"/>
                    <a:pt x="172" y="90"/>
                  </a:cubicBezTo>
                  <a:cubicBezTo>
                    <a:pt x="172" y="90"/>
                    <a:pt x="173" y="90"/>
                    <a:pt x="173" y="90"/>
                  </a:cubicBezTo>
                  <a:cubicBezTo>
                    <a:pt x="173" y="89"/>
                    <a:pt x="173" y="89"/>
                    <a:pt x="173" y="89"/>
                  </a:cubicBezTo>
                  <a:cubicBezTo>
                    <a:pt x="174" y="89"/>
                    <a:pt x="174" y="89"/>
                    <a:pt x="174" y="89"/>
                  </a:cubicBezTo>
                  <a:cubicBezTo>
                    <a:pt x="174" y="89"/>
                    <a:pt x="174" y="88"/>
                    <a:pt x="174" y="88"/>
                  </a:cubicBezTo>
                  <a:cubicBezTo>
                    <a:pt x="174" y="88"/>
                    <a:pt x="174" y="88"/>
                    <a:pt x="174" y="88"/>
                  </a:cubicBezTo>
                  <a:cubicBezTo>
                    <a:pt x="174" y="88"/>
                    <a:pt x="174" y="88"/>
                    <a:pt x="175" y="88"/>
                  </a:cubicBezTo>
                  <a:cubicBezTo>
                    <a:pt x="175" y="88"/>
                    <a:pt x="175" y="88"/>
                    <a:pt x="175" y="87"/>
                  </a:cubicBezTo>
                  <a:cubicBezTo>
                    <a:pt x="175" y="87"/>
                    <a:pt x="175" y="87"/>
                    <a:pt x="175" y="87"/>
                  </a:cubicBezTo>
                  <a:cubicBezTo>
                    <a:pt x="175" y="87"/>
                    <a:pt x="175" y="87"/>
                    <a:pt x="175" y="87"/>
                  </a:cubicBezTo>
                  <a:cubicBezTo>
                    <a:pt x="175" y="87"/>
                    <a:pt x="176" y="86"/>
                    <a:pt x="176" y="86"/>
                  </a:cubicBezTo>
                  <a:cubicBezTo>
                    <a:pt x="176" y="85"/>
                    <a:pt x="176" y="85"/>
                    <a:pt x="176" y="85"/>
                  </a:cubicBezTo>
                  <a:cubicBezTo>
                    <a:pt x="176" y="85"/>
                    <a:pt x="176" y="85"/>
                    <a:pt x="176" y="85"/>
                  </a:cubicBezTo>
                  <a:cubicBezTo>
                    <a:pt x="176" y="85"/>
                    <a:pt x="176" y="85"/>
                    <a:pt x="176" y="85"/>
                  </a:cubicBezTo>
                  <a:cubicBezTo>
                    <a:pt x="177" y="85"/>
                    <a:pt x="177" y="85"/>
                    <a:pt x="177" y="85"/>
                  </a:cubicBezTo>
                  <a:cubicBezTo>
                    <a:pt x="177" y="85"/>
                    <a:pt x="177" y="85"/>
                    <a:pt x="177" y="85"/>
                  </a:cubicBezTo>
                  <a:cubicBezTo>
                    <a:pt x="177" y="85"/>
                    <a:pt x="178" y="84"/>
                    <a:pt x="178" y="84"/>
                  </a:cubicBezTo>
                  <a:cubicBezTo>
                    <a:pt x="178" y="84"/>
                    <a:pt x="178" y="84"/>
                    <a:pt x="178" y="84"/>
                  </a:cubicBezTo>
                  <a:cubicBezTo>
                    <a:pt x="178" y="84"/>
                    <a:pt x="178" y="84"/>
                    <a:pt x="178" y="84"/>
                  </a:cubicBezTo>
                  <a:cubicBezTo>
                    <a:pt x="179" y="84"/>
                    <a:pt x="179" y="84"/>
                    <a:pt x="179" y="83"/>
                  </a:cubicBezTo>
                  <a:cubicBezTo>
                    <a:pt x="179" y="83"/>
                    <a:pt x="179" y="83"/>
                    <a:pt x="179" y="83"/>
                  </a:cubicBezTo>
                  <a:cubicBezTo>
                    <a:pt x="179" y="82"/>
                    <a:pt x="179" y="82"/>
                    <a:pt x="179" y="82"/>
                  </a:cubicBezTo>
                  <a:cubicBezTo>
                    <a:pt x="179" y="82"/>
                    <a:pt x="179" y="82"/>
                    <a:pt x="179" y="82"/>
                  </a:cubicBezTo>
                  <a:cubicBezTo>
                    <a:pt x="180" y="81"/>
                    <a:pt x="180" y="81"/>
                    <a:pt x="180" y="81"/>
                  </a:cubicBezTo>
                  <a:cubicBezTo>
                    <a:pt x="180" y="81"/>
                    <a:pt x="180" y="81"/>
                    <a:pt x="180" y="81"/>
                  </a:cubicBezTo>
                  <a:cubicBezTo>
                    <a:pt x="180" y="81"/>
                    <a:pt x="180" y="81"/>
                    <a:pt x="180" y="81"/>
                  </a:cubicBezTo>
                  <a:cubicBezTo>
                    <a:pt x="180" y="81"/>
                    <a:pt x="180" y="81"/>
                    <a:pt x="180" y="81"/>
                  </a:cubicBezTo>
                  <a:cubicBezTo>
                    <a:pt x="181" y="80"/>
                    <a:pt x="181" y="80"/>
                    <a:pt x="181" y="80"/>
                  </a:cubicBezTo>
                  <a:cubicBezTo>
                    <a:pt x="181" y="80"/>
                    <a:pt x="181" y="80"/>
                    <a:pt x="181" y="80"/>
                  </a:cubicBezTo>
                  <a:cubicBezTo>
                    <a:pt x="181" y="79"/>
                    <a:pt x="181" y="79"/>
                    <a:pt x="181" y="79"/>
                  </a:cubicBezTo>
                  <a:cubicBezTo>
                    <a:pt x="181" y="79"/>
                    <a:pt x="181" y="78"/>
                    <a:pt x="181" y="78"/>
                  </a:cubicBezTo>
                  <a:cubicBezTo>
                    <a:pt x="181" y="78"/>
                    <a:pt x="181" y="78"/>
                    <a:pt x="181" y="78"/>
                  </a:cubicBezTo>
                  <a:cubicBezTo>
                    <a:pt x="181" y="76"/>
                    <a:pt x="181" y="76"/>
                    <a:pt x="181" y="76"/>
                  </a:cubicBezTo>
                  <a:cubicBezTo>
                    <a:pt x="181" y="76"/>
                    <a:pt x="181" y="76"/>
                    <a:pt x="181" y="76"/>
                  </a:cubicBezTo>
                  <a:cubicBezTo>
                    <a:pt x="181" y="75"/>
                    <a:pt x="181" y="75"/>
                    <a:pt x="181" y="75"/>
                  </a:cubicBezTo>
                  <a:cubicBezTo>
                    <a:pt x="182" y="72"/>
                    <a:pt x="182" y="72"/>
                    <a:pt x="182" y="72"/>
                  </a:cubicBezTo>
                  <a:cubicBezTo>
                    <a:pt x="183" y="70"/>
                    <a:pt x="183" y="70"/>
                    <a:pt x="183" y="70"/>
                  </a:cubicBezTo>
                  <a:cubicBezTo>
                    <a:pt x="185" y="66"/>
                    <a:pt x="185" y="66"/>
                    <a:pt x="185" y="66"/>
                  </a:cubicBezTo>
                  <a:cubicBezTo>
                    <a:pt x="187" y="65"/>
                    <a:pt x="187" y="65"/>
                    <a:pt x="187" y="65"/>
                  </a:cubicBezTo>
                  <a:cubicBezTo>
                    <a:pt x="187" y="65"/>
                    <a:pt x="187" y="65"/>
                    <a:pt x="187" y="65"/>
                  </a:cubicBezTo>
                  <a:cubicBezTo>
                    <a:pt x="187" y="65"/>
                    <a:pt x="187" y="65"/>
                    <a:pt x="187" y="65"/>
                  </a:cubicBezTo>
                  <a:cubicBezTo>
                    <a:pt x="188" y="65"/>
                    <a:pt x="188" y="65"/>
                    <a:pt x="188" y="65"/>
                  </a:cubicBezTo>
                  <a:cubicBezTo>
                    <a:pt x="188" y="65"/>
                    <a:pt x="188" y="65"/>
                    <a:pt x="188" y="65"/>
                  </a:cubicBezTo>
                  <a:cubicBezTo>
                    <a:pt x="188" y="65"/>
                    <a:pt x="188" y="65"/>
                    <a:pt x="188" y="65"/>
                  </a:cubicBezTo>
                  <a:cubicBezTo>
                    <a:pt x="190" y="64"/>
                    <a:pt x="190" y="64"/>
                    <a:pt x="190" y="64"/>
                  </a:cubicBezTo>
                  <a:cubicBezTo>
                    <a:pt x="190" y="64"/>
                    <a:pt x="190" y="64"/>
                    <a:pt x="190" y="64"/>
                  </a:cubicBezTo>
                  <a:cubicBezTo>
                    <a:pt x="190" y="63"/>
                    <a:pt x="190" y="63"/>
                    <a:pt x="190" y="63"/>
                  </a:cubicBezTo>
                  <a:cubicBezTo>
                    <a:pt x="190" y="63"/>
                    <a:pt x="191" y="63"/>
                    <a:pt x="191" y="63"/>
                  </a:cubicBezTo>
                  <a:cubicBezTo>
                    <a:pt x="191" y="63"/>
                    <a:pt x="191" y="63"/>
                    <a:pt x="191" y="63"/>
                  </a:cubicBezTo>
                  <a:cubicBezTo>
                    <a:pt x="191" y="63"/>
                    <a:pt x="192" y="63"/>
                    <a:pt x="192" y="63"/>
                  </a:cubicBezTo>
                  <a:cubicBezTo>
                    <a:pt x="192" y="63"/>
                    <a:pt x="192" y="63"/>
                    <a:pt x="192" y="63"/>
                  </a:cubicBezTo>
                  <a:cubicBezTo>
                    <a:pt x="192" y="63"/>
                    <a:pt x="192" y="63"/>
                    <a:pt x="192" y="63"/>
                  </a:cubicBezTo>
                  <a:cubicBezTo>
                    <a:pt x="193" y="63"/>
                    <a:pt x="193" y="63"/>
                    <a:pt x="193" y="63"/>
                  </a:cubicBezTo>
                  <a:cubicBezTo>
                    <a:pt x="194" y="63"/>
                    <a:pt x="194" y="63"/>
                    <a:pt x="194" y="63"/>
                  </a:cubicBezTo>
                  <a:cubicBezTo>
                    <a:pt x="195" y="62"/>
                    <a:pt x="195" y="62"/>
                    <a:pt x="195" y="62"/>
                  </a:cubicBezTo>
                  <a:cubicBezTo>
                    <a:pt x="196" y="63"/>
                    <a:pt x="196" y="63"/>
                    <a:pt x="196" y="63"/>
                  </a:cubicBezTo>
                  <a:cubicBezTo>
                    <a:pt x="196" y="63"/>
                    <a:pt x="196" y="63"/>
                    <a:pt x="197" y="63"/>
                  </a:cubicBezTo>
                  <a:cubicBezTo>
                    <a:pt x="197" y="63"/>
                    <a:pt x="197" y="63"/>
                    <a:pt x="197" y="63"/>
                  </a:cubicBezTo>
                  <a:cubicBezTo>
                    <a:pt x="197" y="63"/>
                    <a:pt x="197" y="63"/>
                    <a:pt x="197" y="63"/>
                  </a:cubicBezTo>
                  <a:cubicBezTo>
                    <a:pt x="198" y="63"/>
                    <a:pt x="198" y="63"/>
                    <a:pt x="198" y="63"/>
                  </a:cubicBezTo>
                  <a:cubicBezTo>
                    <a:pt x="198" y="63"/>
                    <a:pt x="198" y="63"/>
                    <a:pt x="198" y="62"/>
                  </a:cubicBezTo>
                  <a:cubicBezTo>
                    <a:pt x="198" y="61"/>
                    <a:pt x="198" y="61"/>
                    <a:pt x="198" y="61"/>
                  </a:cubicBezTo>
                  <a:cubicBezTo>
                    <a:pt x="199" y="61"/>
                    <a:pt x="199" y="60"/>
                    <a:pt x="199" y="60"/>
                  </a:cubicBezTo>
                  <a:cubicBezTo>
                    <a:pt x="199" y="58"/>
                    <a:pt x="199" y="58"/>
                    <a:pt x="199" y="58"/>
                  </a:cubicBezTo>
                  <a:cubicBezTo>
                    <a:pt x="199" y="58"/>
                    <a:pt x="199" y="58"/>
                    <a:pt x="199" y="58"/>
                  </a:cubicBezTo>
                  <a:cubicBezTo>
                    <a:pt x="199" y="57"/>
                    <a:pt x="199" y="57"/>
                    <a:pt x="199" y="57"/>
                  </a:cubicBezTo>
                  <a:cubicBezTo>
                    <a:pt x="199" y="56"/>
                    <a:pt x="199" y="56"/>
                    <a:pt x="199" y="56"/>
                  </a:cubicBezTo>
                  <a:cubicBezTo>
                    <a:pt x="199" y="56"/>
                    <a:pt x="199" y="56"/>
                    <a:pt x="199" y="55"/>
                  </a:cubicBezTo>
                  <a:cubicBezTo>
                    <a:pt x="199" y="55"/>
                    <a:pt x="199" y="55"/>
                    <a:pt x="199" y="55"/>
                  </a:cubicBezTo>
                  <a:cubicBezTo>
                    <a:pt x="199" y="55"/>
                    <a:pt x="199" y="54"/>
                    <a:pt x="199" y="54"/>
                  </a:cubicBezTo>
                  <a:cubicBezTo>
                    <a:pt x="201" y="52"/>
                    <a:pt x="201" y="52"/>
                    <a:pt x="201" y="52"/>
                  </a:cubicBezTo>
                  <a:cubicBezTo>
                    <a:pt x="201" y="52"/>
                    <a:pt x="201" y="52"/>
                    <a:pt x="202" y="51"/>
                  </a:cubicBezTo>
                  <a:cubicBezTo>
                    <a:pt x="203" y="50"/>
                    <a:pt x="203" y="50"/>
                    <a:pt x="203" y="50"/>
                  </a:cubicBezTo>
                  <a:cubicBezTo>
                    <a:pt x="203" y="50"/>
                    <a:pt x="203" y="50"/>
                    <a:pt x="203" y="50"/>
                  </a:cubicBezTo>
                  <a:cubicBezTo>
                    <a:pt x="203" y="50"/>
                    <a:pt x="203" y="49"/>
                    <a:pt x="204" y="49"/>
                  </a:cubicBezTo>
                  <a:cubicBezTo>
                    <a:pt x="205" y="48"/>
                    <a:pt x="205" y="48"/>
                    <a:pt x="205" y="48"/>
                  </a:cubicBezTo>
                  <a:cubicBezTo>
                    <a:pt x="205" y="47"/>
                    <a:pt x="205" y="47"/>
                    <a:pt x="205" y="47"/>
                  </a:cubicBezTo>
                  <a:cubicBezTo>
                    <a:pt x="205" y="47"/>
                    <a:pt x="205" y="47"/>
                    <a:pt x="205" y="47"/>
                  </a:cubicBezTo>
                  <a:cubicBezTo>
                    <a:pt x="205" y="47"/>
                    <a:pt x="205" y="47"/>
                    <a:pt x="205" y="46"/>
                  </a:cubicBezTo>
                  <a:cubicBezTo>
                    <a:pt x="207" y="45"/>
                    <a:pt x="207" y="45"/>
                    <a:pt x="207" y="45"/>
                  </a:cubicBezTo>
                  <a:cubicBezTo>
                    <a:pt x="207" y="44"/>
                    <a:pt x="207" y="44"/>
                    <a:pt x="207" y="44"/>
                  </a:cubicBezTo>
                  <a:cubicBezTo>
                    <a:pt x="208" y="44"/>
                    <a:pt x="208" y="44"/>
                    <a:pt x="208" y="44"/>
                  </a:cubicBezTo>
                  <a:cubicBezTo>
                    <a:pt x="212" y="42"/>
                    <a:pt x="212" y="42"/>
                    <a:pt x="212" y="42"/>
                  </a:cubicBezTo>
                  <a:cubicBezTo>
                    <a:pt x="212" y="42"/>
                    <a:pt x="213" y="42"/>
                    <a:pt x="213" y="42"/>
                  </a:cubicBezTo>
                  <a:cubicBezTo>
                    <a:pt x="215" y="42"/>
                    <a:pt x="215" y="42"/>
                    <a:pt x="215" y="42"/>
                  </a:cubicBezTo>
                  <a:cubicBezTo>
                    <a:pt x="215" y="42"/>
                    <a:pt x="215" y="42"/>
                    <a:pt x="215" y="42"/>
                  </a:cubicBezTo>
                  <a:cubicBezTo>
                    <a:pt x="216" y="42"/>
                    <a:pt x="216" y="42"/>
                    <a:pt x="216" y="42"/>
                  </a:cubicBezTo>
                  <a:cubicBezTo>
                    <a:pt x="216" y="42"/>
                    <a:pt x="216" y="42"/>
                    <a:pt x="216" y="42"/>
                  </a:cubicBezTo>
                  <a:cubicBezTo>
                    <a:pt x="216" y="42"/>
                    <a:pt x="216" y="42"/>
                    <a:pt x="216" y="42"/>
                  </a:cubicBezTo>
                  <a:cubicBezTo>
                    <a:pt x="216" y="42"/>
                    <a:pt x="216" y="42"/>
                    <a:pt x="216" y="42"/>
                  </a:cubicBezTo>
                  <a:cubicBezTo>
                    <a:pt x="216" y="42"/>
                    <a:pt x="216" y="43"/>
                    <a:pt x="216" y="43"/>
                  </a:cubicBezTo>
                  <a:cubicBezTo>
                    <a:pt x="216" y="43"/>
                    <a:pt x="217" y="44"/>
                    <a:pt x="217" y="44"/>
                  </a:cubicBezTo>
                  <a:cubicBezTo>
                    <a:pt x="217" y="44"/>
                    <a:pt x="217" y="44"/>
                    <a:pt x="217" y="44"/>
                  </a:cubicBezTo>
                  <a:cubicBezTo>
                    <a:pt x="218" y="44"/>
                    <a:pt x="218" y="43"/>
                    <a:pt x="218" y="42"/>
                  </a:cubicBezTo>
                  <a:cubicBezTo>
                    <a:pt x="219" y="38"/>
                    <a:pt x="219" y="38"/>
                    <a:pt x="219" y="38"/>
                  </a:cubicBezTo>
                  <a:cubicBezTo>
                    <a:pt x="220" y="38"/>
                    <a:pt x="220" y="38"/>
                    <a:pt x="220" y="38"/>
                  </a:cubicBezTo>
                  <a:cubicBezTo>
                    <a:pt x="220" y="38"/>
                    <a:pt x="220" y="38"/>
                    <a:pt x="220" y="38"/>
                  </a:cubicBezTo>
                  <a:cubicBezTo>
                    <a:pt x="221" y="37"/>
                    <a:pt x="221" y="37"/>
                    <a:pt x="221" y="37"/>
                  </a:cubicBezTo>
                  <a:cubicBezTo>
                    <a:pt x="221" y="37"/>
                    <a:pt x="221" y="37"/>
                    <a:pt x="221" y="37"/>
                  </a:cubicBezTo>
                  <a:cubicBezTo>
                    <a:pt x="221" y="36"/>
                    <a:pt x="221" y="36"/>
                    <a:pt x="221" y="36"/>
                  </a:cubicBezTo>
                  <a:cubicBezTo>
                    <a:pt x="221" y="36"/>
                    <a:pt x="221" y="36"/>
                    <a:pt x="221" y="36"/>
                  </a:cubicBezTo>
                  <a:cubicBezTo>
                    <a:pt x="222" y="36"/>
                    <a:pt x="222" y="35"/>
                    <a:pt x="222" y="35"/>
                  </a:cubicBezTo>
                  <a:cubicBezTo>
                    <a:pt x="222" y="34"/>
                    <a:pt x="222" y="34"/>
                    <a:pt x="222" y="34"/>
                  </a:cubicBezTo>
                  <a:cubicBezTo>
                    <a:pt x="222" y="34"/>
                    <a:pt x="222" y="34"/>
                    <a:pt x="222" y="34"/>
                  </a:cubicBezTo>
                  <a:cubicBezTo>
                    <a:pt x="222" y="34"/>
                    <a:pt x="222" y="34"/>
                    <a:pt x="223" y="34"/>
                  </a:cubicBezTo>
                  <a:cubicBezTo>
                    <a:pt x="223" y="33"/>
                    <a:pt x="223" y="33"/>
                    <a:pt x="223" y="33"/>
                  </a:cubicBezTo>
                  <a:cubicBezTo>
                    <a:pt x="223" y="32"/>
                    <a:pt x="223" y="32"/>
                    <a:pt x="223" y="32"/>
                  </a:cubicBezTo>
                  <a:cubicBezTo>
                    <a:pt x="223" y="32"/>
                    <a:pt x="223" y="32"/>
                    <a:pt x="223" y="32"/>
                  </a:cubicBezTo>
                  <a:cubicBezTo>
                    <a:pt x="224" y="32"/>
                    <a:pt x="224" y="32"/>
                    <a:pt x="224" y="32"/>
                  </a:cubicBezTo>
                  <a:cubicBezTo>
                    <a:pt x="224" y="32"/>
                    <a:pt x="224" y="31"/>
                    <a:pt x="224" y="31"/>
                  </a:cubicBezTo>
                  <a:cubicBezTo>
                    <a:pt x="225" y="30"/>
                    <a:pt x="225" y="30"/>
                    <a:pt x="225" y="30"/>
                  </a:cubicBezTo>
                  <a:cubicBezTo>
                    <a:pt x="226" y="30"/>
                    <a:pt x="226" y="30"/>
                    <a:pt x="226" y="30"/>
                  </a:cubicBezTo>
                  <a:cubicBezTo>
                    <a:pt x="227" y="29"/>
                    <a:pt x="227" y="29"/>
                    <a:pt x="227" y="29"/>
                  </a:cubicBezTo>
                  <a:cubicBezTo>
                    <a:pt x="227" y="29"/>
                    <a:pt x="227" y="29"/>
                    <a:pt x="227" y="29"/>
                  </a:cubicBezTo>
                  <a:cubicBezTo>
                    <a:pt x="227" y="29"/>
                    <a:pt x="227" y="29"/>
                    <a:pt x="227" y="29"/>
                  </a:cubicBezTo>
                  <a:cubicBezTo>
                    <a:pt x="227" y="29"/>
                    <a:pt x="227" y="29"/>
                    <a:pt x="227" y="29"/>
                  </a:cubicBezTo>
                  <a:cubicBezTo>
                    <a:pt x="227" y="29"/>
                    <a:pt x="227" y="29"/>
                    <a:pt x="227" y="29"/>
                  </a:cubicBezTo>
                  <a:cubicBezTo>
                    <a:pt x="228" y="29"/>
                    <a:pt x="228" y="29"/>
                    <a:pt x="228" y="29"/>
                  </a:cubicBezTo>
                  <a:cubicBezTo>
                    <a:pt x="228" y="29"/>
                    <a:pt x="228" y="28"/>
                    <a:pt x="229" y="28"/>
                  </a:cubicBezTo>
                  <a:cubicBezTo>
                    <a:pt x="229" y="28"/>
                    <a:pt x="229" y="28"/>
                    <a:pt x="229" y="28"/>
                  </a:cubicBezTo>
                  <a:cubicBezTo>
                    <a:pt x="229" y="28"/>
                    <a:pt x="229" y="28"/>
                    <a:pt x="230" y="27"/>
                  </a:cubicBezTo>
                  <a:cubicBezTo>
                    <a:pt x="230" y="27"/>
                    <a:pt x="230" y="27"/>
                    <a:pt x="230" y="27"/>
                  </a:cubicBezTo>
                  <a:cubicBezTo>
                    <a:pt x="230" y="27"/>
                    <a:pt x="230" y="27"/>
                    <a:pt x="230" y="27"/>
                  </a:cubicBezTo>
                  <a:cubicBezTo>
                    <a:pt x="230" y="27"/>
                    <a:pt x="230" y="27"/>
                    <a:pt x="231" y="27"/>
                  </a:cubicBezTo>
                  <a:cubicBezTo>
                    <a:pt x="231" y="27"/>
                    <a:pt x="231" y="27"/>
                    <a:pt x="231" y="26"/>
                  </a:cubicBezTo>
                  <a:cubicBezTo>
                    <a:pt x="231" y="26"/>
                    <a:pt x="231" y="26"/>
                    <a:pt x="231" y="26"/>
                  </a:cubicBezTo>
                  <a:cubicBezTo>
                    <a:pt x="231" y="26"/>
                    <a:pt x="231" y="26"/>
                    <a:pt x="231" y="25"/>
                  </a:cubicBezTo>
                  <a:lnTo>
                    <a:pt x="231" y="24"/>
                  </a:lnTo>
                  <a:close/>
                  <a:moveTo>
                    <a:pt x="46" y="160"/>
                  </a:moveTo>
                  <a:cubicBezTo>
                    <a:pt x="46" y="160"/>
                    <a:pt x="46" y="160"/>
                    <a:pt x="45" y="160"/>
                  </a:cubicBezTo>
                  <a:cubicBezTo>
                    <a:pt x="45" y="160"/>
                    <a:pt x="45" y="160"/>
                    <a:pt x="45" y="160"/>
                  </a:cubicBezTo>
                  <a:cubicBezTo>
                    <a:pt x="44" y="160"/>
                    <a:pt x="44" y="160"/>
                    <a:pt x="44" y="160"/>
                  </a:cubicBezTo>
                  <a:cubicBezTo>
                    <a:pt x="44" y="161"/>
                    <a:pt x="44" y="161"/>
                    <a:pt x="44" y="161"/>
                  </a:cubicBezTo>
                  <a:cubicBezTo>
                    <a:pt x="43" y="161"/>
                    <a:pt x="43" y="161"/>
                    <a:pt x="43" y="161"/>
                  </a:cubicBezTo>
                  <a:cubicBezTo>
                    <a:pt x="43" y="161"/>
                    <a:pt x="43" y="161"/>
                    <a:pt x="43" y="161"/>
                  </a:cubicBezTo>
                  <a:cubicBezTo>
                    <a:pt x="43" y="160"/>
                    <a:pt x="43" y="160"/>
                    <a:pt x="43" y="160"/>
                  </a:cubicBezTo>
                  <a:cubicBezTo>
                    <a:pt x="43" y="160"/>
                    <a:pt x="43" y="160"/>
                    <a:pt x="43" y="160"/>
                  </a:cubicBezTo>
                  <a:cubicBezTo>
                    <a:pt x="43" y="155"/>
                    <a:pt x="43" y="155"/>
                    <a:pt x="43" y="155"/>
                  </a:cubicBezTo>
                  <a:cubicBezTo>
                    <a:pt x="43" y="155"/>
                    <a:pt x="43" y="155"/>
                    <a:pt x="43" y="154"/>
                  </a:cubicBezTo>
                  <a:cubicBezTo>
                    <a:pt x="43" y="154"/>
                    <a:pt x="43" y="154"/>
                    <a:pt x="43" y="154"/>
                  </a:cubicBezTo>
                  <a:cubicBezTo>
                    <a:pt x="43" y="154"/>
                    <a:pt x="43" y="154"/>
                    <a:pt x="43" y="154"/>
                  </a:cubicBezTo>
                  <a:cubicBezTo>
                    <a:pt x="44" y="155"/>
                    <a:pt x="44" y="155"/>
                    <a:pt x="44" y="155"/>
                  </a:cubicBezTo>
                  <a:cubicBezTo>
                    <a:pt x="44" y="155"/>
                    <a:pt x="44" y="155"/>
                    <a:pt x="44" y="155"/>
                  </a:cubicBezTo>
                  <a:cubicBezTo>
                    <a:pt x="43" y="155"/>
                    <a:pt x="43" y="155"/>
                    <a:pt x="43" y="155"/>
                  </a:cubicBezTo>
                  <a:cubicBezTo>
                    <a:pt x="43" y="156"/>
                    <a:pt x="43" y="156"/>
                    <a:pt x="43" y="156"/>
                  </a:cubicBezTo>
                  <a:cubicBezTo>
                    <a:pt x="43" y="156"/>
                    <a:pt x="43" y="157"/>
                    <a:pt x="43" y="157"/>
                  </a:cubicBezTo>
                  <a:cubicBezTo>
                    <a:pt x="44" y="157"/>
                    <a:pt x="44" y="157"/>
                    <a:pt x="44" y="157"/>
                  </a:cubicBezTo>
                  <a:cubicBezTo>
                    <a:pt x="44" y="157"/>
                    <a:pt x="44" y="157"/>
                    <a:pt x="44" y="157"/>
                  </a:cubicBezTo>
                  <a:cubicBezTo>
                    <a:pt x="44" y="158"/>
                    <a:pt x="44" y="158"/>
                    <a:pt x="44" y="158"/>
                  </a:cubicBezTo>
                  <a:cubicBezTo>
                    <a:pt x="44" y="158"/>
                    <a:pt x="44" y="159"/>
                    <a:pt x="45" y="159"/>
                  </a:cubicBezTo>
                  <a:cubicBezTo>
                    <a:pt x="45" y="159"/>
                    <a:pt x="45" y="159"/>
                    <a:pt x="45" y="159"/>
                  </a:cubicBezTo>
                  <a:cubicBezTo>
                    <a:pt x="45" y="159"/>
                    <a:pt x="45" y="159"/>
                    <a:pt x="45" y="159"/>
                  </a:cubicBezTo>
                  <a:cubicBezTo>
                    <a:pt x="46" y="159"/>
                    <a:pt x="46" y="159"/>
                    <a:pt x="46" y="159"/>
                  </a:cubicBezTo>
                  <a:cubicBezTo>
                    <a:pt x="46" y="159"/>
                    <a:pt x="46" y="159"/>
                    <a:pt x="46" y="160"/>
                  </a:cubicBezTo>
                  <a:cubicBezTo>
                    <a:pt x="47" y="160"/>
                    <a:pt x="47" y="160"/>
                    <a:pt x="47" y="160"/>
                  </a:cubicBezTo>
                  <a:lnTo>
                    <a:pt x="46" y="160"/>
                  </a:lnTo>
                  <a:close/>
                  <a:moveTo>
                    <a:pt x="96" y="166"/>
                  </a:moveTo>
                  <a:cubicBezTo>
                    <a:pt x="96" y="166"/>
                    <a:pt x="96" y="166"/>
                    <a:pt x="96" y="166"/>
                  </a:cubicBezTo>
                  <a:cubicBezTo>
                    <a:pt x="96" y="166"/>
                    <a:pt x="96" y="166"/>
                    <a:pt x="96" y="166"/>
                  </a:cubicBezTo>
                  <a:close/>
                  <a:moveTo>
                    <a:pt x="143" y="197"/>
                  </a:moveTo>
                  <a:cubicBezTo>
                    <a:pt x="143" y="197"/>
                    <a:pt x="143" y="197"/>
                    <a:pt x="143" y="197"/>
                  </a:cubicBezTo>
                  <a:cubicBezTo>
                    <a:pt x="143" y="197"/>
                    <a:pt x="143" y="198"/>
                    <a:pt x="143" y="198"/>
                  </a:cubicBezTo>
                  <a:cubicBezTo>
                    <a:pt x="143" y="198"/>
                    <a:pt x="143" y="198"/>
                    <a:pt x="143" y="198"/>
                  </a:cubicBezTo>
                  <a:cubicBezTo>
                    <a:pt x="143" y="198"/>
                    <a:pt x="143" y="198"/>
                    <a:pt x="143" y="198"/>
                  </a:cubicBezTo>
                  <a:cubicBezTo>
                    <a:pt x="143" y="198"/>
                    <a:pt x="143" y="198"/>
                    <a:pt x="143" y="198"/>
                  </a:cubicBezTo>
                  <a:cubicBezTo>
                    <a:pt x="143" y="197"/>
                    <a:pt x="143" y="197"/>
                    <a:pt x="143" y="197"/>
                  </a:cubicBezTo>
                  <a:cubicBezTo>
                    <a:pt x="143" y="197"/>
                    <a:pt x="143" y="197"/>
                    <a:pt x="143" y="196"/>
                  </a:cubicBezTo>
                  <a:cubicBezTo>
                    <a:pt x="143" y="196"/>
                    <a:pt x="143" y="196"/>
                    <a:pt x="143" y="196"/>
                  </a:cubicBezTo>
                  <a:cubicBezTo>
                    <a:pt x="143" y="196"/>
                    <a:pt x="143" y="196"/>
                    <a:pt x="143" y="196"/>
                  </a:cubicBezTo>
                  <a:cubicBezTo>
                    <a:pt x="143" y="197"/>
                    <a:pt x="143" y="197"/>
                    <a:pt x="143" y="197"/>
                  </a:cubicBezTo>
                  <a:close/>
                  <a:moveTo>
                    <a:pt x="182" y="246"/>
                  </a:moveTo>
                  <a:cubicBezTo>
                    <a:pt x="182" y="246"/>
                    <a:pt x="182" y="246"/>
                    <a:pt x="182" y="246"/>
                  </a:cubicBezTo>
                  <a:cubicBezTo>
                    <a:pt x="182" y="246"/>
                    <a:pt x="182" y="246"/>
                    <a:pt x="182" y="246"/>
                  </a:cubicBezTo>
                  <a:cubicBezTo>
                    <a:pt x="182" y="246"/>
                    <a:pt x="182" y="246"/>
                    <a:pt x="182" y="246"/>
                  </a:cubicBezTo>
                  <a:close/>
                  <a:moveTo>
                    <a:pt x="185" y="243"/>
                  </a:moveTo>
                  <a:cubicBezTo>
                    <a:pt x="186" y="243"/>
                    <a:pt x="186" y="243"/>
                    <a:pt x="186" y="243"/>
                  </a:cubicBezTo>
                  <a:cubicBezTo>
                    <a:pt x="186" y="243"/>
                    <a:pt x="186" y="243"/>
                    <a:pt x="186" y="243"/>
                  </a:cubicBezTo>
                  <a:cubicBezTo>
                    <a:pt x="186" y="243"/>
                    <a:pt x="186" y="243"/>
                    <a:pt x="186" y="243"/>
                  </a:cubicBezTo>
                  <a:cubicBezTo>
                    <a:pt x="186" y="244"/>
                    <a:pt x="186" y="244"/>
                    <a:pt x="186" y="244"/>
                  </a:cubicBezTo>
                  <a:cubicBezTo>
                    <a:pt x="186" y="244"/>
                    <a:pt x="186" y="244"/>
                    <a:pt x="185" y="244"/>
                  </a:cubicBezTo>
                  <a:cubicBezTo>
                    <a:pt x="185" y="244"/>
                    <a:pt x="185" y="244"/>
                    <a:pt x="185" y="244"/>
                  </a:cubicBezTo>
                  <a:cubicBezTo>
                    <a:pt x="185" y="244"/>
                    <a:pt x="185" y="243"/>
                    <a:pt x="185" y="243"/>
                  </a:cubicBezTo>
                  <a:cubicBezTo>
                    <a:pt x="185" y="243"/>
                    <a:pt x="185" y="243"/>
                    <a:pt x="185" y="243"/>
                  </a:cubicBezTo>
                  <a:close/>
                  <a:moveTo>
                    <a:pt x="184" y="245"/>
                  </a:moveTo>
                  <a:cubicBezTo>
                    <a:pt x="184" y="245"/>
                    <a:pt x="184" y="245"/>
                    <a:pt x="184" y="245"/>
                  </a:cubicBezTo>
                  <a:cubicBezTo>
                    <a:pt x="185" y="245"/>
                    <a:pt x="185" y="245"/>
                    <a:pt x="185" y="244"/>
                  </a:cubicBezTo>
                  <a:cubicBezTo>
                    <a:pt x="185" y="244"/>
                    <a:pt x="185" y="244"/>
                    <a:pt x="185" y="244"/>
                  </a:cubicBezTo>
                  <a:cubicBezTo>
                    <a:pt x="185" y="245"/>
                    <a:pt x="185" y="245"/>
                    <a:pt x="185" y="245"/>
                  </a:cubicBezTo>
                  <a:cubicBezTo>
                    <a:pt x="185" y="245"/>
                    <a:pt x="185" y="245"/>
                    <a:pt x="185" y="245"/>
                  </a:cubicBezTo>
                  <a:cubicBezTo>
                    <a:pt x="185" y="245"/>
                    <a:pt x="184" y="245"/>
                    <a:pt x="184" y="246"/>
                  </a:cubicBezTo>
                  <a:cubicBezTo>
                    <a:pt x="184" y="246"/>
                    <a:pt x="184" y="246"/>
                    <a:pt x="184" y="246"/>
                  </a:cubicBezTo>
                  <a:cubicBezTo>
                    <a:pt x="184" y="246"/>
                    <a:pt x="184" y="246"/>
                    <a:pt x="184" y="246"/>
                  </a:cubicBezTo>
                  <a:cubicBezTo>
                    <a:pt x="184" y="246"/>
                    <a:pt x="184" y="246"/>
                    <a:pt x="184" y="246"/>
                  </a:cubicBezTo>
                  <a:cubicBezTo>
                    <a:pt x="184" y="245"/>
                    <a:pt x="184" y="245"/>
                    <a:pt x="184" y="245"/>
                  </a:cubicBezTo>
                  <a:cubicBezTo>
                    <a:pt x="184" y="245"/>
                    <a:pt x="184" y="245"/>
                    <a:pt x="184" y="245"/>
                  </a:cubicBezTo>
                  <a:close/>
                  <a:moveTo>
                    <a:pt x="183" y="247"/>
                  </a:moveTo>
                  <a:cubicBezTo>
                    <a:pt x="183" y="247"/>
                    <a:pt x="183" y="247"/>
                    <a:pt x="183" y="247"/>
                  </a:cubicBezTo>
                  <a:cubicBezTo>
                    <a:pt x="183" y="247"/>
                    <a:pt x="183" y="247"/>
                    <a:pt x="183" y="247"/>
                  </a:cubicBezTo>
                  <a:cubicBezTo>
                    <a:pt x="183" y="247"/>
                    <a:pt x="183" y="247"/>
                    <a:pt x="183" y="247"/>
                  </a:cubicBezTo>
                  <a:cubicBezTo>
                    <a:pt x="183" y="247"/>
                    <a:pt x="183" y="247"/>
                    <a:pt x="183" y="247"/>
                  </a:cubicBezTo>
                  <a:cubicBezTo>
                    <a:pt x="183" y="247"/>
                    <a:pt x="183" y="247"/>
                    <a:pt x="183" y="247"/>
                  </a:cubicBezTo>
                  <a:cubicBezTo>
                    <a:pt x="183" y="247"/>
                    <a:pt x="183" y="247"/>
                    <a:pt x="183" y="247"/>
                  </a:cubicBezTo>
                  <a:close/>
                  <a:moveTo>
                    <a:pt x="183" y="248"/>
                  </a:moveTo>
                  <a:cubicBezTo>
                    <a:pt x="183" y="248"/>
                    <a:pt x="183" y="248"/>
                    <a:pt x="183" y="248"/>
                  </a:cubicBezTo>
                  <a:cubicBezTo>
                    <a:pt x="183" y="248"/>
                    <a:pt x="183" y="248"/>
                    <a:pt x="183" y="248"/>
                  </a:cubicBezTo>
                  <a:cubicBezTo>
                    <a:pt x="183" y="248"/>
                    <a:pt x="183" y="248"/>
                    <a:pt x="183" y="248"/>
                  </a:cubicBezTo>
                  <a:close/>
                  <a:moveTo>
                    <a:pt x="215" y="33"/>
                  </a:moveTo>
                  <a:cubicBezTo>
                    <a:pt x="215" y="33"/>
                    <a:pt x="215" y="33"/>
                    <a:pt x="215" y="33"/>
                  </a:cubicBezTo>
                  <a:cubicBezTo>
                    <a:pt x="215" y="33"/>
                    <a:pt x="215" y="33"/>
                    <a:pt x="215" y="33"/>
                  </a:cubicBezTo>
                  <a:cubicBezTo>
                    <a:pt x="215" y="33"/>
                    <a:pt x="215" y="33"/>
                    <a:pt x="215" y="33"/>
                  </a:cubicBezTo>
                  <a:cubicBezTo>
                    <a:pt x="215" y="33"/>
                    <a:pt x="215" y="33"/>
                    <a:pt x="215" y="33"/>
                  </a:cubicBezTo>
                  <a:cubicBezTo>
                    <a:pt x="215" y="33"/>
                    <a:pt x="215" y="33"/>
                    <a:pt x="215" y="33"/>
                  </a:cubicBezTo>
                  <a:close/>
                </a:path>
              </a:pathLst>
            </a:custGeom>
            <a:solidFill>
              <a:schemeClr val="accent2"/>
            </a:solidFill>
            <a:ln w="63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564" name="Freeform 28">
              <a:extLst>
                <a:ext uri="{FF2B5EF4-FFF2-40B4-BE49-F238E27FC236}">
                  <a16:creationId xmlns:a16="http://schemas.microsoft.com/office/drawing/2014/main" id="{00012BFD-4778-2335-92F1-7448EF63B45F}"/>
                </a:ext>
              </a:extLst>
            </p:cNvPr>
            <p:cNvSpPr>
              <a:spLocks/>
            </p:cNvSpPr>
            <p:nvPr/>
          </p:nvSpPr>
          <p:spPr bwMode="gray">
            <a:xfrm>
              <a:off x="4716463" y="4606925"/>
              <a:ext cx="0" cy="4763"/>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0"/>
                  </a:cubicBezTo>
                  <a:cubicBezTo>
                    <a:pt x="0" y="0"/>
                    <a:pt x="0" y="0"/>
                    <a:pt x="0" y="0"/>
                  </a:cubicBezTo>
                  <a:cubicBezTo>
                    <a:pt x="0" y="1"/>
                    <a:pt x="0" y="1"/>
                    <a:pt x="0" y="1"/>
                  </a:cubicBezTo>
                  <a:close/>
                </a:path>
              </a:pathLst>
            </a:custGeom>
            <a:solidFill>
              <a:srgbClr val="B1B1B0"/>
            </a:solidFill>
            <a:ln w="635">
              <a:solidFill>
                <a:schemeClr val="accent5"/>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565" name="Rectangle 29">
              <a:extLst>
                <a:ext uri="{FF2B5EF4-FFF2-40B4-BE49-F238E27FC236}">
                  <a16:creationId xmlns:a16="http://schemas.microsoft.com/office/drawing/2014/main" id="{148D67CC-7AEA-9F1D-E7BA-6380C932ED79}"/>
                </a:ext>
              </a:extLst>
            </p:cNvPr>
            <p:cNvSpPr>
              <a:spLocks/>
            </p:cNvSpPr>
            <p:nvPr/>
          </p:nvSpPr>
          <p:spPr bwMode="gray">
            <a:xfrm>
              <a:off x="4721225" y="4659313"/>
              <a:ext cx="1588" cy="1588"/>
            </a:xfrm>
            <a:prstGeom prst="rect">
              <a:avLst/>
            </a:prstGeom>
            <a:solidFill>
              <a:srgbClr val="B1B1B0"/>
            </a:solidFill>
            <a:ln w="635">
              <a:solidFill>
                <a:schemeClr val="accent5"/>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571" name="Freeform 30">
              <a:extLst>
                <a:ext uri="{FF2B5EF4-FFF2-40B4-BE49-F238E27FC236}">
                  <a16:creationId xmlns:a16="http://schemas.microsoft.com/office/drawing/2014/main" id="{A753BE9E-8987-20F6-96ED-120AA68B16CF}"/>
                </a:ext>
              </a:extLst>
            </p:cNvPr>
            <p:cNvSpPr>
              <a:spLocks/>
            </p:cNvSpPr>
            <p:nvPr/>
          </p:nvSpPr>
          <p:spPr bwMode="gray">
            <a:xfrm>
              <a:off x="4732338" y="4733925"/>
              <a:ext cx="4763" cy="0"/>
            </a:xfrm>
            <a:custGeom>
              <a:avLst/>
              <a:gdLst>
                <a:gd name="T0" fmla="*/ 3 w 3"/>
                <a:gd name="T1" fmla="*/ 0 w 3"/>
                <a:gd name="T2" fmla="*/ 3 w 3"/>
                <a:gd name="T3" fmla="*/ 3 w 3"/>
              </a:gdLst>
              <a:ahLst/>
              <a:cxnLst>
                <a:cxn ang="0">
                  <a:pos x="T0" y="0"/>
                </a:cxn>
                <a:cxn ang="0">
                  <a:pos x="T1" y="0"/>
                </a:cxn>
                <a:cxn ang="0">
                  <a:pos x="T2" y="0"/>
                </a:cxn>
                <a:cxn ang="0">
                  <a:pos x="T3" y="0"/>
                </a:cxn>
              </a:cxnLst>
              <a:rect l="0" t="0" r="r" b="b"/>
              <a:pathLst>
                <a:path w="3">
                  <a:moveTo>
                    <a:pt x="3" y="0"/>
                  </a:moveTo>
                  <a:lnTo>
                    <a:pt x="0" y="0"/>
                  </a:lnTo>
                  <a:lnTo>
                    <a:pt x="3" y="0"/>
                  </a:lnTo>
                  <a:lnTo>
                    <a:pt x="3" y="0"/>
                  </a:lnTo>
                  <a:close/>
                </a:path>
              </a:pathLst>
            </a:custGeom>
            <a:solidFill>
              <a:srgbClr val="B1B1B0"/>
            </a:solidFill>
            <a:ln w="635">
              <a:solidFill>
                <a:schemeClr val="accent5"/>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572" name="Freeform 31">
              <a:extLst>
                <a:ext uri="{FF2B5EF4-FFF2-40B4-BE49-F238E27FC236}">
                  <a16:creationId xmlns:a16="http://schemas.microsoft.com/office/drawing/2014/main" id="{27BE9378-1A8C-D778-61CC-61B4E1F838EB}"/>
                </a:ext>
              </a:extLst>
            </p:cNvPr>
            <p:cNvSpPr>
              <a:spLocks/>
            </p:cNvSpPr>
            <p:nvPr/>
          </p:nvSpPr>
          <p:spPr bwMode="gray">
            <a:xfrm>
              <a:off x="3197225" y="4989513"/>
              <a:ext cx="4763" cy="0"/>
            </a:xfrm>
            <a:custGeom>
              <a:avLst/>
              <a:gdLst>
                <a:gd name="T0" fmla="*/ 0 w 3"/>
                <a:gd name="T1" fmla="*/ 0 w 3"/>
                <a:gd name="T2" fmla="*/ 3 w 3"/>
                <a:gd name="T3" fmla="*/ 0 w 3"/>
              </a:gdLst>
              <a:ahLst/>
              <a:cxnLst>
                <a:cxn ang="0">
                  <a:pos x="T0" y="0"/>
                </a:cxn>
                <a:cxn ang="0">
                  <a:pos x="T1" y="0"/>
                </a:cxn>
                <a:cxn ang="0">
                  <a:pos x="T2" y="0"/>
                </a:cxn>
                <a:cxn ang="0">
                  <a:pos x="T3" y="0"/>
                </a:cxn>
              </a:cxnLst>
              <a:rect l="0" t="0" r="r" b="b"/>
              <a:pathLst>
                <a:path w="3">
                  <a:moveTo>
                    <a:pt x="0" y="0"/>
                  </a:moveTo>
                  <a:lnTo>
                    <a:pt x="0" y="0"/>
                  </a:lnTo>
                  <a:lnTo>
                    <a:pt x="3" y="0"/>
                  </a:lnTo>
                  <a:lnTo>
                    <a:pt x="0" y="0"/>
                  </a:lnTo>
                  <a:close/>
                </a:path>
              </a:pathLst>
            </a:custGeom>
            <a:solidFill>
              <a:srgbClr val="F59E00"/>
            </a:solidFill>
            <a:ln w="635">
              <a:solidFill>
                <a:schemeClr val="accent5"/>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1024" name="Freeform 32">
              <a:extLst>
                <a:ext uri="{FF2B5EF4-FFF2-40B4-BE49-F238E27FC236}">
                  <a16:creationId xmlns:a16="http://schemas.microsoft.com/office/drawing/2014/main" id="{FF8A0FC3-86F3-0DF2-587D-9001B3223943}"/>
                </a:ext>
              </a:extLst>
            </p:cNvPr>
            <p:cNvSpPr>
              <a:spLocks/>
            </p:cNvSpPr>
            <p:nvPr/>
          </p:nvSpPr>
          <p:spPr bwMode="gray">
            <a:xfrm>
              <a:off x="3213100" y="4930775"/>
              <a:ext cx="6350" cy="6350"/>
            </a:xfrm>
            <a:custGeom>
              <a:avLst/>
              <a:gdLst>
                <a:gd name="T0" fmla="*/ 0 w 1"/>
                <a:gd name="T1" fmla="*/ 1 h 1"/>
                <a:gd name="T2" fmla="*/ 0 w 1"/>
                <a:gd name="T3" fmla="*/ 1 h 1"/>
                <a:gd name="T4" fmla="*/ 1 w 1"/>
                <a:gd name="T5" fmla="*/ 0 h 1"/>
                <a:gd name="T6" fmla="*/ 0 w 1"/>
                <a:gd name="T7" fmla="*/ 1 h 1"/>
                <a:gd name="T8" fmla="*/ 0 w 1"/>
                <a:gd name="T9" fmla="*/ 1 h 1"/>
                <a:gd name="T10" fmla="*/ 0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0" y="1"/>
                  </a:moveTo>
                  <a:cubicBezTo>
                    <a:pt x="0" y="1"/>
                    <a:pt x="0" y="1"/>
                    <a:pt x="0" y="1"/>
                  </a:cubicBezTo>
                  <a:cubicBezTo>
                    <a:pt x="1" y="0"/>
                    <a:pt x="1" y="0"/>
                    <a:pt x="1" y="0"/>
                  </a:cubicBezTo>
                  <a:cubicBezTo>
                    <a:pt x="0" y="1"/>
                    <a:pt x="0" y="1"/>
                    <a:pt x="0" y="1"/>
                  </a:cubicBezTo>
                  <a:cubicBezTo>
                    <a:pt x="0" y="1"/>
                    <a:pt x="0" y="1"/>
                    <a:pt x="0" y="1"/>
                  </a:cubicBezTo>
                  <a:cubicBezTo>
                    <a:pt x="0" y="1"/>
                    <a:pt x="0" y="1"/>
                    <a:pt x="0" y="1"/>
                  </a:cubicBezTo>
                  <a:close/>
                </a:path>
              </a:pathLst>
            </a:custGeom>
            <a:solidFill>
              <a:srgbClr val="F59E00"/>
            </a:solidFill>
            <a:ln w="635">
              <a:solidFill>
                <a:schemeClr val="accent5"/>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1025" name="Freeform 33">
              <a:extLst>
                <a:ext uri="{FF2B5EF4-FFF2-40B4-BE49-F238E27FC236}">
                  <a16:creationId xmlns:a16="http://schemas.microsoft.com/office/drawing/2014/main" id="{2C6EAC34-97B5-BDB4-6D2E-D5E5BE308825}"/>
                </a:ext>
              </a:extLst>
            </p:cNvPr>
            <p:cNvSpPr>
              <a:spLocks/>
            </p:cNvSpPr>
            <p:nvPr/>
          </p:nvSpPr>
          <p:spPr bwMode="gray">
            <a:xfrm>
              <a:off x="3213100" y="4930775"/>
              <a:ext cx="6350" cy="6350"/>
            </a:xfrm>
            <a:custGeom>
              <a:avLst/>
              <a:gdLst>
                <a:gd name="T0" fmla="*/ 1 w 1"/>
                <a:gd name="T1" fmla="*/ 0 h 1"/>
                <a:gd name="T2" fmla="*/ 0 w 1"/>
                <a:gd name="T3" fmla="*/ 1 h 1"/>
                <a:gd name="T4" fmla="*/ 0 w 1"/>
                <a:gd name="T5" fmla="*/ 1 h 1"/>
                <a:gd name="T6" fmla="*/ 0 w 1"/>
                <a:gd name="T7" fmla="*/ 1 h 1"/>
                <a:gd name="T8" fmla="*/ 0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0" y="1"/>
                    <a:pt x="0" y="1"/>
                    <a:pt x="0" y="1"/>
                  </a:cubicBezTo>
                  <a:cubicBezTo>
                    <a:pt x="0" y="1"/>
                    <a:pt x="0" y="1"/>
                    <a:pt x="0" y="1"/>
                  </a:cubicBezTo>
                  <a:cubicBezTo>
                    <a:pt x="0" y="1"/>
                    <a:pt x="0" y="1"/>
                    <a:pt x="0" y="1"/>
                  </a:cubicBezTo>
                  <a:cubicBezTo>
                    <a:pt x="0" y="1"/>
                    <a:pt x="0" y="1"/>
                    <a:pt x="0" y="1"/>
                  </a:cubicBezTo>
                  <a:lnTo>
                    <a:pt x="1" y="0"/>
                  </a:lnTo>
                  <a:close/>
                </a:path>
              </a:pathLst>
            </a:custGeom>
            <a:solidFill>
              <a:srgbClr val="F59E00"/>
            </a:solidFill>
            <a:ln w="635">
              <a:solidFill>
                <a:schemeClr val="accent5"/>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1026" name="Freeform 34">
              <a:extLst>
                <a:ext uri="{FF2B5EF4-FFF2-40B4-BE49-F238E27FC236}">
                  <a16:creationId xmlns:a16="http://schemas.microsoft.com/office/drawing/2014/main" id="{9C2FCCF6-EA63-D9F7-D6EA-AF442208F170}"/>
                </a:ext>
              </a:extLst>
            </p:cNvPr>
            <p:cNvSpPr>
              <a:spLocks/>
            </p:cNvSpPr>
            <p:nvPr/>
          </p:nvSpPr>
          <p:spPr bwMode="gray">
            <a:xfrm>
              <a:off x="3197225" y="4989513"/>
              <a:ext cx="4763" cy="0"/>
            </a:xfrm>
            <a:custGeom>
              <a:avLst/>
              <a:gdLst>
                <a:gd name="T0" fmla="*/ 0 w 3"/>
                <a:gd name="T1" fmla="*/ 3 w 3"/>
                <a:gd name="T2" fmla="*/ 0 w 3"/>
                <a:gd name="T3" fmla="*/ 0 w 3"/>
              </a:gdLst>
              <a:ahLst/>
              <a:cxnLst>
                <a:cxn ang="0">
                  <a:pos x="T0" y="0"/>
                </a:cxn>
                <a:cxn ang="0">
                  <a:pos x="T1" y="0"/>
                </a:cxn>
                <a:cxn ang="0">
                  <a:pos x="T2" y="0"/>
                </a:cxn>
                <a:cxn ang="0">
                  <a:pos x="T3" y="0"/>
                </a:cxn>
              </a:cxnLst>
              <a:rect l="0" t="0" r="r" b="b"/>
              <a:pathLst>
                <a:path w="3">
                  <a:moveTo>
                    <a:pt x="0" y="0"/>
                  </a:moveTo>
                  <a:lnTo>
                    <a:pt x="3" y="0"/>
                  </a:lnTo>
                  <a:lnTo>
                    <a:pt x="0" y="0"/>
                  </a:lnTo>
                  <a:lnTo>
                    <a:pt x="0" y="0"/>
                  </a:lnTo>
                  <a:close/>
                </a:path>
              </a:pathLst>
            </a:custGeom>
            <a:solidFill>
              <a:srgbClr val="F59E00"/>
            </a:solidFill>
            <a:ln w="635">
              <a:solidFill>
                <a:schemeClr val="accent5"/>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1027" name="Freeform 35">
              <a:extLst>
                <a:ext uri="{FF2B5EF4-FFF2-40B4-BE49-F238E27FC236}">
                  <a16:creationId xmlns:a16="http://schemas.microsoft.com/office/drawing/2014/main" id="{CC5FE166-B4D3-8FAF-14A5-C4E58DEA2518}"/>
                </a:ext>
              </a:extLst>
            </p:cNvPr>
            <p:cNvSpPr>
              <a:spLocks/>
            </p:cNvSpPr>
            <p:nvPr/>
          </p:nvSpPr>
          <p:spPr bwMode="gray">
            <a:xfrm>
              <a:off x="2333625" y="4989513"/>
              <a:ext cx="117475" cy="347663"/>
            </a:xfrm>
            <a:custGeom>
              <a:avLst/>
              <a:gdLst>
                <a:gd name="T0" fmla="*/ 22 w 22"/>
                <a:gd name="T1" fmla="*/ 4 h 65"/>
                <a:gd name="T2" fmla="*/ 22 w 22"/>
                <a:gd name="T3" fmla="*/ 12 h 65"/>
                <a:gd name="T4" fmla="*/ 21 w 22"/>
                <a:gd name="T5" fmla="*/ 15 h 65"/>
                <a:gd name="T6" fmla="*/ 21 w 22"/>
                <a:gd name="T7" fmla="*/ 24 h 65"/>
                <a:gd name="T8" fmla="*/ 21 w 22"/>
                <a:gd name="T9" fmla="*/ 27 h 65"/>
                <a:gd name="T10" fmla="*/ 21 w 22"/>
                <a:gd name="T11" fmla="*/ 35 h 65"/>
                <a:gd name="T12" fmla="*/ 20 w 22"/>
                <a:gd name="T13" fmla="*/ 38 h 65"/>
                <a:gd name="T14" fmla="*/ 21 w 22"/>
                <a:gd name="T15" fmla="*/ 49 h 65"/>
                <a:gd name="T16" fmla="*/ 20 w 22"/>
                <a:gd name="T17" fmla="*/ 52 h 65"/>
                <a:gd name="T18" fmla="*/ 20 w 22"/>
                <a:gd name="T19" fmla="*/ 60 h 65"/>
                <a:gd name="T20" fmla="*/ 20 w 22"/>
                <a:gd name="T21" fmla="*/ 63 h 65"/>
                <a:gd name="T22" fmla="*/ 20 w 22"/>
                <a:gd name="T23" fmla="*/ 65 h 65"/>
                <a:gd name="T24" fmla="*/ 14 w 22"/>
                <a:gd name="T25" fmla="*/ 65 h 65"/>
                <a:gd name="T26" fmla="*/ 10 w 22"/>
                <a:gd name="T27" fmla="*/ 64 h 65"/>
                <a:gd name="T28" fmla="*/ 7 w 22"/>
                <a:gd name="T29" fmla="*/ 64 h 65"/>
                <a:gd name="T30" fmla="*/ 3 w 22"/>
                <a:gd name="T31" fmla="*/ 64 h 65"/>
                <a:gd name="T32" fmla="*/ 0 w 22"/>
                <a:gd name="T33" fmla="*/ 64 h 65"/>
                <a:gd name="T34" fmla="*/ 0 w 22"/>
                <a:gd name="T35" fmla="*/ 64 h 65"/>
                <a:gd name="T36" fmla="*/ 3 w 22"/>
                <a:gd name="T37" fmla="*/ 64 h 65"/>
                <a:gd name="T38" fmla="*/ 7 w 22"/>
                <a:gd name="T39" fmla="*/ 64 h 65"/>
                <a:gd name="T40" fmla="*/ 10 w 22"/>
                <a:gd name="T41" fmla="*/ 64 h 65"/>
                <a:gd name="T42" fmla="*/ 14 w 22"/>
                <a:gd name="T43" fmla="*/ 65 h 65"/>
                <a:gd name="T44" fmla="*/ 21 w 22"/>
                <a:gd name="T45" fmla="*/ 65 h 65"/>
                <a:gd name="T46" fmla="*/ 21 w 22"/>
                <a:gd name="T47" fmla="*/ 63 h 65"/>
                <a:gd name="T48" fmla="*/ 21 w 22"/>
                <a:gd name="T49" fmla="*/ 60 h 65"/>
                <a:gd name="T50" fmla="*/ 21 w 22"/>
                <a:gd name="T51" fmla="*/ 51 h 65"/>
                <a:gd name="T52" fmla="*/ 21 w 22"/>
                <a:gd name="T53" fmla="*/ 49 h 65"/>
                <a:gd name="T54" fmla="*/ 21 w 22"/>
                <a:gd name="T55" fmla="*/ 38 h 65"/>
                <a:gd name="T56" fmla="*/ 22 w 22"/>
                <a:gd name="T57" fmla="*/ 35 h 65"/>
                <a:gd name="T58" fmla="*/ 22 w 22"/>
                <a:gd name="T59" fmla="*/ 26 h 65"/>
                <a:gd name="T60" fmla="*/ 22 w 22"/>
                <a:gd name="T61" fmla="*/ 23 h 65"/>
                <a:gd name="T62" fmla="*/ 22 w 22"/>
                <a:gd name="T63" fmla="*/ 15 h 65"/>
                <a:gd name="T64" fmla="*/ 22 w 22"/>
                <a:gd name="T65" fmla="*/ 12 h 65"/>
                <a:gd name="T66" fmla="*/ 22 w 22"/>
                <a:gd name="T67" fmla="*/ 4 h 65"/>
                <a:gd name="T68" fmla="*/ 22 w 22"/>
                <a:gd name="T69" fmla="*/ 1 h 65"/>
                <a:gd name="T70" fmla="*/ 22 w 22"/>
                <a:gd name="T71" fmla="*/ 0 h 65"/>
                <a:gd name="T72" fmla="*/ 22 w 22"/>
                <a:gd name="T73" fmla="*/ 0 h 65"/>
                <a:gd name="T74" fmla="*/ 22 w 22"/>
                <a:gd name="T75" fmla="*/ 0 h 65"/>
                <a:gd name="T76" fmla="*/ 22 w 22"/>
                <a:gd name="T77" fmla="*/ 2 h 65"/>
                <a:gd name="T78" fmla="*/ 22 w 22"/>
                <a:gd name="T79"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 h="65">
                  <a:moveTo>
                    <a:pt x="22" y="4"/>
                  </a:moveTo>
                  <a:cubicBezTo>
                    <a:pt x="22" y="12"/>
                    <a:pt x="22" y="12"/>
                    <a:pt x="22" y="12"/>
                  </a:cubicBezTo>
                  <a:cubicBezTo>
                    <a:pt x="21" y="15"/>
                    <a:pt x="21" y="15"/>
                    <a:pt x="21" y="15"/>
                  </a:cubicBezTo>
                  <a:cubicBezTo>
                    <a:pt x="21" y="24"/>
                    <a:pt x="21" y="24"/>
                    <a:pt x="21" y="24"/>
                  </a:cubicBezTo>
                  <a:cubicBezTo>
                    <a:pt x="21" y="27"/>
                    <a:pt x="21" y="27"/>
                    <a:pt x="21" y="27"/>
                  </a:cubicBezTo>
                  <a:cubicBezTo>
                    <a:pt x="21" y="35"/>
                    <a:pt x="21" y="35"/>
                    <a:pt x="21" y="35"/>
                  </a:cubicBezTo>
                  <a:cubicBezTo>
                    <a:pt x="20" y="38"/>
                    <a:pt x="20" y="38"/>
                    <a:pt x="20" y="38"/>
                  </a:cubicBezTo>
                  <a:cubicBezTo>
                    <a:pt x="21" y="49"/>
                    <a:pt x="21" y="49"/>
                    <a:pt x="21" y="49"/>
                  </a:cubicBezTo>
                  <a:cubicBezTo>
                    <a:pt x="20" y="52"/>
                    <a:pt x="20" y="52"/>
                    <a:pt x="20" y="52"/>
                  </a:cubicBezTo>
                  <a:cubicBezTo>
                    <a:pt x="20" y="60"/>
                    <a:pt x="20" y="60"/>
                    <a:pt x="20" y="60"/>
                  </a:cubicBezTo>
                  <a:cubicBezTo>
                    <a:pt x="20" y="63"/>
                    <a:pt x="20" y="63"/>
                    <a:pt x="20" y="63"/>
                  </a:cubicBezTo>
                  <a:cubicBezTo>
                    <a:pt x="20" y="65"/>
                    <a:pt x="20" y="65"/>
                    <a:pt x="20" y="65"/>
                  </a:cubicBezTo>
                  <a:cubicBezTo>
                    <a:pt x="14" y="65"/>
                    <a:pt x="14" y="65"/>
                    <a:pt x="14" y="65"/>
                  </a:cubicBezTo>
                  <a:cubicBezTo>
                    <a:pt x="10" y="64"/>
                    <a:pt x="10" y="64"/>
                    <a:pt x="10" y="64"/>
                  </a:cubicBezTo>
                  <a:cubicBezTo>
                    <a:pt x="7" y="64"/>
                    <a:pt x="7" y="64"/>
                    <a:pt x="7" y="64"/>
                  </a:cubicBezTo>
                  <a:cubicBezTo>
                    <a:pt x="3" y="64"/>
                    <a:pt x="3" y="64"/>
                    <a:pt x="3" y="64"/>
                  </a:cubicBezTo>
                  <a:cubicBezTo>
                    <a:pt x="0" y="64"/>
                    <a:pt x="0" y="64"/>
                    <a:pt x="0" y="64"/>
                  </a:cubicBezTo>
                  <a:cubicBezTo>
                    <a:pt x="0" y="64"/>
                    <a:pt x="0" y="64"/>
                    <a:pt x="0" y="64"/>
                  </a:cubicBezTo>
                  <a:cubicBezTo>
                    <a:pt x="3" y="64"/>
                    <a:pt x="3" y="64"/>
                    <a:pt x="3" y="64"/>
                  </a:cubicBezTo>
                  <a:cubicBezTo>
                    <a:pt x="7" y="64"/>
                    <a:pt x="7" y="64"/>
                    <a:pt x="7" y="64"/>
                  </a:cubicBezTo>
                  <a:cubicBezTo>
                    <a:pt x="10" y="64"/>
                    <a:pt x="10" y="64"/>
                    <a:pt x="10" y="64"/>
                  </a:cubicBezTo>
                  <a:cubicBezTo>
                    <a:pt x="14" y="65"/>
                    <a:pt x="14" y="65"/>
                    <a:pt x="14" y="65"/>
                  </a:cubicBezTo>
                  <a:cubicBezTo>
                    <a:pt x="21" y="65"/>
                    <a:pt x="21" y="65"/>
                    <a:pt x="21" y="65"/>
                  </a:cubicBezTo>
                  <a:cubicBezTo>
                    <a:pt x="21" y="63"/>
                    <a:pt x="21" y="63"/>
                    <a:pt x="21" y="63"/>
                  </a:cubicBezTo>
                  <a:cubicBezTo>
                    <a:pt x="21" y="60"/>
                    <a:pt x="21" y="60"/>
                    <a:pt x="21" y="60"/>
                  </a:cubicBezTo>
                  <a:cubicBezTo>
                    <a:pt x="21" y="51"/>
                    <a:pt x="21" y="51"/>
                    <a:pt x="21" y="51"/>
                  </a:cubicBezTo>
                  <a:cubicBezTo>
                    <a:pt x="21" y="49"/>
                    <a:pt x="21" y="49"/>
                    <a:pt x="21" y="49"/>
                  </a:cubicBezTo>
                  <a:cubicBezTo>
                    <a:pt x="21" y="38"/>
                    <a:pt x="21" y="38"/>
                    <a:pt x="21" y="38"/>
                  </a:cubicBezTo>
                  <a:cubicBezTo>
                    <a:pt x="22" y="35"/>
                    <a:pt x="22" y="35"/>
                    <a:pt x="22" y="35"/>
                  </a:cubicBezTo>
                  <a:cubicBezTo>
                    <a:pt x="22" y="26"/>
                    <a:pt x="22" y="26"/>
                    <a:pt x="22" y="26"/>
                  </a:cubicBezTo>
                  <a:cubicBezTo>
                    <a:pt x="22" y="23"/>
                    <a:pt x="22" y="23"/>
                    <a:pt x="22" y="23"/>
                  </a:cubicBezTo>
                  <a:cubicBezTo>
                    <a:pt x="22" y="15"/>
                    <a:pt x="22" y="15"/>
                    <a:pt x="22" y="15"/>
                  </a:cubicBezTo>
                  <a:cubicBezTo>
                    <a:pt x="22" y="12"/>
                    <a:pt x="22" y="12"/>
                    <a:pt x="22" y="12"/>
                  </a:cubicBezTo>
                  <a:cubicBezTo>
                    <a:pt x="22" y="4"/>
                    <a:pt x="22" y="4"/>
                    <a:pt x="22" y="4"/>
                  </a:cubicBezTo>
                  <a:cubicBezTo>
                    <a:pt x="22" y="1"/>
                    <a:pt x="22" y="1"/>
                    <a:pt x="22" y="1"/>
                  </a:cubicBezTo>
                  <a:cubicBezTo>
                    <a:pt x="22" y="0"/>
                    <a:pt x="22" y="0"/>
                    <a:pt x="22" y="0"/>
                  </a:cubicBezTo>
                  <a:cubicBezTo>
                    <a:pt x="22" y="0"/>
                    <a:pt x="22" y="0"/>
                    <a:pt x="22" y="0"/>
                  </a:cubicBezTo>
                  <a:cubicBezTo>
                    <a:pt x="22" y="0"/>
                    <a:pt x="22" y="0"/>
                    <a:pt x="22" y="0"/>
                  </a:cubicBezTo>
                  <a:cubicBezTo>
                    <a:pt x="22" y="2"/>
                    <a:pt x="22" y="2"/>
                    <a:pt x="22" y="2"/>
                  </a:cubicBezTo>
                  <a:lnTo>
                    <a:pt x="22" y="4"/>
                  </a:lnTo>
                  <a:close/>
                </a:path>
              </a:pathLst>
            </a:custGeom>
            <a:solidFill>
              <a:srgbClr val="F59E00"/>
            </a:solidFill>
            <a:ln w="635">
              <a:solidFill>
                <a:schemeClr val="accent5"/>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1029" name="Freeform 36">
              <a:extLst>
                <a:ext uri="{FF2B5EF4-FFF2-40B4-BE49-F238E27FC236}">
                  <a16:creationId xmlns:a16="http://schemas.microsoft.com/office/drawing/2014/main" id="{A9BE8DFA-3F7F-3508-A38D-2157C649E5ED}"/>
                </a:ext>
              </a:extLst>
            </p:cNvPr>
            <p:cNvSpPr>
              <a:spLocks/>
            </p:cNvSpPr>
            <p:nvPr/>
          </p:nvSpPr>
          <p:spPr bwMode="gray">
            <a:xfrm>
              <a:off x="1039813" y="3363913"/>
              <a:ext cx="15875" cy="15875"/>
            </a:xfrm>
            <a:custGeom>
              <a:avLst/>
              <a:gdLst>
                <a:gd name="T0" fmla="*/ 1 w 3"/>
                <a:gd name="T1" fmla="*/ 3 h 3"/>
                <a:gd name="T2" fmla="*/ 2 w 3"/>
                <a:gd name="T3" fmla="*/ 3 h 3"/>
                <a:gd name="T4" fmla="*/ 3 w 3"/>
                <a:gd name="T5" fmla="*/ 2 h 3"/>
                <a:gd name="T6" fmla="*/ 3 w 3"/>
                <a:gd name="T7" fmla="*/ 1 h 3"/>
                <a:gd name="T8" fmla="*/ 2 w 3"/>
                <a:gd name="T9" fmla="*/ 1 h 3"/>
                <a:gd name="T10" fmla="*/ 1 w 3"/>
                <a:gd name="T11" fmla="*/ 1 h 3"/>
                <a:gd name="T12" fmla="*/ 0 w 3"/>
                <a:gd name="T13" fmla="*/ 2 h 3"/>
                <a:gd name="T14" fmla="*/ 0 w 3"/>
                <a:gd name="T15" fmla="*/ 2 h 3"/>
                <a:gd name="T16" fmla="*/ 1 w 3"/>
                <a:gd name="T1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3">
                  <a:moveTo>
                    <a:pt x="1" y="3"/>
                  </a:moveTo>
                  <a:cubicBezTo>
                    <a:pt x="2" y="3"/>
                    <a:pt x="2" y="3"/>
                    <a:pt x="2" y="3"/>
                  </a:cubicBezTo>
                  <a:cubicBezTo>
                    <a:pt x="3" y="3"/>
                    <a:pt x="3" y="3"/>
                    <a:pt x="3" y="2"/>
                  </a:cubicBezTo>
                  <a:cubicBezTo>
                    <a:pt x="3" y="2"/>
                    <a:pt x="3" y="1"/>
                    <a:pt x="3" y="1"/>
                  </a:cubicBezTo>
                  <a:cubicBezTo>
                    <a:pt x="2" y="1"/>
                    <a:pt x="2" y="1"/>
                    <a:pt x="2" y="1"/>
                  </a:cubicBezTo>
                  <a:cubicBezTo>
                    <a:pt x="2" y="0"/>
                    <a:pt x="1" y="0"/>
                    <a:pt x="1" y="1"/>
                  </a:cubicBezTo>
                  <a:cubicBezTo>
                    <a:pt x="0" y="1"/>
                    <a:pt x="0" y="1"/>
                    <a:pt x="0" y="2"/>
                  </a:cubicBezTo>
                  <a:cubicBezTo>
                    <a:pt x="0" y="2"/>
                    <a:pt x="0" y="2"/>
                    <a:pt x="0" y="2"/>
                  </a:cubicBezTo>
                  <a:cubicBezTo>
                    <a:pt x="0" y="3"/>
                    <a:pt x="1" y="3"/>
                    <a:pt x="1" y="3"/>
                  </a:cubicBezTo>
                  <a:close/>
                </a:path>
              </a:pathLst>
            </a:custGeom>
            <a:solidFill>
              <a:srgbClr val="FFCC00"/>
            </a:solidFill>
            <a:ln w="635">
              <a:solidFill>
                <a:schemeClr val="accent6"/>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1030" name="Freeform 37">
              <a:extLst>
                <a:ext uri="{FF2B5EF4-FFF2-40B4-BE49-F238E27FC236}">
                  <a16:creationId xmlns:a16="http://schemas.microsoft.com/office/drawing/2014/main" id="{5DCE8913-CA2A-56C4-3357-76798FB28C73}"/>
                </a:ext>
              </a:extLst>
            </p:cNvPr>
            <p:cNvSpPr>
              <a:spLocks/>
            </p:cNvSpPr>
            <p:nvPr/>
          </p:nvSpPr>
          <p:spPr bwMode="gray">
            <a:xfrm>
              <a:off x="800100" y="3368675"/>
              <a:ext cx="1843088" cy="2058988"/>
            </a:xfrm>
            <a:custGeom>
              <a:avLst/>
              <a:gdLst>
                <a:gd name="T0" fmla="*/ 334 w 346"/>
                <a:gd name="T1" fmla="*/ 127 h 386"/>
                <a:gd name="T2" fmla="*/ 311 w 346"/>
                <a:gd name="T3" fmla="*/ 106 h 386"/>
                <a:gd name="T4" fmla="*/ 282 w 346"/>
                <a:gd name="T5" fmla="*/ 100 h 386"/>
                <a:gd name="T6" fmla="*/ 260 w 346"/>
                <a:gd name="T7" fmla="*/ 83 h 386"/>
                <a:gd name="T8" fmla="*/ 275 w 346"/>
                <a:gd name="T9" fmla="*/ 74 h 386"/>
                <a:gd name="T10" fmla="*/ 267 w 346"/>
                <a:gd name="T11" fmla="*/ 54 h 386"/>
                <a:gd name="T12" fmla="*/ 251 w 346"/>
                <a:gd name="T13" fmla="*/ 31 h 386"/>
                <a:gd name="T14" fmla="*/ 49 w 346"/>
                <a:gd name="T15" fmla="*/ 3 h 386"/>
                <a:gd name="T16" fmla="*/ 48 w 346"/>
                <a:gd name="T17" fmla="*/ 4 h 386"/>
                <a:gd name="T18" fmla="*/ 43 w 346"/>
                <a:gd name="T19" fmla="*/ 8 h 386"/>
                <a:gd name="T20" fmla="*/ 48 w 346"/>
                <a:gd name="T21" fmla="*/ 13 h 386"/>
                <a:gd name="T22" fmla="*/ 44 w 346"/>
                <a:gd name="T23" fmla="*/ 17 h 386"/>
                <a:gd name="T24" fmla="*/ 37 w 346"/>
                <a:gd name="T25" fmla="*/ 14 h 386"/>
                <a:gd name="T26" fmla="*/ 27 w 346"/>
                <a:gd name="T27" fmla="*/ 9 h 386"/>
                <a:gd name="T28" fmla="*/ 21 w 346"/>
                <a:gd name="T29" fmla="*/ 8 h 386"/>
                <a:gd name="T30" fmla="*/ 20 w 346"/>
                <a:gd name="T31" fmla="*/ 15 h 386"/>
                <a:gd name="T32" fmla="*/ 23 w 346"/>
                <a:gd name="T33" fmla="*/ 21 h 386"/>
                <a:gd name="T34" fmla="*/ 23 w 346"/>
                <a:gd name="T35" fmla="*/ 35 h 386"/>
                <a:gd name="T36" fmla="*/ 22 w 346"/>
                <a:gd name="T37" fmla="*/ 48 h 386"/>
                <a:gd name="T38" fmla="*/ 23 w 346"/>
                <a:gd name="T39" fmla="*/ 54 h 386"/>
                <a:gd name="T40" fmla="*/ 21 w 346"/>
                <a:gd name="T41" fmla="*/ 61 h 386"/>
                <a:gd name="T42" fmla="*/ 20 w 346"/>
                <a:gd name="T43" fmla="*/ 66 h 386"/>
                <a:gd name="T44" fmla="*/ 17 w 346"/>
                <a:gd name="T45" fmla="*/ 74 h 386"/>
                <a:gd name="T46" fmla="*/ 15 w 346"/>
                <a:gd name="T47" fmla="*/ 81 h 386"/>
                <a:gd name="T48" fmla="*/ 12 w 346"/>
                <a:gd name="T49" fmla="*/ 91 h 386"/>
                <a:gd name="T50" fmla="*/ 10 w 346"/>
                <a:gd name="T51" fmla="*/ 99 h 386"/>
                <a:gd name="T52" fmla="*/ 4 w 346"/>
                <a:gd name="T53" fmla="*/ 109 h 386"/>
                <a:gd name="T54" fmla="*/ 2 w 346"/>
                <a:gd name="T55" fmla="*/ 117 h 386"/>
                <a:gd name="T56" fmla="*/ 1 w 346"/>
                <a:gd name="T57" fmla="*/ 127 h 386"/>
                <a:gd name="T58" fmla="*/ 42 w 346"/>
                <a:gd name="T59" fmla="*/ 141 h 386"/>
                <a:gd name="T60" fmla="*/ 54 w 346"/>
                <a:gd name="T61" fmla="*/ 203 h 386"/>
                <a:gd name="T62" fmla="*/ 88 w 346"/>
                <a:gd name="T63" fmla="*/ 247 h 386"/>
                <a:gd name="T64" fmla="*/ 125 w 346"/>
                <a:gd name="T65" fmla="*/ 296 h 386"/>
                <a:gd name="T66" fmla="*/ 127 w 346"/>
                <a:gd name="T67" fmla="*/ 302 h 386"/>
                <a:gd name="T68" fmla="*/ 131 w 346"/>
                <a:gd name="T69" fmla="*/ 309 h 386"/>
                <a:gd name="T70" fmla="*/ 125 w 346"/>
                <a:gd name="T71" fmla="*/ 314 h 386"/>
                <a:gd name="T72" fmla="*/ 123 w 346"/>
                <a:gd name="T73" fmla="*/ 322 h 386"/>
                <a:gd name="T74" fmla="*/ 119 w 346"/>
                <a:gd name="T75" fmla="*/ 328 h 386"/>
                <a:gd name="T76" fmla="*/ 123 w 346"/>
                <a:gd name="T77" fmla="*/ 335 h 386"/>
                <a:gd name="T78" fmla="*/ 118 w 346"/>
                <a:gd name="T79" fmla="*/ 340 h 386"/>
                <a:gd name="T80" fmla="*/ 168 w 346"/>
                <a:gd name="T81" fmla="*/ 372 h 386"/>
                <a:gd name="T82" fmla="*/ 176 w 346"/>
                <a:gd name="T83" fmla="*/ 375 h 386"/>
                <a:gd name="T84" fmla="*/ 190 w 346"/>
                <a:gd name="T85" fmla="*/ 377 h 386"/>
                <a:gd name="T86" fmla="*/ 227 w 346"/>
                <a:gd name="T87" fmla="*/ 378 h 386"/>
                <a:gd name="T88" fmla="*/ 253 w 346"/>
                <a:gd name="T89" fmla="*/ 374 h 386"/>
                <a:gd name="T90" fmla="*/ 278 w 346"/>
                <a:gd name="T91" fmla="*/ 373 h 386"/>
                <a:gd name="T92" fmla="*/ 310 w 346"/>
                <a:gd name="T93" fmla="*/ 371 h 386"/>
                <a:gd name="T94" fmla="*/ 312 w 346"/>
                <a:gd name="T95" fmla="*/ 316 h 386"/>
                <a:gd name="T96" fmla="*/ 316 w 346"/>
                <a:gd name="T97" fmla="*/ 289 h 386"/>
                <a:gd name="T98" fmla="*/ 318 w 346"/>
                <a:gd name="T99" fmla="*/ 276 h 386"/>
                <a:gd name="T100" fmla="*/ 330 w 346"/>
                <a:gd name="T101" fmla="*/ 230 h 386"/>
                <a:gd name="T102" fmla="*/ 299 w 346"/>
                <a:gd name="T103" fmla="*/ 176 h 386"/>
                <a:gd name="T104" fmla="*/ 319 w 346"/>
                <a:gd name="T105" fmla="*/ 152 h 386"/>
                <a:gd name="T106" fmla="*/ 27 w 346"/>
                <a:gd name="T107" fmla="*/ 51 h 386"/>
                <a:gd name="T108" fmla="*/ 301 w 346"/>
                <a:gd name="T109" fmla="*/ 319 h 386"/>
                <a:gd name="T110" fmla="*/ 310 w 346"/>
                <a:gd name="T111" fmla="*/ 304 h 386"/>
                <a:gd name="T112" fmla="*/ 309 w 346"/>
                <a:gd name="T113" fmla="*/ 355 h 386"/>
                <a:gd name="T114" fmla="*/ 291 w 346"/>
                <a:gd name="T115" fmla="*/ 364 h 386"/>
                <a:gd name="T116" fmla="*/ 292 w 346"/>
                <a:gd name="T117" fmla="*/ 345 h 386"/>
                <a:gd name="T118" fmla="*/ 298 w 346"/>
                <a:gd name="T119" fmla="*/ 32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6" h="386">
                  <a:moveTo>
                    <a:pt x="346" y="143"/>
                  </a:moveTo>
                  <a:cubicBezTo>
                    <a:pt x="345" y="141"/>
                    <a:pt x="344" y="140"/>
                    <a:pt x="342" y="140"/>
                  </a:cubicBezTo>
                  <a:cubicBezTo>
                    <a:pt x="336" y="139"/>
                    <a:pt x="336" y="139"/>
                    <a:pt x="336" y="139"/>
                  </a:cubicBezTo>
                  <a:cubicBezTo>
                    <a:pt x="335" y="139"/>
                    <a:pt x="335" y="139"/>
                    <a:pt x="335" y="139"/>
                  </a:cubicBezTo>
                  <a:cubicBezTo>
                    <a:pt x="335" y="138"/>
                    <a:pt x="335" y="137"/>
                    <a:pt x="335" y="137"/>
                  </a:cubicBezTo>
                  <a:cubicBezTo>
                    <a:pt x="335" y="136"/>
                    <a:pt x="335" y="135"/>
                    <a:pt x="335" y="134"/>
                  </a:cubicBezTo>
                  <a:cubicBezTo>
                    <a:pt x="335" y="133"/>
                    <a:pt x="335" y="132"/>
                    <a:pt x="335" y="131"/>
                  </a:cubicBezTo>
                  <a:cubicBezTo>
                    <a:pt x="335" y="131"/>
                    <a:pt x="335" y="131"/>
                    <a:pt x="335" y="131"/>
                  </a:cubicBezTo>
                  <a:cubicBezTo>
                    <a:pt x="335" y="131"/>
                    <a:pt x="335" y="131"/>
                    <a:pt x="335" y="130"/>
                  </a:cubicBezTo>
                  <a:cubicBezTo>
                    <a:pt x="335" y="130"/>
                    <a:pt x="335" y="130"/>
                    <a:pt x="334" y="129"/>
                  </a:cubicBezTo>
                  <a:cubicBezTo>
                    <a:pt x="334" y="129"/>
                    <a:pt x="334" y="128"/>
                    <a:pt x="334" y="127"/>
                  </a:cubicBezTo>
                  <a:cubicBezTo>
                    <a:pt x="334" y="127"/>
                    <a:pt x="334" y="127"/>
                    <a:pt x="334" y="127"/>
                  </a:cubicBezTo>
                  <a:cubicBezTo>
                    <a:pt x="334" y="123"/>
                    <a:pt x="332" y="119"/>
                    <a:pt x="329" y="116"/>
                  </a:cubicBezTo>
                  <a:cubicBezTo>
                    <a:pt x="326" y="113"/>
                    <a:pt x="322" y="111"/>
                    <a:pt x="318" y="111"/>
                  </a:cubicBezTo>
                  <a:cubicBezTo>
                    <a:pt x="318" y="111"/>
                    <a:pt x="318" y="111"/>
                    <a:pt x="318" y="111"/>
                  </a:cubicBezTo>
                  <a:cubicBezTo>
                    <a:pt x="317" y="111"/>
                    <a:pt x="317" y="111"/>
                    <a:pt x="317" y="111"/>
                  </a:cubicBezTo>
                  <a:cubicBezTo>
                    <a:pt x="317" y="111"/>
                    <a:pt x="316" y="111"/>
                    <a:pt x="315" y="111"/>
                  </a:cubicBezTo>
                  <a:cubicBezTo>
                    <a:pt x="315" y="111"/>
                    <a:pt x="315" y="111"/>
                    <a:pt x="315" y="111"/>
                  </a:cubicBezTo>
                  <a:cubicBezTo>
                    <a:pt x="315" y="111"/>
                    <a:pt x="314" y="111"/>
                    <a:pt x="314" y="111"/>
                  </a:cubicBezTo>
                  <a:cubicBezTo>
                    <a:pt x="313" y="111"/>
                    <a:pt x="313" y="111"/>
                    <a:pt x="313" y="111"/>
                  </a:cubicBezTo>
                  <a:cubicBezTo>
                    <a:pt x="313" y="110"/>
                    <a:pt x="312" y="109"/>
                    <a:pt x="312" y="108"/>
                  </a:cubicBezTo>
                  <a:cubicBezTo>
                    <a:pt x="312" y="107"/>
                    <a:pt x="312" y="107"/>
                    <a:pt x="312" y="107"/>
                  </a:cubicBezTo>
                  <a:cubicBezTo>
                    <a:pt x="311" y="107"/>
                    <a:pt x="311" y="106"/>
                    <a:pt x="311" y="106"/>
                  </a:cubicBezTo>
                  <a:cubicBezTo>
                    <a:pt x="311" y="106"/>
                    <a:pt x="311" y="106"/>
                    <a:pt x="311" y="106"/>
                  </a:cubicBezTo>
                  <a:cubicBezTo>
                    <a:pt x="311" y="105"/>
                    <a:pt x="311" y="105"/>
                    <a:pt x="310" y="104"/>
                  </a:cubicBezTo>
                  <a:cubicBezTo>
                    <a:pt x="310" y="104"/>
                    <a:pt x="310" y="104"/>
                    <a:pt x="310" y="104"/>
                  </a:cubicBezTo>
                  <a:cubicBezTo>
                    <a:pt x="310" y="104"/>
                    <a:pt x="310" y="104"/>
                    <a:pt x="310" y="104"/>
                  </a:cubicBezTo>
                  <a:cubicBezTo>
                    <a:pt x="310" y="103"/>
                    <a:pt x="309" y="103"/>
                    <a:pt x="309" y="103"/>
                  </a:cubicBezTo>
                  <a:cubicBezTo>
                    <a:pt x="309" y="102"/>
                    <a:pt x="309" y="102"/>
                    <a:pt x="308" y="102"/>
                  </a:cubicBezTo>
                  <a:cubicBezTo>
                    <a:pt x="307" y="100"/>
                    <a:pt x="305" y="99"/>
                    <a:pt x="303" y="98"/>
                  </a:cubicBezTo>
                  <a:cubicBezTo>
                    <a:pt x="303" y="98"/>
                    <a:pt x="302" y="98"/>
                    <a:pt x="302" y="98"/>
                  </a:cubicBezTo>
                  <a:cubicBezTo>
                    <a:pt x="302" y="98"/>
                    <a:pt x="301" y="98"/>
                    <a:pt x="301" y="98"/>
                  </a:cubicBezTo>
                  <a:cubicBezTo>
                    <a:pt x="299" y="97"/>
                    <a:pt x="297" y="97"/>
                    <a:pt x="295" y="97"/>
                  </a:cubicBezTo>
                  <a:cubicBezTo>
                    <a:pt x="292" y="97"/>
                    <a:pt x="289" y="98"/>
                    <a:pt x="287" y="100"/>
                  </a:cubicBezTo>
                  <a:cubicBezTo>
                    <a:pt x="282" y="100"/>
                    <a:pt x="282" y="100"/>
                    <a:pt x="282" y="100"/>
                  </a:cubicBezTo>
                  <a:cubicBezTo>
                    <a:pt x="282" y="100"/>
                    <a:pt x="282" y="100"/>
                    <a:pt x="282" y="100"/>
                  </a:cubicBezTo>
                  <a:cubicBezTo>
                    <a:pt x="277" y="100"/>
                    <a:pt x="277" y="100"/>
                    <a:pt x="277" y="100"/>
                  </a:cubicBezTo>
                  <a:cubicBezTo>
                    <a:pt x="272" y="98"/>
                    <a:pt x="272" y="98"/>
                    <a:pt x="272" y="98"/>
                  </a:cubicBezTo>
                  <a:cubicBezTo>
                    <a:pt x="272" y="98"/>
                    <a:pt x="272" y="98"/>
                    <a:pt x="272" y="98"/>
                  </a:cubicBezTo>
                  <a:cubicBezTo>
                    <a:pt x="269" y="97"/>
                    <a:pt x="269" y="97"/>
                    <a:pt x="269" y="97"/>
                  </a:cubicBezTo>
                  <a:cubicBezTo>
                    <a:pt x="269" y="97"/>
                    <a:pt x="269" y="97"/>
                    <a:pt x="269" y="97"/>
                  </a:cubicBezTo>
                  <a:cubicBezTo>
                    <a:pt x="265" y="97"/>
                    <a:pt x="265" y="97"/>
                    <a:pt x="265" y="97"/>
                  </a:cubicBezTo>
                  <a:cubicBezTo>
                    <a:pt x="265" y="97"/>
                    <a:pt x="264" y="97"/>
                    <a:pt x="264" y="97"/>
                  </a:cubicBezTo>
                  <a:cubicBezTo>
                    <a:pt x="263" y="97"/>
                    <a:pt x="263" y="97"/>
                    <a:pt x="263" y="97"/>
                  </a:cubicBezTo>
                  <a:cubicBezTo>
                    <a:pt x="260" y="97"/>
                    <a:pt x="260" y="97"/>
                    <a:pt x="260" y="97"/>
                  </a:cubicBezTo>
                  <a:cubicBezTo>
                    <a:pt x="259" y="90"/>
                    <a:pt x="259" y="90"/>
                    <a:pt x="259" y="90"/>
                  </a:cubicBezTo>
                  <a:cubicBezTo>
                    <a:pt x="259" y="87"/>
                    <a:pt x="259" y="87"/>
                    <a:pt x="259" y="87"/>
                  </a:cubicBezTo>
                  <a:cubicBezTo>
                    <a:pt x="260" y="83"/>
                    <a:pt x="260" y="83"/>
                    <a:pt x="260" y="83"/>
                  </a:cubicBezTo>
                  <a:cubicBezTo>
                    <a:pt x="261" y="82"/>
                    <a:pt x="261" y="82"/>
                    <a:pt x="261" y="82"/>
                  </a:cubicBezTo>
                  <a:cubicBezTo>
                    <a:pt x="261" y="82"/>
                    <a:pt x="261" y="82"/>
                    <a:pt x="261" y="82"/>
                  </a:cubicBezTo>
                  <a:cubicBezTo>
                    <a:pt x="262" y="81"/>
                    <a:pt x="262" y="81"/>
                    <a:pt x="262" y="81"/>
                  </a:cubicBezTo>
                  <a:cubicBezTo>
                    <a:pt x="262" y="81"/>
                    <a:pt x="262" y="81"/>
                    <a:pt x="262" y="80"/>
                  </a:cubicBezTo>
                  <a:cubicBezTo>
                    <a:pt x="262" y="80"/>
                    <a:pt x="262" y="80"/>
                    <a:pt x="262" y="80"/>
                  </a:cubicBezTo>
                  <a:cubicBezTo>
                    <a:pt x="267" y="78"/>
                    <a:pt x="267" y="78"/>
                    <a:pt x="267" y="78"/>
                  </a:cubicBezTo>
                  <a:cubicBezTo>
                    <a:pt x="272" y="76"/>
                    <a:pt x="272" y="76"/>
                    <a:pt x="272" y="76"/>
                  </a:cubicBezTo>
                  <a:cubicBezTo>
                    <a:pt x="272" y="76"/>
                    <a:pt x="272" y="76"/>
                    <a:pt x="273" y="76"/>
                  </a:cubicBezTo>
                  <a:cubicBezTo>
                    <a:pt x="273" y="76"/>
                    <a:pt x="273" y="76"/>
                    <a:pt x="273" y="76"/>
                  </a:cubicBezTo>
                  <a:cubicBezTo>
                    <a:pt x="273" y="76"/>
                    <a:pt x="274" y="75"/>
                    <a:pt x="274" y="75"/>
                  </a:cubicBezTo>
                  <a:cubicBezTo>
                    <a:pt x="274" y="75"/>
                    <a:pt x="275" y="75"/>
                    <a:pt x="275" y="75"/>
                  </a:cubicBezTo>
                  <a:cubicBezTo>
                    <a:pt x="275" y="74"/>
                    <a:pt x="275" y="74"/>
                    <a:pt x="275" y="74"/>
                  </a:cubicBezTo>
                  <a:cubicBezTo>
                    <a:pt x="276" y="73"/>
                    <a:pt x="276" y="73"/>
                    <a:pt x="276" y="73"/>
                  </a:cubicBezTo>
                  <a:cubicBezTo>
                    <a:pt x="276" y="73"/>
                    <a:pt x="276" y="73"/>
                    <a:pt x="276" y="73"/>
                  </a:cubicBezTo>
                  <a:cubicBezTo>
                    <a:pt x="276" y="73"/>
                    <a:pt x="276" y="73"/>
                    <a:pt x="276" y="72"/>
                  </a:cubicBezTo>
                  <a:cubicBezTo>
                    <a:pt x="276" y="72"/>
                    <a:pt x="277" y="72"/>
                    <a:pt x="277" y="71"/>
                  </a:cubicBezTo>
                  <a:cubicBezTo>
                    <a:pt x="278" y="69"/>
                    <a:pt x="278" y="67"/>
                    <a:pt x="277" y="66"/>
                  </a:cubicBezTo>
                  <a:cubicBezTo>
                    <a:pt x="272" y="62"/>
                    <a:pt x="272" y="62"/>
                    <a:pt x="272" y="62"/>
                  </a:cubicBezTo>
                  <a:cubicBezTo>
                    <a:pt x="272" y="62"/>
                    <a:pt x="272" y="62"/>
                    <a:pt x="272" y="62"/>
                  </a:cubicBezTo>
                  <a:cubicBezTo>
                    <a:pt x="270" y="60"/>
                    <a:pt x="270" y="60"/>
                    <a:pt x="270" y="60"/>
                  </a:cubicBezTo>
                  <a:cubicBezTo>
                    <a:pt x="270" y="60"/>
                    <a:pt x="269" y="59"/>
                    <a:pt x="269" y="59"/>
                  </a:cubicBezTo>
                  <a:cubicBezTo>
                    <a:pt x="269" y="58"/>
                    <a:pt x="269" y="58"/>
                    <a:pt x="268" y="57"/>
                  </a:cubicBezTo>
                  <a:cubicBezTo>
                    <a:pt x="268" y="56"/>
                    <a:pt x="268" y="56"/>
                    <a:pt x="268" y="56"/>
                  </a:cubicBezTo>
                  <a:cubicBezTo>
                    <a:pt x="267" y="55"/>
                    <a:pt x="267" y="54"/>
                    <a:pt x="267" y="54"/>
                  </a:cubicBezTo>
                  <a:cubicBezTo>
                    <a:pt x="266" y="54"/>
                    <a:pt x="266" y="53"/>
                    <a:pt x="266" y="53"/>
                  </a:cubicBezTo>
                  <a:cubicBezTo>
                    <a:pt x="261" y="44"/>
                    <a:pt x="261" y="44"/>
                    <a:pt x="261" y="44"/>
                  </a:cubicBezTo>
                  <a:cubicBezTo>
                    <a:pt x="261" y="44"/>
                    <a:pt x="260" y="44"/>
                    <a:pt x="260" y="43"/>
                  </a:cubicBezTo>
                  <a:cubicBezTo>
                    <a:pt x="259" y="41"/>
                    <a:pt x="259" y="41"/>
                    <a:pt x="259" y="41"/>
                  </a:cubicBezTo>
                  <a:cubicBezTo>
                    <a:pt x="259" y="41"/>
                    <a:pt x="258" y="40"/>
                    <a:pt x="258" y="40"/>
                  </a:cubicBezTo>
                  <a:cubicBezTo>
                    <a:pt x="254" y="35"/>
                    <a:pt x="254" y="35"/>
                    <a:pt x="254" y="35"/>
                  </a:cubicBezTo>
                  <a:cubicBezTo>
                    <a:pt x="253" y="35"/>
                    <a:pt x="253" y="35"/>
                    <a:pt x="253" y="35"/>
                  </a:cubicBezTo>
                  <a:cubicBezTo>
                    <a:pt x="253" y="34"/>
                    <a:pt x="253" y="34"/>
                    <a:pt x="252" y="34"/>
                  </a:cubicBezTo>
                  <a:cubicBezTo>
                    <a:pt x="251" y="32"/>
                    <a:pt x="251" y="32"/>
                    <a:pt x="251" y="32"/>
                  </a:cubicBezTo>
                  <a:cubicBezTo>
                    <a:pt x="251" y="32"/>
                    <a:pt x="251" y="31"/>
                    <a:pt x="251" y="31"/>
                  </a:cubicBezTo>
                  <a:cubicBezTo>
                    <a:pt x="251" y="31"/>
                    <a:pt x="251" y="31"/>
                    <a:pt x="251" y="31"/>
                  </a:cubicBezTo>
                  <a:cubicBezTo>
                    <a:pt x="251" y="31"/>
                    <a:pt x="251" y="31"/>
                    <a:pt x="251" y="31"/>
                  </a:cubicBezTo>
                  <a:cubicBezTo>
                    <a:pt x="250" y="31"/>
                    <a:pt x="250" y="30"/>
                    <a:pt x="250" y="30"/>
                  </a:cubicBezTo>
                  <a:cubicBezTo>
                    <a:pt x="250" y="30"/>
                    <a:pt x="249" y="29"/>
                    <a:pt x="249" y="29"/>
                  </a:cubicBezTo>
                  <a:cubicBezTo>
                    <a:pt x="245" y="24"/>
                    <a:pt x="236" y="23"/>
                    <a:pt x="230" y="26"/>
                  </a:cubicBezTo>
                  <a:cubicBezTo>
                    <a:pt x="230" y="26"/>
                    <a:pt x="228" y="26"/>
                    <a:pt x="227" y="26"/>
                  </a:cubicBezTo>
                  <a:cubicBezTo>
                    <a:pt x="217" y="26"/>
                    <a:pt x="168" y="20"/>
                    <a:pt x="168" y="20"/>
                  </a:cubicBezTo>
                  <a:cubicBezTo>
                    <a:pt x="122" y="13"/>
                    <a:pt x="122" y="13"/>
                    <a:pt x="122" y="13"/>
                  </a:cubicBezTo>
                  <a:cubicBezTo>
                    <a:pt x="90" y="8"/>
                    <a:pt x="90" y="8"/>
                    <a:pt x="90" y="8"/>
                  </a:cubicBezTo>
                  <a:cubicBezTo>
                    <a:pt x="52" y="0"/>
                    <a:pt x="52" y="0"/>
                    <a:pt x="52" y="0"/>
                  </a:cubicBezTo>
                  <a:cubicBezTo>
                    <a:pt x="52" y="0"/>
                    <a:pt x="50" y="1"/>
                    <a:pt x="50" y="1"/>
                  </a:cubicBezTo>
                  <a:cubicBezTo>
                    <a:pt x="50" y="1"/>
                    <a:pt x="50" y="1"/>
                    <a:pt x="50" y="1"/>
                  </a:cubicBezTo>
                  <a:cubicBezTo>
                    <a:pt x="49" y="1"/>
                    <a:pt x="49" y="2"/>
                    <a:pt x="49" y="2"/>
                  </a:cubicBezTo>
                  <a:cubicBezTo>
                    <a:pt x="49" y="3"/>
                    <a:pt x="49" y="3"/>
                    <a:pt x="49" y="3"/>
                  </a:cubicBezTo>
                  <a:cubicBezTo>
                    <a:pt x="49" y="3"/>
                    <a:pt x="49" y="3"/>
                    <a:pt x="49" y="4"/>
                  </a:cubicBezTo>
                  <a:cubicBezTo>
                    <a:pt x="49" y="4"/>
                    <a:pt x="49" y="4"/>
                    <a:pt x="49" y="4"/>
                  </a:cubicBezTo>
                  <a:cubicBezTo>
                    <a:pt x="49" y="4"/>
                    <a:pt x="49" y="4"/>
                    <a:pt x="49" y="4"/>
                  </a:cubicBezTo>
                  <a:cubicBezTo>
                    <a:pt x="50" y="5"/>
                    <a:pt x="50" y="5"/>
                    <a:pt x="50" y="5"/>
                  </a:cubicBezTo>
                  <a:cubicBezTo>
                    <a:pt x="50" y="5"/>
                    <a:pt x="50" y="5"/>
                    <a:pt x="50" y="5"/>
                  </a:cubicBezTo>
                  <a:cubicBezTo>
                    <a:pt x="50" y="5"/>
                    <a:pt x="50" y="6"/>
                    <a:pt x="50" y="6"/>
                  </a:cubicBezTo>
                  <a:cubicBezTo>
                    <a:pt x="50" y="6"/>
                    <a:pt x="49" y="6"/>
                    <a:pt x="49" y="6"/>
                  </a:cubicBezTo>
                  <a:cubicBezTo>
                    <a:pt x="49" y="6"/>
                    <a:pt x="49" y="6"/>
                    <a:pt x="49" y="6"/>
                  </a:cubicBezTo>
                  <a:cubicBezTo>
                    <a:pt x="49" y="5"/>
                    <a:pt x="49" y="5"/>
                    <a:pt x="49" y="5"/>
                  </a:cubicBezTo>
                  <a:cubicBezTo>
                    <a:pt x="49" y="5"/>
                    <a:pt x="49" y="5"/>
                    <a:pt x="49" y="5"/>
                  </a:cubicBezTo>
                  <a:cubicBezTo>
                    <a:pt x="49" y="4"/>
                    <a:pt x="48" y="4"/>
                    <a:pt x="48" y="4"/>
                  </a:cubicBezTo>
                  <a:cubicBezTo>
                    <a:pt x="48" y="4"/>
                    <a:pt x="48" y="4"/>
                    <a:pt x="48" y="4"/>
                  </a:cubicBezTo>
                  <a:cubicBezTo>
                    <a:pt x="47" y="4"/>
                    <a:pt x="47" y="5"/>
                    <a:pt x="47" y="5"/>
                  </a:cubicBezTo>
                  <a:cubicBezTo>
                    <a:pt x="47" y="5"/>
                    <a:pt x="47" y="5"/>
                    <a:pt x="46" y="5"/>
                  </a:cubicBezTo>
                  <a:cubicBezTo>
                    <a:pt x="46" y="5"/>
                    <a:pt x="46" y="5"/>
                    <a:pt x="46" y="5"/>
                  </a:cubicBezTo>
                  <a:cubicBezTo>
                    <a:pt x="45" y="5"/>
                    <a:pt x="45" y="5"/>
                    <a:pt x="45" y="5"/>
                  </a:cubicBezTo>
                  <a:cubicBezTo>
                    <a:pt x="45" y="5"/>
                    <a:pt x="45" y="5"/>
                    <a:pt x="44" y="5"/>
                  </a:cubicBezTo>
                  <a:cubicBezTo>
                    <a:pt x="44" y="5"/>
                    <a:pt x="44" y="5"/>
                    <a:pt x="44" y="5"/>
                  </a:cubicBezTo>
                  <a:cubicBezTo>
                    <a:pt x="43" y="5"/>
                    <a:pt x="43" y="5"/>
                    <a:pt x="43" y="5"/>
                  </a:cubicBezTo>
                  <a:cubicBezTo>
                    <a:pt x="43" y="5"/>
                    <a:pt x="42" y="5"/>
                    <a:pt x="42" y="5"/>
                  </a:cubicBezTo>
                  <a:cubicBezTo>
                    <a:pt x="42" y="6"/>
                    <a:pt x="42" y="6"/>
                    <a:pt x="42" y="6"/>
                  </a:cubicBezTo>
                  <a:cubicBezTo>
                    <a:pt x="43" y="7"/>
                    <a:pt x="43" y="7"/>
                    <a:pt x="43" y="7"/>
                  </a:cubicBezTo>
                  <a:cubicBezTo>
                    <a:pt x="43" y="7"/>
                    <a:pt x="43" y="7"/>
                    <a:pt x="43" y="7"/>
                  </a:cubicBezTo>
                  <a:cubicBezTo>
                    <a:pt x="43" y="8"/>
                    <a:pt x="43" y="8"/>
                    <a:pt x="43" y="8"/>
                  </a:cubicBezTo>
                  <a:cubicBezTo>
                    <a:pt x="43" y="8"/>
                    <a:pt x="43" y="8"/>
                    <a:pt x="43" y="8"/>
                  </a:cubicBezTo>
                  <a:cubicBezTo>
                    <a:pt x="43" y="10"/>
                    <a:pt x="43" y="10"/>
                    <a:pt x="43" y="10"/>
                  </a:cubicBezTo>
                  <a:cubicBezTo>
                    <a:pt x="43" y="10"/>
                    <a:pt x="43" y="10"/>
                    <a:pt x="43" y="11"/>
                  </a:cubicBezTo>
                  <a:cubicBezTo>
                    <a:pt x="43" y="11"/>
                    <a:pt x="43" y="11"/>
                    <a:pt x="43" y="11"/>
                  </a:cubicBezTo>
                  <a:cubicBezTo>
                    <a:pt x="43" y="11"/>
                    <a:pt x="43" y="11"/>
                    <a:pt x="43" y="11"/>
                  </a:cubicBezTo>
                  <a:cubicBezTo>
                    <a:pt x="43" y="11"/>
                    <a:pt x="44" y="11"/>
                    <a:pt x="44" y="11"/>
                  </a:cubicBezTo>
                  <a:cubicBezTo>
                    <a:pt x="44" y="11"/>
                    <a:pt x="44" y="12"/>
                    <a:pt x="45" y="12"/>
                  </a:cubicBezTo>
                  <a:cubicBezTo>
                    <a:pt x="45" y="12"/>
                    <a:pt x="45" y="12"/>
                    <a:pt x="45" y="12"/>
                  </a:cubicBezTo>
                  <a:cubicBezTo>
                    <a:pt x="45" y="12"/>
                    <a:pt x="46" y="12"/>
                    <a:pt x="46" y="12"/>
                  </a:cubicBezTo>
                  <a:cubicBezTo>
                    <a:pt x="46" y="12"/>
                    <a:pt x="46" y="12"/>
                    <a:pt x="46" y="12"/>
                  </a:cubicBezTo>
                  <a:cubicBezTo>
                    <a:pt x="46" y="12"/>
                    <a:pt x="47" y="13"/>
                    <a:pt x="47" y="13"/>
                  </a:cubicBezTo>
                  <a:cubicBezTo>
                    <a:pt x="48" y="13"/>
                    <a:pt x="48" y="13"/>
                    <a:pt x="48" y="13"/>
                  </a:cubicBezTo>
                  <a:cubicBezTo>
                    <a:pt x="48" y="13"/>
                    <a:pt x="48" y="13"/>
                    <a:pt x="49" y="13"/>
                  </a:cubicBezTo>
                  <a:cubicBezTo>
                    <a:pt x="49" y="13"/>
                    <a:pt x="49" y="13"/>
                    <a:pt x="49" y="13"/>
                  </a:cubicBezTo>
                  <a:cubicBezTo>
                    <a:pt x="49" y="13"/>
                    <a:pt x="49" y="13"/>
                    <a:pt x="49" y="13"/>
                  </a:cubicBezTo>
                  <a:cubicBezTo>
                    <a:pt x="49" y="13"/>
                    <a:pt x="49" y="13"/>
                    <a:pt x="49" y="13"/>
                  </a:cubicBezTo>
                  <a:cubicBezTo>
                    <a:pt x="47" y="15"/>
                    <a:pt x="47" y="15"/>
                    <a:pt x="47" y="15"/>
                  </a:cubicBezTo>
                  <a:cubicBezTo>
                    <a:pt x="47" y="15"/>
                    <a:pt x="47" y="15"/>
                    <a:pt x="47" y="16"/>
                  </a:cubicBezTo>
                  <a:cubicBezTo>
                    <a:pt x="47" y="16"/>
                    <a:pt x="47" y="16"/>
                    <a:pt x="47" y="16"/>
                  </a:cubicBezTo>
                  <a:cubicBezTo>
                    <a:pt x="46" y="16"/>
                    <a:pt x="46" y="16"/>
                    <a:pt x="46" y="16"/>
                  </a:cubicBezTo>
                  <a:cubicBezTo>
                    <a:pt x="46" y="16"/>
                    <a:pt x="46" y="16"/>
                    <a:pt x="46" y="17"/>
                  </a:cubicBezTo>
                  <a:cubicBezTo>
                    <a:pt x="45" y="17"/>
                    <a:pt x="45" y="17"/>
                    <a:pt x="45" y="17"/>
                  </a:cubicBezTo>
                  <a:cubicBezTo>
                    <a:pt x="45" y="17"/>
                    <a:pt x="45" y="17"/>
                    <a:pt x="45" y="17"/>
                  </a:cubicBezTo>
                  <a:cubicBezTo>
                    <a:pt x="44" y="17"/>
                    <a:pt x="44" y="17"/>
                    <a:pt x="44" y="17"/>
                  </a:cubicBezTo>
                  <a:cubicBezTo>
                    <a:pt x="44" y="16"/>
                    <a:pt x="44" y="16"/>
                    <a:pt x="44" y="16"/>
                  </a:cubicBezTo>
                  <a:cubicBezTo>
                    <a:pt x="44" y="16"/>
                    <a:pt x="44" y="16"/>
                    <a:pt x="44" y="16"/>
                  </a:cubicBezTo>
                  <a:cubicBezTo>
                    <a:pt x="44" y="15"/>
                    <a:pt x="43" y="15"/>
                    <a:pt x="43" y="15"/>
                  </a:cubicBezTo>
                  <a:cubicBezTo>
                    <a:pt x="42" y="15"/>
                    <a:pt x="42" y="15"/>
                    <a:pt x="42" y="15"/>
                  </a:cubicBezTo>
                  <a:cubicBezTo>
                    <a:pt x="42" y="15"/>
                    <a:pt x="42" y="15"/>
                    <a:pt x="42" y="15"/>
                  </a:cubicBezTo>
                  <a:cubicBezTo>
                    <a:pt x="41" y="16"/>
                    <a:pt x="41" y="16"/>
                    <a:pt x="41" y="16"/>
                  </a:cubicBezTo>
                  <a:cubicBezTo>
                    <a:pt x="40" y="15"/>
                    <a:pt x="40" y="15"/>
                    <a:pt x="40" y="15"/>
                  </a:cubicBezTo>
                  <a:cubicBezTo>
                    <a:pt x="40" y="15"/>
                    <a:pt x="40" y="15"/>
                    <a:pt x="40" y="15"/>
                  </a:cubicBezTo>
                  <a:cubicBezTo>
                    <a:pt x="40" y="15"/>
                    <a:pt x="39" y="15"/>
                    <a:pt x="39" y="15"/>
                  </a:cubicBezTo>
                  <a:cubicBezTo>
                    <a:pt x="38" y="15"/>
                    <a:pt x="38" y="15"/>
                    <a:pt x="38" y="15"/>
                  </a:cubicBezTo>
                  <a:cubicBezTo>
                    <a:pt x="37" y="14"/>
                    <a:pt x="37" y="14"/>
                    <a:pt x="37" y="14"/>
                  </a:cubicBezTo>
                  <a:cubicBezTo>
                    <a:pt x="37" y="14"/>
                    <a:pt x="37" y="14"/>
                    <a:pt x="37" y="14"/>
                  </a:cubicBezTo>
                  <a:cubicBezTo>
                    <a:pt x="36" y="14"/>
                    <a:pt x="36" y="14"/>
                    <a:pt x="36" y="14"/>
                  </a:cubicBezTo>
                  <a:cubicBezTo>
                    <a:pt x="36" y="14"/>
                    <a:pt x="36" y="14"/>
                    <a:pt x="36" y="14"/>
                  </a:cubicBezTo>
                  <a:cubicBezTo>
                    <a:pt x="36" y="14"/>
                    <a:pt x="36" y="14"/>
                    <a:pt x="36" y="14"/>
                  </a:cubicBezTo>
                  <a:cubicBezTo>
                    <a:pt x="35" y="14"/>
                    <a:pt x="35" y="13"/>
                    <a:pt x="35" y="13"/>
                  </a:cubicBezTo>
                  <a:cubicBezTo>
                    <a:pt x="34" y="13"/>
                    <a:pt x="34" y="13"/>
                    <a:pt x="34" y="13"/>
                  </a:cubicBezTo>
                  <a:cubicBezTo>
                    <a:pt x="31" y="12"/>
                    <a:pt x="31" y="12"/>
                    <a:pt x="31" y="12"/>
                  </a:cubicBezTo>
                  <a:cubicBezTo>
                    <a:pt x="31" y="12"/>
                    <a:pt x="31" y="12"/>
                    <a:pt x="31" y="12"/>
                  </a:cubicBezTo>
                  <a:cubicBezTo>
                    <a:pt x="31" y="11"/>
                    <a:pt x="30" y="11"/>
                    <a:pt x="30" y="11"/>
                  </a:cubicBezTo>
                  <a:cubicBezTo>
                    <a:pt x="29" y="10"/>
                    <a:pt x="29" y="10"/>
                    <a:pt x="29" y="10"/>
                  </a:cubicBezTo>
                  <a:cubicBezTo>
                    <a:pt x="29" y="10"/>
                    <a:pt x="28" y="10"/>
                    <a:pt x="28" y="10"/>
                  </a:cubicBezTo>
                  <a:cubicBezTo>
                    <a:pt x="28" y="10"/>
                    <a:pt x="28" y="10"/>
                    <a:pt x="28" y="10"/>
                  </a:cubicBezTo>
                  <a:cubicBezTo>
                    <a:pt x="28" y="10"/>
                    <a:pt x="28" y="9"/>
                    <a:pt x="27" y="9"/>
                  </a:cubicBezTo>
                  <a:cubicBezTo>
                    <a:pt x="27" y="9"/>
                    <a:pt x="27" y="9"/>
                    <a:pt x="27" y="9"/>
                  </a:cubicBezTo>
                  <a:cubicBezTo>
                    <a:pt x="27" y="9"/>
                    <a:pt x="27" y="9"/>
                    <a:pt x="27" y="9"/>
                  </a:cubicBezTo>
                  <a:cubicBezTo>
                    <a:pt x="26" y="9"/>
                    <a:pt x="26" y="9"/>
                    <a:pt x="26" y="8"/>
                  </a:cubicBezTo>
                  <a:cubicBezTo>
                    <a:pt x="24" y="7"/>
                    <a:pt x="24" y="7"/>
                    <a:pt x="24" y="7"/>
                  </a:cubicBezTo>
                  <a:cubicBezTo>
                    <a:pt x="24" y="7"/>
                    <a:pt x="24" y="7"/>
                    <a:pt x="24" y="7"/>
                  </a:cubicBezTo>
                  <a:cubicBezTo>
                    <a:pt x="24" y="7"/>
                    <a:pt x="24" y="7"/>
                    <a:pt x="24" y="7"/>
                  </a:cubicBezTo>
                  <a:cubicBezTo>
                    <a:pt x="23" y="7"/>
                    <a:pt x="23" y="7"/>
                    <a:pt x="23" y="7"/>
                  </a:cubicBezTo>
                  <a:cubicBezTo>
                    <a:pt x="22" y="6"/>
                    <a:pt x="22" y="6"/>
                    <a:pt x="22" y="6"/>
                  </a:cubicBezTo>
                  <a:cubicBezTo>
                    <a:pt x="22" y="6"/>
                    <a:pt x="22" y="6"/>
                    <a:pt x="22" y="7"/>
                  </a:cubicBezTo>
                  <a:cubicBezTo>
                    <a:pt x="21" y="7"/>
                    <a:pt x="21" y="7"/>
                    <a:pt x="21" y="7"/>
                  </a:cubicBezTo>
                  <a:cubicBezTo>
                    <a:pt x="21" y="8"/>
                    <a:pt x="21" y="8"/>
                    <a:pt x="21" y="8"/>
                  </a:cubicBezTo>
                  <a:cubicBezTo>
                    <a:pt x="21" y="8"/>
                    <a:pt x="21" y="8"/>
                    <a:pt x="21" y="8"/>
                  </a:cubicBezTo>
                  <a:cubicBezTo>
                    <a:pt x="21" y="8"/>
                    <a:pt x="21" y="8"/>
                    <a:pt x="21" y="8"/>
                  </a:cubicBezTo>
                  <a:cubicBezTo>
                    <a:pt x="21" y="9"/>
                    <a:pt x="21" y="9"/>
                    <a:pt x="21" y="9"/>
                  </a:cubicBezTo>
                  <a:cubicBezTo>
                    <a:pt x="21" y="9"/>
                    <a:pt x="21" y="9"/>
                    <a:pt x="21" y="9"/>
                  </a:cubicBezTo>
                  <a:cubicBezTo>
                    <a:pt x="21" y="10"/>
                    <a:pt x="21" y="10"/>
                    <a:pt x="21" y="10"/>
                  </a:cubicBezTo>
                  <a:cubicBezTo>
                    <a:pt x="21" y="10"/>
                    <a:pt x="21" y="10"/>
                    <a:pt x="21" y="10"/>
                  </a:cubicBezTo>
                  <a:cubicBezTo>
                    <a:pt x="21" y="10"/>
                    <a:pt x="20" y="11"/>
                    <a:pt x="20" y="11"/>
                  </a:cubicBezTo>
                  <a:cubicBezTo>
                    <a:pt x="20" y="11"/>
                    <a:pt x="20" y="11"/>
                    <a:pt x="20" y="12"/>
                  </a:cubicBezTo>
                  <a:cubicBezTo>
                    <a:pt x="20" y="13"/>
                    <a:pt x="20" y="13"/>
                    <a:pt x="20" y="13"/>
                  </a:cubicBezTo>
                  <a:cubicBezTo>
                    <a:pt x="20" y="13"/>
                    <a:pt x="20" y="13"/>
                    <a:pt x="20" y="13"/>
                  </a:cubicBezTo>
                  <a:cubicBezTo>
                    <a:pt x="20" y="14"/>
                    <a:pt x="20" y="14"/>
                    <a:pt x="20" y="14"/>
                  </a:cubicBezTo>
                  <a:cubicBezTo>
                    <a:pt x="20" y="14"/>
                    <a:pt x="20" y="14"/>
                    <a:pt x="20" y="14"/>
                  </a:cubicBezTo>
                  <a:cubicBezTo>
                    <a:pt x="20" y="15"/>
                    <a:pt x="20" y="15"/>
                    <a:pt x="20" y="15"/>
                  </a:cubicBezTo>
                  <a:cubicBezTo>
                    <a:pt x="20" y="15"/>
                    <a:pt x="20" y="15"/>
                    <a:pt x="20" y="15"/>
                  </a:cubicBezTo>
                  <a:cubicBezTo>
                    <a:pt x="20" y="16"/>
                    <a:pt x="20" y="16"/>
                    <a:pt x="20" y="16"/>
                  </a:cubicBezTo>
                  <a:cubicBezTo>
                    <a:pt x="20" y="16"/>
                    <a:pt x="20" y="16"/>
                    <a:pt x="20" y="16"/>
                  </a:cubicBezTo>
                  <a:cubicBezTo>
                    <a:pt x="20" y="16"/>
                    <a:pt x="20" y="16"/>
                    <a:pt x="20" y="17"/>
                  </a:cubicBezTo>
                  <a:cubicBezTo>
                    <a:pt x="21" y="18"/>
                    <a:pt x="21" y="18"/>
                    <a:pt x="21" y="18"/>
                  </a:cubicBezTo>
                  <a:cubicBezTo>
                    <a:pt x="21" y="18"/>
                    <a:pt x="21" y="18"/>
                    <a:pt x="21" y="18"/>
                  </a:cubicBezTo>
                  <a:cubicBezTo>
                    <a:pt x="21" y="18"/>
                    <a:pt x="21" y="18"/>
                    <a:pt x="21" y="18"/>
                  </a:cubicBezTo>
                  <a:cubicBezTo>
                    <a:pt x="22" y="18"/>
                    <a:pt x="22" y="18"/>
                    <a:pt x="22" y="18"/>
                  </a:cubicBezTo>
                  <a:cubicBezTo>
                    <a:pt x="22" y="19"/>
                    <a:pt x="22" y="19"/>
                    <a:pt x="22" y="19"/>
                  </a:cubicBezTo>
                  <a:cubicBezTo>
                    <a:pt x="22" y="19"/>
                    <a:pt x="22" y="19"/>
                    <a:pt x="22" y="20"/>
                  </a:cubicBezTo>
                  <a:cubicBezTo>
                    <a:pt x="22" y="20"/>
                    <a:pt x="22" y="20"/>
                    <a:pt x="22" y="20"/>
                  </a:cubicBezTo>
                  <a:cubicBezTo>
                    <a:pt x="22" y="21"/>
                    <a:pt x="22" y="21"/>
                    <a:pt x="23" y="21"/>
                  </a:cubicBezTo>
                  <a:cubicBezTo>
                    <a:pt x="23" y="22"/>
                    <a:pt x="23" y="22"/>
                    <a:pt x="23" y="22"/>
                  </a:cubicBezTo>
                  <a:cubicBezTo>
                    <a:pt x="23" y="22"/>
                    <a:pt x="23" y="22"/>
                    <a:pt x="23" y="22"/>
                  </a:cubicBezTo>
                  <a:cubicBezTo>
                    <a:pt x="23" y="24"/>
                    <a:pt x="23" y="24"/>
                    <a:pt x="23" y="24"/>
                  </a:cubicBezTo>
                  <a:cubicBezTo>
                    <a:pt x="23" y="28"/>
                    <a:pt x="23" y="28"/>
                    <a:pt x="23" y="28"/>
                  </a:cubicBezTo>
                  <a:cubicBezTo>
                    <a:pt x="23" y="28"/>
                    <a:pt x="23" y="28"/>
                    <a:pt x="23" y="28"/>
                  </a:cubicBezTo>
                  <a:cubicBezTo>
                    <a:pt x="23" y="29"/>
                    <a:pt x="23" y="29"/>
                    <a:pt x="23" y="29"/>
                  </a:cubicBezTo>
                  <a:cubicBezTo>
                    <a:pt x="23" y="29"/>
                    <a:pt x="23" y="29"/>
                    <a:pt x="23" y="30"/>
                  </a:cubicBezTo>
                  <a:cubicBezTo>
                    <a:pt x="24" y="30"/>
                    <a:pt x="24" y="30"/>
                    <a:pt x="24" y="30"/>
                  </a:cubicBezTo>
                  <a:cubicBezTo>
                    <a:pt x="24" y="34"/>
                    <a:pt x="24" y="34"/>
                    <a:pt x="24" y="34"/>
                  </a:cubicBezTo>
                  <a:cubicBezTo>
                    <a:pt x="23" y="34"/>
                    <a:pt x="23" y="34"/>
                    <a:pt x="23" y="34"/>
                  </a:cubicBezTo>
                  <a:cubicBezTo>
                    <a:pt x="23" y="35"/>
                    <a:pt x="23" y="35"/>
                    <a:pt x="23" y="35"/>
                  </a:cubicBezTo>
                  <a:cubicBezTo>
                    <a:pt x="23" y="35"/>
                    <a:pt x="23" y="35"/>
                    <a:pt x="23" y="35"/>
                  </a:cubicBezTo>
                  <a:cubicBezTo>
                    <a:pt x="23" y="36"/>
                    <a:pt x="23" y="36"/>
                    <a:pt x="23" y="36"/>
                  </a:cubicBezTo>
                  <a:cubicBezTo>
                    <a:pt x="23" y="36"/>
                    <a:pt x="23" y="37"/>
                    <a:pt x="23" y="37"/>
                  </a:cubicBezTo>
                  <a:cubicBezTo>
                    <a:pt x="23" y="40"/>
                    <a:pt x="23" y="40"/>
                    <a:pt x="23" y="40"/>
                  </a:cubicBezTo>
                  <a:cubicBezTo>
                    <a:pt x="23" y="41"/>
                    <a:pt x="23" y="41"/>
                    <a:pt x="24" y="41"/>
                  </a:cubicBezTo>
                  <a:cubicBezTo>
                    <a:pt x="24" y="41"/>
                    <a:pt x="24" y="41"/>
                    <a:pt x="24" y="41"/>
                  </a:cubicBezTo>
                  <a:cubicBezTo>
                    <a:pt x="23" y="41"/>
                    <a:pt x="23" y="41"/>
                    <a:pt x="23" y="42"/>
                  </a:cubicBezTo>
                  <a:cubicBezTo>
                    <a:pt x="23" y="43"/>
                    <a:pt x="23" y="43"/>
                    <a:pt x="23" y="43"/>
                  </a:cubicBezTo>
                  <a:cubicBezTo>
                    <a:pt x="22" y="46"/>
                    <a:pt x="22" y="46"/>
                    <a:pt x="22" y="46"/>
                  </a:cubicBezTo>
                  <a:cubicBezTo>
                    <a:pt x="22" y="47"/>
                    <a:pt x="22" y="47"/>
                    <a:pt x="22" y="47"/>
                  </a:cubicBezTo>
                  <a:cubicBezTo>
                    <a:pt x="22" y="47"/>
                    <a:pt x="22" y="47"/>
                    <a:pt x="22" y="47"/>
                  </a:cubicBezTo>
                  <a:cubicBezTo>
                    <a:pt x="22" y="47"/>
                    <a:pt x="22" y="47"/>
                    <a:pt x="22" y="47"/>
                  </a:cubicBezTo>
                  <a:cubicBezTo>
                    <a:pt x="22" y="48"/>
                    <a:pt x="22" y="48"/>
                    <a:pt x="22" y="48"/>
                  </a:cubicBezTo>
                  <a:cubicBezTo>
                    <a:pt x="22" y="48"/>
                    <a:pt x="22" y="48"/>
                    <a:pt x="22" y="48"/>
                  </a:cubicBezTo>
                  <a:cubicBezTo>
                    <a:pt x="22" y="48"/>
                    <a:pt x="22" y="48"/>
                    <a:pt x="22" y="48"/>
                  </a:cubicBezTo>
                  <a:cubicBezTo>
                    <a:pt x="21" y="48"/>
                    <a:pt x="21" y="49"/>
                    <a:pt x="21" y="49"/>
                  </a:cubicBezTo>
                  <a:cubicBezTo>
                    <a:pt x="21" y="49"/>
                    <a:pt x="22" y="50"/>
                    <a:pt x="22" y="50"/>
                  </a:cubicBezTo>
                  <a:cubicBezTo>
                    <a:pt x="22" y="50"/>
                    <a:pt x="22" y="50"/>
                    <a:pt x="22" y="50"/>
                  </a:cubicBezTo>
                  <a:cubicBezTo>
                    <a:pt x="22" y="50"/>
                    <a:pt x="22" y="50"/>
                    <a:pt x="22" y="50"/>
                  </a:cubicBezTo>
                  <a:cubicBezTo>
                    <a:pt x="22" y="50"/>
                    <a:pt x="22" y="50"/>
                    <a:pt x="22" y="51"/>
                  </a:cubicBezTo>
                  <a:cubicBezTo>
                    <a:pt x="22" y="51"/>
                    <a:pt x="22" y="51"/>
                    <a:pt x="22" y="51"/>
                  </a:cubicBezTo>
                  <a:cubicBezTo>
                    <a:pt x="22" y="51"/>
                    <a:pt x="22" y="51"/>
                    <a:pt x="22" y="51"/>
                  </a:cubicBezTo>
                  <a:cubicBezTo>
                    <a:pt x="22" y="51"/>
                    <a:pt x="22" y="51"/>
                    <a:pt x="22" y="51"/>
                  </a:cubicBezTo>
                  <a:cubicBezTo>
                    <a:pt x="23" y="53"/>
                    <a:pt x="23" y="53"/>
                    <a:pt x="23" y="53"/>
                  </a:cubicBezTo>
                  <a:cubicBezTo>
                    <a:pt x="23" y="54"/>
                    <a:pt x="23" y="54"/>
                    <a:pt x="23" y="54"/>
                  </a:cubicBezTo>
                  <a:cubicBezTo>
                    <a:pt x="23" y="54"/>
                    <a:pt x="22" y="54"/>
                    <a:pt x="22" y="55"/>
                  </a:cubicBezTo>
                  <a:cubicBezTo>
                    <a:pt x="22" y="55"/>
                    <a:pt x="22" y="55"/>
                    <a:pt x="22" y="55"/>
                  </a:cubicBezTo>
                  <a:cubicBezTo>
                    <a:pt x="22" y="55"/>
                    <a:pt x="22" y="55"/>
                    <a:pt x="22" y="55"/>
                  </a:cubicBezTo>
                  <a:cubicBezTo>
                    <a:pt x="22" y="55"/>
                    <a:pt x="21" y="55"/>
                    <a:pt x="21" y="56"/>
                  </a:cubicBezTo>
                  <a:cubicBezTo>
                    <a:pt x="21" y="56"/>
                    <a:pt x="21" y="56"/>
                    <a:pt x="21" y="56"/>
                  </a:cubicBezTo>
                  <a:cubicBezTo>
                    <a:pt x="21" y="56"/>
                    <a:pt x="21" y="57"/>
                    <a:pt x="22" y="57"/>
                  </a:cubicBezTo>
                  <a:cubicBezTo>
                    <a:pt x="21" y="57"/>
                    <a:pt x="21" y="57"/>
                    <a:pt x="21" y="57"/>
                  </a:cubicBezTo>
                  <a:cubicBezTo>
                    <a:pt x="21" y="58"/>
                    <a:pt x="21" y="58"/>
                    <a:pt x="21" y="58"/>
                  </a:cubicBezTo>
                  <a:cubicBezTo>
                    <a:pt x="21" y="59"/>
                    <a:pt x="21" y="59"/>
                    <a:pt x="21" y="59"/>
                  </a:cubicBezTo>
                  <a:cubicBezTo>
                    <a:pt x="21" y="59"/>
                    <a:pt x="21" y="59"/>
                    <a:pt x="21" y="60"/>
                  </a:cubicBezTo>
                  <a:cubicBezTo>
                    <a:pt x="21" y="60"/>
                    <a:pt x="21" y="60"/>
                    <a:pt x="21" y="60"/>
                  </a:cubicBezTo>
                  <a:cubicBezTo>
                    <a:pt x="21" y="61"/>
                    <a:pt x="21" y="61"/>
                    <a:pt x="21" y="61"/>
                  </a:cubicBezTo>
                  <a:cubicBezTo>
                    <a:pt x="21" y="61"/>
                    <a:pt x="21" y="61"/>
                    <a:pt x="21" y="61"/>
                  </a:cubicBezTo>
                  <a:cubicBezTo>
                    <a:pt x="21" y="62"/>
                    <a:pt x="21" y="62"/>
                    <a:pt x="21" y="62"/>
                  </a:cubicBezTo>
                  <a:cubicBezTo>
                    <a:pt x="20" y="62"/>
                    <a:pt x="20" y="62"/>
                    <a:pt x="20" y="62"/>
                  </a:cubicBezTo>
                  <a:cubicBezTo>
                    <a:pt x="20" y="62"/>
                    <a:pt x="20" y="63"/>
                    <a:pt x="20" y="63"/>
                  </a:cubicBezTo>
                  <a:cubicBezTo>
                    <a:pt x="20" y="63"/>
                    <a:pt x="20" y="63"/>
                    <a:pt x="20" y="63"/>
                  </a:cubicBezTo>
                  <a:cubicBezTo>
                    <a:pt x="20" y="64"/>
                    <a:pt x="20" y="64"/>
                    <a:pt x="20" y="64"/>
                  </a:cubicBezTo>
                  <a:cubicBezTo>
                    <a:pt x="20" y="64"/>
                    <a:pt x="20" y="64"/>
                    <a:pt x="20" y="64"/>
                  </a:cubicBezTo>
                  <a:cubicBezTo>
                    <a:pt x="20" y="65"/>
                    <a:pt x="20" y="65"/>
                    <a:pt x="20" y="65"/>
                  </a:cubicBezTo>
                  <a:cubicBezTo>
                    <a:pt x="20" y="65"/>
                    <a:pt x="20" y="65"/>
                    <a:pt x="20" y="65"/>
                  </a:cubicBezTo>
                  <a:cubicBezTo>
                    <a:pt x="20" y="65"/>
                    <a:pt x="20" y="66"/>
                    <a:pt x="20" y="66"/>
                  </a:cubicBezTo>
                  <a:cubicBezTo>
                    <a:pt x="20" y="66"/>
                    <a:pt x="20" y="66"/>
                    <a:pt x="20" y="66"/>
                  </a:cubicBezTo>
                  <a:cubicBezTo>
                    <a:pt x="20" y="66"/>
                    <a:pt x="20" y="66"/>
                    <a:pt x="20" y="66"/>
                  </a:cubicBezTo>
                  <a:cubicBezTo>
                    <a:pt x="20" y="66"/>
                    <a:pt x="19" y="67"/>
                    <a:pt x="19" y="67"/>
                  </a:cubicBezTo>
                  <a:cubicBezTo>
                    <a:pt x="19" y="67"/>
                    <a:pt x="19" y="67"/>
                    <a:pt x="19" y="67"/>
                  </a:cubicBezTo>
                  <a:cubicBezTo>
                    <a:pt x="19" y="68"/>
                    <a:pt x="19" y="68"/>
                    <a:pt x="19" y="68"/>
                  </a:cubicBezTo>
                  <a:cubicBezTo>
                    <a:pt x="19" y="68"/>
                    <a:pt x="19" y="69"/>
                    <a:pt x="19" y="69"/>
                  </a:cubicBezTo>
                  <a:cubicBezTo>
                    <a:pt x="19" y="70"/>
                    <a:pt x="19" y="70"/>
                    <a:pt x="19" y="70"/>
                  </a:cubicBezTo>
                  <a:cubicBezTo>
                    <a:pt x="19" y="70"/>
                    <a:pt x="19" y="70"/>
                    <a:pt x="19" y="70"/>
                  </a:cubicBezTo>
                  <a:cubicBezTo>
                    <a:pt x="19" y="70"/>
                    <a:pt x="19" y="70"/>
                    <a:pt x="19" y="70"/>
                  </a:cubicBezTo>
                  <a:cubicBezTo>
                    <a:pt x="19" y="71"/>
                    <a:pt x="19" y="71"/>
                    <a:pt x="19" y="71"/>
                  </a:cubicBezTo>
                  <a:cubicBezTo>
                    <a:pt x="18" y="72"/>
                    <a:pt x="18" y="72"/>
                    <a:pt x="18" y="72"/>
                  </a:cubicBezTo>
                  <a:cubicBezTo>
                    <a:pt x="18" y="72"/>
                    <a:pt x="17" y="72"/>
                    <a:pt x="17" y="73"/>
                  </a:cubicBezTo>
                  <a:cubicBezTo>
                    <a:pt x="17" y="73"/>
                    <a:pt x="17" y="73"/>
                    <a:pt x="18" y="73"/>
                  </a:cubicBezTo>
                  <a:cubicBezTo>
                    <a:pt x="17" y="74"/>
                    <a:pt x="17" y="74"/>
                    <a:pt x="17" y="74"/>
                  </a:cubicBezTo>
                  <a:cubicBezTo>
                    <a:pt x="17" y="74"/>
                    <a:pt x="17" y="74"/>
                    <a:pt x="17" y="74"/>
                  </a:cubicBezTo>
                  <a:cubicBezTo>
                    <a:pt x="17" y="75"/>
                    <a:pt x="17" y="75"/>
                    <a:pt x="17" y="75"/>
                  </a:cubicBezTo>
                  <a:cubicBezTo>
                    <a:pt x="17" y="75"/>
                    <a:pt x="17" y="75"/>
                    <a:pt x="17" y="75"/>
                  </a:cubicBezTo>
                  <a:cubicBezTo>
                    <a:pt x="17" y="76"/>
                    <a:pt x="17" y="76"/>
                    <a:pt x="17" y="76"/>
                  </a:cubicBezTo>
                  <a:cubicBezTo>
                    <a:pt x="16" y="76"/>
                    <a:pt x="16" y="76"/>
                    <a:pt x="16" y="77"/>
                  </a:cubicBezTo>
                  <a:cubicBezTo>
                    <a:pt x="16" y="78"/>
                    <a:pt x="16" y="78"/>
                    <a:pt x="16" y="78"/>
                  </a:cubicBezTo>
                  <a:cubicBezTo>
                    <a:pt x="16" y="78"/>
                    <a:pt x="16" y="78"/>
                    <a:pt x="16" y="78"/>
                  </a:cubicBezTo>
                  <a:cubicBezTo>
                    <a:pt x="16" y="79"/>
                    <a:pt x="16" y="79"/>
                    <a:pt x="16" y="79"/>
                  </a:cubicBezTo>
                  <a:cubicBezTo>
                    <a:pt x="15" y="80"/>
                    <a:pt x="15" y="80"/>
                    <a:pt x="15" y="80"/>
                  </a:cubicBezTo>
                  <a:cubicBezTo>
                    <a:pt x="15" y="80"/>
                    <a:pt x="15" y="80"/>
                    <a:pt x="15" y="80"/>
                  </a:cubicBezTo>
                  <a:cubicBezTo>
                    <a:pt x="15" y="81"/>
                    <a:pt x="15" y="81"/>
                    <a:pt x="15" y="81"/>
                  </a:cubicBezTo>
                  <a:cubicBezTo>
                    <a:pt x="15" y="81"/>
                    <a:pt x="15" y="81"/>
                    <a:pt x="15" y="81"/>
                  </a:cubicBezTo>
                  <a:cubicBezTo>
                    <a:pt x="14" y="83"/>
                    <a:pt x="14" y="83"/>
                    <a:pt x="14" y="83"/>
                  </a:cubicBezTo>
                  <a:cubicBezTo>
                    <a:pt x="14" y="83"/>
                    <a:pt x="14" y="83"/>
                    <a:pt x="14" y="84"/>
                  </a:cubicBezTo>
                  <a:cubicBezTo>
                    <a:pt x="14" y="84"/>
                    <a:pt x="14" y="84"/>
                    <a:pt x="14" y="84"/>
                  </a:cubicBezTo>
                  <a:cubicBezTo>
                    <a:pt x="14" y="85"/>
                    <a:pt x="14" y="85"/>
                    <a:pt x="14" y="85"/>
                  </a:cubicBezTo>
                  <a:cubicBezTo>
                    <a:pt x="14" y="85"/>
                    <a:pt x="14" y="85"/>
                    <a:pt x="14" y="85"/>
                  </a:cubicBezTo>
                  <a:cubicBezTo>
                    <a:pt x="14" y="85"/>
                    <a:pt x="14" y="85"/>
                    <a:pt x="14" y="85"/>
                  </a:cubicBezTo>
                  <a:cubicBezTo>
                    <a:pt x="14" y="85"/>
                    <a:pt x="14" y="85"/>
                    <a:pt x="14" y="86"/>
                  </a:cubicBezTo>
                  <a:cubicBezTo>
                    <a:pt x="14" y="86"/>
                    <a:pt x="14" y="86"/>
                    <a:pt x="14" y="86"/>
                  </a:cubicBezTo>
                  <a:cubicBezTo>
                    <a:pt x="13" y="86"/>
                    <a:pt x="13" y="86"/>
                    <a:pt x="13" y="87"/>
                  </a:cubicBezTo>
                  <a:cubicBezTo>
                    <a:pt x="13" y="88"/>
                    <a:pt x="13" y="88"/>
                    <a:pt x="13" y="88"/>
                  </a:cubicBezTo>
                  <a:cubicBezTo>
                    <a:pt x="13" y="89"/>
                    <a:pt x="13" y="89"/>
                    <a:pt x="13" y="89"/>
                  </a:cubicBezTo>
                  <a:cubicBezTo>
                    <a:pt x="12" y="91"/>
                    <a:pt x="12" y="91"/>
                    <a:pt x="12" y="91"/>
                  </a:cubicBezTo>
                  <a:cubicBezTo>
                    <a:pt x="12" y="91"/>
                    <a:pt x="12" y="91"/>
                    <a:pt x="12" y="91"/>
                  </a:cubicBezTo>
                  <a:cubicBezTo>
                    <a:pt x="12" y="91"/>
                    <a:pt x="12" y="91"/>
                    <a:pt x="12" y="91"/>
                  </a:cubicBezTo>
                  <a:cubicBezTo>
                    <a:pt x="12" y="92"/>
                    <a:pt x="12" y="92"/>
                    <a:pt x="12" y="92"/>
                  </a:cubicBezTo>
                  <a:cubicBezTo>
                    <a:pt x="12" y="93"/>
                    <a:pt x="12" y="93"/>
                    <a:pt x="12" y="93"/>
                  </a:cubicBezTo>
                  <a:cubicBezTo>
                    <a:pt x="11" y="94"/>
                    <a:pt x="11" y="94"/>
                    <a:pt x="11" y="94"/>
                  </a:cubicBezTo>
                  <a:cubicBezTo>
                    <a:pt x="11" y="94"/>
                    <a:pt x="11" y="94"/>
                    <a:pt x="11" y="94"/>
                  </a:cubicBezTo>
                  <a:cubicBezTo>
                    <a:pt x="11" y="95"/>
                    <a:pt x="11" y="95"/>
                    <a:pt x="11" y="95"/>
                  </a:cubicBezTo>
                  <a:cubicBezTo>
                    <a:pt x="10" y="97"/>
                    <a:pt x="10" y="97"/>
                    <a:pt x="10" y="97"/>
                  </a:cubicBezTo>
                  <a:cubicBezTo>
                    <a:pt x="10" y="98"/>
                    <a:pt x="10" y="98"/>
                    <a:pt x="10" y="98"/>
                  </a:cubicBezTo>
                  <a:cubicBezTo>
                    <a:pt x="10" y="98"/>
                    <a:pt x="10" y="98"/>
                    <a:pt x="10" y="98"/>
                  </a:cubicBezTo>
                  <a:cubicBezTo>
                    <a:pt x="10" y="98"/>
                    <a:pt x="10" y="98"/>
                    <a:pt x="10" y="98"/>
                  </a:cubicBezTo>
                  <a:cubicBezTo>
                    <a:pt x="10" y="99"/>
                    <a:pt x="10" y="99"/>
                    <a:pt x="10" y="99"/>
                  </a:cubicBezTo>
                  <a:cubicBezTo>
                    <a:pt x="9" y="99"/>
                    <a:pt x="9" y="99"/>
                    <a:pt x="9" y="99"/>
                  </a:cubicBezTo>
                  <a:cubicBezTo>
                    <a:pt x="9" y="99"/>
                    <a:pt x="9" y="99"/>
                    <a:pt x="9" y="100"/>
                  </a:cubicBezTo>
                  <a:cubicBezTo>
                    <a:pt x="8" y="101"/>
                    <a:pt x="8" y="101"/>
                    <a:pt x="8" y="101"/>
                  </a:cubicBezTo>
                  <a:cubicBezTo>
                    <a:pt x="8" y="101"/>
                    <a:pt x="8" y="101"/>
                    <a:pt x="8" y="101"/>
                  </a:cubicBezTo>
                  <a:cubicBezTo>
                    <a:pt x="7" y="103"/>
                    <a:pt x="7" y="103"/>
                    <a:pt x="7" y="103"/>
                  </a:cubicBezTo>
                  <a:cubicBezTo>
                    <a:pt x="7" y="104"/>
                    <a:pt x="7" y="104"/>
                    <a:pt x="7" y="104"/>
                  </a:cubicBezTo>
                  <a:cubicBezTo>
                    <a:pt x="7" y="104"/>
                    <a:pt x="7" y="104"/>
                    <a:pt x="7" y="104"/>
                  </a:cubicBezTo>
                  <a:cubicBezTo>
                    <a:pt x="6" y="104"/>
                    <a:pt x="6" y="104"/>
                    <a:pt x="6" y="104"/>
                  </a:cubicBezTo>
                  <a:cubicBezTo>
                    <a:pt x="6" y="104"/>
                    <a:pt x="5" y="105"/>
                    <a:pt x="5" y="105"/>
                  </a:cubicBezTo>
                  <a:cubicBezTo>
                    <a:pt x="5" y="106"/>
                    <a:pt x="5" y="106"/>
                    <a:pt x="5" y="106"/>
                  </a:cubicBezTo>
                  <a:cubicBezTo>
                    <a:pt x="4" y="109"/>
                    <a:pt x="4" y="109"/>
                    <a:pt x="4" y="109"/>
                  </a:cubicBezTo>
                  <a:cubicBezTo>
                    <a:pt x="4" y="109"/>
                    <a:pt x="4" y="109"/>
                    <a:pt x="4" y="109"/>
                  </a:cubicBezTo>
                  <a:cubicBezTo>
                    <a:pt x="4" y="109"/>
                    <a:pt x="4" y="110"/>
                    <a:pt x="4" y="110"/>
                  </a:cubicBezTo>
                  <a:cubicBezTo>
                    <a:pt x="4" y="110"/>
                    <a:pt x="4" y="110"/>
                    <a:pt x="4" y="110"/>
                  </a:cubicBezTo>
                  <a:cubicBezTo>
                    <a:pt x="4" y="110"/>
                    <a:pt x="4" y="110"/>
                    <a:pt x="4" y="110"/>
                  </a:cubicBezTo>
                  <a:cubicBezTo>
                    <a:pt x="3" y="110"/>
                    <a:pt x="3" y="110"/>
                    <a:pt x="3" y="110"/>
                  </a:cubicBezTo>
                  <a:cubicBezTo>
                    <a:pt x="3" y="111"/>
                    <a:pt x="3" y="111"/>
                    <a:pt x="3" y="111"/>
                  </a:cubicBezTo>
                  <a:cubicBezTo>
                    <a:pt x="2" y="112"/>
                    <a:pt x="2" y="112"/>
                    <a:pt x="2" y="112"/>
                  </a:cubicBezTo>
                  <a:cubicBezTo>
                    <a:pt x="1" y="113"/>
                    <a:pt x="1" y="113"/>
                    <a:pt x="1" y="113"/>
                  </a:cubicBezTo>
                  <a:cubicBezTo>
                    <a:pt x="1" y="114"/>
                    <a:pt x="1" y="114"/>
                    <a:pt x="1" y="114"/>
                  </a:cubicBezTo>
                  <a:cubicBezTo>
                    <a:pt x="1" y="114"/>
                    <a:pt x="1" y="114"/>
                    <a:pt x="1" y="115"/>
                  </a:cubicBezTo>
                  <a:cubicBezTo>
                    <a:pt x="1" y="115"/>
                    <a:pt x="1" y="115"/>
                    <a:pt x="1" y="115"/>
                  </a:cubicBezTo>
                  <a:cubicBezTo>
                    <a:pt x="1" y="116"/>
                    <a:pt x="1" y="116"/>
                    <a:pt x="1" y="116"/>
                  </a:cubicBezTo>
                  <a:cubicBezTo>
                    <a:pt x="1" y="116"/>
                    <a:pt x="1" y="117"/>
                    <a:pt x="2" y="117"/>
                  </a:cubicBezTo>
                  <a:cubicBezTo>
                    <a:pt x="2" y="117"/>
                    <a:pt x="2" y="117"/>
                    <a:pt x="2" y="117"/>
                  </a:cubicBezTo>
                  <a:cubicBezTo>
                    <a:pt x="2" y="118"/>
                    <a:pt x="2" y="118"/>
                    <a:pt x="2" y="118"/>
                  </a:cubicBezTo>
                  <a:cubicBezTo>
                    <a:pt x="2" y="118"/>
                    <a:pt x="2" y="118"/>
                    <a:pt x="2" y="118"/>
                  </a:cubicBezTo>
                  <a:cubicBezTo>
                    <a:pt x="2" y="120"/>
                    <a:pt x="2" y="120"/>
                    <a:pt x="2" y="120"/>
                  </a:cubicBezTo>
                  <a:cubicBezTo>
                    <a:pt x="2" y="120"/>
                    <a:pt x="2" y="120"/>
                    <a:pt x="2" y="121"/>
                  </a:cubicBezTo>
                  <a:cubicBezTo>
                    <a:pt x="2" y="121"/>
                    <a:pt x="2" y="121"/>
                    <a:pt x="2" y="121"/>
                  </a:cubicBezTo>
                  <a:cubicBezTo>
                    <a:pt x="1" y="121"/>
                    <a:pt x="1" y="121"/>
                    <a:pt x="1" y="122"/>
                  </a:cubicBezTo>
                  <a:cubicBezTo>
                    <a:pt x="1" y="123"/>
                    <a:pt x="1" y="123"/>
                    <a:pt x="1" y="123"/>
                  </a:cubicBezTo>
                  <a:cubicBezTo>
                    <a:pt x="1" y="123"/>
                    <a:pt x="0" y="124"/>
                    <a:pt x="0" y="124"/>
                  </a:cubicBezTo>
                  <a:cubicBezTo>
                    <a:pt x="0" y="125"/>
                    <a:pt x="0" y="125"/>
                    <a:pt x="1" y="125"/>
                  </a:cubicBezTo>
                  <a:cubicBezTo>
                    <a:pt x="1" y="127"/>
                    <a:pt x="1" y="127"/>
                    <a:pt x="1" y="127"/>
                  </a:cubicBezTo>
                  <a:cubicBezTo>
                    <a:pt x="1" y="127"/>
                    <a:pt x="1" y="127"/>
                    <a:pt x="1" y="127"/>
                  </a:cubicBezTo>
                  <a:cubicBezTo>
                    <a:pt x="1" y="129"/>
                    <a:pt x="1" y="129"/>
                    <a:pt x="1" y="129"/>
                  </a:cubicBezTo>
                  <a:cubicBezTo>
                    <a:pt x="1" y="129"/>
                    <a:pt x="1" y="130"/>
                    <a:pt x="1" y="130"/>
                  </a:cubicBezTo>
                  <a:cubicBezTo>
                    <a:pt x="2" y="131"/>
                    <a:pt x="2" y="131"/>
                    <a:pt x="2" y="131"/>
                  </a:cubicBezTo>
                  <a:cubicBezTo>
                    <a:pt x="2" y="132"/>
                    <a:pt x="2" y="132"/>
                    <a:pt x="2" y="132"/>
                  </a:cubicBezTo>
                  <a:cubicBezTo>
                    <a:pt x="3" y="132"/>
                    <a:pt x="3" y="132"/>
                    <a:pt x="3" y="132"/>
                  </a:cubicBezTo>
                  <a:cubicBezTo>
                    <a:pt x="3" y="133"/>
                    <a:pt x="3" y="133"/>
                    <a:pt x="4" y="133"/>
                  </a:cubicBezTo>
                  <a:cubicBezTo>
                    <a:pt x="4" y="133"/>
                    <a:pt x="4" y="133"/>
                    <a:pt x="4" y="133"/>
                  </a:cubicBezTo>
                  <a:cubicBezTo>
                    <a:pt x="8" y="133"/>
                    <a:pt x="8" y="133"/>
                    <a:pt x="8" y="133"/>
                  </a:cubicBezTo>
                  <a:cubicBezTo>
                    <a:pt x="11" y="134"/>
                    <a:pt x="11" y="134"/>
                    <a:pt x="11" y="134"/>
                  </a:cubicBezTo>
                  <a:cubicBezTo>
                    <a:pt x="15" y="136"/>
                    <a:pt x="15" y="136"/>
                    <a:pt x="15" y="136"/>
                  </a:cubicBezTo>
                  <a:cubicBezTo>
                    <a:pt x="19" y="136"/>
                    <a:pt x="19" y="136"/>
                    <a:pt x="19" y="136"/>
                  </a:cubicBezTo>
                  <a:cubicBezTo>
                    <a:pt x="42" y="141"/>
                    <a:pt x="42" y="141"/>
                    <a:pt x="42" y="141"/>
                  </a:cubicBezTo>
                  <a:cubicBezTo>
                    <a:pt x="45" y="141"/>
                    <a:pt x="45" y="141"/>
                    <a:pt x="45" y="141"/>
                  </a:cubicBezTo>
                  <a:cubicBezTo>
                    <a:pt x="63" y="145"/>
                    <a:pt x="63" y="145"/>
                    <a:pt x="63" y="145"/>
                  </a:cubicBezTo>
                  <a:cubicBezTo>
                    <a:pt x="63" y="147"/>
                    <a:pt x="63" y="147"/>
                    <a:pt x="63" y="147"/>
                  </a:cubicBezTo>
                  <a:cubicBezTo>
                    <a:pt x="62" y="154"/>
                    <a:pt x="62" y="154"/>
                    <a:pt x="62" y="154"/>
                  </a:cubicBezTo>
                  <a:cubicBezTo>
                    <a:pt x="61" y="162"/>
                    <a:pt x="61" y="162"/>
                    <a:pt x="61" y="162"/>
                  </a:cubicBezTo>
                  <a:cubicBezTo>
                    <a:pt x="60" y="165"/>
                    <a:pt x="60" y="165"/>
                    <a:pt x="60" y="165"/>
                  </a:cubicBezTo>
                  <a:cubicBezTo>
                    <a:pt x="58" y="176"/>
                    <a:pt x="58" y="176"/>
                    <a:pt x="58" y="176"/>
                  </a:cubicBezTo>
                  <a:cubicBezTo>
                    <a:pt x="58" y="179"/>
                    <a:pt x="58" y="179"/>
                    <a:pt x="58" y="179"/>
                  </a:cubicBezTo>
                  <a:cubicBezTo>
                    <a:pt x="56" y="187"/>
                    <a:pt x="56" y="187"/>
                    <a:pt x="56" y="187"/>
                  </a:cubicBezTo>
                  <a:cubicBezTo>
                    <a:pt x="56" y="190"/>
                    <a:pt x="56" y="190"/>
                    <a:pt x="56" y="190"/>
                  </a:cubicBezTo>
                  <a:cubicBezTo>
                    <a:pt x="54" y="201"/>
                    <a:pt x="54" y="201"/>
                    <a:pt x="54" y="201"/>
                  </a:cubicBezTo>
                  <a:cubicBezTo>
                    <a:pt x="54" y="203"/>
                    <a:pt x="54" y="203"/>
                    <a:pt x="54" y="203"/>
                  </a:cubicBezTo>
                  <a:cubicBezTo>
                    <a:pt x="54" y="203"/>
                    <a:pt x="54" y="203"/>
                    <a:pt x="54" y="203"/>
                  </a:cubicBezTo>
                  <a:cubicBezTo>
                    <a:pt x="57" y="207"/>
                    <a:pt x="57" y="207"/>
                    <a:pt x="57" y="207"/>
                  </a:cubicBezTo>
                  <a:cubicBezTo>
                    <a:pt x="60" y="211"/>
                    <a:pt x="60" y="211"/>
                    <a:pt x="60" y="211"/>
                  </a:cubicBezTo>
                  <a:cubicBezTo>
                    <a:pt x="63" y="215"/>
                    <a:pt x="63" y="215"/>
                    <a:pt x="63" y="215"/>
                  </a:cubicBezTo>
                  <a:cubicBezTo>
                    <a:pt x="66" y="219"/>
                    <a:pt x="66" y="219"/>
                    <a:pt x="66" y="219"/>
                  </a:cubicBezTo>
                  <a:cubicBezTo>
                    <a:pt x="69" y="222"/>
                    <a:pt x="69" y="222"/>
                    <a:pt x="69" y="222"/>
                  </a:cubicBezTo>
                  <a:cubicBezTo>
                    <a:pt x="72" y="226"/>
                    <a:pt x="72" y="226"/>
                    <a:pt x="72" y="226"/>
                  </a:cubicBezTo>
                  <a:cubicBezTo>
                    <a:pt x="75" y="230"/>
                    <a:pt x="75" y="230"/>
                    <a:pt x="75" y="230"/>
                  </a:cubicBezTo>
                  <a:cubicBezTo>
                    <a:pt x="80" y="237"/>
                    <a:pt x="80" y="237"/>
                    <a:pt x="80" y="237"/>
                  </a:cubicBezTo>
                  <a:cubicBezTo>
                    <a:pt x="83" y="240"/>
                    <a:pt x="83" y="240"/>
                    <a:pt x="83" y="240"/>
                  </a:cubicBezTo>
                  <a:cubicBezTo>
                    <a:pt x="85" y="244"/>
                    <a:pt x="85" y="244"/>
                    <a:pt x="85" y="244"/>
                  </a:cubicBezTo>
                  <a:cubicBezTo>
                    <a:pt x="88" y="247"/>
                    <a:pt x="88" y="247"/>
                    <a:pt x="88" y="247"/>
                  </a:cubicBezTo>
                  <a:cubicBezTo>
                    <a:pt x="93" y="253"/>
                    <a:pt x="93" y="253"/>
                    <a:pt x="93" y="253"/>
                  </a:cubicBezTo>
                  <a:cubicBezTo>
                    <a:pt x="95" y="256"/>
                    <a:pt x="95" y="256"/>
                    <a:pt x="95" y="256"/>
                  </a:cubicBezTo>
                  <a:cubicBezTo>
                    <a:pt x="99" y="262"/>
                    <a:pt x="99" y="262"/>
                    <a:pt x="99" y="262"/>
                  </a:cubicBezTo>
                  <a:cubicBezTo>
                    <a:pt x="104" y="268"/>
                    <a:pt x="104" y="268"/>
                    <a:pt x="104" y="268"/>
                  </a:cubicBezTo>
                  <a:cubicBezTo>
                    <a:pt x="106" y="271"/>
                    <a:pt x="106" y="271"/>
                    <a:pt x="106" y="271"/>
                  </a:cubicBezTo>
                  <a:cubicBezTo>
                    <a:pt x="108" y="274"/>
                    <a:pt x="108" y="274"/>
                    <a:pt x="108" y="274"/>
                  </a:cubicBezTo>
                  <a:cubicBezTo>
                    <a:pt x="110" y="277"/>
                    <a:pt x="110" y="277"/>
                    <a:pt x="110" y="277"/>
                  </a:cubicBezTo>
                  <a:cubicBezTo>
                    <a:pt x="112" y="279"/>
                    <a:pt x="112" y="279"/>
                    <a:pt x="112" y="279"/>
                  </a:cubicBezTo>
                  <a:cubicBezTo>
                    <a:pt x="114" y="283"/>
                    <a:pt x="114" y="283"/>
                    <a:pt x="114" y="283"/>
                  </a:cubicBezTo>
                  <a:cubicBezTo>
                    <a:pt x="117" y="286"/>
                    <a:pt x="117" y="286"/>
                    <a:pt x="117" y="286"/>
                  </a:cubicBezTo>
                  <a:cubicBezTo>
                    <a:pt x="122" y="293"/>
                    <a:pt x="122" y="293"/>
                    <a:pt x="122" y="293"/>
                  </a:cubicBezTo>
                  <a:cubicBezTo>
                    <a:pt x="125" y="296"/>
                    <a:pt x="125" y="296"/>
                    <a:pt x="125" y="296"/>
                  </a:cubicBezTo>
                  <a:cubicBezTo>
                    <a:pt x="125" y="296"/>
                    <a:pt x="125" y="296"/>
                    <a:pt x="125" y="296"/>
                  </a:cubicBezTo>
                  <a:cubicBezTo>
                    <a:pt x="125" y="297"/>
                    <a:pt x="125" y="297"/>
                    <a:pt x="125" y="297"/>
                  </a:cubicBezTo>
                  <a:cubicBezTo>
                    <a:pt x="125" y="297"/>
                    <a:pt x="125" y="297"/>
                    <a:pt x="125" y="297"/>
                  </a:cubicBezTo>
                  <a:cubicBezTo>
                    <a:pt x="125" y="297"/>
                    <a:pt x="125" y="298"/>
                    <a:pt x="125" y="298"/>
                  </a:cubicBezTo>
                  <a:cubicBezTo>
                    <a:pt x="125" y="298"/>
                    <a:pt x="126" y="298"/>
                    <a:pt x="126" y="298"/>
                  </a:cubicBezTo>
                  <a:cubicBezTo>
                    <a:pt x="126" y="298"/>
                    <a:pt x="126" y="298"/>
                    <a:pt x="126" y="298"/>
                  </a:cubicBezTo>
                  <a:cubicBezTo>
                    <a:pt x="126" y="298"/>
                    <a:pt x="126" y="299"/>
                    <a:pt x="126" y="299"/>
                  </a:cubicBezTo>
                  <a:cubicBezTo>
                    <a:pt x="126" y="300"/>
                    <a:pt x="126" y="300"/>
                    <a:pt x="126" y="300"/>
                  </a:cubicBezTo>
                  <a:cubicBezTo>
                    <a:pt x="126" y="300"/>
                    <a:pt x="126" y="300"/>
                    <a:pt x="126" y="300"/>
                  </a:cubicBezTo>
                  <a:cubicBezTo>
                    <a:pt x="126" y="300"/>
                    <a:pt x="126" y="300"/>
                    <a:pt x="126" y="300"/>
                  </a:cubicBezTo>
                  <a:cubicBezTo>
                    <a:pt x="127" y="300"/>
                    <a:pt x="127" y="300"/>
                    <a:pt x="127" y="300"/>
                  </a:cubicBezTo>
                  <a:cubicBezTo>
                    <a:pt x="127" y="302"/>
                    <a:pt x="127" y="302"/>
                    <a:pt x="127" y="302"/>
                  </a:cubicBezTo>
                  <a:cubicBezTo>
                    <a:pt x="127" y="303"/>
                    <a:pt x="127" y="303"/>
                    <a:pt x="127" y="303"/>
                  </a:cubicBezTo>
                  <a:cubicBezTo>
                    <a:pt x="127" y="303"/>
                    <a:pt x="128" y="303"/>
                    <a:pt x="128" y="304"/>
                  </a:cubicBezTo>
                  <a:cubicBezTo>
                    <a:pt x="128" y="304"/>
                    <a:pt x="128" y="304"/>
                    <a:pt x="128" y="304"/>
                  </a:cubicBezTo>
                  <a:cubicBezTo>
                    <a:pt x="128" y="304"/>
                    <a:pt x="128" y="304"/>
                    <a:pt x="128" y="304"/>
                  </a:cubicBezTo>
                  <a:cubicBezTo>
                    <a:pt x="128" y="304"/>
                    <a:pt x="128" y="304"/>
                    <a:pt x="128" y="304"/>
                  </a:cubicBezTo>
                  <a:cubicBezTo>
                    <a:pt x="128" y="305"/>
                    <a:pt x="128" y="305"/>
                    <a:pt x="128" y="305"/>
                  </a:cubicBezTo>
                  <a:cubicBezTo>
                    <a:pt x="128" y="306"/>
                    <a:pt x="128" y="306"/>
                    <a:pt x="128" y="306"/>
                  </a:cubicBezTo>
                  <a:cubicBezTo>
                    <a:pt x="129" y="306"/>
                    <a:pt x="129" y="306"/>
                    <a:pt x="129" y="306"/>
                  </a:cubicBezTo>
                  <a:cubicBezTo>
                    <a:pt x="129" y="307"/>
                    <a:pt x="129" y="307"/>
                    <a:pt x="129" y="307"/>
                  </a:cubicBezTo>
                  <a:cubicBezTo>
                    <a:pt x="129" y="307"/>
                    <a:pt x="129" y="307"/>
                    <a:pt x="130" y="307"/>
                  </a:cubicBezTo>
                  <a:cubicBezTo>
                    <a:pt x="130" y="308"/>
                    <a:pt x="130" y="308"/>
                    <a:pt x="130" y="308"/>
                  </a:cubicBezTo>
                  <a:cubicBezTo>
                    <a:pt x="131" y="309"/>
                    <a:pt x="131" y="309"/>
                    <a:pt x="131" y="309"/>
                  </a:cubicBezTo>
                  <a:cubicBezTo>
                    <a:pt x="131" y="309"/>
                    <a:pt x="131" y="309"/>
                    <a:pt x="131" y="309"/>
                  </a:cubicBezTo>
                  <a:cubicBezTo>
                    <a:pt x="130" y="310"/>
                    <a:pt x="130" y="310"/>
                    <a:pt x="130" y="310"/>
                  </a:cubicBezTo>
                  <a:cubicBezTo>
                    <a:pt x="130" y="310"/>
                    <a:pt x="130" y="310"/>
                    <a:pt x="130" y="310"/>
                  </a:cubicBezTo>
                  <a:cubicBezTo>
                    <a:pt x="128" y="311"/>
                    <a:pt x="128" y="311"/>
                    <a:pt x="128" y="311"/>
                  </a:cubicBezTo>
                  <a:cubicBezTo>
                    <a:pt x="128" y="311"/>
                    <a:pt x="128" y="311"/>
                    <a:pt x="128" y="311"/>
                  </a:cubicBezTo>
                  <a:cubicBezTo>
                    <a:pt x="127" y="311"/>
                    <a:pt x="127" y="311"/>
                    <a:pt x="127" y="312"/>
                  </a:cubicBezTo>
                  <a:cubicBezTo>
                    <a:pt x="126" y="312"/>
                    <a:pt x="126" y="312"/>
                    <a:pt x="126" y="312"/>
                  </a:cubicBezTo>
                  <a:cubicBezTo>
                    <a:pt x="126" y="313"/>
                    <a:pt x="126" y="313"/>
                    <a:pt x="126" y="313"/>
                  </a:cubicBezTo>
                  <a:cubicBezTo>
                    <a:pt x="126" y="313"/>
                    <a:pt x="126" y="313"/>
                    <a:pt x="126" y="313"/>
                  </a:cubicBezTo>
                  <a:cubicBezTo>
                    <a:pt x="126" y="313"/>
                    <a:pt x="126" y="313"/>
                    <a:pt x="126" y="313"/>
                  </a:cubicBezTo>
                  <a:cubicBezTo>
                    <a:pt x="125" y="314"/>
                    <a:pt x="125" y="314"/>
                    <a:pt x="125" y="314"/>
                  </a:cubicBezTo>
                  <a:cubicBezTo>
                    <a:pt x="125" y="314"/>
                    <a:pt x="125" y="314"/>
                    <a:pt x="125" y="314"/>
                  </a:cubicBezTo>
                  <a:cubicBezTo>
                    <a:pt x="124" y="315"/>
                    <a:pt x="124" y="315"/>
                    <a:pt x="124" y="315"/>
                  </a:cubicBezTo>
                  <a:cubicBezTo>
                    <a:pt x="124" y="315"/>
                    <a:pt x="124" y="315"/>
                    <a:pt x="124" y="315"/>
                  </a:cubicBezTo>
                  <a:cubicBezTo>
                    <a:pt x="124" y="316"/>
                    <a:pt x="124" y="316"/>
                    <a:pt x="124" y="316"/>
                  </a:cubicBezTo>
                  <a:cubicBezTo>
                    <a:pt x="124" y="316"/>
                    <a:pt x="124" y="316"/>
                    <a:pt x="124" y="316"/>
                  </a:cubicBezTo>
                  <a:cubicBezTo>
                    <a:pt x="124" y="317"/>
                    <a:pt x="124" y="317"/>
                    <a:pt x="124" y="317"/>
                  </a:cubicBezTo>
                  <a:cubicBezTo>
                    <a:pt x="124" y="317"/>
                    <a:pt x="124" y="317"/>
                    <a:pt x="124" y="317"/>
                  </a:cubicBezTo>
                  <a:cubicBezTo>
                    <a:pt x="124" y="317"/>
                    <a:pt x="124" y="317"/>
                    <a:pt x="124" y="317"/>
                  </a:cubicBezTo>
                  <a:cubicBezTo>
                    <a:pt x="124" y="320"/>
                    <a:pt x="124" y="320"/>
                    <a:pt x="124" y="320"/>
                  </a:cubicBezTo>
                  <a:cubicBezTo>
                    <a:pt x="124" y="320"/>
                    <a:pt x="124" y="320"/>
                    <a:pt x="124" y="320"/>
                  </a:cubicBezTo>
                  <a:cubicBezTo>
                    <a:pt x="124" y="320"/>
                    <a:pt x="123" y="321"/>
                    <a:pt x="123" y="321"/>
                  </a:cubicBezTo>
                  <a:cubicBezTo>
                    <a:pt x="123" y="321"/>
                    <a:pt x="123" y="321"/>
                    <a:pt x="123" y="321"/>
                  </a:cubicBezTo>
                  <a:cubicBezTo>
                    <a:pt x="123" y="321"/>
                    <a:pt x="123" y="322"/>
                    <a:pt x="123" y="322"/>
                  </a:cubicBezTo>
                  <a:cubicBezTo>
                    <a:pt x="123" y="322"/>
                    <a:pt x="123" y="322"/>
                    <a:pt x="123" y="322"/>
                  </a:cubicBezTo>
                  <a:cubicBezTo>
                    <a:pt x="123" y="323"/>
                    <a:pt x="123" y="323"/>
                    <a:pt x="123" y="323"/>
                  </a:cubicBezTo>
                  <a:cubicBezTo>
                    <a:pt x="123" y="323"/>
                    <a:pt x="122" y="323"/>
                    <a:pt x="122" y="323"/>
                  </a:cubicBezTo>
                  <a:cubicBezTo>
                    <a:pt x="122" y="323"/>
                    <a:pt x="122" y="324"/>
                    <a:pt x="122" y="324"/>
                  </a:cubicBezTo>
                  <a:cubicBezTo>
                    <a:pt x="122" y="324"/>
                    <a:pt x="122" y="324"/>
                    <a:pt x="122" y="324"/>
                  </a:cubicBezTo>
                  <a:cubicBezTo>
                    <a:pt x="122" y="324"/>
                    <a:pt x="121" y="324"/>
                    <a:pt x="121" y="324"/>
                  </a:cubicBezTo>
                  <a:cubicBezTo>
                    <a:pt x="121" y="324"/>
                    <a:pt x="120" y="324"/>
                    <a:pt x="120" y="325"/>
                  </a:cubicBezTo>
                  <a:cubicBezTo>
                    <a:pt x="120" y="325"/>
                    <a:pt x="120" y="325"/>
                    <a:pt x="120" y="325"/>
                  </a:cubicBezTo>
                  <a:cubicBezTo>
                    <a:pt x="119" y="326"/>
                    <a:pt x="119" y="326"/>
                    <a:pt x="119" y="326"/>
                  </a:cubicBezTo>
                  <a:cubicBezTo>
                    <a:pt x="120" y="326"/>
                    <a:pt x="120" y="327"/>
                    <a:pt x="120" y="327"/>
                  </a:cubicBezTo>
                  <a:cubicBezTo>
                    <a:pt x="119" y="327"/>
                    <a:pt x="119" y="327"/>
                    <a:pt x="119" y="327"/>
                  </a:cubicBezTo>
                  <a:cubicBezTo>
                    <a:pt x="119" y="328"/>
                    <a:pt x="119" y="328"/>
                    <a:pt x="119" y="328"/>
                  </a:cubicBezTo>
                  <a:cubicBezTo>
                    <a:pt x="119" y="328"/>
                    <a:pt x="119" y="328"/>
                    <a:pt x="120" y="328"/>
                  </a:cubicBezTo>
                  <a:cubicBezTo>
                    <a:pt x="120" y="329"/>
                    <a:pt x="120" y="329"/>
                    <a:pt x="120" y="329"/>
                  </a:cubicBezTo>
                  <a:cubicBezTo>
                    <a:pt x="120" y="330"/>
                    <a:pt x="120" y="330"/>
                    <a:pt x="120" y="330"/>
                  </a:cubicBezTo>
                  <a:cubicBezTo>
                    <a:pt x="120" y="331"/>
                    <a:pt x="120" y="331"/>
                    <a:pt x="120" y="331"/>
                  </a:cubicBezTo>
                  <a:cubicBezTo>
                    <a:pt x="119" y="331"/>
                    <a:pt x="119" y="331"/>
                    <a:pt x="119" y="332"/>
                  </a:cubicBezTo>
                  <a:cubicBezTo>
                    <a:pt x="119" y="332"/>
                    <a:pt x="119" y="332"/>
                    <a:pt x="119" y="332"/>
                  </a:cubicBezTo>
                  <a:cubicBezTo>
                    <a:pt x="119" y="333"/>
                    <a:pt x="119" y="333"/>
                    <a:pt x="120" y="333"/>
                  </a:cubicBezTo>
                  <a:cubicBezTo>
                    <a:pt x="120" y="334"/>
                    <a:pt x="120" y="334"/>
                    <a:pt x="120" y="334"/>
                  </a:cubicBezTo>
                  <a:cubicBezTo>
                    <a:pt x="120" y="334"/>
                    <a:pt x="120" y="334"/>
                    <a:pt x="120" y="334"/>
                  </a:cubicBezTo>
                  <a:cubicBezTo>
                    <a:pt x="121" y="334"/>
                    <a:pt x="121" y="334"/>
                    <a:pt x="121" y="334"/>
                  </a:cubicBezTo>
                  <a:cubicBezTo>
                    <a:pt x="122" y="334"/>
                    <a:pt x="122" y="334"/>
                    <a:pt x="122" y="334"/>
                  </a:cubicBezTo>
                  <a:cubicBezTo>
                    <a:pt x="123" y="335"/>
                    <a:pt x="123" y="335"/>
                    <a:pt x="123" y="335"/>
                  </a:cubicBezTo>
                  <a:cubicBezTo>
                    <a:pt x="123" y="335"/>
                    <a:pt x="122" y="335"/>
                    <a:pt x="122" y="335"/>
                  </a:cubicBezTo>
                  <a:cubicBezTo>
                    <a:pt x="123" y="336"/>
                    <a:pt x="123" y="336"/>
                    <a:pt x="123" y="336"/>
                  </a:cubicBezTo>
                  <a:cubicBezTo>
                    <a:pt x="123" y="337"/>
                    <a:pt x="123" y="337"/>
                    <a:pt x="123" y="337"/>
                  </a:cubicBezTo>
                  <a:cubicBezTo>
                    <a:pt x="123" y="337"/>
                    <a:pt x="123" y="337"/>
                    <a:pt x="123" y="337"/>
                  </a:cubicBezTo>
                  <a:cubicBezTo>
                    <a:pt x="122" y="337"/>
                    <a:pt x="122" y="337"/>
                    <a:pt x="122" y="337"/>
                  </a:cubicBezTo>
                  <a:cubicBezTo>
                    <a:pt x="122" y="337"/>
                    <a:pt x="121" y="337"/>
                    <a:pt x="121" y="338"/>
                  </a:cubicBezTo>
                  <a:cubicBezTo>
                    <a:pt x="121" y="339"/>
                    <a:pt x="121" y="339"/>
                    <a:pt x="121" y="339"/>
                  </a:cubicBezTo>
                  <a:cubicBezTo>
                    <a:pt x="120" y="338"/>
                    <a:pt x="120" y="338"/>
                    <a:pt x="120" y="338"/>
                  </a:cubicBezTo>
                  <a:cubicBezTo>
                    <a:pt x="120" y="338"/>
                    <a:pt x="119" y="338"/>
                    <a:pt x="119" y="338"/>
                  </a:cubicBezTo>
                  <a:cubicBezTo>
                    <a:pt x="118" y="339"/>
                    <a:pt x="118" y="339"/>
                    <a:pt x="118" y="339"/>
                  </a:cubicBezTo>
                  <a:cubicBezTo>
                    <a:pt x="118" y="339"/>
                    <a:pt x="118" y="339"/>
                    <a:pt x="118" y="340"/>
                  </a:cubicBezTo>
                  <a:cubicBezTo>
                    <a:pt x="118" y="340"/>
                    <a:pt x="118" y="340"/>
                    <a:pt x="118" y="340"/>
                  </a:cubicBezTo>
                  <a:cubicBezTo>
                    <a:pt x="116" y="341"/>
                    <a:pt x="116" y="341"/>
                    <a:pt x="116" y="341"/>
                  </a:cubicBezTo>
                  <a:cubicBezTo>
                    <a:pt x="116" y="342"/>
                    <a:pt x="116" y="342"/>
                    <a:pt x="116" y="342"/>
                  </a:cubicBezTo>
                  <a:cubicBezTo>
                    <a:pt x="116" y="342"/>
                    <a:pt x="116" y="342"/>
                    <a:pt x="116" y="342"/>
                  </a:cubicBezTo>
                  <a:cubicBezTo>
                    <a:pt x="116" y="343"/>
                    <a:pt x="116" y="343"/>
                    <a:pt x="116" y="343"/>
                  </a:cubicBezTo>
                  <a:cubicBezTo>
                    <a:pt x="116" y="343"/>
                    <a:pt x="116" y="343"/>
                    <a:pt x="116" y="343"/>
                  </a:cubicBezTo>
                  <a:cubicBezTo>
                    <a:pt x="116" y="344"/>
                    <a:pt x="116" y="344"/>
                    <a:pt x="116" y="344"/>
                  </a:cubicBezTo>
                  <a:cubicBezTo>
                    <a:pt x="116" y="344"/>
                    <a:pt x="116" y="345"/>
                    <a:pt x="117" y="345"/>
                  </a:cubicBezTo>
                  <a:cubicBezTo>
                    <a:pt x="123" y="349"/>
                    <a:pt x="123" y="349"/>
                    <a:pt x="123" y="349"/>
                  </a:cubicBezTo>
                  <a:cubicBezTo>
                    <a:pt x="130" y="351"/>
                    <a:pt x="130" y="351"/>
                    <a:pt x="130" y="351"/>
                  </a:cubicBezTo>
                  <a:cubicBezTo>
                    <a:pt x="155" y="365"/>
                    <a:pt x="155" y="365"/>
                    <a:pt x="155" y="365"/>
                  </a:cubicBezTo>
                  <a:cubicBezTo>
                    <a:pt x="161" y="368"/>
                    <a:pt x="161" y="368"/>
                    <a:pt x="161" y="368"/>
                  </a:cubicBezTo>
                  <a:cubicBezTo>
                    <a:pt x="168" y="372"/>
                    <a:pt x="168" y="372"/>
                    <a:pt x="168" y="372"/>
                  </a:cubicBezTo>
                  <a:cubicBezTo>
                    <a:pt x="169" y="372"/>
                    <a:pt x="169" y="372"/>
                    <a:pt x="169" y="372"/>
                  </a:cubicBezTo>
                  <a:cubicBezTo>
                    <a:pt x="169" y="372"/>
                    <a:pt x="169" y="372"/>
                    <a:pt x="169" y="372"/>
                  </a:cubicBezTo>
                  <a:cubicBezTo>
                    <a:pt x="171" y="373"/>
                    <a:pt x="171" y="373"/>
                    <a:pt x="171" y="373"/>
                  </a:cubicBezTo>
                  <a:cubicBezTo>
                    <a:pt x="172" y="373"/>
                    <a:pt x="172" y="373"/>
                    <a:pt x="172" y="373"/>
                  </a:cubicBezTo>
                  <a:cubicBezTo>
                    <a:pt x="173" y="374"/>
                    <a:pt x="173" y="374"/>
                    <a:pt x="173" y="374"/>
                  </a:cubicBezTo>
                  <a:cubicBezTo>
                    <a:pt x="173" y="375"/>
                    <a:pt x="173" y="375"/>
                    <a:pt x="173" y="375"/>
                  </a:cubicBezTo>
                  <a:cubicBezTo>
                    <a:pt x="173" y="375"/>
                    <a:pt x="174" y="375"/>
                    <a:pt x="174" y="375"/>
                  </a:cubicBezTo>
                  <a:cubicBezTo>
                    <a:pt x="174" y="375"/>
                    <a:pt x="174" y="375"/>
                    <a:pt x="174" y="375"/>
                  </a:cubicBezTo>
                  <a:cubicBezTo>
                    <a:pt x="174" y="375"/>
                    <a:pt x="174" y="375"/>
                    <a:pt x="175" y="375"/>
                  </a:cubicBezTo>
                  <a:cubicBezTo>
                    <a:pt x="175" y="375"/>
                    <a:pt x="175" y="375"/>
                    <a:pt x="175" y="375"/>
                  </a:cubicBezTo>
                  <a:cubicBezTo>
                    <a:pt x="176" y="375"/>
                    <a:pt x="176" y="375"/>
                    <a:pt x="176" y="375"/>
                  </a:cubicBezTo>
                  <a:cubicBezTo>
                    <a:pt x="176" y="375"/>
                    <a:pt x="176" y="375"/>
                    <a:pt x="176" y="375"/>
                  </a:cubicBezTo>
                  <a:cubicBezTo>
                    <a:pt x="178" y="375"/>
                    <a:pt x="178" y="375"/>
                    <a:pt x="178" y="375"/>
                  </a:cubicBezTo>
                  <a:cubicBezTo>
                    <a:pt x="178" y="376"/>
                    <a:pt x="178" y="376"/>
                    <a:pt x="178" y="376"/>
                  </a:cubicBezTo>
                  <a:cubicBezTo>
                    <a:pt x="178" y="376"/>
                    <a:pt x="179" y="376"/>
                    <a:pt x="179" y="376"/>
                  </a:cubicBezTo>
                  <a:cubicBezTo>
                    <a:pt x="182" y="376"/>
                    <a:pt x="182" y="376"/>
                    <a:pt x="182" y="376"/>
                  </a:cubicBezTo>
                  <a:cubicBezTo>
                    <a:pt x="182" y="376"/>
                    <a:pt x="182" y="376"/>
                    <a:pt x="182" y="376"/>
                  </a:cubicBezTo>
                  <a:cubicBezTo>
                    <a:pt x="183" y="376"/>
                    <a:pt x="183" y="376"/>
                    <a:pt x="183" y="376"/>
                  </a:cubicBezTo>
                  <a:cubicBezTo>
                    <a:pt x="185" y="376"/>
                    <a:pt x="185" y="376"/>
                    <a:pt x="185" y="376"/>
                  </a:cubicBezTo>
                  <a:cubicBezTo>
                    <a:pt x="186" y="377"/>
                    <a:pt x="186" y="377"/>
                    <a:pt x="186" y="377"/>
                  </a:cubicBezTo>
                  <a:cubicBezTo>
                    <a:pt x="186" y="377"/>
                    <a:pt x="186" y="377"/>
                    <a:pt x="186" y="377"/>
                  </a:cubicBezTo>
                  <a:cubicBezTo>
                    <a:pt x="188" y="377"/>
                    <a:pt x="188" y="377"/>
                    <a:pt x="188" y="377"/>
                  </a:cubicBezTo>
                  <a:cubicBezTo>
                    <a:pt x="188" y="377"/>
                    <a:pt x="188" y="377"/>
                    <a:pt x="188" y="377"/>
                  </a:cubicBezTo>
                  <a:cubicBezTo>
                    <a:pt x="190" y="377"/>
                    <a:pt x="190" y="377"/>
                    <a:pt x="190" y="377"/>
                  </a:cubicBezTo>
                  <a:cubicBezTo>
                    <a:pt x="190" y="377"/>
                    <a:pt x="190" y="377"/>
                    <a:pt x="190" y="377"/>
                  </a:cubicBezTo>
                  <a:cubicBezTo>
                    <a:pt x="190" y="377"/>
                    <a:pt x="190" y="377"/>
                    <a:pt x="190" y="377"/>
                  </a:cubicBezTo>
                  <a:cubicBezTo>
                    <a:pt x="194" y="377"/>
                    <a:pt x="194" y="377"/>
                    <a:pt x="194" y="377"/>
                  </a:cubicBezTo>
                  <a:cubicBezTo>
                    <a:pt x="194" y="377"/>
                    <a:pt x="194" y="377"/>
                    <a:pt x="194" y="377"/>
                  </a:cubicBezTo>
                  <a:cubicBezTo>
                    <a:pt x="194" y="377"/>
                    <a:pt x="195" y="377"/>
                    <a:pt x="195" y="377"/>
                  </a:cubicBezTo>
                  <a:cubicBezTo>
                    <a:pt x="196" y="377"/>
                    <a:pt x="196" y="377"/>
                    <a:pt x="196" y="377"/>
                  </a:cubicBezTo>
                  <a:cubicBezTo>
                    <a:pt x="196" y="378"/>
                    <a:pt x="196" y="378"/>
                    <a:pt x="196" y="378"/>
                  </a:cubicBezTo>
                  <a:cubicBezTo>
                    <a:pt x="198" y="380"/>
                    <a:pt x="201" y="381"/>
                    <a:pt x="204" y="382"/>
                  </a:cubicBezTo>
                  <a:cubicBezTo>
                    <a:pt x="206" y="384"/>
                    <a:pt x="210" y="386"/>
                    <a:pt x="214" y="386"/>
                  </a:cubicBezTo>
                  <a:cubicBezTo>
                    <a:pt x="215" y="386"/>
                    <a:pt x="216" y="385"/>
                    <a:pt x="218" y="385"/>
                  </a:cubicBezTo>
                  <a:cubicBezTo>
                    <a:pt x="222" y="384"/>
                    <a:pt x="225" y="381"/>
                    <a:pt x="227" y="378"/>
                  </a:cubicBezTo>
                  <a:cubicBezTo>
                    <a:pt x="227" y="378"/>
                    <a:pt x="227" y="378"/>
                    <a:pt x="227" y="378"/>
                  </a:cubicBezTo>
                  <a:cubicBezTo>
                    <a:pt x="228" y="378"/>
                    <a:pt x="228" y="378"/>
                    <a:pt x="229" y="378"/>
                  </a:cubicBezTo>
                  <a:cubicBezTo>
                    <a:pt x="229" y="378"/>
                    <a:pt x="229" y="378"/>
                    <a:pt x="229" y="378"/>
                  </a:cubicBezTo>
                  <a:cubicBezTo>
                    <a:pt x="230" y="378"/>
                    <a:pt x="230" y="378"/>
                    <a:pt x="230" y="377"/>
                  </a:cubicBezTo>
                  <a:cubicBezTo>
                    <a:pt x="230" y="377"/>
                    <a:pt x="230" y="377"/>
                    <a:pt x="230" y="377"/>
                  </a:cubicBezTo>
                  <a:cubicBezTo>
                    <a:pt x="231" y="377"/>
                    <a:pt x="232" y="377"/>
                    <a:pt x="233" y="377"/>
                  </a:cubicBezTo>
                  <a:cubicBezTo>
                    <a:pt x="236" y="376"/>
                    <a:pt x="236" y="376"/>
                    <a:pt x="236" y="376"/>
                  </a:cubicBezTo>
                  <a:cubicBezTo>
                    <a:pt x="236" y="376"/>
                    <a:pt x="237" y="376"/>
                    <a:pt x="237" y="376"/>
                  </a:cubicBezTo>
                  <a:cubicBezTo>
                    <a:pt x="239" y="376"/>
                    <a:pt x="239" y="376"/>
                    <a:pt x="239" y="376"/>
                  </a:cubicBezTo>
                  <a:cubicBezTo>
                    <a:pt x="239" y="376"/>
                    <a:pt x="239" y="376"/>
                    <a:pt x="240" y="376"/>
                  </a:cubicBezTo>
                  <a:cubicBezTo>
                    <a:pt x="248" y="375"/>
                    <a:pt x="248" y="375"/>
                    <a:pt x="248" y="375"/>
                  </a:cubicBezTo>
                  <a:cubicBezTo>
                    <a:pt x="251" y="375"/>
                    <a:pt x="251" y="375"/>
                    <a:pt x="251" y="375"/>
                  </a:cubicBezTo>
                  <a:cubicBezTo>
                    <a:pt x="252" y="375"/>
                    <a:pt x="252" y="375"/>
                    <a:pt x="253" y="374"/>
                  </a:cubicBezTo>
                  <a:cubicBezTo>
                    <a:pt x="254" y="374"/>
                    <a:pt x="254" y="374"/>
                    <a:pt x="254" y="374"/>
                  </a:cubicBezTo>
                  <a:cubicBezTo>
                    <a:pt x="254" y="374"/>
                    <a:pt x="254" y="374"/>
                    <a:pt x="254" y="374"/>
                  </a:cubicBezTo>
                  <a:cubicBezTo>
                    <a:pt x="254" y="374"/>
                    <a:pt x="254" y="374"/>
                    <a:pt x="255" y="374"/>
                  </a:cubicBezTo>
                  <a:cubicBezTo>
                    <a:pt x="257" y="374"/>
                    <a:pt x="257" y="374"/>
                    <a:pt x="257" y="374"/>
                  </a:cubicBezTo>
                  <a:cubicBezTo>
                    <a:pt x="257" y="373"/>
                    <a:pt x="257" y="373"/>
                    <a:pt x="257" y="373"/>
                  </a:cubicBezTo>
                  <a:cubicBezTo>
                    <a:pt x="259" y="373"/>
                    <a:pt x="259" y="373"/>
                    <a:pt x="259" y="373"/>
                  </a:cubicBezTo>
                  <a:cubicBezTo>
                    <a:pt x="260" y="373"/>
                    <a:pt x="260" y="373"/>
                    <a:pt x="260" y="373"/>
                  </a:cubicBezTo>
                  <a:cubicBezTo>
                    <a:pt x="270" y="374"/>
                    <a:pt x="270" y="374"/>
                    <a:pt x="270" y="374"/>
                  </a:cubicBezTo>
                  <a:cubicBezTo>
                    <a:pt x="271" y="374"/>
                    <a:pt x="272" y="374"/>
                    <a:pt x="272" y="374"/>
                  </a:cubicBezTo>
                  <a:cubicBezTo>
                    <a:pt x="273" y="374"/>
                    <a:pt x="273" y="374"/>
                    <a:pt x="273" y="374"/>
                  </a:cubicBezTo>
                  <a:cubicBezTo>
                    <a:pt x="275" y="374"/>
                    <a:pt x="276" y="373"/>
                    <a:pt x="277" y="373"/>
                  </a:cubicBezTo>
                  <a:cubicBezTo>
                    <a:pt x="278" y="373"/>
                    <a:pt x="278" y="373"/>
                    <a:pt x="278" y="373"/>
                  </a:cubicBezTo>
                  <a:cubicBezTo>
                    <a:pt x="278" y="373"/>
                    <a:pt x="278" y="373"/>
                    <a:pt x="278" y="373"/>
                  </a:cubicBezTo>
                  <a:cubicBezTo>
                    <a:pt x="279" y="373"/>
                    <a:pt x="279" y="373"/>
                    <a:pt x="279" y="373"/>
                  </a:cubicBezTo>
                  <a:cubicBezTo>
                    <a:pt x="280" y="373"/>
                    <a:pt x="280" y="372"/>
                    <a:pt x="281" y="372"/>
                  </a:cubicBezTo>
                  <a:cubicBezTo>
                    <a:pt x="282" y="372"/>
                    <a:pt x="282" y="372"/>
                    <a:pt x="282" y="372"/>
                  </a:cubicBezTo>
                  <a:cubicBezTo>
                    <a:pt x="282" y="372"/>
                    <a:pt x="282" y="372"/>
                    <a:pt x="283" y="371"/>
                  </a:cubicBezTo>
                  <a:cubicBezTo>
                    <a:pt x="283" y="371"/>
                    <a:pt x="284" y="371"/>
                    <a:pt x="285" y="370"/>
                  </a:cubicBezTo>
                  <a:cubicBezTo>
                    <a:pt x="285" y="370"/>
                    <a:pt x="285" y="370"/>
                    <a:pt x="285" y="370"/>
                  </a:cubicBezTo>
                  <a:cubicBezTo>
                    <a:pt x="291" y="370"/>
                    <a:pt x="291" y="370"/>
                    <a:pt x="291" y="370"/>
                  </a:cubicBezTo>
                  <a:cubicBezTo>
                    <a:pt x="295" y="370"/>
                    <a:pt x="295" y="370"/>
                    <a:pt x="295" y="370"/>
                  </a:cubicBezTo>
                  <a:cubicBezTo>
                    <a:pt x="298" y="370"/>
                    <a:pt x="298" y="370"/>
                    <a:pt x="298" y="370"/>
                  </a:cubicBezTo>
                  <a:cubicBezTo>
                    <a:pt x="302" y="371"/>
                    <a:pt x="302" y="371"/>
                    <a:pt x="302" y="371"/>
                  </a:cubicBezTo>
                  <a:cubicBezTo>
                    <a:pt x="310" y="371"/>
                    <a:pt x="310" y="371"/>
                    <a:pt x="310" y="371"/>
                  </a:cubicBezTo>
                  <a:cubicBezTo>
                    <a:pt x="310" y="371"/>
                    <a:pt x="310" y="371"/>
                    <a:pt x="310" y="370"/>
                  </a:cubicBezTo>
                  <a:cubicBezTo>
                    <a:pt x="311" y="370"/>
                    <a:pt x="311" y="370"/>
                    <a:pt x="311" y="370"/>
                  </a:cubicBezTo>
                  <a:cubicBezTo>
                    <a:pt x="311" y="367"/>
                    <a:pt x="311" y="367"/>
                    <a:pt x="311" y="367"/>
                  </a:cubicBezTo>
                  <a:cubicBezTo>
                    <a:pt x="311" y="364"/>
                    <a:pt x="311" y="364"/>
                    <a:pt x="311" y="364"/>
                  </a:cubicBezTo>
                  <a:cubicBezTo>
                    <a:pt x="311" y="356"/>
                    <a:pt x="311" y="356"/>
                    <a:pt x="311" y="356"/>
                  </a:cubicBezTo>
                  <a:cubicBezTo>
                    <a:pt x="311" y="353"/>
                    <a:pt x="311" y="353"/>
                    <a:pt x="311" y="353"/>
                  </a:cubicBezTo>
                  <a:cubicBezTo>
                    <a:pt x="311" y="342"/>
                    <a:pt x="311" y="342"/>
                    <a:pt x="311" y="342"/>
                  </a:cubicBezTo>
                  <a:cubicBezTo>
                    <a:pt x="312" y="339"/>
                    <a:pt x="312" y="339"/>
                    <a:pt x="312" y="339"/>
                  </a:cubicBezTo>
                  <a:cubicBezTo>
                    <a:pt x="312" y="330"/>
                    <a:pt x="312" y="330"/>
                    <a:pt x="312" y="330"/>
                  </a:cubicBezTo>
                  <a:cubicBezTo>
                    <a:pt x="312" y="327"/>
                    <a:pt x="312" y="327"/>
                    <a:pt x="312" y="327"/>
                  </a:cubicBezTo>
                  <a:cubicBezTo>
                    <a:pt x="312" y="319"/>
                    <a:pt x="312" y="319"/>
                    <a:pt x="312" y="319"/>
                  </a:cubicBezTo>
                  <a:cubicBezTo>
                    <a:pt x="312" y="316"/>
                    <a:pt x="312" y="316"/>
                    <a:pt x="312" y="316"/>
                  </a:cubicBezTo>
                  <a:cubicBezTo>
                    <a:pt x="312" y="308"/>
                    <a:pt x="312" y="308"/>
                    <a:pt x="312" y="308"/>
                  </a:cubicBezTo>
                  <a:cubicBezTo>
                    <a:pt x="313" y="305"/>
                    <a:pt x="313" y="305"/>
                    <a:pt x="313" y="305"/>
                  </a:cubicBezTo>
                  <a:cubicBezTo>
                    <a:pt x="313" y="301"/>
                    <a:pt x="313" y="301"/>
                    <a:pt x="313" y="301"/>
                  </a:cubicBezTo>
                  <a:cubicBezTo>
                    <a:pt x="313" y="300"/>
                    <a:pt x="313" y="300"/>
                    <a:pt x="313" y="300"/>
                  </a:cubicBezTo>
                  <a:cubicBezTo>
                    <a:pt x="313" y="299"/>
                    <a:pt x="313" y="299"/>
                    <a:pt x="313" y="299"/>
                  </a:cubicBezTo>
                  <a:cubicBezTo>
                    <a:pt x="314" y="299"/>
                    <a:pt x="314" y="298"/>
                    <a:pt x="314" y="298"/>
                  </a:cubicBezTo>
                  <a:cubicBezTo>
                    <a:pt x="314" y="297"/>
                    <a:pt x="314" y="297"/>
                    <a:pt x="314" y="297"/>
                  </a:cubicBezTo>
                  <a:cubicBezTo>
                    <a:pt x="314" y="297"/>
                    <a:pt x="315" y="296"/>
                    <a:pt x="315" y="295"/>
                  </a:cubicBezTo>
                  <a:cubicBezTo>
                    <a:pt x="315" y="294"/>
                    <a:pt x="315" y="293"/>
                    <a:pt x="315" y="293"/>
                  </a:cubicBezTo>
                  <a:cubicBezTo>
                    <a:pt x="315" y="292"/>
                    <a:pt x="315" y="292"/>
                    <a:pt x="315" y="292"/>
                  </a:cubicBezTo>
                  <a:cubicBezTo>
                    <a:pt x="316" y="290"/>
                    <a:pt x="316" y="290"/>
                    <a:pt x="316" y="290"/>
                  </a:cubicBezTo>
                  <a:cubicBezTo>
                    <a:pt x="316" y="289"/>
                    <a:pt x="316" y="289"/>
                    <a:pt x="316" y="289"/>
                  </a:cubicBezTo>
                  <a:cubicBezTo>
                    <a:pt x="316" y="288"/>
                    <a:pt x="316" y="288"/>
                    <a:pt x="316" y="288"/>
                  </a:cubicBezTo>
                  <a:cubicBezTo>
                    <a:pt x="316" y="288"/>
                    <a:pt x="316" y="287"/>
                    <a:pt x="316" y="287"/>
                  </a:cubicBezTo>
                  <a:cubicBezTo>
                    <a:pt x="316" y="286"/>
                    <a:pt x="316" y="286"/>
                    <a:pt x="316" y="286"/>
                  </a:cubicBezTo>
                  <a:cubicBezTo>
                    <a:pt x="316" y="285"/>
                    <a:pt x="317" y="285"/>
                    <a:pt x="317" y="284"/>
                  </a:cubicBezTo>
                  <a:cubicBezTo>
                    <a:pt x="317" y="282"/>
                    <a:pt x="317" y="282"/>
                    <a:pt x="317" y="282"/>
                  </a:cubicBezTo>
                  <a:cubicBezTo>
                    <a:pt x="316" y="282"/>
                    <a:pt x="316" y="281"/>
                    <a:pt x="316" y="281"/>
                  </a:cubicBezTo>
                  <a:cubicBezTo>
                    <a:pt x="316" y="280"/>
                    <a:pt x="316" y="280"/>
                    <a:pt x="316" y="280"/>
                  </a:cubicBezTo>
                  <a:cubicBezTo>
                    <a:pt x="317" y="280"/>
                    <a:pt x="317" y="280"/>
                    <a:pt x="317" y="280"/>
                  </a:cubicBezTo>
                  <a:cubicBezTo>
                    <a:pt x="317" y="280"/>
                    <a:pt x="317" y="279"/>
                    <a:pt x="317" y="279"/>
                  </a:cubicBezTo>
                  <a:cubicBezTo>
                    <a:pt x="317" y="279"/>
                    <a:pt x="317" y="279"/>
                    <a:pt x="317" y="278"/>
                  </a:cubicBezTo>
                  <a:cubicBezTo>
                    <a:pt x="317" y="277"/>
                    <a:pt x="317" y="277"/>
                    <a:pt x="317" y="277"/>
                  </a:cubicBezTo>
                  <a:cubicBezTo>
                    <a:pt x="318" y="277"/>
                    <a:pt x="318" y="276"/>
                    <a:pt x="318" y="276"/>
                  </a:cubicBezTo>
                  <a:cubicBezTo>
                    <a:pt x="318" y="275"/>
                    <a:pt x="318" y="275"/>
                    <a:pt x="318" y="275"/>
                  </a:cubicBezTo>
                  <a:cubicBezTo>
                    <a:pt x="318" y="275"/>
                    <a:pt x="318" y="275"/>
                    <a:pt x="318" y="275"/>
                  </a:cubicBezTo>
                  <a:cubicBezTo>
                    <a:pt x="318" y="274"/>
                    <a:pt x="318" y="273"/>
                    <a:pt x="318" y="272"/>
                  </a:cubicBezTo>
                  <a:cubicBezTo>
                    <a:pt x="318" y="271"/>
                    <a:pt x="318" y="271"/>
                    <a:pt x="318" y="271"/>
                  </a:cubicBezTo>
                  <a:cubicBezTo>
                    <a:pt x="318" y="271"/>
                    <a:pt x="318" y="270"/>
                    <a:pt x="318" y="270"/>
                  </a:cubicBezTo>
                  <a:cubicBezTo>
                    <a:pt x="328" y="270"/>
                    <a:pt x="328" y="270"/>
                    <a:pt x="328" y="270"/>
                  </a:cubicBezTo>
                  <a:cubicBezTo>
                    <a:pt x="329" y="270"/>
                    <a:pt x="329" y="269"/>
                    <a:pt x="329" y="269"/>
                  </a:cubicBezTo>
                  <a:cubicBezTo>
                    <a:pt x="329" y="258"/>
                    <a:pt x="329" y="258"/>
                    <a:pt x="329" y="258"/>
                  </a:cubicBezTo>
                  <a:cubicBezTo>
                    <a:pt x="329" y="256"/>
                    <a:pt x="329" y="256"/>
                    <a:pt x="329" y="256"/>
                  </a:cubicBezTo>
                  <a:cubicBezTo>
                    <a:pt x="329" y="232"/>
                    <a:pt x="329" y="232"/>
                    <a:pt x="329" y="232"/>
                  </a:cubicBezTo>
                  <a:cubicBezTo>
                    <a:pt x="330" y="230"/>
                    <a:pt x="330" y="230"/>
                    <a:pt x="330" y="230"/>
                  </a:cubicBezTo>
                  <a:cubicBezTo>
                    <a:pt x="330" y="230"/>
                    <a:pt x="330" y="230"/>
                    <a:pt x="330" y="230"/>
                  </a:cubicBezTo>
                  <a:cubicBezTo>
                    <a:pt x="330" y="207"/>
                    <a:pt x="330" y="207"/>
                    <a:pt x="330" y="207"/>
                  </a:cubicBezTo>
                  <a:cubicBezTo>
                    <a:pt x="330" y="206"/>
                    <a:pt x="330" y="206"/>
                    <a:pt x="330" y="206"/>
                  </a:cubicBezTo>
                  <a:cubicBezTo>
                    <a:pt x="330" y="189"/>
                    <a:pt x="330" y="189"/>
                    <a:pt x="330" y="189"/>
                  </a:cubicBezTo>
                  <a:cubicBezTo>
                    <a:pt x="330" y="189"/>
                    <a:pt x="329" y="188"/>
                    <a:pt x="329" y="188"/>
                  </a:cubicBezTo>
                  <a:cubicBezTo>
                    <a:pt x="317" y="188"/>
                    <a:pt x="317" y="188"/>
                    <a:pt x="317" y="188"/>
                  </a:cubicBezTo>
                  <a:cubicBezTo>
                    <a:pt x="315" y="188"/>
                    <a:pt x="315" y="188"/>
                    <a:pt x="315" y="188"/>
                  </a:cubicBezTo>
                  <a:cubicBezTo>
                    <a:pt x="304" y="188"/>
                    <a:pt x="304" y="188"/>
                    <a:pt x="304" y="188"/>
                  </a:cubicBezTo>
                  <a:cubicBezTo>
                    <a:pt x="303" y="187"/>
                    <a:pt x="303" y="187"/>
                    <a:pt x="303" y="187"/>
                  </a:cubicBezTo>
                  <a:cubicBezTo>
                    <a:pt x="302" y="187"/>
                    <a:pt x="302" y="187"/>
                    <a:pt x="302" y="187"/>
                  </a:cubicBezTo>
                  <a:cubicBezTo>
                    <a:pt x="299" y="187"/>
                    <a:pt x="299" y="187"/>
                    <a:pt x="299" y="187"/>
                  </a:cubicBezTo>
                  <a:cubicBezTo>
                    <a:pt x="299" y="178"/>
                    <a:pt x="299" y="178"/>
                    <a:pt x="299" y="178"/>
                  </a:cubicBezTo>
                  <a:cubicBezTo>
                    <a:pt x="299" y="176"/>
                    <a:pt x="299" y="176"/>
                    <a:pt x="299" y="176"/>
                  </a:cubicBezTo>
                  <a:cubicBezTo>
                    <a:pt x="299" y="166"/>
                    <a:pt x="299" y="166"/>
                    <a:pt x="299" y="166"/>
                  </a:cubicBezTo>
                  <a:cubicBezTo>
                    <a:pt x="300" y="164"/>
                    <a:pt x="300" y="164"/>
                    <a:pt x="300" y="164"/>
                  </a:cubicBezTo>
                  <a:cubicBezTo>
                    <a:pt x="300" y="156"/>
                    <a:pt x="300" y="156"/>
                    <a:pt x="300" y="156"/>
                  </a:cubicBezTo>
                  <a:cubicBezTo>
                    <a:pt x="300" y="154"/>
                    <a:pt x="300" y="154"/>
                    <a:pt x="300" y="154"/>
                  </a:cubicBezTo>
                  <a:cubicBezTo>
                    <a:pt x="300" y="151"/>
                    <a:pt x="300" y="151"/>
                    <a:pt x="300" y="151"/>
                  </a:cubicBezTo>
                  <a:cubicBezTo>
                    <a:pt x="307" y="151"/>
                    <a:pt x="307" y="151"/>
                    <a:pt x="307" y="151"/>
                  </a:cubicBezTo>
                  <a:cubicBezTo>
                    <a:pt x="307" y="152"/>
                    <a:pt x="308" y="152"/>
                    <a:pt x="308" y="152"/>
                  </a:cubicBezTo>
                  <a:cubicBezTo>
                    <a:pt x="309" y="152"/>
                    <a:pt x="309" y="152"/>
                    <a:pt x="309" y="152"/>
                  </a:cubicBezTo>
                  <a:cubicBezTo>
                    <a:pt x="310" y="152"/>
                    <a:pt x="310" y="152"/>
                    <a:pt x="311" y="152"/>
                  </a:cubicBezTo>
                  <a:cubicBezTo>
                    <a:pt x="314" y="152"/>
                    <a:pt x="314" y="152"/>
                    <a:pt x="314" y="152"/>
                  </a:cubicBezTo>
                  <a:cubicBezTo>
                    <a:pt x="314" y="152"/>
                    <a:pt x="315" y="152"/>
                    <a:pt x="315" y="152"/>
                  </a:cubicBezTo>
                  <a:cubicBezTo>
                    <a:pt x="319" y="152"/>
                    <a:pt x="319" y="152"/>
                    <a:pt x="319" y="152"/>
                  </a:cubicBezTo>
                  <a:cubicBezTo>
                    <a:pt x="320" y="152"/>
                    <a:pt x="321" y="152"/>
                    <a:pt x="321" y="152"/>
                  </a:cubicBezTo>
                  <a:cubicBezTo>
                    <a:pt x="323" y="151"/>
                    <a:pt x="324" y="151"/>
                    <a:pt x="325" y="151"/>
                  </a:cubicBezTo>
                  <a:cubicBezTo>
                    <a:pt x="326" y="150"/>
                    <a:pt x="328" y="149"/>
                    <a:pt x="329" y="148"/>
                  </a:cubicBezTo>
                  <a:cubicBezTo>
                    <a:pt x="330" y="148"/>
                    <a:pt x="330" y="147"/>
                    <a:pt x="330" y="147"/>
                  </a:cubicBezTo>
                  <a:cubicBezTo>
                    <a:pt x="330" y="147"/>
                    <a:pt x="330" y="147"/>
                    <a:pt x="331" y="147"/>
                  </a:cubicBezTo>
                  <a:cubicBezTo>
                    <a:pt x="334" y="148"/>
                    <a:pt x="334" y="148"/>
                    <a:pt x="334" y="148"/>
                  </a:cubicBezTo>
                  <a:cubicBezTo>
                    <a:pt x="334" y="148"/>
                    <a:pt x="334" y="148"/>
                    <a:pt x="334" y="148"/>
                  </a:cubicBezTo>
                  <a:cubicBezTo>
                    <a:pt x="341" y="148"/>
                    <a:pt x="341" y="148"/>
                    <a:pt x="341" y="148"/>
                  </a:cubicBezTo>
                  <a:cubicBezTo>
                    <a:pt x="342" y="148"/>
                    <a:pt x="343" y="148"/>
                    <a:pt x="344" y="147"/>
                  </a:cubicBezTo>
                  <a:cubicBezTo>
                    <a:pt x="345" y="146"/>
                    <a:pt x="346" y="145"/>
                    <a:pt x="346" y="143"/>
                  </a:cubicBezTo>
                  <a:close/>
                  <a:moveTo>
                    <a:pt x="28" y="51"/>
                  </a:moveTo>
                  <a:cubicBezTo>
                    <a:pt x="27" y="51"/>
                    <a:pt x="27" y="51"/>
                    <a:pt x="27" y="51"/>
                  </a:cubicBezTo>
                  <a:cubicBezTo>
                    <a:pt x="27" y="51"/>
                    <a:pt x="27" y="51"/>
                    <a:pt x="27" y="51"/>
                  </a:cubicBezTo>
                  <a:cubicBezTo>
                    <a:pt x="27" y="51"/>
                    <a:pt x="27" y="51"/>
                    <a:pt x="27" y="51"/>
                  </a:cubicBezTo>
                  <a:cubicBezTo>
                    <a:pt x="27" y="51"/>
                    <a:pt x="28" y="51"/>
                    <a:pt x="28" y="51"/>
                  </a:cubicBezTo>
                  <a:cubicBezTo>
                    <a:pt x="28" y="51"/>
                    <a:pt x="28" y="51"/>
                    <a:pt x="28" y="51"/>
                  </a:cubicBezTo>
                  <a:close/>
                  <a:moveTo>
                    <a:pt x="66" y="145"/>
                  </a:moveTo>
                  <a:cubicBezTo>
                    <a:pt x="66" y="145"/>
                    <a:pt x="66" y="145"/>
                    <a:pt x="66" y="145"/>
                  </a:cubicBezTo>
                  <a:cubicBezTo>
                    <a:pt x="67" y="146"/>
                    <a:pt x="67" y="146"/>
                    <a:pt x="67" y="146"/>
                  </a:cubicBezTo>
                  <a:lnTo>
                    <a:pt x="66" y="145"/>
                  </a:lnTo>
                  <a:close/>
                  <a:moveTo>
                    <a:pt x="299" y="323"/>
                  </a:moveTo>
                  <a:cubicBezTo>
                    <a:pt x="299" y="323"/>
                    <a:pt x="299" y="323"/>
                    <a:pt x="299" y="323"/>
                  </a:cubicBezTo>
                  <a:cubicBezTo>
                    <a:pt x="301" y="319"/>
                    <a:pt x="301" y="319"/>
                    <a:pt x="301" y="319"/>
                  </a:cubicBezTo>
                  <a:cubicBezTo>
                    <a:pt x="301" y="319"/>
                    <a:pt x="301" y="319"/>
                    <a:pt x="301" y="319"/>
                  </a:cubicBezTo>
                  <a:cubicBezTo>
                    <a:pt x="302" y="317"/>
                    <a:pt x="302" y="317"/>
                    <a:pt x="302" y="317"/>
                  </a:cubicBezTo>
                  <a:cubicBezTo>
                    <a:pt x="302" y="317"/>
                    <a:pt x="302" y="316"/>
                    <a:pt x="303" y="315"/>
                  </a:cubicBezTo>
                  <a:cubicBezTo>
                    <a:pt x="303" y="315"/>
                    <a:pt x="303" y="315"/>
                    <a:pt x="303" y="315"/>
                  </a:cubicBezTo>
                  <a:cubicBezTo>
                    <a:pt x="303" y="315"/>
                    <a:pt x="303" y="315"/>
                    <a:pt x="303" y="314"/>
                  </a:cubicBezTo>
                  <a:cubicBezTo>
                    <a:pt x="303" y="314"/>
                    <a:pt x="303" y="314"/>
                    <a:pt x="303" y="314"/>
                  </a:cubicBezTo>
                  <a:cubicBezTo>
                    <a:pt x="303" y="313"/>
                    <a:pt x="303" y="313"/>
                    <a:pt x="304" y="312"/>
                  </a:cubicBezTo>
                  <a:cubicBezTo>
                    <a:pt x="304" y="311"/>
                    <a:pt x="304" y="311"/>
                    <a:pt x="304" y="311"/>
                  </a:cubicBezTo>
                  <a:cubicBezTo>
                    <a:pt x="304" y="310"/>
                    <a:pt x="304" y="309"/>
                    <a:pt x="304" y="309"/>
                  </a:cubicBezTo>
                  <a:cubicBezTo>
                    <a:pt x="304" y="308"/>
                    <a:pt x="304" y="308"/>
                    <a:pt x="304" y="308"/>
                  </a:cubicBezTo>
                  <a:cubicBezTo>
                    <a:pt x="305" y="308"/>
                    <a:pt x="305" y="308"/>
                    <a:pt x="306" y="307"/>
                  </a:cubicBezTo>
                  <a:cubicBezTo>
                    <a:pt x="306" y="307"/>
                    <a:pt x="307" y="307"/>
                    <a:pt x="307" y="306"/>
                  </a:cubicBezTo>
                  <a:cubicBezTo>
                    <a:pt x="308" y="306"/>
                    <a:pt x="309" y="305"/>
                    <a:pt x="310" y="304"/>
                  </a:cubicBezTo>
                  <a:cubicBezTo>
                    <a:pt x="310" y="304"/>
                    <a:pt x="310" y="304"/>
                    <a:pt x="310" y="304"/>
                  </a:cubicBezTo>
                  <a:cubicBezTo>
                    <a:pt x="310" y="304"/>
                    <a:pt x="310" y="304"/>
                    <a:pt x="310" y="304"/>
                  </a:cubicBezTo>
                  <a:cubicBezTo>
                    <a:pt x="310" y="305"/>
                    <a:pt x="310" y="305"/>
                    <a:pt x="310" y="305"/>
                  </a:cubicBezTo>
                  <a:cubicBezTo>
                    <a:pt x="310" y="308"/>
                    <a:pt x="310" y="308"/>
                    <a:pt x="310" y="308"/>
                  </a:cubicBezTo>
                  <a:cubicBezTo>
                    <a:pt x="310" y="316"/>
                    <a:pt x="310" y="316"/>
                    <a:pt x="310" y="316"/>
                  </a:cubicBezTo>
                  <a:cubicBezTo>
                    <a:pt x="310" y="319"/>
                    <a:pt x="310" y="319"/>
                    <a:pt x="310" y="319"/>
                  </a:cubicBezTo>
                  <a:cubicBezTo>
                    <a:pt x="310" y="327"/>
                    <a:pt x="310" y="327"/>
                    <a:pt x="310" y="327"/>
                  </a:cubicBezTo>
                  <a:cubicBezTo>
                    <a:pt x="310" y="330"/>
                    <a:pt x="310" y="330"/>
                    <a:pt x="310" y="330"/>
                  </a:cubicBezTo>
                  <a:cubicBezTo>
                    <a:pt x="310" y="339"/>
                    <a:pt x="310" y="339"/>
                    <a:pt x="310" y="339"/>
                  </a:cubicBezTo>
                  <a:cubicBezTo>
                    <a:pt x="309" y="342"/>
                    <a:pt x="309" y="342"/>
                    <a:pt x="309" y="342"/>
                  </a:cubicBezTo>
                  <a:cubicBezTo>
                    <a:pt x="309" y="353"/>
                    <a:pt x="309" y="353"/>
                    <a:pt x="309" y="353"/>
                  </a:cubicBezTo>
                  <a:cubicBezTo>
                    <a:pt x="309" y="355"/>
                    <a:pt x="309" y="355"/>
                    <a:pt x="309" y="355"/>
                  </a:cubicBezTo>
                  <a:cubicBezTo>
                    <a:pt x="309" y="364"/>
                    <a:pt x="309" y="364"/>
                    <a:pt x="309" y="364"/>
                  </a:cubicBezTo>
                  <a:cubicBezTo>
                    <a:pt x="309" y="367"/>
                    <a:pt x="309" y="367"/>
                    <a:pt x="309" y="367"/>
                  </a:cubicBezTo>
                  <a:cubicBezTo>
                    <a:pt x="309" y="369"/>
                    <a:pt x="309" y="369"/>
                    <a:pt x="309" y="369"/>
                  </a:cubicBezTo>
                  <a:cubicBezTo>
                    <a:pt x="302" y="369"/>
                    <a:pt x="302" y="369"/>
                    <a:pt x="302" y="369"/>
                  </a:cubicBezTo>
                  <a:cubicBezTo>
                    <a:pt x="298" y="368"/>
                    <a:pt x="298" y="368"/>
                    <a:pt x="298" y="368"/>
                  </a:cubicBezTo>
                  <a:cubicBezTo>
                    <a:pt x="295" y="368"/>
                    <a:pt x="295" y="368"/>
                    <a:pt x="295" y="368"/>
                  </a:cubicBezTo>
                  <a:cubicBezTo>
                    <a:pt x="291" y="368"/>
                    <a:pt x="291" y="368"/>
                    <a:pt x="291" y="368"/>
                  </a:cubicBezTo>
                  <a:cubicBezTo>
                    <a:pt x="288" y="368"/>
                    <a:pt x="288" y="368"/>
                    <a:pt x="288" y="368"/>
                  </a:cubicBezTo>
                  <a:cubicBezTo>
                    <a:pt x="288" y="368"/>
                    <a:pt x="288" y="368"/>
                    <a:pt x="288" y="368"/>
                  </a:cubicBezTo>
                  <a:cubicBezTo>
                    <a:pt x="288" y="368"/>
                    <a:pt x="289" y="367"/>
                    <a:pt x="289" y="367"/>
                  </a:cubicBezTo>
                  <a:cubicBezTo>
                    <a:pt x="289" y="367"/>
                    <a:pt x="289" y="366"/>
                    <a:pt x="290" y="366"/>
                  </a:cubicBezTo>
                  <a:cubicBezTo>
                    <a:pt x="290" y="366"/>
                    <a:pt x="291" y="365"/>
                    <a:pt x="291" y="364"/>
                  </a:cubicBezTo>
                  <a:cubicBezTo>
                    <a:pt x="291" y="364"/>
                    <a:pt x="291" y="364"/>
                    <a:pt x="291" y="364"/>
                  </a:cubicBezTo>
                  <a:cubicBezTo>
                    <a:pt x="291" y="364"/>
                    <a:pt x="291" y="364"/>
                    <a:pt x="291" y="364"/>
                  </a:cubicBezTo>
                  <a:cubicBezTo>
                    <a:pt x="291" y="364"/>
                    <a:pt x="291" y="363"/>
                    <a:pt x="291" y="363"/>
                  </a:cubicBezTo>
                  <a:cubicBezTo>
                    <a:pt x="292" y="362"/>
                    <a:pt x="292" y="361"/>
                    <a:pt x="292" y="360"/>
                  </a:cubicBezTo>
                  <a:cubicBezTo>
                    <a:pt x="293" y="359"/>
                    <a:pt x="293" y="358"/>
                    <a:pt x="293" y="356"/>
                  </a:cubicBezTo>
                  <a:cubicBezTo>
                    <a:pt x="293" y="356"/>
                    <a:pt x="293" y="355"/>
                    <a:pt x="293" y="354"/>
                  </a:cubicBezTo>
                  <a:cubicBezTo>
                    <a:pt x="293" y="353"/>
                    <a:pt x="292" y="352"/>
                    <a:pt x="292" y="351"/>
                  </a:cubicBezTo>
                  <a:cubicBezTo>
                    <a:pt x="292" y="351"/>
                    <a:pt x="292" y="350"/>
                    <a:pt x="292" y="350"/>
                  </a:cubicBezTo>
                  <a:cubicBezTo>
                    <a:pt x="292" y="350"/>
                    <a:pt x="292" y="349"/>
                    <a:pt x="291" y="349"/>
                  </a:cubicBezTo>
                  <a:cubicBezTo>
                    <a:pt x="291" y="349"/>
                    <a:pt x="291" y="349"/>
                    <a:pt x="291" y="349"/>
                  </a:cubicBezTo>
                  <a:cubicBezTo>
                    <a:pt x="291" y="348"/>
                    <a:pt x="291" y="348"/>
                    <a:pt x="291" y="347"/>
                  </a:cubicBezTo>
                  <a:cubicBezTo>
                    <a:pt x="292" y="345"/>
                    <a:pt x="292" y="345"/>
                    <a:pt x="292" y="345"/>
                  </a:cubicBezTo>
                  <a:cubicBezTo>
                    <a:pt x="292" y="344"/>
                    <a:pt x="292" y="343"/>
                    <a:pt x="291" y="343"/>
                  </a:cubicBezTo>
                  <a:cubicBezTo>
                    <a:pt x="291" y="342"/>
                    <a:pt x="291" y="342"/>
                    <a:pt x="291" y="342"/>
                  </a:cubicBezTo>
                  <a:cubicBezTo>
                    <a:pt x="292" y="341"/>
                    <a:pt x="292" y="340"/>
                    <a:pt x="293" y="339"/>
                  </a:cubicBezTo>
                  <a:cubicBezTo>
                    <a:pt x="293" y="339"/>
                    <a:pt x="293" y="338"/>
                    <a:pt x="293" y="338"/>
                  </a:cubicBezTo>
                  <a:cubicBezTo>
                    <a:pt x="295" y="335"/>
                    <a:pt x="295" y="335"/>
                    <a:pt x="295" y="335"/>
                  </a:cubicBezTo>
                  <a:cubicBezTo>
                    <a:pt x="295" y="334"/>
                    <a:pt x="295" y="334"/>
                    <a:pt x="295" y="334"/>
                  </a:cubicBezTo>
                  <a:cubicBezTo>
                    <a:pt x="296" y="333"/>
                    <a:pt x="296" y="333"/>
                    <a:pt x="296" y="333"/>
                  </a:cubicBezTo>
                  <a:cubicBezTo>
                    <a:pt x="296" y="332"/>
                    <a:pt x="296" y="332"/>
                    <a:pt x="296" y="332"/>
                  </a:cubicBezTo>
                  <a:cubicBezTo>
                    <a:pt x="296" y="331"/>
                    <a:pt x="296" y="331"/>
                    <a:pt x="296" y="331"/>
                  </a:cubicBezTo>
                  <a:cubicBezTo>
                    <a:pt x="297" y="330"/>
                    <a:pt x="297" y="330"/>
                    <a:pt x="297" y="329"/>
                  </a:cubicBezTo>
                  <a:cubicBezTo>
                    <a:pt x="298" y="327"/>
                    <a:pt x="298" y="327"/>
                    <a:pt x="298" y="327"/>
                  </a:cubicBezTo>
                  <a:cubicBezTo>
                    <a:pt x="298" y="326"/>
                    <a:pt x="298" y="326"/>
                    <a:pt x="298" y="326"/>
                  </a:cubicBezTo>
                  <a:cubicBezTo>
                    <a:pt x="298" y="326"/>
                    <a:pt x="298" y="325"/>
                    <a:pt x="299" y="325"/>
                  </a:cubicBezTo>
                  <a:lnTo>
                    <a:pt x="299" y="323"/>
                  </a:lnTo>
                  <a:close/>
                </a:path>
              </a:pathLst>
            </a:custGeom>
            <a:solidFill>
              <a:schemeClr val="accent1"/>
            </a:solidFill>
            <a:ln w="63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1031" name="Freeform 38">
              <a:extLst>
                <a:ext uri="{FF2B5EF4-FFF2-40B4-BE49-F238E27FC236}">
                  <a16:creationId xmlns:a16="http://schemas.microsoft.com/office/drawing/2014/main" id="{1C4A7429-7B5F-ED89-8B4E-B9E61FCB78E1}"/>
                </a:ext>
              </a:extLst>
            </p:cNvPr>
            <p:cNvSpPr>
              <a:spLocks/>
            </p:cNvSpPr>
            <p:nvPr/>
          </p:nvSpPr>
          <p:spPr bwMode="gray">
            <a:xfrm>
              <a:off x="2333625" y="4989513"/>
              <a:ext cx="117475" cy="347663"/>
            </a:xfrm>
            <a:custGeom>
              <a:avLst/>
              <a:gdLst>
                <a:gd name="T0" fmla="*/ 7 w 22"/>
                <a:gd name="T1" fmla="*/ 64 h 65"/>
                <a:gd name="T2" fmla="*/ 10 w 22"/>
                <a:gd name="T3" fmla="*/ 64 h 65"/>
                <a:gd name="T4" fmla="*/ 14 w 22"/>
                <a:gd name="T5" fmla="*/ 65 h 65"/>
                <a:gd name="T6" fmla="*/ 21 w 22"/>
                <a:gd name="T7" fmla="*/ 65 h 65"/>
                <a:gd name="T8" fmla="*/ 21 w 22"/>
                <a:gd name="T9" fmla="*/ 63 h 65"/>
                <a:gd name="T10" fmla="*/ 21 w 22"/>
                <a:gd name="T11" fmla="*/ 60 h 65"/>
                <a:gd name="T12" fmla="*/ 21 w 22"/>
                <a:gd name="T13" fmla="*/ 51 h 65"/>
                <a:gd name="T14" fmla="*/ 21 w 22"/>
                <a:gd name="T15" fmla="*/ 49 h 65"/>
                <a:gd name="T16" fmla="*/ 21 w 22"/>
                <a:gd name="T17" fmla="*/ 38 h 65"/>
                <a:gd name="T18" fmla="*/ 22 w 22"/>
                <a:gd name="T19" fmla="*/ 35 h 65"/>
                <a:gd name="T20" fmla="*/ 22 w 22"/>
                <a:gd name="T21" fmla="*/ 26 h 65"/>
                <a:gd name="T22" fmla="*/ 22 w 22"/>
                <a:gd name="T23" fmla="*/ 24 h 65"/>
                <a:gd name="T24" fmla="*/ 22 w 22"/>
                <a:gd name="T25" fmla="*/ 16 h 65"/>
                <a:gd name="T26" fmla="*/ 22 w 22"/>
                <a:gd name="T27" fmla="*/ 12 h 65"/>
                <a:gd name="T28" fmla="*/ 22 w 22"/>
                <a:gd name="T29" fmla="*/ 4 h 65"/>
                <a:gd name="T30" fmla="*/ 22 w 22"/>
                <a:gd name="T31" fmla="*/ 2 h 65"/>
                <a:gd name="T32" fmla="*/ 22 w 22"/>
                <a:gd name="T33" fmla="*/ 0 h 65"/>
                <a:gd name="T34" fmla="*/ 19 w 22"/>
                <a:gd name="T35" fmla="*/ 2 h 65"/>
                <a:gd name="T36" fmla="*/ 18 w 22"/>
                <a:gd name="T37" fmla="*/ 3 h 65"/>
                <a:gd name="T38" fmla="*/ 16 w 22"/>
                <a:gd name="T39" fmla="*/ 4 h 65"/>
                <a:gd name="T40" fmla="*/ 16 w 22"/>
                <a:gd name="T41" fmla="*/ 5 h 65"/>
                <a:gd name="T42" fmla="*/ 16 w 22"/>
                <a:gd name="T43" fmla="*/ 7 h 65"/>
                <a:gd name="T44" fmla="*/ 16 w 22"/>
                <a:gd name="T45" fmla="*/ 8 h 65"/>
                <a:gd name="T46" fmla="*/ 15 w 22"/>
                <a:gd name="T47" fmla="*/ 10 h 65"/>
                <a:gd name="T48" fmla="*/ 15 w 22"/>
                <a:gd name="T49" fmla="*/ 10 h 65"/>
                <a:gd name="T50" fmla="*/ 15 w 22"/>
                <a:gd name="T51" fmla="*/ 11 h 65"/>
                <a:gd name="T52" fmla="*/ 15 w 22"/>
                <a:gd name="T53" fmla="*/ 11 h 65"/>
                <a:gd name="T54" fmla="*/ 14 w 22"/>
                <a:gd name="T55" fmla="*/ 13 h 65"/>
                <a:gd name="T56" fmla="*/ 13 w 22"/>
                <a:gd name="T57" fmla="*/ 15 h 65"/>
                <a:gd name="T58" fmla="*/ 13 w 22"/>
                <a:gd name="T59" fmla="*/ 15 h 65"/>
                <a:gd name="T60" fmla="*/ 11 w 22"/>
                <a:gd name="T61" fmla="*/ 19 h 65"/>
                <a:gd name="T62" fmla="*/ 11 w 22"/>
                <a:gd name="T63" fmla="*/ 19 h 65"/>
                <a:gd name="T64" fmla="*/ 11 w 22"/>
                <a:gd name="T65" fmla="*/ 21 h 65"/>
                <a:gd name="T66" fmla="*/ 10 w 22"/>
                <a:gd name="T67" fmla="*/ 22 h 65"/>
                <a:gd name="T68" fmla="*/ 10 w 22"/>
                <a:gd name="T69" fmla="*/ 23 h 65"/>
                <a:gd name="T70" fmla="*/ 9 w 22"/>
                <a:gd name="T71" fmla="*/ 25 h 65"/>
                <a:gd name="T72" fmla="*/ 8 w 22"/>
                <a:gd name="T73" fmla="*/ 27 h 65"/>
                <a:gd name="T74" fmla="*/ 8 w 22"/>
                <a:gd name="T75" fmla="*/ 28 h 65"/>
                <a:gd name="T76" fmla="*/ 8 w 22"/>
                <a:gd name="T77" fmla="*/ 29 h 65"/>
                <a:gd name="T78" fmla="*/ 7 w 22"/>
                <a:gd name="T79" fmla="*/ 30 h 65"/>
                <a:gd name="T80" fmla="*/ 7 w 22"/>
                <a:gd name="T81" fmla="*/ 31 h 65"/>
                <a:gd name="T82" fmla="*/ 5 w 22"/>
                <a:gd name="T83" fmla="*/ 34 h 65"/>
                <a:gd name="T84" fmla="*/ 5 w 22"/>
                <a:gd name="T85" fmla="*/ 35 h 65"/>
                <a:gd name="T86" fmla="*/ 3 w 22"/>
                <a:gd name="T87" fmla="*/ 38 h 65"/>
                <a:gd name="T88" fmla="*/ 3 w 22"/>
                <a:gd name="T89" fmla="*/ 39 h 65"/>
                <a:gd name="T90" fmla="*/ 4 w 22"/>
                <a:gd name="T91" fmla="*/ 41 h 65"/>
                <a:gd name="T92" fmla="*/ 3 w 22"/>
                <a:gd name="T93" fmla="*/ 43 h 65"/>
                <a:gd name="T94" fmla="*/ 3 w 22"/>
                <a:gd name="T95" fmla="*/ 45 h 65"/>
                <a:gd name="T96" fmla="*/ 3 w 22"/>
                <a:gd name="T97" fmla="*/ 45 h 65"/>
                <a:gd name="T98" fmla="*/ 4 w 22"/>
                <a:gd name="T99" fmla="*/ 46 h 65"/>
                <a:gd name="T100" fmla="*/ 4 w 22"/>
                <a:gd name="T101" fmla="*/ 47 h 65"/>
                <a:gd name="T102" fmla="*/ 5 w 22"/>
                <a:gd name="T103" fmla="*/ 50 h 65"/>
                <a:gd name="T104" fmla="*/ 5 w 22"/>
                <a:gd name="T105" fmla="*/ 52 h 65"/>
                <a:gd name="T106" fmla="*/ 4 w 22"/>
                <a:gd name="T107" fmla="*/ 56 h 65"/>
                <a:gd name="T108" fmla="*/ 3 w 22"/>
                <a:gd name="T109" fmla="*/ 59 h 65"/>
                <a:gd name="T110" fmla="*/ 3 w 22"/>
                <a:gd name="T111" fmla="*/ 60 h 65"/>
                <a:gd name="T112" fmla="*/ 3 w 22"/>
                <a:gd name="T113" fmla="*/ 60 h 65"/>
                <a:gd name="T114" fmla="*/ 3 w 22"/>
                <a:gd name="T115" fmla="*/ 60 h 65"/>
                <a:gd name="T116" fmla="*/ 2 w 22"/>
                <a:gd name="T117" fmla="*/ 62 h 65"/>
                <a:gd name="T118" fmla="*/ 1 w 22"/>
                <a:gd name="T119" fmla="*/ 63 h 65"/>
                <a:gd name="T120" fmla="*/ 0 w 22"/>
                <a:gd name="T121" fmla="*/ 64 h 65"/>
                <a:gd name="T122" fmla="*/ 3 w 22"/>
                <a:gd name="T123" fmla="*/ 64 h 65"/>
                <a:gd name="T124" fmla="*/ 7 w 22"/>
                <a:gd name="T125" fmla="*/ 6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 h="65">
                  <a:moveTo>
                    <a:pt x="7" y="64"/>
                  </a:moveTo>
                  <a:cubicBezTo>
                    <a:pt x="10" y="64"/>
                    <a:pt x="10" y="64"/>
                    <a:pt x="10" y="64"/>
                  </a:cubicBezTo>
                  <a:cubicBezTo>
                    <a:pt x="14" y="65"/>
                    <a:pt x="14" y="65"/>
                    <a:pt x="14" y="65"/>
                  </a:cubicBezTo>
                  <a:cubicBezTo>
                    <a:pt x="21" y="65"/>
                    <a:pt x="21" y="65"/>
                    <a:pt x="21" y="65"/>
                  </a:cubicBezTo>
                  <a:cubicBezTo>
                    <a:pt x="21" y="63"/>
                    <a:pt x="21" y="63"/>
                    <a:pt x="21" y="63"/>
                  </a:cubicBezTo>
                  <a:cubicBezTo>
                    <a:pt x="21" y="60"/>
                    <a:pt x="21" y="60"/>
                    <a:pt x="21" y="60"/>
                  </a:cubicBezTo>
                  <a:cubicBezTo>
                    <a:pt x="21" y="51"/>
                    <a:pt x="21" y="51"/>
                    <a:pt x="21" y="51"/>
                  </a:cubicBezTo>
                  <a:cubicBezTo>
                    <a:pt x="21" y="49"/>
                    <a:pt x="21" y="49"/>
                    <a:pt x="21" y="49"/>
                  </a:cubicBezTo>
                  <a:cubicBezTo>
                    <a:pt x="21" y="38"/>
                    <a:pt x="21" y="38"/>
                    <a:pt x="21" y="38"/>
                  </a:cubicBezTo>
                  <a:cubicBezTo>
                    <a:pt x="22" y="35"/>
                    <a:pt x="22" y="35"/>
                    <a:pt x="22" y="35"/>
                  </a:cubicBezTo>
                  <a:cubicBezTo>
                    <a:pt x="22" y="26"/>
                    <a:pt x="22" y="26"/>
                    <a:pt x="22" y="26"/>
                  </a:cubicBezTo>
                  <a:cubicBezTo>
                    <a:pt x="22" y="24"/>
                    <a:pt x="22" y="24"/>
                    <a:pt x="22" y="24"/>
                  </a:cubicBezTo>
                  <a:cubicBezTo>
                    <a:pt x="22" y="16"/>
                    <a:pt x="22" y="16"/>
                    <a:pt x="22" y="16"/>
                  </a:cubicBezTo>
                  <a:cubicBezTo>
                    <a:pt x="22" y="12"/>
                    <a:pt x="22" y="12"/>
                    <a:pt x="22" y="12"/>
                  </a:cubicBezTo>
                  <a:cubicBezTo>
                    <a:pt x="22" y="4"/>
                    <a:pt x="22" y="4"/>
                    <a:pt x="22" y="4"/>
                  </a:cubicBezTo>
                  <a:cubicBezTo>
                    <a:pt x="22" y="2"/>
                    <a:pt x="22" y="2"/>
                    <a:pt x="22" y="2"/>
                  </a:cubicBezTo>
                  <a:cubicBezTo>
                    <a:pt x="22" y="0"/>
                    <a:pt x="22" y="0"/>
                    <a:pt x="22" y="0"/>
                  </a:cubicBezTo>
                  <a:cubicBezTo>
                    <a:pt x="22" y="0"/>
                    <a:pt x="20" y="2"/>
                    <a:pt x="19" y="2"/>
                  </a:cubicBezTo>
                  <a:cubicBezTo>
                    <a:pt x="19" y="3"/>
                    <a:pt x="18" y="3"/>
                    <a:pt x="18" y="3"/>
                  </a:cubicBezTo>
                  <a:cubicBezTo>
                    <a:pt x="17" y="4"/>
                    <a:pt x="17" y="4"/>
                    <a:pt x="16" y="4"/>
                  </a:cubicBezTo>
                  <a:cubicBezTo>
                    <a:pt x="16" y="5"/>
                    <a:pt x="16" y="5"/>
                    <a:pt x="16" y="5"/>
                  </a:cubicBezTo>
                  <a:cubicBezTo>
                    <a:pt x="16" y="5"/>
                    <a:pt x="16" y="6"/>
                    <a:pt x="16" y="7"/>
                  </a:cubicBezTo>
                  <a:cubicBezTo>
                    <a:pt x="16" y="8"/>
                    <a:pt x="16" y="8"/>
                    <a:pt x="16" y="8"/>
                  </a:cubicBezTo>
                  <a:cubicBezTo>
                    <a:pt x="15" y="9"/>
                    <a:pt x="15" y="9"/>
                    <a:pt x="15" y="10"/>
                  </a:cubicBezTo>
                  <a:cubicBezTo>
                    <a:pt x="15" y="10"/>
                    <a:pt x="15" y="10"/>
                    <a:pt x="15" y="10"/>
                  </a:cubicBezTo>
                  <a:cubicBezTo>
                    <a:pt x="15" y="11"/>
                    <a:pt x="15" y="11"/>
                    <a:pt x="15" y="11"/>
                  </a:cubicBezTo>
                  <a:cubicBezTo>
                    <a:pt x="15" y="11"/>
                    <a:pt x="15" y="11"/>
                    <a:pt x="15" y="11"/>
                  </a:cubicBezTo>
                  <a:cubicBezTo>
                    <a:pt x="14" y="12"/>
                    <a:pt x="14" y="13"/>
                    <a:pt x="14" y="13"/>
                  </a:cubicBezTo>
                  <a:cubicBezTo>
                    <a:pt x="13" y="15"/>
                    <a:pt x="13" y="15"/>
                    <a:pt x="13" y="15"/>
                  </a:cubicBezTo>
                  <a:cubicBezTo>
                    <a:pt x="13" y="15"/>
                    <a:pt x="13" y="15"/>
                    <a:pt x="13" y="15"/>
                  </a:cubicBezTo>
                  <a:cubicBezTo>
                    <a:pt x="11" y="19"/>
                    <a:pt x="11" y="19"/>
                    <a:pt x="11" y="19"/>
                  </a:cubicBezTo>
                  <a:cubicBezTo>
                    <a:pt x="11" y="19"/>
                    <a:pt x="11" y="19"/>
                    <a:pt x="11" y="19"/>
                  </a:cubicBezTo>
                  <a:cubicBezTo>
                    <a:pt x="11" y="21"/>
                    <a:pt x="11" y="21"/>
                    <a:pt x="11" y="21"/>
                  </a:cubicBezTo>
                  <a:cubicBezTo>
                    <a:pt x="10" y="21"/>
                    <a:pt x="10" y="22"/>
                    <a:pt x="10" y="22"/>
                  </a:cubicBezTo>
                  <a:cubicBezTo>
                    <a:pt x="10" y="23"/>
                    <a:pt x="10" y="23"/>
                    <a:pt x="10" y="23"/>
                  </a:cubicBezTo>
                  <a:cubicBezTo>
                    <a:pt x="9" y="25"/>
                    <a:pt x="9" y="25"/>
                    <a:pt x="9" y="25"/>
                  </a:cubicBezTo>
                  <a:cubicBezTo>
                    <a:pt x="9" y="26"/>
                    <a:pt x="9" y="26"/>
                    <a:pt x="8" y="27"/>
                  </a:cubicBezTo>
                  <a:cubicBezTo>
                    <a:pt x="8" y="28"/>
                    <a:pt x="8" y="28"/>
                    <a:pt x="8" y="28"/>
                  </a:cubicBezTo>
                  <a:cubicBezTo>
                    <a:pt x="8" y="28"/>
                    <a:pt x="8" y="28"/>
                    <a:pt x="8" y="29"/>
                  </a:cubicBezTo>
                  <a:cubicBezTo>
                    <a:pt x="7" y="30"/>
                    <a:pt x="7" y="30"/>
                    <a:pt x="7" y="30"/>
                  </a:cubicBezTo>
                  <a:cubicBezTo>
                    <a:pt x="7" y="30"/>
                    <a:pt x="7" y="30"/>
                    <a:pt x="7" y="31"/>
                  </a:cubicBezTo>
                  <a:cubicBezTo>
                    <a:pt x="5" y="34"/>
                    <a:pt x="5" y="34"/>
                    <a:pt x="5" y="34"/>
                  </a:cubicBezTo>
                  <a:cubicBezTo>
                    <a:pt x="5" y="34"/>
                    <a:pt x="5" y="35"/>
                    <a:pt x="5" y="35"/>
                  </a:cubicBezTo>
                  <a:cubicBezTo>
                    <a:pt x="4" y="36"/>
                    <a:pt x="4" y="37"/>
                    <a:pt x="3" y="38"/>
                  </a:cubicBezTo>
                  <a:cubicBezTo>
                    <a:pt x="3" y="39"/>
                    <a:pt x="3" y="39"/>
                    <a:pt x="3" y="39"/>
                  </a:cubicBezTo>
                  <a:cubicBezTo>
                    <a:pt x="4" y="39"/>
                    <a:pt x="4" y="40"/>
                    <a:pt x="4" y="41"/>
                  </a:cubicBezTo>
                  <a:cubicBezTo>
                    <a:pt x="3" y="43"/>
                    <a:pt x="3" y="43"/>
                    <a:pt x="3" y="43"/>
                  </a:cubicBezTo>
                  <a:cubicBezTo>
                    <a:pt x="3" y="44"/>
                    <a:pt x="3" y="44"/>
                    <a:pt x="3" y="45"/>
                  </a:cubicBezTo>
                  <a:cubicBezTo>
                    <a:pt x="3" y="45"/>
                    <a:pt x="3" y="45"/>
                    <a:pt x="3" y="45"/>
                  </a:cubicBezTo>
                  <a:cubicBezTo>
                    <a:pt x="4" y="45"/>
                    <a:pt x="4" y="46"/>
                    <a:pt x="4" y="46"/>
                  </a:cubicBezTo>
                  <a:cubicBezTo>
                    <a:pt x="4" y="46"/>
                    <a:pt x="4" y="47"/>
                    <a:pt x="4" y="47"/>
                  </a:cubicBezTo>
                  <a:cubicBezTo>
                    <a:pt x="4" y="48"/>
                    <a:pt x="5" y="49"/>
                    <a:pt x="5" y="50"/>
                  </a:cubicBezTo>
                  <a:cubicBezTo>
                    <a:pt x="5" y="51"/>
                    <a:pt x="5" y="52"/>
                    <a:pt x="5" y="52"/>
                  </a:cubicBezTo>
                  <a:cubicBezTo>
                    <a:pt x="5" y="54"/>
                    <a:pt x="5" y="55"/>
                    <a:pt x="4" y="56"/>
                  </a:cubicBezTo>
                  <a:cubicBezTo>
                    <a:pt x="4" y="57"/>
                    <a:pt x="4" y="58"/>
                    <a:pt x="3" y="59"/>
                  </a:cubicBezTo>
                  <a:cubicBezTo>
                    <a:pt x="3" y="59"/>
                    <a:pt x="3" y="60"/>
                    <a:pt x="3" y="60"/>
                  </a:cubicBezTo>
                  <a:cubicBezTo>
                    <a:pt x="3" y="60"/>
                    <a:pt x="3" y="60"/>
                    <a:pt x="3" y="60"/>
                  </a:cubicBezTo>
                  <a:cubicBezTo>
                    <a:pt x="3" y="60"/>
                    <a:pt x="3" y="60"/>
                    <a:pt x="3" y="60"/>
                  </a:cubicBezTo>
                  <a:cubicBezTo>
                    <a:pt x="3" y="61"/>
                    <a:pt x="2" y="62"/>
                    <a:pt x="2" y="62"/>
                  </a:cubicBezTo>
                  <a:cubicBezTo>
                    <a:pt x="1" y="62"/>
                    <a:pt x="1" y="63"/>
                    <a:pt x="1" y="63"/>
                  </a:cubicBezTo>
                  <a:cubicBezTo>
                    <a:pt x="1" y="63"/>
                    <a:pt x="0" y="64"/>
                    <a:pt x="0" y="64"/>
                  </a:cubicBezTo>
                  <a:cubicBezTo>
                    <a:pt x="3" y="64"/>
                    <a:pt x="3" y="64"/>
                    <a:pt x="3" y="64"/>
                  </a:cubicBezTo>
                  <a:lnTo>
                    <a:pt x="7" y="64"/>
                  </a:lnTo>
                  <a:close/>
                </a:path>
              </a:pathLst>
            </a:custGeom>
            <a:solidFill>
              <a:schemeClr val="accent1"/>
            </a:solidFill>
            <a:ln w="63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1032" name="Freeform 39">
              <a:extLst>
                <a:ext uri="{FF2B5EF4-FFF2-40B4-BE49-F238E27FC236}">
                  <a16:creationId xmlns:a16="http://schemas.microsoft.com/office/drawing/2014/main" id="{54E588C2-0B34-673E-336A-316B3C5F25C6}"/>
                </a:ext>
              </a:extLst>
            </p:cNvPr>
            <p:cNvSpPr>
              <a:spLocks/>
            </p:cNvSpPr>
            <p:nvPr/>
          </p:nvSpPr>
          <p:spPr bwMode="gray">
            <a:xfrm>
              <a:off x="2116138" y="3502025"/>
              <a:ext cx="1449388" cy="1643063"/>
            </a:xfrm>
            <a:custGeom>
              <a:avLst/>
              <a:gdLst>
                <a:gd name="T0" fmla="*/ 267 w 272"/>
                <a:gd name="T1" fmla="*/ 225 h 308"/>
                <a:gd name="T2" fmla="*/ 253 w 272"/>
                <a:gd name="T3" fmla="*/ 229 h 308"/>
                <a:gd name="T4" fmla="*/ 248 w 272"/>
                <a:gd name="T5" fmla="*/ 231 h 308"/>
                <a:gd name="T6" fmla="*/ 241 w 272"/>
                <a:gd name="T7" fmla="*/ 225 h 308"/>
                <a:gd name="T8" fmla="*/ 192 w 272"/>
                <a:gd name="T9" fmla="*/ 214 h 308"/>
                <a:gd name="T10" fmla="*/ 188 w 272"/>
                <a:gd name="T11" fmla="*/ 197 h 308"/>
                <a:gd name="T12" fmla="*/ 184 w 272"/>
                <a:gd name="T13" fmla="*/ 192 h 308"/>
                <a:gd name="T14" fmla="*/ 186 w 272"/>
                <a:gd name="T15" fmla="*/ 187 h 308"/>
                <a:gd name="T16" fmla="*/ 182 w 272"/>
                <a:gd name="T17" fmla="*/ 185 h 308"/>
                <a:gd name="T18" fmla="*/ 178 w 272"/>
                <a:gd name="T19" fmla="*/ 178 h 308"/>
                <a:gd name="T20" fmla="*/ 174 w 272"/>
                <a:gd name="T21" fmla="*/ 173 h 308"/>
                <a:gd name="T22" fmla="*/ 172 w 272"/>
                <a:gd name="T23" fmla="*/ 164 h 308"/>
                <a:gd name="T24" fmla="*/ 169 w 272"/>
                <a:gd name="T25" fmla="*/ 154 h 308"/>
                <a:gd name="T26" fmla="*/ 166 w 272"/>
                <a:gd name="T27" fmla="*/ 145 h 308"/>
                <a:gd name="T28" fmla="*/ 163 w 272"/>
                <a:gd name="T29" fmla="*/ 139 h 308"/>
                <a:gd name="T30" fmla="*/ 160 w 272"/>
                <a:gd name="T31" fmla="*/ 131 h 308"/>
                <a:gd name="T32" fmla="*/ 160 w 272"/>
                <a:gd name="T33" fmla="*/ 125 h 308"/>
                <a:gd name="T34" fmla="*/ 159 w 272"/>
                <a:gd name="T35" fmla="*/ 117 h 308"/>
                <a:gd name="T36" fmla="*/ 161 w 272"/>
                <a:gd name="T37" fmla="*/ 102 h 308"/>
                <a:gd name="T38" fmla="*/ 131 w 272"/>
                <a:gd name="T39" fmla="*/ 78 h 308"/>
                <a:gd name="T40" fmla="*/ 110 w 272"/>
                <a:gd name="T41" fmla="*/ 79 h 308"/>
                <a:gd name="T42" fmla="*/ 81 w 272"/>
                <a:gd name="T43" fmla="*/ 74 h 308"/>
                <a:gd name="T44" fmla="*/ 66 w 272"/>
                <a:gd name="T45" fmla="*/ 66 h 308"/>
                <a:gd name="T46" fmla="*/ 53 w 272"/>
                <a:gd name="T47" fmla="*/ 35 h 308"/>
                <a:gd name="T48" fmla="*/ 45 w 272"/>
                <a:gd name="T49" fmla="*/ 18 h 308"/>
                <a:gd name="T50" fmla="*/ 48 w 272"/>
                <a:gd name="T51" fmla="*/ 3 h 308"/>
                <a:gd name="T52" fmla="*/ 7 w 272"/>
                <a:gd name="T53" fmla="*/ 1 h 308"/>
                <a:gd name="T54" fmla="*/ 4 w 272"/>
                <a:gd name="T55" fmla="*/ 6 h 308"/>
                <a:gd name="T56" fmla="*/ 20 w 272"/>
                <a:gd name="T57" fmla="*/ 29 h 308"/>
                <a:gd name="T58" fmla="*/ 28 w 272"/>
                <a:gd name="T59" fmla="*/ 49 h 308"/>
                <a:gd name="T60" fmla="*/ 13 w 272"/>
                <a:gd name="T61" fmla="*/ 58 h 308"/>
                <a:gd name="T62" fmla="*/ 35 w 272"/>
                <a:gd name="T63" fmla="*/ 75 h 308"/>
                <a:gd name="T64" fmla="*/ 64 w 272"/>
                <a:gd name="T65" fmla="*/ 81 h 308"/>
                <a:gd name="T66" fmla="*/ 87 w 272"/>
                <a:gd name="T67" fmla="*/ 102 h 308"/>
                <a:gd name="T68" fmla="*/ 97 w 272"/>
                <a:gd name="T69" fmla="*/ 122 h 308"/>
                <a:gd name="T70" fmla="*/ 64 w 272"/>
                <a:gd name="T71" fmla="*/ 127 h 308"/>
                <a:gd name="T72" fmla="*/ 55 w 272"/>
                <a:gd name="T73" fmla="*/ 162 h 308"/>
                <a:gd name="T74" fmla="*/ 82 w 272"/>
                <a:gd name="T75" fmla="*/ 231 h 308"/>
                <a:gd name="T76" fmla="*/ 70 w 272"/>
                <a:gd name="T77" fmla="*/ 254 h 308"/>
                <a:gd name="T78" fmla="*/ 119 w 272"/>
                <a:gd name="T79" fmla="*/ 296 h 308"/>
                <a:gd name="T80" fmla="*/ 125 w 272"/>
                <a:gd name="T81" fmla="*/ 297 h 308"/>
                <a:gd name="T82" fmla="*/ 133 w 272"/>
                <a:gd name="T83" fmla="*/ 301 h 308"/>
                <a:gd name="T84" fmla="*/ 141 w 272"/>
                <a:gd name="T85" fmla="*/ 301 h 308"/>
                <a:gd name="T86" fmla="*/ 146 w 272"/>
                <a:gd name="T87" fmla="*/ 305 h 308"/>
                <a:gd name="T88" fmla="*/ 154 w 272"/>
                <a:gd name="T89" fmla="*/ 306 h 308"/>
                <a:gd name="T90" fmla="*/ 159 w 272"/>
                <a:gd name="T91" fmla="*/ 305 h 308"/>
                <a:gd name="T92" fmla="*/ 167 w 272"/>
                <a:gd name="T93" fmla="*/ 305 h 308"/>
                <a:gd name="T94" fmla="*/ 171 w 272"/>
                <a:gd name="T95" fmla="*/ 308 h 308"/>
                <a:gd name="T96" fmla="*/ 178 w 272"/>
                <a:gd name="T97" fmla="*/ 305 h 308"/>
                <a:gd name="T98" fmla="*/ 182 w 272"/>
                <a:gd name="T99" fmla="*/ 303 h 308"/>
                <a:gd name="T100" fmla="*/ 188 w 272"/>
                <a:gd name="T101" fmla="*/ 303 h 308"/>
                <a:gd name="T102" fmla="*/ 195 w 272"/>
                <a:gd name="T103" fmla="*/ 306 h 308"/>
                <a:gd name="T104" fmla="*/ 201 w 272"/>
                <a:gd name="T105" fmla="*/ 308 h 308"/>
                <a:gd name="T106" fmla="*/ 203 w 272"/>
                <a:gd name="T107" fmla="*/ 294 h 308"/>
                <a:gd name="T108" fmla="*/ 206 w 272"/>
                <a:gd name="T109" fmla="*/ 278 h 308"/>
                <a:gd name="T110" fmla="*/ 221 w 272"/>
                <a:gd name="T111" fmla="*/ 277 h 308"/>
                <a:gd name="T112" fmla="*/ 209 w 272"/>
                <a:gd name="T113" fmla="*/ 266 h 308"/>
                <a:gd name="T114" fmla="*/ 210 w 272"/>
                <a:gd name="T115" fmla="*/ 257 h 308"/>
                <a:gd name="T116" fmla="*/ 269 w 272"/>
                <a:gd name="T117" fmla="*/ 237 h 308"/>
                <a:gd name="T118" fmla="*/ 272 w 272"/>
                <a:gd name="T119" fmla="*/ 23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2" h="308">
                  <a:moveTo>
                    <a:pt x="271" y="229"/>
                  </a:moveTo>
                  <a:cubicBezTo>
                    <a:pt x="271" y="229"/>
                    <a:pt x="271" y="228"/>
                    <a:pt x="271" y="228"/>
                  </a:cubicBezTo>
                  <a:cubicBezTo>
                    <a:pt x="271" y="228"/>
                    <a:pt x="271" y="228"/>
                    <a:pt x="271" y="228"/>
                  </a:cubicBezTo>
                  <a:cubicBezTo>
                    <a:pt x="271" y="228"/>
                    <a:pt x="271" y="227"/>
                    <a:pt x="271" y="227"/>
                  </a:cubicBezTo>
                  <a:cubicBezTo>
                    <a:pt x="271" y="227"/>
                    <a:pt x="270" y="227"/>
                    <a:pt x="270" y="227"/>
                  </a:cubicBezTo>
                  <a:cubicBezTo>
                    <a:pt x="270" y="227"/>
                    <a:pt x="270" y="227"/>
                    <a:pt x="270" y="226"/>
                  </a:cubicBezTo>
                  <a:cubicBezTo>
                    <a:pt x="270" y="226"/>
                    <a:pt x="270" y="226"/>
                    <a:pt x="269" y="226"/>
                  </a:cubicBezTo>
                  <a:cubicBezTo>
                    <a:pt x="269" y="226"/>
                    <a:pt x="269" y="226"/>
                    <a:pt x="269" y="225"/>
                  </a:cubicBezTo>
                  <a:cubicBezTo>
                    <a:pt x="268" y="225"/>
                    <a:pt x="268" y="225"/>
                    <a:pt x="268" y="225"/>
                  </a:cubicBezTo>
                  <a:cubicBezTo>
                    <a:pt x="268" y="225"/>
                    <a:pt x="268" y="225"/>
                    <a:pt x="268" y="225"/>
                  </a:cubicBezTo>
                  <a:cubicBezTo>
                    <a:pt x="268" y="225"/>
                    <a:pt x="268" y="225"/>
                    <a:pt x="267" y="225"/>
                  </a:cubicBezTo>
                  <a:cubicBezTo>
                    <a:pt x="267" y="225"/>
                    <a:pt x="267" y="225"/>
                    <a:pt x="267" y="225"/>
                  </a:cubicBezTo>
                  <a:cubicBezTo>
                    <a:pt x="266" y="225"/>
                    <a:pt x="266" y="225"/>
                    <a:pt x="266" y="225"/>
                  </a:cubicBezTo>
                  <a:cubicBezTo>
                    <a:pt x="265" y="225"/>
                    <a:pt x="265" y="225"/>
                    <a:pt x="265" y="225"/>
                  </a:cubicBezTo>
                  <a:cubicBezTo>
                    <a:pt x="262" y="225"/>
                    <a:pt x="262" y="225"/>
                    <a:pt x="262" y="225"/>
                  </a:cubicBezTo>
                  <a:cubicBezTo>
                    <a:pt x="258" y="226"/>
                    <a:pt x="258" y="226"/>
                    <a:pt x="258" y="226"/>
                  </a:cubicBezTo>
                  <a:cubicBezTo>
                    <a:pt x="257" y="226"/>
                    <a:pt x="257" y="226"/>
                    <a:pt x="257" y="226"/>
                  </a:cubicBezTo>
                  <a:cubicBezTo>
                    <a:pt x="257" y="226"/>
                    <a:pt x="257" y="226"/>
                    <a:pt x="256" y="227"/>
                  </a:cubicBezTo>
                  <a:cubicBezTo>
                    <a:pt x="256" y="227"/>
                    <a:pt x="255" y="227"/>
                    <a:pt x="254" y="227"/>
                  </a:cubicBezTo>
                  <a:cubicBezTo>
                    <a:pt x="254" y="228"/>
                    <a:pt x="254" y="228"/>
                    <a:pt x="254" y="228"/>
                  </a:cubicBezTo>
                  <a:cubicBezTo>
                    <a:pt x="254" y="228"/>
                    <a:pt x="254" y="228"/>
                    <a:pt x="254" y="228"/>
                  </a:cubicBezTo>
                  <a:cubicBezTo>
                    <a:pt x="254" y="228"/>
                    <a:pt x="253" y="228"/>
                    <a:pt x="253" y="228"/>
                  </a:cubicBezTo>
                  <a:cubicBezTo>
                    <a:pt x="253" y="228"/>
                    <a:pt x="253" y="229"/>
                    <a:pt x="253" y="229"/>
                  </a:cubicBezTo>
                  <a:cubicBezTo>
                    <a:pt x="253" y="229"/>
                    <a:pt x="253" y="229"/>
                    <a:pt x="253" y="229"/>
                  </a:cubicBezTo>
                  <a:cubicBezTo>
                    <a:pt x="253" y="229"/>
                    <a:pt x="253" y="229"/>
                    <a:pt x="253" y="229"/>
                  </a:cubicBezTo>
                  <a:cubicBezTo>
                    <a:pt x="253" y="229"/>
                    <a:pt x="253" y="229"/>
                    <a:pt x="253" y="229"/>
                  </a:cubicBezTo>
                  <a:cubicBezTo>
                    <a:pt x="253" y="229"/>
                    <a:pt x="253" y="229"/>
                    <a:pt x="253" y="229"/>
                  </a:cubicBezTo>
                  <a:cubicBezTo>
                    <a:pt x="253" y="229"/>
                    <a:pt x="253" y="229"/>
                    <a:pt x="253" y="229"/>
                  </a:cubicBezTo>
                  <a:cubicBezTo>
                    <a:pt x="253" y="229"/>
                    <a:pt x="253" y="229"/>
                    <a:pt x="253" y="229"/>
                  </a:cubicBezTo>
                  <a:cubicBezTo>
                    <a:pt x="253" y="229"/>
                    <a:pt x="252" y="229"/>
                    <a:pt x="252" y="229"/>
                  </a:cubicBezTo>
                  <a:cubicBezTo>
                    <a:pt x="252" y="229"/>
                    <a:pt x="252" y="229"/>
                    <a:pt x="252" y="229"/>
                  </a:cubicBezTo>
                  <a:cubicBezTo>
                    <a:pt x="251" y="229"/>
                    <a:pt x="251" y="229"/>
                    <a:pt x="251" y="229"/>
                  </a:cubicBezTo>
                  <a:cubicBezTo>
                    <a:pt x="251" y="229"/>
                    <a:pt x="251" y="229"/>
                    <a:pt x="251" y="229"/>
                  </a:cubicBezTo>
                  <a:cubicBezTo>
                    <a:pt x="248" y="231"/>
                    <a:pt x="248" y="231"/>
                    <a:pt x="248" y="231"/>
                  </a:cubicBezTo>
                  <a:cubicBezTo>
                    <a:pt x="248" y="231"/>
                    <a:pt x="248" y="231"/>
                    <a:pt x="248" y="231"/>
                  </a:cubicBezTo>
                  <a:cubicBezTo>
                    <a:pt x="248" y="231"/>
                    <a:pt x="248" y="231"/>
                    <a:pt x="248" y="231"/>
                  </a:cubicBezTo>
                  <a:cubicBezTo>
                    <a:pt x="247" y="230"/>
                    <a:pt x="247" y="230"/>
                    <a:pt x="247" y="230"/>
                  </a:cubicBezTo>
                  <a:cubicBezTo>
                    <a:pt x="247" y="230"/>
                    <a:pt x="247" y="230"/>
                    <a:pt x="247" y="230"/>
                  </a:cubicBezTo>
                  <a:cubicBezTo>
                    <a:pt x="247" y="229"/>
                    <a:pt x="247" y="229"/>
                    <a:pt x="246" y="228"/>
                  </a:cubicBezTo>
                  <a:cubicBezTo>
                    <a:pt x="246" y="228"/>
                    <a:pt x="246" y="228"/>
                    <a:pt x="246" y="228"/>
                  </a:cubicBezTo>
                  <a:cubicBezTo>
                    <a:pt x="246" y="228"/>
                    <a:pt x="246" y="227"/>
                    <a:pt x="245" y="227"/>
                  </a:cubicBezTo>
                  <a:cubicBezTo>
                    <a:pt x="245" y="227"/>
                    <a:pt x="245" y="227"/>
                    <a:pt x="245" y="227"/>
                  </a:cubicBezTo>
                  <a:cubicBezTo>
                    <a:pt x="245" y="227"/>
                    <a:pt x="244" y="226"/>
                    <a:pt x="244" y="226"/>
                  </a:cubicBezTo>
                  <a:cubicBezTo>
                    <a:pt x="244" y="226"/>
                    <a:pt x="244" y="226"/>
                    <a:pt x="244" y="226"/>
                  </a:cubicBezTo>
                  <a:cubicBezTo>
                    <a:pt x="244" y="226"/>
                    <a:pt x="243" y="226"/>
                    <a:pt x="243" y="226"/>
                  </a:cubicBezTo>
                  <a:cubicBezTo>
                    <a:pt x="243" y="226"/>
                    <a:pt x="243" y="225"/>
                    <a:pt x="242" y="225"/>
                  </a:cubicBezTo>
                  <a:cubicBezTo>
                    <a:pt x="242" y="225"/>
                    <a:pt x="242" y="225"/>
                    <a:pt x="242" y="225"/>
                  </a:cubicBezTo>
                  <a:cubicBezTo>
                    <a:pt x="242" y="225"/>
                    <a:pt x="241" y="225"/>
                    <a:pt x="241" y="225"/>
                  </a:cubicBezTo>
                  <a:cubicBezTo>
                    <a:pt x="237" y="225"/>
                    <a:pt x="237" y="225"/>
                    <a:pt x="237" y="225"/>
                  </a:cubicBezTo>
                  <a:cubicBezTo>
                    <a:pt x="228" y="226"/>
                    <a:pt x="228" y="226"/>
                    <a:pt x="228" y="226"/>
                  </a:cubicBezTo>
                  <a:cubicBezTo>
                    <a:pt x="226" y="226"/>
                    <a:pt x="226" y="226"/>
                    <a:pt x="226" y="226"/>
                  </a:cubicBezTo>
                  <a:cubicBezTo>
                    <a:pt x="215" y="226"/>
                    <a:pt x="215" y="226"/>
                    <a:pt x="215" y="226"/>
                  </a:cubicBezTo>
                  <a:cubicBezTo>
                    <a:pt x="210" y="226"/>
                    <a:pt x="210" y="226"/>
                    <a:pt x="210" y="226"/>
                  </a:cubicBezTo>
                  <a:cubicBezTo>
                    <a:pt x="199" y="224"/>
                    <a:pt x="199" y="224"/>
                    <a:pt x="199" y="224"/>
                  </a:cubicBezTo>
                  <a:cubicBezTo>
                    <a:pt x="194" y="224"/>
                    <a:pt x="194" y="224"/>
                    <a:pt x="194" y="224"/>
                  </a:cubicBezTo>
                  <a:cubicBezTo>
                    <a:pt x="194" y="224"/>
                    <a:pt x="194" y="224"/>
                    <a:pt x="193" y="224"/>
                  </a:cubicBezTo>
                  <a:cubicBezTo>
                    <a:pt x="193" y="224"/>
                    <a:pt x="193" y="224"/>
                    <a:pt x="193" y="224"/>
                  </a:cubicBezTo>
                  <a:cubicBezTo>
                    <a:pt x="193" y="222"/>
                    <a:pt x="193" y="222"/>
                    <a:pt x="193" y="222"/>
                  </a:cubicBezTo>
                  <a:cubicBezTo>
                    <a:pt x="193" y="216"/>
                    <a:pt x="193" y="216"/>
                    <a:pt x="193" y="216"/>
                  </a:cubicBezTo>
                  <a:cubicBezTo>
                    <a:pt x="192" y="214"/>
                    <a:pt x="192" y="214"/>
                    <a:pt x="192" y="214"/>
                  </a:cubicBezTo>
                  <a:cubicBezTo>
                    <a:pt x="192" y="209"/>
                    <a:pt x="192" y="209"/>
                    <a:pt x="192" y="209"/>
                  </a:cubicBezTo>
                  <a:cubicBezTo>
                    <a:pt x="192" y="206"/>
                    <a:pt x="192" y="206"/>
                    <a:pt x="192" y="206"/>
                  </a:cubicBezTo>
                  <a:cubicBezTo>
                    <a:pt x="192" y="200"/>
                    <a:pt x="192" y="200"/>
                    <a:pt x="192" y="200"/>
                  </a:cubicBezTo>
                  <a:cubicBezTo>
                    <a:pt x="192" y="200"/>
                    <a:pt x="191" y="200"/>
                    <a:pt x="191" y="199"/>
                  </a:cubicBezTo>
                  <a:cubicBezTo>
                    <a:pt x="191" y="199"/>
                    <a:pt x="191" y="199"/>
                    <a:pt x="191" y="199"/>
                  </a:cubicBezTo>
                  <a:cubicBezTo>
                    <a:pt x="190" y="199"/>
                    <a:pt x="190" y="199"/>
                    <a:pt x="190" y="199"/>
                  </a:cubicBezTo>
                  <a:cubicBezTo>
                    <a:pt x="190" y="199"/>
                    <a:pt x="190" y="199"/>
                    <a:pt x="190" y="199"/>
                  </a:cubicBezTo>
                  <a:cubicBezTo>
                    <a:pt x="189" y="199"/>
                    <a:pt x="189" y="199"/>
                    <a:pt x="189" y="199"/>
                  </a:cubicBezTo>
                  <a:cubicBezTo>
                    <a:pt x="189" y="198"/>
                    <a:pt x="189" y="198"/>
                    <a:pt x="189" y="198"/>
                  </a:cubicBezTo>
                  <a:cubicBezTo>
                    <a:pt x="188" y="198"/>
                    <a:pt x="188" y="198"/>
                    <a:pt x="188" y="197"/>
                  </a:cubicBezTo>
                  <a:cubicBezTo>
                    <a:pt x="188" y="197"/>
                    <a:pt x="188" y="197"/>
                    <a:pt x="188" y="197"/>
                  </a:cubicBezTo>
                  <a:cubicBezTo>
                    <a:pt x="188" y="197"/>
                    <a:pt x="188" y="197"/>
                    <a:pt x="188" y="197"/>
                  </a:cubicBezTo>
                  <a:cubicBezTo>
                    <a:pt x="187" y="196"/>
                    <a:pt x="187" y="196"/>
                    <a:pt x="187" y="196"/>
                  </a:cubicBezTo>
                  <a:cubicBezTo>
                    <a:pt x="187" y="196"/>
                    <a:pt x="187" y="196"/>
                    <a:pt x="187" y="195"/>
                  </a:cubicBezTo>
                  <a:cubicBezTo>
                    <a:pt x="187" y="195"/>
                    <a:pt x="187" y="195"/>
                    <a:pt x="187" y="195"/>
                  </a:cubicBezTo>
                  <a:cubicBezTo>
                    <a:pt x="187" y="195"/>
                    <a:pt x="187" y="195"/>
                    <a:pt x="187" y="195"/>
                  </a:cubicBezTo>
                  <a:cubicBezTo>
                    <a:pt x="187" y="195"/>
                    <a:pt x="186" y="195"/>
                    <a:pt x="186" y="194"/>
                  </a:cubicBezTo>
                  <a:cubicBezTo>
                    <a:pt x="186" y="194"/>
                    <a:pt x="186" y="194"/>
                    <a:pt x="186" y="194"/>
                  </a:cubicBezTo>
                  <a:cubicBezTo>
                    <a:pt x="186" y="194"/>
                    <a:pt x="186" y="194"/>
                    <a:pt x="186" y="194"/>
                  </a:cubicBezTo>
                  <a:cubicBezTo>
                    <a:pt x="186" y="194"/>
                    <a:pt x="185" y="194"/>
                    <a:pt x="185" y="193"/>
                  </a:cubicBezTo>
                  <a:cubicBezTo>
                    <a:pt x="185" y="193"/>
                    <a:pt x="185" y="193"/>
                    <a:pt x="185" y="193"/>
                  </a:cubicBezTo>
                  <a:cubicBezTo>
                    <a:pt x="185" y="193"/>
                    <a:pt x="185" y="193"/>
                    <a:pt x="185" y="193"/>
                  </a:cubicBezTo>
                  <a:cubicBezTo>
                    <a:pt x="185" y="193"/>
                    <a:pt x="185" y="193"/>
                    <a:pt x="185" y="193"/>
                  </a:cubicBezTo>
                  <a:cubicBezTo>
                    <a:pt x="184" y="192"/>
                    <a:pt x="184" y="192"/>
                    <a:pt x="184" y="192"/>
                  </a:cubicBezTo>
                  <a:cubicBezTo>
                    <a:pt x="184" y="192"/>
                    <a:pt x="184" y="192"/>
                    <a:pt x="184" y="192"/>
                  </a:cubicBezTo>
                  <a:cubicBezTo>
                    <a:pt x="184" y="192"/>
                    <a:pt x="184" y="192"/>
                    <a:pt x="184" y="192"/>
                  </a:cubicBezTo>
                  <a:cubicBezTo>
                    <a:pt x="184" y="191"/>
                    <a:pt x="184" y="191"/>
                    <a:pt x="184" y="191"/>
                  </a:cubicBezTo>
                  <a:cubicBezTo>
                    <a:pt x="184" y="191"/>
                    <a:pt x="184" y="191"/>
                    <a:pt x="184" y="191"/>
                  </a:cubicBezTo>
                  <a:cubicBezTo>
                    <a:pt x="184" y="191"/>
                    <a:pt x="184" y="190"/>
                    <a:pt x="184" y="190"/>
                  </a:cubicBezTo>
                  <a:cubicBezTo>
                    <a:pt x="184" y="190"/>
                    <a:pt x="184" y="190"/>
                    <a:pt x="184" y="190"/>
                  </a:cubicBezTo>
                  <a:cubicBezTo>
                    <a:pt x="184" y="189"/>
                    <a:pt x="184" y="189"/>
                    <a:pt x="184" y="189"/>
                  </a:cubicBezTo>
                  <a:cubicBezTo>
                    <a:pt x="184" y="189"/>
                    <a:pt x="185" y="188"/>
                    <a:pt x="185" y="188"/>
                  </a:cubicBezTo>
                  <a:cubicBezTo>
                    <a:pt x="185" y="188"/>
                    <a:pt x="185" y="188"/>
                    <a:pt x="185" y="188"/>
                  </a:cubicBezTo>
                  <a:cubicBezTo>
                    <a:pt x="185" y="188"/>
                    <a:pt x="185" y="188"/>
                    <a:pt x="185" y="188"/>
                  </a:cubicBezTo>
                  <a:cubicBezTo>
                    <a:pt x="185" y="188"/>
                    <a:pt x="185" y="188"/>
                    <a:pt x="186" y="188"/>
                  </a:cubicBezTo>
                  <a:cubicBezTo>
                    <a:pt x="186" y="187"/>
                    <a:pt x="186" y="187"/>
                    <a:pt x="186" y="187"/>
                  </a:cubicBezTo>
                  <a:cubicBezTo>
                    <a:pt x="186" y="187"/>
                    <a:pt x="186" y="186"/>
                    <a:pt x="187" y="186"/>
                  </a:cubicBezTo>
                  <a:cubicBezTo>
                    <a:pt x="187" y="186"/>
                    <a:pt x="187" y="186"/>
                    <a:pt x="187" y="186"/>
                  </a:cubicBezTo>
                  <a:cubicBezTo>
                    <a:pt x="187" y="186"/>
                    <a:pt x="187" y="186"/>
                    <a:pt x="187" y="186"/>
                  </a:cubicBezTo>
                  <a:cubicBezTo>
                    <a:pt x="186" y="186"/>
                    <a:pt x="186" y="186"/>
                    <a:pt x="186" y="186"/>
                  </a:cubicBezTo>
                  <a:cubicBezTo>
                    <a:pt x="186" y="185"/>
                    <a:pt x="186" y="185"/>
                    <a:pt x="186" y="185"/>
                  </a:cubicBezTo>
                  <a:cubicBezTo>
                    <a:pt x="186" y="186"/>
                    <a:pt x="186" y="186"/>
                    <a:pt x="186" y="186"/>
                  </a:cubicBezTo>
                  <a:cubicBezTo>
                    <a:pt x="186" y="186"/>
                    <a:pt x="185" y="186"/>
                    <a:pt x="185" y="186"/>
                  </a:cubicBezTo>
                  <a:cubicBezTo>
                    <a:pt x="184" y="186"/>
                    <a:pt x="184" y="186"/>
                    <a:pt x="184" y="186"/>
                  </a:cubicBezTo>
                  <a:cubicBezTo>
                    <a:pt x="184" y="186"/>
                    <a:pt x="183" y="186"/>
                    <a:pt x="183" y="185"/>
                  </a:cubicBezTo>
                  <a:cubicBezTo>
                    <a:pt x="183" y="185"/>
                    <a:pt x="183" y="185"/>
                    <a:pt x="183" y="185"/>
                  </a:cubicBezTo>
                  <a:cubicBezTo>
                    <a:pt x="183" y="185"/>
                    <a:pt x="183" y="185"/>
                    <a:pt x="183" y="185"/>
                  </a:cubicBezTo>
                  <a:cubicBezTo>
                    <a:pt x="182" y="185"/>
                    <a:pt x="182" y="185"/>
                    <a:pt x="182" y="185"/>
                  </a:cubicBezTo>
                  <a:cubicBezTo>
                    <a:pt x="182" y="185"/>
                    <a:pt x="182" y="184"/>
                    <a:pt x="182" y="184"/>
                  </a:cubicBezTo>
                  <a:cubicBezTo>
                    <a:pt x="182" y="184"/>
                    <a:pt x="182" y="184"/>
                    <a:pt x="182" y="184"/>
                  </a:cubicBezTo>
                  <a:cubicBezTo>
                    <a:pt x="181" y="184"/>
                    <a:pt x="181" y="184"/>
                    <a:pt x="181" y="184"/>
                  </a:cubicBezTo>
                  <a:cubicBezTo>
                    <a:pt x="181" y="183"/>
                    <a:pt x="181" y="183"/>
                    <a:pt x="181" y="183"/>
                  </a:cubicBezTo>
                  <a:cubicBezTo>
                    <a:pt x="180" y="183"/>
                    <a:pt x="180" y="183"/>
                    <a:pt x="180" y="183"/>
                  </a:cubicBezTo>
                  <a:cubicBezTo>
                    <a:pt x="179" y="182"/>
                    <a:pt x="179" y="182"/>
                    <a:pt x="179" y="182"/>
                  </a:cubicBezTo>
                  <a:cubicBezTo>
                    <a:pt x="179" y="181"/>
                    <a:pt x="179" y="181"/>
                    <a:pt x="179" y="180"/>
                  </a:cubicBezTo>
                  <a:cubicBezTo>
                    <a:pt x="179" y="180"/>
                    <a:pt x="179" y="180"/>
                    <a:pt x="179" y="180"/>
                  </a:cubicBezTo>
                  <a:cubicBezTo>
                    <a:pt x="179" y="180"/>
                    <a:pt x="179" y="180"/>
                    <a:pt x="179" y="180"/>
                  </a:cubicBezTo>
                  <a:cubicBezTo>
                    <a:pt x="178" y="180"/>
                    <a:pt x="178" y="180"/>
                    <a:pt x="178" y="179"/>
                  </a:cubicBezTo>
                  <a:cubicBezTo>
                    <a:pt x="178" y="179"/>
                    <a:pt x="178" y="179"/>
                    <a:pt x="178" y="179"/>
                  </a:cubicBezTo>
                  <a:cubicBezTo>
                    <a:pt x="178" y="179"/>
                    <a:pt x="178" y="179"/>
                    <a:pt x="178" y="178"/>
                  </a:cubicBezTo>
                  <a:cubicBezTo>
                    <a:pt x="178" y="178"/>
                    <a:pt x="178" y="178"/>
                    <a:pt x="178" y="178"/>
                  </a:cubicBezTo>
                  <a:cubicBezTo>
                    <a:pt x="178" y="178"/>
                    <a:pt x="177" y="178"/>
                    <a:pt x="177" y="178"/>
                  </a:cubicBezTo>
                  <a:cubicBezTo>
                    <a:pt x="177" y="178"/>
                    <a:pt x="177" y="178"/>
                    <a:pt x="177" y="178"/>
                  </a:cubicBezTo>
                  <a:cubicBezTo>
                    <a:pt x="176" y="177"/>
                    <a:pt x="176" y="177"/>
                    <a:pt x="176" y="177"/>
                  </a:cubicBezTo>
                  <a:cubicBezTo>
                    <a:pt x="176" y="177"/>
                    <a:pt x="176" y="177"/>
                    <a:pt x="176" y="177"/>
                  </a:cubicBezTo>
                  <a:cubicBezTo>
                    <a:pt x="175" y="177"/>
                    <a:pt x="175" y="177"/>
                    <a:pt x="175" y="176"/>
                  </a:cubicBezTo>
                  <a:cubicBezTo>
                    <a:pt x="175" y="176"/>
                    <a:pt x="175" y="176"/>
                    <a:pt x="175" y="175"/>
                  </a:cubicBezTo>
                  <a:cubicBezTo>
                    <a:pt x="175" y="175"/>
                    <a:pt x="175" y="175"/>
                    <a:pt x="175" y="175"/>
                  </a:cubicBezTo>
                  <a:cubicBezTo>
                    <a:pt x="175" y="174"/>
                    <a:pt x="175" y="174"/>
                    <a:pt x="175" y="174"/>
                  </a:cubicBezTo>
                  <a:cubicBezTo>
                    <a:pt x="175" y="174"/>
                    <a:pt x="175" y="174"/>
                    <a:pt x="174" y="174"/>
                  </a:cubicBezTo>
                  <a:cubicBezTo>
                    <a:pt x="174" y="174"/>
                    <a:pt x="174" y="173"/>
                    <a:pt x="174" y="173"/>
                  </a:cubicBezTo>
                  <a:cubicBezTo>
                    <a:pt x="174" y="173"/>
                    <a:pt x="174" y="173"/>
                    <a:pt x="174" y="173"/>
                  </a:cubicBezTo>
                  <a:cubicBezTo>
                    <a:pt x="174" y="173"/>
                    <a:pt x="174" y="173"/>
                    <a:pt x="174" y="173"/>
                  </a:cubicBezTo>
                  <a:cubicBezTo>
                    <a:pt x="173" y="172"/>
                    <a:pt x="173" y="172"/>
                    <a:pt x="173" y="172"/>
                  </a:cubicBezTo>
                  <a:cubicBezTo>
                    <a:pt x="173" y="172"/>
                    <a:pt x="173" y="172"/>
                    <a:pt x="173" y="171"/>
                  </a:cubicBezTo>
                  <a:cubicBezTo>
                    <a:pt x="173" y="171"/>
                    <a:pt x="173" y="171"/>
                    <a:pt x="173" y="171"/>
                  </a:cubicBezTo>
                  <a:cubicBezTo>
                    <a:pt x="173" y="171"/>
                    <a:pt x="173" y="171"/>
                    <a:pt x="173" y="171"/>
                  </a:cubicBezTo>
                  <a:cubicBezTo>
                    <a:pt x="173" y="170"/>
                    <a:pt x="173" y="170"/>
                    <a:pt x="173" y="170"/>
                  </a:cubicBezTo>
                  <a:cubicBezTo>
                    <a:pt x="173" y="170"/>
                    <a:pt x="173" y="170"/>
                    <a:pt x="173" y="170"/>
                  </a:cubicBezTo>
                  <a:cubicBezTo>
                    <a:pt x="172" y="169"/>
                    <a:pt x="172" y="169"/>
                    <a:pt x="172" y="169"/>
                  </a:cubicBezTo>
                  <a:cubicBezTo>
                    <a:pt x="172" y="169"/>
                    <a:pt x="171" y="168"/>
                    <a:pt x="171" y="168"/>
                  </a:cubicBezTo>
                  <a:cubicBezTo>
                    <a:pt x="171" y="167"/>
                    <a:pt x="171" y="167"/>
                    <a:pt x="171" y="167"/>
                  </a:cubicBezTo>
                  <a:cubicBezTo>
                    <a:pt x="171" y="167"/>
                    <a:pt x="172" y="166"/>
                    <a:pt x="172" y="166"/>
                  </a:cubicBezTo>
                  <a:cubicBezTo>
                    <a:pt x="172" y="164"/>
                    <a:pt x="172" y="164"/>
                    <a:pt x="172" y="164"/>
                  </a:cubicBezTo>
                  <a:cubicBezTo>
                    <a:pt x="172" y="163"/>
                    <a:pt x="172" y="163"/>
                    <a:pt x="172" y="163"/>
                  </a:cubicBezTo>
                  <a:cubicBezTo>
                    <a:pt x="171" y="163"/>
                    <a:pt x="171" y="163"/>
                    <a:pt x="171" y="163"/>
                  </a:cubicBezTo>
                  <a:cubicBezTo>
                    <a:pt x="171" y="163"/>
                    <a:pt x="171" y="162"/>
                    <a:pt x="171" y="162"/>
                  </a:cubicBezTo>
                  <a:cubicBezTo>
                    <a:pt x="171" y="159"/>
                    <a:pt x="171" y="159"/>
                    <a:pt x="171" y="159"/>
                  </a:cubicBezTo>
                  <a:cubicBezTo>
                    <a:pt x="171" y="159"/>
                    <a:pt x="171" y="159"/>
                    <a:pt x="170" y="159"/>
                  </a:cubicBezTo>
                  <a:cubicBezTo>
                    <a:pt x="170" y="159"/>
                    <a:pt x="170" y="159"/>
                    <a:pt x="170" y="158"/>
                  </a:cubicBezTo>
                  <a:cubicBezTo>
                    <a:pt x="170" y="157"/>
                    <a:pt x="170" y="157"/>
                    <a:pt x="170" y="157"/>
                  </a:cubicBezTo>
                  <a:cubicBezTo>
                    <a:pt x="170" y="157"/>
                    <a:pt x="170" y="157"/>
                    <a:pt x="170" y="156"/>
                  </a:cubicBezTo>
                  <a:cubicBezTo>
                    <a:pt x="170" y="156"/>
                    <a:pt x="170" y="156"/>
                    <a:pt x="170" y="156"/>
                  </a:cubicBezTo>
                  <a:cubicBezTo>
                    <a:pt x="169" y="156"/>
                    <a:pt x="169" y="156"/>
                    <a:pt x="169" y="155"/>
                  </a:cubicBezTo>
                  <a:cubicBezTo>
                    <a:pt x="170" y="154"/>
                    <a:pt x="170" y="154"/>
                    <a:pt x="170" y="154"/>
                  </a:cubicBezTo>
                  <a:cubicBezTo>
                    <a:pt x="170" y="154"/>
                    <a:pt x="169" y="154"/>
                    <a:pt x="169" y="154"/>
                  </a:cubicBezTo>
                  <a:cubicBezTo>
                    <a:pt x="169" y="153"/>
                    <a:pt x="169" y="153"/>
                    <a:pt x="169" y="153"/>
                  </a:cubicBezTo>
                  <a:cubicBezTo>
                    <a:pt x="169" y="153"/>
                    <a:pt x="169" y="153"/>
                    <a:pt x="169" y="153"/>
                  </a:cubicBezTo>
                  <a:cubicBezTo>
                    <a:pt x="169" y="152"/>
                    <a:pt x="169" y="152"/>
                    <a:pt x="169" y="152"/>
                  </a:cubicBezTo>
                  <a:cubicBezTo>
                    <a:pt x="169" y="152"/>
                    <a:pt x="169" y="152"/>
                    <a:pt x="169" y="152"/>
                  </a:cubicBezTo>
                  <a:cubicBezTo>
                    <a:pt x="168" y="152"/>
                    <a:pt x="168" y="152"/>
                    <a:pt x="168" y="151"/>
                  </a:cubicBezTo>
                  <a:cubicBezTo>
                    <a:pt x="168" y="151"/>
                    <a:pt x="168" y="151"/>
                    <a:pt x="168" y="151"/>
                  </a:cubicBezTo>
                  <a:cubicBezTo>
                    <a:pt x="167" y="151"/>
                    <a:pt x="167" y="151"/>
                    <a:pt x="167" y="150"/>
                  </a:cubicBezTo>
                  <a:cubicBezTo>
                    <a:pt x="167" y="147"/>
                    <a:pt x="167" y="147"/>
                    <a:pt x="167" y="147"/>
                  </a:cubicBezTo>
                  <a:cubicBezTo>
                    <a:pt x="167" y="147"/>
                    <a:pt x="167" y="147"/>
                    <a:pt x="167" y="147"/>
                  </a:cubicBezTo>
                  <a:cubicBezTo>
                    <a:pt x="167" y="147"/>
                    <a:pt x="167" y="147"/>
                    <a:pt x="167" y="147"/>
                  </a:cubicBezTo>
                  <a:cubicBezTo>
                    <a:pt x="167" y="146"/>
                    <a:pt x="167" y="146"/>
                    <a:pt x="167" y="146"/>
                  </a:cubicBezTo>
                  <a:cubicBezTo>
                    <a:pt x="166" y="145"/>
                    <a:pt x="166" y="145"/>
                    <a:pt x="166" y="145"/>
                  </a:cubicBezTo>
                  <a:cubicBezTo>
                    <a:pt x="166" y="145"/>
                    <a:pt x="166" y="145"/>
                    <a:pt x="166" y="145"/>
                  </a:cubicBezTo>
                  <a:cubicBezTo>
                    <a:pt x="166" y="144"/>
                    <a:pt x="166" y="144"/>
                    <a:pt x="166" y="144"/>
                  </a:cubicBezTo>
                  <a:cubicBezTo>
                    <a:pt x="166" y="144"/>
                    <a:pt x="166" y="144"/>
                    <a:pt x="166" y="143"/>
                  </a:cubicBezTo>
                  <a:cubicBezTo>
                    <a:pt x="166" y="143"/>
                    <a:pt x="166" y="143"/>
                    <a:pt x="166" y="143"/>
                  </a:cubicBezTo>
                  <a:cubicBezTo>
                    <a:pt x="165" y="143"/>
                    <a:pt x="165" y="143"/>
                    <a:pt x="165" y="143"/>
                  </a:cubicBezTo>
                  <a:cubicBezTo>
                    <a:pt x="165" y="143"/>
                    <a:pt x="165" y="143"/>
                    <a:pt x="165" y="142"/>
                  </a:cubicBezTo>
                  <a:cubicBezTo>
                    <a:pt x="165" y="142"/>
                    <a:pt x="165" y="142"/>
                    <a:pt x="165" y="142"/>
                  </a:cubicBezTo>
                  <a:cubicBezTo>
                    <a:pt x="165" y="142"/>
                    <a:pt x="165" y="142"/>
                    <a:pt x="165" y="142"/>
                  </a:cubicBezTo>
                  <a:cubicBezTo>
                    <a:pt x="164" y="142"/>
                    <a:pt x="164" y="142"/>
                    <a:pt x="164" y="141"/>
                  </a:cubicBezTo>
                  <a:cubicBezTo>
                    <a:pt x="164" y="140"/>
                    <a:pt x="164" y="140"/>
                    <a:pt x="164" y="140"/>
                  </a:cubicBezTo>
                  <a:cubicBezTo>
                    <a:pt x="163" y="139"/>
                    <a:pt x="163" y="139"/>
                    <a:pt x="163" y="139"/>
                  </a:cubicBezTo>
                  <a:cubicBezTo>
                    <a:pt x="163" y="139"/>
                    <a:pt x="163" y="139"/>
                    <a:pt x="163" y="139"/>
                  </a:cubicBezTo>
                  <a:cubicBezTo>
                    <a:pt x="163" y="137"/>
                    <a:pt x="163" y="137"/>
                    <a:pt x="163" y="137"/>
                  </a:cubicBezTo>
                  <a:cubicBezTo>
                    <a:pt x="163" y="137"/>
                    <a:pt x="163" y="137"/>
                    <a:pt x="163" y="137"/>
                  </a:cubicBezTo>
                  <a:cubicBezTo>
                    <a:pt x="163" y="136"/>
                    <a:pt x="163" y="136"/>
                    <a:pt x="163" y="136"/>
                  </a:cubicBezTo>
                  <a:cubicBezTo>
                    <a:pt x="162" y="136"/>
                    <a:pt x="162" y="136"/>
                    <a:pt x="162" y="136"/>
                  </a:cubicBezTo>
                  <a:cubicBezTo>
                    <a:pt x="162" y="136"/>
                    <a:pt x="162" y="135"/>
                    <a:pt x="162" y="135"/>
                  </a:cubicBezTo>
                  <a:cubicBezTo>
                    <a:pt x="162" y="134"/>
                    <a:pt x="162" y="134"/>
                    <a:pt x="162" y="134"/>
                  </a:cubicBezTo>
                  <a:cubicBezTo>
                    <a:pt x="162" y="133"/>
                    <a:pt x="162" y="133"/>
                    <a:pt x="162" y="133"/>
                  </a:cubicBezTo>
                  <a:cubicBezTo>
                    <a:pt x="162" y="133"/>
                    <a:pt x="162" y="133"/>
                    <a:pt x="162" y="133"/>
                  </a:cubicBezTo>
                  <a:cubicBezTo>
                    <a:pt x="162" y="133"/>
                    <a:pt x="161" y="133"/>
                    <a:pt x="161" y="133"/>
                  </a:cubicBezTo>
                  <a:cubicBezTo>
                    <a:pt x="161" y="133"/>
                    <a:pt x="161" y="133"/>
                    <a:pt x="161" y="132"/>
                  </a:cubicBezTo>
                  <a:cubicBezTo>
                    <a:pt x="161" y="132"/>
                    <a:pt x="160" y="132"/>
                    <a:pt x="160" y="131"/>
                  </a:cubicBezTo>
                  <a:cubicBezTo>
                    <a:pt x="160" y="131"/>
                    <a:pt x="160" y="131"/>
                    <a:pt x="160" y="131"/>
                  </a:cubicBezTo>
                  <a:cubicBezTo>
                    <a:pt x="160" y="131"/>
                    <a:pt x="160" y="131"/>
                    <a:pt x="160" y="131"/>
                  </a:cubicBezTo>
                  <a:cubicBezTo>
                    <a:pt x="160" y="130"/>
                    <a:pt x="160" y="130"/>
                    <a:pt x="160" y="130"/>
                  </a:cubicBezTo>
                  <a:cubicBezTo>
                    <a:pt x="159" y="129"/>
                    <a:pt x="159" y="129"/>
                    <a:pt x="159" y="129"/>
                  </a:cubicBezTo>
                  <a:cubicBezTo>
                    <a:pt x="159" y="129"/>
                    <a:pt x="159" y="129"/>
                    <a:pt x="159" y="129"/>
                  </a:cubicBezTo>
                  <a:cubicBezTo>
                    <a:pt x="159" y="128"/>
                    <a:pt x="159" y="128"/>
                    <a:pt x="159" y="128"/>
                  </a:cubicBezTo>
                  <a:cubicBezTo>
                    <a:pt x="158" y="128"/>
                    <a:pt x="158" y="128"/>
                    <a:pt x="158" y="127"/>
                  </a:cubicBezTo>
                  <a:cubicBezTo>
                    <a:pt x="158" y="127"/>
                    <a:pt x="159" y="127"/>
                    <a:pt x="159" y="127"/>
                  </a:cubicBezTo>
                  <a:cubicBezTo>
                    <a:pt x="159" y="127"/>
                    <a:pt x="159" y="127"/>
                    <a:pt x="159" y="127"/>
                  </a:cubicBezTo>
                  <a:cubicBezTo>
                    <a:pt x="159" y="127"/>
                    <a:pt x="159" y="126"/>
                    <a:pt x="159" y="126"/>
                  </a:cubicBezTo>
                  <a:cubicBezTo>
                    <a:pt x="159" y="126"/>
                    <a:pt x="159" y="126"/>
                    <a:pt x="159" y="126"/>
                  </a:cubicBezTo>
                  <a:cubicBezTo>
                    <a:pt x="159" y="126"/>
                    <a:pt x="159" y="125"/>
                    <a:pt x="159" y="125"/>
                  </a:cubicBezTo>
                  <a:cubicBezTo>
                    <a:pt x="159" y="125"/>
                    <a:pt x="159" y="125"/>
                    <a:pt x="160" y="125"/>
                  </a:cubicBezTo>
                  <a:cubicBezTo>
                    <a:pt x="160" y="124"/>
                    <a:pt x="160" y="124"/>
                    <a:pt x="160" y="124"/>
                  </a:cubicBezTo>
                  <a:cubicBezTo>
                    <a:pt x="160" y="124"/>
                    <a:pt x="160" y="123"/>
                    <a:pt x="160" y="123"/>
                  </a:cubicBezTo>
                  <a:cubicBezTo>
                    <a:pt x="160" y="122"/>
                    <a:pt x="160" y="122"/>
                    <a:pt x="160" y="122"/>
                  </a:cubicBezTo>
                  <a:cubicBezTo>
                    <a:pt x="160" y="122"/>
                    <a:pt x="160" y="122"/>
                    <a:pt x="160" y="122"/>
                  </a:cubicBezTo>
                  <a:cubicBezTo>
                    <a:pt x="160" y="121"/>
                    <a:pt x="160" y="121"/>
                    <a:pt x="160" y="121"/>
                  </a:cubicBezTo>
                  <a:cubicBezTo>
                    <a:pt x="161" y="121"/>
                    <a:pt x="161" y="121"/>
                    <a:pt x="161" y="121"/>
                  </a:cubicBezTo>
                  <a:cubicBezTo>
                    <a:pt x="161" y="120"/>
                    <a:pt x="161" y="120"/>
                    <a:pt x="161" y="120"/>
                  </a:cubicBezTo>
                  <a:cubicBezTo>
                    <a:pt x="161" y="120"/>
                    <a:pt x="161" y="120"/>
                    <a:pt x="161" y="120"/>
                  </a:cubicBezTo>
                  <a:cubicBezTo>
                    <a:pt x="160" y="120"/>
                    <a:pt x="160" y="120"/>
                    <a:pt x="160" y="120"/>
                  </a:cubicBezTo>
                  <a:cubicBezTo>
                    <a:pt x="160" y="120"/>
                    <a:pt x="159" y="119"/>
                    <a:pt x="159" y="119"/>
                  </a:cubicBezTo>
                  <a:cubicBezTo>
                    <a:pt x="159" y="119"/>
                    <a:pt x="159" y="119"/>
                    <a:pt x="159" y="119"/>
                  </a:cubicBezTo>
                  <a:cubicBezTo>
                    <a:pt x="159" y="117"/>
                    <a:pt x="159" y="117"/>
                    <a:pt x="159" y="117"/>
                  </a:cubicBezTo>
                  <a:cubicBezTo>
                    <a:pt x="159" y="117"/>
                    <a:pt x="159" y="116"/>
                    <a:pt x="160" y="116"/>
                  </a:cubicBezTo>
                  <a:cubicBezTo>
                    <a:pt x="160" y="116"/>
                    <a:pt x="160" y="116"/>
                    <a:pt x="160" y="116"/>
                  </a:cubicBezTo>
                  <a:cubicBezTo>
                    <a:pt x="159" y="116"/>
                    <a:pt x="159" y="116"/>
                    <a:pt x="159" y="115"/>
                  </a:cubicBezTo>
                  <a:cubicBezTo>
                    <a:pt x="159" y="115"/>
                    <a:pt x="159" y="115"/>
                    <a:pt x="159" y="115"/>
                  </a:cubicBezTo>
                  <a:cubicBezTo>
                    <a:pt x="159" y="115"/>
                    <a:pt x="159" y="115"/>
                    <a:pt x="159" y="115"/>
                  </a:cubicBezTo>
                  <a:cubicBezTo>
                    <a:pt x="159" y="115"/>
                    <a:pt x="159" y="115"/>
                    <a:pt x="159" y="114"/>
                  </a:cubicBezTo>
                  <a:cubicBezTo>
                    <a:pt x="159" y="113"/>
                    <a:pt x="159" y="113"/>
                    <a:pt x="159" y="113"/>
                  </a:cubicBezTo>
                  <a:cubicBezTo>
                    <a:pt x="159" y="113"/>
                    <a:pt x="159" y="112"/>
                    <a:pt x="160" y="112"/>
                  </a:cubicBezTo>
                  <a:cubicBezTo>
                    <a:pt x="162" y="112"/>
                    <a:pt x="162" y="112"/>
                    <a:pt x="162" y="112"/>
                  </a:cubicBezTo>
                  <a:cubicBezTo>
                    <a:pt x="162" y="110"/>
                    <a:pt x="162" y="110"/>
                    <a:pt x="162" y="110"/>
                  </a:cubicBezTo>
                  <a:cubicBezTo>
                    <a:pt x="162" y="106"/>
                    <a:pt x="162" y="106"/>
                    <a:pt x="162" y="106"/>
                  </a:cubicBezTo>
                  <a:cubicBezTo>
                    <a:pt x="161" y="102"/>
                    <a:pt x="161" y="102"/>
                    <a:pt x="161" y="102"/>
                  </a:cubicBezTo>
                  <a:cubicBezTo>
                    <a:pt x="161" y="93"/>
                    <a:pt x="161" y="93"/>
                    <a:pt x="161" y="93"/>
                  </a:cubicBezTo>
                  <a:cubicBezTo>
                    <a:pt x="161" y="89"/>
                    <a:pt x="161" y="89"/>
                    <a:pt x="161" y="89"/>
                  </a:cubicBezTo>
                  <a:cubicBezTo>
                    <a:pt x="161" y="80"/>
                    <a:pt x="161" y="80"/>
                    <a:pt x="161" y="80"/>
                  </a:cubicBezTo>
                  <a:cubicBezTo>
                    <a:pt x="160" y="79"/>
                    <a:pt x="160" y="79"/>
                    <a:pt x="160" y="79"/>
                  </a:cubicBezTo>
                  <a:cubicBezTo>
                    <a:pt x="160" y="79"/>
                    <a:pt x="160" y="79"/>
                    <a:pt x="160" y="79"/>
                  </a:cubicBezTo>
                  <a:cubicBezTo>
                    <a:pt x="159" y="79"/>
                    <a:pt x="159" y="79"/>
                    <a:pt x="159" y="79"/>
                  </a:cubicBezTo>
                  <a:cubicBezTo>
                    <a:pt x="159" y="78"/>
                    <a:pt x="159" y="78"/>
                    <a:pt x="159" y="78"/>
                  </a:cubicBezTo>
                  <a:cubicBezTo>
                    <a:pt x="158" y="78"/>
                    <a:pt x="158" y="78"/>
                    <a:pt x="158" y="78"/>
                  </a:cubicBezTo>
                  <a:cubicBezTo>
                    <a:pt x="158" y="78"/>
                    <a:pt x="158" y="78"/>
                    <a:pt x="157" y="78"/>
                  </a:cubicBezTo>
                  <a:cubicBezTo>
                    <a:pt x="156" y="78"/>
                    <a:pt x="156" y="78"/>
                    <a:pt x="156" y="78"/>
                  </a:cubicBezTo>
                  <a:cubicBezTo>
                    <a:pt x="156" y="78"/>
                    <a:pt x="155" y="78"/>
                    <a:pt x="155" y="78"/>
                  </a:cubicBezTo>
                  <a:cubicBezTo>
                    <a:pt x="131" y="78"/>
                    <a:pt x="131" y="78"/>
                    <a:pt x="131" y="78"/>
                  </a:cubicBezTo>
                  <a:cubicBezTo>
                    <a:pt x="127" y="80"/>
                    <a:pt x="127" y="80"/>
                    <a:pt x="127" y="80"/>
                  </a:cubicBezTo>
                  <a:cubicBezTo>
                    <a:pt x="126" y="80"/>
                    <a:pt x="126" y="80"/>
                    <a:pt x="125" y="80"/>
                  </a:cubicBezTo>
                  <a:cubicBezTo>
                    <a:pt x="123" y="80"/>
                    <a:pt x="123" y="80"/>
                    <a:pt x="123" y="80"/>
                  </a:cubicBezTo>
                  <a:cubicBezTo>
                    <a:pt x="123" y="80"/>
                    <a:pt x="122" y="80"/>
                    <a:pt x="122" y="80"/>
                  </a:cubicBezTo>
                  <a:cubicBezTo>
                    <a:pt x="121" y="80"/>
                    <a:pt x="121" y="80"/>
                    <a:pt x="121" y="80"/>
                  </a:cubicBezTo>
                  <a:cubicBezTo>
                    <a:pt x="115" y="80"/>
                    <a:pt x="115" y="80"/>
                    <a:pt x="115" y="80"/>
                  </a:cubicBezTo>
                  <a:cubicBezTo>
                    <a:pt x="115" y="80"/>
                    <a:pt x="115" y="80"/>
                    <a:pt x="115" y="80"/>
                  </a:cubicBezTo>
                  <a:cubicBezTo>
                    <a:pt x="114" y="80"/>
                    <a:pt x="114" y="80"/>
                    <a:pt x="114" y="80"/>
                  </a:cubicBezTo>
                  <a:cubicBezTo>
                    <a:pt x="112" y="80"/>
                    <a:pt x="112" y="80"/>
                    <a:pt x="112" y="80"/>
                  </a:cubicBezTo>
                  <a:cubicBezTo>
                    <a:pt x="112" y="80"/>
                    <a:pt x="111" y="80"/>
                    <a:pt x="111" y="80"/>
                  </a:cubicBezTo>
                  <a:cubicBezTo>
                    <a:pt x="111" y="80"/>
                    <a:pt x="111" y="80"/>
                    <a:pt x="111" y="80"/>
                  </a:cubicBezTo>
                  <a:cubicBezTo>
                    <a:pt x="110" y="80"/>
                    <a:pt x="110" y="80"/>
                    <a:pt x="110" y="79"/>
                  </a:cubicBezTo>
                  <a:cubicBezTo>
                    <a:pt x="108" y="79"/>
                    <a:pt x="108" y="79"/>
                    <a:pt x="108" y="79"/>
                  </a:cubicBezTo>
                  <a:cubicBezTo>
                    <a:pt x="108" y="79"/>
                    <a:pt x="107" y="78"/>
                    <a:pt x="106" y="78"/>
                  </a:cubicBezTo>
                  <a:cubicBezTo>
                    <a:pt x="104" y="77"/>
                    <a:pt x="104" y="77"/>
                    <a:pt x="104" y="77"/>
                  </a:cubicBezTo>
                  <a:cubicBezTo>
                    <a:pt x="98" y="75"/>
                    <a:pt x="98" y="75"/>
                    <a:pt x="98" y="75"/>
                  </a:cubicBezTo>
                  <a:cubicBezTo>
                    <a:pt x="95" y="75"/>
                    <a:pt x="95" y="75"/>
                    <a:pt x="95" y="75"/>
                  </a:cubicBezTo>
                  <a:cubicBezTo>
                    <a:pt x="94" y="75"/>
                    <a:pt x="94" y="75"/>
                    <a:pt x="94" y="75"/>
                  </a:cubicBezTo>
                  <a:cubicBezTo>
                    <a:pt x="92" y="75"/>
                    <a:pt x="92" y="75"/>
                    <a:pt x="92" y="75"/>
                  </a:cubicBezTo>
                  <a:cubicBezTo>
                    <a:pt x="91" y="75"/>
                    <a:pt x="91" y="75"/>
                    <a:pt x="91" y="75"/>
                  </a:cubicBezTo>
                  <a:cubicBezTo>
                    <a:pt x="91" y="75"/>
                    <a:pt x="91" y="75"/>
                    <a:pt x="91" y="75"/>
                  </a:cubicBezTo>
                  <a:cubicBezTo>
                    <a:pt x="83" y="74"/>
                    <a:pt x="83" y="74"/>
                    <a:pt x="83" y="74"/>
                  </a:cubicBezTo>
                  <a:cubicBezTo>
                    <a:pt x="83" y="74"/>
                    <a:pt x="83" y="74"/>
                    <a:pt x="82" y="74"/>
                  </a:cubicBezTo>
                  <a:cubicBezTo>
                    <a:pt x="81" y="74"/>
                    <a:pt x="81" y="74"/>
                    <a:pt x="81" y="74"/>
                  </a:cubicBezTo>
                  <a:cubicBezTo>
                    <a:pt x="81" y="74"/>
                    <a:pt x="81" y="74"/>
                    <a:pt x="81" y="74"/>
                  </a:cubicBezTo>
                  <a:cubicBezTo>
                    <a:pt x="78" y="73"/>
                    <a:pt x="78" y="73"/>
                    <a:pt x="78" y="73"/>
                  </a:cubicBezTo>
                  <a:cubicBezTo>
                    <a:pt x="78" y="73"/>
                    <a:pt x="78" y="73"/>
                    <a:pt x="77" y="73"/>
                  </a:cubicBezTo>
                  <a:cubicBezTo>
                    <a:pt x="76" y="72"/>
                    <a:pt x="76" y="72"/>
                    <a:pt x="76" y="72"/>
                  </a:cubicBezTo>
                  <a:cubicBezTo>
                    <a:pt x="76" y="72"/>
                    <a:pt x="75" y="72"/>
                    <a:pt x="75" y="72"/>
                  </a:cubicBezTo>
                  <a:cubicBezTo>
                    <a:pt x="73" y="71"/>
                    <a:pt x="73" y="71"/>
                    <a:pt x="73" y="71"/>
                  </a:cubicBezTo>
                  <a:cubicBezTo>
                    <a:pt x="73" y="71"/>
                    <a:pt x="73" y="71"/>
                    <a:pt x="72" y="71"/>
                  </a:cubicBezTo>
                  <a:cubicBezTo>
                    <a:pt x="70" y="70"/>
                    <a:pt x="70" y="70"/>
                    <a:pt x="70" y="70"/>
                  </a:cubicBezTo>
                  <a:cubicBezTo>
                    <a:pt x="70" y="70"/>
                    <a:pt x="70" y="69"/>
                    <a:pt x="69" y="69"/>
                  </a:cubicBezTo>
                  <a:cubicBezTo>
                    <a:pt x="69" y="69"/>
                    <a:pt x="68" y="68"/>
                    <a:pt x="68" y="68"/>
                  </a:cubicBezTo>
                  <a:cubicBezTo>
                    <a:pt x="67" y="67"/>
                    <a:pt x="67" y="67"/>
                    <a:pt x="67" y="67"/>
                  </a:cubicBezTo>
                  <a:cubicBezTo>
                    <a:pt x="66" y="66"/>
                    <a:pt x="66" y="66"/>
                    <a:pt x="66" y="66"/>
                  </a:cubicBezTo>
                  <a:cubicBezTo>
                    <a:pt x="66" y="65"/>
                    <a:pt x="65" y="65"/>
                    <a:pt x="65" y="64"/>
                  </a:cubicBezTo>
                  <a:cubicBezTo>
                    <a:pt x="65" y="64"/>
                    <a:pt x="65" y="63"/>
                    <a:pt x="65" y="63"/>
                  </a:cubicBezTo>
                  <a:cubicBezTo>
                    <a:pt x="65" y="63"/>
                    <a:pt x="64" y="62"/>
                    <a:pt x="64" y="62"/>
                  </a:cubicBezTo>
                  <a:cubicBezTo>
                    <a:pt x="64" y="62"/>
                    <a:pt x="64" y="62"/>
                    <a:pt x="64" y="62"/>
                  </a:cubicBezTo>
                  <a:cubicBezTo>
                    <a:pt x="64" y="61"/>
                    <a:pt x="64" y="61"/>
                    <a:pt x="64" y="61"/>
                  </a:cubicBezTo>
                  <a:cubicBezTo>
                    <a:pt x="63" y="58"/>
                    <a:pt x="63" y="58"/>
                    <a:pt x="63" y="58"/>
                  </a:cubicBezTo>
                  <a:cubicBezTo>
                    <a:pt x="63" y="58"/>
                    <a:pt x="63" y="57"/>
                    <a:pt x="63" y="57"/>
                  </a:cubicBezTo>
                  <a:cubicBezTo>
                    <a:pt x="63" y="55"/>
                    <a:pt x="63" y="55"/>
                    <a:pt x="63" y="55"/>
                  </a:cubicBezTo>
                  <a:cubicBezTo>
                    <a:pt x="60" y="46"/>
                    <a:pt x="60" y="46"/>
                    <a:pt x="60" y="46"/>
                  </a:cubicBezTo>
                  <a:cubicBezTo>
                    <a:pt x="60" y="45"/>
                    <a:pt x="60" y="45"/>
                    <a:pt x="60" y="45"/>
                  </a:cubicBezTo>
                  <a:cubicBezTo>
                    <a:pt x="54" y="36"/>
                    <a:pt x="54" y="36"/>
                    <a:pt x="54" y="36"/>
                  </a:cubicBezTo>
                  <a:cubicBezTo>
                    <a:pt x="54" y="36"/>
                    <a:pt x="53" y="35"/>
                    <a:pt x="53" y="35"/>
                  </a:cubicBezTo>
                  <a:cubicBezTo>
                    <a:pt x="53" y="34"/>
                    <a:pt x="53" y="34"/>
                    <a:pt x="53" y="34"/>
                  </a:cubicBezTo>
                  <a:cubicBezTo>
                    <a:pt x="52" y="33"/>
                    <a:pt x="52" y="33"/>
                    <a:pt x="52" y="32"/>
                  </a:cubicBezTo>
                  <a:cubicBezTo>
                    <a:pt x="52" y="32"/>
                    <a:pt x="52" y="32"/>
                    <a:pt x="52" y="32"/>
                  </a:cubicBezTo>
                  <a:cubicBezTo>
                    <a:pt x="51" y="31"/>
                    <a:pt x="51" y="31"/>
                    <a:pt x="51" y="30"/>
                  </a:cubicBezTo>
                  <a:cubicBezTo>
                    <a:pt x="51" y="29"/>
                    <a:pt x="51" y="29"/>
                    <a:pt x="51" y="29"/>
                  </a:cubicBezTo>
                  <a:cubicBezTo>
                    <a:pt x="51" y="29"/>
                    <a:pt x="51" y="28"/>
                    <a:pt x="50" y="28"/>
                  </a:cubicBezTo>
                  <a:cubicBezTo>
                    <a:pt x="50" y="26"/>
                    <a:pt x="50" y="26"/>
                    <a:pt x="50" y="26"/>
                  </a:cubicBezTo>
                  <a:cubicBezTo>
                    <a:pt x="50" y="25"/>
                    <a:pt x="50" y="25"/>
                    <a:pt x="49" y="25"/>
                  </a:cubicBezTo>
                  <a:cubicBezTo>
                    <a:pt x="49" y="25"/>
                    <a:pt x="49" y="25"/>
                    <a:pt x="49" y="24"/>
                  </a:cubicBezTo>
                  <a:cubicBezTo>
                    <a:pt x="48" y="24"/>
                    <a:pt x="47" y="23"/>
                    <a:pt x="47" y="22"/>
                  </a:cubicBezTo>
                  <a:cubicBezTo>
                    <a:pt x="47" y="22"/>
                    <a:pt x="47" y="21"/>
                    <a:pt x="46" y="21"/>
                  </a:cubicBezTo>
                  <a:cubicBezTo>
                    <a:pt x="46" y="20"/>
                    <a:pt x="46" y="19"/>
                    <a:pt x="45" y="18"/>
                  </a:cubicBezTo>
                  <a:cubicBezTo>
                    <a:pt x="45" y="17"/>
                    <a:pt x="45" y="17"/>
                    <a:pt x="45" y="16"/>
                  </a:cubicBezTo>
                  <a:cubicBezTo>
                    <a:pt x="45" y="16"/>
                    <a:pt x="45" y="16"/>
                    <a:pt x="45" y="15"/>
                  </a:cubicBezTo>
                  <a:cubicBezTo>
                    <a:pt x="45" y="15"/>
                    <a:pt x="45" y="15"/>
                    <a:pt x="45" y="14"/>
                  </a:cubicBezTo>
                  <a:cubicBezTo>
                    <a:pt x="45" y="14"/>
                    <a:pt x="45" y="14"/>
                    <a:pt x="45" y="14"/>
                  </a:cubicBezTo>
                  <a:cubicBezTo>
                    <a:pt x="45" y="14"/>
                    <a:pt x="45" y="14"/>
                    <a:pt x="45" y="14"/>
                  </a:cubicBezTo>
                  <a:cubicBezTo>
                    <a:pt x="45" y="12"/>
                    <a:pt x="46" y="11"/>
                    <a:pt x="46" y="10"/>
                  </a:cubicBezTo>
                  <a:cubicBezTo>
                    <a:pt x="47" y="9"/>
                    <a:pt x="47" y="8"/>
                    <a:pt x="48" y="7"/>
                  </a:cubicBezTo>
                  <a:cubicBezTo>
                    <a:pt x="48" y="6"/>
                    <a:pt x="48" y="6"/>
                    <a:pt x="49" y="5"/>
                  </a:cubicBezTo>
                  <a:cubicBezTo>
                    <a:pt x="49" y="5"/>
                    <a:pt x="50" y="5"/>
                    <a:pt x="50" y="4"/>
                  </a:cubicBezTo>
                  <a:cubicBezTo>
                    <a:pt x="50" y="4"/>
                    <a:pt x="50" y="4"/>
                    <a:pt x="51" y="4"/>
                  </a:cubicBezTo>
                  <a:cubicBezTo>
                    <a:pt x="50" y="4"/>
                    <a:pt x="50" y="4"/>
                    <a:pt x="50" y="4"/>
                  </a:cubicBezTo>
                  <a:cubicBezTo>
                    <a:pt x="48" y="3"/>
                    <a:pt x="48" y="3"/>
                    <a:pt x="48" y="3"/>
                  </a:cubicBezTo>
                  <a:cubicBezTo>
                    <a:pt x="48" y="3"/>
                    <a:pt x="48" y="3"/>
                    <a:pt x="48" y="3"/>
                  </a:cubicBezTo>
                  <a:cubicBezTo>
                    <a:pt x="42" y="2"/>
                    <a:pt x="42" y="2"/>
                    <a:pt x="42" y="2"/>
                  </a:cubicBezTo>
                  <a:cubicBezTo>
                    <a:pt x="37" y="2"/>
                    <a:pt x="37" y="2"/>
                    <a:pt x="37" y="2"/>
                  </a:cubicBezTo>
                  <a:cubicBezTo>
                    <a:pt x="29" y="2"/>
                    <a:pt x="29" y="2"/>
                    <a:pt x="29" y="2"/>
                  </a:cubicBezTo>
                  <a:cubicBezTo>
                    <a:pt x="16" y="2"/>
                    <a:pt x="16" y="2"/>
                    <a:pt x="16" y="2"/>
                  </a:cubicBezTo>
                  <a:cubicBezTo>
                    <a:pt x="15" y="2"/>
                    <a:pt x="15" y="2"/>
                    <a:pt x="15" y="2"/>
                  </a:cubicBezTo>
                  <a:cubicBezTo>
                    <a:pt x="10" y="1"/>
                    <a:pt x="10" y="1"/>
                    <a:pt x="10" y="1"/>
                  </a:cubicBezTo>
                  <a:cubicBezTo>
                    <a:pt x="8" y="1"/>
                    <a:pt x="8" y="1"/>
                    <a:pt x="8" y="1"/>
                  </a:cubicBezTo>
                  <a:cubicBezTo>
                    <a:pt x="8" y="1"/>
                    <a:pt x="8" y="1"/>
                    <a:pt x="8" y="1"/>
                  </a:cubicBezTo>
                  <a:cubicBezTo>
                    <a:pt x="8" y="1"/>
                    <a:pt x="8" y="1"/>
                    <a:pt x="8" y="1"/>
                  </a:cubicBezTo>
                  <a:cubicBezTo>
                    <a:pt x="8" y="1"/>
                    <a:pt x="8" y="1"/>
                    <a:pt x="7" y="1"/>
                  </a:cubicBezTo>
                  <a:cubicBezTo>
                    <a:pt x="7" y="1"/>
                    <a:pt x="7" y="1"/>
                    <a:pt x="7" y="1"/>
                  </a:cubicBezTo>
                  <a:cubicBezTo>
                    <a:pt x="6" y="1"/>
                    <a:pt x="6" y="1"/>
                    <a:pt x="6" y="1"/>
                  </a:cubicBezTo>
                  <a:cubicBezTo>
                    <a:pt x="6" y="4"/>
                    <a:pt x="6" y="4"/>
                    <a:pt x="6" y="4"/>
                  </a:cubicBezTo>
                  <a:cubicBezTo>
                    <a:pt x="6" y="1"/>
                    <a:pt x="6" y="1"/>
                    <a:pt x="6" y="1"/>
                  </a:cubicBezTo>
                  <a:cubicBezTo>
                    <a:pt x="6" y="0"/>
                    <a:pt x="5" y="0"/>
                    <a:pt x="5" y="0"/>
                  </a:cubicBezTo>
                  <a:cubicBezTo>
                    <a:pt x="5" y="0"/>
                    <a:pt x="5" y="0"/>
                    <a:pt x="5" y="0"/>
                  </a:cubicBezTo>
                  <a:cubicBezTo>
                    <a:pt x="5" y="0"/>
                    <a:pt x="4" y="0"/>
                    <a:pt x="4" y="0"/>
                  </a:cubicBezTo>
                  <a:cubicBezTo>
                    <a:pt x="3" y="1"/>
                    <a:pt x="3" y="1"/>
                    <a:pt x="3" y="1"/>
                  </a:cubicBezTo>
                  <a:cubicBezTo>
                    <a:pt x="3" y="1"/>
                    <a:pt x="2" y="1"/>
                    <a:pt x="1" y="1"/>
                  </a:cubicBezTo>
                  <a:cubicBezTo>
                    <a:pt x="1" y="1"/>
                    <a:pt x="0" y="2"/>
                    <a:pt x="0" y="2"/>
                  </a:cubicBezTo>
                  <a:cubicBezTo>
                    <a:pt x="1" y="3"/>
                    <a:pt x="1" y="3"/>
                    <a:pt x="2" y="4"/>
                  </a:cubicBezTo>
                  <a:cubicBezTo>
                    <a:pt x="2" y="4"/>
                    <a:pt x="3" y="5"/>
                    <a:pt x="3" y="5"/>
                  </a:cubicBezTo>
                  <a:cubicBezTo>
                    <a:pt x="3" y="5"/>
                    <a:pt x="3" y="6"/>
                    <a:pt x="4" y="6"/>
                  </a:cubicBezTo>
                  <a:cubicBezTo>
                    <a:pt x="4" y="6"/>
                    <a:pt x="4" y="6"/>
                    <a:pt x="4" y="6"/>
                  </a:cubicBezTo>
                  <a:cubicBezTo>
                    <a:pt x="4" y="6"/>
                    <a:pt x="4" y="6"/>
                    <a:pt x="4" y="6"/>
                  </a:cubicBezTo>
                  <a:cubicBezTo>
                    <a:pt x="4" y="6"/>
                    <a:pt x="4" y="7"/>
                    <a:pt x="4" y="7"/>
                  </a:cubicBezTo>
                  <a:cubicBezTo>
                    <a:pt x="5" y="9"/>
                    <a:pt x="5" y="9"/>
                    <a:pt x="5" y="9"/>
                  </a:cubicBezTo>
                  <a:cubicBezTo>
                    <a:pt x="6" y="9"/>
                    <a:pt x="6" y="9"/>
                    <a:pt x="6" y="10"/>
                  </a:cubicBezTo>
                  <a:cubicBezTo>
                    <a:pt x="7" y="10"/>
                    <a:pt x="7" y="10"/>
                    <a:pt x="7" y="10"/>
                  </a:cubicBezTo>
                  <a:cubicBezTo>
                    <a:pt x="11" y="15"/>
                    <a:pt x="11" y="15"/>
                    <a:pt x="11" y="15"/>
                  </a:cubicBezTo>
                  <a:cubicBezTo>
                    <a:pt x="11" y="15"/>
                    <a:pt x="12" y="16"/>
                    <a:pt x="12" y="16"/>
                  </a:cubicBezTo>
                  <a:cubicBezTo>
                    <a:pt x="13" y="18"/>
                    <a:pt x="13" y="18"/>
                    <a:pt x="13" y="18"/>
                  </a:cubicBezTo>
                  <a:cubicBezTo>
                    <a:pt x="13" y="19"/>
                    <a:pt x="14" y="19"/>
                    <a:pt x="14" y="19"/>
                  </a:cubicBezTo>
                  <a:cubicBezTo>
                    <a:pt x="19" y="28"/>
                    <a:pt x="19" y="28"/>
                    <a:pt x="19" y="28"/>
                  </a:cubicBezTo>
                  <a:cubicBezTo>
                    <a:pt x="19" y="28"/>
                    <a:pt x="19" y="29"/>
                    <a:pt x="20" y="29"/>
                  </a:cubicBezTo>
                  <a:cubicBezTo>
                    <a:pt x="20" y="29"/>
                    <a:pt x="20" y="30"/>
                    <a:pt x="21" y="31"/>
                  </a:cubicBezTo>
                  <a:cubicBezTo>
                    <a:pt x="21" y="32"/>
                    <a:pt x="21" y="32"/>
                    <a:pt x="21" y="32"/>
                  </a:cubicBezTo>
                  <a:cubicBezTo>
                    <a:pt x="22" y="33"/>
                    <a:pt x="22" y="33"/>
                    <a:pt x="22" y="34"/>
                  </a:cubicBezTo>
                  <a:cubicBezTo>
                    <a:pt x="22" y="34"/>
                    <a:pt x="23" y="35"/>
                    <a:pt x="23" y="35"/>
                  </a:cubicBezTo>
                  <a:cubicBezTo>
                    <a:pt x="25" y="37"/>
                    <a:pt x="25" y="37"/>
                    <a:pt x="25" y="37"/>
                  </a:cubicBezTo>
                  <a:cubicBezTo>
                    <a:pt x="25" y="37"/>
                    <a:pt x="25" y="37"/>
                    <a:pt x="25" y="37"/>
                  </a:cubicBezTo>
                  <a:cubicBezTo>
                    <a:pt x="30" y="41"/>
                    <a:pt x="30" y="41"/>
                    <a:pt x="30" y="41"/>
                  </a:cubicBezTo>
                  <a:cubicBezTo>
                    <a:pt x="31" y="42"/>
                    <a:pt x="31" y="44"/>
                    <a:pt x="30" y="46"/>
                  </a:cubicBezTo>
                  <a:cubicBezTo>
                    <a:pt x="30" y="47"/>
                    <a:pt x="29" y="47"/>
                    <a:pt x="29" y="47"/>
                  </a:cubicBezTo>
                  <a:cubicBezTo>
                    <a:pt x="29" y="48"/>
                    <a:pt x="29" y="48"/>
                    <a:pt x="29" y="48"/>
                  </a:cubicBezTo>
                  <a:cubicBezTo>
                    <a:pt x="29" y="48"/>
                    <a:pt x="29" y="48"/>
                    <a:pt x="29" y="48"/>
                  </a:cubicBezTo>
                  <a:cubicBezTo>
                    <a:pt x="29" y="48"/>
                    <a:pt x="29" y="48"/>
                    <a:pt x="28" y="49"/>
                  </a:cubicBezTo>
                  <a:cubicBezTo>
                    <a:pt x="28" y="49"/>
                    <a:pt x="28" y="49"/>
                    <a:pt x="28" y="50"/>
                  </a:cubicBezTo>
                  <a:cubicBezTo>
                    <a:pt x="28" y="50"/>
                    <a:pt x="27" y="50"/>
                    <a:pt x="27" y="50"/>
                  </a:cubicBezTo>
                  <a:cubicBezTo>
                    <a:pt x="27" y="50"/>
                    <a:pt x="26" y="51"/>
                    <a:pt x="26" y="51"/>
                  </a:cubicBezTo>
                  <a:cubicBezTo>
                    <a:pt x="26" y="51"/>
                    <a:pt x="26" y="51"/>
                    <a:pt x="26" y="51"/>
                  </a:cubicBezTo>
                  <a:cubicBezTo>
                    <a:pt x="25" y="51"/>
                    <a:pt x="25" y="51"/>
                    <a:pt x="25" y="51"/>
                  </a:cubicBezTo>
                  <a:cubicBezTo>
                    <a:pt x="20" y="53"/>
                    <a:pt x="20" y="53"/>
                    <a:pt x="20" y="53"/>
                  </a:cubicBezTo>
                  <a:cubicBezTo>
                    <a:pt x="15" y="55"/>
                    <a:pt x="15" y="55"/>
                    <a:pt x="15" y="55"/>
                  </a:cubicBezTo>
                  <a:cubicBezTo>
                    <a:pt x="15" y="55"/>
                    <a:pt x="15" y="55"/>
                    <a:pt x="15" y="55"/>
                  </a:cubicBezTo>
                  <a:cubicBezTo>
                    <a:pt x="15" y="56"/>
                    <a:pt x="15" y="56"/>
                    <a:pt x="15" y="56"/>
                  </a:cubicBezTo>
                  <a:cubicBezTo>
                    <a:pt x="14" y="57"/>
                    <a:pt x="14" y="57"/>
                    <a:pt x="14" y="57"/>
                  </a:cubicBezTo>
                  <a:cubicBezTo>
                    <a:pt x="14" y="57"/>
                    <a:pt x="14" y="57"/>
                    <a:pt x="14" y="57"/>
                  </a:cubicBezTo>
                  <a:cubicBezTo>
                    <a:pt x="13" y="58"/>
                    <a:pt x="13" y="58"/>
                    <a:pt x="13" y="58"/>
                  </a:cubicBezTo>
                  <a:cubicBezTo>
                    <a:pt x="12" y="62"/>
                    <a:pt x="12" y="62"/>
                    <a:pt x="12" y="62"/>
                  </a:cubicBezTo>
                  <a:cubicBezTo>
                    <a:pt x="12" y="65"/>
                    <a:pt x="12" y="65"/>
                    <a:pt x="12" y="65"/>
                  </a:cubicBezTo>
                  <a:cubicBezTo>
                    <a:pt x="13" y="72"/>
                    <a:pt x="13" y="72"/>
                    <a:pt x="13" y="72"/>
                  </a:cubicBezTo>
                  <a:cubicBezTo>
                    <a:pt x="16" y="72"/>
                    <a:pt x="16" y="72"/>
                    <a:pt x="16" y="72"/>
                  </a:cubicBezTo>
                  <a:cubicBezTo>
                    <a:pt x="17" y="72"/>
                    <a:pt x="17" y="72"/>
                    <a:pt x="17" y="72"/>
                  </a:cubicBezTo>
                  <a:cubicBezTo>
                    <a:pt x="17" y="72"/>
                    <a:pt x="18" y="72"/>
                    <a:pt x="18" y="72"/>
                  </a:cubicBezTo>
                  <a:cubicBezTo>
                    <a:pt x="22" y="72"/>
                    <a:pt x="22" y="72"/>
                    <a:pt x="22" y="72"/>
                  </a:cubicBezTo>
                  <a:cubicBezTo>
                    <a:pt x="22" y="72"/>
                    <a:pt x="22" y="72"/>
                    <a:pt x="22" y="72"/>
                  </a:cubicBezTo>
                  <a:cubicBezTo>
                    <a:pt x="25" y="73"/>
                    <a:pt x="25" y="73"/>
                    <a:pt x="25" y="73"/>
                  </a:cubicBezTo>
                  <a:cubicBezTo>
                    <a:pt x="25" y="73"/>
                    <a:pt x="25" y="73"/>
                    <a:pt x="25" y="73"/>
                  </a:cubicBezTo>
                  <a:cubicBezTo>
                    <a:pt x="30" y="75"/>
                    <a:pt x="30" y="75"/>
                    <a:pt x="30" y="75"/>
                  </a:cubicBezTo>
                  <a:cubicBezTo>
                    <a:pt x="35" y="75"/>
                    <a:pt x="35" y="75"/>
                    <a:pt x="35" y="75"/>
                  </a:cubicBezTo>
                  <a:cubicBezTo>
                    <a:pt x="35" y="75"/>
                    <a:pt x="35" y="75"/>
                    <a:pt x="35" y="75"/>
                  </a:cubicBezTo>
                  <a:cubicBezTo>
                    <a:pt x="40" y="75"/>
                    <a:pt x="40" y="75"/>
                    <a:pt x="40" y="75"/>
                  </a:cubicBezTo>
                  <a:cubicBezTo>
                    <a:pt x="42" y="73"/>
                    <a:pt x="45" y="72"/>
                    <a:pt x="48" y="72"/>
                  </a:cubicBezTo>
                  <a:cubicBezTo>
                    <a:pt x="50" y="72"/>
                    <a:pt x="52" y="72"/>
                    <a:pt x="54" y="73"/>
                  </a:cubicBezTo>
                  <a:cubicBezTo>
                    <a:pt x="54" y="73"/>
                    <a:pt x="55" y="73"/>
                    <a:pt x="55" y="73"/>
                  </a:cubicBezTo>
                  <a:cubicBezTo>
                    <a:pt x="55" y="73"/>
                    <a:pt x="56" y="73"/>
                    <a:pt x="56" y="73"/>
                  </a:cubicBezTo>
                  <a:cubicBezTo>
                    <a:pt x="58" y="74"/>
                    <a:pt x="60" y="75"/>
                    <a:pt x="61" y="77"/>
                  </a:cubicBezTo>
                  <a:cubicBezTo>
                    <a:pt x="62" y="77"/>
                    <a:pt x="62" y="77"/>
                    <a:pt x="62" y="78"/>
                  </a:cubicBezTo>
                  <a:cubicBezTo>
                    <a:pt x="62" y="78"/>
                    <a:pt x="63" y="78"/>
                    <a:pt x="63" y="79"/>
                  </a:cubicBezTo>
                  <a:cubicBezTo>
                    <a:pt x="63" y="79"/>
                    <a:pt x="63" y="79"/>
                    <a:pt x="63" y="79"/>
                  </a:cubicBezTo>
                  <a:cubicBezTo>
                    <a:pt x="63" y="79"/>
                    <a:pt x="63" y="79"/>
                    <a:pt x="63" y="79"/>
                  </a:cubicBezTo>
                  <a:cubicBezTo>
                    <a:pt x="64" y="80"/>
                    <a:pt x="64" y="80"/>
                    <a:pt x="64" y="81"/>
                  </a:cubicBezTo>
                  <a:cubicBezTo>
                    <a:pt x="64" y="81"/>
                    <a:pt x="64" y="81"/>
                    <a:pt x="64" y="81"/>
                  </a:cubicBezTo>
                  <a:cubicBezTo>
                    <a:pt x="64" y="81"/>
                    <a:pt x="64" y="82"/>
                    <a:pt x="65" y="82"/>
                  </a:cubicBezTo>
                  <a:cubicBezTo>
                    <a:pt x="65" y="83"/>
                    <a:pt x="65" y="83"/>
                    <a:pt x="65" y="83"/>
                  </a:cubicBezTo>
                  <a:cubicBezTo>
                    <a:pt x="65" y="84"/>
                    <a:pt x="66" y="85"/>
                    <a:pt x="66" y="86"/>
                  </a:cubicBezTo>
                  <a:cubicBezTo>
                    <a:pt x="67" y="86"/>
                    <a:pt x="67" y="86"/>
                    <a:pt x="67" y="86"/>
                  </a:cubicBezTo>
                  <a:cubicBezTo>
                    <a:pt x="67" y="86"/>
                    <a:pt x="68" y="86"/>
                    <a:pt x="68" y="86"/>
                  </a:cubicBezTo>
                  <a:cubicBezTo>
                    <a:pt x="68" y="86"/>
                    <a:pt x="68" y="86"/>
                    <a:pt x="68" y="86"/>
                  </a:cubicBezTo>
                  <a:cubicBezTo>
                    <a:pt x="69" y="86"/>
                    <a:pt x="70" y="86"/>
                    <a:pt x="70" y="86"/>
                  </a:cubicBezTo>
                  <a:cubicBezTo>
                    <a:pt x="71" y="86"/>
                    <a:pt x="71" y="86"/>
                    <a:pt x="71" y="86"/>
                  </a:cubicBezTo>
                  <a:cubicBezTo>
                    <a:pt x="71" y="86"/>
                    <a:pt x="71" y="86"/>
                    <a:pt x="71" y="86"/>
                  </a:cubicBezTo>
                  <a:cubicBezTo>
                    <a:pt x="75" y="86"/>
                    <a:pt x="79" y="88"/>
                    <a:pt x="82" y="91"/>
                  </a:cubicBezTo>
                  <a:cubicBezTo>
                    <a:pt x="85" y="94"/>
                    <a:pt x="87" y="98"/>
                    <a:pt x="87" y="102"/>
                  </a:cubicBezTo>
                  <a:cubicBezTo>
                    <a:pt x="87" y="102"/>
                    <a:pt x="87" y="102"/>
                    <a:pt x="87" y="102"/>
                  </a:cubicBezTo>
                  <a:cubicBezTo>
                    <a:pt x="87" y="103"/>
                    <a:pt x="87" y="104"/>
                    <a:pt x="87" y="104"/>
                  </a:cubicBezTo>
                  <a:cubicBezTo>
                    <a:pt x="88" y="105"/>
                    <a:pt x="88" y="105"/>
                    <a:pt x="88" y="105"/>
                  </a:cubicBezTo>
                  <a:cubicBezTo>
                    <a:pt x="88" y="106"/>
                    <a:pt x="88" y="106"/>
                    <a:pt x="88" y="106"/>
                  </a:cubicBezTo>
                  <a:cubicBezTo>
                    <a:pt x="88" y="106"/>
                    <a:pt x="88" y="106"/>
                    <a:pt x="88" y="106"/>
                  </a:cubicBezTo>
                  <a:cubicBezTo>
                    <a:pt x="88" y="107"/>
                    <a:pt x="88" y="108"/>
                    <a:pt x="88" y="109"/>
                  </a:cubicBezTo>
                  <a:cubicBezTo>
                    <a:pt x="88" y="110"/>
                    <a:pt x="88" y="111"/>
                    <a:pt x="88" y="112"/>
                  </a:cubicBezTo>
                  <a:cubicBezTo>
                    <a:pt x="88" y="112"/>
                    <a:pt x="88" y="113"/>
                    <a:pt x="88" y="114"/>
                  </a:cubicBezTo>
                  <a:cubicBezTo>
                    <a:pt x="89" y="114"/>
                    <a:pt x="89" y="114"/>
                    <a:pt x="89" y="114"/>
                  </a:cubicBezTo>
                  <a:cubicBezTo>
                    <a:pt x="95" y="115"/>
                    <a:pt x="95" y="115"/>
                    <a:pt x="95" y="115"/>
                  </a:cubicBezTo>
                  <a:cubicBezTo>
                    <a:pt x="97" y="115"/>
                    <a:pt x="98" y="116"/>
                    <a:pt x="99" y="118"/>
                  </a:cubicBezTo>
                  <a:cubicBezTo>
                    <a:pt x="99" y="120"/>
                    <a:pt x="98" y="121"/>
                    <a:pt x="97" y="122"/>
                  </a:cubicBezTo>
                  <a:cubicBezTo>
                    <a:pt x="96" y="123"/>
                    <a:pt x="95" y="123"/>
                    <a:pt x="94" y="123"/>
                  </a:cubicBezTo>
                  <a:cubicBezTo>
                    <a:pt x="87" y="123"/>
                    <a:pt x="87" y="123"/>
                    <a:pt x="87" y="123"/>
                  </a:cubicBezTo>
                  <a:cubicBezTo>
                    <a:pt x="87" y="123"/>
                    <a:pt x="87" y="123"/>
                    <a:pt x="87" y="123"/>
                  </a:cubicBezTo>
                  <a:cubicBezTo>
                    <a:pt x="84" y="122"/>
                    <a:pt x="84" y="122"/>
                    <a:pt x="84" y="122"/>
                  </a:cubicBezTo>
                  <a:cubicBezTo>
                    <a:pt x="83" y="122"/>
                    <a:pt x="83" y="122"/>
                    <a:pt x="83" y="122"/>
                  </a:cubicBezTo>
                  <a:cubicBezTo>
                    <a:pt x="83" y="122"/>
                    <a:pt x="83" y="123"/>
                    <a:pt x="82" y="123"/>
                  </a:cubicBezTo>
                  <a:cubicBezTo>
                    <a:pt x="81" y="124"/>
                    <a:pt x="79" y="125"/>
                    <a:pt x="78" y="126"/>
                  </a:cubicBezTo>
                  <a:cubicBezTo>
                    <a:pt x="77" y="126"/>
                    <a:pt x="76" y="126"/>
                    <a:pt x="74" y="127"/>
                  </a:cubicBezTo>
                  <a:cubicBezTo>
                    <a:pt x="74" y="127"/>
                    <a:pt x="73" y="127"/>
                    <a:pt x="72" y="127"/>
                  </a:cubicBezTo>
                  <a:cubicBezTo>
                    <a:pt x="68" y="127"/>
                    <a:pt x="68" y="127"/>
                    <a:pt x="68" y="127"/>
                  </a:cubicBezTo>
                  <a:cubicBezTo>
                    <a:pt x="68" y="127"/>
                    <a:pt x="67" y="127"/>
                    <a:pt x="67" y="127"/>
                  </a:cubicBezTo>
                  <a:cubicBezTo>
                    <a:pt x="64" y="127"/>
                    <a:pt x="64" y="127"/>
                    <a:pt x="64" y="127"/>
                  </a:cubicBezTo>
                  <a:cubicBezTo>
                    <a:pt x="63" y="127"/>
                    <a:pt x="63" y="127"/>
                    <a:pt x="62" y="127"/>
                  </a:cubicBezTo>
                  <a:cubicBezTo>
                    <a:pt x="61" y="127"/>
                    <a:pt x="61" y="127"/>
                    <a:pt x="61" y="127"/>
                  </a:cubicBezTo>
                  <a:cubicBezTo>
                    <a:pt x="61" y="127"/>
                    <a:pt x="60" y="127"/>
                    <a:pt x="60" y="126"/>
                  </a:cubicBezTo>
                  <a:cubicBezTo>
                    <a:pt x="53" y="126"/>
                    <a:pt x="53" y="126"/>
                    <a:pt x="53" y="126"/>
                  </a:cubicBezTo>
                  <a:cubicBezTo>
                    <a:pt x="53" y="129"/>
                    <a:pt x="53" y="129"/>
                    <a:pt x="53" y="129"/>
                  </a:cubicBezTo>
                  <a:cubicBezTo>
                    <a:pt x="53" y="131"/>
                    <a:pt x="53" y="131"/>
                    <a:pt x="53" y="131"/>
                  </a:cubicBezTo>
                  <a:cubicBezTo>
                    <a:pt x="53" y="139"/>
                    <a:pt x="53" y="139"/>
                    <a:pt x="53" y="139"/>
                  </a:cubicBezTo>
                  <a:cubicBezTo>
                    <a:pt x="52" y="141"/>
                    <a:pt x="52" y="141"/>
                    <a:pt x="52" y="141"/>
                  </a:cubicBezTo>
                  <a:cubicBezTo>
                    <a:pt x="52" y="151"/>
                    <a:pt x="52" y="151"/>
                    <a:pt x="52" y="151"/>
                  </a:cubicBezTo>
                  <a:cubicBezTo>
                    <a:pt x="52" y="153"/>
                    <a:pt x="52" y="153"/>
                    <a:pt x="52" y="153"/>
                  </a:cubicBezTo>
                  <a:cubicBezTo>
                    <a:pt x="52" y="162"/>
                    <a:pt x="52" y="162"/>
                    <a:pt x="52" y="162"/>
                  </a:cubicBezTo>
                  <a:cubicBezTo>
                    <a:pt x="55" y="162"/>
                    <a:pt x="55" y="162"/>
                    <a:pt x="55" y="162"/>
                  </a:cubicBezTo>
                  <a:cubicBezTo>
                    <a:pt x="55" y="162"/>
                    <a:pt x="55" y="162"/>
                    <a:pt x="56" y="162"/>
                  </a:cubicBezTo>
                  <a:cubicBezTo>
                    <a:pt x="57" y="163"/>
                    <a:pt x="57" y="163"/>
                    <a:pt x="57" y="163"/>
                  </a:cubicBezTo>
                  <a:cubicBezTo>
                    <a:pt x="68" y="163"/>
                    <a:pt x="68" y="163"/>
                    <a:pt x="68" y="163"/>
                  </a:cubicBezTo>
                  <a:cubicBezTo>
                    <a:pt x="70" y="163"/>
                    <a:pt x="70" y="163"/>
                    <a:pt x="70" y="163"/>
                  </a:cubicBezTo>
                  <a:cubicBezTo>
                    <a:pt x="82" y="163"/>
                    <a:pt x="82" y="163"/>
                    <a:pt x="82" y="163"/>
                  </a:cubicBezTo>
                  <a:cubicBezTo>
                    <a:pt x="82" y="163"/>
                    <a:pt x="83" y="164"/>
                    <a:pt x="83" y="164"/>
                  </a:cubicBezTo>
                  <a:cubicBezTo>
                    <a:pt x="83" y="181"/>
                    <a:pt x="83" y="181"/>
                    <a:pt x="83" y="181"/>
                  </a:cubicBezTo>
                  <a:cubicBezTo>
                    <a:pt x="83" y="182"/>
                    <a:pt x="83" y="182"/>
                    <a:pt x="83" y="182"/>
                  </a:cubicBezTo>
                  <a:cubicBezTo>
                    <a:pt x="83" y="205"/>
                    <a:pt x="83" y="205"/>
                    <a:pt x="83" y="205"/>
                  </a:cubicBezTo>
                  <a:cubicBezTo>
                    <a:pt x="83" y="205"/>
                    <a:pt x="83" y="205"/>
                    <a:pt x="83" y="205"/>
                  </a:cubicBezTo>
                  <a:cubicBezTo>
                    <a:pt x="82" y="207"/>
                    <a:pt x="82" y="207"/>
                    <a:pt x="82" y="207"/>
                  </a:cubicBezTo>
                  <a:cubicBezTo>
                    <a:pt x="82" y="231"/>
                    <a:pt x="82" y="231"/>
                    <a:pt x="82" y="231"/>
                  </a:cubicBezTo>
                  <a:cubicBezTo>
                    <a:pt x="82" y="233"/>
                    <a:pt x="82" y="233"/>
                    <a:pt x="82" y="233"/>
                  </a:cubicBezTo>
                  <a:cubicBezTo>
                    <a:pt x="82" y="244"/>
                    <a:pt x="82" y="244"/>
                    <a:pt x="82" y="244"/>
                  </a:cubicBezTo>
                  <a:cubicBezTo>
                    <a:pt x="82" y="244"/>
                    <a:pt x="82" y="245"/>
                    <a:pt x="81" y="245"/>
                  </a:cubicBezTo>
                  <a:cubicBezTo>
                    <a:pt x="71" y="245"/>
                    <a:pt x="71" y="245"/>
                    <a:pt x="71" y="245"/>
                  </a:cubicBezTo>
                  <a:cubicBezTo>
                    <a:pt x="71" y="245"/>
                    <a:pt x="71" y="246"/>
                    <a:pt x="71" y="246"/>
                  </a:cubicBezTo>
                  <a:cubicBezTo>
                    <a:pt x="71" y="247"/>
                    <a:pt x="71" y="247"/>
                    <a:pt x="71" y="247"/>
                  </a:cubicBezTo>
                  <a:cubicBezTo>
                    <a:pt x="71" y="248"/>
                    <a:pt x="71" y="249"/>
                    <a:pt x="71" y="250"/>
                  </a:cubicBezTo>
                  <a:cubicBezTo>
                    <a:pt x="71" y="250"/>
                    <a:pt x="71" y="250"/>
                    <a:pt x="71" y="250"/>
                  </a:cubicBezTo>
                  <a:cubicBezTo>
                    <a:pt x="71" y="251"/>
                    <a:pt x="71" y="251"/>
                    <a:pt x="71" y="251"/>
                  </a:cubicBezTo>
                  <a:cubicBezTo>
                    <a:pt x="71" y="251"/>
                    <a:pt x="71" y="252"/>
                    <a:pt x="70" y="252"/>
                  </a:cubicBezTo>
                  <a:cubicBezTo>
                    <a:pt x="70" y="253"/>
                    <a:pt x="70" y="253"/>
                    <a:pt x="70" y="253"/>
                  </a:cubicBezTo>
                  <a:cubicBezTo>
                    <a:pt x="70" y="254"/>
                    <a:pt x="70" y="254"/>
                    <a:pt x="70" y="254"/>
                  </a:cubicBezTo>
                  <a:cubicBezTo>
                    <a:pt x="79" y="254"/>
                    <a:pt x="79" y="254"/>
                    <a:pt x="79" y="254"/>
                  </a:cubicBezTo>
                  <a:cubicBezTo>
                    <a:pt x="84" y="254"/>
                    <a:pt x="84" y="254"/>
                    <a:pt x="84" y="254"/>
                  </a:cubicBezTo>
                  <a:cubicBezTo>
                    <a:pt x="112" y="254"/>
                    <a:pt x="112" y="254"/>
                    <a:pt x="112" y="254"/>
                  </a:cubicBezTo>
                  <a:cubicBezTo>
                    <a:pt x="112" y="254"/>
                    <a:pt x="113" y="254"/>
                    <a:pt x="113" y="255"/>
                  </a:cubicBezTo>
                  <a:cubicBezTo>
                    <a:pt x="113" y="292"/>
                    <a:pt x="113" y="292"/>
                    <a:pt x="113" y="292"/>
                  </a:cubicBezTo>
                  <a:cubicBezTo>
                    <a:pt x="114" y="292"/>
                    <a:pt x="114" y="292"/>
                    <a:pt x="114" y="292"/>
                  </a:cubicBezTo>
                  <a:cubicBezTo>
                    <a:pt x="114" y="292"/>
                    <a:pt x="114" y="293"/>
                    <a:pt x="114" y="293"/>
                  </a:cubicBezTo>
                  <a:cubicBezTo>
                    <a:pt x="115" y="293"/>
                    <a:pt x="115" y="293"/>
                    <a:pt x="115" y="293"/>
                  </a:cubicBezTo>
                  <a:cubicBezTo>
                    <a:pt x="118" y="296"/>
                    <a:pt x="118" y="296"/>
                    <a:pt x="118" y="296"/>
                  </a:cubicBezTo>
                  <a:cubicBezTo>
                    <a:pt x="118" y="296"/>
                    <a:pt x="118" y="296"/>
                    <a:pt x="118" y="296"/>
                  </a:cubicBezTo>
                  <a:cubicBezTo>
                    <a:pt x="118" y="296"/>
                    <a:pt x="118" y="296"/>
                    <a:pt x="118" y="296"/>
                  </a:cubicBezTo>
                  <a:cubicBezTo>
                    <a:pt x="118" y="296"/>
                    <a:pt x="119" y="296"/>
                    <a:pt x="119" y="296"/>
                  </a:cubicBezTo>
                  <a:cubicBezTo>
                    <a:pt x="120" y="296"/>
                    <a:pt x="120" y="296"/>
                    <a:pt x="120" y="296"/>
                  </a:cubicBezTo>
                  <a:cubicBezTo>
                    <a:pt x="120" y="296"/>
                    <a:pt x="120" y="296"/>
                    <a:pt x="121" y="296"/>
                  </a:cubicBezTo>
                  <a:cubicBezTo>
                    <a:pt x="121" y="296"/>
                    <a:pt x="121" y="296"/>
                    <a:pt x="121" y="296"/>
                  </a:cubicBezTo>
                  <a:cubicBezTo>
                    <a:pt x="121" y="296"/>
                    <a:pt x="121" y="296"/>
                    <a:pt x="121" y="296"/>
                  </a:cubicBezTo>
                  <a:cubicBezTo>
                    <a:pt x="121" y="295"/>
                    <a:pt x="121" y="295"/>
                    <a:pt x="122" y="295"/>
                  </a:cubicBezTo>
                  <a:cubicBezTo>
                    <a:pt x="122" y="295"/>
                    <a:pt x="122" y="295"/>
                    <a:pt x="122" y="295"/>
                  </a:cubicBezTo>
                  <a:cubicBezTo>
                    <a:pt x="123" y="295"/>
                    <a:pt x="123" y="295"/>
                    <a:pt x="123" y="295"/>
                  </a:cubicBezTo>
                  <a:cubicBezTo>
                    <a:pt x="123" y="295"/>
                    <a:pt x="123" y="295"/>
                    <a:pt x="123" y="295"/>
                  </a:cubicBezTo>
                  <a:cubicBezTo>
                    <a:pt x="124" y="295"/>
                    <a:pt x="124" y="296"/>
                    <a:pt x="124" y="296"/>
                  </a:cubicBezTo>
                  <a:cubicBezTo>
                    <a:pt x="124" y="296"/>
                    <a:pt x="124" y="296"/>
                    <a:pt x="124" y="296"/>
                  </a:cubicBezTo>
                  <a:cubicBezTo>
                    <a:pt x="124" y="296"/>
                    <a:pt x="125" y="296"/>
                    <a:pt x="125" y="296"/>
                  </a:cubicBezTo>
                  <a:cubicBezTo>
                    <a:pt x="125" y="297"/>
                    <a:pt x="125" y="297"/>
                    <a:pt x="125" y="297"/>
                  </a:cubicBezTo>
                  <a:cubicBezTo>
                    <a:pt x="125" y="297"/>
                    <a:pt x="125" y="297"/>
                    <a:pt x="125" y="297"/>
                  </a:cubicBezTo>
                  <a:cubicBezTo>
                    <a:pt x="126" y="298"/>
                    <a:pt x="126" y="298"/>
                    <a:pt x="126" y="298"/>
                  </a:cubicBezTo>
                  <a:cubicBezTo>
                    <a:pt x="126" y="298"/>
                    <a:pt x="126" y="298"/>
                    <a:pt x="126" y="298"/>
                  </a:cubicBezTo>
                  <a:cubicBezTo>
                    <a:pt x="126" y="300"/>
                    <a:pt x="126" y="300"/>
                    <a:pt x="126" y="300"/>
                  </a:cubicBezTo>
                  <a:cubicBezTo>
                    <a:pt x="127" y="300"/>
                    <a:pt x="127" y="300"/>
                    <a:pt x="127" y="300"/>
                  </a:cubicBezTo>
                  <a:cubicBezTo>
                    <a:pt x="127" y="300"/>
                    <a:pt x="127" y="300"/>
                    <a:pt x="127" y="300"/>
                  </a:cubicBezTo>
                  <a:cubicBezTo>
                    <a:pt x="128" y="300"/>
                    <a:pt x="128" y="300"/>
                    <a:pt x="128" y="300"/>
                  </a:cubicBezTo>
                  <a:cubicBezTo>
                    <a:pt x="128" y="300"/>
                    <a:pt x="128" y="300"/>
                    <a:pt x="128" y="300"/>
                  </a:cubicBezTo>
                  <a:cubicBezTo>
                    <a:pt x="129" y="300"/>
                    <a:pt x="129" y="300"/>
                    <a:pt x="129" y="300"/>
                  </a:cubicBezTo>
                  <a:cubicBezTo>
                    <a:pt x="129" y="300"/>
                    <a:pt x="129" y="300"/>
                    <a:pt x="130" y="300"/>
                  </a:cubicBezTo>
                  <a:cubicBezTo>
                    <a:pt x="131" y="301"/>
                    <a:pt x="131" y="301"/>
                    <a:pt x="131" y="301"/>
                  </a:cubicBezTo>
                  <a:cubicBezTo>
                    <a:pt x="133" y="301"/>
                    <a:pt x="133" y="301"/>
                    <a:pt x="133" y="301"/>
                  </a:cubicBezTo>
                  <a:cubicBezTo>
                    <a:pt x="133" y="301"/>
                    <a:pt x="133" y="301"/>
                    <a:pt x="133" y="301"/>
                  </a:cubicBezTo>
                  <a:cubicBezTo>
                    <a:pt x="134" y="301"/>
                    <a:pt x="134" y="301"/>
                    <a:pt x="134" y="301"/>
                  </a:cubicBezTo>
                  <a:cubicBezTo>
                    <a:pt x="135" y="301"/>
                    <a:pt x="135" y="301"/>
                    <a:pt x="135" y="301"/>
                  </a:cubicBezTo>
                  <a:cubicBezTo>
                    <a:pt x="135" y="301"/>
                    <a:pt x="135" y="301"/>
                    <a:pt x="136" y="301"/>
                  </a:cubicBezTo>
                  <a:cubicBezTo>
                    <a:pt x="136" y="301"/>
                    <a:pt x="136" y="301"/>
                    <a:pt x="136" y="301"/>
                  </a:cubicBezTo>
                  <a:cubicBezTo>
                    <a:pt x="136" y="302"/>
                    <a:pt x="136" y="302"/>
                    <a:pt x="136" y="302"/>
                  </a:cubicBezTo>
                  <a:cubicBezTo>
                    <a:pt x="137" y="302"/>
                    <a:pt x="137" y="302"/>
                    <a:pt x="137" y="302"/>
                  </a:cubicBezTo>
                  <a:cubicBezTo>
                    <a:pt x="137" y="302"/>
                    <a:pt x="137" y="302"/>
                    <a:pt x="137" y="302"/>
                  </a:cubicBezTo>
                  <a:cubicBezTo>
                    <a:pt x="137" y="302"/>
                    <a:pt x="137" y="302"/>
                    <a:pt x="137" y="302"/>
                  </a:cubicBezTo>
                  <a:cubicBezTo>
                    <a:pt x="138" y="301"/>
                    <a:pt x="138" y="301"/>
                    <a:pt x="138" y="301"/>
                  </a:cubicBezTo>
                  <a:cubicBezTo>
                    <a:pt x="138" y="301"/>
                    <a:pt x="138" y="301"/>
                    <a:pt x="139" y="301"/>
                  </a:cubicBezTo>
                  <a:cubicBezTo>
                    <a:pt x="141" y="301"/>
                    <a:pt x="141" y="301"/>
                    <a:pt x="141" y="301"/>
                  </a:cubicBezTo>
                  <a:cubicBezTo>
                    <a:pt x="142" y="301"/>
                    <a:pt x="142" y="301"/>
                    <a:pt x="142" y="301"/>
                  </a:cubicBezTo>
                  <a:cubicBezTo>
                    <a:pt x="142" y="301"/>
                    <a:pt x="142" y="301"/>
                    <a:pt x="142" y="301"/>
                  </a:cubicBezTo>
                  <a:cubicBezTo>
                    <a:pt x="142" y="301"/>
                    <a:pt x="142" y="301"/>
                    <a:pt x="142" y="301"/>
                  </a:cubicBezTo>
                  <a:cubicBezTo>
                    <a:pt x="143" y="301"/>
                    <a:pt x="143" y="301"/>
                    <a:pt x="143" y="301"/>
                  </a:cubicBezTo>
                  <a:cubicBezTo>
                    <a:pt x="143" y="301"/>
                    <a:pt x="143" y="301"/>
                    <a:pt x="143" y="301"/>
                  </a:cubicBezTo>
                  <a:cubicBezTo>
                    <a:pt x="144" y="301"/>
                    <a:pt x="144" y="302"/>
                    <a:pt x="144" y="302"/>
                  </a:cubicBezTo>
                  <a:cubicBezTo>
                    <a:pt x="144" y="302"/>
                    <a:pt x="144" y="302"/>
                    <a:pt x="144" y="302"/>
                  </a:cubicBezTo>
                  <a:cubicBezTo>
                    <a:pt x="144" y="303"/>
                    <a:pt x="144" y="303"/>
                    <a:pt x="144" y="303"/>
                  </a:cubicBezTo>
                  <a:cubicBezTo>
                    <a:pt x="144" y="303"/>
                    <a:pt x="144" y="303"/>
                    <a:pt x="144" y="303"/>
                  </a:cubicBezTo>
                  <a:cubicBezTo>
                    <a:pt x="144" y="303"/>
                    <a:pt x="144" y="303"/>
                    <a:pt x="144" y="303"/>
                  </a:cubicBezTo>
                  <a:cubicBezTo>
                    <a:pt x="145" y="304"/>
                    <a:pt x="145" y="304"/>
                    <a:pt x="145" y="304"/>
                  </a:cubicBezTo>
                  <a:cubicBezTo>
                    <a:pt x="146" y="304"/>
                    <a:pt x="146" y="304"/>
                    <a:pt x="146" y="305"/>
                  </a:cubicBezTo>
                  <a:cubicBezTo>
                    <a:pt x="146" y="306"/>
                    <a:pt x="146" y="306"/>
                    <a:pt x="146" y="306"/>
                  </a:cubicBezTo>
                  <a:cubicBezTo>
                    <a:pt x="147" y="306"/>
                    <a:pt x="147" y="306"/>
                    <a:pt x="147" y="306"/>
                  </a:cubicBezTo>
                  <a:cubicBezTo>
                    <a:pt x="148" y="305"/>
                    <a:pt x="148" y="305"/>
                    <a:pt x="148" y="305"/>
                  </a:cubicBezTo>
                  <a:cubicBezTo>
                    <a:pt x="148" y="305"/>
                    <a:pt x="148" y="304"/>
                    <a:pt x="148" y="304"/>
                  </a:cubicBezTo>
                  <a:cubicBezTo>
                    <a:pt x="149" y="304"/>
                    <a:pt x="149" y="304"/>
                    <a:pt x="149" y="304"/>
                  </a:cubicBezTo>
                  <a:cubicBezTo>
                    <a:pt x="149" y="304"/>
                    <a:pt x="149" y="304"/>
                    <a:pt x="149" y="304"/>
                  </a:cubicBezTo>
                  <a:cubicBezTo>
                    <a:pt x="150" y="303"/>
                    <a:pt x="150" y="303"/>
                    <a:pt x="150" y="304"/>
                  </a:cubicBezTo>
                  <a:cubicBezTo>
                    <a:pt x="152" y="305"/>
                    <a:pt x="152" y="305"/>
                    <a:pt x="152" y="305"/>
                  </a:cubicBezTo>
                  <a:cubicBezTo>
                    <a:pt x="152" y="305"/>
                    <a:pt x="152" y="305"/>
                    <a:pt x="152" y="305"/>
                  </a:cubicBezTo>
                  <a:cubicBezTo>
                    <a:pt x="152" y="305"/>
                    <a:pt x="152" y="305"/>
                    <a:pt x="152" y="305"/>
                  </a:cubicBezTo>
                  <a:cubicBezTo>
                    <a:pt x="153" y="305"/>
                    <a:pt x="153" y="305"/>
                    <a:pt x="153" y="305"/>
                  </a:cubicBezTo>
                  <a:cubicBezTo>
                    <a:pt x="153" y="305"/>
                    <a:pt x="154" y="306"/>
                    <a:pt x="154" y="306"/>
                  </a:cubicBezTo>
                  <a:cubicBezTo>
                    <a:pt x="154" y="306"/>
                    <a:pt x="154" y="306"/>
                    <a:pt x="154" y="307"/>
                  </a:cubicBezTo>
                  <a:cubicBezTo>
                    <a:pt x="154" y="306"/>
                    <a:pt x="155" y="306"/>
                    <a:pt x="155" y="306"/>
                  </a:cubicBezTo>
                  <a:cubicBezTo>
                    <a:pt x="156" y="306"/>
                    <a:pt x="156" y="306"/>
                    <a:pt x="156" y="306"/>
                  </a:cubicBezTo>
                  <a:cubicBezTo>
                    <a:pt x="156" y="305"/>
                    <a:pt x="156" y="305"/>
                    <a:pt x="156" y="305"/>
                  </a:cubicBezTo>
                  <a:cubicBezTo>
                    <a:pt x="156" y="305"/>
                    <a:pt x="157" y="305"/>
                    <a:pt x="157" y="305"/>
                  </a:cubicBezTo>
                  <a:cubicBezTo>
                    <a:pt x="157" y="305"/>
                    <a:pt x="157" y="305"/>
                    <a:pt x="157" y="305"/>
                  </a:cubicBezTo>
                  <a:cubicBezTo>
                    <a:pt x="157" y="305"/>
                    <a:pt x="158" y="305"/>
                    <a:pt x="158" y="305"/>
                  </a:cubicBezTo>
                  <a:cubicBezTo>
                    <a:pt x="158" y="305"/>
                    <a:pt x="158" y="305"/>
                    <a:pt x="158" y="306"/>
                  </a:cubicBezTo>
                  <a:cubicBezTo>
                    <a:pt x="158" y="306"/>
                    <a:pt x="159" y="306"/>
                    <a:pt x="159" y="306"/>
                  </a:cubicBezTo>
                  <a:cubicBezTo>
                    <a:pt x="159" y="306"/>
                    <a:pt x="159" y="306"/>
                    <a:pt x="159" y="306"/>
                  </a:cubicBezTo>
                  <a:cubicBezTo>
                    <a:pt x="159" y="306"/>
                    <a:pt x="159" y="306"/>
                    <a:pt x="159" y="306"/>
                  </a:cubicBezTo>
                  <a:cubicBezTo>
                    <a:pt x="159" y="305"/>
                    <a:pt x="159" y="305"/>
                    <a:pt x="159" y="305"/>
                  </a:cubicBezTo>
                  <a:cubicBezTo>
                    <a:pt x="159" y="305"/>
                    <a:pt x="160" y="304"/>
                    <a:pt x="160" y="304"/>
                  </a:cubicBezTo>
                  <a:cubicBezTo>
                    <a:pt x="160" y="304"/>
                    <a:pt x="161" y="304"/>
                    <a:pt x="161" y="304"/>
                  </a:cubicBezTo>
                  <a:cubicBezTo>
                    <a:pt x="162" y="304"/>
                    <a:pt x="162" y="304"/>
                    <a:pt x="162" y="304"/>
                  </a:cubicBezTo>
                  <a:cubicBezTo>
                    <a:pt x="162" y="304"/>
                    <a:pt x="163" y="304"/>
                    <a:pt x="163" y="305"/>
                  </a:cubicBezTo>
                  <a:cubicBezTo>
                    <a:pt x="163" y="305"/>
                    <a:pt x="163" y="305"/>
                    <a:pt x="163" y="305"/>
                  </a:cubicBezTo>
                  <a:cubicBezTo>
                    <a:pt x="163" y="305"/>
                    <a:pt x="163" y="305"/>
                    <a:pt x="163" y="305"/>
                  </a:cubicBezTo>
                  <a:cubicBezTo>
                    <a:pt x="164" y="305"/>
                    <a:pt x="164" y="305"/>
                    <a:pt x="164" y="305"/>
                  </a:cubicBezTo>
                  <a:cubicBezTo>
                    <a:pt x="164" y="305"/>
                    <a:pt x="165" y="306"/>
                    <a:pt x="165" y="306"/>
                  </a:cubicBezTo>
                  <a:cubicBezTo>
                    <a:pt x="165" y="305"/>
                    <a:pt x="165" y="305"/>
                    <a:pt x="165" y="305"/>
                  </a:cubicBezTo>
                  <a:cubicBezTo>
                    <a:pt x="166" y="305"/>
                    <a:pt x="166" y="305"/>
                    <a:pt x="166" y="305"/>
                  </a:cubicBezTo>
                  <a:cubicBezTo>
                    <a:pt x="166" y="305"/>
                    <a:pt x="166" y="305"/>
                    <a:pt x="166" y="305"/>
                  </a:cubicBezTo>
                  <a:cubicBezTo>
                    <a:pt x="167" y="305"/>
                    <a:pt x="167" y="305"/>
                    <a:pt x="167" y="305"/>
                  </a:cubicBezTo>
                  <a:cubicBezTo>
                    <a:pt x="167" y="305"/>
                    <a:pt x="167" y="305"/>
                    <a:pt x="167" y="305"/>
                  </a:cubicBezTo>
                  <a:cubicBezTo>
                    <a:pt x="168" y="305"/>
                    <a:pt x="168" y="305"/>
                    <a:pt x="168" y="305"/>
                  </a:cubicBezTo>
                  <a:cubicBezTo>
                    <a:pt x="168" y="305"/>
                    <a:pt x="168" y="306"/>
                    <a:pt x="168" y="306"/>
                  </a:cubicBezTo>
                  <a:cubicBezTo>
                    <a:pt x="168" y="306"/>
                    <a:pt x="168" y="306"/>
                    <a:pt x="168" y="306"/>
                  </a:cubicBezTo>
                  <a:cubicBezTo>
                    <a:pt x="168" y="306"/>
                    <a:pt x="169" y="306"/>
                    <a:pt x="169" y="307"/>
                  </a:cubicBezTo>
                  <a:cubicBezTo>
                    <a:pt x="169" y="307"/>
                    <a:pt x="169" y="307"/>
                    <a:pt x="169" y="307"/>
                  </a:cubicBezTo>
                  <a:cubicBezTo>
                    <a:pt x="169" y="307"/>
                    <a:pt x="169" y="307"/>
                    <a:pt x="169" y="307"/>
                  </a:cubicBezTo>
                  <a:cubicBezTo>
                    <a:pt x="169" y="307"/>
                    <a:pt x="169" y="307"/>
                    <a:pt x="169" y="307"/>
                  </a:cubicBezTo>
                  <a:cubicBezTo>
                    <a:pt x="169" y="307"/>
                    <a:pt x="170" y="307"/>
                    <a:pt x="170" y="307"/>
                  </a:cubicBezTo>
                  <a:cubicBezTo>
                    <a:pt x="170" y="307"/>
                    <a:pt x="170" y="307"/>
                    <a:pt x="170" y="307"/>
                  </a:cubicBezTo>
                  <a:cubicBezTo>
                    <a:pt x="170" y="307"/>
                    <a:pt x="171" y="307"/>
                    <a:pt x="171" y="307"/>
                  </a:cubicBezTo>
                  <a:cubicBezTo>
                    <a:pt x="171" y="308"/>
                    <a:pt x="171" y="308"/>
                    <a:pt x="171" y="308"/>
                  </a:cubicBezTo>
                  <a:cubicBezTo>
                    <a:pt x="171" y="307"/>
                    <a:pt x="172" y="307"/>
                    <a:pt x="172" y="307"/>
                  </a:cubicBezTo>
                  <a:cubicBezTo>
                    <a:pt x="173" y="307"/>
                    <a:pt x="173" y="307"/>
                    <a:pt x="173" y="307"/>
                  </a:cubicBezTo>
                  <a:cubicBezTo>
                    <a:pt x="173" y="307"/>
                    <a:pt x="173" y="307"/>
                    <a:pt x="173" y="307"/>
                  </a:cubicBezTo>
                  <a:cubicBezTo>
                    <a:pt x="173" y="307"/>
                    <a:pt x="173" y="306"/>
                    <a:pt x="173" y="306"/>
                  </a:cubicBezTo>
                  <a:cubicBezTo>
                    <a:pt x="174" y="306"/>
                    <a:pt x="174" y="306"/>
                    <a:pt x="174" y="306"/>
                  </a:cubicBezTo>
                  <a:cubicBezTo>
                    <a:pt x="175" y="306"/>
                    <a:pt x="175" y="306"/>
                    <a:pt x="175" y="306"/>
                  </a:cubicBezTo>
                  <a:cubicBezTo>
                    <a:pt x="176" y="306"/>
                    <a:pt x="176" y="306"/>
                    <a:pt x="176" y="306"/>
                  </a:cubicBezTo>
                  <a:cubicBezTo>
                    <a:pt x="176" y="305"/>
                    <a:pt x="176" y="305"/>
                    <a:pt x="176" y="305"/>
                  </a:cubicBezTo>
                  <a:cubicBezTo>
                    <a:pt x="176" y="305"/>
                    <a:pt x="176" y="305"/>
                    <a:pt x="176" y="305"/>
                  </a:cubicBezTo>
                  <a:cubicBezTo>
                    <a:pt x="177" y="305"/>
                    <a:pt x="177" y="305"/>
                    <a:pt x="177" y="305"/>
                  </a:cubicBezTo>
                  <a:cubicBezTo>
                    <a:pt x="177" y="305"/>
                    <a:pt x="177" y="305"/>
                    <a:pt x="177" y="305"/>
                  </a:cubicBezTo>
                  <a:cubicBezTo>
                    <a:pt x="178" y="305"/>
                    <a:pt x="178" y="305"/>
                    <a:pt x="178" y="305"/>
                  </a:cubicBezTo>
                  <a:cubicBezTo>
                    <a:pt x="178" y="305"/>
                    <a:pt x="178" y="305"/>
                    <a:pt x="179" y="305"/>
                  </a:cubicBezTo>
                  <a:cubicBezTo>
                    <a:pt x="179" y="305"/>
                    <a:pt x="179" y="305"/>
                    <a:pt x="179" y="305"/>
                  </a:cubicBezTo>
                  <a:cubicBezTo>
                    <a:pt x="179" y="305"/>
                    <a:pt x="179" y="305"/>
                    <a:pt x="179" y="305"/>
                  </a:cubicBezTo>
                  <a:cubicBezTo>
                    <a:pt x="179" y="305"/>
                    <a:pt x="179" y="305"/>
                    <a:pt x="179" y="305"/>
                  </a:cubicBezTo>
                  <a:cubicBezTo>
                    <a:pt x="179" y="305"/>
                    <a:pt x="180" y="305"/>
                    <a:pt x="180" y="305"/>
                  </a:cubicBezTo>
                  <a:cubicBezTo>
                    <a:pt x="180" y="305"/>
                    <a:pt x="180" y="305"/>
                    <a:pt x="180" y="305"/>
                  </a:cubicBezTo>
                  <a:cubicBezTo>
                    <a:pt x="180" y="305"/>
                    <a:pt x="180" y="304"/>
                    <a:pt x="180" y="304"/>
                  </a:cubicBezTo>
                  <a:cubicBezTo>
                    <a:pt x="181" y="304"/>
                    <a:pt x="181" y="304"/>
                    <a:pt x="181" y="304"/>
                  </a:cubicBezTo>
                  <a:cubicBezTo>
                    <a:pt x="181" y="304"/>
                    <a:pt x="181" y="304"/>
                    <a:pt x="181" y="304"/>
                  </a:cubicBezTo>
                  <a:cubicBezTo>
                    <a:pt x="182" y="304"/>
                    <a:pt x="182" y="304"/>
                    <a:pt x="182" y="304"/>
                  </a:cubicBezTo>
                  <a:cubicBezTo>
                    <a:pt x="182" y="304"/>
                    <a:pt x="182" y="304"/>
                    <a:pt x="182" y="304"/>
                  </a:cubicBezTo>
                  <a:cubicBezTo>
                    <a:pt x="182" y="303"/>
                    <a:pt x="182" y="303"/>
                    <a:pt x="182" y="303"/>
                  </a:cubicBezTo>
                  <a:cubicBezTo>
                    <a:pt x="182" y="303"/>
                    <a:pt x="183" y="303"/>
                    <a:pt x="183" y="303"/>
                  </a:cubicBezTo>
                  <a:cubicBezTo>
                    <a:pt x="183" y="303"/>
                    <a:pt x="183" y="303"/>
                    <a:pt x="184" y="303"/>
                  </a:cubicBezTo>
                  <a:cubicBezTo>
                    <a:pt x="184" y="303"/>
                    <a:pt x="184" y="303"/>
                    <a:pt x="184" y="304"/>
                  </a:cubicBezTo>
                  <a:cubicBezTo>
                    <a:pt x="184" y="304"/>
                    <a:pt x="185" y="304"/>
                    <a:pt x="185" y="304"/>
                  </a:cubicBezTo>
                  <a:cubicBezTo>
                    <a:pt x="185" y="304"/>
                    <a:pt x="185" y="304"/>
                    <a:pt x="185" y="304"/>
                  </a:cubicBezTo>
                  <a:cubicBezTo>
                    <a:pt x="185" y="305"/>
                    <a:pt x="185" y="305"/>
                    <a:pt x="185" y="305"/>
                  </a:cubicBezTo>
                  <a:cubicBezTo>
                    <a:pt x="186" y="305"/>
                    <a:pt x="186" y="305"/>
                    <a:pt x="186" y="305"/>
                  </a:cubicBezTo>
                  <a:cubicBezTo>
                    <a:pt x="186" y="305"/>
                    <a:pt x="186" y="304"/>
                    <a:pt x="186" y="304"/>
                  </a:cubicBezTo>
                  <a:cubicBezTo>
                    <a:pt x="187" y="304"/>
                    <a:pt x="187" y="304"/>
                    <a:pt x="187" y="304"/>
                  </a:cubicBezTo>
                  <a:cubicBezTo>
                    <a:pt x="187" y="304"/>
                    <a:pt x="187" y="304"/>
                    <a:pt x="187" y="304"/>
                  </a:cubicBezTo>
                  <a:cubicBezTo>
                    <a:pt x="187" y="304"/>
                    <a:pt x="187" y="304"/>
                    <a:pt x="187" y="304"/>
                  </a:cubicBezTo>
                  <a:cubicBezTo>
                    <a:pt x="187" y="304"/>
                    <a:pt x="188" y="304"/>
                    <a:pt x="188" y="303"/>
                  </a:cubicBezTo>
                  <a:cubicBezTo>
                    <a:pt x="188" y="303"/>
                    <a:pt x="188" y="303"/>
                    <a:pt x="188" y="303"/>
                  </a:cubicBezTo>
                  <a:cubicBezTo>
                    <a:pt x="188" y="303"/>
                    <a:pt x="189" y="303"/>
                    <a:pt x="189" y="303"/>
                  </a:cubicBezTo>
                  <a:cubicBezTo>
                    <a:pt x="190" y="303"/>
                    <a:pt x="190" y="303"/>
                    <a:pt x="190" y="303"/>
                  </a:cubicBezTo>
                  <a:cubicBezTo>
                    <a:pt x="191" y="303"/>
                    <a:pt x="191" y="303"/>
                    <a:pt x="191" y="304"/>
                  </a:cubicBezTo>
                  <a:cubicBezTo>
                    <a:pt x="191" y="304"/>
                    <a:pt x="191" y="304"/>
                    <a:pt x="191" y="304"/>
                  </a:cubicBezTo>
                  <a:cubicBezTo>
                    <a:pt x="192" y="304"/>
                    <a:pt x="192" y="304"/>
                    <a:pt x="192" y="304"/>
                  </a:cubicBezTo>
                  <a:cubicBezTo>
                    <a:pt x="192" y="304"/>
                    <a:pt x="192" y="304"/>
                    <a:pt x="192" y="304"/>
                  </a:cubicBezTo>
                  <a:cubicBezTo>
                    <a:pt x="193" y="305"/>
                    <a:pt x="193" y="305"/>
                    <a:pt x="193" y="305"/>
                  </a:cubicBezTo>
                  <a:cubicBezTo>
                    <a:pt x="193" y="305"/>
                    <a:pt x="193" y="305"/>
                    <a:pt x="193" y="305"/>
                  </a:cubicBezTo>
                  <a:cubicBezTo>
                    <a:pt x="194" y="305"/>
                    <a:pt x="194" y="305"/>
                    <a:pt x="194" y="305"/>
                  </a:cubicBezTo>
                  <a:cubicBezTo>
                    <a:pt x="194" y="305"/>
                    <a:pt x="194" y="305"/>
                    <a:pt x="195" y="306"/>
                  </a:cubicBezTo>
                  <a:cubicBezTo>
                    <a:pt x="195" y="306"/>
                    <a:pt x="195" y="306"/>
                    <a:pt x="195" y="306"/>
                  </a:cubicBezTo>
                  <a:cubicBezTo>
                    <a:pt x="195" y="306"/>
                    <a:pt x="195" y="306"/>
                    <a:pt x="195" y="306"/>
                  </a:cubicBezTo>
                  <a:cubicBezTo>
                    <a:pt x="195" y="307"/>
                    <a:pt x="195" y="307"/>
                    <a:pt x="195" y="307"/>
                  </a:cubicBezTo>
                  <a:cubicBezTo>
                    <a:pt x="196" y="307"/>
                    <a:pt x="196" y="307"/>
                    <a:pt x="196" y="307"/>
                  </a:cubicBezTo>
                  <a:cubicBezTo>
                    <a:pt x="196" y="307"/>
                    <a:pt x="196" y="307"/>
                    <a:pt x="196" y="307"/>
                  </a:cubicBezTo>
                  <a:cubicBezTo>
                    <a:pt x="197" y="307"/>
                    <a:pt x="197" y="307"/>
                    <a:pt x="197" y="307"/>
                  </a:cubicBezTo>
                  <a:cubicBezTo>
                    <a:pt x="198" y="308"/>
                    <a:pt x="198" y="308"/>
                    <a:pt x="198" y="308"/>
                  </a:cubicBezTo>
                  <a:cubicBezTo>
                    <a:pt x="198" y="308"/>
                    <a:pt x="198" y="308"/>
                    <a:pt x="198" y="308"/>
                  </a:cubicBezTo>
                  <a:cubicBezTo>
                    <a:pt x="198" y="308"/>
                    <a:pt x="198" y="308"/>
                    <a:pt x="198" y="308"/>
                  </a:cubicBezTo>
                  <a:cubicBezTo>
                    <a:pt x="199" y="308"/>
                    <a:pt x="199" y="308"/>
                    <a:pt x="199" y="308"/>
                  </a:cubicBezTo>
                  <a:cubicBezTo>
                    <a:pt x="199" y="308"/>
                    <a:pt x="199" y="308"/>
                    <a:pt x="199" y="308"/>
                  </a:cubicBezTo>
                  <a:cubicBezTo>
                    <a:pt x="200" y="308"/>
                    <a:pt x="200" y="308"/>
                    <a:pt x="200" y="308"/>
                  </a:cubicBezTo>
                  <a:cubicBezTo>
                    <a:pt x="201" y="308"/>
                    <a:pt x="201" y="308"/>
                    <a:pt x="201" y="308"/>
                  </a:cubicBezTo>
                  <a:cubicBezTo>
                    <a:pt x="201" y="306"/>
                    <a:pt x="201" y="306"/>
                    <a:pt x="201" y="306"/>
                  </a:cubicBezTo>
                  <a:cubicBezTo>
                    <a:pt x="201" y="306"/>
                    <a:pt x="201" y="306"/>
                    <a:pt x="201" y="306"/>
                  </a:cubicBezTo>
                  <a:cubicBezTo>
                    <a:pt x="201" y="306"/>
                    <a:pt x="202" y="306"/>
                    <a:pt x="202" y="306"/>
                  </a:cubicBezTo>
                  <a:cubicBezTo>
                    <a:pt x="203" y="306"/>
                    <a:pt x="204" y="306"/>
                    <a:pt x="205" y="305"/>
                  </a:cubicBezTo>
                  <a:cubicBezTo>
                    <a:pt x="206" y="304"/>
                    <a:pt x="207" y="302"/>
                    <a:pt x="206" y="300"/>
                  </a:cubicBezTo>
                  <a:cubicBezTo>
                    <a:pt x="204" y="297"/>
                    <a:pt x="204" y="297"/>
                    <a:pt x="204" y="297"/>
                  </a:cubicBezTo>
                  <a:cubicBezTo>
                    <a:pt x="204" y="297"/>
                    <a:pt x="204" y="297"/>
                    <a:pt x="204" y="297"/>
                  </a:cubicBezTo>
                  <a:cubicBezTo>
                    <a:pt x="204" y="296"/>
                    <a:pt x="204" y="296"/>
                    <a:pt x="204" y="296"/>
                  </a:cubicBezTo>
                  <a:cubicBezTo>
                    <a:pt x="204" y="296"/>
                    <a:pt x="204" y="296"/>
                    <a:pt x="204" y="296"/>
                  </a:cubicBezTo>
                  <a:cubicBezTo>
                    <a:pt x="203" y="295"/>
                    <a:pt x="203" y="295"/>
                    <a:pt x="203" y="295"/>
                  </a:cubicBezTo>
                  <a:cubicBezTo>
                    <a:pt x="203" y="295"/>
                    <a:pt x="203" y="295"/>
                    <a:pt x="203" y="295"/>
                  </a:cubicBezTo>
                  <a:cubicBezTo>
                    <a:pt x="203" y="294"/>
                    <a:pt x="203" y="294"/>
                    <a:pt x="203" y="294"/>
                  </a:cubicBezTo>
                  <a:cubicBezTo>
                    <a:pt x="203" y="294"/>
                    <a:pt x="203" y="294"/>
                    <a:pt x="203" y="294"/>
                  </a:cubicBezTo>
                  <a:cubicBezTo>
                    <a:pt x="204" y="288"/>
                    <a:pt x="204" y="288"/>
                    <a:pt x="204" y="288"/>
                  </a:cubicBezTo>
                  <a:cubicBezTo>
                    <a:pt x="204" y="288"/>
                    <a:pt x="204" y="288"/>
                    <a:pt x="204" y="287"/>
                  </a:cubicBezTo>
                  <a:cubicBezTo>
                    <a:pt x="204" y="282"/>
                    <a:pt x="204" y="282"/>
                    <a:pt x="204" y="282"/>
                  </a:cubicBezTo>
                  <a:cubicBezTo>
                    <a:pt x="205" y="279"/>
                    <a:pt x="205" y="279"/>
                    <a:pt x="205" y="279"/>
                  </a:cubicBezTo>
                  <a:cubicBezTo>
                    <a:pt x="205" y="279"/>
                    <a:pt x="205" y="279"/>
                    <a:pt x="205" y="279"/>
                  </a:cubicBezTo>
                  <a:cubicBezTo>
                    <a:pt x="205" y="279"/>
                    <a:pt x="205" y="279"/>
                    <a:pt x="205" y="279"/>
                  </a:cubicBezTo>
                  <a:cubicBezTo>
                    <a:pt x="205" y="279"/>
                    <a:pt x="205" y="279"/>
                    <a:pt x="205" y="279"/>
                  </a:cubicBezTo>
                  <a:cubicBezTo>
                    <a:pt x="205" y="279"/>
                    <a:pt x="205" y="278"/>
                    <a:pt x="206" y="278"/>
                  </a:cubicBezTo>
                  <a:cubicBezTo>
                    <a:pt x="206" y="278"/>
                    <a:pt x="206" y="278"/>
                    <a:pt x="206" y="278"/>
                  </a:cubicBezTo>
                  <a:cubicBezTo>
                    <a:pt x="206" y="278"/>
                    <a:pt x="206" y="278"/>
                    <a:pt x="206" y="278"/>
                  </a:cubicBezTo>
                  <a:cubicBezTo>
                    <a:pt x="206" y="278"/>
                    <a:pt x="206" y="278"/>
                    <a:pt x="206" y="278"/>
                  </a:cubicBezTo>
                  <a:cubicBezTo>
                    <a:pt x="206" y="278"/>
                    <a:pt x="206" y="278"/>
                    <a:pt x="206" y="278"/>
                  </a:cubicBezTo>
                  <a:cubicBezTo>
                    <a:pt x="208" y="278"/>
                    <a:pt x="208" y="278"/>
                    <a:pt x="208" y="278"/>
                  </a:cubicBezTo>
                  <a:cubicBezTo>
                    <a:pt x="212" y="278"/>
                    <a:pt x="212" y="278"/>
                    <a:pt x="212" y="278"/>
                  </a:cubicBezTo>
                  <a:cubicBezTo>
                    <a:pt x="213" y="278"/>
                    <a:pt x="213" y="278"/>
                    <a:pt x="213" y="278"/>
                  </a:cubicBezTo>
                  <a:cubicBezTo>
                    <a:pt x="215" y="278"/>
                    <a:pt x="215" y="278"/>
                    <a:pt x="215" y="278"/>
                  </a:cubicBezTo>
                  <a:cubicBezTo>
                    <a:pt x="215" y="278"/>
                    <a:pt x="215" y="278"/>
                    <a:pt x="215" y="278"/>
                  </a:cubicBezTo>
                  <a:cubicBezTo>
                    <a:pt x="217" y="278"/>
                    <a:pt x="217" y="278"/>
                    <a:pt x="217" y="278"/>
                  </a:cubicBezTo>
                  <a:cubicBezTo>
                    <a:pt x="217" y="278"/>
                    <a:pt x="217" y="278"/>
                    <a:pt x="218" y="278"/>
                  </a:cubicBezTo>
                  <a:cubicBezTo>
                    <a:pt x="218" y="278"/>
                    <a:pt x="218" y="278"/>
                    <a:pt x="218" y="278"/>
                  </a:cubicBezTo>
                  <a:cubicBezTo>
                    <a:pt x="218" y="278"/>
                    <a:pt x="219" y="278"/>
                    <a:pt x="219" y="278"/>
                  </a:cubicBezTo>
                  <a:cubicBezTo>
                    <a:pt x="219" y="278"/>
                    <a:pt x="219" y="278"/>
                    <a:pt x="219" y="278"/>
                  </a:cubicBezTo>
                  <a:cubicBezTo>
                    <a:pt x="220" y="278"/>
                    <a:pt x="220" y="277"/>
                    <a:pt x="221" y="277"/>
                  </a:cubicBezTo>
                  <a:cubicBezTo>
                    <a:pt x="221" y="277"/>
                    <a:pt x="221" y="277"/>
                    <a:pt x="221" y="276"/>
                  </a:cubicBezTo>
                  <a:cubicBezTo>
                    <a:pt x="222" y="276"/>
                    <a:pt x="222" y="276"/>
                    <a:pt x="222" y="275"/>
                  </a:cubicBezTo>
                  <a:cubicBezTo>
                    <a:pt x="222" y="275"/>
                    <a:pt x="223" y="274"/>
                    <a:pt x="223" y="274"/>
                  </a:cubicBezTo>
                  <a:cubicBezTo>
                    <a:pt x="223" y="274"/>
                    <a:pt x="223" y="273"/>
                    <a:pt x="223" y="273"/>
                  </a:cubicBezTo>
                  <a:cubicBezTo>
                    <a:pt x="223" y="272"/>
                    <a:pt x="222" y="270"/>
                    <a:pt x="221" y="270"/>
                  </a:cubicBezTo>
                  <a:cubicBezTo>
                    <a:pt x="220" y="269"/>
                    <a:pt x="220" y="269"/>
                    <a:pt x="220" y="269"/>
                  </a:cubicBezTo>
                  <a:cubicBezTo>
                    <a:pt x="220" y="269"/>
                    <a:pt x="219" y="268"/>
                    <a:pt x="219" y="268"/>
                  </a:cubicBezTo>
                  <a:cubicBezTo>
                    <a:pt x="216" y="268"/>
                    <a:pt x="216" y="268"/>
                    <a:pt x="216" y="268"/>
                  </a:cubicBezTo>
                  <a:cubicBezTo>
                    <a:pt x="216" y="268"/>
                    <a:pt x="216" y="268"/>
                    <a:pt x="216" y="268"/>
                  </a:cubicBezTo>
                  <a:cubicBezTo>
                    <a:pt x="214" y="268"/>
                    <a:pt x="214" y="268"/>
                    <a:pt x="214" y="268"/>
                  </a:cubicBezTo>
                  <a:cubicBezTo>
                    <a:pt x="209" y="266"/>
                    <a:pt x="209" y="266"/>
                    <a:pt x="209" y="266"/>
                  </a:cubicBezTo>
                  <a:cubicBezTo>
                    <a:pt x="209" y="266"/>
                    <a:pt x="209" y="266"/>
                    <a:pt x="209" y="266"/>
                  </a:cubicBezTo>
                  <a:cubicBezTo>
                    <a:pt x="208" y="266"/>
                    <a:pt x="208" y="265"/>
                    <a:pt x="208" y="265"/>
                  </a:cubicBezTo>
                  <a:cubicBezTo>
                    <a:pt x="208" y="265"/>
                    <a:pt x="208" y="265"/>
                    <a:pt x="208" y="265"/>
                  </a:cubicBezTo>
                  <a:cubicBezTo>
                    <a:pt x="208" y="265"/>
                    <a:pt x="208" y="265"/>
                    <a:pt x="207" y="265"/>
                  </a:cubicBezTo>
                  <a:cubicBezTo>
                    <a:pt x="207" y="265"/>
                    <a:pt x="207" y="265"/>
                    <a:pt x="207" y="265"/>
                  </a:cubicBezTo>
                  <a:cubicBezTo>
                    <a:pt x="207" y="264"/>
                    <a:pt x="207" y="264"/>
                    <a:pt x="207" y="264"/>
                  </a:cubicBezTo>
                  <a:cubicBezTo>
                    <a:pt x="204" y="261"/>
                    <a:pt x="204" y="261"/>
                    <a:pt x="204" y="261"/>
                  </a:cubicBezTo>
                  <a:cubicBezTo>
                    <a:pt x="204" y="261"/>
                    <a:pt x="204" y="261"/>
                    <a:pt x="204" y="261"/>
                  </a:cubicBezTo>
                  <a:cubicBezTo>
                    <a:pt x="207" y="259"/>
                    <a:pt x="207" y="259"/>
                    <a:pt x="207" y="259"/>
                  </a:cubicBezTo>
                  <a:cubicBezTo>
                    <a:pt x="207" y="259"/>
                    <a:pt x="207" y="258"/>
                    <a:pt x="208" y="258"/>
                  </a:cubicBezTo>
                  <a:cubicBezTo>
                    <a:pt x="208" y="258"/>
                    <a:pt x="208" y="258"/>
                    <a:pt x="208" y="258"/>
                  </a:cubicBezTo>
                  <a:cubicBezTo>
                    <a:pt x="209" y="257"/>
                    <a:pt x="209" y="257"/>
                    <a:pt x="209" y="257"/>
                  </a:cubicBezTo>
                  <a:cubicBezTo>
                    <a:pt x="210" y="257"/>
                    <a:pt x="210" y="257"/>
                    <a:pt x="210" y="257"/>
                  </a:cubicBezTo>
                  <a:cubicBezTo>
                    <a:pt x="214" y="256"/>
                    <a:pt x="214" y="256"/>
                    <a:pt x="214" y="256"/>
                  </a:cubicBezTo>
                  <a:cubicBezTo>
                    <a:pt x="227" y="254"/>
                    <a:pt x="227" y="254"/>
                    <a:pt x="227" y="254"/>
                  </a:cubicBezTo>
                  <a:cubicBezTo>
                    <a:pt x="233" y="252"/>
                    <a:pt x="233" y="252"/>
                    <a:pt x="233" y="252"/>
                  </a:cubicBezTo>
                  <a:cubicBezTo>
                    <a:pt x="239" y="252"/>
                    <a:pt x="239" y="252"/>
                    <a:pt x="239" y="252"/>
                  </a:cubicBezTo>
                  <a:cubicBezTo>
                    <a:pt x="246" y="251"/>
                    <a:pt x="246" y="251"/>
                    <a:pt x="246" y="251"/>
                  </a:cubicBezTo>
                  <a:cubicBezTo>
                    <a:pt x="247" y="251"/>
                    <a:pt x="247" y="251"/>
                    <a:pt x="247" y="251"/>
                  </a:cubicBezTo>
                  <a:cubicBezTo>
                    <a:pt x="249" y="250"/>
                    <a:pt x="249" y="250"/>
                    <a:pt x="249" y="250"/>
                  </a:cubicBezTo>
                  <a:cubicBezTo>
                    <a:pt x="252" y="249"/>
                    <a:pt x="252" y="249"/>
                    <a:pt x="252" y="249"/>
                  </a:cubicBezTo>
                  <a:cubicBezTo>
                    <a:pt x="261" y="242"/>
                    <a:pt x="261" y="242"/>
                    <a:pt x="261" y="242"/>
                  </a:cubicBezTo>
                  <a:cubicBezTo>
                    <a:pt x="264" y="241"/>
                    <a:pt x="264" y="241"/>
                    <a:pt x="264" y="241"/>
                  </a:cubicBezTo>
                  <a:cubicBezTo>
                    <a:pt x="268" y="238"/>
                    <a:pt x="268" y="238"/>
                    <a:pt x="268" y="238"/>
                  </a:cubicBezTo>
                  <a:cubicBezTo>
                    <a:pt x="268" y="238"/>
                    <a:pt x="269" y="238"/>
                    <a:pt x="269" y="237"/>
                  </a:cubicBezTo>
                  <a:cubicBezTo>
                    <a:pt x="269" y="237"/>
                    <a:pt x="269" y="237"/>
                    <a:pt x="269" y="237"/>
                  </a:cubicBezTo>
                  <a:cubicBezTo>
                    <a:pt x="269" y="237"/>
                    <a:pt x="270" y="237"/>
                    <a:pt x="270" y="236"/>
                  </a:cubicBezTo>
                  <a:cubicBezTo>
                    <a:pt x="270" y="236"/>
                    <a:pt x="270" y="236"/>
                    <a:pt x="270" y="236"/>
                  </a:cubicBezTo>
                  <a:cubicBezTo>
                    <a:pt x="270" y="236"/>
                    <a:pt x="271" y="235"/>
                    <a:pt x="271" y="235"/>
                  </a:cubicBezTo>
                  <a:cubicBezTo>
                    <a:pt x="271" y="235"/>
                    <a:pt x="271" y="235"/>
                    <a:pt x="271" y="235"/>
                  </a:cubicBezTo>
                  <a:cubicBezTo>
                    <a:pt x="271" y="235"/>
                    <a:pt x="271" y="234"/>
                    <a:pt x="271" y="234"/>
                  </a:cubicBezTo>
                  <a:cubicBezTo>
                    <a:pt x="271" y="234"/>
                    <a:pt x="271" y="234"/>
                    <a:pt x="271" y="234"/>
                  </a:cubicBezTo>
                  <a:cubicBezTo>
                    <a:pt x="271" y="234"/>
                    <a:pt x="272" y="233"/>
                    <a:pt x="272" y="233"/>
                  </a:cubicBezTo>
                  <a:cubicBezTo>
                    <a:pt x="272" y="233"/>
                    <a:pt x="272" y="233"/>
                    <a:pt x="272" y="233"/>
                  </a:cubicBezTo>
                  <a:cubicBezTo>
                    <a:pt x="272" y="233"/>
                    <a:pt x="272" y="232"/>
                    <a:pt x="272" y="232"/>
                  </a:cubicBezTo>
                  <a:cubicBezTo>
                    <a:pt x="272" y="232"/>
                    <a:pt x="272" y="231"/>
                    <a:pt x="272" y="231"/>
                  </a:cubicBezTo>
                  <a:cubicBezTo>
                    <a:pt x="272" y="230"/>
                    <a:pt x="272" y="230"/>
                    <a:pt x="272" y="230"/>
                  </a:cubicBezTo>
                  <a:cubicBezTo>
                    <a:pt x="272" y="230"/>
                    <a:pt x="272" y="229"/>
                    <a:pt x="271" y="229"/>
                  </a:cubicBezTo>
                  <a:close/>
                  <a:moveTo>
                    <a:pt x="205" y="274"/>
                  </a:moveTo>
                  <a:cubicBezTo>
                    <a:pt x="206" y="276"/>
                    <a:pt x="206" y="276"/>
                    <a:pt x="206" y="276"/>
                  </a:cubicBezTo>
                  <a:cubicBezTo>
                    <a:pt x="206" y="276"/>
                    <a:pt x="206" y="276"/>
                    <a:pt x="206" y="276"/>
                  </a:cubicBezTo>
                  <a:cubicBezTo>
                    <a:pt x="205" y="275"/>
                    <a:pt x="205" y="275"/>
                    <a:pt x="205" y="275"/>
                  </a:cubicBezTo>
                  <a:cubicBezTo>
                    <a:pt x="205" y="274"/>
                    <a:pt x="205" y="274"/>
                    <a:pt x="205" y="274"/>
                  </a:cubicBezTo>
                  <a:close/>
                  <a:moveTo>
                    <a:pt x="204" y="277"/>
                  </a:moveTo>
                  <a:cubicBezTo>
                    <a:pt x="204" y="277"/>
                    <a:pt x="204" y="277"/>
                    <a:pt x="204" y="277"/>
                  </a:cubicBezTo>
                  <a:cubicBezTo>
                    <a:pt x="204" y="277"/>
                    <a:pt x="204" y="277"/>
                    <a:pt x="204" y="277"/>
                  </a:cubicBezTo>
                  <a:close/>
                </a:path>
              </a:pathLst>
            </a:custGeom>
            <a:solidFill>
              <a:schemeClr val="accent2"/>
            </a:solidFill>
            <a:ln w="63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1033" name="Freeform 40">
              <a:extLst>
                <a:ext uri="{FF2B5EF4-FFF2-40B4-BE49-F238E27FC236}">
                  <a16:creationId xmlns:a16="http://schemas.microsoft.com/office/drawing/2014/main" id="{B0CEF515-8A28-0CE1-2BC8-9BD2F77A42FC}"/>
                </a:ext>
              </a:extLst>
            </p:cNvPr>
            <p:cNvSpPr>
              <a:spLocks/>
            </p:cNvSpPr>
            <p:nvPr/>
          </p:nvSpPr>
          <p:spPr bwMode="gray">
            <a:xfrm>
              <a:off x="5541963" y="2744788"/>
              <a:ext cx="4763" cy="11113"/>
            </a:xfrm>
            <a:custGeom>
              <a:avLst/>
              <a:gdLst>
                <a:gd name="T0" fmla="*/ 0 w 3"/>
                <a:gd name="T1" fmla="*/ 4 h 7"/>
                <a:gd name="T2" fmla="*/ 0 w 3"/>
                <a:gd name="T3" fmla="*/ 4 h 7"/>
                <a:gd name="T4" fmla="*/ 0 w 3"/>
                <a:gd name="T5" fmla="*/ 7 h 7"/>
                <a:gd name="T6" fmla="*/ 0 w 3"/>
                <a:gd name="T7" fmla="*/ 7 h 7"/>
                <a:gd name="T8" fmla="*/ 3 w 3"/>
                <a:gd name="T9" fmla="*/ 4 h 7"/>
                <a:gd name="T10" fmla="*/ 3 w 3"/>
                <a:gd name="T11" fmla="*/ 4 h 7"/>
                <a:gd name="T12" fmla="*/ 3 w 3"/>
                <a:gd name="T13" fmla="*/ 0 h 7"/>
                <a:gd name="T14" fmla="*/ 0 w 3"/>
                <a:gd name="T15" fmla="*/ 4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7">
                  <a:moveTo>
                    <a:pt x="0" y="4"/>
                  </a:moveTo>
                  <a:lnTo>
                    <a:pt x="0" y="4"/>
                  </a:lnTo>
                  <a:lnTo>
                    <a:pt x="0" y="7"/>
                  </a:lnTo>
                  <a:lnTo>
                    <a:pt x="0" y="7"/>
                  </a:lnTo>
                  <a:lnTo>
                    <a:pt x="3" y="4"/>
                  </a:lnTo>
                  <a:lnTo>
                    <a:pt x="3" y="4"/>
                  </a:lnTo>
                  <a:lnTo>
                    <a:pt x="3" y="0"/>
                  </a:lnTo>
                  <a:lnTo>
                    <a:pt x="0" y="4"/>
                  </a:lnTo>
                  <a:close/>
                </a:path>
              </a:pathLst>
            </a:custGeom>
            <a:solidFill>
              <a:srgbClr val="B1B1B0"/>
            </a:solidFill>
            <a:ln w="635"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1034" name="Freeform 41">
              <a:extLst>
                <a:ext uri="{FF2B5EF4-FFF2-40B4-BE49-F238E27FC236}">
                  <a16:creationId xmlns:a16="http://schemas.microsoft.com/office/drawing/2014/main" id="{CD9C07A3-64C8-6070-7BF3-156313A62546}"/>
                </a:ext>
              </a:extLst>
            </p:cNvPr>
            <p:cNvSpPr>
              <a:spLocks/>
            </p:cNvSpPr>
            <p:nvPr/>
          </p:nvSpPr>
          <p:spPr bwMode="gray">
            <a:xfrm>
              <a:off x="3963988" y="1790700"/>
              <a:ext cx="1652588" cy="1941513"/>
            </a:xfrm>
            <a:custGeom>
              <a:avLst/>
              <a:gdLst>
                <a:gd name="T0" fmla="*/ 218 w 310"/>
                <a:gd name="T1" fmla="*/ 184 h 364"/>
                <a:gd name="T2" fmla="*/ 192 w 310"/>
                <a:gd name="T3" fmla="*/ 194 h 364"/>
                <a:gd name="T4" fmla="*/ 178 w 310"/>
                <a:gd name="T5" fmla="*/ 180 h 364"/>
                <a:gd name="T6" fmla="*/ 162 w 310"/>
                <a:gd name="T7" fmla="*/ 141 h 364"/>
                <a:gd name="T8" fmla="*/ 169 w 310"/>
                <a:gd name="T9" fmla="*/ 135 h 364"/>
                <a:gd name="T10" fmla="*/ 197 w 310"/>
                <a:gd name="T11" fmla="*/ 136 h 364"/>
                <a:gd name="T12" fmla="*/ 200 w 310"/>
                <a:gd name="T13" fmla="*/ 115 h 364"/>
                <a:gd name="T14" fmla="*/ 191 w 310"/>
                <a:gd name="T15" fmla="*/ 104 h 364"/>
                <a:gd name="T16" fmla="*/ 187 w 310"/>
                <a:gd name="T17" fmla="*/ 82 h 364"/>
                <a:gd name="T18" fmla="*/ 176 w 310"/>
                <a:gd name="T19" fmla="*/ 68 h 364"/>
                <a:gd name="T20" fmla="*/ 176 w 310"/>
                <a:gd name="T21" fmla="*/ 50 h 364"/>
                <a:gd name="T22" fmla="*/ 167 w 310"/>
                <a:gd name="T23" fmla="*/ 46 h 364"/>
                <a:gd name="T24" fmla="*/ 159 w 310"/>
                <a:gd name="T25" fmla="*/ 32 h 364"/>
                <a:gd name="T26" fmla="*/ 154 w 310"/>
                <a:gd name="T27" fmla="*/ 21 h 364"/>
                <a:gd name="T28" fmla="*/ 154 w 310"/>
                <a:gd name="T29" fmla="*/ 33 h 364"/>
                <a:gd name="T30" fmla="*/ 155 w 310"/>
                <a:gd name="T31" fmla="*/ 45 h 364"/>
                <a:gd name="T32" fmla="*/ 154 w 310"/>
                <a:gd name="T33" fmla="*/ 52 h 364"/>
                <a:gd name="T34" fmla="*/ 156 w 310"/>
                <a:gd name="T35" fmla="*/ 66 h 364"/>
                <a:gd name="T36" fmla="*/ 147 w 310"/>
                <a:gd name="T37" fmla="*/ 63 h 364"/>
                <a:gd name="T38" fmla="*/ 139 w 310"/>
                <a:gd name="T39" fmla="*/ 82 h 364"/>
                <a:gd name="T40" fmla="*/ 132 w 310"/>
                <a:gd name="T41" fmla="*/ 71 h 364"/>
                <a:gd name="T42" fmla="*/ 130 w 310"/>
                <a:gd name="T43" fmla="*/ 73 h 364"/>
                <a:gd name="T44" fmla="*/ 110 w 310"/>
                <a:gd name="T45" fmla="*/ 74 h 364"/>
                <a:gd name="T46" fmla="*/ 111 w 310"/>
                <a:gd name="T47" fmla="*/ 69 h 364"/>
                <a:gd name="T48" fmla="*/ 113 w 310"/>
                <a:gd name="T49" fmla="*/ 58 h 364"/>
                <a:gd name="T50" fmla="*/ 106 w 310"/>
                <a:gd name="T51" fmla="*/ 47 h 364"/>
                <a:gd name="T52" fmla="*/ 101 w 310"/>
                <a:gd name="T53" fmla="*/ 36 h 364"/>
                <a:gd name="T54" fmla="*/ 97 w 310"/>
                <a:gd name="T55" fmla="*/ 27 h 364"/>
                <a:gd name="T56" fmla="*/ 88 w 310"/>
                <a:gd name="T57" fmla="*/ 24 h 364"/>
                <a:gd name="T58" fmla="*/ 74 w 310"/>
                <a:gd name="T59" fmla="*/ 21 h 364"/>
                <a:gd name="T60" fmla="*/ 68 w 310"/>
                <a:gd name="T61" fmla="*/ 16 h 364"/>
                <a:gd name="T62" fmla="*/ 57 w 310"/>
                <a:gd name="T63" fmla="*/ 6 h 364"/>
                <a:gd name="T64" fmla="*/ 33 w 310"/>
                <a:gd name="T65" fmla="*/ 8 h 364"/>
                <a:gd name="T66" fmla="*/ 8 w 310"/>
                <a:gd name="T67" fmla="*/ 7 h 364"/>
                <a:gd name="T68" fmla="*/ 11 w 310"/>
                <a:gd name="T69" fmla="*/ 31 h 364"/>
                <a:gd name="T70" fmla="*/ 13 w 310"/>
                <a:gd name="T71" fmla="*/ 53 h 364"/>
                <a:gd name="T72" fmla="*/ 20 w 310"/>
                <a:gd name="T73" fmla="*/ 65 h 364"/>
                <a:gd name="T74" fmla="*/ 16 w 310"/>
                <a:gd name="T75" fmla="*/ 74 h 364"/>
                <a:gd name="T76" fmla="*/ 13 w 310"/>
                <a:gd name="T77" fmla="*/ 90 h 364"/>
                <a:gd name="T78" fmla="*/ 16 w 310"/>
                <a:gd name="T79" fmla="*/ 100 h 364"/>
                <a:gd name="T80" fmla="*/ 42 w 310"/>
                <a:gd name="T81" fmla="*/ 126 h 364"/>
                <a:gd name="T82" fmla="*/ 26 w 310"/>
                <a:gd name="T83" fmla="*/ 178 h 364"/>
                <a:gd name="T84" fmla="*/ 18 w 310"/>
                <a:gd name="T85" fmla="*/ 191 h 364"/>
                <a:gd name="T86" fmla="*/ 25 w 310"/>
                <a:gd name="T87" fmla="*/ 199 h 364"/>
                <a:gd name="T88" fmla="*/ 28 w 310"/>
                <a:gd name="T89" fmla="*/ 208 h 364"/>
                <a:gd name="T90" fmla="*/ 32 w 310"/>
                <a:gd name="T91" fmla="*/ 219 h 364"/>
                <a:gd name="T92" fmla="*/ 38 w 310"/>
                <a:gd name="T93" fmla="*/ 229 h 364"/>
                <a:gd name="T94" fmla="*/ 36 w 310"/>
                <a:gd name="T95" fmla="*/ 247 h 364"/>
                <a:gd name="T96" fmla="*/ 31 w 310"/>
                <a:gd name="T97" fmla="*/ 262 h 364"/>
                <a:gd name="T98" fmla="*/ 81 w 310"/>
                <a:gd name="T99" fmla="*/ 356 h 364"/>
                <a:gd name="T100" fmla="*/ 105 w 310"/>
                <a:gd name="T101" fmla="*/ 363 h 364"/>
                <a:gd name="T102" fmla="*/ 130 w 310"/>
                <a:gd name="T103" fmla="*/ 355 h 364"/>
                <a:gd name="T104" fmla="*/ 167 w 310"/>
                <a:gd name="T105" fmla="*/ 306 h 364"/>
                <a:gd name="T106" fmla="*/ 156 w 310"/>
                <a:gd name="T107" fmla="*/ 288 h 364"/>
                <a:gd name="T108" fmla="*/ 180 w 310"/>
                <a:gd name="T109" fmla="*/ 271 h 364"/>
                <a:gd name="T110" fmla="*/ 197 w 310"/>
                <a:gd name="T111" fmla="*/ 251 h 364"/>
                <a:gd name="T112" fmla="*/ 207 w 310"/>
                <a:gd name="T113" fmla="*/ 234 h 364"/>
                <a:gd name="T114" fmla="*/ 244 w 310"/>
                <a:gd name="T115" fmla="*/ 221 h 364"/>
                <a:gd name="T116" fmla="*/ 264 w 310"/>
                <a:gd name="T117" fmla="*/ 217 h 364"/>
                <a:gd name="T118" fmla="*/ 280 w 310"/>
                <a:gd name="T119" fmla="*/ 208 h 364"/>
                <a:gd name="T120" fmla="*/ 288 w 310"/>
                <a:gd name="T121" fmla="*/ 198 h 364"/>
                <a:gd name="T122" fmla="*/ 290 w 310"/>
                <a:gd name="T123" fmla="*/ 187 h 364"/>
                <a:gd name="T124" fmla="*/ 302 w 310"/>
                <a:gd name="T125" fmla="*/ 17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0" h="364">
                  <a:moveTo>
                    <a:pt x="305" y="159"/>
                  </a:moveTo>
                  <a:cubicBezTo>
                    <a:pt x="279" y="170"/>
                    <a:pt x="252" y="180"/>
                    <a:pt x="225" y="189"/>
                  </a:cubicBezTo>
                  <a:cubicBezTo>
                    <a:pt x="224" y="189"/>
                    <a:pt x="224" y="189"/>
                    <a:pt x="224" y="189"/>
                  </a:cubicBezTo>
                  <a:cubicBezTo>
                    <a:pt x="224" y="189"/>
                    <a:pt x="224" y="189"/>
                    <a:pt x="224" y="189"/>
                  </a:cubicBezTo>
                  <a:cubicBezTo>
                    <a:pt x="223" y="188"/>
                    <a:pt x="223" y="188"/>
                    <a:pt x="223" y="188"/>
                  </a:cubicBezTo>
                  <a:cubicBezTo>
                    <a:pt x="224" y="188"/>
                    <a:pt x="224" y="188"/>
                    <a:pt x="224" y="188"/>
                  </a:cubicBezTo>
                  <a:cubicBezTo>
                    <a:pt x="224" y="188"/>
                    <a:pt x="225" y="188"/>
                    <a:pt x="225" y="188"/>
                  </a:cubicBezTo>
                  <a:cubicBezTo>
                    <a:pt x="226" y="188"/>
                    <a:pt x="226" y="188"/>
                    <a:pt x="226" y="188"/>
                  </a:cubicBezTo>
                  <a:cubicBezTo>
                    <a:pt x="226" y="188"/>
                    <a:pt x="226" y="188"/>
                    <a:pt x="226" y="188"/>
                  </a:cubicBezTo>
                  <a:cubicBezTo>
                    <a:pt x="226" y="188"/>
                    <a:pt x="226" y="188"/>
                    <a:pt x="226" y="188"/>
                  </a:cubicBezTo>
                  <a:cubicBezTo>
                    <a:pt x="226" y="187"/>
                    <a:pt x="226" y="187"/>
                    <a:pt x="226" y="187"/>
                  </a:cubicBezTo>
                  <a:cubicBezTo>
                    <a:pt x="225" y="187"/>
                    <a:pt x="225" y="187"/>
                    <a:pt x="225" y="187"/>
                  </a:cubicBezTo>
                  <a:cubicBezTo>
                    <a:pt x="225" y="187"/>
                    <a:pt x="225" y="187"/>
                    <a:pt x="225" y="187"/>
                  </a:cubicBezTo>
                  <a:cubicBezTo>
                    <a:pt x="225" y="186"/>
                    <a:pt x="225" y="186"/>
                    <a:pt x="225" y="186"/>
                  </a:cubicBezTo>
                  <a:cubicBezTo>
                    <a:pt x="224" y="185"/>
                    <a:pt x="224" y="185"/>
                    <a:pt x="224" y="185"/>
                  </a:cubicBezTo>
                  <a:cubicBezTo>
                    <a:pt x="224" y="185"/>
                    <a:pt x="224" y="185"/>
                    <a:pt x="224" y="185"/>
                  </a:cubicBezTo>
                  <a:cubicBezTo>
                    <a:pt x="223" y="184"/>
                    <a:pt x="223" y="184"/>
                    <a:pt x="223" y="184"/>
                  </a:cubicBezTo>
                  <a:cubicBezTo>
                    <a:pt x="223" y="184"/>
                    <a:pt x="223" y="184"/>
                    <a:pt x="223" y="184"/>
                  </a:cubicBezTo>
                  <a:cubicBezTo>
                    <a:pt x="223" y="184"/>
                    <a:pt x="223" y="184"/>
                    <a:pt x="223" y="184"/>
                  </a:cubicBezTo>
                  <a:cubicBezTo>
                    <a:pt x="222" y="184"/>
                    <a:pt x="222" y="184"/>
                    <a:pt x="222" y="184"/>
                  </a:cubicBezTo>
                  <a:cubicBezTo>
                    <a:pt x="222" y="183"/>
                    <a:pt x="222" y="183"/>
                    <a:pt x="222" y="183"/>
                  </a:cubicBezTo>
                  <a:cubicBezTo>
                    <a:pt x="222" y="183"/>
                    <a:pt x="222" y="183"/>
                    <a:pt x="222" y="183"/>
                  </a:cubicBezTo>
                  <a:cubicBezTo>
                    <a:pt x="223" y="183"/>
                    <a:pt x="223" y="183"/>
                    <a:pt x="223" y="183"/>
                  </a:cubicBezTo>
                  <a:cubicBezTo>
                    <a:pt x="223" y="183"/>
                    <a:pt x="223" y="183"/>
                    <a:pt x="223" y="183"/>
                  </a:cubicBezTo>
                  <a:cubicBezTo>
                    <a:pt x="223" y="183"/>
                    <a:pt x="223" y="183"/>
                    <a:pt x="223" y="183"/>
                  </a:cubicBezTo>
                  <a:cubicBezTo>
                    <a:pt x="222" y="183"/>
                    <a:pt x="222" y="183"/>
                    <a:pt x="222" y="183"/>
                  </a:cubicBezTo>
                  <a:cubicBezTo>
                    <a:pt x="222" y="183"/>
                    <a:pt x="222" y="183"/>
                    <a:pt x="222" y="183"/>
                  </a:cubicBezTo>
                  <a:cubicBezTo>
                    <a:pt x="221" y="183"/>
                    <a:pt x="221" y="183"/>
                    <a:pt x="221" y="183"/>
                  </a:cubicBezTo>
                  <a:cubicBezTo>
                    <a:pt x="221" y="183"/>
                    <a:pt x="221" y="183"/>
                    <a:pt x="221" y="183"/>
                  </a:cubicBezTo>
                  <a:cubicBezTo>
                    <a:pt x="221" y="183"/>
                    <a:pt x="221" y="183"/>
                    <a:pt x="221" y="183"/>
                  </a:cubicBezTo>
                  <a:cubicBezTo>
                    <a:pt x="221" y="183"/>
                    <a:pt x="221" y="183"/>
                    <a:pt x="221" y="183"/>
                  </a:cubicBezTo>
                  <a:cubicBezTo>
                    <a:pt x="220" y="183"/>
                    <a:pt x="220" y="183"/>
                    <a:pt x="220" y="183"/>
                  </a:cubicBezTo>
                  <a:cubicBezTo>
                    <a:pt x="219" y="183"/>
                    <a:pt x="219" y="183"/>
                    <a:pt x="219" y="183"/>
                  </a:cubicBezTo>
                  <a:cubicBezTo>
                    <a:pt x="219" y="183"/>
                    <a:pt x="219" y="183"/>
                    <a:pt x="219" y="182"/>
                  </a:cubicBezTo>
                  <a:cubicBezTo>
                    <a:pt x="218" y="182"/>
                    <a:pt x="218" y="182"/>
                    <a:pt x="218" y="182"/>
                  </a:cubicBezTo>
                  <a:cubicBezTo>
                    <a:pt x="218" y="182"/>
                    <a:pt x="218" y="182"/>
                    <a:pt x="218" y="182"/>
                  </a:cubicBezTo>
                  <a:cubicBezTo>
                    <a:pt x="218" y="182"/>
                    <a:pt x="218" y="182"/>
                    <a:pt x="218" y="182"/>
                  </a:cubicBezTo>
                  <a:cubicBezTo>
                    <a:pt x="218" y="182"/>
                    <a:pt x="218" y="182"/>
                    <a:pt x="218" y="182"/>
                  </a:cubicBezTo>
                  <a:cubicBezTo>
                    <a:pt x="218" y="181"/>
                    <a:pt x="218" y="181"/>
                    <a:pt x="218" y="181"/>
                  </a:cubicBezTo>
                  <a:cubicBezTo>
                    <a:pt x="218" y="181"/>
                    <a:pt x="218" y="181"/>
                    <a:pt x="218" y="181"/>
                  </a:cubicBezTo>
                  <a:cubicBezTo>
                    <a:pt x="218" y="180"/>
                    <a:pt x="218" y="180"/>
                    <a:pt x="218" y="180"/>
                  </a:cubicBezTo>
                  <a:cubicBezTo>
                    <a:pt x="218" y="180"/>
                    <a:pt x="218" y="180"/>
                    <a:pt x="218" y="179"/>
                  </a:cubicBezTo>
                  <a:cubicBezTo>
                    <a:pt x="218" y="179"/>
                    <a:pt x="218" y="179"/>
                    <a:pt x="218" y="179"/>
                  </a:cubicBezTo>
                  <a:cubicBezTo>
                    <a:pt x="218" y="179"/>
                    <a:pt x="218" y="179"/>
                    <a:pt x="218" y="179"/>
                  </a:cubicBezTo>
                  <a:cubicBezTo>
                    <a:pt x="219" y="178"/>
                    <a:pt x="219" y="178"/>
                    <a:pt x="219" y="178"/>
                  </a:cubicBezTo>
                  <a:cubicBezTo>
                    <a:pt x="219" y="178"/>
                    <a:pt x="219" y="178"/>
                    <a:pt x="219" y="178"/>
                  </a:cubicBezTo>
                  <a:cubicBezTo>
                    <a:pt x="219" y="177"/>
                    <a:pt x="219" y="177"/>
                    <a:pt x="219" y="177"/>
                  </a:cubicBezTo>
                  <a:cubicBezTo>
                    <a:pt x="220" y="177"/>
                    <a:pt x="220" y="177"/>
                    <a:pt x="220" y="177"/>
                  </a:cubicBezTo>
                  <a:cubicBezTo>
                    <a:pt x="220" y="177"/>
                    <a:pt x="220" y="177"/>
                    <a:pt x="220" y="177"/>
                  </a:cubicBezTo>
                  <a:cubicBezTo>
                    <a:pt x="221" y="177"/>
                    <a:pt x="222" y="176"/>
                    <a:pt x="223" y="175"/>
                  </a:cubicBezTo>
                  <a:cubicBezTo>
                    <a:pt x="224" y="175"/>
                    <a:pt x="224" y="175"/>
                    <a:pt x="224" y="175"/>
                  </a:cubicBezTo>
                  <a:cubicBezTo>
                    <a:pt x="224" y="175"/>
                    <a:pt x="224" y="175"/>
                    <a:pt x="224" y="175"/>
                  </a:cubicBezTo>
                  <a:cubicBezTo>
                    <a:pt x="225" y="175"/>
                    <a:pt x="225" y="175"/>
                    <a:pt x="225" y="175"/>
                  </a:cubicBezTo>
                  <a:cubicBezTo>
                    <a:pt x="225" y="175"/>
                    <a:pt x="225" y="175"/>
                    <a:pt x="225" y="175"/>
                  </a:cubicBezTo>
                  <a:cubicBezTo>
                    <a:pt x="225" y="174"/>
                    <a:pt x="225" y="174"/>
                    <a:pt x="225" y="174"/>
                  </a:cubicBezTo>
                  <a:cubicBezTo>
                    <a:pt x="224" y="174"/>
                    <a:pt x="224" y="174"/>
                    <a:pt x="224" y="174"/>
                  </a:cubicBezTo>
                  <a:cubicBezTo>
                    <a:pt x="224" y="174"/>
                    <a:pt x="224" y="174"/>
                    <a:pt x="224" y="174"/>
                  </a:cubicBezTo>
                  <a:cubicBezTo>
                    <a:pt x="223" y="174"/>
                    <a:pt x="223" y="174"/>
                    <a:pt x="223" y="174"/>
                  </a:cubicBezTo>
                  <a:cubicBezTo>
                    <a:pt x="223" y="174"/>
                    <a:pt x="223" y="174"/>
                    <a:pt x="223" y="174"/>
                  </a:cubicBezTo>
                  <a:cubicBezTo>
                    <a:pt x="223" y="174"/>
                    <a:pt x="223" y="174"/>
                    <a:pt x="223" y="174"/>
                  </a:cubicBezTo>
                  <a:cubicBezTo>
                    <a:pt x="223" y="173"/>
                    <a:pt x="223" y="173"/>
                    <a:pt x="223" y="173"/>
                  </a:cubicBezTo>
                  <a:cubicBezTo>
                    <a:pt x="222" y="173"/>
                    <a:pt x="222" y="173"/>
                    <a:pt x="222" y="173"/>
                  </a:cubicBezTo>
                  <a:cubicBezTo>
                    <a:pt x="222" y="173"/>
                    <a:pt x="222" y="173"/>
                    <a:pt x="222" y="173"/>
                  </a:cubicBezTo>
                  <a:cubicBezTo>
                    <a:pt x="221" y="173"/>
                    <a:pt x="221" y="173"/>
                    <a:pt x="221" y="173"/>
                  </a:cubicBezTo>
                  <a:cubicBezTo>
                    <a:pt x="221" y="173"/>
                    <a:pt x="221" y="173"/>
                    <a:pt x="221" y="173"/>
                  </a:cubicBezTo>
                  <a:cubicBezTo>
                    <a:pt x="221" y="173"/>
                    <a:pt x="221" y="173"/>
                    <a:pt x="221" y="173"/>
                  </a:cubicBezTo>
                  <a:cubicBezTo>
                    <a:pt x="221" y="172"/>
                    <a:pt x="221" y="172"/>
                    <a:pt x="221" y="172"/>
                  </a:cubicBezTo>
                  <a:cubicBezTo>
                    <a:pt x="221" y="171"/>
                    <a:pt x="221" y="171"/>
                    <a:pt x="221" y="171"/>
                  </a:cubicBezTo>
                  <a:cubicBezTo>
                    <a:pt x="220" y="172"/>
                    <a:pt x="220" y="172"/>
                    <a:pt x="220" y="172"/>
                  </a:cubicBezTo>
                  <a:cubicBezTo>
                    <a:pt x="220" y="173"/>
                    <a:pt x="220" y="173"/>
                    <a:pt x="220" y="173"/>
                  </a:cubicBezTo>
                  <a:cubicBezTo>
                    <a:pt x="220" y="174"/>
                    <a:pt x="220" y="174"/>
                    <a:pt x="220" y="174"/>
                  </a:cubicBezTo>
                  <a:cubicBezTo>
                    <a:pt x="219" y="174"/>
                    <a:pt x="219" y="174"/>
                    <a:pt x="219" y="174"/>
                  </a:cubicBezTo>
                  <a:cubicBezTo>
                    <a:pt x="217" y="176"/>
                    <a:pt x="217" y="176"/>
                    <a:pt x="217" y="176"/>
                  </a:cubicBezTo>
                  <a:cubicBezTo>
                    <a:pt x="216" y="176"/>
                    <a:pt x="216" y="176"/>
                    <a:pt x="216" y="176"/>
                  </a:cubicBezTo>
                  <a:cubicBezTo>
                    <a:pt x="216" y="176"/>
                    <a:pt x="216" y="176"/>
                    <a:pt x="216" y="176"/>
                  </a:cubicBezTo>
                  <a:cubicBezTo>
                    <a:pt x="216" y="177"/>
                    <a:pt x="216" y="177"/>
                    <a:pt x="216" y="177"/>
                  </a:cubicBezTo>
                  <a:cubicBezTo>
                    <a:pt x="215" y="177"/>
                    <a:pt x="215" y="177"/>
                    <a:pt x="215" y="177"/>
                  </a:cubicBezTo>
                  <a:cubicBezTo>
                    <a:pt x="215" y="178"/>
                    <a:pt x="215" y="178"/>
                    <a:pt x="215" y="178"/>
                  </a:cubicBezTo>
                  <a:cubicBezTo>
                    <a:pt x="216" y="179"/>
                    <a:pt x="216" y="179"/>
                    <a:pt x="216" y="179"/>
                  </a:cubicBezTo>
                  <a:cubicBezTo>
                    <a:pt x="216" y="180"/>
                    <a:pt x="216" y="180"/>
                    <a:pt x="216" y="180"/>
                  </a:cubicBezTo>
                  <a:cubicBezTo>
                    <a:pt x="216" y="180"/>
                    <a:pt x="216" y="180"/>
                    <a:pt x="216" y="180"/>
                  </a:cubicBezTo>
                  <a:cubicBezTo>
                    <a:pt x="216" y="180"/>
                    <a:pt x="216" y="180"/>
                    <a:pt x="216" y="180"/>
                  </a:cubicBezTo>
                  <a:cubicBezTo>
                    <a:pt x="217" y="181"/>
                    <a:pt x="217" y="181"/>
                    <a:pt x="217" y="181"/>
                  </a:cubicBezTo>
                  <a:cubicBezTo>
                    <a:pt x="217" y="181"/>
                    <a:pt x="217" y="182"/>
                    <a:pt x="217" y="182"/>
                  </a:cubicBezTo>
                  <a:cubicBezTo>
                    <a:pt x="218" y="183"/>
                    <a:pt x="218" y="183"/>
                    <a:pt x="218" y="183"/>
                  </a:cubicBezTo>
                  <a:cubicBezTo>
                    <a:pt x="218" y="184"/>
                    <a:pt x="218" y="184"/>
                    <a:pt x="218" y="184"/>
                  </a:cubicBezTo>
                  <a:cubicBezTo>
                    <a:pt x="218" y="185"/>
                    <a:pt x="218" y="185"/>
                    <a:pt x="218" y="185"/>
                  </a:cubicBezTo>
                  <a:cubicBezTo>
                    <a:pt x="217" y="185"/>
                    <a:pt x="217" y="185"/>
                    <a:pt x="217" y="185"/>
                  </a:cubicBezTo>
                  <a:cubicBezTo>
                    <a:pt x="217" y="186"/>
                    <a:pt x="217" y="186"/>
                    <a:pt x="217" y="186"/>
                  </a:cubicBezTo>
                  <a:cubicBezTo>
                    <a:pt x="218" y="187"/>
                    <a:pt x="218" y="187"/>
                    <a:pt x="218" y="187"/>
                  </a:cubicBezTo>
                  <a:cubicBezTo>
                    <a:pt x="218" y="188"/>
                    <a:pt x="218" y="188"/>
                    <a:pt x="218" y="188"/>
                  </a:cubicBezTo>
                  <a:cubicBezTo>
                    <a:pt x="219" y="188"/>
                    <a:pt x="219" y="188"/>
                    <a:pt x="219" y="188"/>
                  </a:cubicBezTo>
                  <a:cubicBezTo>
                    <a:pt x="219" y="189"/>
                    <a:pt x="219" y="189"/>
                    <a:pt x="219" y="189"/>
                  </a:cubicBezTo>
                  <a:cubicBezTo>
                    <a:pt x="218" y="189"/>
                    <a:pt x="218" y="189"/>
                    <a:pt x="218" y="189"/>
                  </a:cubicBezTo>
                  <a:cubicBezTo>
                    <a:pt x="218" y="189"/>
                    <a:pt x="218" y="189"/>
                    <a:pt x="218" y="189"/>
                  </a:cubicBezTo>
                  <a:cubicBezTo>
                    <a:pt x="218" y="190"/>
                    <a:pt x="218" y="190"/>
                    <a:pt x="218" y="190"/>
                  </a:cubicBezTo>
                  <a:cubicBezTo>
                    <a:pt x="218" y="191"/>
                    <a:pt x="218" y="191"/>
                    <a:pt x="218" y="191"/>
                  </a:cubicBezTo>
                  <a:cubicBezTo>
                    <a:pt x="219" y="191"/>
                    <a:pt x="219" y="191"/>
                    <a:pt x="219" y="191"/>
                  </a:cubicBezTo>
                  <a:cubicBezTo>
                    <a:pt x="219" y="192"/>
                    <a:pt x="219" y="192"/>
                    <a:pt x="219" y="192"/>
                  </a:cubicBezTo>
                  <a:cubicBezTo>
                    <a:pt x="219" y="192"/>
                    <a:pt x="219" y="192"/>
                    <a:pt x="219" y="192"/>
                  </a:cubicBezTo>
                  <a:cubicBezTo>
                    <a:pt x="218" y="192"/>
                    <a:pt x="218" y="192"/>
                    <a:pt x="218" y="192"/>
                  </a:cubicBezTo>
                  <a:cubicBezTo>
                    <a:pt x="217" y="191"/>
                    <a:pt x="217" y="191"/>
                    <a:pt x="217" y="191"/>
                  </a:cubicBezTo>
                  <a:cubicBezTo>
                    <a:pt x="217" y="192"/>
                    <a:pt x="217" y="192"/>
                    <a:pt x="217" y="192"/>
                  </a:cubicBezTo>
                  <a:cubicBezTo>
                    <a:pt x="218" y="194"/>
                    <a:pt x="218" y="194"/>
                    <a:pt x="218" y="194"/>
                  </a:cubicBezTo>
                  <a:cubicBezTo>
                    <a:pt x="219" y="194"/>
                    <a:pt x="219" y="195"/>
                    <a:pt x="219" y="195"/>
                  </a:cubicBezTo>
                  <a:cubicBezTo>
                    <a:pt x="220" y="196"/>
                    <a:pt x="220" y="196"/>
                    <a:pt x="220" y="196"/>
                  </a:cubicBezTo>
                  <a:cubicBezTo>
                    <a:pt x="220" y="196"/>
                    <a:pt x="220" y="196"/>
                    <a:pt x="220" y="197"/>
                  </a:cubicBezTo>
                  <a:cubicBezTo>
                    <a:pt x="220" y="197"/>
                    <a:pt x="220" y="197"/>
                    <a:pt x="220" y="198"/>
                  </a:cubicBezTo>
                  <a:cubicBezTo>
                    <a:pt x="220" y="198"/>
                    <a:pt x="220" y="198"/>
                    <a:pt x="220" y="198"/>
                  </a:cubicBezTo>
                  <a:cubicBezTo>
                    <a:pt x="219" y="199"/>
                    <a:pt x="219" y="199"/>
                    <a:pt x="219" y="199"/>
                  </a:cubicBezTo>
                  <a:cubicBezTo>
                    <a:pt x="219" y="199"/>
                    <a:pt x="219" y="199"/>
                    <a:pt x="219" y="199"/>
                  </a:cubicBezTo>
                  <a:cubicBezTo>
                    <a:pt x="218" y="200"/>
                    <a:pt x="218" y="200"/>
                    <a:pt x="218" y="200"/>
                  </a:cubicBezTo>
                  <a:cubicBezTo>
                    <a:pt x="218" y="200"/>
                    <a:pt x="218" y="200"/>
                    <a:pt x="218" y="201"/>
                  </a:cubicBezTo>
                  <a:cubicBezTo>
                    <a:pt x="218" y="200"/>
                    <a:pt x="217" y="200"/>
                    <a:pt x="217" y="200"/>
                  </a:cubicBezTo>
                  <a:cubicBezTo>
                    <a:pt x="217" y="200"/>
                    <a:pt x="216" y="199"/>
                    <a:pt x="216" y="199"/>
                  </a:cubicBezTo>
                  <a:cubicBezTo>
                    <a:pt x="215" y="199"/>
                    <a:pt x="215" y="199"/>
                    <a:pt x="215" y="199"/>
                  </a:cubicBezTo>
                  <a:cubicBezTo>
                    <a:pt x="215" y="198"/>
                    <a:pt x="214" y="198"/>
                    <a:pt x="214" y="198"/>
                  </a:cubicBezTo>
                  <a:cubicBezTo>
                    <a:pt x="213" y="198"/>
                    <a:pt x="213" y="198"/>
                    <a:pt x="213" y="198"/>
                  </a:cubicBezTo>
                  <a:cubicBezTo>
                    <a:pt x="212" y="199"/>
                    <a:pt x="212" y="199"/>
                    <a:pt x="212" y="199"/>
                  </a:cubicBezTo>
                  <a:cubicBezTo>
                    <a:pt x="212" y="199"/>
                    <a:pt x="212" y="199"/>
                    <a:pt x="212" y="199"/>
                  </a:cubicBezTo>
                  <a:cubicBezTo>
                    <a:pt x="212" y="200"/>
                    <a:pt x="212" y="200"/>
                    <a:pt x="212" y="200"/>
                  </a:cubicBezTo>
                  <a:cubicBezTo>
                    <a:pt x="211" y="200"/>
                    <a:pt x="211" y="200"/>
                    <a:pt x="211" y="200"/>
                  </a:cubicBezTo>
                  <a:cubicBezTo>
                    <a:pt x="211" y="199"/>
                    <a:pt x="211" y="199"/>
                    <a:pt x="211" y="199"/>
                  </a:cubicBezTo>
                  <a:cubicBezTo>
                    <a:pt x="210" y="200"/>
                    <a:pt x="210" y="200"/>
                    <a:pt x="210" y="200"/>
                  </a:cubicBezTo>
                  <a:cubicBezTo>
                    <a:pt x="209" y="200"/>
                    <a:pt x="209" y="200"/>
                    <a:pt x="209" y="200"/>
                  </a:cubicBezTo>
                  <a:cubicBezTo>
                    <a:pt x="209" y="200"/>
                    <a:pt x="209" y="200"/>
                    <a:pt x="209" y="200"/>
                  </a:cubicBezTo>
                  <a:cubicBezTo>
                    <a:pt x="209" y="199"/>
                    <a:pt x="209" y="199"/>
                    <a:pt x="209" y="199"/>
                  </a:cubicBezTo>
                  <a:cubicBezTo>
                    <a:pt x="208" y="199"/>
                    <a:pt x="208" y="199"/>
                    <a:pt x="208" y="199"/>
                  </a:cubicBezTo>
                  <a:cubicBezTo>
                    <a:pt x="208" y="199"/>
                    <a:pt x="208" y="199"/>
                    <a:pt x="208" y="199"/>
                  </a:cubicBezTo>
                  <a:cubicBezTo>
                    <a:pt x="207" y="198"/>
                    <a:pt x="207" y="198"/>
                    <a:pt x="207" y="198"/>
                  </a:cubicBezTo>
                  <a:cubicBezTo>
                    <a:pt x="207" y="198"/>
                    <a:pt x="207" y="198"/>
                    <a:pt x="207" y="198"/>
                  </a:cubicBezTo>
                  <a:cubicBezTo>
                    <a:pt x="206" y="199"/>
                    <a:pt x="206" y="199"/>
                    <a:pt x="206" y="199"/>
                  </a:cubicBezTo>
                  <a:cubicBezTo>
                    <a:pt x="206" y="199"/>
                    <a:pt x="206" y="199"/>
                    <a:pt x="206" y="199"/>
                  </a:cubicBezTo>
                  <a:cubicBezTo>
                    <a:pt x="206" y="199"/>
                    <a:pt x="206" y="199"/>
                    <a:pt x="206" y="199"/>
                  </a:cubicBezTo>
                  <a:cubicBezTo>
                    <a:pt x="205" y="198"/>
                    <a:pt x="205" y="198"/>
                    <a:pt x="205" y="198"/>
                  </a:cubicBezTo>
                  <a:cubicBezTo>
                    <a:pt x="205" y="197"/>
                    <a:pt x="205" y="197"/>
                    <a:pt x="205" y="197"/>
                  </a:cubicBezTo>
                  <a:cubicBezTo>
                    <a:pt x="205" y="197"/>
                    <a:pt x="205" y="197"/>
                    <a:pt x="205" y="197"/>
                  </a:cubicBezTo>
                  <a:cubicBezTo>
                    <a:pt x="205" y="196"/>
                    <a:pt x="205" y="196"/>
                    <a:pt x="205" y="196"/>
                  </a:cubicBezTo>
                  <a:cubicBezTo>
                    <a:pt x="205" y="196"/>
                    <a:pt x="205" y="196"/>
                    <a:pt x="205" y="196"/>
                  </a:cubicBezTo>
                  <a:cubicBezTo>
                    <a:pt x="204" y="196"/>
                    <a:pt x="204" y="196"/>
                    <a:pt x="204" y="196"/>
                  </a:cubicBezTo>
                  <a:cubicBezTo>
                    <a:pt x="204" y="196"/>
                    <a:pt x="204" y="196"/>
                    <a:pt x="204" y="196"/>
                  </a:cubicBezTo>
                  <a:cubicBezTo>
                    <a:pt x="204" y="196"/>
                    <a:pt x="204" y="196"/>
                    <a:pt x="204" y="196"/>
                  </a:cubicBezTo>
                  <a:cubicBezTo>
                    <a:pt x="203" y="195"/>
                    <a:pt x="203" y="195"/>
                    <a:pt x="203" y="194"/>
                  </a:cubicBezTo>
                  <a:cubicBezTo>
                    <a:pt x="203" y="195"/>
                    <a:pt x="203" y="195"/>
                    <a:pt x="203" y="195"/>
                  </a:cubicBezTo>
                  <a:cubicBezTo>
                    <a:pt x="202" y="196"/>
                    <a:pt x="202" y="196"/>
                    <a:pt x="202" y="196"/>
                  </a:cubicBezTo>
                  <a:cubicBezTo>
                    <a:pt x="202" y="196"/>
                    <a:pt x="202" y="196"/>
                    <a:pt x="202" y="196"/>
                  </a:cubicBezTo>
                  <a:cubicBezTo>
                    <a:pt x="202" y="197"/>
                    <a:pt x="202" y="197"/>
                    <a:pt x="202" y="197"/>
                  </a:cubicBezTo>
                  <a:cubicBezTo>
                    <a:pt x="201" y="197"/>
                    <a:pt x="201" y="197"/>
                    <a:pt x="201" y="197"/>
                  </a:cubicBezTo>
                  <a:cubicBezTo>
                    <a:pt x="201" y="197"/>
                    <a:pt x="201" y="197"/>
                    <a:pt x="201" y="197"/>
                  </a:cubicBezTo>
                  <a:cubicBezTo>
                    <a:pt x="201" y="196"/>
                    <a:pt x="201" y="196"/>
                    <a:pt x="201" y="196"/>
                  </a:cubicBezTo>
                  <a:cubicBezTo>
                    <a:pt x="201" y="195"/>
                    <a:pt x="201" y="195"/>
                    <a:pt x="201" y="195"/>
                  </a:cubicBezTo>
                  <a:cubicBezTo>
                    <a:pt x="200" y="195"/>
                    <a:pt x="200" y="195"/>
                    <a:pt x="200" y="195"/>
                  </a:cubicBezTo>
                  <a:cubicBezTo>
                    <a:pt x="200" y="195"/>
                    <a:pt x="200" y="195"/>
                    <a:pt x="200" y="196"/>
                  </a:cubicBezTo>
                  <a:cubicBezTo>
                    <a:pt x="200" y="196"/>
                    <a:pt x="200" y="196"/>
                    <a:pt x="200" y="196"/>
                  </a:cubicBezTo>
                  <a:cubicBezTo>
                    <a:pt x="199" y="196"/>
                    <a:pt x="199" y="195"/>
                    <a:pt x="199" y="195"/>
                  </a:cubicBezTo>
                  <a:cubicBezTo>
                    <a:pt x="198" y="196"/>
                    <a:pt x="198" y="196"/>
                    <a:pt x="198" y="196"/>
                  </a:cubicBezTo>
                  <a:cubicBezTo>
                    <a:pt x="198" y="196"/>
                    <a:pt x="198" y="196"/>
                    <a:pt x="198" y="196"/>
                  </a:cubicBezTo>
                  <a:cubicBezTo>
                    <a:pt x="197" y="196"/>
                    <a:pt x="197" y="196"/>
                    <a:pt x="197" y="196"/>
                  </a:cubicBezTo>
                  <a:cubicBezTo>
                    <a:pt x="197" y="197"/>
                    <a:pt x="197" y="197"/>
                    <a:pt x="197" y="197"/>
                  </a:cubicBezTo>
                  <a:cubicBezTo>
                    <a:pt x="197" y="197"/>
                    <a:pt x="197" y="197"/>
                    <a:pt x="197" y="197"/>
                  </a:cubicBezTo>
                  <a:cubicBezTo>
                    <a:pt x="196" y="197"/>
                    <a:pt x="196" y="197"/>
                    <a:pt x="196" y="197"/>
                  </a:cubicBezTo>
                  <a:cubicBezTo>
                    <a:pt x="195" y="197"/>
                    <a:pt x="195" y="197"/>
                    <a:pt x="195" y="197"/>
                  </a:cubicBezTo>
                  <a:cubicBezTo>
                    <a:pt x="195" y="196"/>
                    <a:pt x="195" y="196"/>
                    <a:pt x="195" y="196"/>
                  </a:cubicBezTo>
                  <a:cubicBezTo>
                    <a:pt x="195" y="195"/>
                    <a:pt x="195" y="195"/>
                    <a:pt x="195" y="195"/>
                  </a:cubicBezTo>
                  <a:cubicBezTo>
                    <a:pt x="194" y="195"/>
                    <a:pt x="194" y="195"/>
                    <a:pt x="194" y="195"/>
                  </a:cubicBezTo>
                  <a:cubicBezTo>
                    <a:pt x="194" y="195"/>
                    <a:pt x="194" y="195"/>
                    <a:pt x="194" y="195"/>
                  </a:cubicBezTo>
                  <a:cubicBezTo>
                    <a:pt x="193" y="195"/>
                    <a:pt x="193" y="195"/>
                    <a:pt x="193" y="195"/>
                  </a:cubicBezTo>
                  <a:cubicBezTo>
                    <a:pt x="193" y="194"/>
                    <a:pt x="193" y="194"/>
                    <a:pt x="193" y="194"/>
                  </a:cubicBezTo>
                  <a:cubicBezTo>
                    <a:pt x="193" y="194"/>
                    <a:pt x="192" y="194"/>
                    <a:pt x="192" y="193"/>
                  </a:cubicBezTo>
                  <a:cubicBezTo>
                    <a:pt x="192" y="193"/>
                    <a:pt x="192" y="193"/>
                    <a:pt x="192" y="193"/>
                  </a:cubicBezTo>
                  <a:cubicBezTo>
                    <a:pt x="192" y="194"/>
                    <a:pt x="192" y="194"/>
                    <a:pt x="192" y="194"/>
                  </a:cubicBezTo>
                  <a:cubicBezTo>
                    <a:pt x="192" y="194"/>
                    <a:pt x="192" y="194"/>
                    <a:pt x="192" y="194"/>
                  </a:cubicBezTo>
                  <a:cubicBezTo>
                    <a:pt x="192" y="195"/>
                    <a:pt x="192" y="195"/>
                    <a:pt x="192" y="195"/>
                  </a:cubicBezTo>
                  <a:cubicBezTo>
                    <a:pt x="193" y="196"/>
                    <a:pt x="193" y="196"/>
                    <a:pt x="193" y="196"/>
                  </a:cubicBezTo>
                  <a:cubicBezTo>
                    <a:pt x="193" y="197"/>
                    <a:pt x="193" y="197"/>
                    <a:pt x="193" y="197"/>
                  </a:cubicBezTo>
                  <a:cubicBezTo>
                    <a:pt x="192" y="197"/>
                    <a:pt x="192" y="197"/>
                    <a:pt x="192" y="197"/>
                  </a:cubicBezTo>
                  <a:cubicBezTo>
                    <a:pt x="192" y="197"/>
                    <a:pt x="192" y="197"/>
                    <a:pt x="192" y="197"/>
                  </a:cubicBezTo>
                  <a:cubicBezTo>
                    <a:pt x="191" y="197"/>
                    <a:pt x="191" y="197"/>
                    <a:pt x="191" y="196"/>
                  </a:cubicBezTo>
                  <a:cubicBezTo>
                    <a:pt x="191" y="196"/>
                    <a:pt x="191" y="196"/>
                    <a:pt x="191" y="196"/>
                  </a:cubicBezTo>
                  <a:cubicBezTo>
                    <a:pt x="190" y="195"/>
                    <a:pt x="190" y="195"/>
                    <a:pt x="190" y="195"/>
                  </a:cubicBezTo>
                  <a:cubicBezTo>
                    <a:pt x="190" y="195"/>
                    <a:pt x="190" y="195"/>
                    <a:pt x="190" y="195"/>
                  </a:cubicBezTo>
                  <a:cubicBezTo>
                    <a:pt x="190" y="195"/>
                    <a:pt x="190" y="194"/>
                    <a:pt x="189" y="194"/>
                  </a:cubicBezTo>
                  <a:cubicBezTo>
                    <a:pt x="189" y="194"/>
                    <a:pt x="189" y="194"/>
                    <a:pt x="189" y="193"/>
                  </a:cubicBezTo>
                  <a:cubicBezTo>
                    <a:pt x="189" y="193"/>
                    <a:pt x="189" y="193"/>
                    <a:pt x="189" y="192"/>
                  </a:cubicBezTo>
                  <a:cubicBezTo>
                    <a:pt x="190" y="192"/>
                    <a:pt x="190" y="192"/>
                    <a:pt x="190" y="192"/>
                  </a:cubicBezTo>
                  <a:cubicBezTo>
                    <a:pt x="191" y="192"/>
                    <a:pt x="191" y="192"/>
                    <a:pt x="191" y="192"/>
                  </a:cubicBezTo>
                  <a:cubicBezTo>
                    <a:pt x="190" y="192"/>
                    <a:pt x="190" y="192"/>
                    <a:pt x="190" y="192"/>
                  </a:cubicBezTo>
                  <a:cubicBezTo>
                    <a:pt x="190" y="191"/>
                    <a:pt x="190" y="191"/>
                    <a:pt x="190" y="191"/>
                  </a:cubicBezTo>
                  <a:cubicBezTo>
                    <a:pt x="189" y="190"/>
                    <a:pt x="189" y="190"/>
                    <a:pt x="189" y="190"/>
                  </a:cubicBezTo>
                  <a:cubicBezTo>
                    <a:pt x="189" y="190"/>
                    <a:pt x="189" y="190"/>
                    <a:pt x="189" y="190"/>
                  </a:cubicBezTo>
                  <a:cubicBezTo>
                    <a:pt x="189" y="189"/>
                    <a:pt x="189" y="189"/>
                    <a:pt x="189" y="189"/>
                  </a:cubicBezTo>
                  <a:cubicBezTo>
                    <a:pt x="189" y="189"/>
                    <a:pt x="189" y="188"/>
                    <a:pt x="188" y="188"/>
                  </a:cubicBezTo>
                  <a:cubicBezTo>
                    <a:pt x="188" y="187"/>
                    <a:pt x="188" y="187"/>
                    <a:pt x="188" y="187"/>
                  </a:cubicBezTo>
                  <a:cubicBezTo>
                    <a:pt x="188" y="186"/>
                    <a:pt x="188" y="186"/>
                    <a:pt x="188" y="186"/>
                  </a:cubicBezTo>
                  <a:cubicBezTo>
                    <a:pt x="189" y="187"/>
                    <a:pt x="189" y="187"/>
                    <a:pt x="189" y="187"/>
                  </a:cubicBezTo>
                  <a:cubicBezTo>
                    <a:pt x="190" y="187"/>
                    <a:pt x="190" y="187"/>
                    <a:pt x="190" y="187"/>
                  </a:cubicBezTo>
                  <a:cubicBezTo>
                    <a:pt x="189" y="187"/>
                    <a:pt x="189" y="187"/>
                    <a:pt x="189" y="187"/>
                  </a:cubicBezTo>
                  <a:cubicBezTo>
                    <a:pt x="188" y="185"/>
                    <a:pt x="188" y="185"/>
                    <a:pt x="188" y="185"/>
                  </a:cubicBezTo>
                  <a:cubicBezTo>
                    <a:pt x="188" y="185"/>
                    <a:pt x="188" y="185"/>
                    <a:pt x="188" y="185"/>
                  </a:cubicBezTo>
                  <a:cubicBezTo>
                    <a:pt x="187" y="184"/>
                    <a:pt x="187" y="184"/>
                    <a:pt x="187" y="184"/>
                  </a:cubicBezTo>
                  <a:cubicBezTo>
                    <a:pt x="187" y="183"/>
                    <a:pt x="187" y="183"/>
                    <a:pt x="187" y="183"/>
                  </a:cubicBezTo>
                  <a:cubicBezTo>
                    <a:pt x="187" y="182"/>
                    <a:pt x="187" y="182"/>
                    <a:pt x="187" y="182"/>
                  </a:cubicBezTo>
                  <a:cubicBezTo>
                    <a:pt x="187" y="182"/>
                    <a:pt x="187" y="182"/>
                    <a:pt x="187" y="182"/>
                  </a:cubicBezTo>
                  <a:cubicBezTo>
                    <a:pt x="188" y="182"/>
                    <a:pt x="188" y="182"/>
                    <a:pt x="188" y="182"/>
                  </a:cubicBezTo>
                  <a:cubicBezTo>
                    <a:pt x="188" y="182"/>
                    <a:pt x="188" y="183"/>
                    <a:pt x="188" y="183"/>
                  </a:cubicBezTo>
                  <a:cubicBezTo>
                    <a:pt x="188" y="182"/>
                    <a:pt x="188" y="182"/>
                    <a:pt x="188" y="182"/>
                  </a:cubicBezTo>
                  <a:cubicBezTo>
                    <a:pt x="188" y="182"/>
                    <a:pt x="188" y="182"/>
                    <a:pt x="188" y="181"/>
                  </a:cubicBezTo>
                  <a:cubicBezTo>
                    <a:pt x="187" y="181"/>
                    <a:pt x="187" y="181"/>
                    <a:pt x="187" y="181"/>
                  </a:cubicBezTo>
                  <a:cubicBezTo>
                    <a:pt x="186" y="180"/>
                    <a:pt x="186" y="180"/>
                    <a:pt x="186" y="180"/>
                  </a:cubicBezTo>
                  <a:cubicBezTo>
                    <a:pt x="185" y="179"/>
                    <a:pt x="185" y="179"/>
                    <a:pt x="185" y="179"/>
                  </a:cubicBezTo>
                  <a:cubicBezTo>
                    <a:pt x="185" y="179"/>
                    <a:pt x="185" y="179"/>
                    <a:pt x="185" y="179"/>
                  </a:cubicBezTo>
                  <a:cubicBezTo>
                    <a:pt x="185" y="180"/>
                    <a:pt x="185" y="180"/>
                    <a:pt x="185" y="180"/>
                  </a:cubicBezTo>
                  <a:cubicBezTo>
                    <a:pt x="185" y="181"/>
                    <a:pt x="185" y="181"/>
                    <a:pt x="185" y="181"/>
                  </a:cubicBezTo>
                  <a:cubicBezTo>
                    <a:pt x="185" y="181"/>
                    <a:pt x="185" y="181"/>
                    <a:pt x="184" y="182"/>
                  </a:cubicBezTo>
                  <a:cubicBezTo>
                    <a:pt x="184" y="182"/>
                    <a:pt x="184" y="182"/>
                    <a:pt x="184" y="182"/>
                  </a:cubicBezTo>
                  <a:cubicBezTo>
                    <a:pt x="184" y="183"/>
                    <a:pt x="184" y="183"/>
                    <a:pt x="184" y="183"/>
                  </a:cubicBezTo>
                  <a:cubicBezTo>
                    <a:pt x="184" y="184"/>
                    <a:pt x="184" y="184"/>
                    <a:pt x="184" y="184"/>
                  </a:cubicBezTo>
                  <a:cubicBezTo>
                    <a:pt x="184" y="185"/>
                    <a:pt x="184" y="185"/>
                    <a:pt x="184" y="185"/>
                  </a:cubicBezTo>
                  <a:cubicBezTo>
                    <a:pt x="184" y="185"/>
                    <a:pt x="184" y="185"/>
                    <a:pt x="184" y="186"/>
                  </a:cubicBezTo>
                  <a:cubicBezTo>
                    <a:pt x="183" y="186"/>
                    <a:pt x="183" y="186"/>
                    <a:pt x="183" y="186"/>
                  </a:cubicBezTo>
                  <a:cubicBezTo>
                    <a:pt x="183" y="186"/>
                    <a:pt x="183" y="186"/>
                    <a:pt x="183" y="186"/>
                  </a:cubicBezTo>
                  <a:cubicBezTo>
                    <a:pt x="183" y="187"/>
                    <a:pt x="183" y="187"/>
                    <a:pt x="183" y="187"/>
                  </a:cubicBezTo>
                  <a:cubicBezTo>
                    <a:pt x="183" y="187"/>
                    <a:pt x="183" y="187"/>
                    <a:pt x="183" y="188"/>
                  </a:cubicBezTo>
                  <a:cubicBezTo>
                    <a:pt x="183" y="188"/>
                    <a:pt x="183" y="188"/>
                    <a:pt x="183" y="188"/>
                  </a:cubicBezTo>
                  <a:cubicBezTo>
                    <a:pt x="183" y="188"/>
                    <a:pt x="183" y="188"/>
                    <a:pt x="183" y="188"/>
                  </a:cubicBezTo>
                  <a:cubicBezTo>
                    <a:pt x="182" y="187"/>
                    <a:pt x="182" y="187"/>
                    <a:pt x="182" y="187"/>
                  </a:cubicBezTo>
                  <a:cubicBezTo>
                    <a:pt x="182" y="187"/>
                    <a:pt x="182" y="187"/>
                    <a:pt x="182" y="187"/>
                  </a:cubicBezTo>
                  <a:cubicBezTo>
                    <a:pt x="182" y="187"/>
                    <a:pt x="182" y="188"/>
                    <a:pt x="182" y="188"/>
                  </a:cubicBezTo>
                  <a:cubicBezTo>
                    <a:pt x="182" y="188"/>
                    <a:pt x="182" y="188"/>
                    <a:pt x="182" y="188"/>
                  </a:cubicBezTo>
                  <a:cubicBezTo>
                    <a:pt x="182" y="188"/>
                    <a:pt x="182" y="188"/>
                    <a:pt x="182" y="188"/>
                  </a:cubicBezTo>
                  <a:cubicBezTo>
                    <a:pt x="181" y="187"/>
                    <a:pt x="181" y="187"/>
                    <a:pt x="181" y="187"/>
                  </a:cubicBezTo>
                  <a:cubicBezTo>
                    <a:pt x="180" y="187"/>
                    <a:pt x="180" y="187"/>
                    <a:pt x="180" y="187"/>
                  </a:cubicBezTo>
                  <a:cubicBezTo>
                    <a:pt x="180" y="187"/>
                    <a:pt x="180" y="187"/>
                    <a:pt x="179" y="187"/>
                  </a:cubicBezTo>
                  <a:cubicBezTo>
                    <a:pt x="179" y="186"/>
                    <a:pt x="179" y="186"/>
                    <a:pt x="179" y="186"/>
                  </a:cubicBezTo>
                  <a:cubicBezTo>
                    <a:pt x="179" y="185"/>
                    <a:pt x="179" y="185"/>
                    <a:pt x="179" y="185"/>
                  </a:cubicBezTo>
                  <a:cubicBezTo>
                    <a:pt x="178" y="185"/>
                    <a:pt x="178" y="185"/>
                    <a:pt x="178" y="185"/>
                  </a:cubicBezTo>
                  <a:cubicBezTo>
                    <a:pt x="178" y="185"/>
                    <a:pt x="178" y="185"/>
                    <a:pt x="178" y="185"/>
                  </a:cubicBezTo>
                  <a:cubicBezTo>
                    <a:pt x="178" y="186"/>
                    <a:pt x="178" y="186"/>
                    <a:pt x="178" y="186"/>
                  </a:cubicBezTo>
                  <a:cubicBezTo>
                    <a:pt x="177" y="186"/>
                    <a:pt x="177" y="186"/>
                    <a:pt x="177" y="186"/>
                  </a:cubicBezTo>
                  <a:cubicBezTo>
                    <a:pt x="176" y="186"/>
                    <a:pt x="176" y="186"/>
                    <a:pt x="176" y="186"/>
                  </a:cubicBezTo>
                  <a:cubicBezTo>
                    <a:pt x="176" y="186"/>
                    <a:pt x="176" y="186"/>
                    <a:pt x="176" y="186"/>
                  </a:cubicBezTo>
                  <a:cubicBezTo>
                    <a:pt x="175" y="185"/>
                    <a:pt x="175" y="185"/>
                    <a:pt x="175" y="185"/>
                  </a:cubicBezTo>
                  <a:cubicBezTo>
                    <a:pt x="175" y="184"/>
                    <a:pt x="175" y="184"/>
                    <a:pt x="175" y="184"/>
                  </a:cubicBezTo>
                  <a:cubicBezTo>
                    <a:pt x="175" y="184"/>
                    <a:pt x="175" y="184"/>
                    <a:pt x="175" y="184"/>
                  </a:cubicBezTo>
                  <a:cubicBezTo>
                    <a:pt x="174" y="183"/>
                    <a:pt x="174" y="183"/>
                    <a:pt x="174" y="183"/>
                  </a:cubicBezTo>
                  <a:cubicBezTo>
                    <a:pt x="173" y="181"/>
                    <a:pt x="173" y="181"/>
                    <a:pt x="173" y="181"/>
                  </a:cubicBezTo>
                  <a:cubicBezTo>
                    <a:pt x="173" y="181"/>
                    <a:pt x="173" y="181"/>
                    <a:pt x="173" y="181"/>
                  </a:cubicBezTo>
                  <a:cubicBezTo>
                    <a:pt x="174" y="181"/>
                    <a:pt x="174" y="181"/>
                    <a:pt x="174" y="181"/>
                  </a:cubicBezTo>
                  <a:cubicBezTo>
                    <a:pt x="174" y="180"/>
                    <a:pt x="174" y="180"/>
                    <a:pt x="174" y="180"/>
                  </a:cubicBezTo>
                  <a:cubicBezTo>
                    <a:pt x="175" y="180"/>
                    <a:pt x="175" y="180"/>
                    <a:pt x="175" y="180"/>
                  </a:cubicBezTo>
                  <a:cubicBezTo>
                    <a:pt x="175" y="180"/>
                    <a:pt x="175" y="180"/>
                    <a:pt x="175" y="180"/>
                  </a:cubicBezTo>
                  <a:cubicBezTo>
                    <a:pt x="176" y="180"/>
                    <a:pt x="176" y="180"/>
                    <a:pt x="176" y="180"/>
                  </a:cubicBezTo>
                  <a:cubicBezTo>
                    <a:pt x="176" y="180"/>
                    <a:pt x="176" y="180"/>
                    <a:pt x="176" y="180"/>
                  </a:cubicBezTo>
                  <a:cubicBezTo>
                    <a:pt x="177" y="180"/>
                    <a:pt x="177" y="180"/>
                    <a:pt x="177" y="180"/>
                  </a:cubicBezTo>
                  <a:cubicBezTo>
                    <a:pt x="177" y="180"/>
                    <a:pt x="177" y="180"/>
                    <a:pt x="177" y="180"/>
                  </a:cubicBezTo>
                  <a:cubicBezTo>
                    <a:pt x="178" y="181"/>
                    <a:pt x="178" y="181"/>
                    <a:pt x="178" y="181"/>
                  </a:cubicBezTo>
                  <a:cubicBezTo>
                    <a:pt x="178" y="180"/>
                    <a:pt x="178" y="180"/>
                    <a:pt x="178" y="180"/>
                  </a:cubicBezTo>
                  <a:cubicBezTo>
                    <a:pt x="178" y="180"/>
                    <a:pt x="178" y="180"/>
                    <a:pt x="178" y="180"/>
                  </a:cubicBezTo>
                  <a:cubicBezTo>
                    <a:pt x="178" y="179"/>
                    <a:pt x="178" y="179"/>
                    <a:pt x="178" y="179"/>
                  </a:cubicBezTo>
                  <a:cubicBezTo>
                    <a:pt x="178" y="179"/>
                    <a:pt x="178" y="179"/>
                    <a:pt x="178" y="179"/>
                  </a:cubicBezTo>
                  <a:cubicBezTo>
                    <a:pt x="178" y="178"/>
                    <a:pt x="178" y="178"/>
                    <a:pt x="178" y="178"/>
                  </a:cubicBezTo>
                  <a:cubicBezTo>
                    <a:pt x="178" y="178"/>
                    <a:pt x="178" y="178"/>
                    <a:pt x="178" y="178"/>
                  </a:cubicBezTo>
                  <a:cubicBezTo>
                    <a:pt x="178" y="178"/>
                    <a:pt x="178" y="178"/>
                    <a:pt x="178" y="178"/>
                  </a:cubicBezTo>
                  <a:cubicBezTo>
                    <a:pt x="178" y="177"/>
                    <a:pt x="177" y="177"/>
                    <a:pt x="177" y="176"/>
                  </a:cubicBezTo>
                  <a:cubicBezTo>
                    <a:pt x="177" y="175"/>
                    <a:pt x="177" y="175"/>
                    <a:pt x="177" y="175"/>
                  </a:cubicBezTo>
                  <a:cubicBezTo>
                    <a:pt x="176" y="175"/>
                    <a:pt x="176" y="175"/>
                    <a:pt x="176" y="175"/>
                  </a:cubicBezTo>
                  <a:cubicBezTo>
                    <a:pt x="176" y="174"/>
                    <a:pt x="176" y="174"/>
                    <a:pt x="176" y="174"/>
                  </a:cubicBezTo>
                  <a:cubicBezTo>
                    <a:pt x="177" y="174"/>
                    <a:pt x="177" y="174"/>
                    <a:pt x="177" y="174"/>
                  </a:cubicBezTo>
                  <a:cubicBezTo>
                    <a:pt x="177" y="173"/>
                    <a:pt x="177" y="173"/>
                    <a:pt x="177" y="173"/>
                  </a:cubicBezTo>
                  <a:cubicBezTo>
                    <a:pt x="177" y="173"/>
                    <a:pt x="177" y="173"/>
                    <a:pt x="177" y="173"/>
                  </a:cubicBezTo>
                  <a:cubicBezTo>
                    <a:pt x="176" y="172"/>
                    <a:pt x="176" y="172"/>
                    <a:pt x="176" y="172"/>
                  </a:cubicBezTo>
                  <a:cubicBezTo>
                    <a:pt x="175" y="172"/>
                    <a:pt x="175" y="172"/>
                    <a:pt x="175" y="172"/>
                  </a:cubicBezTo>
                  <a:cubicBezTo>
                    <a:pt x="174" y="172"/>
                    <a:pt x="174" y="172"/>
                    <a:pt x="174" y="172"/>
                  </a:cubicBezTo>
                  <a:cubicBezTo>
                    <a:pt x="174" y="172"/>
                    <a:pt x="173" y="172"/>
                    <a:pt x="173" y="172"/>
                  </a:cubicBezTo>
                  <a:cubicBezTo>
                    <a:pt x="171" y="172"/>
                    <a:pt x="171" y="172"/>
                    <a:pt x="171" y="172"/>
                  </a:cubicBezTo>
                  <a:cubicBezTo>
                    <a:pt x="171" y="172"/>
                    <a:pt x="171" y="172"/>
                    <a:pt x="171" y="171"/>
                  </a:cubicBezTo>
                  <a:cubicBezTo>
                    <a:pt x="170" y="171"/>
                    <a:pt x="170" y="171"/>
                    <a:pt x="170" y="171"/>
                  </a:cubicBezTo>
                  <a:cubicBezTo>
                    <a:pt x="169" y="170"/>
                    <a:pt x="169" y="170"/>
                    <a:pt x="169" y="170"/>
                  </a:cubicBezTo>
                  <a:cubicBezTo>
                    <a:pt x="169" y="169"/>
                    <a:pt x="169" y="169"/>
                    <a:pt x="169" y="169"/>
                  </a:cubicBezTo>
                  <a:cubicBezTo>
                    <a:pt x="168" y="169"/>
                    <a:pt x="168" y="169"/>
                    <a:pt x="168" y="169"/>
                  </a:cubicBezTo>
                  <a:cubicBezTo>
                    <a:pt x="167" y="169"/>
                    <a:pt x="167" y="169"/>
                    <a:pt x="167" y="169"/>
                  </a:cubicBezTo>
                  <a:cubicBezTo>
                    <a:pt x="167" y="169"/>
                    <a:pt x="167" y="169"/>
                    <a:pt x="167" y="169"/>
                  </a:cubicBezTo>
                  <a:cubicBezTo>
                    <a:pt x="166" y="168"/>
                    <a:pt x="166" y="168"/>
                    <a:pt x="166" y="168"/>
                  </a:cubicBezTo>
                  <a:cubicBezTo>
                    <a:pt x="167" y="168"/>
                    <a:pt x="167" y="168"/>
                    <a:pt x="167" y="168"/>
                  </a:cubicBezTo>
                  <a:cubicBezTo>
                    <a:pt x="167" y="168"/>
                    <a:pt x="167" y="168"/>
                    <a:pt x="167" y="168"/>
                  </a:cubicBezTo>
                  <a:cubicBezTo>
                    <a:pt x="167" y="167"/>
                    <a:pt x="167" y="167"/>
                    <a:pt x="167" y="167"/>
                  </a:cubicBezTo>
                  <a:cubicBezTo>
                    <a:pt x="167" y="167"/>
                    <a:pt x="167" y="167"/>
                    <a:pt x="167" y="167"/>
                  </a:cubicBezTo>
                  <a:cubicBezTo>
                    <a:pt x="166" y="167"/>
                    <a:pt x="166" y="167"/>
                    <a:pt x="166" y="167"/>
                  </a:cubicBezTo>
                  <a:cubicBezTo>
                    <a:pt x="166" y="167"/>
                    <a:pt x="166" y="167"/>
                    <a:pt x="166" y="167"/>
                  </a:cubicBezTo>
                  <a:cubicBezTo>
                    <a:pt x="166" y="166"/>
                    <a:pt x="166" y="166"/>
                    <a:pt x="166" y="166"/>
                  </a:cubicBezTo>
                  <a:cubicBezTo>
                    <a:pt x="165" y="166"/>
                    <a:pt x="165" y="166"/>
                    <a:pt x="165" y="166"/>
                  </a:cubicBezTo>
                  <a:cubicBezTo>
                    <a:pt x="165" y="165"/>
                    <a:pt x="165" y="165"/>
                    <a:pt x="165" y="165"/>
                  </a:cubicBezTo>
                  <a:cubicBezTo>
                    <a:pt x="164" y="165"/>
                    <a:pt x="164" y="165"/>
                    <a:pt x="164" y="165"/>
                  </a:cubicBezTo>
                  <a:cubicBezTo>
                    <a:pt x="163" y="165"/>
                    <a:pt x="163" y="165"/>
                    <a:pt x="163" y="165"/>
                  </a:cubicBezTo>
                  <a:cubicBezTo>
                    <a:pt x="163" y="164"/>
                    <a:pt x="163" y="164"/>
                    <a:pt x="163" y="164"/>
                  </a:cubicBezTo>
                  <a:cubicBezTo>
                    <a:pt x="162" y="164"/>
                    <a:pt x="162" y="164"/>
                    <a:pt x="162" y="164"/>
                  </a:cubicBezTo>
                  <a:cubicBezTo>
                    <a:pt x="162" y="163"/>
                    <a:pt x="162" y="163"/>
                    <a:pt x="162" y="163"/>
                  </a:cubicBezTo>
                  <a:cubicBezTo>
                    <a:pt x="162" y="163"/>
                    <a:pt x="162" y="163"/>
                    <a:pt x="162" y="163"/>
                  </a:cubicBezTo>
                  <a:cubicBezTo>
                    <a:pt x="162" y="162"/>
                    <a:pt x="162" y="162"/>
                    <a:pt x="162" y="162"/>
                  </a:cubicBezTo>
                  <a:cubicBezTo>
                    <a:pt x="162" y="161"/>
                    <a:pt x="162" y="161"/>
                    <a:pt x="162" y="161"/>
                  </a:cubicBezTo>
                  <a:cubicBezTo>
                    <a:pt x="163" y="161"/>
                    <a:pt x="163" y="161"/>
                    <a:pt x="163" y="161"/>
                  </a:cubicBezTo>
                  <a:cubicBezTo>
                    <a:pt x="163" y="161"/>
                    <a:pt x="163" y="161"/>
                    <a:pt x="163" y="161"/>
                  </a:cubicBezTo>
                  <a:cubicBezTo>
                    <a:pt x="163" y="160"/>
                    <a:pt x="163" y="160"/>
                    <a:pt x="163" y="160"/>
                  </a:cubicBezTo>
                  <a:cubicBezTo>
                    <a:pt x="163" y="159"/>
                    <a:pt x="163" y="159"/>
                    <a:pt x="163" y="159"/>
                  </a:cubicBezTo>
                  <a:cubicBezTo>
                    <a:pt x="163" y="159"/>
                    <a:pt x="163" y="159"/>
                    <a:pt x="163" y="159"/>
                  </a:cubicBezTo>
                  <a:cubicBezTo>
                    <a:pt x="162" y="158"/>
                    <a:pt x="162" y="158"/>
                    <a:pt x="162" y="158"/>
                  </a:cubicBezTo>
                  <a:cubicBezTo>
                    <a:pt x="161" y="157"/>
                    <a:pt x="161" y="157"/>
                    <a:pt x="161" y="157"/>
                  </a:cubicBezTo>
                  <a:cubicBezTo>
                    <a:pt x="161" y="157"/>
                    <a:pt x="161" y="157"/>
                    <a:pt x="161" y="157"/>
                  </a:cubicBezTo>
                  <a:cubicBezTo>
                    <a:pt x="161" y="156"/>
                    <a:pt x="161" y="156"/>
                    <a:pt x="161" y="156"/>
                  </a:cubicBezTo>
                  <a:cubicBezTo>
                    <a:pt x="161" y="155"/>
                    <a:pt x="161" y="155"/>
                    <a:pt x="161" y="155"/>
                  </a:cubicBezTo>
                  <a:cubicBezTo>
                    <a:pt x="161" y="155"/>
                    <a:pt x="161" y="155"/>
                    <a:pt x="161" y="155"/>
                  </a:cubicBezTo>
                  <a:cubicBezTo>
                    <a:pt x="162" y="154"/>
                    <a:pt x="162" y="154"/>
                    <a:pt x="162" y="154"/>
                  </a:cubicBezTo>
                  <a:cubicBezTo>
                    <a:pt x="162" y="154"/>
                    <a:pt x="162" y="154"/>
                    <a:pt x="162" y="154"/>
                  </a:cubicBezTo>
                  <a:cubicBezTo>
                    <a:pt x="163" y="154"/>
                    <a:pt x="163" y="154"/>
                    <a:pt x="163" y="154"/>
                  </a:cubicBezTo>
                  <a:cubicBezTo>
                    <a:pt x="163" y="154"/>
                    <a:pt x="163" y="154"/>
                    <a:pt x="163" y="154"/>
                  </a:cubicBezTo>
                  <a:cubicBezTo>
                    <a:pt x="163" y="153"/>
                    <a:pt x="163" y="153"/>
                    <a:pt x="163" y="153"/>
                  </a:cubicBezTo>
                  <a:cubicBezTo>
                    <a:pt x="163" y="152"/>
                    <a:pt x="163" y="152"/>
                    <a:pt x="163" y="152"/>
                  </a:cubicBezTo>
                  <a:cubicBezTo>
                    <a:pt x="163" y="152"/>
                    <a:pt x="163" y="152"/>
                    <a:pt x="163" y="151"/>
                  </a:cubicBezTo>
                  <a:cubicBezTo>
                    <a:pt x="164" y="152"/>
                    <a:pt x="164" y="152"/>
                    <a:pt x="164" y="152"/>
                  </a:cubicBezTo>
                  <a:cubicBezTo>
                    <a:pt x="164" y="152"/>
                    <a:pt x="164" y="152"/>
                    <a:pt x="164" y="152"/>
                  </a:cubicBezTo>
                  <a:cubicBezTo>
                    <a:pt x="165" y="153"/>
                    <a:pt x="165" y="153"/>
                    <a:pt x="165" y="153"/>
                  </a:cubicBezTo>
                  <a:cubicBezTo>
                    <a:pt x="165" y="153"/>
                    <a:pt x="166" y="153"/>
                    <a:pt x="166" y="153"/>
                  </a:cubicBezTo>
                  <a:cubicBezTo>
                    <a:pt x="166" y="152"/>
                    <a:pt x="166" y="152"/>
                    <a:pt x="166" y="152"/>
                  </a:cubicBezTo>
                  <a:cubicBezTo>
                    <a:pt x="166" y="152"/>
                    <a:pt x="166" y="152"/>
                    <a:pt x="166" y="152"/>
                  </a:cubicBezTo>
                  <a:cubicBezTo>
                    <a:pt x="166" y="151"/>
                    <a:pt x="166" y="151"/>
                    <a:pt x="166" y="151"/>
                  </a:cubicBezTo>
                  <a:cubicBezTo>
                    <a:pt x="166" y="151"/>
                    <a:pt x="166" y="151"/>
                    <a:pt x="166" y="151"/>
                  </a:cubicBezTo>
                  <a:cubicBezTo>
                    <a:pt x="166" y="150"/>
                    <a:pt x="166" y="150"/>
                    <a:pt x="166" y="150"/>
                  </a:cubicBezTo>
                  <a:cubicBezTo>
                    <a:pt x="166" y="150"/>
                    <a:pt x="166" y="150"/>
                    <a:pt x="167" y="150"/>
                  </a:cubicBezTo>
                  <a:cubicBezTo>
                    <a:pt x="167" y="149"/>
                    <a:pt x="167" y="149"/>
                    <a:pt x="167" y="149"/>
                  </a:cubicBezTo>
                  <a:cubicBezTo>
                    <a:pt x="167" y="149"/>
                    <a:pt x="167" y="148"/>
                    <a:pt x="167" y="148"/>
                  </a:cubicBezTo>
                  <a:cubicBezTo>
                    <a:pt x="167" y="147"/>
                    <a:pt x="167" y="147"/>
                    <a:pt x="167" y="147"/>
                  </a:cubicBezTo>
                  <a:cubicBezTo>
                    <a:pt x="165" y="146"/>
                    <a:pt x="165" y="146"/>
                    <a:pt x="165" y="146"/>
                  </a:cubicBezTo>
                  <a:cubicBezTo>
                    <a:pt x="164" y="146"/>
                    <a:pt x="164" y="146"/>
                    <a:pt x="164" y="146"/>
                  </a:cubicBezTo>
                  <a:cubicBezTo>
                    <a:pt x="163" y="145"/>
                    <a:pt x="163" y="145"/>
                    <a:pt x="163" y="145"/>
                  </a:cubicBezTo>
                  <a:cubicBezTo>
                    <a:pt x="162" y="144"/>
                    <a:pt x="162" y="144"/>
                    <a:pt x="162" y="144"/>
                  </a:cubicBezTo>
                  <a:cubicBezTo>
                    <a:pt x="161" y="143"/>
                    <a:pt x="161" y="143"/>
                    <a:pt x="161" y="143"/>
                  </a:cubicBezTo>
                  <a:cubicBezTo>
                    <a:pt x="161" y="142"/>
                    <a:pt x="161" y="142"/>
                    <a:pt x="161" y="142"/>
                  </a:cubicBezTo>
                  <a:cubicBezTo>
                    <a:pt x="160" y="142"/>
                    <a:pt x="160" y="142"/>
                    <a:pt x="160" y="142"/>
                  </a:cubicBezTo>
                  <a:cubicBezTo>
                    <a:pt x="160" y="142"/>
                    <a:pt x="160" y="142"/>
                    <a:pt x="160" y="142"/>
                  </a:cubicBezTo>
                  <a:cubicBezTo>
                    <a:pt x="161" y="141"/>
                    <a:pt x="161" y="141"/>
                    <a:pt x="161" y="141"/>
                  </a:cubicBezTo>
                  <a:cubicBezTo>
                    <a:pt x="161" y="141"/>
                    <a:pt x="161" y="141"/>
                    <a:pt x="161" y="141"/>
                  </a:cubicBezTo>
                  <a:cubicBezTo>
                    <a:pt x="161" y="141"/>
                    <a:pt x="161" y="141"/>
                    <a:pt x="161" y="141"/>
                  </a:cubicBezTo>
                  <a:cubicBezTo>
                    <a:pt x="162" y="141"/>
                    <a:pt x="162" y="141"/>
                    <a:pt x="162" y="141"/>
                  </a:cubicBezTo>
                  <a:cubicBezTo>
                    <a:pt x="162" y="141"/>
                    <a:pt x="162" y="141"/>
                    <a:pt x="162" y="141"/>
                  </a:cubicBezTo>
                  <a:cubicBezTo>
                    <a:pt x="162" y="141"/>
                    <a:pt x="162" y="141"/>
                    <a:pt x="162" y="141"/>
                  </a:cubicBezTo>
                  <a:cubicBezTo>
                    <a:pt x="162" y="141"/>
                    <a:pt x="162" y="141"/>
                    <a:pt x="162" y="141"/>
                  </a:cubicBezTo>
                  <a:cubicBezTo>
                    <a:pt x="162" y="141"/>
                    <a:pt x="162" y="141"/>
                    <a:pt x="162" y="141"/>
                  </a:cubicBezTo>
                  <a:cubicBezTo>
                    <a:pt x="162" y="141"/>
                    <a:pt x="162" y="141"/>
                    <a:pt x="162" y="141"/>
                  </a:cubicBezTo>
                  <a:cubicBezTo>
                    <a:pt x="162" y="142"/>
                    <a:pt x="162" y="142"/>
                    <a:pt x="162" y="142"/>
                  </a:cubicBezTo>
                  <a:cubicBezTo>
                    <a:pt x="162" y="142"/>
                    <a:pt x="162" y="142"/>
                    <a:pt x="162" y="142"/>
                  </a:cubicBezTo>
                  <a:cubicBezTo>
                    <a:pt x="162" y="142"/>
                    <a:pt x="162" y="142"/>
                    <a:pt x="162" y="142"/>
                  </a:cubicBezTo>
                  <a:cubicBezTo>
                    <a:pt x="162" y="142"/>
                    <a:pt x="162" y="142"/>
                    <a:pt x="162" y="142"/>
                  </a:cubicBezTo>
                  <a:cubicBezTo>
                    <a:pt x="162" y="142"/>
                    <a:pt x="162" y="142"/>
                    <a:pt x="162" y="142"/>
                  </a:cubicBezTo>
                  <a:cubicBezTo>
                    <a:pt x="163" y="142"/>
                    <a:pt x="163" y="142"/>
                    <a:pt x="163" y="142"/>
                  </a:cubicBezTo>
                  <a:cubicBezTo>
                    <a:pt x="163" y="142"/>
                    <a:pt x="163" y="142"/>
                    <a:pt x="163" y="142"/>
                  </a:cubicBezTo>
                  <a:cubicBezTo>
                    <a:pt x="164" y="143"/>
                    <a:pt x="164" y="143"/>
                    <a:pt x="164" y="143"/>
                  </a:cubicBezTo>
                  <a:cubicBezTo>
                    <a:pt x="164" y="143"/>
                    <a:pt x="164" y="143"/>
                    <a:pt x="164" y="143"/>
                  </a:cubicBezTo>
                  <a:cubicBezTo>
                    <a:pt x="165" y="143"/>
                    <a:pt x="165" y="143"/>
                    <a:pt x="165" y="143"/>
                  </a:cubicBezTo>
                  <a:cubicBezTo>
                    <a:pt x="165" y="143"/>
                    <a:pt x="165" y="143"/>
                    <a:pt x="165" y="143"/>
                  </a:cubicBezTo>
                  <a:cubicBezTo>
                    <a:pt x="165" y="143"/>
                    <a:pt x="165" y="143"/>
                    <a:pt x="165" y="143"/>
                  </a:cubicBezTo>
                  <a:cubicBezTo>
                    <a:pt x="166" y="143"/>
                    <a:pt x="166" y="143"/>
                    <a:pt x="166" y="143"/>
                  </a:cubicBezTo>
                  <a:cubicBezTo>
                    <a:pt x="166" y="143"/>
                    <a:pt x="166" y="143"/>
                    <a:pt x="166" y="143"/>
                  </a:cubicBezTo>
                  <a:cubicBezTo>
                    <a:pt x="166" y="144"/>
                    <a:pt x="166" y="144"/>
                    <a:pt x="166" y="144"/>
                  </a:cubicBezTo>
                  <a:cubicBezTo>
                    <a:pt x="167" y="144"/>
                    <a:pt x="167" y="144"/>
                    <a:pt x="167" y="144"/>
                  </a:cubicBezTo>
                  <a:cubicBezTo>
                    <a:pt x="167" y="144"/>
                    <a:pt x="167" y="144"/>
                    <a:pt x="167" y="144"/>
                  </a:cubicBezTo>
                  <a:cubicBezTo>
                    <a:pt x="167" y="144"/>
                    <a:pt x="167" y="144"/>
                    <a:pt x="167" y="144"/>
                  </a:cubicBezTo>
                  <a:cubicBezTo>
                    <a:pt x="167" y="145"/>
                    <a:pt x="167" y="145"/>
                    <a:pt x="167" y="145"/>
                  </a:cubicBezTo>
                  <a:cubicBezTo>
                    <a:pt x="168" y="145"/>
                    <a:pt x="168" y="145"/>
                    <a:pt x="168" y="145"/>
                  </a:cubicBezTo>
                  <a:cubicBezTo>
                    <a:pt x="168" y="145"/>
                    <a:pt x="168" y="145"/>
                    <a:pt x="168" y="145"/>
                  </a:cubicBezTo>
                  <a:cubicBezTo>
                    <a:pt x="168" y="145"/>
                    <a:pt x="168" y="145"/>
                    <a:pt x="168" y="145"/>
                  </a:cubicBezTo>
                  <a:cubicBezTo>
                    <a:pt x="169" y="145"/>
                    <a:pt x="169" y="145"/>
                    <a:pt x="169" y="145"/>
                  </a:cubicBezTo>
                  <a:cubicBezTo>
                    <a:pt x="169" y="145"/>
                    <a:pt x="170" y="146"/>
                    <a:pt x="170" y="146"/>
                  </a:cubicBezTo>
                  <a:cubicBezTo>
                    <a:pt x="171" y="146"/>
                    <a:pt x="171" y="146"/>
                    <a:pt x="171" y="146"/>
                  </a:cubicBezTo>
                  <a:cubicBezTo>
                    <a:pt x="171" y="146"/>
                    <a:pt x="171" y="146"/>
                    <a:pt x="171" y="146"/>
                  </a:cubicBezTo>
                  <a:cubicBezTo>
                    <a:pt x="171" y="145"/>
                    <a:pt x="171" y="145"/>
                    <a:pt x="171" y="145"/>
                  </a:cubicBezTo>
                  <a:cubicBezTo>
                    <a:pt x="171" y="145"/>
                    <a:pt x="171" y="145"/>
                    <a:pt x="171" y="145"/>
                  </a:cubicBezTo>
                  <a:cubicBezTo>
                    <a:pt x="171" y="145"/>
                    <a:pt x="171" y="145"/>
                    <a:pt x="171" y="145"/>
                  </a:cubicBezTo>
                  <a:cubicBezTo>
                    <a:pt x="171" y="145"/>
                    <a:pt x="171" y="145"/>
                    <a:pt x="171" y="145"/>
                  </a:cubicBezTo>
                  <a:cubicBezTo>
                    <a:pt x="171" y="145"/>
                    <a:pt x="171" y="145"/>
                    <a:pt x="171" y="145"/>
                  </a:cubicBezTo>
                  <a:cubicBezTo>
                    <a:pt x="171" y="145"/>
                    <a:pt x="171" y="145"/>
                    <a:pt x="171" y="145"/>
                  </a:cubicBezTo>
                  <a:cubicBezTo>
                    <a:pt x="172" y="144"/>
                    <a:pt x="172" y="144"/>
                    <a:pt x="172" y="144"/>
                  </a:cubicBezTo>
                  <a:cubicBezTo>
                    <a:pt x="172" y="144"/>
                    <a:pt x="172" y="144"/>
                    <a:pt x="172" y="144"/>
                  </a:cubicBezTo>
                  <a:cubicBezTo>
                    <a:pt x="171" y="143"/>
                    <a:pt x="171" y="143"/>
                    <a:pt x="171" y="143"/>
                  </a:cubicBezTo>
                  <a:cubicBezTo>
                    <a:pt x="170" y="142"/>
                    <a:pt x="170" y="142"/>
                    <a:pt x="170" y="142"/>
                  </a:cubicBezTo>
                  <a:cubicBezTo>
                    <a:pt x="170" y="142"/>
                    <a:pt x="170" y="142"/>
                    <a:pt x="170" y="142"/>
                  </a:cubicBezTo>
                  <a:cubicBezTo>
                    <a:pt x="169" y="141"/>
                    <a:pt x="169" y="141"/>
                    <a:pt x="169" y="141"/>
                  </a:cubicBezTo>
                  <a:cubicBezTo>
                    <a:pt x="170" y="141"/>
                    <a:pt x="170" y="141"/>
                    <a:pt x="170" y="141"/>
                  </a:cubicBezTo>
                  <a:cubicBezTo>
                    <a:pt x="170" y="141"/>
                    <a:pt x="170" y="141"/>
                    <a:pt x="170" y="141"/>
                  </a:cubicBezTo>
                  <a:cubicBezTo>
                    <a:pt x="170" y="140"/>
                    <a:pt x="170" y="140"/>
                    <a:pt x="170" y="140"/>
                  </a:cubicBezTo>
                  <a:cubicBezTo>
                    <a:pt x="170" y="140"/>
                    <a:pt x="170" y="140"/>
                    <a:pt x="170" y="140"/>
                  </a:cubicBezTo>
                  <a:cubicBezTo>
                    <a:pt x="170" y="140"/>
                    <a:pt x="170" y="140"/>
                    <a:pt x="170" y="140"/>
                  </a:cubicBezTo>
                  <a:cubicBezTo>
                    <a:pt x="170" y="140"/>
                    <a:pt x="170" y="140"/>
                    <a:pt x="170" y="140"/>
                  </a:cubicBezTo>
                  <a:cubicBezTo>
                    <a:pt x="169" y="140"/>
                    <a:pt x="169" y="140"/>
                    <a:pt x="169" y="140"/>
                  </a:cubicBezTo>
                  <a:cubicBezTo>
                    <a:pt x="169" y="140"/>
                    <a:pt x="169" y="140"/>
                    <a:pt x="169" y="140"/>
                  </a:cubicBezTo>
                  <a:cubicBezTo>
                    <a:pt x="169" y="139"/>
                    <a:pt x="169" y="139"/>
                    <a:pt x="169" y="139"/>
                  </a:cubicBezTo>
                  <a:cubicBezTo>
                    <a:pt x="169" y="139"/>
                    <a:pt x="169" y="139"/>
                    <a:pt x="169" y="139"/>
                  </a:cubicBezTo>
                  <a:cubicBezTo>
                    <a:pt x="169" y="139"/>
                    <a:pt x="169" y="139"/>
                    <a:pt x="169" y="139"/>
                  </a:cubicBezTo>
                  <a:cubicBezTo>
                    <a:pt x="169" y="139"/>
                    <a:pt x="169" y="139"/>
                    <a:pt x="169" y="139"/>
                  </a:cubicBezTo>
                  <a:cubicBezTo>
                    <a:pt x="169" y="139"/>
                    <a:pt x="168" y="139"/>
                    <a:pt x="168" y="139"/>
                  </a:cubicBezTo>
                  <a:cubicBezTo>
                    <a:pt x="168" y="139"/>
                    <a:pt x="168" y="139"/>
                    <a:pt x="168" y="139"/>
                  </a:cubicBezTo>
                  <a:cubicBezTo>
                    <a:pt x="168" y="138"/>
                    <a:pt x="168" y="138"/>
                    <a:pt x="168" y="138"/>
                  </a:cubicBezTo>
                  <a:cubicBezTo>
                    <a:pt x="168" y="138"/>
                    <a:pt x="168" y="138"/>
                    <a:pt x="168" y="138"/>
                  </a:cubicBezTo>
                  <a:cubicBezTo>
                    <a:pt x="168" y="138"/>
                    <a:pt x="168" y="138"/>
                    <a:pt x="168" y="138"/>
                  </a:cubicBezTo>
                  <a:cubicBezTo>
                    <a:pt x="168" y="138"/>
                    <a:pt x="168" y="138"/>
                    <a:pt x="168" y="138"/>
                  </a:cubicBezTo>
                  <a:cubicBezTo>
                    <a:pt x="168" y="137"/>
                    <a:pt x="168" y="137"/>
                    <a:pt x="168" y="137"/>
                  </a:cubicBezTo>
                  <a:cubicBezTo>
                    <a:pt x="168" y="137"/>
                    <a:pt x="168" y="137"/>
                    <a:pt x="168" y="137"/>
                  </a:cubicBezTo>
                  <a:cubicBezTo>
                    <a:pt x="168" y="137"/>
                    <a:pt x="168" y="137"/>
                    <a:pt x="168" y="137"/>
                  </a:cubicBezTo>
                  <a:cubicBezTo>
                    <a:pt x="168" y="136"/>
                    <a:pt x="168" y="136"/>
                    <a:pt x="168" y="136"/>
                  </a:cubicBezTo>
                  <a:cubicBezTo>
                    <a:pt x="168" y="136"/>
                    <a:pt x="168" y="136"/>
                    <a:pt x="168" y="136"/>
                  </a:cubicBezTo>
                  <a:cubicBezTo>
                    <a:pt x="168" y="136"/>
                    <a:pt x="168" y="136"/>
                    <a:pt x="168" y="136"/>
                  </a:cubicBezTo>
                  <a:cubicBezTo>
                    <a:pt x="168" y="136"/>
                    <a:pt x="168" y="136"/>
                    <a:pt x="168" y="136"/>
                  </a:cubicBezTo>
                  <a:cubicBezTo>
                    <a:pt x="168" y="136"/>
                    <a:pt x="168" y="136"/>
                    <a:pt x="168" y="136"/>
                  </a:cubicBezTo>
                  <a:cubicBezTo>
                    <a:pt x="168" y="135"/>
                    <a:pt x="168" y="135"/>
                    <a:pt x="168" y="135"/>
                  </a:cubicBezTo>
                  <a:cubicBezTo>
                    <a:pt x="167" y="135"/>
                    <a:pt x="167" y="135"/>
                    <a:pt x="167" y="135"/>
                  </a:cubicBezTo>
                  <a:cubicBezTo>
                    <a:pt x="167" y="135"/>
                    <a:pt x="167" y="135"/>
                    <a:pt x="167" y="135"/>
                  </a:cubicBezTo>
                  <a:cubicBezTo>
                    <a:pt x="167" y="135"/>
                    <a:pt x="167" y="135"/>
                    <a:pt x="167" y="135"/>
                  </a:cubicBezTo>
                  <a:cubicBezTo>
                    <a:pt x="166" y="135"/>
                    <a:pt x="166" y="135"/>
                    <a:pt x="166" y="135"/>
                  </a:cubicBezTo>
                  <a:cubicBezTo>
                    <a:pt x="166" y="134"/>
                    <a:pt x="166" y="134"/>
                    <a:pt x="166" y="134"/>
                  </a:cubicBezTo>
                  <a:cubicBezTo>
                    <a:pt x="166" y="134"/>
                    <a:pt x="166" y="134"/>
                    <a:pt x="166" y="134"/>
                  </a:cubicBezTo>
                  <a:cubicBezTo>
                    <a:pt x="166" y="134"/>
                    <a:pt x="166" y="134"/>
                    <a:pt x="166" y="134"/>
                  </a:cubicBezTo>
                  <a:cubicBezTo>
                    <a:pt x="166" y="134"/>
                    <a:pt x="166" y="134"/>
                    <a:pt x="166" y="134"/>
                  </a:cubicBezTo>
                  <a:cubicBezTo>
                    <a:pt x="166" y="134"/>
                    <a:pt x="166" y="134"/>
                    <a:pt x="166" y="134"/>
                  </a:cubicBezTo>
                  <a:cubicBezTo>
                    <a:pt x="166" y="134"/>
                    <a:pt x="166" y="134"/>
                    <a:pt x="166" y="134"/>
                  </a:cubicBezTo>
                  <a:cubicBezTo>
                    <a:pt x="167" y="133"/>
                    <a:pt x="167" y="133"/>
                    <a:pt x="167" y="133"/>
                  </a:cubicBezTo>
                  <a:cubicBezTo>
                    <a:pt x="167" y="134"/>
                    <a:pt x="167" y="134"/>
                    <a:pt x="167" y="134"/>
                  </a:cubicBezTo>
                  <a:cubicBezTo>
                    <a:pt x="168" y="134"/>
                    <a:pt x="168" y="134"/>
                    <a:pt x="168" y="134"/>
                  </a:cubicBezTo>
                  <a:cubicBezTo>
                    <a:pt x="168" y="134"/>
                    <a:pt x="168" y="134"/>
                    <a:pt x="168" y="135"/>
                  </a:cubicBezTo>
                  <a:cubicBezTo>
                    <a:pt x="168" y="135"/>
                    <a:pt x="168" y="135"/>
                    <a:pt x="168" y="135"/>
                  </a:cubicBezTo>
                  <a:cubicBezTo>
                    <a:pt x="169" y="135"/>
                    <a:pt x="169" y="135"/>
                    <a:pt x="169" y="135"/>
                  </a:cubicBezTo>
                  <a:cubicBezTo>
                    <a:pt x="169" y="135"/>
                    <a:pt x="169" y="135"/>
                    <a:pt x="169" y="135"/>
                  </a:cubicBezTo>
                  <a:cubicBezTo>
                    <a:pt x="170" y="135"/>
                    <a:pt x="170" y="135"/>
                    <a:pt x="170" y="135"/>
                  </a:cubicBezTo>
                  <a:cubicBezTo>
                    <a:pt x="170" y="135"/>
                    <a:pt x="170" y="135"/>
                    <a:pt x="170" y="135"/>
                  </a:cubicBezTo>
                  <a:cubicBezTo>
                    <a:pt x="170" y="136"/>
                    <a:pt x="170" y="136"/>
                    <a:pt x="170" y="136"/>
                  </a:cubicBezTo>
                  <a:cubicBezTo>
                    <a:pt x="171" y="136"/>
                    <a:pt x="171" y="136"/>
                    <a:pt x="171" y="136"/>
                  </a:cubicBezTo>
                  <a:cubicBezTo>
                    <a:pt x="171" y="136"/>
                    <a:pt x="171" y="136"/>
                    <a:pt x="171" y="136"/>
                  </a:cubicBezTo>
                  <a:cubicBezTo>
                    <a:pt x="171" y="136"/>
                    <a:pt x="171" y="136"/>
                    <a:pt x="171" y="136"/>
                  </a:cubicBezTo>
                  <a:cubicBezTo>
                    <a:pt x="171" y="136"/>
                    <a:pt x="171" y="136"/>
                    <a:pt x="171" y="136"/>
                  </a:cubicBezTo>
                  <a:cubicBezTo>
                    <a:pt x="172" y="136"/>
                    <a:pt x="172" y="136"/>
                    <a:pt x="172" y="136"/>
                  </a:cubicBezTo>
                  <a:cubicBezTo>
                    <a:pt x="172" y="136"/>
                    <a:pt x="172" y="136"/>
                    <a:pt x="172" y="136"/>
                  </a:cubicBezTo>
                  <a:cubicBezTo>
                    <a:pt x="172" y="136"/>
                    <a:pt x="172" y="136"/>
                    <a:pt x="172" y="136"/>
                  </a:cubicBezTo>
                  <a:cubicBezTo>
                    <a:pt x="172" y="137"/>
                    <a:pt x="172" y="137"/>
                    <a:pt x="172" y="137"/>
                  </a:cubicBezTo>
                  <a:cubicBezTo>
                    <a:pt x="172" y="137"/>
                    <a:pt x="172" y="137"/>
                    <a:pt x="172" y="137"/>
                  </a:cubicBezTo>
                  <a:cubicBezTo>
                    <a:pt x="173" y="137"/>
                    <a:pt x="173" y="137"/>
                    <a:pt x="173" y="137"/>
                  </a:cubicBezTo>
                  <a:cubicBezTo>
                    <a:pt x="174" y="138"/>
                    <a:pt x="174" y="138"/>
                    <a:pt x="174" y="138"/>
                  </a:cubicBezTo>
                  <a:cubicBezTo>
                    <a:pt x="175" y="139"/>
                    <a:pt x="175" y="139"/>
                    <a:pt x="175" y="139"/>
                  </a:cubicBezTo>
                  <a:cubicBezTo>
                    <a:pt x="176" y="139"/>
                    <a:pt x="176" y="139"/>
                    <a:pt x="176" y="139"/>
                  </a:cubicBezTo>
                  <a:cubicBezTo>
                    <a:pt x="176" y="139"/>
                    <a:pt x="176" y="139"/>
                    <a:pt x="176" y="139"/>
                  </a:cubicBezTo>
                  <a:cubicBezTo>
                    <a:pt x="176" y="139"/>
                    <a:pt x="176" y="139"/>
                    <a:pt x="176" y="139"/>
                  </a:cubicBezTo>
                  <a:cubicBezTo>
                    <a:pt x="177" y="139"/>
                    <a:pt x="177" y="139"/>
                    <a:pt x="177" y="139"/>
                  </a:cubicBezTo>
                  <a:cubicBezTo>
                    <a:pt x="177" y="139"/>
                    <a:pt x="177" y="139"/>
                    <a:pt x="177" y="139"/>
                  </a:cubicBezTo>
                  <a:cubicBezTo>
                    <a:pt x="178" y="139"/>
                    <a:pt x="178" y="139"/>
                    <a:pt x="178" y="139"/>
                  </a:cubicBezTo>
                  <a:cubicBezTo>
                    <a:pt x="178" y="140"/>
                    <a:pt x="178" y="140"/>
                    <a:pt x="178" y="140"/>
                  </a:cubicBezTo>
                  <a:cubicBezTo>
                    <a:pt x="178" y="140"/>
                    <a:pt x="178" y="140"/>
                    <a:pt x="178" y="140"/>
                  </a:cubicBezTo>
                  <a:cubicBezTo>
                    <a:pt x="178" y="139"/>
                    <a:pt x="178" y="139"/>
                    <a:pt x="178" y="139"/>
                  </a:cubicBezTo>
                  <a:cubicBezTo>
                    <a:pt x="178" y="139"/>
                    <a:pt x="178" y="139"/>
                    <a:pt x="178" y="139"/>
                  </a:cubicBezTo>
                  <a:cubicBezTo>
                    <a:pt x="178" y="139"/>
                    <a:pt x="178" y="139"/>
                    <a:pt x="178" y="139"/>
                  </a:cubicBezTo>
                  <a:cubicBezTo>
                    <a:pt x="179" y="139"/>
                    <a:pt x="179" y="139"/>
                    <a:pt x="179" y="139"/>
                  </a:cubicBezTo>
                  <a:cubicBezTo>
                    <a:pt x="179" y="139"/>
                    <a:pt x="179" y="139"/>
                    <a:pt x="179" y="139"/>
                  </a:cubicBezTo>
                  <a:cubicBezTo>
                    <a:pt x="179" y="139"/>
                    <a:pt x="179" y="139"/>
                    <a:pt x="179" y="139"/>
                  </a:cubicBezTo>
                  <a:cubicBezTo>
                    <a:pt x="180" y="139"/>
                    <a:pt x="180" y="139"/>
                    <a:pt x="180" y="139"/>
                  </a:cubicBezTo>
                  <a:cubicBezTo>
                    <a:pt x="180" y="139"/>
                    <a:pt x="180" y="139"/>
                    <a:pt x="180" y="139"/>
                  </a:cubicBezTo>
                  <a:cubicBezTo>
                    <a:pt x="180" y="139"/>
                    <a:pt x="180" y="139"/>
                    <a:pt x="180" y="139"/>
                  </a:cubicBezTo>
                  <a:cubicBezTo>
                    <a:pt x="180" y="139"/>
                    <a:pt x="180" y="139"/>
                    <a:pt x="180" y="139"/>
                  </a:cubicBezTo>
                  <a:cubicBezTo>
                    <a:pt x="180" y="139"/>
                    <a:pt x="180" y="139"/>
                    <a:pt x="180" y="139"/>
                  </a:cubicBezTo>
                  <a:cubicBezTo>
                    <a:pt x="180" y="140"/>
                    <a:pt x="180" y="140"/>
                    <a:pt x="180" y="140"/>
                  </a:cubicBezTo>
                  <a:cubicBezTo>
                    <a:pt x="181" y="140"/>
                    <a:pt x="181" y="140"/>
                    <a:pt x="181" y="140"/>
                  </a:cubicBezTo>
                  <a:cubicBezTo>
                    <a:pt x="181" y="140"/>
                    <a:pt x="181" y="140"/>
                    <a:pt x="181" y="140"/>
                  </a:cubicBezTo>
                  <a:cubicBezTo>
                    <a:pt x="181" y="141"/>
                    <a:pt x="181" y="141"/>
                    <a:pt x="181" y="141"/>
                  </a:cubicBezTo>
                  <a:cubicBezTo>
                    <a:pt x="182" y="141"/>
                    <a:pt x="182" y="141"/>
                    <a:pt x="182" y="141"/>
                  </a:cubicBezTo>
                  <a:cubicBezTo>
                    <a:pt x="182" y="141"/>
                    <a:pt x="182" y="141"/>
                    <a:pt x="182" y="141"/>
                  </a:cubicBezTo>
                  <a:cubicBezTo>
                    <a:pt x="183" y="142"/>
                    <a:pt x="183" y="142"/>
                    <a:pt x="183" y="142"/>
                  </a:cubicBezTo>
                  <a:cubicBezTo>
                    <a:pt x="183" y="142"/>
                    <a:pt x="183" y="142"/>
                    <a:pt x="183" y="142"/>
                  </a:cubicBezTo>
                  <a:cubicBezTo>
                    <a:pt x="183" y="142"/>
                    <a:pt x="183" y="142"/>
                    <a:pt x="183" y="142"/>
                  </a:cubicBezTo>
                  <a:cubicBezTo>
                    <a:pt x="183" y="142"/>
                    <a:pt x="183" y="142"/>
                    <a:pt x="183" y="142"/>
                  </a:cubicBezTo>
                  <a:cubicBezTo>
                    <a:pt x="183" y="142"/>
                    <a:pt x="183" y="142"/>
                    <a:pt x="183" y="142"/>
                  </a:cubicBezTo>
                  <a:cubicBezTo>
                    <a:pt x="184" y="142"/>
                    <a:pt x="184" y="142"/>
                    <a:pt x="184" y="142"/>
                  </a:cubicBezTo>
                  <a:cubicBezTo>
                    <a:pt x="184" y="142"/>
                    <a:pt x="184" y="142"/>
                    <a:pt x="184" y="142"/>
                  </a:cubicBezTo>
                  <a:cubicBezTo>
                    <a:pt x="184" y="141"/>
                    <a:pt x="184" y="141"/>
                    <a:pt x="184" y="141"/>
                  </a:cubicBezTo>
                  <a:cubicBezTo>
                    <a:pt x="185" y="141"/>
                    <a:pt x="185" y="141"/>
                    <a:pt x="185" y="141"/>
                  </a:cubicBezTo>
                  <a:cubicBezTo>
                    <a:pt x="185" y="141"/>
                    <a:pt x="185" y="141"/>
                    <a:pt x="185" y="141"/>
                  </a:cubicBezTo>
                  <a:cubicBezTo>
                    <a:pt x="186" y="141"/>
                    <a:pt x="186" y="141"/>
                    <a:pt x="186" y="141"/>
                  </a:cubicBezTo>
                  <a:cubicBezTo>
                    <a:pt x="186" y="141"/>
                    <a:pt x="186" y="141"/>
                    <a:pt x="186" y="141"/>
                  </a:cubicBezTo>
                  <a:cubicBezTo>
                    <a:pt x="186" y="141"/>
                    <a:pt x="186" y="141"/>
                    <a:pt x="186" y="141"/>
                  </a:cubicBezTo>
                  <a:cubicBezTo>
                    <a:pt x="186" y="140"/>
                    <a:pt x="186" y="140"/>
                    <a:pt x="186" y="140"/>
                  </a:cubicBezTo>
                  <a:cubicBezTo>
                    <a:pt x="186" y="140"/>
                    <a:pt x="186" y="140"/>
                    <a:pt x="186" y="140"/>
                  </a:cubicBezTo>
                  <a:cubicBezTo>
                    <a:pt x="185" y="139"/>
                    <a:pt x="185" y="139"/>
                    <a:pt x="185" y="139"/>
                  </a:cubicBezTo>
                  <a:cubicBezTo>
                    <a:pt x="185" y="139"/>
                    <a:pt x="185" y="139"/>
                    <a:pt x="185" y="139"/>
                  </a:cubicBezTo>
                  <a:cubicBezTo>
                    <a:pt x="186" y="139"/>
                    <a:pt x="186" y="139"/>
                    <a:pt x="186" y="139"/>
                  </a:cubicBezTo>
                  <a:cubicBezTo>
                    <a:pt x="186" y="139"/>
                    <a:pt x="186" y="139"/>
                    <a:pt x="186" y="139"/>
                  </a:cubicBezTo>
                  <a:cubicBezTo>
                    <a:pt x="186" y="139"/>
                    <a:pt x="186" y="139"/>
                    <a:pt x="186" y="139"/>
                  </a:cubicBezTo>
                  <a:cubicBezTo>
                    <a:pt x="187" y="139"/>
                    <a:pt x="187" y="139"/>
                    <a:pt x="187" y="139"/>
                  </a:cubicBezTo>
                  <a:cubicBezTo>
                    <a:pt x="187" y="138"/>
                    <a:pt x="187" y="138"/>
                    <a:pt x="187" y="138"/>
                  </a:cubicBezTo>
                  <a:cubicBezTo>
                    <a:pt x="187" y="138"/>
                    <a:pt x="187" y="138"/>
                    <a:pt x="187" y="138"/>
                  </a:cubicBezTo>
                  <a:cubicBezTo>
                    <a:pt x="187" y="138"/>
                    <a:pt x="187" y="138"/>
                    <a:pt x="187" y="138"/>
                  </a:cubicBezTo>
                  <a:cubicBezTo>
                    <a:pt x="188" y="138"/>
                    <a:pt x="188" y="138"/>
                    <a:pt x="188" y="138"/>
                  </a:cubicBezTo>
                  <a:cubicBezTo>
                    <a:pt x="188" y="137"/>
                    <a:pt x="188" y="137"/>
                    <a:pt x="188" y="137"/>
                  </a:cubicBezTo>
                  <a:cubicBezTo>
                    <a:pt x="188" y="136"/>
                    <a:pt x="188" y="136"/>
                    <a:pt x="188" y="136"/>
                  </a:cubicBezTo>
                  <a:cubicBezTo>
                    <a:pt x="189" y="135"/>
                    <a:pt x="189" y="135"/>
                    <a:pt x="189" y="135"/>
                  </a:cubicBezTo>
                  <a:cubicBezTo>
                    <a:pt x="189" y="135"/>
                    <a:pt x="189" y="135"/>
                    <a:pt x="189" y="135"/>
                  </a:cubicBezTo>
                  <a:cubicBezTo>
                    <a:pt x="190" y="135"/>
                    <a:pt x="190" y="135"/>
                    <a:pt x="190" y="135"/>
                  </a:cubicBezTo>
                  <a:cubicBezTo>
                    <a:pt x="191" y="135"/>
                    <a:pt x="191" y="135"/>
                    <a:pt x="191" y="135"/>
                  </a:cubicBezTo>
                  <a:cubicBezTo>
                    <a:pt x="192" y="136"/>
                    <a:pt x="192" y="136"/>
                    <a:pt x="192" y="136"/>
                  </a:cubicBezTo>
                  <a:cubicBezTo>
                    <a:pt x="192" y="136"/>
                    <a:pt x="192" y="136"/>
                    <a:pt x="192" y="136"/>
                  </a:cubicBezTo>
                  <a:cubicBezTo>
                    <a:pt x="192" y="136"/>
                    <a:pt x="192" y="136"/>
                    <a:pt x="192" y="136"/>
                  </a:cubicBezTo>
                  <a:cubicBezTo>
                    <a:pt x="193" y="136"/>
                    <a:pt x="193" y="136"/>
                    <a:pt x="193" y="136"/>
                  </a:cubicBezTo>
                  <a:cubicBezTo>
                    <a:pt x="193" y="136"/>
                    <a:pt x="193" y="136"/>
                    <a:pt x="193" y="136"/>
                  </a:cubicBezTo>
                  <a:cubicBezTo>
                    <a:pt x="194" y="137"/>
                    <a:pt x="194" y="137"/>
                    <a:pt x="194" y="137"/>
                  </a:cubicBezTo>
                  <a:cubicBezTo>
                    <a:pt x="194" y="137"/>
                    <a:pt x="194" y="137"/>
                    <a:pt x="194" y="137"/>
                  </a:cubicBezTo>
                  <a:cubicBezTo>
                    <a:pt x="194" y="138"/>
                    <a:pt x="194" y="138"/>
                    <a:pt x="194" y="138"/>
                  </a:cubicBezTo>
                  <a:cubicBezTo>
                    <a:pt x="194" y="138"/>
                    <a:pt x="194" y="138"/>
                    <a:pt x="194" y="138"/>
                  </a:cubicBezTo>
                  <a:cubicBezTo>
                    <a:pt x="195" y="138"/>
                    <a:pt x="195" y="138"/>
                    <a:pt x="195" y="138"/>
                  </a:cubicBezTo>
                  <a:cubicBezTo>
                    <a:pt x="195" y="138"/>
                    <a:pt x="195" y="138"/>
                    <a:pt x="195" y="138"/>
                  </a:cubicBezTo>
                  <a:cubicBezTo>
                    <a:pt x="195" y="138"/>
                    <a:pt x="195" y="138"/>
                    <a:pt x="196" y="138"/>
                  </a:cubicBezTo>
                  <a:cubicBezTo>
                    <a:pt x="196" y="138"/>
                    <a:pt x="196" y="138"/>
                    <a:pt x="196" y="138"/>
                  </a:cubicBezTo>
                  <a:cubicBezTo>
                    <a:pt x="197" y="137"/>
                    <a:pt x="197" y="137"/>
                    <a:pt x="197" y="137"/>
                  </a:cubicBezTo>
                  <a:cubicBezTo>
                    <a:pt x="197" y="137"/>
                    <a:pt x="197" y="136"/>
                    <a:pt x="197" y="136"/>
                  </a:cubicBezTo>
                  <a:cubicBezTo>
                    <a:pt x="198" y="136"/>
                    <a:pt x="198" y="136"/>
                    <a:pt x="198" y="136"/>
                  </a:cubicBezTo>
                  <a:cubicBezTo>
                    <a:pt x="199" y="136"/>
                    <a:pt x="199" y="136"/>
                    <a:pt x="199" y="136"/>
                  </a:cubicBezTo>
                  <a:cubicBezTo>
                    <a:pt x="200" y="136"/>
                    <a:pt x="200" y="136"/>
                    <a:pt x="200" y="136"/>
                  </a:cubicBezTo>
                  <a:cubicBezTo>
                    <a:pt x="201" y="136"/>
                    <a:pt x="201" y="136"/>
                    <a:pt x="201" y="136"/>
                  </a:cubicBezTo>
                  <a:cubicBezTo>
                    <a:pt x="202" y="137"/>
                    <a:pt x="202" y="137"/>
                    <a:pt x="203" y="138"/>
                  </a:cubicBezTo>
                  <a:cubicBezTo>
                    <a:pt x="203" y="138"/>
                    <a:pt x="203" y="138"/>
                    <a:pt x="203" y="138"/>
                  </a:cubicBezTo>
                  <a:cubicBezTo>
                    <a:pt x="204" y="138"/>
                    <a:pt x="204" y="138"/>
                    <a:pt x="204" y="138"/>
                  </a:cubicBezTo>
                  <a:cubicBezTo>
                    <a:pt x="205" y="138"/>
                    <a:pt x="205" y="138"/>
                    <a:pt x="205" y="138"/>
                  </a:cubicBezTo>
                  <a:cubicBezTo>
                    <a:pt x="205" y="137"/>
                    <a:pt x="205" y="137"/>
                    <a:pt x="206" y="137"/>
                  </a:cubicBezTo>
                  <a:cubicBezTo>
                    <a:pt x="206" y="136"/>
                    <a:pt x="206" y="136"/>
                    <a:pt x="206" y="136"/>
                  </a:cubicBezTo>
                  <a:cubicBezTo>
                    <a:pt x="207" y="136"/>
                    <a:pt x="207" y="136"/>
                    <a:pt x="207" y="136"/>
                  </a:cubicBezTo>
                  <a:cubicBezTo>
                    <a:pt x="207" y="136"/>
                    <a:pt x="207" y="136"/>
                    <a:pt x="207" y="136"/>
                  </a:cubicBezTo>
                  <a:cubicBezTo>
                    <a:pt x="206" y="135"/>
                    <a:pt x="206" y="135"/>
                    <a:pt x="206" y="135"/>
                  </a:cubicBezTo>
                  <a:cubicBezTo>
                    <a:pt x="206" y="135"/>
                    <a:pt x="206" y="135"/>
                    <a:pt x="206" y="135"/>
                  </a:cubicBezTo>
                  <a:cubicBezTo>
                    <a:pt x="205" y="135"/>
                    <a:pt x="205" y="135"/>
                    <a:pt x="205" y="135"/>
                  </a:cubicBezTo>
                  <a:cubicBezTo>
                    <a:pt x="204" y="134"/>
                    <a:pt x="204" y="134"/>
                    <a:pt x="204" y="134"/>
                  </a:cubicBezTo>
                  <a:cubicBezTo>
                    <a:pt x="204" y="134"/>
                    <a:pt x="204" y="134"/>
                    <a:pt x="204" y="134"/>
                  </a:cubicBezTo>
                  <a:cubicBezTo>
                    <a:pt x="204" y="134"/>
                    <a:pt x="204" y="134"/>
                    <a:pt x="204" y="134"/>
                  </a:cubicBezTo>
                  <a:cubicBezTo>
                    <a:pt x="204" y="133"/>
                    <a:pt x="204" y="133"/>
                    <a:pt x="204" y="133"/>
                  </a:cubicBezTo>
                  <a:cubicBezTo>
                    <a:pt x="205" y="133"/>
                    <a:pt x="205" y="133"/>
                    <a:pt x="205" y="133"/>
                  </a:cubicBezTo>
                  <a:cubicBezTo>
                    <a:pt x="204" y="132"/>
                    <a:pt x="204" y="132"/>
                    <a:pt x="204" y="132"/>
                  </a:cubicBezTo>
                  <a:cubicBezTo>
                    <a:pt x="204" y="132"/>
                    <a:pt x="204" y="132"/>
                    <a:pt x="204" y="132"/>
                  </a:cubicBezTo>
                  <a:cubicBezTo>
                    <a:pt x="204" y="131"/>
                    <a:pt x="204" y="131"/>
                    <a:pt x="204" y="131"/>
                  </a:cubicBezTo>
                  <a:cubicBezTo>
                    <a:pt x="204" y="130"/>
                    <a:pt x="204" y="130"/>
                    <a:pt x="204" y="130"/>
                  </a:cubicBezTo>
                  <a:cubicBezTo>
                    <a:pt x="204" y="130"/>
                    <a:pt x="204" y="130"/>
                    <a:pt x="204" y="130"/>
                  </a:cubicBezTo>
                  <a:cubicBezTo>
                    <a:pt x="205" y="130"/>
                    <a:pt x="205" y="130"/>
                    <a:pt x="205" y="130"/>
                  </a:cubicBezTo>
                  <a:cubicBezTo>
                    <a:pt x="205" y="130"/>
                    <a:pt x="205" y="130"/>
                    <a:pt x="205" y="130"/>
                  </a:cubicBezTo>
                  <a:cubicBezTo>
                    <a:pt x="206" y="131"/>
                    <a:pt x="206" y="131"/>
                    <a:pt x="206" y="131"/>
                  </a:cubicBezTo>
                  <a:cubicBezTo>
                    <a:pt x="207" y="130"/>
                    <a:pt x="207" y="130"/>
                    <a:pt x="207" y="130"/>
                  </a:cubicBezTo>
                  <a:cubicBezTo>
                    <a:pt x="207" y="130"/>
                    <a:pt x="207" y="130"/>
                    <a:pt x="207" y="130"/>
                  </a:cubicBezTo>
                  <a:cubicBezTo>
                    <a:pt x="206" y="129"/>
                    <a:pt x="206" y="129"/>
                    <a:pt x="206" y="129"/>
                  </a:cubicBezTo>
                  <a:cubicBezTo>
                    <a:pt x="206" y="129"/>
                    <a:pt x="206" y="129"/>
                    <a:pt x="206" y="129"/>
                  </a:cubicBezTo>
                  <a:cubicBezTo>
                    <a:pt x="206" y="129"/>
                    <a:pt x="206" y="129"/>
                    <a:pt x="206" y="129"/>
                  </a:cubicBezTo>
                  <a:cubicBezTo>
                    <a:pt x="206" y="128"/>
                    <a:pt x="206" y="128"/>
                    <a:pt x="206" y="128"/>
                  </a:cubicBezTo>
                  <a:cubicBezTo>
                    <a:pt x="206" y="128"/>
                    <a:pt x="206" y="128"/>
                    <a:pt x="206" y="128"/>
                  </a:cubicBezTo>
                  <a:cubicBezTo>
                    <a:pt x="206" y="127"/>
                    <a:pt x="206" y="127"/>
                    <a:pt x="206" y="127"/>
                  </a:cubicBezTo>
                  <a:cubicBezTo>
                    <a:pt x="205" y="127"/>
                    <a:pt x="205" y="127"/>
                    <a:pt x="205" y="127"/>
                  </a:cubicBezTo>
                  <a:cubicBezTo>
                    <a:pt x="205" y="126"/>
                    <a:pt x="205" y="126"/>
                    <a:pt x="205" y="126"/>
                  </a:cubicBezTo>
                  <a:cubicBezTo>
                    <a:pt x="205" y="125"/>
                    <a:pt x="205" y="125"/>
                    <a:pt x="205" y="125"/>
                  </a:cubicBezTo>
                  <a:cubicBezTo>
                    <a:pt x="205" y="124"/>
                    <a:pt x="205" y="124"/>
                    <a:pt x="205" y="124"/>
                  </a:cubicBezTo>
                  <a:cubicBezTo>
                    <a:pt x="205" y="124"/>
                    <a:pt x="205" y="124"/>
                    <a:pt x="205" y="124"/>
                  </a:cubicBezTo>
                  <a:cubicBezTo>
                    <a:pt x="206" y="124"/>
                    <a:pt x="206" y="124"/>
                    <a:pt x="206" y="124"/>
                  </a:cubicBezTo>
                  <a:cubicBezTo>
                    <a:pt x="206" y="124"/>
                    <a:pt x="206" y="124"/>
                    <a:pt x="206" y="124"/>
                  </a:cubicBezTo>
                  <a:cubicBezTo>
                    <a:pt x="207" y="123"/>
                    <a:pt x="207" y="123"/>
                    <a:pt x="207" y="123"/>
                  </a:cubicBezTo>
                  <a:cubicBezTo>
                    <a:pt x="206" y="123"/>
                    <a:pt x="206" y="123"/>
                    <a:pt x="206" y="122"/>
                  </a:cubicBezTo>
                  <a:cubicBezTo>
                    <a:pt x="206" y="123"/>
                    <a:pt x="206" y="123"/>
                    <a:pt x="206" y="123"/>
                  </a:cubicBezTo>
                  <a:cubicBezTo>
                    <a:pt x="206" y="123"/>
                    <a:pt x="206" y="123"/>
                    <a:pt x="206" y="123"/>
                  </a:cubicBezTo>
                  <a:cubicBezTo>
                    <a:pt x="205" y="123"/>
                    <a:pt x="205" y="123"/>
                    <a:pt x="205" y="123"/>
                  </a:cubicBezTo>
                  <a:cubicBezTo>
                    <a:pt x="204" y="123"/>
                    <a:pt x="204" y="123"/>
                    <a:pt x="204" y="123"/>
                  </a:cubicBezTo>
                  <a:cubicBezTo>
                    <a:pt x="204" y="123"/>
                    <a:pt x="204" y="123"/>
                    <a:pt x="204" y="123"/>
                  </a:cubicBezTo>
                  <a:cubicBezTo>
                    <a:pt x="203" y="123"/>
                    <a:pt x="203" y="123"/>
                    <a:pt x="203" y="123"/>
                  </a:cubicBezTo>
                  <a:cubicBezTo>
                    <a:pt x="203" y="123"/>
                    <a:pt x="203" y="123"/>
                    <a:pt x="203" y="123"/>
                  </a:cubicBezTo>
                  <a:cubicBezTo>
                    <a:pt x="204" y="122"/>
                    <a:pt x="204" y="122"/>
                    <a:pt x="204" y="122"/>
                  </a:cubicBezTo>
                  <a:cubicBezTo>
                    <a:pt x="204" y="122"/>
                    <a:pt x="204" y="122"/>
                    <a:pt x="204" y="122"/>
                  </a:cubicBezTo>
                  <a:cubicBezTo>
                    <a:pt x="205" y="122"/>
                    <a:pt x="205" y="122"/>
                    <a:pt x="205" y="122"/>
                  </a:cubicBezTo>
                  <a:cubicBezTo>
                    <a:pt x="204" y="121"/>
                    <a:pt x="204" y="121"/>
                    <a:pt x="204" y="121"/>
                  </a:cubicBezTo>
                  <a:cubicBezTo>
                    <a:pt x="204" y="121"/>
                    <a:pt x="204" y="121"/>
                    <a:pt x="204" y="121"/>
                  </a:cubicBezTo>
                  <a:cubicBezTo>
                    <a:pt x="204" y="122"/>
                    <a:pt x="204" y="122"/>
                    <a:pt x="204" y="122"/>
                  </a:cubicBezTo>
                  <a:cubicBezTo>
                    <a:pt x="204" y="121"/>
                    <a:pt x="204" y="121"/>
                    <a:pt x="204" y="121"/>
                  </a:cubicBezTo>
                  <a:cubicBezTo>
                    <a:pt x="204" y="121"/>
                    <a:pt x="204" y="121"/>
                    <a:pt x="204" y="121"/>
                  </a:cubicBezTo>
                  <a:cubicBezTo>
                    <a:pt x="204" y="121"/>
                    <a:pt x="205" y="121"/>
                    <a:pt x="205" y="121"/>
                  </a:cubicBezTo>
                  <a:cubicBezTo>
                    <a:pt x="205" y="121"/>
                    <a:pt x="205" y="121"/>
                    <a:pt x="205" y="121"/>
                  </a:cubicBezTo>
                  <a:cubicBezTo>
                    <a:pt x="206" y="120"/>
                    <a:pt x="206" y="120"/>
                    <a:pt x="206" y="120"/>
                  </a:cubicBezTo>
                  <a:cubicBezTo>
                    <a:pt x="206" y="120"/>
                    <a:pt x="206" y="120"/>
                    <a:pt x="206" y="120"/>
                  </a:cubicBezTo>
                  <a:cubicBezTo>
                    <a:pt x="206" y="119"/>
                    <a:pt x="206" y="119"/>
                    <a:pt x="206" y="119"/>
                  </a:cubicBezTo>
                  <a:cubicBezTo>
                    <a:pt x="206" y="119"/>
                    <a:pt x="206" y="119"/>
                    <a:pt x="206" y="119"/>
                  </a:cubicBezTo>
                  <a:cubicBezTo>
                    <a:pt x="206" y="119"/>
                    <a:pt x="206" y="119"/>
                    <a:pt x="206" y="119"/>
                  </a:cubicBezTo>
                  <a:cubicBezTo>
                    <a:pt x="206" y="119"/>
                    <a:pt x="206" y="119"/>
                    <a:pt x="206" y="119"/>
                  </a:cubicBezTo>
                  <a:cubicBezTo>
                    <a:pt x="205" y="119"/>
                    <a:pt x="205" y="119"/>
                    <a:pt x="205" y="119"/>
                  </a:cubicBezTo>
                  <a:cubicBezTo>
                    <a:pt x="204" y="119"/>
                    <a:pt x="204" y="119"/>
                    <a:pt x="204" y="119"/>
                  </a:cubicBezTo>
                  <a:cubicBezTo>
                    <a:pt x="203" y="120"/>
                    <a:pt x="203" y="120"/>
                    <a:pt x="203" y="120"/>
                  </a:cubicBezTo>
                  <a:cubicBezTo>
                    <a:pt x="203" y="120"/>
                    <a:pt x="203" y="120"/>
                    <a:pt x="203" y="120"/>
                  </a:cubicBezTo>
                  <a:cubicBezTo>
                    <a:pt x="201" y="120"/>
                    <a:pt x="201" y="120"/>
                    <a:pt x="201" y="120"/>
                  </a:cubicBezTo>
                  <a:cubicBezTo>
                    <a:pt x="201" y="120"/>
                    <a:pt x="201" y="120"/>
                    <a:pt x="201" y="120"/>
                  </a:cubicBezTo>
                  <a:cubicBezTo>
                    <a:pt x="201" y="119"/>
                    <a:pt x="201" y="119"/>
                    <a:pt x="201" y="119"/>
                  </a:cubicBezTo>
                  <a:cubicBezTo>
                    <a:pt x="201" y="119"/>
                    <a:pt x="201" y="119"/>
                    <a:pt x="201" y="119"/>
                  </a:cubicBezTo>
                  <a:cubicBezTo>
                    <a:pt x="201" y="118"/>
                    <a:pt x="201" y="118"/>
                    <a:pt x="201" y="118"/>
                  </a:cubicBezTo>
                  <a:cubicBezTo>
                    <a:pt x="201" y="117"/>
                    <a:pt x="201" y="117"/>
                    <a:pt x="201" y="117"/>
                  </a:cubicBezTo>
                  <a:cubicBezTo>
                    <a:pt x="201" y="116"/>
                    <a:pt x="201" y="116"/>
                    <a:pt x="201" y="116"/>
                  </a:cubicBezTo>
                  <a:cubicBezTo>
                    <a:pt x="201" y="116"/>
                    <a:pt x="201" y="116"/>
                    <a:pt x="201" y="116"/>
                  </a:cubicBezTo>
                  <a:cubicBezTo>
                    <a:pt x="200" y="115"/>
                    <a:pt x="200" y="115"/>
                    <a:pt x="200" y="115"/>
                  </a:cubicBezTo>
                  <a:cubicBezTo>
                    <a:pt x="200" y="115"/>
                    <a:pt x="200" y="115"/>
                    <a:pt x="200" y="115"/>
                  </a:cubicBezTo>
                  <a:cubicBezTo>
                    <a:pt x="200" y="115"/>
                    <a:pt x="200" y="115"/>
                    <a:pt x="200" y="115"/>
                  </a:cubicBezTo>
                  <a:cubicBezTo>
                    <a:pt x="200" y="116"/>
                    <a:pt x="200" y="116"/>
                    <a:pt x="200" y="116"/>
                  </a:cubicBezTo>
                  <a:cubicBezTo>
                    <a:pt x="200" y="115"/>
                    <a:pt x="200" y="115"/>
                    <a:pt x="200" y="115"/>
                  </a:cubicBezTo>
                  <a:cubicBezTo>
                    <a:pt x="200" y="115"/>
                    <a:pt x="200" y="115"/>
                    <a:pt x="200" y="115"/>
                  </a:cubicBezTo>
                  <a:cubicBezTo>
                    <a:pt x="200" y="114"/>
                    <a:pt x="200" y="114"/>
                    <a:pt x="200" y="114"/>
                  </a:cubicBezTo>
                  <a:cubicBezTo>
                    <a:pt x="200" y="114"/>
                    <a:pt x="200" y="114"/>
                    <a:pt x="200" y="114"/>
                  </a:cubicBezTo>
                  <a:cubicBezTo>
                    <a:pt x="200" y="113"/>
                    <a:pt x="200" y="113"/>
                    <a:pt x="200" y="113"/>
                  </a:cubicBezTo>
                  <a:cubicBezTo>
                    <a:pt x="199" y="113"/>
                    <a:pt x="199" y="113"/>
                    <a:pt x="199" y="113"/>
                  </a:cubicBezTo>
                  <a:cubicBezTo>
                    <a:pt x="199" y="113"/>
                    <a:pt x="199" y="113"/>
                    <a:pt x="199" y="113"/>
                  </a:cubicBezTo>
                  <a:cubicBezTo>
                    <a:pt x="199" y="113"/>
                    <a:pt x="199" y="113"/>
                    <a:pt x="199" y="113"/>
                  </a:cubicBezTo>
                  <a:cubicBezTo>
                    <a:pt x="199" y="113"/>
                    <a:pt x="199" y="113"/>
                    <a:pt x="199" y="113"/>
                  </a:cubicBezTo>
                  <a:cubicBezTo>
                    <a:pt x="198" y="113"/>
                    <a:pt x="198" y="113"/>
                    <a:pt x="198" y="113"/>
                  </a:cubicBezTo>
                  <a:cubicBezTo>
                    <a:pt x="198" y="112"/>
                    <a:pt x="198" y="112"/>
                    <a:pt x="198" y="112"/>
                  </a:cubicBezTo>
                  <a:cubicBezTo>
                    <a:pt x="198" y="112"/>
                    <a:pt x="198" y="112"/>
                    <a:pt x="198" y="112"/>
                  </a:cubicBezTo>
                  <a:cubicBezTo>
                    <a:pt x="197" y="111"/>
                    <a:pt x="197" y="111"/>
                    <a:pt x="197" y="111"/>
                  </a:cubicBezTo>
                  <a:cubicBezTo>
                    <a:pt x="197" y="111"/>
                    <a:pt x="197" y="111"/>
                    <a:pt x="197" y="111"/>
                  </a:cubicBezTo>
                  <a:cubicBezTo>
                    <a:pt x="197" y="111"/>
                    <a:pt x="197" y="111"/>
                    <a:pt x="197" y="111"/>
                  </a:cubicBezTo>
                  <a:cubicBezTo>
                    <a:pt x="197" y="110"/>
                    <a:pt x="197" y="110"/>
                    <a:pt x="197" y="110"/>
                  </a:cubicBezTo>
                  <a:cubicBezTo>
                    <a:pt x="197" y="110"/>
                    <a:pt x="197" y="110"/>
                    <a:pt x="197" y="110"/>
                  </a:cubicBezTo>
                  <a:cubicBezTo>
                    <a:pt x="198" y="110"/>
                    <a:pt x="198" y="110"/>
                    <a:pt x="198" y="110"/>
                  </a:cubicBezTo>
                  <a:cubicBezTo>
                    <a:pt x="198" y="110"/>
                    <a:pt x="198" y="110"/>
                    <a:pt x="198" y="110"/>
                  </a:cubicBezTo>
                  <a:cubicBezTo>
                    <a:pt x="198" y="109"/>
                    <a:pt x="198" y="109"/>
                    <a:pt x="198" y="109"/>
                  </a:cubicBezTo>
                  <a:cubicBezTo>
                    <a:pt x="198" y="109"/>
                    <a:pt x="198" y="109"/>
                    <a:pt x="198" y="109"/>
                  </a:cubicBezTo>
                  <a:cubicBezTo>
                    <a:pt x="199" y="109"/>
                    <a:pt x="199" y="109"/>
                    <a:pt x="199" y="109"/>
                  </a:cubicBezTo>
                  <a:cubicBezTo>
                    <a:pt x="199" y="109"/>
                    <a:pt x="199" y="109"/>
                    <a:pt x="199" y="109"/>
                  </a:cubicBezTo>
                  <a:cubicBezTo>
                    <a:pt x="199" y="109"/>
                    <a:pt x="199" y="108"/>
                    <a:pt x="199" y="108"/>
                  </a:cubicBezTo>
                  <a:cubicBezTo>
                    <a:pt x="199" y="108"/>
                    <a:pt x="199" y="108"/>
                    <a:pt x="199" y="108"/>
                  </a:cubicBezTo>
                  <a:cubicBezTo>
                    <a:pt x="200" y="108"/>
                    <a:pt x="200" y="108"/>
                    <a:pt x="200" y="108"/>
                  </a:cubicBezTo>
                  <a:cubicBezTo>
                    <a:pt x="200" y="108"/>
                    <a:pt x="200" y="108"/>
                    <a:pt x="200" y="108"/>
                  </a:cubicBezTo>
                  <a:cubicBezTo>
                    <a:pt x="200" y="108"/>
                    <a:pt x="200" y="108"/>
                    <a:pt x="200" y="108"/>
                  </a:cubicBezTo>
                  <a:cubicBezTo>
                    <a:pt x="200" y="107"/>
                    <a:pt x="200" y="107"/>
                    <a:pt x="200" y="107"/>
                  </a:cubicBezTo>
                  <a:cubicBezTo>
                    <a:pt x="200" y="107"/>
                    <a:pt x="200" y="107"/>
                    <a:pt x="200" y="107"/>
                  </a:cubicBezTo>
                  <a:cubicBezTo>
                    <a:pt x="200" y="107"/>
                    <a:pt x="200" y="107"/>
                    <a:pt x="200" y="107"/>
                  </a:cubicBezTo>
                  <a:cubicBezTo>
                    <a:pt x="201" y="107"/>
                    <a:pt x="201" y="107"/>
                    <a:pt x="201" y="107"/>
                  </a:cubicBezTo>
                  <a:cubicBezTo>
                    <a:pt x="201" y="107"/>
                    <a:pt x="201" y="107"/>
                    <a:pt x="201" y="107"/>
                  </a:cubicBezTo>
                  <a:cubicBezTo>
                    <a:pt x="200" y="107"/>
                    <a:pt x="200" y="107"/>
                    <a:pt x="200" y="107"/>
                  </a:cubicBezTo>
                  <a:cubicBezTo>
                    <a:pt x="200" y="107"/>
                    <a:pt x="200" y="107"/>
                    <a:pt x="200" y="107"/>
                  </a:cubicBezTo>
                  <a:cubicBezTo>
                    <a:pt x="200" y="107"/>
                    <a:pt x="200" y="107"/>
                    <a:pt x="200" y="107"/>
                  </a:cubicBezTo>
                  <a:cubicBezTo>
                    <a:pt x="199" y="107"/>
                    <a:pt x="199" y="107"/>
                    <a:pt x="199" y="107"/>
                  </a:cubicBezTo>
                  <a:cubicBezTo>
                    <a:pt x="199" y="107"/>
                    <a:pt x="199" y="107"/>
                    <a:pt x="199" y="107"/>
                  </a:cubicBezTo>
                  <a:cubicBezTo>
                    <a:pt x="199" y="107"/>
                    <a:pt x="199" y="107"/>
                    <a:pt x="199" y="107"/>
                  </a:cubicBezTo>
                  <a:cubicBezTo>
                    <a:pt x="199" y="107"/>
                    <a:pt x="199" y="107"/>
                    <a:pt x="199" y="107"/>
                  </a:cubicBezTo>
                  <a:cubicBezTo>
                    <a:pt x="199" y="107"/>
                    <a:pt x="199" y="107"/>
                    <a:pt x="199" y="107"/>
                  </a:cubicBezTo>
                  <a:cubicBezTo>
                    <a:pt x="198" y="107"/>
                    <a:pt x="198" y="107"/>
                    <a:pt x="198" y="107"/>
                  </a:cubicBezTo>
                  <a:cubicBezTo>
                    <a:pt x="198" y="107"/>
                    <a:pt x="198" y="107"/>
                    <a:pt x="198" y="107"/>
                  </a:cubicBezTo>
                  <a:cubicBezTo>
                    <a:pt x="198" y="107"/>
                    <a:pt x="198" y="107"/>
                    <a:pt x="198" y="107"/>
                  </a:cubicBezTo>
                  <a:cubicBezTo>
                    <a:pt x="197" y="107"/>
                    <a:pt x="197" y="107"/>
                    <a:pt x="197" y="107"/>
                  </a:cubicBezTo>
                  <a:cubicBezTo>
                    <a:pt x="197" y="107"/>
                    <a:pt x="197" y="107"/>
                    <a:pt x="197" y="107"/>
                  </a:cubicBezTo>
                  <a:cubicBezTo>
                    <a:pt x="197" y="108"/>
                    <a:pt x="197" y="108"/>
                    <a:pt x="197" y="108"/>
                  </a:cubicBezTo>
                  <a:cubicBezTo>
                    <a:pt x="196" y="108"/>
                    <a:pt x="196" y="108"/>
                    <a:pt x="196" y="108"/>
                  </a:cubicBezTo>
                  <a:cubicBezTo>
                    <a:pt x="196" y="108"/>
                    <a:pt x="196" y="108"/>
                    <a:pt x="196" y="108"/>
                  </a:cubicBezTo>
                  <a:cubicBezTo>
                    <a:pt x="196" y="108"/>
                    <a:pt x="196" y="108"/>
                    <a:pt x="196" y="108"/>
                  </a:cubicBezTo>
                  <a:cubicBezTo>
                    <a:pt x="196" y="107"/>
                    <a:pt x="196" y="107"/>
                    <a:pt x="196" y="107"/>
                  </a:cubicBezTo>
                  <a:cubicBezTo>
                    <a:pt x="196" y="107"/>
                    <a:pt x="196" y="107"/>
                    <a:pt x="196" y="107"/>
                  </a:cubicBezTo>
                  <a:cubicBezTo>
                    <a:pt x="195" y="107"/>
                    <a:pt x="195" y="107"/>
                    <a:pt x="195" y="107"/>
                  </a:cubicBezTo>
                  <a:cubicBezTo>
                    <a:pt x="195" y="107"/>
                    <a:pt x="195" y="107"/>
                    <a:pt x="195" y="107"/>
                  </a:cubicBezTo>
                  <a:cubicBezTo>
                    <a:pt x="195" y="107"/>
                    <a:pt x="195" y="107"/>
                    <a:pt x="195" y="107"/>
                  </a:cubicBezTo>
                  <a:cubicBezTo>
                    <a:pt x="195" y="107"/>
                    <a:pt x="195" y="107"/>
                    <a:pt x="195" y="107"/>
                  </a:cubicBezTo>
                  <a:cubicBezTo>
                    <a:pt x="195" y="107"/>
                    <a:pt x="195" y="107"/>
                    <a:pt x="195" y="107"/>
                  </a:cubicBezTo>
                  <a:cubicBezTo>
                    <a:pt x="195" y="107"/>
                    <a:pt x="195" y="107"/>
                    <a:pt x="195" y="107"/>
                  </a:cubicBezTo>
                  <a:cubicBezTo>
                    <a:pt x="195" y="106"/>
                    <a:pt x="195" y="106"/>
                    <a:pt x="195" y="106"/>
                  </a:cubicBezTo>
                  <a:cubicBezTo>
                    <a:pt x="195" y="106"/>
                    <a:pt x="195" y="106"/>
                    <a:pt x="195" y="106"/>
                  </a:cubicBezTo>
                  <a:cubicBezTo>
                    <a:pt x="195" y="106"/>
                    <a:pt x="195" y="106"/>
                    <a:pt x="195" y="106"/>
                  </a:cubicBezTo>
                  <a:cubicBezTo>
                    <a:pt x="195" y="106"/>
                    <a:pt x="195" y="106"/>
                    <a:pt x="195" y="106"/>
                  </a:cubicBezTo>
                  <a:cubicBezTo>
                    <a:pt x="195" y="107"/>
                    <a:pt x="195" y="107"/>
                    <a:pt x="195" y="107"/>
                  </a:cubicBezTo>
                  <a:cubicBezTo>
                    <a:pt x="195" y="107"/>
                    <a:pt x="195" y="107"/>
                    <a:pt x="195" y="107"/>
                  </a:cubicBezTo>
                  <a:cubicBezTo>
                    <a:pt x="194" y="107"/>
                    <a:pt x="194" y="107"/>
                    <a:pt x="194" y="107"/>
                  </a:cubicBezTo>
                  <a:cubicBezTo>
                    <a:pt x="194" y="108"/>
                    <a:pt x="194" y="108"/>
                    <a:pt x="194" y="108"/>
                  </a:cubicBezTo>
                  <a:cubicBezTo>
                    <a:pt x="194" y="108"/>
                    <a:pt x="194" y="108"/>
                    <a:pt x="194" y="108"/>
                  </a:cubicBezTo>
                  <a:cubicBezTo>
                    <a:pt x="193" y="108"/>
                    <a:pt x="193" y="108"/>
                    <a:pt x="193" y="108"/>
                  </a:cubicBezTo>
                  <a:cubicBezTo>
                    <a:pt x="193" y="107"/>
                    <a:pt x="193" y="107"/>
                    <a:pt x="193" y="107"/>
                  </a:cubicBezTo>
                  <a:cubicBezTo>
                    <a:pt x="193" y="106"/>
                    <a:pt x="193" y="106"/>
                    <a:pt x="193" y="106"/>
                  </a:cubicBezTo>
                  <a:cubicBezTo>
                    <a:pt x="193" y="106"/>
                    <a:pt x="193" y="106"/>
                    <a:pt x="193" y="106"/>
                  </a:cubicBezTo>
                  <a:cubicBezTo>
                    <a:pt x="194" y="106"/>
                    <a:pt x="194" y="106"/>
                    <a:pt x="194" y="106"/>
                  </a:cubicBezTo>
                  <a:cubicBezTo>
                    <a:pt x="194" y="105"/>
                    <a:pt x="194" y="105"/>
                    <a:pt x="194" y="105"/>
                  </a:cubicBezTo>
                  <a:cubicBezTo>
                    <a:pt x="194" y="105"/>
                    <a:pt x="194" y="105"/>
                    <a:pt x="194" y="105"/>
                  </a:cubicBezTo>
                  <a:cubicBezTo>
                    <a:pt x="194" y="104"/>
                    <a:pt x="194" y="104"/>
                    <a:pt x="194" y="104"/>
                  </a:cubicBezTo>
                  <a:cubicBezTo>
                    <a:pt x="194" y="104"/>
                    <a:pt x="194" y="104"/>
                    <a:pt x="194" y="104"/>
                  </a:cubicBezTo>
                  <a:cubicBezTo>
                    <a:pt x="193" y="104"/>
                    <a:pt x="193" y="104"/>
                    <a:pt x="193" y="104"/>
                  </a:cubicBezTo>
                  <a:cubicBezTo>
                    <a:pt x="193" y="104"/>
                    <a:pt x="193" y="104"/>
                    <a:pt x="193" y="104"/>
                  </a:cubicBezTo>
                  <a:cubicBezTo>
                    <a:pt x="192" y="104"/>
                    <a:pt x="192" y="104"/>
                    <a:pt x="192" y="104"/>
                  </a:cubicBezTo>
                  <a:cubicBezTo>
                    <a:pt x="192" y="104"/>
                    <a:pt x="192" y="104"/>
                    <a:pt x="192" y="104"/>
                  </a:cubicBezTo>
                  <a:cubicBezTo>
                    <a:pt x="192" y="104"/>
                    <a:pt x="192" y="104"/>
                    <a:pt x="192" y="104"/>
                  </a:cubicBezTo>
                  <a:cubicBezTo>
                    <a:pt x="192" y="104"/>
                    <a:pt x="192" y="104"/>
                    <a:pt x="192" y="104"/>
                  </a:cubicBezTo>
                  <a:cubicBezTo>
                    <a:pt x="191" y="104"/>
                    <a:pt x="191" y="104"/>
                    <a:pt x="191" y="104"/>
                  </a:cubicBezTo>
                  <a:cubicBezTo>
                    <a:pt x="191" y="104"/>
                    <a:pt x="191" y="104"/>
                    <a:pt x="191" y="104"/>
                  </a:cubicBezTo>
                  <a:cubicBezTo>
                    <a:pt x="191" y="104"/>
                    <a:pt x="191" y="104"/>
                    <a:pt x="191" y="104"/>
                  </a:cubicBezTo>
                  <a:cubicBezTo>
                    <a:pt x="191" y="104"/>
                    <a:pt x="191" y="104"/>
                    <a:pt x="191" y="104"/>
                  </a:cubicBezTo>
                  <a:cubicBezTo>
                    <a:pt x="191" y="104"/>
                    <a:pt x="191" y="104"/>
                    <a:pt x="191" y="104"/>
                  </a:cubicBezTo>
                  <a:cubicBezTo>
                    <a:pt x="191" y="104"/>
                    <a:pt x="191" y="104"/>
                    <a:pt x="191" y="104"/>
                  </a:cubicBezTo>
                  <a:cubicBezTo>
                    <a:pt x="191" y="104"/>
                    <a:pt x="191" y="104"/>
                    <a:pt x="191" y="104"/>
                  </a:cubicBezTo>
                  <a:cubicBezTo>
                    <a:pt x="191" y="104"/>
                    <a:pt x="191" y="104"/>
                    <a:pt x="191" y="104"/>
                  </a:cubicBezTo>
                  <a:cubicBezTo>
                    <a:pt x="191" y="103"/>
                    <a:pt x="191" y="103"/>
                    <a:pt x="191" y="103"/>
                  </a:cubicBezTo>
                  <a:cubicBezTo>
                    <a:pt x="191" y="103"/>
                    <a:pt x="191" y="103"/>
                    <a:pt x="191" y="103"/>
                  </a:cubicBezTo>
                  <a:cubicBezTo>
                    <a:pt x="191" y="102"/>
                    <a:pt x="191" y="102"/>
                    <a:pt x="191" y="102"/>
                  </a:cubicBezTo>
                  <a:cubicBezTo>
                    <a:pt x="190" y="102"/>
                    <a:pt x="190" y="102"/>
                    <a:pt x="190" y="102"/>
                  </a:cubicBezTo>
                  <a:cubicBezTo>
                    <a:pt x="190" y="102"/>
                    <a:pt x="190" y="102"/>
                    <a:pt x="190" y="102"/>
                  </a:cubicBezTo>
                  <a:cubicBezTo>
                    <a:pt x="190" y="102"/>
                    <a:pt x="190" y="102"/>
                    <a:pt x="190" y="102"/>
                  </a:cubicBezTo>
                  <a:cubicBezTo>
                    <a:pt x="190" y="101"/>
                    <a:pt x="190" y="101"/>
                    <a:pt x="190" y="101"/>
                  </a:cubicBezTo>
                  <a:cubicBezTo>
                    <a:pt x="189" y="101"/>
                    <a:pt x="189" y="101"/>
                    <a:pt x="189" y="101"/>
                  </a:cubicBezTo>
                  <a:cubicBezTo>
                    <a:pt x="189" y="101"/>
                    <a:pt x="189" y="101"/>
                    <a:pt x="189" y="101"/>
                  </a:cubicBezTo>
                  <a:cubicBezTo>
                    <a:pt x="190" y="101"/>
                    <a:pt x="190" y="101"/>
                    <a:pt x="190" y="101"/>
                  </a:cubicBezTo>
                  <a:cubicBezTo>
                    <a:pt x="190" y="101"/>
                    <a:pt x="190" y="101"/>
                    <a:pt x="190" y="101"/>
                  </a:cubicBezTo>
                  <a:cubicBezTo>
                    <a:pt x="190" y="101"/>
                    <a:pt x="190" y="101"/>
                    <a:pt x="190" y="101"/>
                  </a:cubicBezTo>
                  <a:cubicBezTo>
                    <a:pt x="191" y="101"/>
                    <a:pt x="191" y="101"/>
                    <a:pt x="191" y="101"/>
                  </a:cubicBezTo>
                  <a:cubicBezTo>
                    <a:pt x="191" y="101"/>
                    <a:pt x="191" y="101"/>
                    <a:pt x="191" y="101"/>
                  </a:cubicBezTo>
                  <a:cubicBezTo>
                    <a:pt x="192" y="101"/>
                    <a:pt x="192" y="101"/>
                    <a:pt x="192" y="101"/>
                  </a:cubicBezTo>
                  <a:cubicBezTo>
                    <a:pt x="192" y="100"/>
                    <a:pt x="192" y="100"/>
                    <a:pt x="192" y="100"/>
                  </a:cubicBezTo>
                  <a:cubicBezTo>
                    <a:pt x="193" y="100"/>
                    <a:pt x="193" y="100"/>
                    <a:pt x="193" y="100"/>
                  </a:cubicBezTo>
                  <a:cubicBezTo>
                    <a:pt x="193" y="100"/>
                    <a:pt x="193" y="100"/>
                    <a:pt x="193" y="100"/>
                  </a:cubicBezTo>
                  <a:cubicBezTo>
                    <a:pt x="192" y="99"/>
                    <a:pt x="192" y="99"/>
                    <a:pt x="192" y="99"/>
                  </a:cubicBezTo>
                  <a:cubicBezTo>
                    <a:pt x="192" y="99"/>
                    <a:pt x="192" y="99"/>
                    <a:pt x="192" y="99"/>
                  </a:cubicBezTo>
                  <a:cubicBezTo>
                    <a:pt x="192" y="99"/>
                    <a:pt x="192" y="99"/>
                    <a:pt x="192" y="99"/>
                  </a:cubicBezTo>
                  <a:cubicBezTo>
                    <a:pt x="191" y="99"/>
                    <a:pt x="191" y="99"/>
                    <a:pt x="191" y="99"/>
                  </a:cubicBezTo>
                  <a:cubicBezTo>
                    <a:pt x="191" y="98"/>
                    <a:pt x="191" y="98"/>
                    <a:pt x="191" y="98"/>
                  </a:cubicBezTo>
                  <a:cubicBezTo>
                    <a:pt x="191" y="98"/>
                    <a:pt x="191" y="98"/>
                    <a:pt x="191" y="98"/>
                  </a:cubicBezTo>
                  <a:cubicBezTo>
                    <a:pt x="191" y="98"/>
                    <a:pt x="191" y="98"/>
                    <a:pt x="191" y="98"/>
                  </a:cubicBezTo>
                  <a:cubicBezTo>
                    <a:pt x="191" y="98"/>
                    <a:pt x="191" y="98"/>
                    <a:pt x="191" y="98"/>
                  </a:cubicBezTo>
                  <a:cubicBezTo>
                    <a:pt x="191" y="98"/>
                    <a:pt x="191" y="98"/>
                    <a:pt x="191" y="98"/>
                  </a:cubicBezTo>
                  <a:cubicBezTo>
                    <a:pt x="190" y="97"/>
                    <a:pt x="190" y="97"/>
                    <a:pt x="190" y="97"/>
                  </a:cubicBezTo>
                  <a:cubicBezTo>
                    <a:pt x="190" y="97"/>
                    <a:pt x="190" y="97"/>
                    <a:pt x="190" y="97"/>
                  </a:cubicBezTo>
                  <a:cubicBezTo>
                    <a:pt x="190" y="97"/>
                    <a:pt x="190" y="97"/>
                    <a:pt x="190" y="97"/>
                  </a:cubicBezTo>
                  <a:cubicBezTo>
                    <a:pt x="190" y="97"/>
                    <a:pt x="190" y="97"/>
                    <a:pt x="190" y="97"/>
                  </a:cubicBezTo>
                  <a:cubicBezTo>
                    <a:pt x="190" y="97"/>
                    <a:pt x="190" y="97"/>
                    <a:pt x="190" y="97"/>
                  </a:cubicBezTo>
                  <a:cubicBezTo>
                    <a:pt x="189" y="96"/>
                    <a:pt x="189" y="96"/>
                    <a:pt x="189" y="96"/>
                  </a:cubicBezTo>
                  <a:cubicBezTo>
                    <a:pt x="189" y="96"/>
                    <a:pt x="189" y="96"/>
                    <a:pt x="189" y="96"/>
                  </a:cubicBezTo>
                  <a:cubicBezTo>
                    <a:pt x="188" y="96"/>
                    <a:pt x="188" y="96"/>
                    <a:pt x="188" y="96"/>
                  </a:cubicBezTo>
                  <a:cubicBezTo>
                    <a:pt x="188" y="96"/>
                    <a:pt x="188" y="96"/>
                    <a:pt x="188" y="96"/>
                  </a:cubicBezTo>
                  <a:cubicBezTo>
                    <a:pt x="188" y="95"/>
                    <a:pt x="188" y="95"/>
                    <a:pt x="188" y="95"/>
                  </a:cubicBezTo>
                  <a:cubicBezTo>
                    <a:pt x="188" y="95"/>
                    <a:pt x="188" y="95"/>
                    <a:pt x="188" y="95"/>
                  </a:cubicBezTo>
                  <a:cubicBezTo>
                    <a:pt x="188" y="94"/>
                    <a:pt x="188" y="94"/>
                    <a:pt x="188" y="94"/>
                  </a:cubicBezTo>
                  <a:cubicBezTo>
                    <a:pt x="188" y="94"/>
                    <a:pt x="188" y="94"/>
                    <a:pt x="188" y="94"/>
                  </a:cubicBezTo>
                  <a:cubicBezTo>
                    <a:pt x="188" y="94"/>
                    <a:pt x="188" y="94"/>
                    <a:pt x="188" y="94"/>
                  </a:cubicBezTo>
                  <a:cubicBezTo>
                    <a:pt x="189" y="93"/>
                    <a:pt x="189" y="93"/>
                    <a:pt x="189" y="93"/>
                  </a:cubicBezTo>
                  <a:cubicBezTo>
                    <a:pt x="189" y="93"/>
                    <a:pt x="189" y="93"/>
                    <a:pt x="189" y="93"/>
                  </a:cubicBezTo>
                  <a:cubicBezTo>
                    <a:pt x="189" y="93"/>
                    <a:pt x="189" y="93"/>
                    <a:pt x="189" y="93"/>
                  </a:cubicBezTo>
                  <a:cubicBezTo>
                    <a:pt x="188" y="92"/>
                    <a:pt x="188" y="92"/>
                    <a:pt x="188" y="92"/>
                  </a:cubicBezTo>
                  <a:cubicBezTo>
                    <a:pt x="188" y="92"/>
                    <a:pt x="188" y="92"/>
                    <a:pt x="188" y="92"/>
                  </a:cubicBezTo>
                  <a:cubicBezTo>
                    <a:pt x="189" y="91"/>
                    <a:pt x="189" y="91"/>
                    <a:pt x="189" y="91"/>
                  </a:cubicBezTo>
                  <a:cubicBezTo>
                    <a:pt x="189" y="91"/>
                    <a:pt x="189" y="91"/>
                    <a:pt x="189" y="91"/>
                  </a:cubicBezTo>
                  <a:cubicBezTo>
                    <a:pt x="189" y="91"/>
                    <a:pt x="189" y="91"/>
                    <a:pt x="189" y="91"/>
                  </a:cubicBezTo>
                  <a:cubicBezTo>
                    <a:pt x="189" y="91"/>
                    <a:pt x="189" y="91"/>
                    <a:pt x="189" y="91"/>
                  </a:cubicBezTo>
                  <a:cubicBezTo>
                    <a:pt x="190" y="91"/>
                    <a:pt x="190" y="91"/>
                    <a:pt x="190" y="91"/>
                  </a:cubicBezTo>
                  <a:cubicBezTo>
                    <a:pt x="190" y="91"/>
                    <a:pt x="190" y="91"/>
                    <a:pt x="190" y="91"/>
                  </a:cubicBezTo>
                  <a:cubicBezTo>
                    <a:pt x="190" y="90"/>
                    <a:pt x="190" y="90"/>
                    <a:pt x="190" y="90"/>
                  </a:cubicBezTo>
                  <a:cubicBezTo>
                    <a:pt x="189" y="90"/>
                    <a:pt x="189" y="90"/>
                    <a:pt x="189" y="90"/>
                  </a:cubicBezTo>
                  <a:cubicBezTo>
                    <a:pt x="189" y="90"/>
                    <a:pt x="189" y="90"/>
                    <a:pt x="189" y="90"/>
                  </a:cubicBezTo>
                  <a:cubicBezTo>
                    <a:pt x="189" y="90"/>
                    <a:pt x="189" y="90"/>
                    <a:pt x="189" y="90"/>
                  </a:cubicBezTo>
                  <a:cubicBezTo>
                    <a:pt x="189" y="90"/>
                    <a:pt x="189" y="90"/>
                    <a:pt x="189" y="90"/>
                  </a:cubicBezTo>
                  <a:cubicBezTo>
                    <a:pt x="189" y="89"/>
                    <a:pt x="189" y="89"/>
                    <a:pt x="189" y="89"/>
                  </a:cubicBezTo>
                  <a:cubicBezTo>
                    <a:pt x="189" y="89"/>
                    <a:pt x="189" y="89"/>
                    <a:pt x="189" y="89"/>
                  </a:cubicBezTo>
                  <a:cubicBezTo>
                    <a:pt x="189" y="89"/>
                    <a:pt x="189" y="89"/>
                    <a:pt x="189" y="89"/>
                  </a:cubicBezTo>
                  <a:cubicBezTo>
                    <a:pt x="189" y="88"/>
                    <a:pt x="189" y="88"/>
                    <a:pt x="189" y="88"/>
                  </a:cubicBezTo>
                  <a:cubicBezTo>
                    <a:pt x="189" y="88"/>
                    <a:pt x="189" y="88"/>
                    <a:pt x="189" y="88"/>
                  </a:cubicBezTo>
                  <a:cubicBezTo>
                    <a:pt x="189" y="88"/>
                    <a:pt x="189" y="88"/>
                    <a:pt x="189" y="88"/>
                  </a:cubicBezTo>
                  <a:cubicBezTo>
                    <a:pt x="189" y="88"/>
                    <a:pt x="189" y="88"/>
                    <a:pt x="189" y="88"/>
                  </a:cubicBezTo>
                  <a:cubicBezTo>
                    <a:pt x="188" y="88"/>
                    <a:pt x="188" y="88"/>
                    <a:pt x="188" y="88"/>
                  </a:cubicBezTo>
                  <a:cubicBezTo>
                    <a:pt x="188" y="87"/>
                    <a:pt x="188" y="87"/>
                    <a:pt x="188" y="87"/>
                  </a:cubicBezTo>
                  <a:cubicBezTo>
                    <a:pt x="188" y="87"/>
                    <a:pt x="188" y="87"/>
                    <a:pt x="188" y="87"/>
                  </a:cubicBezTo>
                  <a:cubicBezTo>
                    <a:pt x="188" y="87"/>
                    <a:pt x="188" y="87"/>
                    <a:pt x="188" y="87"/>
                  </a:cubicBezTo>
                  <a:cubicBezTo>
                    <a:pt x="188" y="86"/>
                    <a:pt x="188" y="86"/>
                    <a:pt x="188" y="86"/>
                  </a:cubicBezTo>
                  <a:cubicBezTo>
                    <a:pt x="189" y="86"/>
                    <a:pt x="189" y="86"/>
                    <a:pt x="189" y="86"/>
                  </a:cubicBezTo>
                  <a:cubicBezTo>
                    <a:pt x="189" y="86"/>
                    <a:pt x="189" y="86"/>
                    <a:pt x="189" y="86"/>
                  </a:cubicBezTo>
                  <a:cubicBezTo>
                    <a:pt x="189" y="85"/>
                    <a:pt x="189" y="85"/>
                    <a:pt x="189" y="85"/>
                  </a:cubicBezTo>
                  <a:cubicBezTo>
                    <a:pt x="189" y="85"/>
                    <a:pt x="189" y="85"/>
                    <a:pt x="189" y="85"/>
                  </a:cubicBezTo>
                  <a:cubicBezTo>
                    <a:pt x="189" y="85"/>
                    <a:pt x="189" y="85"/>
                    <a:pt x="189" y="85"/>
                  </a:cubicBezTo>
                  <a:cubicBezTo>
                    <a:pt x="189" y="85"/>
                    <a:pt x="189" y="85"/>
                    <a:pt x="189" y="85"/>
                  </a:cubicBezTo>
                  <a:cubicBezTo>
                    <a:pt x="189" y="84"/>
                    <a:pt x="189" y="84"/>
                    <a:pt x="189" y="84"/>
                  </a:cubicBezTo>
                  <a:cubicBezTo>
                    <a:pt x="189" y="84"/>
                    <a:pt x="189" y="84"/>
                    <a:pt x="189" y="84"/>
                  </a:cubicBezTo>
                  <a:cubicBezTo>
                    <a:pt x="189" y="84"/>
                    <a:pt x="189" y="84"/>
                    <a:pt x="189" y="84"/>
                  </a:cubicBezTo>
                  <a:cubicBezTo>
                    <a:pt x="189" y="83"/>
                    <a:pt x="189" y="83"/>
                    <a:pt x="189" y="83"/>
                  </a:cubicBezTo>
                  <a:cubicBezTo>
                    <a:pt x="189" y="83"/>
                    <a:pt x="189" y="83"/>
                    <a:pt x="189" y="83"/>
                  </a:cubicBezTo>
                  <a:cubicBezTo>
                    <a:pt x="188" y="83"/>
                    <a:pt x="188" y="83"/>
                    <a:pt x="188" y="83"/>
                  </a:cubicBezTo>
                  <a:cubicBezTo>
                    <a:pt x="188" y="82"/>
                    <a:pt x="188" y="82"/>
                    <a:pt x="188" y="82"/>
                  </a:cubicBezTo>
                  <a:cubicBezTo>
                    <a:pt x="188" y="82"/>
                    <a:pt x="188" y="82"/>
                    <a:pt x="188" y="82"/>
                  </a:cubicBezTo>
                  <a:cubicBezTo>
                    <a:pt x="187" y="82"/>
                    <a:pt x="187" y="82"/>
                    <a:pt x="187" y="82"/>
                  </a:cubicBezTo>
                  <a:cubicBezTo>
                    <a:pt x="188" y="83"/>
                    <a:pt x="188" y="83"/>
                    <a:pt x="188" y="84"/>
                  </a:cubicBezTo>
                  <a:cubicBezTo>
                    <a:pt x="188" y="84"/>
                    <a:pt x="188" y="84"/>
                    <a:pt x="188" y="84"/>
                  </a:cubicBezTo>
                  <a:cubicBezTo>
                    <a:pt x="187" y="84"/>
                    <a:pt x="187" y="84"/>
                    <a:pt x="187" y="84"/>
                  </a:cubicBezTo>
                  <a:cubicBezTo>
                    <a:pt x="187" y="83"/>
                    <a:pt x="187" y="83"/>
                    <a:pt x="187" y="83"/>
                  </a:cubicBezTo>
                  <a:cubicBezTo>
                    <a:pt x="187" y="83"/>
                    <a:pt x="187" y="83"/>
                    <a:pt x="187" y="83"/>
                  </a:cubicBezTo>
                  <a:cubicBezTo>
                    <a:pt x="187" y="83"/>
                    <a:pt x="187" y="83"/>
                    <a:pt x="187" y="83"/>
                  </a:cubicBezTo>
                  <a:cubicBezTo>
                    <a:pt x="187" y="82"/>
                    <a:pt x="187" y="82"/>
                    <a:pt x="187" y="82"/>
                  </a:cubicBezTo>
                  <a:cubicBezTo>
                    <a:pt x="187" y="82"/>
                    <a:pt x="187" y="82"/>
                    <a:pt x="187" y="82"/>
                  </a:cubicBezTo>
                  <a:cubicBezTo>
                    <a:pt x="187" y="82"/>
                    <a:pt x="187" y="82"/>
                    <a:pt x="187" y="82"/>
                  </a:cubicBezTo>
                  <a:cubicBezTo>
                    <a:pt x="187" y="81"/>
                    <a:pt x="187" y="81"/>
                    <a:pt x="187" y="81"/>
                  </a:cubicBezTo>
                  <a:cubicBezTo>
                    <a:pt x="187" y="81"/>
                    <a:pt x="187" y="81"/>
                    <a:pt x="187" y="81"/>
                  </a:cubicBezTo>
                  <a:cubicBezTo>
                    <a:pt x="187" y="81"/>
                    <a:pt x="187" y="81"/>
                    <a:pt x="187" y="81"/>
                  </a:cubicBezTo>
                  <a:cubicBezTo>
                    <a:pt x="187" y="81"/>
                    <a:pt x="187" y="81"/>
                    <a:pt x="187" y="81"/>
                  </a:cubicBezTo>
                  <a:cubicBezTo>
                    <a:pt x="187" y="81"/>
                    <a:pt x="187" y="81"/>
                    <a:pt x="187" y="81"/>
                  </a:cubicBezTo>
                  <a:cubicBezTo>
                    <a:pt x="187" y="80"/>
                    <a:pt x="187" y="80"/>
                    <a:pt x="187" y="80"/>
                  </a:cubicBezTo>
                  <a:cubicBezTo>
                    <a:pt x="188" y="80"/>
                    <a:pt x="188" y="80"/>
                    <a:pt x="188" y="80"/>
                  </a:cubicBezTo>
                  <a:cubicBezTo>
                    <a:pt x="188" y="80"/>
                    <a:pt x="188" y="80"/>
                    <a:pt x="188" y="80"/>
                  </a:cubicBezTo>
                  <a:cubicBezTo>
                    <a:pt x="188" y="80"/>
                    <a:pt x="188" y="80"/>
                    <a:pt x="188" y="80"/>
                  </a:cubicBezTo>
                  <a:cubicBezTo>
                    <a:pt x="188" y="79"/>
                    <a:pt x="188" y="79"/>
                    <a:pt x="188" y="79"/>
                  </a:cubicBezTo>
                  <a:cubicBezTo>
                    <a:pt x="187" y="79"/>
                    <a:pt x="187" y="79"/>
                    <a:pt x="187" y="79"/>
                  </a:cubicBezTo>
                  <a:cubicBezTo>
                    <a:pt x="187" y="79"/>
                    <a:pt x="187" y="79"/>
                    <a:pt x="187" y="79"/>
                  </a:cubicBezTo>
                  <a:cubicBezTo>
                    <a:pt x="187" y="78"/>
                    <a:pt x="187" y="78"/>
                    <a:pt x="187" y="78"/>
                  </a:cubicBezTo>
                  <a:cubicBezTo>
                    <a:pt x="187" y="78"/>
                    <a:pt x="187" y="77"/>
                    <a:pt x="186" y="77"/>
                  </a:cubicBezTo>
                  <a:cubicBezTo>
                    <a:pt x="186" y="77"/>
                    <a:pt x="186" y="77"/>
                    <a:pt x="186" y="77"/>
                  </a:cubicBezTo>
                  <a:cubicBezTo>
                    <a:pt x="186" y="76"/>
                    <a:pt x="186" y="76"/>
                    <a:pt x="186" y="76"/>
                  </a:cubicBezTo>
                  <a:cubicBezTo>
                    <a:pt x="186" y="76"/>
                    <a:pt x="186" y="76"/>
                    <a:pt x="186" y="76"/>
                  </a:cubicBezTo>
                  <a:cubicBezTo>
                    <a:pt x="186" y="75"/>
                    <a:pt x="186" y="75"/>
                    <a:pt x="186" y="75"/>
                  </a:cubicBezTo>
                  <a:cubicBezTo>
                    <a:pt x="186" y="75"/>
                    <a:pt x="186" y="75"/>
                    <a:pt x="186" y="75"/>
                  </a:cubicBezTo>
                  <a:cubicBezTo>
                    <a:pt x="187" y="74"/>
                    <a:pt x="187" y="74"/>
                    <a:pt x="187" y="74"/>
                  </a:cubicBezTo>
                  <a:cubicBezTo>
                    <a:pt x="187" y="74"/>
                    <a:pt x="187" y="74"/>
                    <a:pt x="187" y="74"/>
                  </a:cubicBezTo>
                  <a:cubicBezTo>
                    <a:pt x="187" y="74"/>
                    <a:pt x="187" y="74"/>
                    <a:pt x="187" y="74"/>
                  </a:cubicBezTo>
                  <a:cubicBezTo>
                    <a:pt x="187" y="73"/>
                    <a:pt x="187" y="73"/>
                    <a:pt x="187" y="73"/>
                  </a:cubicBezTo>
                  <a:cubicBezTo>
                    <a:pt x="187" y="72"/>
                    <a:pt x="187" y="72"/>
                    <a:pt x="187" y="72"/>
                  </a:cubicBezTo>
                  <a:cubicBezTo>
                    <a:pt x="187" y="72"/>
                    <a:pt x="187" y="72"/>
                    <a:pt x="187" y="72"/>
                  </a:cubicBezTo>
                  <a:cubicBezTo>
                    <a:pt x="187" y="72"/>
                    <a:pt x="187" y="72"/>
                    <a:pt x="187" y="72"/>
                  </a:cubicBezTo>
                  <a:cubicBezTo>
                    <a:pt x="186" y="72"/>
                    <a:pt x="186" y="72"/>
                    <a:pt x="186" y="72"/>
                  </a:cubicBezTo>
                  <a:cubicBezTo>
                    <a:pt x="186" y="72"/>
                    <a:pt x="186" y="72"/>
                    <a:pt x="186" y="72"/>
                  </a:cubicBezTo>
                  <a:cubicBezTo>
                    <a:pt x="186" y="72"/>
                    <a:pt x="186" y="72"/>
                    <a:pt x="186" y="72"/>
                  </a:cubicBezTo>
                  <a:cubicBezTo>
                    <a:pt x="186" y="73"/>
                    <a:pt x="186" y="73"/>
                    <a:pt x="186" y="73"/>
                  </a:cubicBezTo>
                  <a:cubicBezTo>
                    <a:pt x="186" y="73"/>
                    <a:pt x="186" y="73"/>
                    <a:pt x="186" y="73"/>
                  </a:cubicBezTo>
                  <a:cubicBezTo>
                    <a:pt x="186" y="73"/>
                    <a:pt x="186" y="73"/>
                    <a:pt x="186" y="73"/>
                  </a:cubicBezTo>
                  <a:cubicBezTo>
                    <a:pt x="186" y="73"/>
                    <a:pt x="186" y="73"/>
                    <a:pt x="186" y="73"/>
                  </a:cubicBezTo>
                  <a:cubicBezTo>
                    <a:pt x="186" y="74"/>
                    <a:pt x="186" y="74"/>
                    <a:pt x="186" y="74"/>
                  </a:cubicBezTo>
                  <a:cubicBezTo>
                    <a:pt x="186" y="74"/>
                    <a:pt x="186" y="74"/>
                    <a:pt x="186" y="74"/>
                  </a:cubicBezTo>
                  <a:cubicBezTo>
                    <a:pt x="185" y="73"/>
                    <a:pt x="185" y="73"/>
                    <a:pt x="185" y="73"/>
                  </a:cubicBezTo>
                  <a:cubicBezTo>
                    <a:pt x="185" y="73"/>
                    <a:pt x="185" y="73"/>
                    <a:pt x="185" y="73"/>
                  </a:cubicBezTo>
                  <a:cubicBezTo>
                    <a:pt x="185" y="73"/>
                    <a:pt x="185" y="73"/>
                    <a:pt x="185" y="73"/>
                  </a:cubicBezTo>
                  <a:cubicBezTo>
                    <a:pt x="185" y="73"/>
                    <a:pt x="185" y="73"/>
                    <a:pt x="185" y="73"/>
                  </a:cubicBezTo>
                  <a:cubicBezTo>
                    <a:pt x="185" y="73"/>
                    <a:pt x="185" y="73"/>
                    <a:pt x="185" y="73"/>
                  </a:cubicBezTo>
                  <a:cubicBezTo>
                    <a:pt x="185" y="74"/>
                    <a:pt x="185" y="74"/>
                    <a:pt x="185" y="74"/>
                  </a:cubicBezTo>
                  <a:cubicBezTo>
                    <a:pt x="185" y="74"/>
                    <a:pt x="185" y="74"/>
                    <a:pt x="185" y="74"/>
                  </a:cubicBezTo>
                  <a:cubicBezTo>
                    <a:pt x="184" y="74"/>
                    <a:pt x="184" y="74"/>
                    <a:pt x="184" y="74"/>
                  </a:cubicBezTo>
                  <a:cubicBezTo>
                    <a:pt x="184" y="73"/>
                    <a:pt x="184" y="73"/>
                    <a:pt x="184" y="73"/>
                  </a:cubicBezTo>
                  <a:cubicBezTo>
                    <a:pt x="184" y="73"/>
                    <a:pt x="184" y="73"/>
                    <a:pt x="184" y="73"/>
                  </a:cubicBezTo>
                  <a:cubicBezTo>
                    <a:pt x="184" y="73"/>
                    <a:pt x="184" y="73"/>
                    <a:pt x="184" y="73"/>
                  </a:cubicBezTo>
                  <a:cubicBezTo>
                    <a:pt x="184" y="73"/>
                    <a:pt x="184" y="73"/>
                    <a:pt x="184" y="73"/>
                  </a:cubicBezTo>
                  <a:cubicBezTo>
                    <a:pt x="183" y="73"/>
                    <a:pt x="183" y="73"/>
                    <a:pt x="183" y="73"/>
                  </a:cubicBezTo>
                  <a:cubicBezTo>
                    <a:pt x="183" y="73"/>
                    <a:pt x="183" y="73"/>
                    <a:pt x="183" y="73"/>
                  </a:cubicBezTo>
                  <a:cubicBezTo>
                    <a:pt x="183" y="72"/>
                    <a:pt x="183" y="72"/>
                    <a:pt x="183" y="72"/>
                  </a:cubicBezTo>
                  <a:cubicBezTo>
                    <a:pt x="183" y="72"/>
                    <a:pt x="183" y="72"/>
                    <a:pt x="183" y="72"/>
                  </a:cubicBezTo>
                  <a:cubicBezTo>
                    <a:pt x="183" y="72"/>
                    <a:pt x="183" y="72"/>
                    <a:pt x="183" y="72"/>
                  </a:cubicBezTo>
                  <a:cubicBezTo>
                    <a:pt x="182" y="72"/>
                    <a:pt x="182" y="72"/>
                    <a:pt x="182" y="72"/>
                  </a:cubicBezTo>
                  <a:cubicBezTo>
                    <a:pt x="182" y="72"/>
                    <a:pt x="182" y="72"/>
                    <a:pt x="182" y="72"/>
                  </a:cubicBezTo>
                  <a:cubicBezTo>
                    <a:pt x="182" y="72"/>
                    <a:pt x="182" y="72"/>
                    <a:pt x="182" y="72"/>
                  </a:cubicBezTo>
                  <a:cubicBezTo>
                    <a:pt x="182" y="72"/>
                    <a:pt x="182" y="72"/>
                    <a:pt x="182" y="72"/>
                  </a:cubicBezTo>
                  <a:cubicBezTo>
                    <a:pt x="182" y="72"/>
                    <a:pt x="182" y="72"/>
                    <a:pt x="182" y="72"/>
                  </a:cubicBezTo>
                  <a:cubicBezTo>
                    <a:pt x="182" y="72"/>
                    <a:pt x="182" y="72"/>
                    <a:pt x="182" y="72"/>
                  </a:cubicBezTo>
                  <a:cubicBezTo>
                    <a:pt x="182" y="72"/>
                    <a:pt x="182" y="72"/>
                    <a:pt x="182" y="72"/>
                  </a:cubicBezTo>
                  <a:cubicBezTo>
                    <a:pt x="182" y="73"/>
                    <a:pt x="182" y="73"/>
                    <a:pt x="182" y="73"/>
                  </a:cubicBezTo>
                  <a:cubicBezTo>
                    <a:pt x="181" y="73"/>
                    <a:pt x="181" y="73"/>
                    <a:pt x="181" y="73"/>
                  </a:cubicBezTo>
                  <a:cubicBezTo>
                    <a:pt x="181" y="72"/>
                    <a:pt x="181" y="72"/>
                    <a:pt x="181" y="72"/>
                  </a:cubicBezTo>
                  <a:cubicBezTo>
                    <a:pt x="180" y="71"/>
                    <a:pt x="180" y="71"/>
                    <a:pt x="180" y="71"/>
                  </a:cubicBezTo>
                  <a:cubicBezTo>
                    <a:pt x="179" y="71"/>
                    <a:pt x="179" y="71"/>
                    <a:pt x="179" y="71"/>
                  </a:cubicBezTo>
                  <a:cubicBezTo>
                    <a:pt x="179" y="70"/>
                    <a:pt x="179" y="70"/>
                    <a:pt x="179" y="70"/>
                  </a:cubicBezTo>
                  <a:cubicBezTo>
                    <a:pt x="179" y="70"/>
                    <a:pt x="179" y="70"/>
                    <a:pt x="179" y="70"/>
                  </a:cubicBezTo>
                  <a:cubicBezTo>
                    <a:pt x="178" y="69"/>
                    <a:pt x="178" y="69"/>
                    <a:pt x="178" y="69"/>
                  </a:cubicBezTo>
                  <a:cubicBezTo>
                    <a:pt x="178" y="69"/>
                    <a:pt x="178" y="69"/>
                    <a:pt x="178" y="69"/>
                  </a:cubicBezTo>
                  <a:cubicBezTo>
                    <a:pt x="178" y="69"/>
                    <a:pt x="178" y="69"/>
                    <a:pt x="178" y="69"/>
                  </a:cubicBezTo>
                  <a:cubicBezTo>
                    <a:pt x="178" y="68"/>
                    <a:pt x="178" y="68"/>
                    <a:pt x="178" y="68"/>
                  </a:cubicBezTo>
                  <a:cubicBezTo>
                    <a:pt x="178" y="68"/>
                    <a:pt x="178" y="68"/>
                    <a:pt x="178" y="68"/>
                  </a:cubicBezTo>
                  <a:cubicBezTo>
                    <a:pt x="177" y="68"/>
                    <a:pt x="177" y="68"/>
                    <a:pt x="177" y="68"/>
                  </a:cubicBezTo>
                  <a:cubicBezTo>
                    <a:pt x="177" y="68"/>
                    <a:pt x="177" y="68"/>
                    <a:pt x="177" y="68"/>
                  </a:cubicBezTo>
                  <a:cubicBezTo>
                    <a:pt x="177" y="68"/>
                    <a:pt x="177" y="68"/>
                    <a:pt x="177" y="68"/>
                  </a:cubicBezTo>
                  <a:cubicBezTo>
                    <a:pt x="176" y="68"/>
                    <a:pt x="176" y="68"/>
                    <a:pt x="176" y="68"/>
                  </a:cubicBezTo>
                  <a:cubicBezTo>
                    <a:pt x="176" y="68"/>
                    <a:pt x="176" y="68"/>
                    <a:pt x="176" y="68"/>
                  </a:cubicBezTo>
                  <a:cubicBezTo>
                    <a:pt x="176" y="68"/>
                    <a:pt x="176" y="68"/>
                    <a:pt x="176" y="68"/>
                  </a:cubicBezTo>
                  <a:cubicBezTo>
                    <a:pt x="176" y="68"/>
                    <a:pt x="176" y="68"/>
                    <a:pt x="176" y="68"/>
                  </a:cubicBezTo>
                  <a:cubicBezTo>
                    <a:pt x="176" y="68"/>
                    <a:pt x="176" y="68"/>
                    <a:pt x="176" y="68"/>
                  </a:cubicBezTo>
                  <a:cubicBezTo>
                    <a:pt x="175" y="68"/>
                    <a:pt x="175" y="68"/>
                    <a:pt x="175" y="68"/>
                  </a:cubicBezTo>
                  <a:cubicBezTo>
                    <a:pt x="175" y="68"/>
                    <a:pt x="175" y="68"/>
                    <a:pt x="175" y="68"/>
                  </a:cubicBezTo>
                  <a:cubicBezTo>
                    <a:pt x="175" y="67"/>
                    <a:pt x="175" y="67"/>
                    <a:pt x="175" y="67"/>
                  </a:cubicBezTo>
                  <a:cubicBezTo>
                    <a:pt x="175" y="67"/>
                    <a:pt x="175" y="67"/>
                    <a:pt x="175" y="66"/>
                  </a:cubicBezTo>
                  <a:cubicBezTo>
                    <a:pt x="175" y="65"/>
                    <a:pt x="175" y="65"/>
                    <a:pt x="175" y="65"/>
                  </a:cubicBezTo>
                  <a:cubicBezTo>
                    <a:pt x="175" y="65"/>
                    <a:pt x="175" y="65"/>
                    <a:pt x="175" y="65"/>
                  </a:cubicBezTo>
                  <a:cubicBezTo>
                    <a:pt x="175" y="64"/>
                    <a:pt x="175" y="64"/>
                    <a:pt x="175" y="64"/>
                  </a:cubicBezTo>
                  <a:cubicBezTo>
                    <a:pt x="176" y="64"/>
                    <a:pt x="176" y="64"/>
                    <a:pt x="176" y="64"/>
                  </a:cubicBezTo>
                  <a:cubicBezTo>
                    <a:pt x="176" y="64"/>
                    <a:pt x="176" y="64"/>
                    <a:pt x="176" y="64"/>
                  </a:cubicBezTo>
                  <a:cubicBezTo>
                    <a:pt x="176" y="64"/>
                    <a:pt x="176" y="64"/>
                    <a:pt x="176" y="64"/>
                  </a:cubicBezTo>
                  <a:cubicBezTo>
                    <a:pt x="176" y="64"/>
                    <a:pt x="176" y="64"/>
                    <a:pt x="176" y="64"/>
                  </a:cubicBezTo>
                  <a:cubicBezTo>
                    <a:pt x="176" y="63"/>
                    <a:pt x="176" y="63"/>
                    <a:pt x="176" y="63"/>
                  </a:cubicBezTo>
                  <a:cubicBezTo>
                    <a:pt x="176" y="63"/>
                    <a:pt x="176" y="63"/>
                    <a:pt x="176" y="63"/>
                  </a:cubicBezTo>
                  <a:cubicBezTo>
                    <a:pt x="176" y="63"/>
                    <a:pt x="176" y="63"/>
                    <a:pt x="176" y="62"/>
                  </a:cubicBezTo>
                  <a:cubicBezTo>
                    <a:pt x="176" y="62"/>
                    <a:pt x="176" y="62"/>
                    <a:pt x="176" y="62"/>
                  </a:cubicBezTo>
                  <a:cubicBezTo>
                    <a:pt x="176" y="62"/>
                    <a:pt x="176" y="62"/>
                    <a:pt x="176" y="62"/>
                  </a:cubicBezTo>
                  <a:cubicBezTo>
                    <a:pt x="176" y="62"/>
                    <a:pt x="176" y="62"/>
                    <a:pt x="176" y="62"/>
                  </a:cubicBezTo>
                  <a:cubicBezTo>
                    <a:pt x="176" y="61"/>
                    <a:pt x="176" y="61"/>
                    <a:pt x="176" y="61"/>
                  </a:cubicBezTo>
                  <a:cubicBezTo>
                    <a:pt x="176" y="61"/>
                    <a:pt x="176" y="61"/>
                    <a:pt x="176" y="61"/>
                  </a:cubicBezTo>
                  <a:cubicBezTo>
                    <a:pt x="176" y="61"/>
                    <a:pt x="176" y="61"/>
                    <a:pt x="176" y="61"/>
                  </a:cubicBezTo>
                  <a:cubicBezTo>
                    <a:pt x="177" y="61"/>
                    <a:pt x="177" y="61"/>
                    <a:pt x="177" y="61"/>
                  </a:cubicBezTo>
                  <a:cubicBezTo>
                    <a:pt x="177" y="60"/>
                    <a:pt x="177" y="60"/>
                    <a:pt x="177" y="60"/>
                  </a:cubicBezTo>
                  <a:cubicBezTo>
                    <a:pt x="177" y="60"/>
                    <a:pt x="177" y="60"/>
                    <a:pt x="177" y="60"/>
                  </a:cubicBezTo>
                  <a:cubicBezTo>
                    <a:pt x="177" y="60"/>
                    <a:pt x="177" y="60"/>
                    <a:pt x="177" y="60"/>
                  </a:cubicBezTo>
                  <a:cubicBezTo>
                    <a:pt x="177" y="60"/>
                    <a:pt x="177" y="59"/>
                    <a:pt x="177" y="59"/>
                  </a:cubicBezTo>
                  <a:cubicBezTo>
                    <a:pt x="177" y="59"/>
                    <a:pt x="177" y="59"/>
                    <a:pt x="177" y="59"/>
                  </a:cubicBezTo>
                  <a:cubicBezTo>
                    <a:pt x="178" y="58"/>
                    <a:pt x="178" y="58"/>
                    <a:pt x="178" y="58"/>
                  </a:cubicBezTo>
                  <a:cubicBezTo>
                    <a:pt x="178" y="58"/>
                    <a:pt x="178" y="58"/>
                    <a:pt x="178" y="58"/>
                  </a:cubicBezTo>
                  <a:cubicBezTo>
                    <a:pt x="179" y="58"/>
                    <a:pt x="179" y="58"/>
                    <a:pt x="179" y="58"/>
                  </a:cubicBezTo>
                  <a:cubicBezTo>
                    <a:pt x="179" y="57"/>
                    <a:pt x="179" y="57"/>
                    <a:pt x="179" y="57"/>
                  </a:cubicBezTo>
                  <a:cubicBezTo>
                    <a:pt x="179" y="57"/>
                    <a:pt x="179" y="57"/>
                    <a:pt x="179" y="57"/>
                  </a:cubicBezTo>
                  <a:cubicBezTo>
                    <a:pt x="179" y="57"/>
                    <a:pt x="179" y="57"/>
                    <a:pt x="179" y="57"/>
                  </a:cubicBezTo>
                  <a:cubicBezTo>
                    <a:pt x="179" y="57"/>
                    <a:pt x="179" y="57"/>
                    <a:pt x="179" y="57"/>
                  </a:cubicBezTo>
                  <a:cubicBezTo>
                    <a:pt x="178" y="57"/>
                    <a:pt x="178" y="57"/>
                    <a:pt x="178" y="57"/>
                  </a:cubicBezTo>
                  <a:cubicBezTo>
                    <a:pt x="178" y="56"/>
                    <a:pt x="178" y="56"/>
                    <a:pt x="178" y="56"/>
                  </a:cubicBezTo>
                  <a:cubicBezTo>
                    <a:pt x="178" y="56"/>
                    <a:pt x="178" y="56"/>
                    <a:pt x="178" y="56"/>
                  </a:cubicBezTo>
                  <a:cubicBezTo>
                    <a:pt x="178" y="56"/>
                    <a:pt x="178" y="56"/>
                    <a:pt x="178" y="56"/>
                  </a:cubicBezTo>
                  <a:cubicBezTo>
                    <a:pt x="178" y="56"/>
                    <a:pt x="178" y="56"/>
                    <a:pt x="178" y="56"/>
                  </a:cubicBezTo>
                  <a:cubicBezTo>
                    <a:pt x="177" y="55"/>
                    <a:pt x="177" y="55"/>
                    <a:pt x="177" y="55"/>
                  </a:cubicBezTo>
                  <a:cubicBezTo>
                    <a:pt x="177" y="56"/>
                    <a:pt x="177" y="56"/>
                    <a:pt x="177" y="56"/>
                  </a:cubicBezTo>
                  <a:cubicBezTo>
                    <a:pt x="177" y="56"/>
                    <a:pt x="177" y="56"/>
                    <a:pt x="177" y="56"/>
                  </a:cubicBezTo>
                  <a:cubicBezTo>
                    <a:pt x="177" y="56"/>
                    <a:pt x="177" y="56"/>
                    <a:pt x="177" y="56"/>
                  </a:cubicBezTo>
                  <a:cubicBezTo>
                    <a:pt x="176" y="57"/>
                    <a:pt x="176" y="57"/>
                    <a:pt x="176" y="57"/>
                  </a:cubicBezTo>
                  <a:cubicBezTo>
                    <a:pt x="176" y="57"/>
                    <a:pt x="176" y="57"/>
                    <a:pt x="176" y="57"/>
                  </a:cubicBezTo>
                  <a:cubicBezTo>
                    <a:pt x="176" y="57"/>
                    <a:pt x="176" y="57"/>
                    <a:pt x="176" y="57"/>
                  </a:cubicBezTo>
                  <a:cubicBezTo>
                    <a:pt x="176" y="56"/>
                    <a:pt x="176" y="56"/>
                    <a:pt x="176" y="56"/>
                  </a:cubicBezTo>
                  <a:cubicBezTo>
                    <a:pt x="175" y="56"/>
                    <a:pt x="175" y="56"/>
                    <a:pt x="175" y="56"/>
                  </a:cubicBezTo>
                  <a:cubicBezTo>
                    <a:pt x="175" y="56"/>
                    <a:pt x="175" y="56"/>
                    <a:pt x="175" y="56"/>
                  </a:cubicBezTo>
                  <a:cubicBezTo>
                    <a:pt x="175" y="55"/>
                    <a:pt x="175" y="55"/>
                    <a:pt x="175" y="55"/>
                  </a:cubicBezTo>
                  <a:cubicBezTo>
                    <a:pt x="175" y="55"/>
                    <a:pt x="175" y="55"/>
                    <a:pt x="175" y="55"/>
                  </a:cubicBezTo>
                  <a:cubicBezTo>
                    <a:pt x="175" y="54"/>
                    <a:pt x="175" y="54"/>
                    <a:pt x="175" y="54"/>
                  </a:cubicBezTo>
                  <a:cubicBezTo>
                    <a:pt x="175" y="54"/>
                    <a:pt x="175" y="54"/>
                    <a:pt x="175" y="54"/>
                  </a:cubicBezTo>
                  <a:cubicBezTo>
                    <a:pt x="175" y="53"/>
                    <a:pt x="175" y="53"/>
                    <a:pt x="175" y="53"/>
                  </a:cubicBezTo>
                  <a:cubicBezTo>
                    <a:pt x="176" y="53"/>
                    <a:pt x="176" y="53"/>
                    <a:pt x="176" y="53"/>
                  </a:cubicBezTo>
                  <a:cubicBezTo>
                    <a:pt x="176" y="53"/>
                    <a:pt x="176" y="53"/>
                    <a:pt x="176" y="53"/>
                  </a:cubicBezTo>
                  <a:cubicBezTo>
                    <a:pt x="176" y="53"/>
                    <a:pt x="176" y="53"/>
                    <a:pt x="176" y="53"/>
                  </a:cubicBezTo>
                  <a:cubicBezTo>
                    <a:pt x="177" y="52"/>
                    <a:pt x="177" y="52"/>
                    <a:pt x="177" y="52"/>
                  </a:cubicBezTo>
                  <a:cubicBezTo>
                    <a:pt x="177" y="52"/>
                    <a:pt x="177" y="52"/>
                    <a:pt x="177" y="52"/>
                  </a:cubicBezTo>
                  <a:cubicBezTo>
                    <a:pt x="177" y="52"/>
                    <a:pt x="177" y="52"/>
                    <a:pt x="177" y="52"/>
                  </a:cubicBezTo>
                  <a:cubicBezTo>
                    <a:pt x="177" y="52"/>
                    <a:pt x="177" y="52"/>
                    <a:pt x="177" y="52"/>
                  </a:cubicBezTo>
                  <a:cubicBezTo>
                    <a:pt x="178" y="52"/>
                    <a:pt x="178" y="52"/>
                    <a:pt x="178" y="52"/>
                  </a:cubicBezTo>
                  <a:cubicBezTo>
                    <a:pt x="178" y="52"/>
                    <a:pt x="178" y="52"/>
                    <a:pt x="179" y="52"/>
                  </a:cubicBezTo>
                  <a:cubicBezTo>
                    <a:pt x="179" y="51"/>
                    <a:pt x="179" y="51"/>
                    <a:pt x="179" y="51"/>
                  </a:cubicBezTo>
                  <a:cubicBezTo>
                    <a:pt x="180" y="51"/>
                    <a:pt x="180" y="51"/>
                    <a:pt x="180" y="51"/>
                  </a:cubicBezTo>
                  <a:cubicBezTo>
                    <a:pt x="180" y="51"/>
                    <a:pt x="180" y="51"/>
                    <a:pt x="180" y="51"/>
                  </a:cubicBezTo>
                  <a:cubicBezTo>
                    <a:pt x="181" y="50"/>
                    <a:pt x="181" y="50"/>
                    <a:pt x="181" y="50"/>
                  </a:cubicBezTo>
                  <a:cubicBezTo>
                    <a:pt x="181" y="50"/>
                    <a:pt x="181" y="50"/>
                    <a:pt x="181" y="50"/>
                  </a:cubicBezTo>
                  <a:cubicBezTo>
                    <a:pt x="180" y="49"/>
                    <a:pt x="180" y="49"/>
                    <a:pt x="180" y="49"/>
                  </a:cubicBezTo>
                  <a:cubicBezTo>
                    <a:pt x="180" y="49"/>
                    <a:pt x="180" y="49"/>
                    <a:pt x="180" y="49"/>
                  </a:cubicBezTo>
                  <a:cubicBezTo>
                    <a:pt x="179" y="49"/>
                    <a:pt x="179" y="49"/>
                    <a:pt x="179" y="49"/>
                  </a:cubicBezTo>
                  <a:cubicBezTo>
                    <a:pt x="179" y="49"/>
                    <a:pt x="179" y="49"/>
                    <a:pt x="179" y="49"/>
                  </a:cubicBezTo>
                  <a:cubicBezTo>
                    <a:pt x="179" y="48"/>
                    <a:pt x="179" y="48"/>
                    <a:pt x="179" y="48"/>
                  </a:cubicBezTo>
                  <a:cubicBezTo>
                    <a:pt x="178" y="48"/>
                    <a:pt x="178" y="48"/>
                    <a:pt x="178" y="48"/>
                  </a:cubicBezTo>
                  <a:cubicBezTo>
                    <a:pt x="178" y="48"/>
                    <a:pt x="178" y="48"/>
                    <a:pt x="178" y="48"/>
                  </a:cubicBezTo>
                  <a:cubicBezTo>
                    <a:pt x="178" y="48"/>
                    <a:pt x="178" y="48"/>
                    <a:pt x="178" y="48"/>
                  </a:cubicBezTo>
                  <a:cubicBezTo>
                    <a:pt x="177" y="48"/>
                    <a:pt x="177" y="48"/>
                    <a:pt x="177" y="48"/>
                  </a:cubicBezTo>
                  <a:cubicBezTo>
                    <a:pt x="177" y="48"/>
                    <a:pt x="177" y="48"/>
                    <a:pt x="177" y="48"/>
                  </a:cubicBezTo>
                  <a:cubicBezTo>
                    <a:pt x="177" y="48"/>
                    <a:pt x="177" y="48"/>
                    <a:pt x="177" y="48"/>
                  </a:cubicBezTo>
                  <a:cubicBezTo>
                    <a:pt x="176" y="49"/>
                    <a:pt x="176" y="49"/>
                    <a:pt x="176" y="49"/>
                  </a:cubicBezTo>
                  <a:cubicBezTo>
                    <a:pt x="176" y="49"/>
                    <a:pt x="176" y="49"/>
                    <a:pt x="176" y="49"/>
                  </a:cubicBezTo>
                  <a:cubicBezTo>
                    <a:pt x="176" y="49"/>
                    <a:pt x="176" y="49"/>
                    <a:pt x="176" y="49"/>
                  </a:cubicBezTo>
                  <a:cubicBezTo>
                    <a:pt x="176" y="49"/>
                    <a:pt x="176" y="49"/>
                    <a:pt x="176" y="49"/>
                  </a:cubicBezTo>
                  <a:cubicBezTo>
                    <a:pt x="176" y="50"/>
                    <a:pt x="176" y="50"/>
                    <a:pt x="176" y="50"/>
                  </a:cubicBezTo>
                  <a:cubicBezTo>
                    <a:pt x="176" y="50"/>
                    <a:pt x="176" y="50"/>
                    <a:pt x="176" y="50"/>
                  </a:cubicBezTo>
                  <a:cubicBezTo>
                    <a:pt x="176" y="50"/>
                    <a:pt x="176" y="50"/>
                    <a:pt x="176" y="50"/>
                  </a:cubicBezTo>
                  <a:cubicBezTo>
                    <a:pt x="175" y="50"/>
                    <a:pt x="175" y="50"/>
                    <a:pt x="175" y="50"/>
                  </a:cubicBezTo>
                  <a:cubicBezTo>
                    <a:pt x="175" y="50"/>
                    <a:pt x="175" y="50"/>
                    <a:pt x="175" y="50"/>
                  </a:cubicBezTo>
                  <a:cubicBezTo>
                    <a:pt x="175" y="50"/>
                    <a:pt x="175" y="50"/>
                    <a:pt x="175" y="50"/>
                  </a:cubicBezTo>
                  <a:cubicBezTo>
                    <a:pt x="174" y="51"/>
                    <a:pt x="174" y="51"/>
                    <a:pt x="174" y="51"/>
                  </a:cubicBezTo>
                  <a:cubicBezTo>
                    <a:pt x="174" y="51"/>
                    <a:pt x="174" y="51"/>
                    <a:pt x="174" y="51"/>
                  </a:cubicBezTo>
                  <a:cubicBezTo>
                    <a:pt x="174" y="52"/>
                    <a:pt x="174" y="52"/>
                    <a:pt x="174" y="52"/>
                  </a:cubicBezTo>
                  <a:cubicBezTo>
                    <a:pt x="174" y="52"/>
                    <a:pt x="174" y="52"/>
                    <a:pt x="174" y="52"/>
                  </a:cubicBezTo>
                  <a:cubicBezTo>
                    <a:pt x="173" y="53"/>
                    <a:pt x="173" y="53"/>
                    <a:pt x="173" y="53"/>
                  </a:cubicBezTo>
                  <a:cubicBezTo>
                    <a:pt x="173" y="53"/>
                    <a:pt x="173" y="53"/>
                    <a:pt x="173" y="53"/>
                  </a:cubicBezTo>
                  <a:cubicBezTo>
                    <a:pt x="172" y="52"/>
                    <a:pt x="172" y="52"/>
                    <a:pt x="172" y="52"/>
                  </a:cubicBezTo>
                  <a:cubicBezTo>
                    <a:pt x="172" y="52"/>
                    <a:pt x="172" y="52"/>
                    <a:pt x="172" y="52"/>
                  </a:cubicBezTo>
                  <a:cubicBezTo>
                    <a:pt x="172" y="52"/>
                    <a:pt x="172" y="52"/>
                    <a:pt x="172" y="52"/>
                  </a:cubicBezTo>
                  <a:cubicBezTo>
                    <a:pt x="172" y="52"/>
                    <a:pt x="172" y="52"/>
                    <a:pt x="172" y="52"/>
                  </a:cubicBezTo>
                  <a:cubicBezTo>
                    <a:pt x="172" y="52"/>
                    <a:pt x="172" y="52"/>
                    <a:pt x="172" y="52"/>
                  </a:cubicBezTo>
                  <a:cubicBezTo>
                    <a:pt x="172" y="52"/>
                    <a:pt x="172" y="52"/>
                    <a:pt x="172" y="52"/>
                  </a:cubicBezTo>
                  <a:cubicBezTo>
                    <a:pt x="172" y="52"/>
                    <a:pt x="172" y="51"/>
                    <a:pt x="171" y="51"/>
                  </a:cubicBezTo>
                  <a:cubicBezTo>
                    <a:pt x="171" y="51"/>
                    <a:pt x="171" y="51"/>
                    <a:pt x="171" y="51"/>
                  </a:cubicBezTo>
                  <a:cubicBezTo>
                    <a:pt x="171" y="50"/>
                    <a:pt x="171" y="50"/>
                    <a:pt x="171" y="50"/>
                  </a:cubicBezTo>
                  <a:cubicBezTo>
                    <a:pt x="171" y="50"/>
                    <a:pt x="171" y="50"/>
                    <a:pt x="171" y="50"/>
                  </a:cubicBezTo>
                  <a:cubicBezTo>
                    <a:pt x="170" y="50"/>
                    <a:pt x="170" y="50"/>
                    <a:pt x="170" y="50"/>
                  </a:cubicBezTo>
                  <a:cubicBezTo>
                    <a:pt x="170" y="51"/>
                    <a:pt x="170" y="51"/>
                    <a:pt x="170" y="51"/>
                  </a:cubicBezTo>
                  <a:cubicBezTo>
                    <a:pt x="170" y="51"/>
                    <a:pt x="170" y="51"/>
                    <a:pt x="170" y="51"/>
                  </a:cubicBezTo>
                  <a:cubicBezTo>
                    <a:pt x="169" y="51"/>
                    <a:pt x="169" y="51"/>
                    <a:pt x="169" y="51"/>
                  </a:cubicBezTo>
                  <a:cubicBezTo>
                    <a:pt x="169" y="51"/>
                    <a:pt x="169" y="51"/>
                    <a:pt x="169" y="51"/>
                  </a:cubicBezTo>
                  <a:cubicBezTo>
                    <a:pt x="169" y="51"/>
                    <a:pt x="169" y="51"/>
                    <a:pt x="169" y="51"/>
                  </a:cubicBezTo>
                  <a:cubicBezTo>
                    <a:pt x="168" y="51"/>
                    <a:pt x="168" y="51"/>
                    <a:pt x="168" y="51"/>
                  </a:cubicBezTo>
                  <a:cubicBezTo>
                    <a:pt x="168" y="51"/>
                    <a:pt x="168" y="51"/>
                    <a:pt x="168" y="51"/>
                  </a:cubicBezTo>
                  <a:cubicBezTo>
                    <a:pt x="168" y="51"/>
                    <a:pt x="168" y="51"/>
                    <a:pt x="168" y="51"/>
                  </a:cubicBezTo>
                  <a:cubicBezTo>
                    <a:pt x="168" y="51"/>
                    <a:pt x="168" y="51"/>
                    <a:pt x="168" y="51"/>
                  </a:cubicBezTo>
                  <a:cubicBezTo>
                    <a:pt x="167" y="51"/>
                    <a:pt x="167" y="51"/>
                    <a:pt x="167" y="51"/>
                  </a:cubicBezTo>
                  <a:cubicBezTo>
                    <a:pt x="167" y="51"/>
                    <a:pt x="167" y="51"/>
                    <a:pt x="167" y="51"/>
                  </a:cubicBezTo>
                  <a:cubicBezTo>
                    <a:pt x="166" y="51"/>
                    <a:pt x="166" y="51"/>
                    <a:pt x="166" y="51"/>
                  </a:cubicBezTo>
                  <a:cubicBezTo>
                    <a:pt x="166" y="50"/>
                    <a:pt x="166" y="50"/>
                    <a:pt x="166" y="50"/>
                  </a:cubicBezTo>
                  <a:cubicBezTo>
                    <a:pt x="166" y="51"/>
                    <a:pt x="166" y="51"/>
                    <a:pt x="166" y="51"/>
                  </a:cubicBezTo>
                  <a:cubicBezTo>
                    <a:pt x="165" y="51"/>
                    <a:pt x="165" y="51"/>
                    <a:pt x="165" y="51"/>
                  </a:cubicBezTo>
                  <a:cubicBezTo>
                    <a:pt x="165" y="52"/>
                    <a:pt x="165" y="52"/>
                    <a:pt x="165" y="52"/>
                  </a:cubicBezTo>
                  <a:cubicBezTo>
                    <a:pt x="165" y="52"/>
                    <a:pt x="165" y="52"/>
                    <a:pt x="165" y="52"/>
                  </a:cubicBezTo>
                  <a:cubicBezTo>
                    <a:pt x="164" y="52"/>
                    <a:pt x="164" y="52"/>
                    <a:pt x="164" y="52"/>
                  </a:cubicBezTo>
                  <a:cubicBezTo>
                    <a:pt x="164" y="51"/>
                    <a:pt x="164" y="51"/>
                    <a:pt x="164" y="51"/>
                  </a:cubicBezTo>
                  <a:cubicBezTo>
                    <a:pt x="164" y="51"/>
                    <a:pt x="164" y="51"/>
                    <a:pt x="164" y="51"/>
                  </a:cubicBezTo>
                  <a:cubicBezTo>
                    <a:pt x="164" y="51"/>
                    <a:pt x="164" y="51"/>
                    <a:pt x="164" y="51"/>
                  </a:cubicBezTo>
                  <a:cubicBezTo>
                    <a:pt x="164" y="51"/>
                    <a:pt x="164" y="51"/>
                    <a:pt x="164" y="51"/>
                  </a:cubicBezTo>
                  <a:cubicBezTo>
                    <a:pt x="164" y="51"/>
                    <a:pt x="164" y="51"/>
                    <a:pt x="164" y="51"/>
                  </a:cubicBezTo>
                  <a:cubicBezTo>
                    <a:pt x="164" y="50"/>
                    <a:pt x="164" y="50"/>
                    <a:pt x="164" y="50"/>
                  </a:cubicBezTo>
                  <a:cubicBezTo>
                    <a:pt x="164" y="50"/>
                    <a:pt x="164" y="50"/>
                    <a:pt x="164" y="50"/>
                  </a:cubicBezTo>
                  <a:cubicBezTo>
                    <a:pt x="164" y="50"/>
                    <a:pt x="164" y="50"/>
                    <a:pt x="164" y="50"/>
                  </a:cubicBezTo>
                  <a:cubicBezTo>
                    <a:pt x="164" y="50"/>
                    <a:pt x="164" y="50"/>
                    <a:pt x="164" y="50"/>
                  </a:cubicBezTo>
                  <a:cubicBezTo>
                    <a:pt x="164" y="50"/>
                    <a:pt x="164" y="50"/>
                    <a:pt x="164" y="50"/>
                  </a:cubicBezTo>
                  <a:cubicBezTo>
                    <a:pt x="164" y="50"/>
                    <a:pt x="164" y="50"/>
                    <a:pt x="164" y="50"/>
                  </a:cubicBezTo>
                  <a:cubicBezTo>
                    <a:pt x="164" y="50"/>
                    <a:pt x="164" y="49"/>
                    <a:pt x="164" y="49"/>
                  </a:cubicBezTo>
                  <a:cubicBezTo>
                    <a:pt x="164" y="49"/>
                    <a:pt x="164" y="49"/>
                    <a:pt x="164" y="49"/>
                  </a:cubicBezTo>
                  <a:cubicBezTo>
                    <a:pt x="164" y="48"/>
                    <a:pt x="164" y="48"/>
                    <a:pt x="164" y="48"/>
                  </a:cubicBezTo>
                  <a:cubicBezTo>
                    <a:pt x="164" y="48"/>
                    <a:pt x="164" y="48"/>
                    <a:pt x="164" y="48"/>
                  </a:cubicBezTo>
                  <a:cubicBezTo>
                    <a:pt x="165" y="48"/>
                    <a:pt x="165" y="48"/>
                    <a:pt x="165" y="48"/>
                  </a:cubicBezTo>
                  <a:cubicBezTo>
                    <a:pt x="165" y="48"/>
                    <a:pt x="165" y="48"/>
                    <a:pt x="165" y="48"/>
                  </a:cubicBezTo>
                  <a:cubicBezTo>
                    <a:pt x="165" y="48"/>
                    <a:pt x="165" y="48"/>
                    <a:pt x="165" y="48"/>
                  </a:cubicBezTo>
                  <a:cubicBezTo>
                    <a:pt x="166" y="48"/>
                    <a:pt x="166" y="48"/>
                    <a:pt x="166" y="48"/>
                  </a:cubicBezTo>
                  <a:cubicBezTo>
                    <a:pt x="166" y="48"/>
                    <a:pt x="166" y="48"/>
                    <a:pt x="166" y="48"/>
                  </a:cubicBezTo>
                  <a:cubicBezTo>
                    <a:pt x="166" y="48"/>
                    <a:pt x="166" y="48"/>
                    <a:pt x="166" y="48"/>
                  </a:cubicBezTo>
                  <a:cubicBezTo>
                    <a:pt x="166" y="48"/>
                    <a:pt x="166" y="48"/>
                    <a:pt x="166" y="48"/>
                  </a:cubicBezTo>
                  <a:cubicBezTo>
                    <a:pt x="166" y="48"/>
                    <a:pt x="166" y="48"/>
                    <a:pt x="166" y="48"/>
                  </a:cubicBezTo>
                  <a:cubicBezTo>
                    <a:pt x="167" y="48"/>
                    <a:pt x="167" y="48"/>
                    <a:pt x="167" y="48"/>
                  </a:cubicBezTo>
                  <a:cubicBezTo>
                    <a:pt x="167" y="49"/>
                    <a:pt x="167" y="49"/>
                    <a:pt x="167" y="49"/>
                  </a:cubicBezTo>
                  <a:cubicBezTo>
                    <a:pt x="167" y="49"/>
                    <a:pt x="167" y="49"/>
                    <a:pt x="167" y="49"/>
                  </a:cubicBezTo>
                  <a:cubicBezTo>
                    <a:pt x="167" y="49"/>
                    <a:pt x="167" y="49"/>
                    <a:pt x="167" y="49"/>
                  </a:cubicBezTo>
                  <a:cubicBezTo>
                    <a:pt x="168" y="48"/>
                    <a:pt x="168" y="48"/>
                    <a:pt x="168" y="48"/>
                  </a:cubicBezTo>
                  <a:cubicBezTo>
                    <a:pt x="168" y="49"/>
                    <a:pt x="168" y="49"/>
                    <a:pt x="168" y="49"/>
                  </a:cubicBezTo>
                  <a:cubicBezTo>
                    <a:pt x="168" y="49"/>
                    <a:pt x="168" y="49"/>
                    <a:pt x="168" y="49"/>
                  </a:cubicBezTo>
                  <a:cubicBezTo>
                    <a:pt x="168" y="49"/>
                    <a:pt x="168" y="49"/>
                    <a:pt x="168" y="49"/>
                  </a:cubicBezTo>
                  <a:cubicBezTo>
                    <a:pt x="169" y="49"/>
                    <a:pt x="169" y="49"/>
                    <a:pt x="169" y="49"/>
                  </a:cubicBezTo>
                  <a:cubicBezTo>
                    <a:pt x="169" y="48"/>
                    <a:pt x="169" y="48"/>
                    <a:pt x="169" y="48"/>
                  </a:cubicBezTo>
                  <a:cubicBezTo>
                    <a:pt x="169" y="48"/>
                    <a:pt x="169" y="48"/>
                    <a:pt x="169" y="48"/>
                  </a:cubicBezTo>
                  <a:cubicBezTo>
                    <a:pt x="170" y="48"/>
                    <a:pt x="170" y="48"/>
                    <a:pt x="170" y="48"/>
                  </a:cubicBezTo>
                  <a:cubicBezTo>
                    <a:pt x="170" y="48"/>
                    <a:pt x="170" y="48"/>
                    <a:pt x="170" y="48"/>
                  </a:cubicBezTo>
                  <a:cubicBezTo>
                    <a:pt x="170" y="47"/>
                    <a:pt x="170" y="47"/>
                    <a:pt x="170" y="47"/>
                  </a:cubicBezTo>
                  <a:cubicBezTo>
                    <a:pt x="169" y="47"/>
                    <a:pt x="169" y="47"/>
                    <a:pt x="169" y="47"/>
                  </a:cubicBezTo>
                  <a:cubicBezTo>
                    <a:pt x="169" y="47"/>
                    <a:pt x="169" y="47"/>
                    <a:pt x="169" y="47"/>
                  </a:cubicBezTo>
                  <a:cubicBezTo>
                    <a:pt x="169" y="47"/>
                    <a:pt x="169" y="47"/>
                    <a:pt x="169" y="47"/>
                  </a:cubicBezTo>
                  <a:cubicBezTo>
                    <a:pt x="169" y="46"/>
                    <a:pt x="169" y="46"/>
                    <a:pt x="169" y="46"/>
                  </a:cubicBezTo>
                  <a:cubicBezTo>
                    <a:pt x="168" y="46"/>
                    <a:pt x="168" y="46"/>
                    <a:pt x="168" y="46"/>
                  </a:cubicBezTo>
                  <a:cubicBezTo>
                    <a:pt x="168" y="47"/>
                    <a:pt x="168" y="47"/>
                    <a:pt x="168" y="47"/>
                  </a:cubicBezTo>
                  <a:cubicBezTo>
                    <a:pt x="168" y="47"/>
                    <a:pt x="168" y="47"/>
                    <a:pt x="168" y="47"/>
                  </a:cubicBezTo>
                  <a:cubicBezTo>
                    <a:pt x="167" y="47"/>
                    <a:pt x="167" y="47"/>
                    <a:pt x="167" y="47"/>
                  </a:cubicBezTo>
                  <a:cubicBezTo>
                    <a:pt x="167" y="46"/>
                    <a:pt x="167" y="46"/>
                    <a:pt x="167" y="46"/>
                  </a:cubicBezTo>
                  <a:cubicBezTo>
                    <a:pt x="167" y="46"/>
                    <a:pt x="167" y="46"/>
                    <a:pt x="167" y="46"/>
                  </a:cubicBezTo>
                  <a:cubicBezTo>
                    <a:pt x="167" y="45"/>
                    <a:pt x="167" y="45"/>
                    <a:pt x="167" y="45"/>
                  </a:cubicBezTo>
                  <a:cubicBezTo>
                    <a:pt x="167" y="45"/>
                    <a:pt x="167" y="45"/>
                    <a:pt x="167" y="45"/>
                  </a:cubicBezTo>
                  <a:cubicBezTo>
                    <a:pt x="166" y="45"/>
                    <a:pt x="166" y="45"/>
                    <a:pt x="166" y="45"/>
                  </a:cubicBezTo>
                  <a:cubicBezTo>
                    <a:pt x="166" y="45"/>
                    <a:pt x="166" y="45"/>
                    <a:pt x="166" y="45"/>
                  </a:cubicBezTo>
                  <a:cubicBezTo>
                    <a:pt x="166" y="45"/>
                    <a:pt x="166" y="45"/>
                    <a:pt x="166" y="45"/>
                  </a:cubicBezTo>
                  <a:cubicBezTo>
                    <a:pt x="166" y="44"/>
                    <a:pt x="166" y="44"/>
                    <a:pt x="166" y="44"/>
                  </a:cubicBezTo>
                  <a:cubicBezTo>
                    <a:pt x="166" y="44"/>
                    <a:pt x="166" y="44"/>
                    <a:pt x="166" y="44"/>
                  </a:cubicBezTo>
                  <a:cubicBezTo>
                    <a:pt x="166" y="44"/>
                    <a:pt x="166" y="44"/>
                    <a:pt x="166" y="44"/>
                  </a:cubicBezTo>
                  <a:cubicBezTo>
                    <a:pt x="166" y="44"/>
                    <a:pt x="166" y="44"/>
                    <a:pt x="166" y="44"/>
                  </a:cubicBezTo>
                  <a:cubicBezTo>
                    <a:pt x="166" y="43"/>
                    <a:pt x="166" y="43"/>
                    <a:pt x="166" y="43"/>
                  </a:cubicBezTo>
                  <a:cubicBezTo>
                    <a:pt x="166" y="43"/>
                    <a:pt x="166" y="43"/>
                    <a:pt x="166" y="43"/>
                  </a:cubicBezTo>
                  <a:cubicBezTo>
                    <a:pt x="166" y="43"/>
                    <a:pt x="166" y="43"/>
                    <a:pt x="166" y="43"/>
                  </a:cubicBezTo>
                  <a:cubicBezTo>
                    <a:pt x="165" y="43"/>
                    <a:pt x="165" y="43"/>
                    <a:pt x="165" y="43"/>
                  </a:cubicBezTo>
                  <a:cubicBezTo>
                    <a:pt x="165" y="43"/>
                    <a:pt x="165" y="43"/>
                    <a:pt x="165" y="43"/>
                  </a:cubicBezTo>
                  <a:cubicBezTo>
                    <a:pt x="165" y="42"/>
                    <a:pt x="165" y="42"/>
                    <a:pt x="165" y="42"/>
                  </a:cubicBezTo>
                  <a:cubicBezTo>
                    <a:pt x="165" y="42"/>
                    <a:pt x="165" y="42"/>
                    <a:pt x="165" y="42"/>
                  </a:cubicBezTo>
                  <a:cubicBezTo>
                    <a:pt x="165" y="42"/>
                    <a:pt x="165" y="42"/>
                    <a:pt x="165" y="42"/>
                  </a:cubicBezTo>
                  <a:cubicBezTo>
                    <a:pt x="165" y="42"/>
                    <a:pt x="165" y="42"/>
                    <a:pt x="165" y="42"/>
                  </a:cubicBezTo>
                  <a:cubicBezTo>
                    <a:pt x="165" y="41"/>
                    <a:pt x="165" y="41"/>
                    <a:pt x="165" y="41"/>
                  </a:cubicBezTo>
                  <a:cubicBezTo>
                    <a:pt x="165" y="41"/>
                    <a:pt x="165" y="41"/>
                    <a:pt x="165" y="41"/>
                  </a:cubicBezTo>
                  <a:cubicBezTo>
                    <a:pt x="165" y="41"/>
                    <a:pt x="165" y="41"/>
                    <a:pt x="165" y="41"/>
                  </a:cubicBezTo>
                  <a:cubicBezTo>
                    <a:pt x="165" y="40"/>
                    <a:pt x="165" y="40"/>
                    <a:pt x="165" y="40"/>
                  </a:cubicBezTo>
                  <a:cubicBezTo>
                    <a:pt x="165" y="40"/>
                    <a:pt x="165" y="40"/>
                    <a:pt x="165" y="40"/>
                  </a:cubicBezTo>
                  <a:cubicBezTo>
                    <a:pt x="165" y="40"/>
                    <a:pt x="165" y="40"/>
                    <a:pt x="165" y="40"/>
                  </a:cubicBezTo>
                  <a:cubicBezTo>
                    <a:pt x="165" y="40"/>
                    <a:pt x="165" y="40"/>
                    <a:pt x="165" y="40"/>
                  </a:cubicBezTo>
                  <a:cubicBezTo>
                    <a:pt x="165" y="40"/>
                    <a:pt x="165" y="40"/>
                    <a:pt x="165" y="40"/>
                  </a:cubicBezTo>
                  <a:cubicBezTo>
                    <a:pt x="165" y="40"/>
                    <a:pt x="165" y="40"/>
                    <a:pt x="165" y="40"/>
                  </a:cubicBezTo>
                  <a:cubicBezTo>
                    <a:pt x="165" y="39"/>
                    <a:pt x="165" y="39"/>
                    <a:pt x="165" y="39"/>
                  </a:cubicBezTo>
                  <a:cubicBezTo>
                    <a:pt x="165" y="39"/>
                    <a:pt x="165" y="39"/>
                    <a:pt x="165" y="39"/>
                  </a:cubicBezTo>
                  <a:cubicBezTo>
                    <a:pt x="165" y="39"/>
                    <a:pt x="165" y="39"/>
                    <a:pt x="165" y="39"/>
                  </a:cubicBezTo>
                  <a:cubicBezTo>
                    <a:pt x="165" y="38"/>
                    <a:pt x="165" y="38"/>
                    <a:pt x="165" y="38"/>
                  </a:cubicBezTo>
                  <a:cubicBezTo>
                    <a:pt x="165" y="38"/>
                    <a:pt x="165" y="38"/>
                    <a:pt x="165" y="38"/>
                  </a:cubicBezTo>
                  <a:cubicBezTo>
                    <a:pt x="166" y="38"/>
                    <a:pt x="166" y="38"/>
                    <a:pt x="166" y="38"/>
                  </a:cubicBezTo>
                  <a:cubicBezTo>
                    <a:pt x="166" y="38"/>
                    <a:pt x="166" y="38"/>
                    <a:pt x="166" y="38"/>
                  </a:cubicBezTo>
                  <a:cubicBezTo>
                    <a:pt x="166" y="37"/>
                    <a:pt x="166" y="37"/>
                    <a:pt x="166" y="37"/>
                  </a:cubicBezTo>
                  <a:cubicBezTo>
                    <a:pt x="166" y="37"/>
                    <a:pt x="166" y="37"/>
                    <a:pt x="166" y="37"/>
                  </a:cubicBezTo>
                  <a:cubicBezTo>
                    <a:pt x="165" y="37"/>
                    <a:pt x="165" y="37"/>
                    <a:pt x="165" y="37"/>
                  </a:cubicBezTo>
                  <a:cubicBezTo>
                    <a:pt x="165" y="37"/>
                    <a:pt x="165" y="37"/>
                    <a:pt x="165" y="37"/>
                  </a:cubicBezTo>
                  <a:cubicBezTo>
                    <a:pt x="164" y="37"/>
                    <a:pt x="164" y="37"/>
                    <a:pt x="164" y="37"/>
                  </a:cubicBezTo>
                  <a:cubicBezTo>
                    <a:pt x="164" y="37"/>
                    <a:pt x="164" y="37"/>
                    <a:pt x="164" y="37"/>
                  </a:cubicBezTo>
                  <a:cubicBezTo>
                    <a:pt x="164" y="38"/>
                    <a:pt x="164" y="38"/>
                    <a:pt x="164" y="38"/>
                  </a:cubicBezTo>
                  <a:cubicBezTo>
                    <a:pt x="164" y="38"/>
                    <a:pt x="164" y="38"/>
                    <a:pt x="164" y="38"/>
                  </a:cubicBezTo>
                  <a:cubicBezTo>
                    <a:pt x="163" y="39"/>
                    <a:pt x="163" y="39"/>
                    <a:pt x="163" y="39"/>
                  </a:cubicBezTo>
                  <a:cubicBezTo>
                    <a:pt x="163" y="39"/>
                    <a:pt x="163" y="39"/>
                    <a:pt x="163" y="40"/>
                  </a:cubicBezTo>
                  <a:cubicBezTo>
                    <a:pt x="162" y="40"/>
                    <a:pt x="162" y="40"/>
                    <a:pt x="162" y="40"/>
                  </a:cubicBezTo>
                  <a:cubicBezTo>
                    <a:pt x="162" y="40"/>
                    <a:pt x="162" y="40"/>
                    <a:pt x="162" y="40"/>
                  </a:cubicBezTo>
                  <a:cubicBezTo>
                    <a:pt x="162" y="39"/>
                    <a:pt x="162" y="39"/>
                    <a:pt x="162" y="39"/>
                  </a:cubicBezTo>
                  <a:cubicBezTo>
                    <a:pt x="162" y="39"/>
                    <a:pt x="162" y="39"/>
                    <a:pt x="162" y="39"/>
                  </a:cubicBezTo>
                  <a:cubicBezTo>
                    <a:pt x="161" y="39"/>
                    <a:pt x="161" y="39"/>
                    <a:pt x="161" y="39"/>
                  </a:cubicBezTo>
                  <a:cubicBezTo>
                    <a:pt x="161" y="39"/>
                    <a:pt x="161" y="39"/>
                    <a:pt x="161" y="39"/>
                  </a:cubicBezTo>
                  <a:cubicBezTo>
                    <a:pt x="161" y="39"/>
                    <a:pt x="161" y="39"/>
                    <a:pt x="161" y="39"/>
                  </a:cubicBezTo>
                  <a:cubicBezTo>
                    <a:pt x="161" y="39"/>
                    <a:pt x="161" y="39"/>
                    <a:pt x="161" y="39"/>
                  </a:cubicBezTo>
                  <a:cubicBezTo>
                    <a:pt x="161" y="39"/>
                    <a:pt x="161" y="39"/>
                    <a:pt x="161" y="39"/>
                  </a:cubicBezTo>
                  <a:cubicBezTo>
                    <a:pt x="161" y="39"/>
                    <a:pt x="161" y="39"/>
                    <a:pt x="161" y="39"/>
                  </a:cubicBezTo>
                  <a:cubicBezTo>
                    <a:pt x="161" y="38"/>
                    <a:pt x="161" y="38"/>
                    <a:pt x="161" y="38"/>
                  </a:cubicBezTo>
                  <a:cubicBezTo>
                    <a:pt x="161" y="38"/>
                    <a:pt x="161" y="38"/>
                    <a:pt x="161" y="38"/>
                  </a:cubicBezTo>
                  <a:cubicBezTo>
                    <a:pt x="161" y="38"/>
                    <a:pt x="161" y="38"/>
                    <a:pt x="161" y="38"/>
                  </a:cubicBezTo>
                  <a:cubicBezTo>
                    <a:pt x="161" y="39"/>
                    <a:pt x="161" y="39"/>
                    <a:pt x="161" y="39"/>
                  </a:cubicBezTo>
                  <a:cubicBezTo>
                    <a:pt x="160" y="38"/>
                    <a:pt x="160" y="38"/>
                    <a:pt x="160" y="38"/>
                  </a:cubicBezTo>
                  <a:cubicBezTo>
                    <a:pt x="160" y="38"/>
                    <a:pt x="160" y="38"/>
                    <a:pt x="160" y="38"/>
                  </a:cubicBezTo>
                  <a:cubicBezTo>
                    <a:pt x="160" y="38"/>
                    <a:pt x="160" y="38"/>
                    <a:pt x="160" y="38"/>
                  </a:cubicBezTo>
                  <a:cubicBezTo>
                    <a:pt x="159" y="38"/>
                    <a:pt x="159" y="38"/>
                    <a:pt x="159" y="38"/>
                  </a:cubicBezTo>
                  <a:cubicBezTo>
                    <a:pt x="159" y="37"/>
                    <a:pt x="159" y="37"/>
                    <a:pt x="159" y="37"/>
                  </a:cubicBezTo>
                  <a:cubicBezTo>
                    <a:pt x="159" y="36"/>
                    <a:pt x="159" y="36"/>
                    <a:pt x="159" y="36"/>
                  </a:cubicBezTo>
                  <a:cubicBezTo>
                    <a:pt x="159" y="36"/>
                    <a:pt x="159" y="36"/>
                    <a:pt x="159" y="36"/>
                  </a:cubicBezTo>
                  <a:cubicBezTo>
                    <a:pt x="159" y="35"/>
                    <a:pt x="159" y="35"/>
                    <a:pt x="159" y="35"/>
                  </a:cubicBezTo>
                  <a:cubicBezTo>
                    <a:pt x="159" y="35"/>
                    <a:pt x="159" y="35"/>
                    <a:pt x="159" y="35"/>
                  </a:cubicBezTo>
                  <a:cubicBezTo>
                    <a:pt x="160" y="35"/>
                    <a:pt x="160" y="35"/>
                    <a:pt x="160" y="35"/>
                  </a:cubicBezTo>
                  <a:cubicBezTo>
                    <a:pt x="160" y="34"/>
                    <a:pt x="160" y="34"/>
                    <a:pt x="160" y="34"/>
                  </a:cubicBezTo>
                  <a:cubicBezTo>
                    <a:pt x="160" y="34"/>
                    <a:pt x="160" y="34"/>
                    <a:pt x="160" y="34"/>
                  </a:cubicBezTo>
                  <a:cubicBezTo>
                    <a:pt x="159" y="34"/>
                    <a:pt x="159" y="34"/>
                    <a:pt x="159" y="34"/>
                  </a:cubicBezTo>
                  <a:cubicBezTo>
                    <a:pt x="159" y="34"/>
                    <a:pt x="159" y="34"/>
                    <a:pt x="159" y="33"/>
                  </a:cubicBezTo>
                  <a:cubicBezTo>
                    <a:pt x="159" y="33"/>
                    <a:pt x="159" y="33"/>
                    <a:pt x="159" y="33"/>
                  </a:cubicBezTo>
                  <a:cubicBezTo>
                    <a:pt x="159" y="33"/>
                    <a:pt x="159" y="33"/>
                    <a:pt x="159" y="33"/>
                  </a:cubicBezTo>
                  <a:cubicBezTo>
                    <a:pt x="159" y="33"/>
                    <a:pt x="159" y="33"/>
                    <a:pt x="159" y="33"/>
                  </a:cubicBezTo>
                  <a:cubicBezTo>
                    <a:pt x="159" y="33"/>
                    <a:pt x="159" y="33"/>
                    <a:pt x="159" y="33"/>
                  </a:cubicBezTo>
                  <a:cubicBezTo>
                    <a:pt x="159" y="33"/>
                    <a:pt x="159" y="33"/>
                    <a:pt x="159" y="33"/>
                  </a:cubicBezTo>
                  <a:cubicBezTo>
                    <a:pt x="159" y="33"/>
                    <a:pt x="159" y="33"/>
                    <a:pt x="159" y="33"/>
                  </a:cubicBezTo>
                  <a:cubicBezTo>
                    <a:pt x="159" y="33"/>
                    <a:pt x="159" y="33"/>
                    <a:pt x="159" y="33"/>
                  </a:cubicBezTo>
                  <a:cubicBezTo>
                    <a:pt x="159" y="33"/>
                    <a:pt x="159" y="33"/>
                    <a:pt x="159" y="33"/>
                  </a:cubicBezTo>
                  <a:cubicBezTo>
                    <a:pt x="159" y="33"/>
                    <a:pt x="159" y="33"/>
                    <a:pt x="159" y="33"/>
                  </a:cubicBezTo>
                  <a:cubicBezTo>
                    <a:pt x="159" y="32"/>
                    <a:pt x="159" y="32"/>
                    <a:pt x="159" y="32"/>
                  </a:cubicBezTo>
                  <a:cubicBezTo>
                    <a:pt x="159" y="32"/>
                    <a:pt x="159" y="32"/>
                    <a:pt x="159" y="32"/>
                  </a:cubicBezTo>
                  <a:cubicBezTo>
                    <a:pt x="158" y="32"/>
                    <a:pt x="158" y="32"/>
                    <a:pt x="158" y="32"/>
                  </a:cubicBezTo>
                  <a:cubicBezTo>
                    <a:pt x="159" y="32"/>
                    <a:pt x="159" y="32"/>
                    <a:pt x="159" y="32"/>
                  </a:cubicBezTo>
                  <a:cubicBezTo>
                    <a:pt x="159" y="32"/>
                    <a:pt x="159" y="32"/>
                    <a:pt x="159" y="32"/>
                  </a:cubicBezTo>
                  <a:cubicBezTo>
                    <a:pt x="159" y="32"/>
                    <a:pt x="159" y="32"/>
                    <a:pt x="159" y="32"/>
                  </a:cubicBezTo>
                  <a:cubicBezTo>
                    <a:pt x="159" y="31"/>
                    <a:pt x="159" y="31"/>
                    <a:pt x="159" y="31"/>
                  </a:cubicBezTo>
                  <a:cubicBezTo>
                    <a:pt x="159" y="31"/>
                    <a:pt x="159" y="31"/>
                    <a:pt x="159" y="31"/>
                  </a:cubicBezTo>
                  <a:cubicBezTo>
                    <a:pt x="159" y="31"/>
                    <a:pt x="159" y="31"/>
                    <a:pt x="159" y="31"/>
                  </a:cubicBezTo>
                  <a:cubicBezTo>
                    <a:pt x="158" y="31"/>
                    <a:pt x="158" y="31"/>
                    <a:pt x="158" y="31"/>
                  </a:cubicBezTo>
                  <a:cubicBezTo>
                    <a:pt x="159" y="30"/>
                    <a:pt x="159" y="30"/>
                    <a:pt x="159" y="30"/>
                  </a:cubicBezTo>
                  <a:cubicBezTo>
                    <a:pt x="159" y="30"/>
                    <a:pt x="159" y="30"/>
                    <a:pt x="159" y="30"/>
                  </a:cubicBezTo>
                  <a:cubicBezTo>
                    <a:pt x="160" y="30"/>
                    <a:pt x="160" y="30"/>
                    <a:pt x="160" y="30"/>
                  </a:cubicBezTo>
                  <a:cubicBezTo>
                    <a:pt x="159" y="29"/>
                    <a:pt x="159" y="29"/>
                    <a:pt x="159" y="29"/>
                  </a:cubicBezTo>
                  <a:cubicBezTo>
                    <a:pt x="159" y="29"/>
                    <a:pt x="159" y="29"/>
                    <a:pt x="159" y="29"/>
                  </a:cubicBezTo>
                  <a:cubicBezTo>
                    <a:pt x="159" y="29"/>
                    <a:pt x="159" y="29"/>
                    <a:pt x="159" y="29"/>
                  </a:cubicBezTo>
                  <a:cubicBezTo>
                    <a:pt x="158" y="29"/>
                    <a:pt x="158" y="29"/>
                    <a:pt x="158" y="29"/>
                  </a:cubicBezTo>
                  <a:cubicBezTo>
                    <a:pt x="158" y="29"/>
                    <a:pt x="158" y="29"/>
                    <a:pt x="158" y="29"/>
                  </a:cubicBezTo>
                  <a:cubicBezTo>
                    <a:pt x="158" y="29"/>
                    <a:pt x="158" y="29"/>
                    <a:pt x="158" y="29"/>
                  </a:cubicBezTo>
                  <a:cubicBezTo>
                    <a:pt x="158" y="29"/>
                    <a:pt x="158" y="29"/>
                    <a:pt x="158" y="29"/>
                  </a:cubicBezTo>
                  <a:cubicBezTo>
                    <a:pt x="158" y="29"/>
                    <a:pt x="158" y="29"/>
                    <a:pt x="158" y="29"/>
                  </a:cubicBezTo>
                  <a:cubicBezTo>
                    <a:pt x="157" y="29"/>
                    <a:pt x="157" y="29"/>
                    <a:pt x="157" y="29"/>
                  </a:cubicBezTo>
                  <a:cubicBezTo>
                    <a:pt x="157" y="29"/>
                    <a:pt x="157" y="29"/>
                    <a:pt x="157" y="29"/>
                  </a:cubicBezTo>
                  <a:cubicBezTo>
                    <a:pt x="157" y="29"/>
                    <a:pt x="157" y="29"/>
                    <a:pt x="157" y="29"/>
                  </a:cubicBezTo>
                  <a:cubicBezTo>
                    <a:pt x="157" y="29"/>
                    <a:pt x="157" y="29"/>
                    <a:pt x="157" y="29"/>
                  </a:cubicBezTo>
                  <a:cubicBezTo>
                    <a:pt x="157" y="29"/>
                    <a:pt x="157" y="29"/>
                    <a:pt x="157" y="29"/>
                  </a:cubicBezTo>
                  <a:cubicBezTo>
                    <a:pt x="157" y="29"/>
                    <a:pt x="157" y="29"/>
                    <a:pt x="157" y="29"/>
                  </a:cubicBezTo>
                  <a:cubicBezTo>
                    <a:pt x="157" y="28"/>
                    <a:pt x="157" y="28"/>
                    <a:pt x="156" y="28"/>
                  </a:cubicBezTo>
                  <a:cubicBezTo>
                    <a:pt x="156" y="28"/>
                    <a:pt x="156" y="28"/>
                    <a:pt x="156" y="28"/>
                  </a:cubicBezTo>
                  <a:cubicBezTo>
                    <a:pt x="156" y="28"/>
                    <a:pt x="156" y="28"/>
                    <a:pt x="156" y="28"/>
                  </a:cubicBezTo>
                  <a:cubicBezTo>
                    <a:pt x="156" y="28"/>
                    <a:pt x="156" y="28"/>
                    <a:pt x="156" y="28"/>
                  </a:cubicBezTo>
                  <a:cubicBezTo>
                    <a:pt x="156" y="28"/>
                    <a:pt x="156" y="28"/>
                    <a:pt x="156" y="28"/>
                  </a:cubicBezTo>
                  <a:cubicBezTo>
                    <a:pt x="156" y="27"/>
                    <a:pt x="156" y="27"/>
                    <a:pt x="156" y="27"/>
                  </a:cubicBezTo>
                  <a:cubicBezTo>
                    <a:pt x="156" y="27"/>
                    <a:pt x="156" y="27"/>
                    <a:pt x="156" y="27"/>
                  </a:cubicBezTo>
                  <a:cubicBezTo>
                    <a:pt x="156" y="27"/>
                    <a:pt x="156" y="27"/>
                    <a:pt x="156" y="27"/>
                  </a:cubicBezTo>
                  <a:cubicBezTo>
                    <a:pt x="157" y="27"/>
                    <a:pt x="157" y="27"/>
                    <a:pt x="157" y="27"/>
                  </a:cubicBezTo>
                  <a:cubicBezTo>
                    <a:pt x="157" y="27"/>
                    <a:pt x="157" y="27"/>
                    <a:pt x="157" y="27"/>
                  </a:cubicBezTo>
                  <a:cubicBezTo>
                    <a:pt x="157" y="27"/>
                    <a:pt x="157" y="27"/>
                    <a:pt x="157" y="27"/>
                  </a:cubicBezTo>
                  <a:cubicBezTo>
                    <a:pt x="157" y="27"/>
                    <a:pt x="157" y="27"/>
                    <a:pt x="157" y="27"/>
                  </a:cubicBezTo>
                  <a:cubicBezTo>
                    <a:pt x="157" y="27"/>
                    <a:pt x="157" y="27"/>
                    <a:pt x="157" y="27"/>
                  </a:cubicBezTo>
                  <a:cubicBezTo>
                    <a:pt x="158" y="27"/>
                    <a:pt x="158" y="27"/>
                    <a:pt x="158" y="27"/>
                  </a:cubicBezTo>
                  <a:cubicBezTo>
                    <a:pt x="158" y="26"/>
                    <a:pt x="158" y="26"/>
                    <a:pt x="158" y="26"/>
                  </a:cubicBezTo>
                  <a:cubicBezTo>
                    <a:pt x="158" y="26"/>
                    <a:pt x="158" y="26"/>
                    <a:pt x="158" y="26"/>
                  </a:cubicBezTo>
                  <a:cubicBezTo>
                    <a:pt x="158" y="26"/>
                    <a:pt x="158" y="26"/>
                    <a:pt x="158" y="26"/>
                  </a:cubicBezTo>
                  <a:cubicBezTo>
                    <a:pt x="157" y="26"/>
                    <a:pt x="157" y="26"/>
                    <a:pt x="157" y="26"/>
                  </a:cubicBezTo>
                  <a:cubicBezTo>
                    <a:pt x="157" y="26"/>
                    <a:pt x="157" y="26"/>
                    <a:pt x="157" y="26"/>
                  </a:cubicBezTo>
                  <a:cubicBezTo>
                    <a:pt x="157" y="26"/>
                    <a:pt x="157" y="26"/>
                    <a:pt x="157" y="26"/>
                  </a:cubicBezTo>
                  <a:cubicBezTo>
                    <a:pt x="158" y="25"/>
                    <a:pt x="158" y="25"/>
                    <a:pt x="159" y="25"/>
                  </a:cubicBezTo>
                  <a:cubicBezTo>
                    <a:pt x="159" y="25"/>
                    <a:pt x="159" y="25"/>
                    <a:pt x="159" y="25"/>
                  </a:cubicBezTo>
                  <a:cubicBezTo>
                    <a:pt x="159" y="25"/>
                    <a:pt x="159" y="25"/>
                    <a:pt x="159" y="25"/>
                  </a:cubicBezTo>
                  <a:cubicBezTo>
                    <a:pt x="158" y="25"/>
                    <a:pt x="158" y="25"/>
                    <a:pt x="158" y="25"/>
                  </a:cubicBezTo>
                  <a:cubicBezTo>
                    <a:pt x="158" y="24"/>
                    <a:pt x="158" y="24"/>
                    <a:pt x="158" y="24"/>
                  </a:cubicBezTo>
                  <a:cubicBezTo>
                    <a:pt x="158" y="24"/>
                    <a:pt x="158" y="24"/>
                    <a:pt x="158" y="24"/>
                  </a:cubicBezTo>
                  <a:cubicBezTo>
                    <a:pt x="157" y="24"/>
                    <a:pt x="157" y="24"/>
                    <a:pt x="157" y="24"/>
                  </a:cubicBezTo>
                  <a:cubicBezTo>
                    <a:pt x="157" y="24"/>
                    <a:pt x="157" y="24"/>
                    <a:pt x="157" y="24"/>
                  </a:cubicBezTo>
                  <a:cubicBezTo>
                    <a:pt x="157" y="24"/>
                    <a:pt x="157" y="24"/>
                    <a:pt x="157" y="24"/>
                  </a:cubicBezTo>
                  <a:cubicBezTo>
                    <a:pt x="156" y="24"/>
                    <a:pt x="156" y="24"/>
                    <a:pt x="156" y="24"/>
                  </a:cubicBezTo>
                  <a:cubicBezTo>
                    <a:pt x="156" y="24"/>
                    <a:pt x="156" y="24"/>
                    <a:pt x="156" y="24"/>
                  </a:cubicBezTo>
                  <a:cubicBezTo>
                    <a:pt x="155" y="24"/>
                    <a:pt x="155" y="24"/>
                    <a:pt x="155" y="24"/>
                  </a:cubicBezTo>
                  <a:cubicBezTo>
                    <a:pt x="155" y="23"/>
                    <a:pt x="155" y="23"/>
                    <a:pt x="155" y="23"/>
                  </a:cubicBezTo>
                  <a:cubicBezTo>
                    <a:pt x="155" y="23"/>
                    <a:pt x="155" y="23"/>
                    <a:pt x="155" y="23"/>
                  </a:cubicBezTo>
                  <a:cubicBezTo>
                    <a:pt x="155" y="22"/>
                    <a:pt x="155" y="22"/>
                    <a:pt x="155" y="22"/>
                  </a:cubicBezTo>
                  <a:cubicBezTo>
                    <a:pt x="156" y="22"/>
                    <a:pt x="156" y="22"/>
                    <a:pt x="156" y="22"/>
                  </a:cubicBezTo>
                  <a:cubicBezTo>
                    <a:pt x="156" y="22"/>
                    <a:pt x="156" y="22"/>
                    <a:pt x="156" y="22"/>
                  </a:cubicBezTo>
                  <a:cubicBezTo>
                    <a:pt x="156" y="21"/>
                    <a:pt x="156" y="21"/>
                    <a:pt x="156" y="21"/>
                  </a:cubicBezTo>
                  <a:cubicBezTo>
                    <a:pt x="156" y="21"/>
                    <a:pt x="157" y="21"/>
                    <a:pt x="157" y="21"/>
                  </a:cubicBezTo>
                  <a:cubicBezTo>
                    <a:pt x="157" y="21"/>
                    <a:pt x="157" y="21"/>
                    <a:pt x="157" y="21"/>
                  </a:cubicBezTo>
                  <a:cubicBezTo>
                    <a:pt x="157" y="21"/>
                    <a:pt x="157" y="21"/>
                    <a:pt x="157" y="21"/>
                  </a:cubicBezTo>
                  <a:cubicBezTo>
                    <a:pt x="158" y="21"/>
                    <a:pt x="158" y="21"/>
                    <a:pt x="158" y="21"/>
                  </a:cubicBezTo>
                  <a:cubicBezTo>
                    <a:pt x="158" y="21"/>
                    <a:pt x="158" y="21"/>
                    <a:pt x="158" y="21"/>
                  </a:cubicBezTo>
                  <a:cubicBezTo>
                    <a:pt x="158" y="21"/>
                    <a:pt x="158" y="21"/>
                    <a:pt x="158" y="21"/>
                  </a:cubicBezTo>
                  <a:cubicBezTo>
                    <a:pt x="158" y="21"/>
                    <a:pt x="158" y="21"/>
                    <a:pt x="158" y="21"/>
                  </a:cubicBezTo>
                  <a:cubicBezTo>
                    <a:pt x="157" y="20"/>
                    <a:pt x="157" y="20"/>
                    <a:pt x="157" y="20"/>
                  </a:cubicBezTo>
                  <a:cubicBezTo>
                    <a:pt x="157" y="20"/>
                    <a:pt x="157" y="20"/>
                    <a:pt x="157" y="20"/>
                  </a:cubicBezTo>
                  <a:cubicBezTo>
                    <a:pt x="157" y="20"/>
                    <a:pt x="157" y="20"/>
                    <a:pt x="157" y="20"/>
                  </a:cubicBezTo>
                  <a:cubicBezTo>
                    <a:pt x="156" y="20"/>
                    <a:pt x="156" y="20"/>
                    <a:pt x="156" y="20"/>
                  </a:cubicBezTo>
                  <a:cubicBezTo>
                    <a:pt x="156" y="20"/>
                    <a:pt x="156" y="20"/>
                    <a:pt x="156" y="20"/>
                  </a:cubicBezTo>
                  <a:cubicBezTo>
                    <a:pt x="156" y="20"/>
                    <a:pt x="156" y="20"/>
                    <a:pt x="156" y="20"/>
                  </a:cubicBezTo>
                  <a:cubicBezTo>
                    <a:pt x="156" y="20"/>
                    <a:pt x="156" y="20"/>
                    <a:pt x="156" y="20"/>
                  </a:cubicBezTo>
                  <a:cubicBezTo>
                    <a:pt x="156" y="20"/>
                    <a:pt x="156" y="20"/>
                    <a:pt x="156" y="20"/>
                  </a:cubicBezTo>
                  <a:cubicBezTo>
                    <a:pt x="156" y="21"/>
                    <a:pt x="156" y="21"/>
                    <a:pt x="156" y="21"/>
                  </a:cubicBezTo>
                  <a:cubicBezTo>
                    <a:pt x="156" y="21"/>
                    <a:pt x="156" y="21"/>
                    <a:pt x="156" y="21"/>
                  </a:cubicBezTo>
                  <a:cubicBezTo>
                    <a:pt x="156" y="20"/>
                    <a:pt x="156" y="20"/>
                    <a:pt x="156" y="20"/>
                  </a:cubicBezTo>
                  <a:cubicBezTo>
                    <a:pt x="156" y="20"/>
                    <a:pt x="156" y="20"/>
                    <a:pt x="156" y="20"/>
                  </a:cubicBezTo>
                  <a:cubicBezTo>
                    <a:pt x="155" y="20"/>
                    <a:pt x="155" y="20"/>
                    <a:pt x="155" y="20"/>
                  </a:cubicBezTo>
                  <a:cubicBezTo>
                    <a:pt x="155" y="20"/>
                    <a:pt x="155" y="20"/>
                    <a:pt x="155" y="20"/>
                  </a:cubicBezTo>
                  <a:cubicBezTo>
                    <a:pt x="155" y="20"/>
                    <a:pt x="155" y="20"/>
                    <a:pt x="155" y="20"/>
                  </a:cubicBezTo>
                  <a:cubicBezTo>
                    <a:pt x="154" y="20"/>
                    <a:pt x="154" y="20"/>
                    <a:pt x="154" y="20"/>
                  </a:cubicBezTo>
                  <a:cubicBezTo>
                    <a:pt x="154" y="20"/>
                    <a:pt x="154" y="20"/>
                    <a:pt x="154" y="20"/>
                  </a:cubicBezTo>
                  <a:cubicBezTo>
                    <a:pt x="154" y="20"/>
                    <a:pt x="154" y="20"/>
                    <a:pt x="154" y="20"/>
                  </a:cubicBezTo>
                  <a:cubicBezTo>
                    <a:pt x="154" y="21"/>
                    <a:pt x="154" y="21"/>
                    <a:pt x="154" y="21"/>
                  </a:cubicBezTo>
                  <a:cubicBezTo>
                    <a:pt x="154" y="21"/>
                    <a:pt x="154" y="21"/>
                    <a:pt x="154" y="21"/>
                  </a:cubicBezTo>
                  <a:cubicBezTo>
                    <a:pt x="154" y="21"/>
                    <a:pt x="154" y="21"/>
                    <a:pt x="154" y="21"/>
                  </a:cubicBezTo>
                  <a:cubicBezTo>
                    <a:pt x="155" y="21"/>
                    <a:pt x="155" y="21"/>
                    <a:pt x="155" y="21"/>
                  </a:cubicBezTo>
                  <a:cubicBezTo>
                    <a:pt x="155" y="22"/>
                    <a:pt x="155" y="22"/>
                    <a:pt x="155" y="22"/>
                  </a:cubicBezTo>
                  <a:cubicBezTo>
                    <a:pt x="154" y="22"/>
                    <a:pt x="154" y="22"/>
                    <a:pt x="154" y="22"/>
                  </a:cubicBezTo>
                  <a:cubicBezTo>
                    <a:pt x="154" y="22"/>
                    <a:pt x="154" y="22"/>
                    <a:pt x="154" y="22"/>
                  </a:cubicBezTo>
                  <a:cubicBezTo>
                    <a:pt x="154" y="23"/>
                    <a:pt x="154" y="23"/>
                    <a:pt x="154" y="23"/>
                  </a:cubicBezTo>
                  <a:cubicBezTo>
                    <a:pt x="154" y="23"/>
                    <a:pt x="154" y="23"/>
                    <a:pt x="154" y="23"/>
                  </a:cubicBezTo>
                  <a:cubicBezTo>
                    <a:pt x="155" y="24"/>
                    <a:pt x="155" y="24"/>
                    <a:pt x="155" y="24"/>
                  </a:cubicBezTo>
                  <a:cubicBezTo>
                    <a:pt x="155" y="24"/>
                    <a:pt x="155" y="24"/>
                    <a:pt x="155" y="24"/>
                  </a:cubicBezTo>
                  <a:cubicBezTo>
                    <a:pt x="155" y="24"/>
                    <a:pt x="155" y="24"/>
                    <a:pt x="155" y="24"/>
                  </a:cubicBezTo>
                  <a:cubicBezTo>
                    <a:pt x="155" y="24"/>
                    <a:pt x="155" y="24"/>
                    <a:pt x="155" y="24"/>
                  </a:cubicBezTo>
                  <a:cubicBezTo>
                    <a:pt x="154" y="25"/>
                    <a:pt x="154" y="25"/>
                    <a:pt x="154" y="25"/>
                  </a:cubicBezTo>
                  <a:cubicBezTo>
                    <a:pt x="154" y="25"/>
                    <a:pt x="154" y="25"/>
                    <a:pt x="154" y="25"/>
                  </a:cubicBezTo>
                  <a:cubicBezTo>
                    <a:pt x="154" y="25"/>
                    <a:pt x="154" y="25"/>
                    <a:pt x="154" y="25"/>
                  </a:cubicBezTo>
                  <a:cubicBezTo>
                    <a:pt x="154" y="25"/>
                    <a:pt x="154" y="25"/>
                    <a:pt x="154" y="25"/>
                  </a:cubicBezTo>
                  <a:cubicBezTo>
                    <a:pt x="154" y="25"/>
                    <a:pt x="154" y="25"/>
                    <a:pt x="154" y="25"/>
                  </a:cubicBezTo>
                  <a:cubicBezTo>
                    <a:pt x="154" y="26"/>
                    <a:pt x="154" y="26"/>
                    <a:pt x="154" y="26"/>
                  </a:cubicBezTo>
                  <a:cubicBezTo>
                    <a:pt x="154" y="26"/>
                    <a:pt x="154" y="26"/>
                    <a:pt x="154" y="26"/>
                  </a:cubicBezTo>
                  <a:cubicBezTo>
                    <a:pt x="154" y="26"/>
                    <a:pt x="154" y="26"/>
                    <a:pt x="154" y="26"/>
                  </a:cubicBezTo>
                  <a:cubicBezTo>
                    <a:pt x="154" y="26"/>
                    <a:pt x="154" y="26"/>
                    <a:pt x="154" y="26"/>
                  </a:cubicBezTo>
                  <a:cubicBezTo>
                    <a:pt x="154" y="26"/>
                    <a:pt x="154" y="26"/>
                    <a:pt x="154" y="26"/>
                  </a:cubicBezTo>
                  <a:cubicBezTo>
                    <a:pt x="154" y="26"/>
                    <a:pt x="154" y="26"/>
                    <a:pt x="154" y="26"/>
                  </a:cubicBezTo>
                  <a:cubicBezTo>
                    <a:pt x="154" y="26"/>
                    <a:pt x="154" y="26"/>
                    <a:pt x="154" y="26"/>
                  </a:cubicBezTo>
                  <a:cubicBezTo>
                    <a:pt x="154" y="27"/>
                    <a:pt x="154" y="27"/>
                    <a:pt x="154" y="27"/>
                  </a:cubicBezTo>
                  <a:cubicBezTo>
                    <a:pt x="154" y="26"/>
                    <a:pt x="154" y="26"/>
                    <a:pt x="154" y="26"/>
                  </a:cubicBezTo>
                  <a:cubicBezTo>
                    <a:pt x="154" y="26"/>
                    <a:pt x="154" y="26"/>
                    <a:pt x="154" y="26"/>
                  </a:cubicBezTo>
                  <a:cubicBezTo>
                    <a:pt x="154" y="27"/>
                    <a:pt x="154" y="27"/>
                    <a:pt x="154" y="27"/>
                  </a:cubicBezTo>
                  <a:cubicBezTo>
                    <a:pt x="154" y="27"/>
                    <a:pt x="154" y="27"/>
                    <a:pt x="154" y="27"/>
                  </a:cubicBezTo>
                  <a:cubicBezTo>
                    <a:pt x="154" y="27"/>
                    <a:pt x="154" y="27"/>
                    <a:pt x="154" y="27"/>
                  </a:cubicBezTo>
                  <a:cubicBezTo>
                    <a:pt x="154" y="27"/>
                    <a:pt x="154" y="27"/>
                    <a:pt x="154" y="27"/>
                  </a:cubicBezTo>
                  <a:cubicBezTo>
                    <a:pt x="154" y="27"/>
                    <a:pt x="154" y="27"/>
                    <a:pt x="154" y="27"/>
                  </a:cubicBezTo>
                  <a:cubicBezTo>
                    <a:pt x="154" y="27"/>
                    <a:pt x="154" y="27"/>
                    <a:pt x="154" y="27"/>
                  </a:cubicBezTo>
                  <a:cubicBezTo>
                    <a:pt x="154" y="28"/>
                    <a:pt x="154" y="28"/>
                    <a:pt x="154" y="28"/>
                  </a:cubicBezTo>
                  <a:cubicBezTo>
                    <a:pt x="154" y="28"/>
                    <a:pt x="154" y="28"/>
                    <a:pt x="154" y="28"/>
                  </a:cubicBezTo>
                  <a:cubicBezTo>
                    <a:pt x="153" y="28"/>
                    <a:pt x="153" y="28"/>
                    <a:pt x="153" y="28"/>
                  </a:cubicBezTo>
                  <a:cubicBezTo>
                    <a:pt x="153" y="28"/>
                    <a:pt x="153" y="28"/>
                    <a:pt x="153" y="28"/>
                  </a:cubicBezTo>
                  <a:cubicBezTo>
                    <a:pt x="154" y="29"/>
                    <a:pt x="154" y="29"/>
                    <a:pt x="154" y="29"/>
                  </a:cubicBezTo>
                  <a:cubicBezTo>
                    <a:pt x="154" y="29"/>
                    <a:pt x="154" y="29"/>
                    <a:pt x="154" y="29"/>
                  </a:cubicBezTo>
                  <a:cubicBezTo>
                    <a:pt x="154" y="29"/>
                    <a:pt x="154" y="29"/>
                    <a:pt x="154" y="29"/>
                  </a:cubicBezTo>
                  <a:cubicBezTo>
                    <a:pt x="154" y="29"/>
                    <a:pt x="154" y="29"/>
                    <a:pt x="154" y="29"/>
                  </a:cubicBezTo>
                  <a:cubicBezTo>
                    <a:pt x="154" y="29"/>
                    <a:pt x="154" y="29"/>
                    <a:pt x="154" y="29"/>
                  </a:cubicBezTo>
                  <a:cubicBezTo>
                    <a:pt x="154" y="29"/>
                    <a:pt x="154" y="29"/>
                    <a:pt x="154" y="29"/>
                  </a:cubicBezTo>
                  <a:cubicBezTo>
                    <a:pt x="155" y="30"/>
                    <a:pt x="155" y="30"/>
                    <a:pt x="155" y="30"/>
                  </a:cubicBezTo>
                  <a:cubicBezTo>
                    <a:pt x="154" y="30"/>
                    <a:pt x="154" y="30"/>
                    <a:pt x="154" y="30"/>
                  </a:cubicBezTo>
                  <a:cubicBezTo>
                    <a:pt x="154" y="30"/>
                    <a:pt x="154" y="30"/>
                    <a:pt x="154" y="30"/>
                  </a:cubicBezTo>
                  <a:cubicBezTo>
                    <a:pt x="154" y="30"/>
                    <a:pt x="154" y="30"/>
                    <a:pt x="154" y="30"/>
                  </a:cubicBezTo>
                  <a:cubicBezTo>
                    <a:pt x="154" y="30"/>
                    <a:pt x="154" y="30"/>
                    <a:pt x="154" y="30"/>
                  </a:cubicBezTo>
                  <a:cubicBezTo>
                    <a:pt x="155" y="30"/>
                    <a:pt x="155" y="30"/>
                    <a:pt x="155" y="30"/>
                  </a:cubicBezTo>
                  <a:cubicBezTo>
                    <a:pt x="155" y="30"/>
                    <a:pt x="155" y="30"/>
                    <a:pt x="155" y="30"/>
                  </a:cubicBezTo>
                  <a:cubicBezTo>
                    <a:pt x="155" y="31"/>
                    <a:pt x="155" y="31"/>
                    <a:pt x="155" y="31"/>
                  </a:cubicBezTo>
                  <a:cubicBezTo>
                    <a:pt x="154" y="30"/>
                    <a:pt x="154" y="30"/>
                    <a:pt x="154" y="30"/>
                  </a:cubicBezTo>
                  <a:cubicBezTo>
                    <a:pt x="154" y="30"/>
                    <a:pt x="154" y="30"/>
                    <a:pt x="154" y="30"/>
                  </a:cubicBezTo>
                  <a:cubicBezTo>
                    <a:pt x="154" y="30"/>
                    <a:pt x="154" y="30"/>
                    <a:pt x="154" y="30"/>
                  </a:cubicBezTo>
                  <a:cubicBezTo>
                    <a:pt x="154" y="30"/>
                    <a:pt x="154" y="30"/>
                    <a:pt x="154" y="30"/>
                  </a:cubicBezTo>
                  <a:cubicBezTo>
                    <a:pt x="154" y="30"/>
                    <a:pt x="154" y="30"/>
                    <a:pt x="154" y="30"/>
                  </a:cubicBezTo>
                  <a:cubicBezTo>
                    <a:pt x="154" y="30"/>
                    <a:pt x="154" y="30"/>
                    <a:pt x="154" y="30"/>
                  </a:cubicBezTo>
                  <a:cubicBezTo>
                    <a:pt x="154" y="31"/>
                    <a:pt x="154" y="31"/>
                    <a:pt x="154" y="31"/>
                  </a:cubicBezTo>
                  <a:cubicBezTo>
                    <a:pt x="154" y="31"/>
                    <a:pt x="154" y="31"/>
                    <a:pt x="154" y="31"/>
                  </a:cubicBezTo>
                  <a:cubicBezTo>
                    <a:pt x="154" y="31"/>
                    <a:pt x="154" y="31"/>
                    <a:pt x="154" y="31"/>
                  </a:cubicBezTo>
                  <a:cubicBezTo>
                    <a:pt x="154" y="31"/>
                    <a:pt x="154" y="31"/>
                    <a:pt x="154" y="31"/>
                  </a:cubicBezTo>
                  <a:cubicBezTo>
                    <a:pt x="154" y="31"/>
                    <a:pt x="154" y="31"/>
                    <a:pt x="154" y="31"/>
                  </a:cubicBezTo>
                  <a:cubicBezTo>
                    <a:pt x="154" y="31"/>
                    <a:pt x="154" y="31"/>
                    <a:pt x="154" y="31"/>
                  </a:cubicBezTo>
                  <a:cubicBezTo>
                    <a:pt x="154" y="31"/>
                    <a:pt x="154" y="31"/>
                    <a:pt x="154" y="31"/>
                  </a:cubicBezTo>
                  <a:cubicBezTo>
                    <a:pt x="154" y="31"/>
                    <a:pt x="154" y="31"/>
                    <a:pt x="154" y="31"/>
                  </a:cubicBezTo>
                  <a:cubicBezTo>
                    <a:pt x="154" y="31"/>
                    <a:pt x="154" y="31"/>
                    <a:pt x="154" y="31"/>
                  </a:cubicBezTo>
                  <a:cubicBezTo>
                    <a:pt x="153" y="31"/>
                    <a:pt x="153" y="31"/>
                    <a:pt x="153" y="31"/>
                  </a:cubicBezTo>
                  <a:cubicBezTo>
                    <a:pt x="153" y="31"/>
                    <a:pt x="153" y="31"/>
                    <a:pt x="153" y="31"/>
                  </a:cubicBezTo>
                  <a:cubicBezTo>
                    <a:pt x="154" y="31"/>
                    <a:pt x="154" y="31"/>
                    <a:pt x="154" y="31"/>
                  </a:cubicBezTo>
                  <a:cubicBezTo>
                    <a:pt x="154" y="32"/>
                    <a:pt x="154" y="32"/>
                    <a:pt x="154" y="32"/>
                  </a:cubicBezTo>
                  <a:cubicBezTo>
                    <a:pt x="155" y="32"/>
                    <a:pt x="155" y="32"/>
                    <a:pt x="155" y="32"/>
                  </a:cubicBezTo>
                  <a:cubicBezTo>
                    <a:pt x="155" y="32"/>
                    <a:pt x="155" y="32"/>
                    <a:pt x="155" y="32"/>
                  </a:cubicBezTo>
                  <a:cubicBezTo>
                    <a:pt x="154" y="32"/>
                    <a:pt x="154" y="32"/>
                    <a:pt x="154" y="32"/>
                  </a:cubicBezTo>
                  <a:cubicBezTo>
                    <a:pt x="154" y="32"/>
                    <a:pt x="154" y="32"/>
                    <a:pt x="154" y="32"/>
                  </a:cubicBezTo>
                  <a:cubicBezTo>
                    <a:pt x="154" y="32"/>
                    <a:pt x="154" y="32"/>
                    <a:pt x="154" y="32"/>
                  </a:cubicBezTo>
                  <a:cubicBezTo>
                    <a:pt x="154" y="32"/>
                    <a:pt x="154" y="32"/>
                    <a:pt x="154" y="32"/>
                  </a:cubicBezTo>
                  <a:cubicBezTo>
                    <a:pt x="153" y="32"/>
                    <a:pt x="153" y="32"/>
                    <a:pt x="153" y="32"/>
                  </a:cubicBezTo>
                  <a:cubicBezTo>
                    <a:pt x="153" y="32"/>
                    <a:pt x="153" y="32"/>
                    <a:pt x="153" y="32"/>
                  </a:cubicBezTo>
                  <a:cubicBezTo>
                    <a:pt x="153" y="32"/>
                    <a:pt x="153" y="32"/>
                    <a:pt x="153" y="32"/>
                  </a:cubicBezTo>
                  <a:cubicBezTo>
                    <a:pt x="154" y="32"/>
                    <a:pt x="154" y="32"/>
                    <a:pt x="154" y="32"/>
                  </a:cubicBezTo>
                  <a:cubicBezTo>
                    <a:pt x="154" y="33"/>
                    <a:pt x="154" y="33"/>
                    <a:pt x="154" y="33"/>
                  </a:cubicBezTo>
                  <a:cubicBezTo>
                    <a:pt x="154" y="33"/>
                    <a:pt x="154" y="33"/>
                    <a:pt x="154" y="33"/>
                  </a:cubicBezTo>
                  <a:cubicBezTo>
                    <a:pt x="154" y="33"/>
                    <a:pt x="154" y="33"/>
                    <a:pt x="154" y="33"/>
                  </a:cubicBezTo>
                  <a:cubicBezTo>
                    <a:pt x="154" y="33"/>
                    <a:pt x="154" y="33"/>
                    <a:pt x="154" y="33"/>
                  </a:cubicBezTo>
                  <a:cubicBezTo>
                    <a:pt x="154" y="33"/>
                    <a:pt x="154" y="33"/>
                    <a:pt x="154" y="33"/>
                  </a:cubicBezTo>
                  <a:cubicBezTo>
                    <a:pt x="154" y="33"/>
                    <a:pt x="154" y="33"/>
                    <a:pt x="154" y="33"/>
                  </a:cubicBezTo>
                  <a:cubicBezTo>
                    <a:pt x="155" y="34"/>
                    <a:pt x="155" y="34"/>
                    <a:pt x="155" y="34"/>
                  </a:cubicBezTo>
                  <a:cubicBezTo>
                    <a:pt x="156" y="34"/>
                    <a:pt x="156" y="34"/>
                    <a:pt x="156" y="34"/>
                  </a:cubicBezTo>
                  <a:cubicBezTo>
                    <a:pt x="156" y="34"/>
                    <a:pt x="156" y="34"/>
                    <a:pt x="156" y="34"/>
                  </a:cubicBezTo>
                  <a:cubicBezTo>
                    <a:pt x="156" y="34"/>
                    <a:pt x="156" y="34"/>
                    <a:pt x="156" y="34"/>
                  </a:cubicBezTo>
                  <a:cubicBezTo>
                    <a:pt x="157" y="34"/>
                    <a:pt x="157" y="34"/>
                    <a:pt x="157" y="34"/>
                  </a:cubicBezTo>
                  <a:cubicBezTo>
                    <a:pt x="157" y="34"/>
                    <a:pt x="157" y="34"/>
                    <a:pt x="157" y="34"/>
                  </a:cubicBezTo>
                  <a:cubicBezTo>
                    <a:pt x="156" y="34"/>
                    <a:pt x="156" y="34"/>
                    <a:pt x="156" y="34"/>
                  </a:cubicBezTo>
                  <a:cubicBezTo>
                    <a:pt x="156" y="34"/>
                    <a:pt x="156" y="34"/>
                    <a:pt x="156" y="34"/>
                  </a:cubicBezTo>
                  <a:cubicBezTo>
                    <a:pt x="155" y="34"/>
                    <a:pt x="155" y="34"/>
                    <a:pt x="155" y="34"/>
                  </a:cubicBezTo>
                  <a:cubicBezTo>
                    <a:pt x="155" y="34"/>
                    <a:pt x="155" y="34"/>
                    <a:pt x="155" y="34"/>
                  </a:cubicBezTo>
                  <a:cubicBezTo>
                    <a:pt x="154" y="34"/>
                    <a:pt x="154" y="34"/>
                    <a:pt x="154" y="34"/>
                  </a:cubicBezTo>
                  <a:cubicBezTo>
                    <a:pt x="154" y="34"/>
                    <a:pt x="154" y="34"/>
                    <a:pt x="154" y="34"/>
                  </a:cubicBezTo>
                  <a:cubicBezTo>
                    <a:pt x="153" y="33"/>
                    <a:pt x="153" y="33"/>
                    <a:pt x="153" y="33"/>
                  </a:cubicBezTo>
                  <a:cubicBezTo>
                    <a:pt x="153" y="33"/>
                    <a:pt x="153" y="33"/>
                    <a:pt x="153" y="33"/>
                  </a:cubicBezTo>
                  <a:cubicBezTo>
                    <a:pt x="153" y="33"/>
                    <a:pt x="153" y="33"/>
                    <a:pt x="153" y="33"/>
                  </a:cubicBezTo>
                  <a:cubicBezTo>
                    <a:pt x="152" y="34"/>
                    <a:pt x="152" y="34"/>
                    <a:pt x="152" y="34"/>
                  </a:cubicBezTo>
                  <a:cubicBezTo>
                    <a:pt x="152" y="34"/>
                    <a:pt x="152" y="34"/>
                    <a:pt x="152" y="34"/>
                  </a:cubicBezTo>
                  <a:cubicBezTo>
                    <a:pt x="152" y="34"/>
                    <a:pt x="152" y="34"/>
                    <a:pt x="152" y="34"/>
                  </a:cubicBezTo>
                  <a:cubicBezTo>
                    <a:pt x="152" y="34"/>
                    <a:pt x="152" y="34"/>
                    <a:pt x="152" y="34"/>
                  </a:cubicBezTo>
                  <a:cubicBezTo>
                    <a:pt x="152" y="34"/>
                    <a:pt x="152" y="34"/>
                    <a:pt x="152" y="34"/>
                  </a:cubicBezTo>
                  <a:cubicBezTo>
                    <a:pt x="153" y="35"/>
                    <a:pt x="153" y="35"/>
                    <a:pt x="153" y="35"/>
                  </a:cubicBezTo>
                  <a:cubicBezTo>
                    <a:pt x="152" y="34"/>
                    <a:pt x="152" y="34"/>
                    <a:pt x="152" y="34"/>
                  </a:cubicBezTo>
                  <a:cubicBezTo>
                    <a:pt x="152" y="34"/>
                    <a:pt x="152" y="34"/>
                    <a:pt x="152" y="34"/>
                  </a:cubicBezTo>
                  <a:cubicBezTo>
                    <a:pt x="152" y="34"/>
                    <a:pt x="152" y="34"/>
                    <a:pt x="152" y="34"/>
                  </a:cubicBezTo>
                  <a:cubicBezTo>
                    <a:pt x="152" y="35"/>
                    <a:pt x="152" y="35"/>
                    <a:pt x="152" y="35"/>
                  </a:cubicBezTo>
                  <a:cubicBezTo>
                    <a:pt x="152" y="35"/>
                    <a:pt x="152" y="35"/>
                    <a:pt x="152" y="35"/>
                  </a:cubicBezTo>
                  <a:cubicBezTo>
                    <a:pt x="152" y="35"/>
                    <a:pt x="152" y="35"/>
                    <a:pt x="152" y="35"/>
                  </a:cubicBezTo>
                  <a:cubicBezTo>
                    <a:pt x="152" y="35"/>
                    <a:pt x="152" y="35"/>
                    <a:pt x="152" y="35"/>
                  </a:cubicBezTo>
                  <a:cubicBezTo>
                    <a:pt x="152" y="35"/>
                    <a:pt x="152" y="35"/>
                    <a:pt x="152" y="35"/>
                  </a:cubicBezTo>
                  <a:cubicBezTo>
                    <a:pt x="151" y="35"/>
                    <a:pt x="151" y="35"/>
                    <a:pt x="151" y="35"/>
                  </a:cubicBezTo>
                  <a:cubicBezTo>
                    <a:pt x="151" y="35"/>
                    <a:pt x="151" y="35"/>
                    <a:pt x="151" y="35"/>
                  </a:cubicBezTo>
                  <a:cubicBezTo>
                    <a:pt x="151" y="35"/>
                    <a:pt x="151" y="35"/>
                    <a:pt x="151" y="35"/>
                  </a:cubicBezTo>
                  <a:cubicBezTo>
                    <a:pt x="151" y="35"/>
                    <a:pt x="151" y="35"/>
                    <a:pt x="151" y="35"/>
                  </a:cubicBezTo>
                  <a:cubicBezTo>
                    <a:pt x="152" y="35"/>
                    <a:pt x="152" y="35"/>
                    <a:pt x="152" y="35"/>
                  </a:cubicBezTo>
                  <a:cubicBezTo>
                    <a:pt x="152" y="36"/>
                    <a:pt x="152" y="36"/>
                    <a:pt x="152" y="36"/>
                  </a:cubicBezTo>
                  <a:cubicBezTo>
                    <a:pt x="151" y="36"/>
                    <a:pt x="151" y="36"/>
                    <a:pt x="151" y="36"/>
                  </a:cubicBezTo>
                  <a:cubicBezTo>
                    <a:pt x="151" y="37"/>
                    <a:pt x="151" y="37"/>
                    <a:pt x="151" y="37"/>
                  </a:cubicBezTo>
                  <a:cubicBezTo>
                    <a:pt x="151" y="37"/>
                    <a:pt x="151" y="37"/>
                    <a:pt x="151" y="37"/>
                  </a:cubicBezTo>
                  <a:cubicBezTo>
                    <a:pt x="152" y="37"/>
                    <a:pt x="152" y="37"/>
                    <a:pt x="152" y="37"/>
                  </a:cubicBezTo>
                  <a:cubicBezTo>
                    <a:pt x="152" y="39"/>
                    <a:pt x="152" y="39"/>
                    <a:pt x="152" y="39"/>
                  </a:cubicBezTo>
                  <a:cubicBezTo>
                    <a:pt x="154" y="40"/>
                    <a:pt x="154" y="40"/>
                    <a:pt x="154" y="40"/>
                  </a:cubicBezTo>
                  <a:cubicBezTo>
                    <a:pt x="154" y="41"/>
                    <a:pt x="154" y="41"/>
                    <a:pt x="154" y="41"/>
                  </a:cubicBezTo>
                  <a:cubicBezTo>
                    <a:pt x="154" y="41"/>
                    <a:pt x="154" y="41"/>
                    <a:pt x="154" y="41"/>
                  </a:cubicBezTo>
                  <a:cubicBezTo>
                    <a:pt x="155" y="41"/>
                    <a:pt x="155" y="41"/>
                    <a:pt x="155" y="41"/>
                  </a:cubicBezTo>
                  <a:cubicBezTo>
                    <a:pt x="156" y="41"/>
                    <a:pt x="156" y="41"/>
                    <a:pt x="156" y="41"/>
                  </a:cubicBezTo>
                  <a:cubicBezTo>
                    <a:pt x="157" y="41"/>
                    <a:pt x="157" y="41"/>
                    <a:pt x="157" y="41"/>
                  </a:cubicBezTo>
                  <a:cubicBezTo>
                    <a:pt x="157" y="41"/>
                    <a:pt x="157" y="41"/>
                    <a:pt x="157" y="41"/>
                  </a:cubicBezTo>
                  <a:cubicBezTo>
                    <a:pt x="158" y="41"/>
                    <a:pt x="158" y="41"/>
                    <a:pt x="158" y="41"/>
                  </a:cubicBezTo>
                  <a:cubicBezTo>
                    <a:pt x="158" y="42"/>
                    <a:pt x="158" y="42"/>
                    <a:pt x="158" y="42"/>
                  </a:cubicBezTo>
                  <a:cubicBezTo>
                    <a:pt x="159" y="42"/>
                    <a:pt x="159" y="42"/>
                    <a:pt x="159" y="42"/>
                  </a:cubicBezTo>
                  <a:cubicBezTo>
                    <a:pt x="160" y="42"/>
                    <a:pt x="160" y="42"/>
                    <a:pt x="160" y="42"/>
                  </a:cubicBezTo>
                  <a:cubicBezTo>
                    <a:pt x="160" y="42"/>
                    <a:pt x="160" y="42"/>
                    <a:pt x="160" y="42"/>
                  </a:cubicBezTo>
                  <a:cubicBezTo>
                    <a:pt x="159" y="42"/>
                    <a:pt x="159" y="42"/>
                    <a:pt x="159" y="42"/>
                  </a:cubicBezTo>
                  <a:cubicBezTo>
                    <a:pt x="159" y="42"/>
                    <a:pt x="159" y="42"/>
                    <a:pt x="159" y="42"/>
                  </a:cubicBezTo>
                  <a:cubicBezTo>
                    <a:pt x="159" y="42"/>
                    <a:pt x="159" y="42"/>
                    <a:pt x="159" y="42"/>
                  </a:cubicBezTo>
                  <a:cubicBezTo>
                    <a:pt x="157" y="42"/>
                    <a:pt x="157" y="42"/>
                    <a:pt x="157" y="42"/>
                  </a:cubicBezTo>
                  <a:cubicBezTo>
                    <a:pt x="157" y="41"/>
                    <a:pt x="157" y="41"/>
                    <a:pt x="157" y="41"/>
                  </a:cubicBezTo>
                  <a:cubicBezTo>
                    <a:pt x="157" y="41"/>
                    <a:pt x="157" y="41"/>
                    <a:pt x="157" y="41"/>
                  </a:cubicBezTo>
                  <a:cubicBezTo>
                    <a:pt x="157" y="41"/>
                    <a:pt x="157" y="41"/>
                    <a:pt x="157" y="41"/>
                  </a:cubicBezTo>
                  <a:cubicBezTo>
                    <a:pt x="157" y="41"/>
                    <a:pt x="157" y="41"/>
                    <a:pt x="157" y="41"/>
                  </a:cubicBezTo>
                  <a:cubicBezTo>
                    <a:pt x="157" y="41"/>
                    <a:pt x="157" y="41"/>
                    <a:pt x="157" y="41"/>
                  </a:cubicBezTo>
                  <a:cubicBezTo>
                    <a:pt x="157" y="41"/>
                    <a:pt x="157" y="41"/>
                    <a:pt x="157" y="41"/>
                  </a:cubicBezTo>
                  <a:cubicBezTo>
                    <a:pt x="157" y="41"/>
                    <a:pt x="157" y="41"/>
                    <a:pt x="157" y="41"/>
                  </a:cubicBezTo>
                  <a:cubicBezTo>
                    <a:pt x="156" y="41"/>
                    <a:pt x="156" y="41"/>
                    <a:pt x="156" y="41"/>
                  </a:cubicBezTo>
                  <a:cubicBezTo>
                    <a:pt x="155" y="41"/>
                    <a:pt x="155" y="41"/>
                    <a:pt x="155" y="41"/>
                  </a:cubicBezTo>
                  <a:cubicBezTo>
                    <a:pt x="155" y="41"/>
                    <a:pt x="155" y="41"/>
                    <a:pt x="155" y="41"/>
                  </a:cubicBezTo>
                  <a:cubicBezTo>
                    <a:pt x="154" y="42"/>
                    <a:pt x="154" y="42"/>
                    <a:pt x="154" y="42"/>
                  </a:cubicBezTo>
                  <a:cubicBezTo>
                    <a:pt x="154" y="42"/>
                    <a:pt x="154" y="42"/>
                    <a:pt x="154" y="42"/>
                  </a:cubicBezTo>
                  <a:cubicBezTo>
                    <a:pt x="153" y="42"/>
                    <a:pt x="153" y="42"/>
                    <a:pt x="153" y="42"/>
                  </a:cubicBezTo>
                  <a:cubicBezTo>
                    <a:pt x="153" y="42"/>
                    <a:pt x="153" y="42"/>
                    <a:pt x="153" y="42"/>
                  </a:cubicBezTo>
                  <a:cubicBezTo>
                    <a:pt x="153" y="42"/>
                    <a:pt x="153" y="42"/>
                    <a:pt x="153" y="42"/>
                  </a:cubicBezTo>
                  <a:cubicBezTo>
                    <a:pt x="153" y="42"/>
                    <a:pt x="153" y="42"/>
                    <a:pt x="153" y="42"/>
                  </a:cubicBezTo>
                  <a:cubicBezTo>
                    <a:pt x="154" y="42"/>
                    <a:pt x="154" y="42"/>
                    <a:pt x="154" y="42"/>
                  </a:cubicBezTo>
                  <a:cubicBezTo>
                    <a:pt x="154" y="42"/>
                    <a:pt x="154" y="42"/>
                    <a:pt x="154" y="42"/>
                  </a:cubicBezTo>
                  <a:cubicBezTo>
                    <a:pt x="154" y="43"/>
                    <a:pt x="154" y="43"/>
                    <a:pt x="154" y="43"/>
                  </a:cubicBezTo>
                  <a:cubicBezTo>
                    <a:pt x="154" y="43"/>
                    <a:pt x="154" y="43"/>
                    <a:pt x="154" y="43"/>
                  </a:cubicBezTo>
                  <a:cubicBezTo>
                    <a:pt x="154" y="43"/>
                    <a:pt x="154" y="43"/>
                    <a:pt x="154" y="43"/>
                  </a:cubicBezTo>
                  <a:cubicBezTo>
                    <a:pt x="155" y="43"/>
                    <a:pt x="155" y="43"/>
                    <a:pt x="155" y="43"/>
                  </a:cubicBezTo>
                  <a:cubicBezTo>
                    <a:pt x="155" y="43"/>
                    <a:pt x="155" y="43"/>
                    <a:pt x="155" y="43"/>
                  </a:cubicBezTo>
                  <a:cubicBezTo>
                    <a:pt x="155" y="43"/>
                    <a:pt x="155" y="43"/>
                    <a:pt x="155" y="43"/>
                  </a:cubicBezTo>
                  <a:cubicBezTo>
                    <a:pt x="155" y="43"/>
                    <a:pt x="155" y="43"/>
                    <a:pt x="155" y="43"/>
                  </a:cubicBezTo>
                  <a:cubicBezTo>
                    <a:pt x="155" y="44"/>
                    <a:pt x="155" y="44"/>
                    <a:pt x="155" y="44"/>
                  </a:cubicBezTo>
                  <a:cubicBezTo>
                    <a:pt x="155" y="44"/>
                    <a:pt x="155" y="44"/>
                    <a:pt x="155" y="44"/>
                  </a:cubicBezTo>
                  <a:cubicBezTo>
                    <a:pt x="155" y="44"/>
                    <a:pt x="155" y="44"/>
                    <a:pt x="155" y="44"/>
                  </a:cubicBezTo>
                  <a:cubicBezTo>
                    <a:pt x="155" y="45"/>
                    <a:pt x="155" y="45"/>
                    <a:pt x="155" y="45"/>
                  </a:cubicBezTo>
                  <a:cubicBezTo>
                    <a:pt x="155" y="45"/>
                    <a:pt x="155" y="45"/>
                    <a:pt x="155" y="45"/>
                  </a:cubicBezTo>
                  <a:cubicBezTo>
                    <a:pt x="156" y="46"/>
                    <a:pt x="156" y="46"/>
                    <a:pt x="156" y="46"/>
                  </a:cubicBezTo>
                  <a:cubicBezTo>
                    <a:pt x="156" y="46"/>
                    <a:pt x="156" y="46"/>
                    <a:pt x="156" y="46"/>
                  </a:cubicBezTo>
                  <a:cubicBezTo>
                    <a:pt x="154" y="44"/>
                    <a:pt x="154" y="44"/>
                    <a:pt x="154" y="44"/>
                  </a:cubicBezTo>
                  <a:cubicBezTo>
                    <a:pt x="153" y="44"/>
                    <a:pt x="153" y="44"/>
                    <a:pt x="153" y="44"/>
                  </a:cubicBezTo>
                  <a:cubicBezTo>
                    <a:pt x="153" y="45"/>
                    <a:pt x="153" y="45"/>
                    <a:pt x="153" y="45"/>
                  </a:cubicBezTo>
                  <a:cubicBezTo>
                    <a:pt x="153" y="45"/>
                    <a:pt x="153" y="45"/>
                    <a:pt x="153" y="45"/>
                  </a:cubicBezTo>
                  <a:cubicBezTo>
                    <a:pt x="154" y="45"/>
                    <a:pt x="154" y="45"/>
                    <a:pt x="154" y="45"/>
                  </a:cubicBezTo>
                  <a:cubicBezTo>
                    <a:pt x="154" y="46"/>
                    <a:pt x="154" y="46"/>
                    <a:pt x="154" y="46"/>
                  </a:cubicBezTo>
                  <a:cubicBezTo>
                    <a:pt x="154" y="46"/>
                    <a:pt x="154" y="46"/>
                    <a:pt x="154" y="46"/>
                  </a:cubicBezTo>
                  <a:cubicBezTo>
                    <a:pt x="154" y="46"/>
                    <a:pt x="154" y="46"/>
                    <a:pt x="154" y="46"/>
                  </a:cubicBezTo>
                  <a:cubicBezTo>
                    <a:pt x="155" y="46"/>
                    <a:pt x="155" y="46"/>
                    <a:pt x="155" y="46"/>
                  </a:cubicBezTo>
                  <a:cubicBezTo>
                    <a:pt x="155" y="46"/>
                    <a:pt x="155" y="46"/>
                    <a:pt x="155" y="46"/>
                  </a:cubicBezTo>
                  <a:cubicBezTo>
                    <a:pt x="155" y="47"/>
                    <a:pt x="155" y="47"/>
                    <a:pt x="155" y="47"/>
                  </a:cubicBezTo>
                  <a:cubicBezTo>
                    <a:pt x="155" y="47"/>
                    <a:pt x="155" y="47"/>
                    <a:pt x="155" y="47"/>
                  </a:cubicBezTo>
                  <a:cubicBezTo>
                    <a:pt x="154" y="47"/>
                    <a:pt x="154" y="47"/>
                    <a:pt x="154" y="47"/>
                  </a:cubicBezTo>
                  <a:cubicBezTo>
                    <a:pt x="154" y="47"/>
                    <a:pt x="154" y="47"/>
                    <a:pt x="154" y="47"/>
                  </a:cubicBezTo>
                  <a:cubicBezTo>
                    <a:pt x="154" y="47"/>
                    <a:pt x="154" y="47"/>
                    <a:pt x="154" y="47"/>
                  </a:cubicBezTo>
                  <a:cubicBezTo>
                    <a:pt x="154" y="47"/>
                    <a:pt x="154" y="47"/>
                    <a:pt x="154" y="47"/>
                  </a:cubicBezTo>
                  <a:cubicBezTo>
                    <a:pt x="154" y="47"/>
                    <a:pt x="154" y="47"/>
                    <a:pt x="154" y="47"/>
                  </a:cubicBezTo>
                  <a:cubicBezTo>
                    <a:pt x="154" y="47"/>
                    <a:pt x="154" y="47"/>
                    <a:pt x="154" y="47"/>
                  </a:cubicBezTo>
                  <a:cubicBezTo>
                    <a:pt x="154" y="47"/>
                    <a:pt x="154" y="47"/>
                    <a:pt x="154" y="47"/>
                  </a:cubicBezTo>
                  <a:cubicBezTo>
                    <a:pt x="154" y="47"/>
                    <a:pt x="154" y="47"/>
                    <a:pt x="154" y="47"/>
                  </a:cubicBezTo>
                  <a:cubicBezTo>
                    <a:pt x="154" y="47"/>
                    <a:pt x="154" y="47"/>
                    <a:pt x="154" y="47"/>
                  </a:cubicBezTo>
                  <a:cubicBezTo>
                    <a:pt x="154" y="47"/>
                    <a:pt x="154" y="47"/>
                    <a:pt x="154" y="47"/>
                  </a:cubicBezTo>
                  <a:cubicBezTo>
                    <a:pt x="154" y="47"/>
                    <a:pt x="154" y="47"/>
                    <a:pt x="154" y="47"/>
                  </a:cubicBezTo>
                  <a:cubicBezTo>
                    <a:pt x="154" y="48"/>
                    <a:pt x="154" y="48"/>
                    <a:pt x="154" y="48"/>
                  </a:cubicBezTo>
                  <a:cubicBezTo>
                    <a:pt x="154" y="48"/>
                    <a:pt x="154" y="48"/>
                    <a:pt x="154" y="48"/>
                  </a:cubicBezTo>
                  <a:cubicBezTo>
                    <a:pt x="153" y="47"/>
                    <a:pt x="153" y="47"/>
                    <a:pt x="153" y="47"/>
                  </a:cubicBezTo>
                  <a:cubicBezTo>
                    <a:pt x="153" y="47"/>
                    <a:pt x="153" y="47"/>
                    <a:pt x="153" y="47"/>
                  </a:cubicBezTo>
                  <a:cubicBezTo>
                    <a:pt x="152" y="47"/>
                    <a:pt x="152" y="47"/>
                    <a:pt x="152" y="47"/>
                  </a:cubicBezTo>
                  <a:cubicBezTo>
                    <a:pt x="152" y="47"/>
                    <a:pt x="152" y="47"/>
                    <a:pt x="152" y="47"/>
                  </a:cubicBezTo>
                  <a:cubicBezTo>
                    <a:pt x="152" y="47"/>
                    <a:pt x="152" y="47"/>
                    <a:pt x="152" y="47"/>
                  </a:cubicBezTo>
                  <a:cubicBezTo>
                    <a:pt x="152" y="47"/>
                    <a:pt x="152" y="47"/>
                    <a:pt x="152" y="47"/>
                  </a:cubicBezTo>
                  <a:cubicBezTo>
                    <a:pt x="152" y="48"/>
                    <a:pt x="152" y="48"/>
                    <a:pt x="152" y="48"/>
                  </a:cubicBezTo>
                  <a:cubicBezTo>
                    <a:pt x="152" y="48"/>
                    <a:pt x="152" y="48"/>
                    <a:pt x="152" y="48"/>
                  </a:cubicBezTo>
                  <a:cubicBezTo>
                    <a:pt x="152" y="48"/>
                    <a:pt x="152" y="48"/>
                    <a:pt x="152" y="48"/>
                  </a:cubicBezTo>
                  <a:cubicBezTo>
                    <a:pt x="153" y="48"/>
                    <a:pt x="153" y="48"/>
                    <a:pt x="153" y="48"/>
                  </a:cubicBezTo>
                  <a:cubicBezTo>
                    <a:pt x="153" y="48"/>
                    <a:pt x="153" y="48"/>
                    <a:pt x="153" y="48"/>
                  </a:cubicBezTo>
                  <a:cubicBezTo>
                    <a:pt x="153" y="48"/>
                    <a:pt x="153" y="48"/>
                    <a:pt x="153" y="48"/>
                  </a:cubicBezTo>
                  <a:cubicBezTo>
                    <a:pt x="153" y="49"/>
                    <a:pt x="153" y="49"/>
                    <a:pt x="153" y="49"/>
                  </a:cubicBezTo>
                  <a:cubicBezTo>
                    <a:pt x="153" y="49"/>
                    <a:pt x="153" y="49"/>
                    <a:pt x="153" y="49"/>
                  </a:cubicBezTo>
                  <a:cubicBezTo>
                    <a:pt x="153" y="49"/>
                    <a:pt x="153" y="49"/>
                    <a:pt x="153" y="49"/>
                  </a:cubicBezTo>
                  <a:cubicBezTo>
                    <a:pt x="153" y="49"/>
                    <a:pt x="153" y="49"/>
                    <a:pt x="153" y="49"/>
                  </a:cubicBezTo>
                  <a:cubicBezTo>
                    <a:pt x="153" y="50"/>
                    <a:pt x="153" y="50"/>
                    <a:pt x="153" y="50"/>
                  </a:cubicBezTo>
                  <a:cubicBezTo>
                    <a:pt x="153" y="50"/>
                    <a:pt x="153" y="50"/>
                    <a:pt x="153" y="50"/>
                  </a:cubicBezTo>
                  <a:cubicBezTo>
                    <a:pt x="154" y="50"/>
                    <a:pt x="154" y="50"/>
                    <a:pt x="154" y="50"/>
                  </a:cubicBezTo>
                  <a:cubicBezTo>
                    <a:pt x="154" y="51"/>
                    <a:pt x="154" y="51"/>
                    <a:pt x="154" y="51"/>
                  </a:cubicBezTo>
                  <a:cubicBezTo>
                    <a:pt x="155" y="51"/>
                    <a:pt x="155" y="51"/>
                    <a:pt x="155" y="51"/>
                  </a:cubicBezTo>
                  <a:cubicBezTo>
                    <a:pt x="155" y="51"/>
                    <a:pt x="155" y="51"/>
                    <a:pt x="155" y="51"/>
                  </a:cubicBezTo>
                  <a:cubicBezTo>
                    <a:pt x="155" y="51"/>
                    <a:pt x="155" y="51"/>
                    <a:pt x="155" y="51"/>
                  </a:cubicBezTo>
                  <a:cubicBezTo>
                    <a:pt x="155" y="51"/>
                    <a:pt x="155" y="51"/>
                    <a:pt x="155" y="51"/>
                  </a:cubicBezTo>
                  <a:cubicBezTo>
                    <a:pt x="155" y="51"/>
                    <a:pt x="155" y="51"/>
                    <a:pt x="155" y="51"/>
                  </a:cubicBezTo>
                  <a:cubicBezTo>
                    <a:pt x="155" y="50"/>
                    <a:pt x="155" y="50"/>
                    <a:pt x="155" y="50"/>
                  </a:cubicBezTo>
                  <a:cubicBezTo>
                    <a:pt x="155" y="50"/>
                    <a:pt x="155" y="50"/>
                    <a:pt x="155" y="50"/>
                  </a:cubicBezTo>
                  <a:cubicBezTo>
                    <a:pt x="155" y="50"/>
                    <a:pt x="155" y="50"/>
                    <a:pt x="155" y="50"/>
                  </a:cubicBezTo>
                  <a:cubicBezTo>
                    <a:pt x="155" y="50"/>
                    <a:pt x="155" y="50"/>
                    <a:pt x="155" y="50"/>
                  </a:cubicBezTo>
                  <a:cubicBezTo>
                    <a:pt x="155" y="50"/>
                    <a:pt x="155" y="50"/>
                    <a:pt x="155" y="50"/>
                  </a:cubicBezTo>
                  <a:cubicBezTo>
                    <a:pt x="156" y="50"/>
                    <a:pt x="156" y="50"/>
                    <a:pt x="156" y="50"/>
                  </a:cubicBezTo>
                  <a:cubicBezTo>
                    <a:pt x="156" y="50"/>
                    <a:pt x="156" y="50"/>
                    <a:pt x="156" y="50"/>
                  </a:cubicBezTo>
                  <a:cubicBezTo>
                    <a:pt x="156" y="50"/>
                    <a:pt x="156" y="50"/>
                    <a:pt x="156" y="50"/>
                  </a:cubicBezTo>
                  <a:cubicBezTo>
                    <a:pt x="156" y="50"/>
                    <a:pt x="156" y="50"/>
                    <a:pt x="156" y="50"/>
                  </a:cubicBezTo>
                  <a:cubicBezTo>
                    <a:pt x="156" y="50"/>
                    <a:pt x="156" y="50"/>
                    <a:pt x="156" y="50"/>
                  </a:cubicBezTo>
                  <a:cubicBezTo>
                    <a:pt x="157" y="51"/>
                    <a:pt x="157" y="51"/>
                    <a:pt x="157" y="51"/>
                  </a:cubicBezTo>
                  <a:cubicBezTo>
                    <a:pt x="158" y="50"/>
                    <a:pt x="158" y="50"/>
                    <a:pt x="158" y="50"/>
                  </a:cubicBezTo>
                  <a:cubicBezTo>
                    <a:pt x="158" y="50"/>
                    <a:pt x="158" y="50"/>
                    <a:pt x="158" y="50"/>
                  </a:cubicBezTo>
                  <a:cubicBezTo>
                    <a:pt x="158" y="50"/>
                    <a:pt x="158" y="50"/>
                    <a:pt x="158" y="50"/>
                  </a:cubicBezTo>
                  <a:cubicBezTo>
                    <a:pt x="158" y="51"/>
                    <a:pt x="158" y="51"/>
                    <a:pt x="158" y="51"/>
                  </a:cubicBezTo>
                  <a:cubicBezTo>
                    <a:pt x="157" y="51"/>
                    <a:pt x="157" y="51"/>
                    <a:pt x="157" y="51"/>
                  </a:cubicBezTo>
                  <a:cubicBezTo>
                    <a:pt x="157" y="51"/>
                    <a:pt x="157" y="51"/>
                    <a:pt x="157" y="51"/>
                  </a:cubicBezTo>
                  <a:cubicBezTo>
                    <a:pt x="156" y="51"/>
                    <a:pt x="156" y="51"/>
                    <a:pt x="156" y="51"/>
                  </a:cubicBezTo>
                  <a:cubicBezTo>
                    <a:pt x="156" y="51"/>
                    <a:pt x="156" y="51"/>
                    <a:pt x="156" y="51"/>
                  </a:cubicBezTo>
                  <a:cubicBezTo>
                    <a:pt x="156" y="51"/>
                    <a:pt x="156" y="51"/>
                    <a:pt x="156" y="51"/>
                  </a:cubicBezTo>
                  <a:cubicBezTo>
                    <a:pt x="156" y="51"/>
                    <a:pt x="156" y="51"/>
                    <a:pt x="156" y="51"/>
                  </a:cubicBezTo>
                  <a:cubicBezTo>
                    <a:pt x="155" y="51"/>
                    <a:pt x="155" y="51"/>
                    <a:pt x="155" y="51"/>
                  </a:cubicBezTo>
                  <a:cubicBezTo>
                    <a:pt x="155" y="51"/>
                    <a:pt x="155" y="51"/>
                    <a:pt x="155" y="51"/>
                  </a:cubicBezTo>
                  <a:cubicBezTo>
                    <a:pt x="156" y="52"/>
                    <a:pt x="156" y="52"/>
                    <a:pt x="156" y="52"/>
                  </a:cubicBezTo>
                  <a:cubicBezTo>
                    <a:pt x="156" y="52"/>
                    <a:pt x="156" y="52"/>
                    <a:pt x="156" y="52"/>
                  </a:cubicBezTo>
                  <a:cubicBezTo>
                    <a:pt x="156" y="52"/>
                    <a:pt x="156" y="52"/>
                    <a:pt x="156" y="52"/>
                  </a:cubicBezTo>
                  <a:cubicBezTo>
                    <a:pt x="156" y="52"/>
                    <a:pt x="156" y="52"/>
                    <a:pt x="156" y="52"/>
                  </a:cubicBezTo>
                  <a:cubicBezTo>
                    <a:pt x="157" y="52"/>
                    <a:pt x="157" y="52"/>
                    <a:pt x="157" y="52"/>
                  </a:cubicBezTo>
                  <a:cubicBezTo>
                    <a:pt x="157" y="52"/>
                    <a:pt x="157" y="52"/>
                    <a:pt x="157" y="52"/>
                  </a:cubicBezTo>
                  <a:cubicBezTo>
                    <a:pt x="157" y="52"/>
                    <a:pt x="157" y="52"/>
                    <a:pt x="157" y="52"/>
                  </a:cubicBezTo>
                  <a:cubicBezTo>
                    <a:pt x="155" y="52"/>
                    <a:pt x="155" y="52"/>
                    <a:pt x="155" y="52"/>
                  </a:cubicBezTo>
                  <a:cubicBezTo>
                    <a:pt x="155" y="52"/>
                    <a:pt x="155" y="52"/>
                    <a:pt x="155" y="52"/>
                  </a:cubicBezTo>
                  <a:cubicBezTo>
                    <a:pt x="154" y="52"/>
                    <a:pt x="154" y="52"/>
                    <a:pt x="154" y="52"/>
                  </a:cubicBezTo>
                  <a:cubicBezTo>
                    <a:pt x="154" y="52"/>
                    <a:pt x="154" y="52"/>
                    <a:pt x="154" y="52"/>
                  </a:cubicBezTo>
                  <a:cubicBezTo>
                    <a:pt x="154" y="52"/>
                    <a:pt x="154" y="52"/>
                    <a:pt x="154" y="52"/>
                  </a:cubicBezTo>
                  <a:cubicBezTo>
                    <a:pt x="154" y="52"/>
                    <a:pt x="154" y="52"/>
                    <a:pt x="154" y="52"/>
                  </a:cubicBezTo>
                  <a:cubicBezTo>
                    <a:pt x="153" y="52"/>
                    <a:pt x="153" y="52"/>
                    <a:pt x="153" y="52"/>
                  </a:cubicBezTo>
                  <a:cubicBezTo>
                    <a:pt x="154" y="53"/>
                    <a:pt x="154" y="53"/>
                    <a:pt x="154" y="53"/>
                  </a:cubicBezTo>
                  <a:cubicBezTo>
                    <a:pt x="154" y="53"/>
                    <a:pt x="154" y="53"/>
                    <a:pt x="154" y="53"/>
                  </a:cubicBezTo>
                  <a:cubicBezTo>
                    <a:pt x="154" y="53"/>
                    <a:pt x="154" y="53"/>
                    <a:pt x="154" y="53"/>
                  </a:cubicBezTo>
                  <a:cubicBezTo>
                    <a:pt x="153" y="53"/>
                    <a:pt x="153" y="53"/>
                    <a:pt x="153" y="53"/>
                  </a:cubicBezTo>
                  <a:cubicBezTo>
                    <a:pt x="153" y="53"/>
                    <a:pt x="153" y="53"/>
                    <a:pt x="153" y="53"/>
                  </a:cubicBezTo>
                  <a:cubicBezTo>
                    <a:pt x="155" y="53"/>
                    <a:pt x="155" y="53"/>
                    <a:pt x="155" y="53"/>
                  </a:cubicBezTo>
                  <a:cubicBezTo>
                    <a:pt x="155" y="53"/>
                    <a:pt x="155" y="53"/>
                    <a:pt x="155" y="53"/>
                  </a:cubicBezTo>
                  <a:cubicBezTo>
                    <a:pt x="155" y="53"/>
                    <a:pt x="155" y="53"/>
                    <a:pt x="155" y="53"/>
                  </a:cubicBezTo>
                  <a:cubicBezTo>
                    <a:pt x="155" y="54"/>
                    <a:pt x="155" y="54"/>
                    <a:pt x="155" y="54"/>
                  </a:cubicBezTo>
                  <a:cubicBezTo>
                    <a:pt x="155" y="54"/>
                    <a:pt x="155" y="54"/>
                    <a:pt x="155" y="54"/>
                  </a:cubicBezTo>
                  <a:cubicBezTo>
                    <a:pt x="155" y="54"/>
                    <a:pt x="155" y="54"/>
                    <a:pt x="155" y="54"/>
                  </a:cubicBezTo>
                  <a:cubicBezTo>
                    <a:pt x="155" y="54"/>
                    <a:pt x="155" y="54"/>
                    <a:pt x="155" y="54"/>
                  </a:cubicBezTo>
                  <a:cubicBezTo>
                    <a:pt x="155" y="54"/>
                    <a:pt x="155" y="54"/>
                    <a:pt x="155" y="54"/>
                  </a:cubicBezTo>
                  <a:cubicBezTo>
                    <a:pt x="155" y="54"/>
                    <a:pt x="155" y="54"/>
                    <a:pt x="155" y="54"/>
                  </a:cubicBezTo>
                  <a:cubicBezTo>
                    <a:pt x="154" y="54"/>
                    <a:pt x="154" y="54"/>
                    <a:pt x="154" y="54"/>
                  </a:cubicBezTo>
                  <a:cubicBezTo>
                    <a:pt x="153" y="53"/>
                    <a:pt x="153" y="53"/>
                    <a:pt x="153" y="53"/>
                  </a:cubicBezTo>
                  <a:cubicBezTo>
                    <a:pt x="152" y="53"/>
                    <a:pt x="152" y="53"/>
                    <a:pt x="152" y="53"/>
                  </a:cubicBezTo>
                  <a:cubicBezTo>
                    <a:pt x="152" y="54"/>
                    <a:pt x="152" y="54"/>
                    <a:pt x="152" y="54"/>
                  </a:cubicBezTo>
                  <a:cubicBezTo>
                    <a:pt x="153" y="54"/>
                    <a:pt x="153" y="54"/>
                    <a:pt x="153" y="54"/>
                  </a:cubicBezTo>
                  <a:cubicBezTo>
                    <a:pt x="153" y="54"/>
                    <a:pt x="153" y="54"/>
                    <a:pt x="153" y="54"/>
                  </a:cubicBezTo>
                  <a:cubicBezTo>
                    <a:pt x="153" y="55"/>
                    <a:pt x="153" y="55"/>
                    <a:pt x="153" y="55"/>
                  </a:cubicBezTo>
                  <a:cubicBezTo>
                    <a:pt x="153" y="55"/>
                    <a:pt x="153" y="55"/>
                    <a:pt x="153" y="55"/>
                  </a:cubicBezTo>
                  <a:cubicBezTo>
                    <a:pt x="152" y="55"/>
                    <a:pt x="152" y="55"/>
                    <a:pt x="152" y="55"/>
                  </a:cubicBezTo>
                  <a:cubicBezTo>
                    <a:pt x="152" y="55"/>
                    <a:pt x="152" y="55"/>
                    <a:pt x="152" y="55"/>
                  </a:cubicBezTo>
                  <a:cubicBezTo>
                    <a:pt x="152" y="56"/>
                    <a:pt x="152" y="56"/>
                    <a:pt x="152" y="56"/>
                  </a:cubicBezTo>
                  <a:cubicBezTo>
                    <a:pt x="152" y="56"/>
                    <a:pt x="152" y="56"/>
                    <a:pt x="152" y="56"/>
                  </a:cubicBezTo>
                  <a:cubicBezTo>
                    <a:pt x="152" y="56"/>
                    <a:pt x="152" y="56"/>
                    <a:pt x="152" y="56"/>
                  </a:cubicBezTo>
                  <a:cubicBezTo>
                    <a:pt x="153" y="56"/>
                    <a:pt x="153" y="56"/>
                    <a:pt x="153" y="56"/>
                  </a:cubicBezTo>
                  <a:cubicBezTo>
                    <a:pt x="153" y="56"/>
                    <a:pt x="153" y="56"/>
                    <a:pt x="153" y="56"/>
                  </a:cubicBezTo>
                  <a:cubicBezTo>
                    <a:pt x="154" y="56"/>
                    <a:pt x="154" y="56"/>
                    <a:pt x="154" y="56"/>
                  </a:cubicBezTo>
                  <a:cubicBezTo>
                    <a:pt x="154" y="56"/>
                    <a:pt x="154" y="56"/>
                    <a:pt x="154" y="56"/>
                  </a:cubicBezTo>
                  <a:cubicBezTo>
                    <a:pt x="154" y="56"/>
                    <a:pt x="154" y="56"/>
                    <a:pt x="154" y="56"/>
                  </a:cubicBezTo>
                  <a:cubicBezTo>
                    <a:pt x="154" y="56"/>
                    <a:pt x="154" y="56"/>
                    <a:pt x="154" y="56"/>
                  </a:cubicBezTo>
                  <a:cubicBezTo>
                    <a:pt x="154" y="57"/>
                    <a:pt x="154" y="57"/>
                    <a:pt x="154" y="57"/>
                  </a:cubicBezTo>
                  <a:cubicBezTo>
                    <a:pt x="154" y="57"/>
                    <a:pt x="154" y="57"/>
                    <a:pt x="154" y="57"/>
                  </a:cubicBezTo>
                  <a:cubicBezTo>
                    <a:pt x="153" y="57"/>
                    <a:pt x="153" y="57"/>
                    <a:pt x="153" y="57"/>
                  </a:cubicBezTo>
                  <a:cubicBezTo>
                    <a:pt x="153" y="57"/>
                    <a:pt x="153" y="57"/>
                    <a:pt x="153" y="57"/>
                  </a:cubicBezTo>
                  <a:cubicBezTo>
                    <a:pt x="152" y="57"/>
                    <a:pt x="152" y="57"/>
                    <a:pt x="152" y="57"/>
                  </a:cubicBezTo>
                  <a:cubicBezTo>
                    <a:pt x="152" y="57"/>
                    <a:pt x="152" y="57"/>
                    <a:pt x="152" y="57"/>
                  </a:cubicBezTo>
                  <a:cubicBezTo>
                    <a:pt x="152" y="57"/>
                    <a:pt x="152" y="57"/>
                    <a:pt x="152" y="57"/>
                  </a:cubicBezTo>
                  <a:cubicBezTo>
                    <a:pt x="152" y="57"/>
                    <a:pt x="152" y="57"/>
                    <a:pt x="152" y="57"/>
                  </a:cubicBezTo>
                  <a:cubicBezTo>
                    <a:pt x="152" y="59"/>
                    <a:pt x="152" y="59"/>
                    <a:pt x="152" y="59"/>
                  </a:cubicBezTo>
                  <a:cubicBezTo>
                    <a:pt x="151" y="59"/>
                    <a:pt x="151" y="59"/>
                    <a:pt x="151" y="59"/>
                  </a:cubicBezTo>
                  <a:cubicBezTo>
                    <a:pt x="152" y="59"/>
                    <a:pt x="152" y="59"/>
                    <a:pt x="152" y="59"/>
                  </a:cubicBezTo>
                  <a:cubicBezTo>
                    <a:pt x="152" y="59"/>
                    <a:pt x="152" y="59"/>
                    <a:pt x="152" y="59"/>
                  </a:cubicBezTo>
                  <a:cubicBezTo>
                    <a:pt x="152" y="59"/>
                    <a:pt x="152" y="59"/>
                    <a:pt x="152" y="59"/>
                  </a:cubicBezTo>
                  <a:cubicBezTo>
                    <a:pt x="153" y="60"/>
                    <a:pt x="153" y="60"/>
                    <a:pt x="153" y="60"/>
                  </a:cubicBezTo>
                  <a:cubicBezTo>
                    <a:pt x="153" y="60"/>
                    <a:pt x="153" y="60"/>
                    <a:pt x="153" y="60"/>
                  </a:cubicBezTo>
                  <a:cubicBezTo>
                    <a:pt x="153" y="61"/>
                    <a:pt x="153" y="61"/>
                    <a:pt x="153" y="61"/>
                  </a:cubicBezTo>
                  <a:cubicBezTo>
                    <a:pt x="153" y="61"/>
                    <a:pt x="153" y="61"/>
                    <a:pt x="153" y="61"/>
                  </a:cubicBezTo>
                  <a:cubicBezTo>
                    <a:pt x="154" y="60"/>
                    <a:pt x="154" y="60"/>
                    <a:pt x="154" y="60"/>
                  </a:cubicBezTo>
                  <a:cubicBezTo>
                    <a:pt x="154" y="61"/>
                    <a:pt x="154" y="61"/>
                    <a:pt x="154" y="61"/>
                  </a:cubicBezTo>
                  <a:cubicBezTo>
                    <a:pt x="154" y="61"/>
                    <a:pt x="154" y="61"/>
                    <a:pt x="154" y="61"/>
                  </a:cubicBezTo>
                  <a:cubicBezTo>
                    <a:pt x="154" y="61"/>
                    <a:pt x="154" y="61"/>
                    <a:pt x="154" y="61"/>
                  </a:cubicBezTo>
                  <a:cubicBezTo>
                    <a:pt x="154" y="61"/>
                    <a:pt x="154" y="61"/>
                    <a:pt x="154" y="61"/>
                  </a:cubicBezTo>
                  <a:cubicBezTo>
                    <a:pt x="155" y="61"/>
                    <a:pt x="155" y="61"/>
                    <a:pt x="155" y="61"/>
                  </a:cubicBezTo>
                  <a:cubicBezTo>
                    <a:pt x="155" y="61"/>
                    <a:pt x="155" y="61"/>
                    <a:pt x="155" y="61"/>
                  </a:cubicBezTo>
                  <a:cubicBezTo>
                    <a:pt x="155" y="61"/>
                    <a:pt x="155" y="61"/>
                    <a:pt x="155" y="61"/>
                  </a:cubicBezTo>
                  <a:cubicBezTo>
                    <a:pt x="155" y="62"/>
                    <a:pt x="155" y="62"/>
                    <a:pt x="155" y="62"/>
                  </a:cubicBezTo>
                  <a:cubicBezTo>
                    <a:pt x="155" y="62"/>
                    <a:pt x="155" y="62"/>
                    <a:pt x="155" y="62"/>
                  </a:cubicBezTo>
                  <a:cubicBezTo>
                    <a:pt x="156" y="62"/>
                    <a:pt x="156" y="62"/>
                    <a:pt x="156" y="62"/>
                  </a:cubicBezTo>
                  <a:cubicBezTo>
                    <a:pt x="156" y="62"/>
                    <a:pt x="156" y="62"/>
                    <a:pt x="156" y="62"/>
                  </a:cubicBezTo>
                  <a:cubicBezTo>
                    <a:pt x="156" y="62"/>
                    <a:pt x="156" y="62"/>
                    <a:pt x="156" y="62"/>
                  </a:cubicBezTo>
                  <a:cubicBezTo>
                    <a:pt x="155" y="62"/>
                    <a:pt x="155" y="62"/>
                    <a:pt x="155" y="62"/>
                  </a:cubicBezTo>
                  <a:cubicBezTo>
                    <a:pt x="155" y="62"/>
                    <a:pt x="155" y="62"/>
                    <a:pt x="155" y="62"/>
                  </a:cubicBezTo>
                  <a:cubicBezTo>
                    <a:pt x="155" y="63"/>
                    <a:pt x="155" y="63"/>
                    <a:pt x="155" y="63"/>
                  </a:cubicBezTo>
                  <a:cubicBezTo>
                    <a:pt x="155" y="63"/>
                    <a:pt x="155" y="63"/>
                    <a:pt x="155" y="63"/>
                  </a:cubicBezTo>
                  <a:cubicBezTo>
                    <a:pt x="155" y="63"/>
                    <a:pt x="155" y="63"/>
                    <a:pt x="155" y="63"/>
                  </a:cubicBezTo>
                  <a:cubicBezTo>
                    <a:pt x="155" y="63"/>
                    <a:pt x="155" y="63"/>
                    <a:pt x="155" y="63"/>
                  </a:cubicBezTo>
                  <a:cubicBezTo>
                    <a:pt x="155" y="63"/>
                    <a:pt x="155" y="63"/>
                    <a:pt x="155" y="63"/>
                  </a:cubicBezTo>
                  <a:cubicBezTo>
                    <a:pt x="155" y="64"/>
                    <a:pt x="155" y="64"/>
                    <a:pt x="155" y="64"/>
                  </a:cubicBezTo>
                  <a:cubicBezTo>
                    <a:pt x="155" y="64"/>
                    <a:pt x="155" y="64"/>
                    <a:pt x="155" y="64"/>
                  </a:cubicBezTo>
                  <a:cubicBezTo>
                    <a:pt x="155" y="64"/>
                    <a:pt x="155" y="64"/>
                    <a:pt x="155" y="64"/>
                  </a:cubicBezTo>
                  <a:cubicBezTo>
                    <a:pt x="155" y="65"/>
                    <a:pt x="155" y="65"/>
                    <a:pt x="155" y="65"/>
                  </a:cubicBezTo>
                  <a:cubicBezTo>
                    <a:pt x="155" y="65"/>
                    <a:pt x="155" y="65"/>
                    <a:pt x="155" y="65"/>
                  </a:cubicBezTo>
                  <a:cubicBezTo>
                    <a:pt x="155" y="65"/>
                    <a:pt x="155" y="65"/>
                    <a:pt x="155" y="65"/>
                  </a:cubicBezTo>
                  <a:cubicBezTo>
                    <a:pt x="155" y="65"/>
                    <a:pt x="155" y="65"/>
                    <a:pt x="155" y="65"/>
                  </a:cubicBezTo>
                  <a:cubicBezTo>
                    <a:pt x="156" y="65"/>
                    <a:pt x="156" y="65"/>
                    <a:pt x="156" y="65"/>
                  </a:cubicBezTo>
                  <a:cubicBezTo>
                    <a:pt x="156" y="65"/>
                    <a:pt x="156" y="65"/>
                    <a:pt x="156" y="65"/>
                  </a:cubicBezTo>
                  <a:cubicBezTo>
                    <a:pt x="156" y="66"/>
                    <a:pt x="156" y="66"/>
                    <a:pt x="156" y="66"/>
                  </a:cubicBezTo>
                  <a:cubicBezTo>
                    <a:pt x="155" y="66"/>
                    <a:pt x="155" y="66"/>
                    <a:pt x="155" y="66"/>
                  </a:cubicBezTo>
                  <a:cubicBezTo>
                    <a:pt x="155" y="66"/>
                    <a:pt x="155" y="66"/>
                    <a:pt x="155" y="66"/>
                  </a:cubicBezTo>
                  <a:cubicBezTo>
                    <a:pt x="156" y="66"/>
                    <a:pt x="156" y="66"/>
                    <a:pt x="156" y="66"/>
                  </a:cubicBezTo>
                  <a:cubicBezTo>
                    <a:pt x="156" y="66"/>
                    <a:pt x="156" y="66"/>
                    <a:pt x="156" y="66"/>
                  </a:cubicBezTo>
                  <a:cubicBezTo>
                    <a:pt x="156" y="66"/>
                    <a:pt x="156" y="66"/>
                    <a:pt x="156" y="66"/>
                  </a:cubicBezTo>
                  <a:cubicBezTo>
                    <a:pt x="156" y="67"/>
                    <a:pt x="156" y="67"/>
                    <a:pt x="156" y="67"/>
                  </a:cubicBezTo>
                  <a:cubicBezTo>
                    <a:pt x="155" y="67"/>
                    <a:pt x="155" y="67"/>
                    <a:pt x="155" y="67"/>
                  </a:cubicBezTo>
                  <a:cubicBezTo>
                    <a:pt x="155" y="67"/>
                    <a:pt x="155" y="67"/>
                    <a:pt x="155" y="67"/>
                  </a:cubicBezTo>
                  <a:cubicBezTo>
                    <a:pt x="155" y="67"/>
                    <a:pt x="155" y="67"/>
                    <a:pt x="155" y="67"/>
                  </a:cubicBezTo>
                  <a:cubicBezTo>
                    <a:pt x="155" y="67"/>
                    <a:pt x="155" y="67"/>
                    <a:pt x="155" y="67"/>
                  </a:cubicBezTo>
                  <a:cubicBezTo>
                    <a:pt x="155" y="68"/>
                    <a:pt x="155" y="68"/>
                    <a:pt x="155" y="68"/>
                  </a:cubicBezTo>
                  <a:cubicBezTo>
                    <a:pt x="155" y="68"/>
                    <a:pt x="155" y="68"/>
                    <a:pt x="155" y="68"/>
                  </a:cubicBezTo>
                  <a:cubicBezTo>
                    <a:pt x="155" y="68"/>
                    <a:pt x="155" y="68"/>
                    <a:pt x="155" y="68"/>
                  </a:cubicBezTo>
                  <a:cubicBezTo>
                    <a:pt x="155" y="68"/>
                    <a:pt x="155" y="68"/>
                    <a:pt x="155" y="68"/>
                  </a:cubicBezTo>
                  <a:cubicBezTo>
                    <a:pt x="155" y="68"/>
                    <a:pt x="155" y="68"/>
                    <a:pt x="155" y="68"/>
                  </a:cubicBezTo>
                  <a:cubicBezTo>
                    <a:pt x="154" y="68"/>
                    <a:pt x="154" y="68"/>
                    <a:pt x="154" y="68"/>
                  </a:cubicBezTo>
                  <a:cubicBezTo>
                    <a:pt x="155" y="67"/>
                    <a:pt x="155" y="67"/>
                    <a:pt x="155" y="67"/>
                  </a:cubicBezTo>
                  <a:cubicBezTo>
                    <a:pt x="155" y="67"/>
                    <a:pt x="155" y="67"/>
                    <a:pt x="155" y="67"/>
                  </a:cubicBezTo>
                  <a:cubicBezTo>
                    <a:pt x="155" y="66"/>
                    <a:pt x="155" y="66"/>
                    <a:pt x="155" y="66"/>
                  </a:cubicBezTo>
                  <a:cubicBezTo>
                    <a:pt x="155" y="66"/>
                    <a:pt x="155" y="66"/>
                    <a:pt x="155" y="66"/>
                  </a:cubicBezTo>
                  <a:cubicBezTo>
                    <a:pt x="155" y="65"/>
                    <a:pt x="155" y="65"/>
                    <a:pt x="155" y="65"/>
                  </a:cubicBezTo>
                  <a:cubicBezTo>
                    <a:pt x="155" y="65"/>
                    <a:pt x="155" y="65"/>
                    <a:pt x="155" y="65"/>
                  </a:cubicBezTo>
                  <a:cubicBezTo>
                    <a:pt x="154" y="65"/>
                    <a:pt x="154" y="65"/>
                    <a:pt x="154" y="65"/>
                  </a:cubicBezTo>
                  <a:cubicBezTo>
                    <a:pt x="154" y="65"/>
                    <a:pt x="154" y="65"/>
                    <a:pt x="154" y="65"/>
                  </a:cubicBezTo>
                  <a:cubicBezTo>
                    <a:pt x="154" y="64"/>
                    <a:pt x="154" y="64"/>
                    <a:pt x="154" y="64"/>
                  </a:cubicBezTo>
                  <a:cubicBezTo>
                    <a:pt x="154" y="64"/>
                    <a:pt x="154" y="64"/>
                    <a:pt x="154" y="64"/>
                  </a:cubicBezTo>
                  <a:cubicBezTo>
                    <a:pt x="154" y="64"/>
                    <a:pt x="154" y="64"/>
                    <a:pt x="154" y="64"/>
                  </a:cubicBezTo>
                  <a:cubicBezTo>
                    <a:pt x="154" y="64"/>
                    <a:pt x="154" y="64"/>
                    <a:pt x="154" y="64"/>
                  </a:cubicBezTo>
                  <a:cubicBezTo>
                    <a:pt x="154" y="63"/>
                    <a:pt x="154" y="63"/>
                    <a:pt x="154" y="63"/>
                  </a:cubicBezTo>
                  <a:cubicBezTo>
                    <a:pt x="154" y="63"/>
                    <a:pt x="154" y="63"/>
                    <a:pt x="154" y="63"/>
                  </a:cubicBezTo>
                  <a:cubicBezTo>
                    <a:pt x="154" y="63"/>
                    <a:pt x="154" y="63"/>
                    <a:pt x="154" y="63"/>
                  </a:cubicBezTo>
                  <a:cubicBezTo>
                    <a:pt x="154" y="63"/>
                    <a:pt x="154" y="63"/>
                    <a:pt x="154" y="63"/>
                  </a:cubicBezTo>
                  <a:cubicBezTo>
                    <a:pt x="154" y="63"/>
                    <a:pt x="154" y="63"/>
                    <a:pt x="154" y="63"/>
                  </a:cubicBezTo>
                  <a:cubicBezTo>
                    <a:pt x="155" y="63"/>
                    <a:pt x="155" y="63"/>
                    <a:pt x="155" y="63"/>
                  </a:cubicBezTo>
                  <a:cubicBezTo>
                    <a:pt x="155" y="63"/>
                    <a:pt x="155" y="63"/>
                    <a:pt x="155" y="63"/>
                  </a:cubicBezTo>
                  <a:cubicBezTo>
                    <a:pt x="155" y="62"/>
                    <a:pt x="155" y="62"/>
                    <a:pt x="155" y="62"/>
                  </a:cubicBezTo>
                  <a:cubicBezTo>
                    <a:pt x="155" y="62"/>
                    <a:pt x="155" y="62"/>
                    <a:pt x="155" y="62"/>
                  </a:cubicBezTo>
                  <a:cubicBezTo>
                    <a:pt x="154" y="62"/>
                    <a:pt x="154" y="62"/>
                    <a:pt x="154" y="62"/>
                  </a:cubicBezTo>
                  <a:cubicBezTo>
                    <a:pt x="154" y="62"/>
                    <a:pt x="154" y="62"/>
                    <a:pt x="154" y="62"/>
                  </a:cubicBezTo>
                  <a:cubicBezTo>
                    <a:pt x="154" y="62"/>
                    <a:pt x="154" y="62"/>
                    <a:pt x="154" y="62"/>
                  </a:cubicBezTo>
                  <a:cubicBezTo>
                    <a:pt x="154" y="62"/>
                    <a:pt x="154" y="62"/>
                    <a:pt x="154" y="62"/>
                  </a:cubicBezTo>
                  <a:cubicBezTo>
                    <a:pt x="154" y="61"/>
                    <a:pt x="154" y="61"/>
                    <a:pt x="154" y="61"/>
                  </a:cubicBezTo>
                  <a:cubicBezTo>
                    <a:pt x="153" y="61"/>
                    <a:pt x="153" y="61"/>
                    <a:pt x="153" y="61"/>
                  </a:cubicBezTo>
                  <a:cubicBezTo>
                    <a:pt x="153" y="61"/>
                    <a:pt x="153" y="61"/>
                    <a:pt x="153" y="61"/>
                  </a:cubicBezTo>
                  <a:cubicBezTo>
                    <a:pt x="153" y="61"/>
                    <a:pt x="153" y="61"/>
                    <a:pt x="153" y="61"/>
                  </a:cubicBezTo>
                  <a:cubicBezTo>
                    <a:pt x="153" y="62"/>
                    <a:pt x="153" y="62"/>
                    <a:pt x="153" y="62"/>
                  </a:cubicBezTo>
                  <a:cubicBezTo>
                    <a:pt x="153" y="61"/>
                    <a:pt x="153" y="61"/>
                    <a:pt x="153" y="61"/>
                  </a:cubicBezTo>
                  <a:cubicBezTo>
                    <a:pt x="152" y="61"/>
                    <a:pt x="152" y="61"/>
                    <a:pt x="152" y="61"/>
                  </a:cubicBezTo>
                  <a:cubicBezTo>
                    <a:pt x="152" y="61"/>
                    <a:pt x="152" y="61"/>
                    <a:pt x="152" y="61"/>
                  </a:cubicBezTo>
                  <a:cubicBezTo>
                    <a:pt x="152" y="61"/>
                    <a:pt x="152" y="61"/>
                    <a:pt x="152" y="61"/>
                  </a:cubicBezTo>
                  <a:cubicBezTo>
                    <a:pt x="152" y="60"/>
                    <a:pt x="152" y="60"/>
                    <a:pt x="152" y="60"/>
                  </a:cubicBezTo>
                  <a:cubicBezTo>
                    <a:pt x="152" y="60"/>
                    <a:pt x="152" y="60"/>
                    <a:pt x="152" y="60"/>
                  </a:cubicBezTo>
                  <a:cubicBezTo>
                    <a:pt x="152" y="60"/>
                    <a:pt x="152" y="60"/>
                    <a:pt x="152" y="60"/>
                  </a:cubicBezTo>
                  <a:cubicBezTo>
                    <a:pt x="151" y="60"/>
                    <a:pt x="151" y="60"/>
                    <a:pt x="151" y="60"/>
                  </a:cubicBezTo>
                  <a:cubicBezTo>
                    <a:pt x="151" y="60"/>
                    <a:pt x="151" y="60"/>
                    <a:pt x="151" y="60"/>
                  </a:cubicBezTo>
                  <a:cubicBezTo>
                    <a:pt x="150" y="60"/>
                    <a:pt x="150" y="60"/>
                    <a:pt x="150" y="60"/>
                  </a:cubicBezTo>
                  <a:cubicBezTo>
                    <a:pt x="150" y="59"/>
                    <a:pt x="150" y="59"/>
                    <a:pt x="150" y="59"/>
                  </a:cubicBezTo>
                  <a:cubicBezTo>
                    <a:pt x="150" y="59"/>
                    <a:pt x="150" y="59"/>
                    <a:pt x="150" y="59"/>
                  </a:cubicBezTo>
                  <a:cubicBezTo>
                    <a:pt x="149" y="59"/>
                    <a:pt x="149" y="59"/>
                    <a:pt x="149" y="59"/>
                  </a:cubicBezTo>
                  <a:cubicBezTo>
                    <a:pt x="148" y="59"/>
                    <a:pt x="148" y="59"/>
                    <a:pt x="148" y="59"/>
                  </a:cubicBezTo>
                  <a:cubicBezTo>
                    <a:pt x="148" y="59"/>
                    <a:pt x="148" y="59"/>
                    <a:pt x="148" y="59"/>
                  </a:cubicBezTo>
                  <a:cubicBezTo>
                    <a:pt x="148" y="58"/>
                    <a:pt x="148" y="58"/>
                    <a:pt x="148" y="58"/>
                  </a:cubicBezTo>
                  <a:cubicBezTo>
                    <a:pt x="148" y="58"/>
                    <a:pt x="148" y="58"/>
                    <a:pt x="148" y="58"/>
                  </a:cubicBezTo>
                  <a:cubicBezTo>
                    <a:pt x="148" y="58"/>
                    <a:pt x="148" y="58"/>
                    <a:pt x="148" y="58"/>
                  </a:cubicBezTo>
                  <a:cubicBezTo>
                    <a:pt x="148" y="58"/>
                    <a:pt x="148" y="58"/>
                    <a:pt x="148" y="58"/>
                  </a:cubicBezTo>
                  <a:cubicBezTo>
                    <a:pt x="148" y="58"/>
                    <a:pt x="148" y="58"/>
                    <a:pt x="148" y="58"/>
                  </a:cubicBezTo>
                  <a:cubicBezTo>
                    <a:pt x="148" y="58"/>
                    <a:pt x="148" y="58"/>
                    <a:pt x="148" y="58"/>
                  </a:cubicBezTo>
                  <a:cubicBezTo>
                    <a:pt x="148" y="59"/>
                    <a:pt x="148" y="59"/>
                    <a:pt x="148" y="59"/>
                  </a:cubicBezTo>
                  <a:cubicBezTo>
                    <a:pt x="148" y="59"/>
                    <a:pt x="148" y="59"/>
                    <a:pt x="148" y="59"/>
                  </a:cubicBezTo>
                  <a:cubicBezTo>
                    <a:pt x="148" y="59"/>
                    <a:pt x="148" y="59"/>
                    <a:pt x="148" y="59"/>
                  </a:cubicBezTo>
                  <a:cubicBezTo>
                    <a:pt x="148" y="59"/>
                    <a:pt x="148" y="59"/>
                    <a:pt x="148" y="59"/>
                  </a:cubicBezTo>
                  <a:cubicBezTo>
                    <a:pt x="147" y="59"/>
                    <a:pt x="147" y="59"/>
                    <a:pt x="147" y="59"/>
                  </a:cubicBezTo>
                  <a:cubicBezTo>
                    <a:pt x="147" y="59"/>
                    <a:pt x="147" y="59"/>
                    <a:pt x="147" y="59"/>
                  </a:cubicBezTo>
                  <a:cubicBezTo>
                    <a:pt x="147" y="60"/>
                    <a:pt x="147" y="60"/>
                    <a:pt x="147" y="60"/>
                  </a:cubicBezTo>
                  <a:cubicBezTo>
                    <a:pt x="147" y="60"/>
                    <a:pt x="147" y="60"/>
                    <a:pt x="147" y="60"/>
                  </a:cubicBezTo>
                  <a:cubicBezTo>
                    <a:pt x="147" y="60"/>
                    <a:pt x="147" y="60"/>
                    <a:pt x="147" y="60"/>
                  </a:cubicBezTo>
                  <a:cubicBezTo>
                    <a:pt x="147" y="60"/>
                    <a:pt x="147" y="60"/>
                    <a:pt x="147" y="60"/>
                  </a:cubicBezTo>
                  <a:cubicBezTo>
                    <a:pt x="147" y="61"/>
                    <a:pt x="147" y="61"/>
                    <a:pt x="147" y="61"/>
                  </a:cubicBezTo>
                  <a:cubicBezTo>
                    <a:pt x="147" y="61"/>
                    <a:pt x="147" y="61"/>
                    <a:pt x="147" y="61"/>
                  </a:cubicBezTo>
                  <a:cubicBezTo>
                    <a:pt x="148" y="61"/>
                    <a:pt x="148" y="61"/>
                    <a:pt x="148" y="61"/>
                  </a:cubicBezTo>
                  <a:cubicBezTo>
                    <a:pt x="148" y="61"/>
                    <a:pt x="148" y="61"/>
                    <a:pt x="148" y="61"/>
                  </a:cubicBezTo>
                  <a:cubicBezTo>
                    <a:pt x="148" y="61"/>
                    <a:pt x="148" y="61"/>
                    <a:pt x="148" y="61"/>
                  </a:cubicBezTo>
                  <a:cubicBezTo>
                    <a:pt x="148" y="62"/>
                    <a:pt x="148" y="62"/>
                    <a:pt x="148" y="62"/>
                  </a:cubicBezTo>
                  <a:cubicBezTo>
                    <a:pt x="147" y="62"/>
                    <a:pt x="147" y="62"/>
                    <a:pt x="147" y="62"/>
                  </a:cubicBezTo>
                  <a:cubicBezTo>
                    <a:pt x="147" y="62"/>
                    <a:pt x="147" y="62"/>
                    <a:pt x="147" y="62"/>
                  </a:cubicBezTo>
                  <a:cubicBezTo>
                    <a:pt x="147" y="63"/>
                    <a:pt x="147" y="63"/>
                    <a:pt x="147" y="63"/>
                  </a:cubicBezTo>
                  <a:cubicBezTo>
                    <a:pt x="147" y="63"/>
                    <a:pt x="147" y="63"/>
                    <a:pt x="147" y="63"/>
                  </a:cubicBezTo>
                  <a:cubicBezTo>
                    <a:pt x="147" y="63"/>
                    <a:pt x="147" y="63"/>
                    <a:pt x="147" y="63"/>
                  </a:cubicBezTo>
                  <a:cubicBezTo>
                    <a:pt x="147" y="63"/>
                    <a:pt x="147" y="63"/>
                    <a:pt x="147" y="63"/>
                  </a:cubicBezTo>
                  <a:cubicBezTo>
                    <a:pt x="147" y="63"/>
                    <a:pt x="147" y="63"/>
                    <a:pt x="147" y="63"/>
                  </a:cubicBezTo>
                  <a:cubicBezTo>
                    <a:pt x="147" y="63"/>
                    <a:pt x="147" y="63"/>
                    <a:pt x="147" y="63"/>
                  </a:cubicBezTo>
                  <a:cubicBezTo>
                    <a:pt x="147" y="64"/>
                    <a:pt x="147" y="64"/>
                    <a:pt x="147" y="64"/>
                  </a:cubicBezTo>
                  <a:cubicBezTo>
                    <a:pt x="147" y="64"/>
                    <a:pt x="147" y="64"/>
                    <a:pt x="147" y="64"/>
                  </a:cubicBezTo>
                  <a:cubicBezTo>
                    <a:pt x="147" y="64"/>
                    <a:pt x="147" y="64"/>
                    <a:pt x="147" y="64"/>
                  </a:cubicBezTo>
                  <a:cubicBezTo>
                    <a:pt x="147" y="64"/>
                    <a:pt x="147" y="64"/>
                    <a:pt x="147" y="64"/>
                  </a:cubicBezTo>
                  <a:cubicBezTo>
                    <a:pt x="147" y="65"/>
                    <a:pt x="147" y="65"/>
                    <a:pt x="147" y="65"/>
                  </a:cubicBezTo>
                  <a:cubicBezTo>
                    <a:pt x="147" y="65"/>
                    <a:pt x="147" y="65"/>
                    <a:pt x="147" y="65"/>
                  </a:cubicBezTo>
                  <a:cubicBezTo>
                    <a:pt x="147" y="65"/>
                    <a:pt x="147" y="65"/>
                    <a:pt x="147" y="65"/>
                  </a:cubicBezTo>
                  <a:cubicBezTo>
                    <a:pt x="147" y="66"/>
                    <a:pt x="147" y="66"/>
                    <a:pt x="147" y="66"/>
                  </a:cubicBezTo>
                  <a:cubicBezTo>
                    <a:pt x="147" y="66"/>
                    <a:pt x="147" y="66"/>
                    <a:pt x="147" y="66"/>
                  </a:cubicBezTo>
                  <a:cubicBezTo>
                    <a:pt x="147" y="66"/>
                    <a:pt x="147" y="66"/>
                    <a:pt x="147" y="66"/>
                  </a:cubicBezTo>
                  <a:cubicBezTo>
                    <a:pt x="147" y="66"/>
                    <a:pt x="147" y="66"/>
                    <a:pt x="147" y="66"/>
                  </a:cubicBezTo>
                  <a:cubicBezTo>
                    <a:pt x="148" y="67"/>
                    <a:pt x="148" y="67"/>
                    <a:pt x="148" y="67"/>
                  </a:cubicBezTo>
                  <a:cubicBezTo>
                    <a:pt x="148" y="67"/>
                    <a:pt x="148" y="67"/>
                    <a:pt x="148" y="67"/>
                  </a:cubicBezTo>
                  <a:cubicBezTo>
                    <a:pt x="147" y="67"/>
                    <a:pt x="147" y="67"/>
                    <a:pt x="147" y="67"/>
                  </a:cubicBezTo>
                  <a:cubicBezTo>
                    <a:pt x="147" y="67"/>
                    <a:pt x="147" y="67"/>
                    <a:pt x="147" y="67"/>
                  </a:cubicBezTo>
                  <a:cubicBezTo>
                    <a:pt x="146" y="67"/>
                    <a:pt x="146" y="67"/>
                    <a:pt x="146" y="67"/>
                  </a:cubicBezTo>
                  <a:cubicBezTo>
                    <a:pt x="146" y="68"/>
                    <a:pt x="146" y="68"/>
                    <a:pt x="146" y="68"/>
                  </a:cubicBezTo>
                  <a:cubicBezTo>
                    <a:pt x="146" y="68"/>
                    <a:pt x="146" y="68"/>
                    <a:pt x="146" y="68"/>
                  </a:cubicBezTo>
                  <a:cubicBezTo>
                    <a:pt x="146" y="69"/>
                    <a:pt x="146" y="69"/>
                    <a:pt x="146" y="69"/>
                  </a:cubicBezTo>
                  <a:cubicBezTo>
                    <a:pt x="146" y="69"/>
                    <a:pt x="146" y="69"/>
                    <a:pt x="146" y="69"/>
                  </a:cubicBezTo>
                  <a:cubicBezTo>
                    <a:pt x="146" y="69"/>
                    <a:pt x="146" y="69"/>
                    <a:pt x="146" y="69"/>
                  </a:cubicBezTo>
                  <a:cubicBezTo>
                    <a:pt x="146" y="69"/>
                    <a:pt x="146" y="69"/>
                    <a:pt x="146" y="69"/>
                  </a:cubicBezTo>
                  <a:cubicBezTo>
                    <a:pt x="145" y="69"/>
                    <a:pt x="145" y="69"/>
                    <a:pt x="145" y="69"/>
                  </a:cubicBezTo>
                  <a:cubicBezTo>
                    <a:pt x="145" y="69"/>
                    <a:pt x="145" y="69"/>
                    <a:pt x="145" y="69"/>
                  </a:cubicBezTo>
                  <a:cubicBezTo>
                    <a:pt x="145" y="69"/>
                    <a:pt x="145" y="69"/>
                    <a:pt x="145" y="69"/>
                  </a:cubicBezTo>
                  <a:cubicBezTo>
                    <a:pt x="145" y="69"/>
                    <a:pt x="145" y="69"/>
                    <a:pt x="145" y="69"/>
                  </a:cubicBezTo>
                  <a:cubicBezTo>
                    <a:pt x="145" y="68"/>
                    <a:pt x="145" y="68"/>
                    <a:pt x="145" y="68"/>
                  </a:cubicBezTo>
                  <a:cubicBezTo>
                    <a:pt x="144" y="68"/>
                    <a:pt x="144" y="68"/>
                    <a:pt x="144" y="68"/>
                  </a:cubicBezTo>
                  <a:cubicBezTo>
                    <a:pt x="144" y="68"/>
                    <a:pt x="144" y="68"/>
                    <a:pt x="144" y="68"/>
                  </a:cubicBezTo>
                  <a:cubicBezTo>
                    <a:pt x="144" y="68"/>
                    <a:pt x="144" y="68"/>
                    <a:pt x="144" y="68"/>
                  </a:cubicBezTo>
                  <a:cubicBezTo>
                    <a:pt x="144" y="68"/>
                    <a:pt x="144" y="68"/>
                    <a:pt x="144" y="68"/>
                  </a:cubicBezTo>
                  <a:cubicBezTo>
                    <a:pt x="144" y="69"/>
                    <a:pt x="144" y="69"/>
                    <a:pt x="144" y="69"/>
                  </a:cubicBezTo>
                  <a:cubicBezTo>
                    <a:pt x="144" y="70"/>
                    <a:pt x="144" y="70"/>
                    <a:pt x="144" y="70"/>
                  </a:cubicBezTo>
                  <a:cubicBezTo>
                    <a:pt x="143" y="70"/>
                    <a:pt x="143" y="70"/>
                    <a:pt x="143" y="70"/>
                  </a:cubicBezTo>
                  <a:cubicBezTo>
                    <a:pt x="143" y="70"/>
                    <a:pt x="143" y="70"/>
                    <a:pt x="143" y="70"/>
                  </a:cubicBezTo>
                  <a:cubicBezTo>
                    <a:pt x="143" y="70"/>
                    <a:pt x="143" y="70"/>
                    <a:pt x="143" y="70"/>
                  </a:cubicBezTo>
                  <a:cubicBezTo>
                    <a:pt x="143" y="70"/>
                    <a:pt x="143" y="70"/>
                    <a:pt x="143" y="70"/>
                  </a:cubicBezTo>
                  <a:cubicBezTo>
                    <a:pt x="143" y="71"/>
                    <a:pt x="143" y="71"/>
                    <a:pt x="143" y="71"/>
                  </a:cubicBezTo>
                  <a:cubicBezTo>
                    <a:pt x="143" y="71"/>
                    <a:pt x="143" y="71"/>
                    <a:pt x="143" y="71"/>
                  </a:cubicBezTo>
                  <a:cubicBezTo>
                    <a:pt x="143" y="71"/>
                    <a:pt x="143" y="71"/>
                    <a:pt x="143" y="71"/>
                  </a:cubicBezTo>
                  <a:cubicBezTo>
                    <a:pt x="143" y="71"/>
                    <a:pt x="143" y="71"/>
                    <a:pt x="143" y="71"/>
                  </a:cubicBezTo>
                  <a:cubicBezTo>
                    <a:pt x="143" y="71"/>
                    <a:pt x="143" y="71"/>
                    <a:pt x="143" y="71"/>
                  </a:cubicBezTo>
                  <a:cubicBezTo>
                    <a:pt x="143" y="71"/>
                    <a:pt x="143" y="71"/>
                    <a:pt x="143" y="71"/>
                  </a:cubicBezTo>
                  <a:cubicBezTo>
                    <a:pt x="143" y="71"/>
                    <a:pt x="143" y="71"/>
                    <a:pt x="143" y="71"/>
                  </a:cubicBezTo>
                  <a:cubicBezTo>
                    <a:pt x="143" y="71"/>
                    <a:pt x="143" y="71"/>
                    <a:pt x="143" y="71"/>
                  </a:cubicBezTo>
                  <a:cubicBezTo>
                    <a:pt x="142" y="71"/>
                    <a:pt x="142" y="71"/>
                    <a:pt x="142" y="71"/>
                  </a:cubicBezTo>
                  <a:cubicBezTo>
                    <a:pt x="142" y="71"/>
                    <a:pt x="142" y="71"/>
                    <a:pt x="142" y="71"/>
                  </a:cubicBezTo>
                  <a:cubicBezTo>
                    <a:pt x="142" y="72"/>
                    <a:pt x="142" y="72"/>
                    <a:pt x="142" y="72"/>
                  </a:cubicBezTo>
                  <a:cubicBezTo>
                    <a:pt x="142" y="72"/>
                    <a:pt x="142" y="72"/>
                    <a:pt x="142" y="72"/>
                  </a:cubicBezTo>
                  <a:cubicBezTo>
                    <a:pt x="142" y="72"/>
                    <a:pt x="142" y="72"/>
                    <a:pt x="142" y="72"/>
                  </a:cubicBezTo>
                  <a:cubicBezTo>
                    <a:pt x="141" y="73"/>
                    <a:pt x="141" y="73"/>
                    <a:pt x="141" y="73"/>
                  </a:cubicBezTo>
                  <a:cubicBezTo>
                    <a:pt x="141" y="73"/>
                    <a:pt x="141" y="73"/>
                    <a:pt x="141" y="73"/>
                  </a:cubicBezTo>
                  <a:cubicBezTo>
                    <a:pt x="141" y="74"/>
                    <a:pt x="141" y="74"/>
                    <a:pt x="141" y="74"/>
                  </a:cubicBezTo>
                  <a:cubicBezTo>
                    <a:pt x="140" y="74"/>
                    <a:pt x="140" y="74"/>
                    <a:pt x="140" y="74"/>
                  </a:cubicBezTo>
                  <a:cubicBezTo>
                    <a:pt x="140" y="74"/>
                    <a:pt x="140" y="74"/>
                    <a:pt x="140" y="74"/>
                  </a:cubicBezTo>
                  <a:cubicBezTo>
                    <a:pt x="140" y="74"/>
                    <a:pt x="140" y="74"/>
                    <a:pt x="140" y="74"/>
                  </a:cubicBezTo>
                  <a:cubicBezTo>
                    <a:pt x="139" y="74"/>
                    <a:pt x="139" y="74"/>
                    <a:pt x="139" y="74"/>
                  </a:cubicBezTo>
                  <a:cubicBezTo>
                    <a:pt x="139" y="75"/>
                    <a:pt x="139" y="75"/>
                    <a:pt x="139" y="75"/>
                  </a:cubicBezTo>
                  <a:cubicBezTo>
                    <a:pt x="139" y="76"/>
                    <a:pt x="139" y="76"/>
                    <a:pt x="139" y="76"/>
                  </a:cubicBezTo>
                  <a:cubicBezTo>
                    <a:pt x="139" y="76"/>
                    <a:pt x="139" y="76"/>
                    <a:pt x="139" y="76"/>
                  </a:cubicBezTo>
                  <a:cubicBezTo>
                    <a:pt x="139" y="76"/>
                    <a:pt x="139" y="76"/>
                    <a:pt x="139" y="76"/>
                  </a:cubicBezTo>
                  <a:cubicBezTo>
                    <a:pt x="139" y="76"/>
                    <a:pt x="139" y="76"/>
                    <a:pt x="139" y="76"/>
                  </a:cubicBezTo>
                  <a:cubicBezTo>
                    <a:pt x="139" y="76"/>
                    <a:pt x="139" y="76"/>
                    <a:pt x="139" y="76"/>
                  </a:cubicBezTo>
                  <a:cubicBezTo>
                    <a:pt x="139" y="76"/>
                    <a:pt x="139" y="76"/>
                    <a:pt x="139" y="76"/>
                  </a:cubicBezTo>
                  <a:cubicBezTo>
                    <a:pt x="139" y="77"/>
                    <a:pt x="139" y="77"/>
                    <a:pt x="139" y="77"/>
                  </a:cubicBezTo>
                  <a:cubicBezTo>
                    <a:pt x="139" y="78"/>
                    <a:pt x="139" y="78"/>
                    <a:pt x="139" y="78"/>
                  </a:cubicBezTo>
                  <a:cubicBezTo>
                    <a:pt x="138" y="78"/>
                    <a:pt x="138" y="78"/>
                    <a:pt x="138" y="78"/>
                  </a:cubicBezTo>
                  <a:cubicBezTo>
                    <a:pt x="139" y="79"/>
                    <a:pt x="139" y="79"/>
                    <a:pt x="139" y="79"/>
                  </a:cubicBezTo>
                  <a:cubicBezTo>
                    <a:pt x="139" y="79"/>
                    <a:pt x="139" y="79"/>
                    <a:pt x="139" y="79"/>
                  </a:cubicBezTo>
                  <a:cubicBezTo>
                    <a:pt x="139" y="79"/>
                    <a:pt x="139" y="79"/>
                    <a:pt x="139" y="79"/>
                  </a:cubicBezTo>
                  <a:cubicBezTo>
                    <a:pt x="139" y="80"/>
                    <a:pt x="139" y="80"/>
                    <a:pt x="139" y="80"/>
                  </a:cubicBezTo>
                  <a:cubicBezTo>
                    <a:pt x="139" y="80"/>
                    <a:pt x="139" y="80"/>
                    <a:pt x="139" y="80"/>
                  </a:cubicBezTo>
                  <a:cubicBezTo>
                    <a:pt x="139" y="81"/>
                    <a:pt x="139" y="81"/>
                    <a:pt x="139" y="81"/>
                  </a:cubicBezTo>
                  <a:cubicBezTo>
                    <a:pt x="139" y="81"/>
                    <a:pt x="139" y="81"/>
                    <a:pt x="139" y="81"/>
                  </a:cubicBezTo>
                  <a:cubicBezTo>
                    <a:pt x="139" y="82"/>
                    <a:pt x="139" y="82"/>
                    <a:pt x="139" y="82"/>
                  </a:cubicBezTo>
                  <a:cubicBezTo>
                    <a:pt x="139" y="82"/>
                    <a:pt x="139" y="82"/>
                    <a:pt x="139" y="82"/>
                  </a:cubicBezTo>
                  <a:cubicBezTo>
                    <a:pt x="139" y="82"/>
                    <a:pt x="139" y="82"/>
                    <a:pt x="139" y="82"/>
                  </a:cubicBezTo>
                  <a:cubicBezTo>
                    <a:pt x="139" y="83"/>
                    <a:pt x="139" y="83"/>
                    <a:pt x="139" y="83"/>
                  </a:cubicBezTo>
                  <a:cubicBezTo>
                    <a:pt x="139" y="83"/>
                    <a:pt x="139" y="83"/>
                    <a:pt x="139" y="83"/>
                  </a:cubicBezTo>
                  <a:cubicBezTo>
                    <a:pt x="139" y="83"/>
                    <a:pt x="139" y="83"/>
                    <a:pt x="139" y="83"/>
                  </a:cubicBezTo>
                  <a:cubicBezTo>
                    <a:pt x="139" y="83"/>
                    <a:pt x="139" y="83"/>
                    <a:pt x="139" y="83"/>
                  </a:cubicBezTo>
                  <a:cubicBezTo>
                    <a:pt x="139" y="82"/>
                    <a:pt x="139" y="82"/>
                    <a:pt x="139" y="82"/>
                  </a:cubicBezTo>
                  <a:cubicBezTo>
                    <a:pt x="139" y="82"/>
                    <a:pt x="139" y="82"/>
                    <a:pt x="139" y="82"/>
                  </a:cubicBezTo>
                  <a:cubicBezTo>
                    <a:pt x="139" y="82"/>
                    <a:pt x="139" y="82"/>
                    <a:pt x="139" y="82"/>
                  </a:cubicBezTo>
                  <a:cubicBezTo>
                    <a:pt x="139" y="81"/>
                    <a:pt x="139" y="81"/>
                    <a:pt x="139" y="81"/>
                  </a:cubicBezTo>
                  <a:cubicBezTo>
                    <a:pt x="139" y="81"/>
                    <a:pt x="139" y="81"/>
                    <a:pt x="139" y="81"/>
                  </a:cubicBezTo>
                  <a:cubicBezTo>
                    <a:pt x="139" y="80"/>
                    <a:pt x="139" y="80"/>
                    <a:pt x="139" y="80"/>
                  </a:cubicBezTo>
                  <a:cubicBezTo>
                    <a:pt x="139" y="79"/>
                    <a:pt x="139" y="79"/>
                    <a:pt x="139" y="79"/>
                  </a:cubicBezTo>
                  <a:cubicBezTo>
                    <a:pt x="138" y="79"/>
                    <a:pt x="138" y="79"/>
                    <a:pt x="138" y="79"/>
                  </a:cubicBezTo>
                  <a:cubicBezTo>
                    <a:pt x="138" y="78"/>
                    <a:pt x="138" y="78"/>
                    <a:pt x="138" y="78"/>
                  </a:cubicBezTo>
                  <a:cubicBezTo>
                    <a:pt x="138" y="77"/>
                    <a:pt x="138" y="77"/>
                    <a:pt x="138" y="77"/>
                  </a:cubicBezTo>
                  <a:cubicBezTo>
                    <a:pt x="138" y="76"/>
                    <a:pt x="138" y="76"/>
                    <a:pt x="138" y="76"/>
                  </a:cubicBezTo>
                  <a:cubicBezTo>
                    <a:pt x="138" y="76"/>
                    <a:pt x="138" y="76"/>
                    <a:pt x="138" y="76"/>
                  </a:cubicBezTo>
                  <a:cubicBezTo>
                    <a:pt x="138" y="76"/>
                    <a:pt x="138" y="76"/>
                    <a:pt x="138" y="76"/>
                  </a:cubicBezTo>
                  <a:cubicBezTo>
                    <a:pt x="138" y="75"/>
                    <a:pt x="138" y="75"/>
                    <a:pt x="138" y="75"/>
                  </a:cubicBezTo>
                  <a:cubicBezTo>
                    <a:pt x="137" y="75"/>
                    <a:pt x="137" y="75"/>
                    <a:pt x="137" y="75"/>
                  </a:cubicBezTo>
                  <a:cubicBezTo>
                    <a:pt x="137" y="75"/>
                    <a:pt x="137" y="75"/>
                    <a:pt x="137" y="75"/>
                  </a:cubicBezTo>
                  <a:cubicBezTo>
                    <a:pt x="137" y="75"/>
                    <a:pt x="137" y="75"/>
                    <a:pt x="137" y="75"/>
                  </a:cubicBezTo>
                  <a:cubicBezTo>
                    <a:pt x="137" y="75"/>
                    <a:pt x="137" y="75"/>
                    <a:pt x="137" y="75"/>
                  </a:cubicBezTo>
                  <a:cubicBezTo>
                    <a:pt x="137" y="75"/>
                    <a:pt x="137" y="75"/>
                    <a:pt x="137" y="75"/>
                  </a:cubicBezTo>
                  <a:cubicBezTo>
                    <a:pt x="137" y="75"/>
                    <a:pt x="137" y="75"/>
                    <a:pt x="137" y="75"/>
                  </a:cubicBezTo>
                  <a:cubicBezTo>
                    <a:pt x="136" y="74"/>
                    <a:pt x="136" y="74"/>
                    <a:pt x="136" y="74"/>
                  </a:cubicBezTo>
                  <a:cubicBezTo>
                    <a:pt x="136" y="74"/>
                    <a:pt x="136" y="74"/>
                    <a:pt x="136" y="74"/>
                  </a:cubicBezTo>
                  <a:cubicBezTo>
                    <a:pt x="137" y="73"/>
                    <a:pt x="137" y="73"/>
                    <a:pt x="137" y="73"/>
                  </a:cubicBezTo>
                  <a:cubicBezTo>
                    <a:pt x="136" y="73"/>
                    <a:pt x="136" y="73"/>
                    <a:pt x="136" y="73"/>
                  </a:cubicBezTo>
                  <a:cubicBezTo>
                    <a:pt x="136" y="72"/>
                    <a:pt x="136" y="72"/>
                    <a:pt x="136" y="72"/>
                  </a:cubicBezTo>
                  <a:cubicBezTo>
                    <a:pt x="136" y="72"/>
                    <a:pt x="136" y="72"/>
                    <a:pt x="136" y="72"/>
                  </a:cubicBezTo>
                  <a:cubicBezTo>
                    <a:pt x="136" y="72"/>
                    <a:pt x="136" y="72"/>
                    <a:pt x="136" y="72"/>
                  </a:cubicBezTo>
                  <a:cubicBezTo>
                    <a:pt x="136" y="72"/>
                    <a:pt x="136" y="72"/>
                    <a:pt x="136" y="72"/>
                  </a:cubicBezTo>
                  <a:cubicBezTo>
                    <a:pt x="136" y="72"/>
                    <a:pt x="136" y="72"/>
                    <a:pt x="136" y="72"/>
                  </a:cubicBezTo>
                  <a:cubicBezTo>
                    <a:pt x="136" y="71"/>
                    <a:pt x="136" y="71"/>
                    <a:pt x="136" y="71"/>
                  </a:cubicBezTo>
                  <a:cubicBezTo>
                    <a:pt x="136" y="71"/>
                    <a:pt x="136" y="71"/>
                    <a:pt x="136" y="71"/>
                  </a:cubicBezTo>
                  <a:cubicBezTo>
                    <a:pt x="136" y="71"/>
                    <a:pt x="136" y="71"/>
                    <a:pt x="136" y="71"/>
                  </a:cubicBezTo>
                  <a:cubicBezTo>
                    <a:pt x="135" y="71"/>
                    <a:pt x="135" y="71"/>
                    <a:pt x="135" y="71"/>
                  </a:cubicBezTo>
                  <a:cubicBezTo>
                    <a:pt x="135" y="71"/>
                    <a:pt x="135" y="71"/>
                    <a:pt x="135" y="71"/>
                  </a:cubicBezTo>
                  <a:cubicBezTo>
                    <a:pt x="135" y="71"/>
                    <a:pt x="135" y="71"/>
                    <a:pt x="135" y="71"/>
                  </a:cubicBezTo>
                  <a:cubicBezTo>
                    <a:pt x="135" y="71"/>
                    <a:pt x="135" y="71"/>
                    <a:pt x="135" y="71"/>
                  </a:cubicBezTo>
                  <a:cubicBezTo>
                    <a:pt x="135" y="71"/>
                    <a:pt x="135" y="71"/>
                    <a:pt x="135" y="71"/>
                  </a:cubicBezTo>
                  <a:cubicBezTo>
                    <a:pt x="135" y="72"/>
                    <a:pt x="135" y="72"/>
                    <a:pt x="135" y="72"/>
                  </a:cubicBezTo>
                  <a:cubicBezTo>
                    <a:pt x="135" y="72"/>
                    <a:pt x="135" y="72"/>
                    <a:pt x="135" y="72"/>
                  </a:cubicBezTo>
                  <a:cubicBezTo>
                    <a:pt x="135" y="73"/>
                    <a:pt x="135" y="73"/>
                    <a:pt x="135" y="73"/>
                  </a:cubicBezTo>
                  <a:cubicBezTo>
                    <a:pt x="135" y="73"/>
                    <a:pt x="135" y="73"/>
                    <a:pt x="135" y="73"/>
                  </a:cubicBezTo>
                  <a:cubicBezTo>
                    <a:pt x="135" y="73"/>
                    <a:pt x="135" y="73"/>
                    <a:pt x="135" y="73"/>
                  </a:cubicBezTo>
                  <a:cubicBezTo>
                    <a:pt x="135" y="74"/>
                    <a:pt x="135" y="74"/>
                    <a:pt x="135" y="74"/>
                  </a:cubicBezTo>
                  <a:cubicBezTo>
                    <a:pt x="135" y="75"/>
                    <a:pt x="135" y="75"/>
                    <a:pt x="135" y="75"/>
                  </a:cubicBezTo>
                  <a:cubicBezTo>
                    <a:pt x="136" y="75"/>
                    <a:pt x="136" y="75"/>
                    <a:pt x="136" y="75"/>
                  </a:cubicBezTo>
                  <a:cubicBezTo>
                    <a:pt x="135" y="76"/>
                    <a:pt x="135" y="76"/>
                    <a:pt x="135" y="76"/>
                  </a:cubicBezTo>
                  <a:cubicBezTo>
                    <a:pt x="135" y="76"/>
                    <a:pt x="135" y="76"/>
                    <a:pt x="135" y="76"/>
                  </a:cubicBezTo>
                  <a:cubicBezTo>
                    <a:pt x="135" y="77"/>
                    <a:pt x="135" y="77"/>
                    <a:pt x="135" y="77"/>
                  </a:cubicBezTo>
                  <a:cubicBezTo>
                    <a:pt x="135" y="77"/>
                    <a:pt x="135" y="77"/>
                    <a:pt x="135" y="77"/>
                  </a:cubicBezTo>
                  <a:cubicBezTo>
                    <a:pt x="135" y="77"/>
                    <a:pt x="135" y="77"/>
                    <a:pt x="135" y="77"/>
                  </a:cubicBezTo>
                  <a:cubicBezTo>
                    <a:pt x="135" y="77"/>
                    <a:pt x="135" y="77"/>
                    <a:pt x="135" y="77"/>
                  </a:cubicBezTo>
                  <a:cubicBezTo>
                    <a:pt x="135" y="78"/>
                    <a:pt x="135" y="78"/>
                    <a:pt x="135" y="78"/>
                  </a:cubicBezTo>
                  <a:cubicBezTo>
                    <a:pt x="135" y="79"/>
                    <a:pt x="135" y="79"/>
                    <a:pt x="135" y="79"/>
                  </a:cubicBezTo>
                  <a:cubicBezTo>
                    <a:pt x="135" y="79"/>
                    <a:pt x="135" y="79"/>
                    <a:pt x="135" y="79"/>
                  </a:cubicBezTo>
                  <a:cubicBezTo>
                    <a:pt x="134" y="79"/>
                    <a:pt x="134" y="79"/>
                    <a:pt x="134" y="79"/>
                  </a:cubicBezTo>
                  <a:cubicBezTo>
                    <a:pt x="134" y="80"/>
                    <a:pt x="134" y="80"/>
                    <a:pt x="134" y="80"/>
                  </a:cubicBezTo>
                  <a:cubicBezTo>
                    <a:pt x="134" y="80"/>
                    <a:pt x="134" y="80"/>
                    <a:pt x="134" y="80"/>
                  </a:cubicBezTo>
                  <a:cubicBezTo>
                    <a:pt x="134" y="81"/>
                    <a:pt x="134" y="81"/>
                    <a:pt x="134" y="81"/>
                  </a:cubicBezTo>
                  <a:cubicBezTo>
                    <a:pt x="134" y="81"/>
                    <a:pt x="134" y="81"/>
                    <a:pt x="134" y="81"/>
                  </a:cubicBezTo>
                  <a:cubicBezTo>
                    <a:pt x="133" y="81"/>
                    <a:pt x="133" y="81"/>
                    <a:pt x="133" y="81"/>
                  </a:cubicBezTo>
                  <a:cubicBezTo>
                    <a:pt x="133" y="80"/>
                    <a:pt x="133" y="80"/>
                    <a:pt x="133" y="80"/>
                  </a:cubicBezTo>
                  <a:cubicBezTo>
                    <a:pt x="133" y="79"/>
                    <a:pt x="133" y="79"/>
                    <a:pt x="133" y="79"/>
                  </a:cubicBezTo>
                  <a:cubicBezTo>
                    <a:pt x="134" y="78"/>
                    <a:pt x="134" y="78"/>
                    <a:pt x="134" y="78"/>
                  </a:cubicBezTo>
                  <a:cubicBezTo>
                    <a:pt x="134" y="78"/>
                    <a:pt x="134" y="78"/>
                    <a:pt x="134" y="78"/>
                  </a:cubicBezTo>
                  <a:cubicBezTo>
                    <a:pt x="135" y="76"/>
                    <a:pt x="135" y="76"/>
                    <a:pt x="135" y="76"/>
                  </a:cubicBezTo>
                  <a:cubicBezTo>
                    <a:pt x="135" y="76"/>
                    <a:pt x="135" y="76"/>
                    <a:pt x="135" y="76"/>
                  </a:cubicBezTo>
                  <a:cubicBezTo>
                    <a:pt x="135" y="75"/>
                    <a:pt x="135" y="75"/>
                    <a:pt x="135" y="75"/>
                  </a:cubicBezTo>
                  <a:cubicBezTo>
                    <a:pt x="135" y="75"/>
                    <a:pt x="135" y="75"/>
                    <a:pt x="135" y="75"/>
                  </a:cubicBezTo>
                  <a:cubicBezTo>
                    <a:pt x="135" y="75"/>
                    <a:pt x="135" y="75"/>
                    <a:pt x="135" y="75"/>
                  </a:cubicBezTo>
                  <a:cubicBezTo>
                    <a:pt x="135" y="75"/>
                    <a:pt x="135" y="75"/>
                    <a:pt x="135" y="75"/>
                  </a:cubicBezTo>
                  <a:cubicBezTo>
                    <a:pt x="134" y="74"/>
                    <a:pt x="134" y="74"/>
                    <a:pt x="134" y="74"/>
                  </a:cubicBezTo>
                  <a:cubicBezTo>
                    <a:pt x="134" y="74"/>
                    <a:pt x="134" y="74"/>
                    <a:pt x="134" y="74"/>
                  </a:cubicBezTo>
                  <a:cubicBezTo>
                    <a:pt x="134" y="74"/>
                    <a:pt x="134" y="74"/>
                    <a:pt x="134" y="74"/>
                  </a:cubicBezTo>
                  <a:cubicBezTo>
                    <a:pt x="134" y="74"/>
                    <a:pt x="134" y="74"/>
                    <a:pt x="134" y="74"/>
                  </a:cubicBezTo>
                  <a:cubicBezTo>
                    <a:pt x="134" y="74"/>
                    <a:pt x="134" y="74"/>
                    <a:pt x="134" y="74"/>
                  </a:cubicBezTo>
                  <a:cubicBezTo>
                    <a:pt x="134" y="73"/>
                    <a:pt x="134" y="73"/>
                    <a:pt x="134" y="73"/>
                  </a:cubicBezTo>
                  <a:cubicBezTo>
                    <a:pt x="134" y="73"/>
                    <a:pt x="134" y="73"/>
                    <a:pt x="134" y="73"/>
                  </a:cubicBezTo>
                  <a:cubicBezTo>
                    <a:pt x="134" y="73"/>
                    <a:pt x="134" y="73"/>
                    <a:pt x="134" y="73"/>
                  </a:cubicBezTo>
                  <a:cubicBezTo>
                    <a:pt x="134" y="73"/>
                    <a:pt x="134" y="73"/>
                    <a:pt x="134" y="73"/>
                  </a:cubicBezTo>
                  <a:cubicBezTo>
                    <a:pt x="134" y="73"/>
                    <a:pt x="134" y="73"/>
                    <a:pt x="134" y="73"/>
                  </a:cubicBezTo>
                  <a:cubicBezTo>
                    <a:pt x="133" y="72"/>
                    <a:pt x="133" y="72"/>
                    <a:pt x="133" y="72"/>
                  </a:cubicBezTo>
                  <a:cubicBezTo>
                    <a:pt x="133" y="72"/>
                    <a:pt x="133" y="72"/>
                    <a:pt x="133" y="72"/>
                  </a:cubicBezTo>
                  <a:cubicBezTo>
                    <a:pt x="134" y="71"/>
                    <a:pt x="134" y="71"/>
                    <a:pt x="134" y="71"/>
                  </a:cubicBezTo>
                  <a:cubicBezTo>
                    <a:pt x="133" y="71"/>
                    <a:pt x="133" y="71"/>
                    <a:pt x="133" y="71"/>
                  </a:cubicBezTo>
                  <a:cubicBezTo>
                    <a:pt x="133" y="71"/>
                    <a:pt x="133" y="71"/>
                    <a:pt x="133" y="71"/>
                  </a:cubicBezTo>
                  <a:cubicBezTo>
                    <a:pt x="133" y="71"/>
                    <a:pt x="133" y="71"/>
                    <a:pt x="133" y="71"/>
                  </a:cubicBezTo>
                  <a:cubicBezTo>
                    <a:pt x="133" y="71"/>
                    <a:pt x="133" y="71"/>
                    <a:pt x="133" y="71"/>
                  </a:cubicBezTo>
                  <a:cubicBezTo>
                    <a:pt x="133" y="71"/>
                    <a:pt x="133" y="71"/>
                    <a:pt x="133" y="71"/>
                  </a:cubicBezTo>
                  <a:cubicBezTo>
                    <a:pt x="132" y="71"/>
                    <a:pt x="132" y="71"/>
                    <a:pt x="132" y="71"/>
                  </a:cubicBezTo>
                  <a:cubicBezTo>
                    <a:pt x="132" y="70"/>
                    <a:pt x="132" y="70"/>
                    <a:pt x="132" y="70"/>
                  </a:cubicBezTo>
                  <a:cubicBezTo>
                    <a:pt x="132" y="70"/>
                    <a:pt x="132" y="70"/>
                    <a:pt x="132" y="70"/>
                  </a:cubicBezTo>
                  <a:cubicBezTo>
                    <a:pt x="132" y="70"/>
                    <a:pt x="132" y="70"/>
                    <a:pt x="132" y="70"/>
                  </a:cubicBezTo>
                  <a:cubicBezTo>
                    <a:pt x="132" y="70"/>
                    <a:pt x="132" y="70"/>
                    <a:pt x="132" y="70"/>
                  </a:cubicBezTo>
                  <a:cubicBezTo>
                    <a:pt x="132" y="71"/>
                    <a:pt x="132" y="71"/>
                    <a:pt x="132" y="71"/>
                  </a:cubicBezTo>
                  <a:cubicBezTo>
                    <a:pt x="132" y="71"/>
                    <a:pt x="132" y="71"/>
                    <a:pt x="132" y="71"/>
                  </a:cubicBezTo>
                  <a:cubicBezTo>
                    <a:pt x="132" y="71"/>
                    <a:pt x="132" y="71"/>
                    <a:pt x="132" y="71"/>
                  </a:cubicBezTo>
                  <a:cubicBezTo>
                    <a:pt x="132" y="71"/>
                    <a:pt x="132" y="71"/>
                    <a:pt x="132" y="71"/>
                  </a:cubicBezTo>
                  <a:cubicBezTo>
                    <a:pt x="131" y="71"/>
                    <a:pt x="131" y="71"/>
                    <a:pt x="131" y="71"/>
                  </a:cubicBezTo>
                  <a:cubicBezTo>
                    <a:pt x="131" y="71"/>
                    <a:pt x="131" y="71"/>
                    <a:pt x="131" y="71"/>
                  </a:cubicBezTo>
                  <a:cubicBezTo>
                    <a:pt x="131" y="71"/>
                    <a:pt x="131" y="71"/>
                    <a:pt x="131" y="71"/>
                  </a:cubicBezTo>
                  <a:cubicBezTo>
                    <a:pt x="131" y="71"/>
                    <a:pt x="131" y="71"/>
                    <a:pt x="131" y="71"/>
                  </a:cubicBezTo>
                  <a:cubicBezTo>
                    <a:pt x="131" y="71"/>
                    <a:pt x="131" y="71"/>
                    <a:pt x="131" y="71"/>
                  </a:cubicBezTo>
                  <a:cubicBezTo>
                    <a:pt x="130" y="72"/>
                    <a:pt x="130" y="72"/>
                    <a:pt x="130" y="72"/>
                  </a:cubicBezTo>
                  <a:cubicBezTo>
                    <a:pt x="130" y="72"/>
                    <a:pt x="130" y="72"/>
                    <a:pt x="130" y="72"/>
                  </a:cubicBezTo>
                  <a:cubicBezTo>
                    <a:pt x="130" y="72"/>
                    <a:pt x="130" y="72"/>
                    <a:pt x="130" y="72"/>
                  </a:cubicBezTo>
                  <a:cubicBezTo>
                    <a:pt x="131" y="74"/>
                    <a:pt x="131" y="74"/>
                    <a:pt x="131" y="74"/>
                  </a:cubicBezTo>
                  <a:cubicBezTo>
                    <a:pt x="131" y="74"/>
                    <a:pt x="131" y="74"/>
                    <a:pt x="131" y="74"/>
                  </a:cubicBezTo>
                  <a:cubicBezTo>
                    <a:pt x="131" y="74"/>
                    <a:pt x="131" y="74"/>
                    <a:pt x="131" y="74"/>
                  </a:cubicBezTo>
                  <a:cubicBezTo>
                    <a:pt x="131" y="74"/>
                    <a:pt x="131" y="74"/>
                    <a:pt x="131" y="74"/>
                  </a:cubicBezTo>
                  <a:cubicBezTo>
                    <a:pt x="131" y="74"/>
                    <a:pt x="131" y="74"/>
                    <a:pt x="131" y="74"/>
                  </a:cubicBezTo>
                  <a:cubicBezTo>
                    <a:pt x="131" y="74"/>
                    <a:pt x="131" y="74"/>
                    <a:pt x="131" y="74"/>
                  </a:cubicBezTo>
                  <a:cubicBezTo>
                    <a:pt x="131" y="75"/>
                    <a:pt x="131" y="75"/>
                    <a:pt x="131" y="75"/>
                  </a:cubicBezTo>
                  <a:cubicBezTo>
                    <a:pt x="131" y="75"/>
                    <a:pt x="131" y="75"/>
                    <a:pt x="131" y="75"/>
                  </a:cubicBezTo>
                  <a:cubicBezTo>
                    <a:pt x="131" y="75"/>
                    <a:pt x="131" y="75"/>
                    <a:pt x="131" y="75"/>
                  </a:cubicBezTo>
                  <a:cubicBezTo>
                    <a:pt x="131" y="76"/>
                    <a:pt x="131" y="76"/>
                    <a:pt x="131" y="76"/>
                  </a:cubicBezTo>
                  <a:cubicBezTo>
                    <a:pt x="131" y="76"/>
                    <a:pt x="131" y="76"/>
                    <a:pt x="131" y="76"/>
                  </a:cubicBezTo>
                  <a:cubicBezTo>
                    <a:pt x="131" y="77"/>
                    <a:pt x="131" y="77"/>
                    <a:pt x="131" y="77"/>
                  </a:cubicBezTo>
                  <a:cubicBezTo>
                    <a:pt x="131" y="77"/>
                    <a:pt x="131" y="77"/>
                    <a:pt x="131" y="77"/>
                  </a:cubicBezTo>
                  <a:cubicBezTo>
                    <a:pt x="131" y="78"/>
                    <a:pt x="131" y="78"/>
                    <a:pt x="131" y="78"/>
                  </a:cubicBezTo>
                  <a:cubicBezTo>
                    <a:pt x="131" y="78"/>
                    <a:pt x="131" y="78"/>
                    <a:pt x="131" y="78"/>
                  </a:cubicBezTo>
                  <a:cubicBezTo>
                    <a:pt x="131" y="78"/>
                    <a:pt x="131" y="78"/>
                    <a:pt x="131" y="78"/>
                  </a:cubicBezTo>
                  <a:cubicBezTo>
                    <a:pt x="131" y="78"/>
                    <a:pt x="131" y="78"/>
                    <a:pt x="131" y="78"/>
                  </a:cubicBezTo>
                  <a:cubicBezTo>
                    <a:pt x="131" y="79"/>
                    <a:pt x="131" y="79"/>
                    <a:pt x="131" y="79"/>
                  </a:cubicBezTo>
                  <a:cubicBezTo>
                    <a:pt x="131" y="79"/>
                    <a:pt x="131" y="79"/>
                    <a:pt x="131" y="79"/>
                  </a:cubicBezTo>
                  <a:cubicBezTo>
                    <a:pt x="131" y="80"/>
                    <a:pt x="131" y="80"/>
                    <a:pt x="131" y="80"/>
                  </a:cubicBezTo>
                  <a:cubicBezTo>
                    <a:pt x="131" y="81"/>
                    <a:pt x="131" y="81"/>
                    <a:pt x="131" y="81"/>
                  </a:cubicBezTo>
                  <a:cubicBezTo>
                    <a:pt x="131" y="81"/>
                    <a:pt x="131" y="81"/>
                    <a:pt x="131" y="81"/>
                  </a:cubicBezTo>
                  <a:cubicBezTo>
                    <a:pt x="131" y="81"/>
                    <a:pt x="131" y="81"/>
                    <a:pt x="131" y="81"/>
                  </a:cubicBezTo>
                  <a:cubicBezTo>
                    <a:pt x="131" y="81"/>
                    <a:pt x="131" y="81"/>
                    <a:pt x="131" y="81"/>
                  </a:cubicBezTo>
                  <a:cubicBezTo>
                    <a:pt x="131" y="82"/>
                    <a:pt x="131" y="82"/>
                    <a:pt x="131" y="82"/>
                  </a:cubicBezTo>
                  <a:cubicBezTo>
                    <a:pt x="131" y="82"/>
                    <a:pt x="131" y="82"/>
                    <a:pt x="131" y="82"/>
                  </a:cubicBezTo>
                  <a:cubicBezTo>
                    <a:pt x="131" y="82"/>
                    <a:pt x="131" y="82"/>
                    <a:pt x="131" y="82"/>
                  </a:cubicBezTo>
                  <a:cubicBezTo>
                    <a:pt x="131" y="82"/>
                    <a:pt x="131" y="82"/>
                    <a:pt x="131" y="82"/>
                  </a:cubicBezTo>
                  <a:cubicBezTo>
                    <a:pt x="131" y="82"/>
                    <a:pt x="131" y="82"/>
                    <a:pt x="131" y="82"/>
                  </a:cubicBezTo>
                  <a:cubicBezTo>
                    <a:pt x="130" y="83"/>
                    <a:pt x="130" y="83"/>
                    <a:pt x="130" y="83"/>
                  </a:cubicBezTo>
                  <a:cubicBezTo>
                    <a:pt x="130" y="83"/>
                    <a:pt x="130" y="83"/>
                    <a:pt x="130" y="83"/>
                  </a:cubicBezTo>
                  <a:cubicBezTo>
                    <a:pt x="129" y="84"/>
                    <a:pt x="129" y="84"/>
                    <a:pt x="129" y="84"/>
                  </a:cubicBezTo>
                  <a:cubicBezTo>
                    <a:pt x="128" y="85"/>
                    <a:pt x="128" y="85"/>
                    <a:pt x="128" y="85"/>
                  </a:cubicBezTo>
                  <a:cubicBezTo>
                    <a:pt x="127" y="85"/>
                    <a:pt x="127" y="85"/>
                    <a:pt x="127" y="85"/>
                  </a:cubicBezTo>
                  <a:cubicBezTo>
                    <a:pt x="125" y="86"/>
                    <a:pt x="125" y="86"/>
                    <a:pt x="125" y="86"/>
                  </a:cubicBezTo>
                  <a:cubicBezTo>
                    <a:pt x="124" y="87"/>
                    <a:pt x="124" y="87"/>
                    <a:pt x="124" y="87"/>
                  </a:cubicBezTo>
                  <a:cubicBezTo>
                    <a:pt x="124" y="88"/>
                    <a:pt x="124" y="88"/>
                    <a:pt x="124" y="88"/>
                  </a:cubicBezTo>
                  <a:cubicBezTo>
                    <a:pt x="123" y="88"/>
                    <a:pt x="123" y="88"/>
                    <a:pt x="123" y="88"/>
                  </a:cubicBezTo>
                  <a:cubicBezTo>
                    <a:pt x="123" y="89"/>
                    <a:pt x="123" y="89"/>
                    <a:pt x="123" y="89"/>
                  </a:cubicBezTo>
                  <a:cubicBezTo>
                    <a:pt x="121" y="91"/>
                    <a:pt x="121" y="91"/>
                    <a:pt x="121" y="91"/>
                  </a:cubicBezTo>
                  <a:cubicBezTo>
                    <a:pt x="122" y="89"/>
                    <a:pt x="122" y="89"/>
                    <a:pt x="122" y="89"/>
                  </a:cubicBezTo>
                  <a:cubicBezTo>
                    <a:pt x="123" y="88"/>
                    <a:pt x="123" y="88"/>
                    <a:pt x="123" y="88"/>
                  </a:cubicBezTo>
                  <a:cubicBezTo>
                    <a:pt x="124" y="87"/>
                    <a:pt x="124" y="87"/>
                    <a:pt x="124" y="87"/>
                  </a:cubicBezTo>
                  <a:cubicBezTo>
                    <a:pt x="124" y="87"/>
                    <a:pt x="124" y="87"/>
                    <a:pt x="124" y="87"/>
                  </a:cubicBezTo>
                  <a:cubicBezTo>
                    <a:pt x="125" y="87"/>
                    <a:pt x="125" y="87"/>
                    <a:pt x="125" y="87"/>
                  </a:cubicBezTo>
                  <a:cubicBezTo>
                    <a:pt x="125" y="87"/>
                    <a:pt x="125" y="87"/>
                    <a:pt x="125" y="87"/>
                  </a:cubicBezTo>
                  <a:cubicBezTo>
                    <a:pt x="125" y="86"/>
                    <a:pt x="125" y="86"/>
                    <a:pt x="125" y="86"/>
                  </a:cubicBezTo>
                  <a:cubicBezTo>
                    <a:pt x="125" y="86"/>
                    <a:pt x="125" y="86"/>
                    <a:pt x="125" y="86"/>
                  </a:cubicBezTo>
                  <a:cubicBezTo>
                    <a:pt x="126" y="85"/>
                    <a:pt x="126" y="85"/>
                    <a:pt x="126" y="85"/>
                  </a:cubicBezTo>
                  <a:cubicBezTo>
                    <a:pt x="127" y="84"/>
                    <a:pt x="127" y="84"/>
                    <a:pt x="127" y="84"/>
                  </a:cubicBezTo>
                  <a:cubicBezTo>
                    <a:pt x="129" y="83"/>
                    <a:pt x="129" y="83"/>
                    <a:pt x="129" y="83"/>
                  </a:cubicBezTo>
                  <a:cubicBezTo>
                    <a:pt x="130" y="83"/>
                    <a:pt x="130" y="83"/>
                    <a:pt x="130" y="83"/>
                  </a:cubicBezTo>
                  <a:cubicBezTo>
                    <a:pt x="130" y="81"/>
                    <a:pt x="130" y="81"/>
                    <a:pt x="130" y="81"/>
                  </a:cubicBezTo>
                  <a:cubicBezTo>
                    <a:pt x="131" y="81"/>
                    <a:pt x="131" y="81"/>
                    <a:pt x="131" y="81"/>
                  </a:cubicBezTo>
                  <a:cubicBezTo>
                    <a:pt x="131" y="80"/>
                    <a:pt x="131" y="80"/>
                    <a:pt x="131" y="80"/>
                  </a:cubicBezTo>
                  <a:cubicBezTo>
                    <a:pt x="131" y="80"/>
                    <a:pt x="131" y="80"/>
                    <a:pt x="131" y="80"/>
                  </a:cubicBezTo>
                  <a:cubicBezTo>
                    <a:pt x="131" y="80"/>
                    <a:pt x="131" y="80"/>
                    <a:pt x="131" y="80"/>
                  </a:cubicBezTo>
                  <a:cubicBezTo>
                    <a:pt x="130" y="80"/>
                    <a:pt x="130" y="80"/>
                    <a:pt x="130" y="80"/>
                  </a:cubicBezTo>
                  <a:cubicBezTo>
                    <a:pt x="130" y="80"/>
                    <a:pt x="130" y="80"/>
                    <a:pt x="130" y="80"/>
                  </a:cubicBezTo>
                  <a:cubicBezTo>
                    <a:pt x="130" y="80"/>
                    <a:pt x="130" y="80"/>
                    <a:pt x="130" y="80"/>
                  </a:cubicBezTo>
                  <a:cubicBezTo>
                    <a:pt x="130" y="79"/>
                    <a:pt x="130" y="79"/>
                    <a:pt x="130" y="79"/>
                  </a:cubicBezTo>
                  <a:cubicBezTo>
                    <a:pt x="130" y="78"/>
                    <a:pt x="130" y="78"/>
                    <a:pt x="130" y="78"/>
                  </a:cubicBezTo>
                  <a:cubicBezTo>
                    <a:pt x="130" y="75"/>
                    <a:pt x="130" y="75"/>
                    <a:pt x="130" y="75"/>
                  </a:cubicBezTo>
                  <a:cubicBezTo>
                    <a:pt x="130" y="74"/>
                    <a:pt x="130" y="74"/>
                    <a:pt x="130" y="74"/>
                  </a:cubicBezTo>
                  <a:cubicBezTo>
                    <a:pt x="130" y="74"/>
                    <a:pt x="130" y="74"/>
                    <a:pt x="130" y="74"/>
                  </a:cubicBezTo>
                  <a:cubicBezTo>
                    <a:pt x="130" y="74"/>
                    <a:pt x="130" y="74"/>
                    <a:pt x="130" y="74"/>
                  </a:cubicBezTo>
                  <a:cubicBezTo>
                    <a:pt x="130" y="74"/>
                    <a:pt x="130" y="74"/>
                    <a:pt x="130" y="74"/>
                  </a:cubicBezTo>
                  <a:cubicBezTo>
                    <a:pt x="130" y="73"/>
                    <a:pt x="130" y="73"/>
                    <a:pt x="130" y="73"/>
                  </a:cubicBezTo>
                  <a:cubicBezTo>
                    <a:pt x="130" y="73"/>
                    <a:pt x="130" y="73"/>
                    <a:pt x="130" y="73"/>
                  </a:cubicBezTo>
                  <a:cubicBezTo>
                    <a:pt x="130" y="73"/>
                    <a:pt x="130" y="73"/>
                    <a:pt x="130" y="73"/>
                  </a:cubicBezTo>
                  <a:cubicBezTo>
                    <a:pt x="130" y="72"/>
                    <a:pt x="130" y="72"/>
                    <a:pt x="130" y="72"/>
                  </a:cubicBezTo>
                  <a:cubicBezTo>
                    <a:pt x="130" y="72"/>
                    <a:pt x="130" y="72"/>
                    <a:pt x="130" y="72"/>
                  </a:cubicBezTo>
                  <a:cubicBezTo>
                    <a:pt x="130" y="71"/>
                    <a:pt x="130" y="71"/>
                    <a:pt x="130" y="71"/>
                  </a:cubicBezTo>
                  <a:cubicBezTo>
                    <a:pt x="130" y="71"/>
                    <a:pt x="130" y="71"/>
                    <a:pt x="130" y="71"/>
                  </a:cubicBezTo>
                  <a:cubicBezTo>
                    <a:pt x="129" y="72"/>
                    <a:pt x="129" y="72"/>
                    <a:pt x="129" y="72"/>
                  </a:cubicBezTo>
                  <a:cubicBezTo>
                    <a:pt x="129" y="72"/>
                    <a:pt x="129" y="72"/>
                    <a:pt x="129" y="72"/>
                  </a:cubicBezTo>
                  <a:cubicBezTo>
                    <a:pt x="129" y="72"/>
                    <a:pt x="129" y="72"/>
                    <a:pt x="129" y="72"/>
                  </a:cubicBezTo>
                  <a:cubicBezTo>
                    <a:pt x="129" y="71"/>
                    <a:pt x="129" y="71"/>
                    <a:pt x="129" y="71"/>
                  </a:cubicBezTo>
                  <a:cubicBezTo>
                    <a:pt x="129" y="71"/>
                    <a:pt x="129" y="71"/>
                    <a:pt x="129" y="71"/>
                  </a:cubicBezTo>
                  <a:cubicBezTo>
                    <a:pt x="129" y="70"/>
                    <a:pt x="129" y="70"/>
                    <a:pt x="129" y="70"/>
                  </a:cubicBezTo>
                  <a:cubicBezTo>
                    <a:pt x="128" y="70"/>
                    <a:pt x="128" y="70"/>
                    <a:pt x="128" y="70"/>
                  </a:cubicBezTo>
                  <a:cubicBezTo>
                    <a:pt x="128" y="71"/>
                    <a:pt x="128" y="71"/>
                    <a:pt x="128" y="71"/>
                  </a:cubicBezTo>
                  <a:cubicBezTo>
                    <a:pt x="128" y="70"/>
                    <a:pt x="128" y="70"/>
                    <a:pt x="128" y="70"/>
                  </a:cubicBezTo>
                  <a:cubicBezTo>
                    <a:pt x="128" y="70"/>
                    <a:pt x="128" y="70"/>
                    <a:pt x="128" y="70"/>
                  </a:cubicBezTo>
                  <a:cubicBezTo>
                    <a:pt x="128" y="69"/>
                    <a:pt x="128" y="69"/>
                    <a:pt x="128" y="69"/>
                  </a:cubicBezTo>
                  <a:cubicBezTo>
                    <a:pt x="127" y="69"/>
                    <a:pt x="127" y="69"/>
                    <a:pt x="127" y="69"/>
                  </a:cubicBezTo>
                  <a:cubicBezTo>
                    <a:pt x="127" y="69"/>
                    <a:pt x="127" y="69"/>
                    <a:pt x="127" y="69"/>
                  </a:cubicBezTo>
                  <a:cubicBezTo>
                    <a:pt x="127" y="68"/>
                    <a:pt x="127" y="68"/>
                    <a:pt x="127" y="68"/>
                  </a:cubicBezTo>
                  <a:cubicBezTo>
                    <a:pt x="127" y="68"/>
                    <a:pt x="127" y="68"/>
                    <a:pt x="127" y="68"/>
                  </a:cubicBezTo>
                  <a:cubicBezTo>
                    <a:pt x="127" y="68"/>
                    <a:pt x="127" y="68"/>
                    <a:pt x="127" y="68"/>
                  </a:cubicBezTo>
                  <a:cubicBezTo>
                    <a:pt x="126" y="68"/>
                    <a:pt x="126" y="68"/>
                    <a:pt x="126" y="68"/>
                  </a:cubicBezTo>
                  <a:cubicBezTo>
                    <a:pt x="126" y="67"/>
                    <a:pt x="126" y="67"/>
                    <a:pt x="126" y="67"/>
                  </a:cubicBezTo>
                  <a:cubicBezTo>
                    <a:pt x="127" y="67"/>
                    <a:pt x="127" y="67"/>
                    <a:pt x="127" y="67"/>
                  </a:cubicBezTo>
                  <a:cubicBezTo>
                    <a:pt x="127" y="67"/>
                    <a:pt x="127" y="67"/>
                    <a:pt x="127" y="67"/>
                  </a:cubicBezTo>
                  <a:cubicBezTo>
                    <a:pt x="126" y="67"/>
                    <a:pt x="126" y="67"/>
                    <a:pt x="126" y="67"/>
                  </a:cubicBezTo>
                  <a:cubicBezTo>
                    <a:pt x="126" y="66"/>
                    <a:pt x="126" y="66"/>
                    <a:pt x="126" y="66"/>
                  </a:cubicBezTo>
                  <a:cubicBezTo>
                    <a:pt x="126" y="66"/>
                    <a:pt x="126" y="66"/>
                    <a:pt x="126" y="66"/>
                  </a:cubicBezTo>
                  <a:cubicBezTo>
                    <a:pt x="126" y="66"/>
                    <a:pt x="126" y="66"/>
                    <a:pt x="126" y="66"/>
                  </a:cubicBezTo>
                  <a:cubicBezTo>
                    <a:pt x="126" y="66"/>
                    <a:pt x="126" y="66"/>
                    <a:pt x="126" y="66"/>
                  </a:cubicBezTo>
                  <a:cubicBezTo>
                    <a:pt x="126" y="66"/>
                    <a:pt x="126" y="66"/>
                    <a:pt x="126" y="66"/>
                  </a:cubicBezTo>
                  <a:cubicBezTo>
                    <a:pt x="125" y="66"/>
                    <a:pt x="125" y="66"/>
                    <a:pt x="125" y="66"/>
                  </a:cubicBezTo>
                  <a:cubicBezTo>
                    <a:pt x="124" y="66"/>
                    <a:pt x="124" y="66"/>
                    <a:pt x="124" y="66"/>
                  </a:cubicBezTo>
                  <a:cubicBezTo>
                    <a:pt x="124" y="65"/>
                    <a:pt x="124" y="65"/>
                    <a:pt x="124" y="65"/>
                  </a:cubicBezTo>
                  <a:cubicBezTo>
                    <a:pt x="123" y="65"/>
                    <a:pt x="123" y="65"/>
                    <a:pt x="123" y="65"/>
                  </a:cubicBezTo>
                  <a:cubicBezTo>
                    <a:pt x="123" y="65"/>
                    <a:pt x="123" y="65"/>
                    <a:pt x="123" y="65"/>
                  </a:cubicBezTo>
                  <a:cubicBezTo>
                    <a:pt x="122" y="65"/>
                    <a:pt x="122" y="65"/>
                    <a:pt x="122" y="65"/>
                  </a:cubicBezTo>
                  <a:cubicBezTo>
                    <a:pt x="121" y="65"/>
                    <a:pt x="121" y="65"/>
                    <a:pt x="121" y="65"/>
                  </a:cubicBezTo>
                  <a:cubicBezTo>
                    <a:pt x="121" y="65"/>
                    <a:pt x="121" y="65"/>
                    <a:pt x="121" y="65"/>
                  </a:cubicBezTo>
                  <a:cubicBezTo>
                    <a:pt x="121" y="65"/>
                    <a:pt x="121" y="65"/>
                    <a:pt x="121" y="65"/>
                  </a:cubicBezTo>
                  <a:cubicBezTo>
                    <a:pt x="121" y="65"/>
                    <a:pt x="121" y="65"/>
                    <a:pt x="121" y="65"/>
                  </a:cubicBezTo>
                  <a:cubicBezTo>
                    <a:pt x="121" y="65"/>
                    <a:pt x="121" y="65"/>
                    <a:pt x="121" y="65"/>
                  </a:cubicBezTo>
                  <a:cubicBezTo>
                    <a:pt x="120" y="66"/>
                    <a:pt x="120" y="66"/>
                    <a:pt x="120" y="66"/>
                  </a:cubicBezTo>
                  <a:cubicBezTo>
                    <a:pt x="119" y="67"/>
                    <a:pt x="119" y="67"/>
                    <a:pt x="119" y="67"/>
                  </a:cubicBezTo>
                  <a:cubicBezTo>
                    <a:pt x="119" y="66"/>
                    <a:pt x="119" y="66"/>
                    <a:pt x="119" y="66"/>
                  </a:cubicBezTo>
                  <a:cubicBezTo>
                    <a:pt x="119" y="66"/>
                    <a:pt x="119" y="66"/>
                    <a:pt x="119" y="66"/>
                  </a:cubicBezTo>
                  <a:cubicBezTo>
                    <a:pt x="119" y="66"/>
                    <a:pt x="119" y="66"/>
                    <a:pt x="119" y="66"/>
                  </a:cubicBezTo>
                  <a:cubicBezTo>
                    <a:pt x="117" y="66"/>
                    <a:pt x="117" y="66"/>
                    <a:pt x="117" y="66"/>
                  </a:cubicBezTo>
                  <a:cubicBezTo>
                    <a:pt x="116" y="67"/>
                    <a:pt x="116" y="67"/>
                    <a:pt x="116" y="67"/>
                  </a:cubicBezTo>
                  <a:cubicBezTo>
                    <a:pt x="116" y="67"/>
                    <a:pt x="116" y="67"/>
                    <a:pt x="116" y="67"/>
                  </a:cubicBezTo>
                  <a:cubicBezTo>
                    <a:pt x="115" y="67"/>
                    <a:pt x="115" y="67"/>
                    <a:pt x="115" y="67"/>
                  </a:cubicBezTo>
                  <a:cubicBezTo>
                    <a:pt x="115" y="67"/>
                    <a:pt x="115" y="67"/>
                    <a:pt x="115" y="67"/>
                  </a:cubicBezTo>
                  <a:cubicBezTo>
                    <a:pt x="115" y="68"/>
                    <a:pt x="115" y="68"/>
                    <a:pt x="115" y="68"/>
                  </a:cubicBezTo>
                  <a:cubicBezTo>
                    <a:pt x="115" y="68"/>
                    <a:pt x="115" y="68"/>
                    <a:pt x="115" y="68"/>
                  </a:cubicBezTo>
                  <a:cubicBezTo>
                    <a:pt x="115" y="68"/>
                    <a:pt x="115" y="68"/>
                    <a:pt x="115" y="68"/>
                  </a:cubicBezTo>
                  <a:cubicBezTo>
                    <a:pt x="115" y="68"/>
                    <a:pt x="115" y="68"/>
                    <a:pt x="115" y="68"/>
                  </a:cubicBezTo>
                  <a:cubicBezTo>
                    <a:pt x="114" y="68"/>
                    <a:pt x="114" y="68"/>
                    <a:pt x="114" y="68"/>
                  </a:cubicBezTo>
                  <a:cubicBezTo>
                    <a:pt x="114" y="69"/>
                    <a:pt x="114" y="69"/>
                    <a:pt x="114" y="69"/>
                  </a:cubicBezTo>
                  <a:cubicBezTo>
                    <a:pt x="114" y="69"/>
                    <a:pt x="114" y="69"/>
                    <a:pt x="114" y="69"/>
                  </a:cubicBezTo>
                  <a:cubicBezTo>
                    <a:pt x="114" y="70"/>
                    <a:pt x="114" y="70"/>
                    <a:pt x="114" y="70"/>
                  </a:cubicBezTo>
                  <a:cubicBezTo>
                    <a:pt x="113" y="71"/>
                    <a:pt x="113" y="71"/>
                    <a:pt x="113" y="71"/>
                  </a:cubicBezTo>
                  <a:cubicBezTo>
                    <a:pt x="113" y="71"/>
                    <a:pt x="113" y="71"/>
                    <a:pt x="113" y="71"/>
                  </a:cubicBezTo>
                  <a:cubicBezTo>
                    <a:pt x="113" y="72"/>
                    <a:pt x="113" y="72"/>
                    <a:pt x="113" y="72"/>
                  </a:cubicBezTo>
                  <a:cubicBezTo>
                    <a:pt x="112" y="72"/>
                    <a:pt x="112" y="72"/>
                    <a:pt x="112" y="72"/>
                  </a:cubicBezTo>
                  <a:cubicBezTo>
                    <a:pt x="113" y="72"/>
                    <a:pt x="113" y="72"/>
                    <a:pt x="113" y="72"/>
                  </a:cubicBezTo>
                  <a:cubicBezTo>
                    <a:pt x="113" y="72"/>
                    <a:pt x="113" y="72"/>
                    <a:pt x="113" y="72"/>
                  </a:cubicBezTo>
                  <a:cubicBezTo>
                    <a:pt x="112" y="72"/>
                    <a:pt x="112" y="72"/>
                    <a:pt x="112" y="72"/>
                  </a:cubicBezTo>
                  <a:cubicBezTo>
                    <a:pt x="112" y="73"/>
                    <a:pt x="112" y="73"/>
                    <a:pt x="112" y="73"/>
                  </a:cubicBezTo>
                  <a:cubicBezTo>
                    <a:pt x="112" y="73"/>
                    <a:pt x="112" y="73"/>
                    <a:pt x="112" y="73"/>
                  </a:cubicBezTo>
                  <a:cubicBezTo>
                    <a:pt x="112" y="73"/>
                    <a:pt x="112" y="73"/>
                    <a:pt x="112" y="73"/>
                  </a:cubicBezTo>
                  <a:cubicBezTo>
                    <a:pt x="112" y="73"/>
                    <a:pt x="112" y="73"/>
                    <a:pt x="112" y="73"/>
                  </a:cubicBezTo>
                  <a:cubicBezTo>
                    <a:pt x="112" y="73"/>
                    <a:pt x="112" y="73"/>
                    <a:pt x="112" y="73"/>
                  </a:cubicBezTo>
                  <a:cubicBezTo>
                    <a:pt x="112" y="73"/>
                    <a:pt x="112" y="73"/>
                    <a:pt x="112" y="73"/>
                  </a:cubicBezTo>
                  <a:cubicBezTo>
                    <a:pt x="112" y="73"/>
                    <a:pt x="112" y="73"/>
                    <a:pt x="112" y="73"/>
                  </a:cubicBezTo>
                  <a:cubicBezTo>
                    <a:pt x="112" y="73"/>
                    <a:pt x="112" y="73"/>
                    <a:pt x="112" y="73"/>
                  </a:cubicBezTo>
                  <a:cubicBezTo>
                    <a:pt x="112" y="74"/>
                    <a:pt x="112" y="74"/>
                    <a:pt x="112" y="74"/>
                  </a:cubicBezTo>
                  <a:cubicBezTo>
                    <a:pt x="111" y="74"/>
                    <a:pt x="111" y="74"/>
                    <a:pt x="111" y="74"/>
                  </a:cubicBezTo>
                  <a:cubicBezTo>
                    <a:pt x="111" y="75"/>
                    <a:pt x="111" y="75"/>
                    <a:pt x="111" y="75"/>
                  </a:cubicBezTo>
                  <a:cubicBezTo>
                    <a:pt x="111" y="75"/>
                    <a:pt x="111" y="75"/>
                    <a:pt x="111" y="75"/>
                  </a:cubicBezTo>
                  <a:cubicBezTo>
                    <a:pt x="111" y="75"/>
                    <a:pt x="111" y="75"/>
                    <a:pt x="111" y="75"/>
                  </a:cubicBezTo>
                  <a:cubicBezTo>
                    <a:pt x="111" y="75"/>
                    <a:pt x="111" y="75"/>
                    <a:pt x="111" y="75"/>
                  </a:cubicBezTo>
                  <a:cubicBezTo>
                    <a:pt x="111" y="75"/>
                    <a:pt x="111" y="75"/>
                    <a:pt x="111" y="75"/>
                  </a:cubicBezTo>
                  <a:cubicBezTo>
                    <a:pt x="111" y="75"/>
                    <a:pt x="111" y="75"/>
                    <a:pt x="111" y="75"/>
                  </a:cubicBezTo>
                  <a:cubicBezTo>
                    <a:pt x="110" y="75"/>
                    <a:pt x="110" y="75"/>
                    <a:pt x="110" y="75"/>
                  </a:cubicBezTo>
                  <a:cubicBezTo>
                    <a:pt x="110" y="74"/>
                    <a:pt x="110" y="74"/>
                    <a:pt x="110" y="74"/>
                  </a:cubicBezTo>
                  <a:cubicBezTo>
                    <a:pt x="110" y="74"/>
                    <a:pt x="110" y="74"/>
                    <a:pt x="110" y="74"/>
                  </a:cubicBezTo>
                  <a:cubicBezTo>
                    <a:pt x="110" y="74"/>
                    <a:pt x="110" y="74"/>
                    <a:pt x="110" y="74"/>
                  </a:cubicBezTo>
                  <a:cubicBezTo>
                    <a:pt x="110" y="74"/>
                    <a:pt x="110" y="74"/>
                    <a:pt x="110" y="74"/>
                  </a:cubicBezTo>
                  <a:cubicBezTo>
                    <a:pt x="111" y="74"/>
                    <a:pt x="111" y="74"/>
                    <a:pt x="111" y="74"/>
                  </a:cubicBezTo>
                  <a:cubicBezTo>
                    <a:pt x="111" y="74"/>
                    <a:pt x="111" y="74"/>
                    <a:pt x="111" y="74"/>
                  </a:cubicBezTo>
                  <a:cubicBezTo>
                    <a:pt x="111" y="73"/>
                    <a:pt x="111" y="73"/>
                    <a:pt x="111" y="73"/>
                  </a:cubicBezTo>
                  <a:cubicBezTo>
                    <a:pt x="111" y="73"/>
                    <a:pt x="111" y="73"/>
                    <a:pt x="111" y="73"/>
                  </a:cubicBezTo>
                  <a:cubicBezTo>
                    <a:pt x="111" y="73"/>
                    <a:pt x="111" y="73"/>
                    <a:pt x="111" y="73"/>
                  </a:cubicBezTo>
                  <a:cubicBezTo>
                    <a:pt x="111" y="73"/>
                    <a:pt x="111" y="73"/>
                    <a:pt x="111" y="73"/>
                  </a:cubicBezTo>
                  <a:cubicBezTo>
                    <a:pt x="110" y="73"/>
                    <a:pt x="110" y="73"/>
                    <a:pt x="110" y="73"/>
                  </a:cubicBezTo>
                  <a:cubicBezTo>
                    <a:pt x="110" y="73"/>
                    <a:pt x="110" y="73"/>
                    <a:pt x="110" y="73"/>
                  </a:cubicBezTo>
                  <a:cubicBezTo>
                    <a:pt x="110" y="73"/>
                    <a:pt x="110" y="73"/>
                    <a:pt x="110" y="73"/>
                  </a:cubicBezTo>
                  <a:cubicBezTo>
                    <a:pt x="110" y="73"/>
                    <a:pt x="110" y="73"/>
                    <a:pt x="110" y="73"/>
                  </a:cubicBezTo>
                  <a:cubicBezTo>
                    <a:pt x="110" y="74"/>
                    <a:pt x="110" y="74"/>
                    <a:pt x="110" y="74"/>
                  </a:cubicBezTo>
                  <a:cubicBezTo>
                    <a:pt x="109" y="73"/>
                    <a:pt x="109" y="73"/>
                    <a:pt x="109" y="73"/>
                  </a:cubicBezTo>
                  <a:cubicBezTo>
                    <a:pt x="109" y="73"/>
                    <a:pt x="109" y="73"/>
                    <a:pt x="109" y="73"/>
                  </a:cubicBezTo>
                  <a:cubicBezTo>
                    <a:pt x="109" y="72"/>
                    <a:pt x="109" y="72"/>
                    <a:pt x="109" y="72"/>
                  </a:cubicBezTo>
                  <a:cubicBezTo>
                    <a:pt x="109" y="72"/>
                    <a:pt x="109" y="72"/>
                    <a:pt x="109" y="72"/>
                  </a:cubicBezTo>
                  <a:cubicBezTo>
                    <a:pt x="109" y="72"/>
                    <a:pt x="109" y="72"/>
                    <a:pt x="109" y="72"/>
                  </a:cubicBezTo>
                  <a:cubicBezTo>
                    <a:pt x="109" y="72"/>
                    <a:pt x="109" y="72"/>
                    <a:pt x="109" y="72"/>
                  </a:cubicBezTo>
                  <a:cubicBezTo>
                    <a:pt x="109" y="72"/>
                    <a:pt x="109" y="72"/>
                    <a:pt x="109" y="72"/>
                  </a:cubicBezTo>
                  <a:cubicBezTo>
                    <a:pt x="109" y="72"/>
                    <a:pt x="109" y="72"/>
                    <a:pt x="109" y="72"/>
                  </a:cubicBezTo>
                  <a:cubicBezTo>
                    <a:pt x="109" y="72"/>
                    <a:pt x="109" y="72"/>
                    <a:pt x="109" y="72"/>
                  </a:cubicBezTo>
                  <a:cubicBezTo>
                    <a:pt x="108" y="73"/>
                    <a:pt x="108" y="73"/>
                    <a:pt x="108" y="73"/>
                  </a:cubicBezTo>
                  <a:cubicBezTo>
                    <a:pt x="108" y="73"/>
                    <a:pt x="108" y="73"/>
                    <a:pt x="108" y="73"/>
                  </a:cubicBezTo>
                  <a:cubicBezTo>
                    <a:pt x="108" y="73"/>
                    <a:pt x="108" y="73"/>
                    <a:pt x="108" y="73"/>
                  </a:cubicBezTo>
                  <a:cubicBezTo>
                    <a:pt x="108" y="73"/>
                    <a:pt x="108" y="73"/>
                    <a:pt x="108" y="73"/>
                  </a:cubicBezTo>
                  <a:cubicBezTo>
                    <a:pt x="108" y="73"/>
                    <a:pt x="108" y="73"/>
                    <a:pt x="108" y="73"/>
                  </a:cubicBezTo>
                  <a:cubicBezTo>
                    <a:pt x="108" y="73"/>
                    <a:pt x="108" y="73"/>
                    <a:pt x="108" y="73"/>
                  </a:cubicBezTo>
                  <a:cubicBezTo>
                    <a:pt x="107" y="73"/>
                    <a:pt x="107" y="73"/>
                    <a:pt x="107" y="73"/>
                  </a:cubicBezTo>
                  <a:cubicBezTo>
                    <a:pt x="107" y="73"/>
                    <a:pt x="107" y="73"/>
                    <a:pt x="107" y="73"/>
                  </a:cubicBezTo>
                  <a:cubicBezTo>
                    <a:pt x="106" y="73"/>
                    <a:pt x="106" y="73"/>
                    <a:pt x="106" y="73"/>
                  </a:cubicBezTo>
                  <a:cubicBezTo>
                    <a:pt x="106" y="73"/>
                    <a:pt x="106" y="73"/>
                    <a:pt x="106" y="73"/>
                  </a:cubicBezTo>
                  <a:cubicBezTo>
                    <a:pt x="105" y="73"/>
                    <a:pt x="105" y="73"/>
                    <a:pt x="105" y="73"/>
                  </a:cubicBezTo>
                  <a:cubicBezTo>
                    <a:pt x="105" y="73"/>
                    <a:pt x="105" y="73"/>
                    <a:pt x="105" y="73"/>
                  </a:cubicBezTo>
                  <a:cubicBezTo>
                    <a:pt x="106" y="72"/>
                    <a:pt x="106" y="72"/>
                    <a:pt x="106" y="72"/>
                  </a:cubicBezTo>
                  <a:cubicBezTo>
                    <a:pt x="107" y="72"/>
                    <a:pt x="107" y="72"/>
                    <a:pt x="107" y="72"/>
                  </a:cubicBezTo>
                  <a:cubicBezTo>
                    <a:pt x="107" y="72"/>
                    <a:pt x="107" y="72"/>
                    <a:pt x="107" y="72"/>
                  </a:cubicBezTo>
                  <a:cubicBezTo>
                    <a:pt x="107" y="72"/>
                    <a:pt x="107" y="72"/>
                    <a:pt x="107" y="72"/>
                  </a:cubicBezTo>
                  <a:cubicBezTo>
                    <a:pt x="107" y="71"/>
                    <a:pt x="107" y="71"/>
                    <a:pt x="107" y="71"/>
                  </a:cubicBezTo>
                  <a:cubicBezTo>
                    <a:pt x="108" y="71"/>
                    <a:pt x="108" y="71"/>
                    <a:pt x="108" y="71"/>
                  </a:cubicBezTo>
                  <a:cubicBezTo>
                    <a:pt x="108" y="71"/>
                    <a:pt x="108" y="71"/>
                    <a:pt x="108" y="71"/>
                  </a:cubicBezTo>
                  <a:cubicBezTo>
                    <a:pt x="108" y="71"/>
                    <a:pt x="108" y="71"/>
                    <a:pt x="108" y="71"/>
                  </a:cubicBezTo>
                  <a:cubicBezTo>
                    <a:pt x="108" y="71"/>
                    <a:pt x="108" y="71"/>
                    <a:pt x="108" y="71"/>
                  </a:cubicBezTo>
                  <a:cubicBezTo>
                    <a:pt x="109" y="70"/>
                    <a:pt x="109" y="70"/>
                    <a:pt x="109" y="70"/>
                  </a:cubicBezTo>
                  <a:cubicBezTo>
                    <a:pt x="109" y="70"/>
                    <a:pt x="109" y="70"/>
                    <a:pt x="109" y="70"/>
                  </a:cubicBezTo>
                  <a:cubicBezTo>
                    <a:pt x="109" y="70"/>
                    <a:pt x="109" y="70"/>
                    <a:pt x="109" y="70"/>
                  </a:cubicBezTo>
                  <a:cubicBezTo>
                    <a:pt x="109" y="70"/>
                    <a:pt x="109" y="70"/>
                    <a:pt x="109" y="70"/>
                  </a:cubicBezTo>
                  <a:cubicBezTo>
                    <a:pt x="109" y="70"/>
                    <a:pt x="109" y="70"/>
                    <a:pt x="109" y="70"/>
                  </a:cubicBezTo>
                  <a:cubicBezTo>
                    <a:pt x="109" y="70"/>
                    <a:pt x="109" y="70"/>
                    <a:pt x="109" y="70"/>
                  </a:cubicBezTo>
                  <a:cubicBezTo>
                    <a:pt x="109" y="70"/>
                    <a:pt x="109" y="70"/>
                    <a:pt x="109" y="70"/>
                  </a:cubicBezTo>
                  <a:cubicBezTo>
                    <a:pt x="109" y="70"/>
                    <a:pt x="109" y="70"/>
                    <a:pt x="109" y="70"/>
                  </a:cubicBezTo>
                  <a:cubicBezTo>
                    <a:pt x="110" y="70"/>
                    <a:pt x="110" y="70"/>
                    <a:pt x="110" y="70"/>
                  </a:cubicBezTo>
                  <a:cubicBezTo>
                    <a:pt x="110" y="70"/>
                    <a:pt x="110" y="70"/>
                    <a:pt x="110" y="70"/>
                  </a:cubicBezTo>
                  <a:cubicBezTo>
                    <a:pt x="110" y="70"/>
                    <a:pt x="110" y="70"/>
                    <a:pt x="110" y="70"/>
                  </a:cubicBezTo>
                  <a:cubicBezTo>
                    <a:pt x="110" y="70"/>
                    <a:pt x="110" y="70"/>
                    <a:pt x="110" y="70"/>
                  </a:cubicBezTo>
                  <a:cubicBezTo>
                    <a:pt x="110" y="70"/>
                    <a:pt x="110" y="70"/>
                    <a:pt x="110" y="70"/>
                  </a:cubicBezTo>
                  <a:cubicBezTo>
                    <a:pt x="110" y="69"/>
                    <a:pt x="110" y="69"/>
                    <a:pt x="110" y="69"/>
                  </a:cubicBezTo>
                  <a:cubicBezTo>
                    <a:pt x="110" y="69"/>
                    <a:pt x="110" y="69"/>
                    <a:pt x="110" y="69"/>
                  </a:cubicBezTo>
                  <a:cubicBezTo>
                    <a:pt x="109" y="68"/>
                    <a:pt x="109" y="68"/>
                    <a:pt x="109" y="68"/>
                  </a:cubicBezTo>
                  <a:cubicBezTo>
                    <a:pt x="109" y="68"/>
                    <a:pt x="109" y="68"/>
                    <a:pt x="109" y="68"/>
                  </a:cubicBezTo>
                  <a:cubicBezTo>
                    <a:pt x="109" y="68"/>
                    <a:pt x="109" y="68"/>
                    <a:pt x="109" y="68"/>
                  </a:cubicBezTo>
                  <a:cubicBezTo>
                    <a:pt x="108" y="68"/>
                    <a:pt x="108" y="68"/>
                    <a:pt x="108" y="68"/>
                  </a:cubicBezTo>
                  <a:cubicBezTo>
                    <a:pt x="108" y="67"/>
                    <a:pt x="108" y="67"/>
                    <a:pt x="108" y="67"/>
                  </a:cubicBezTo>
                  <a:cubicBezTo>
                    <a:pt x="108" y="67"/>
                    <a:pt x="108" y="67"/>
                    <a:pt x="108" y="67"/>
                  </a:cubicBezTo>
                  <a:cubicBezTo>
                    <a:pt x="108" y="67"/>
                    <a:pt x="108" y="67"/>
                    <a:pt x="108" y="67"/>
                  </a:cubicBezTo>
                  <a:cubicBezTo>
                    <a:pt x="108" y="67"/>
                    <a:pt x="108" y="67"/>
                    <a:pt x="108" y="67"/>
                  </a:cubicBezTo>
                  <a:cubicBezTo>
                    <a:pt x="108" y="66"/>
                    <a:pt x="108" y="66"/>
                    <a:pt x="108" y="66"/>
                  </a:cubicBezTo>
                  <a:cubicBezTo>
                    <a:pt x="108" y="66"/>
                    <a:pt x="108" y="66"/>
                    <a:pt x="108" y="66"/>
                  </a:cubicBezTo>
                  <a:cubicBezTo>
                    <a:pt x="108" y="65"/>
                    <a:pt x="108" y="65"/>
                    <a:pt x="108" y="65"/>
                  </a:cubicBezTo>
                  <a:cubicBezTo>
                    <a:pt x="108" y="66"/>
                    <a:pt x="108" y="66"/>
                    <a:pt x="108" y="66"/>
                  </a:cubicBezTo>
                  <a:cubicBezTo>
                    <a:pt x="109" y="67"/>
                    <a:pt x="109" y="67"/>
                    <a:pt x="109" y="67"/>
                  </a:cubicBezTo>
                  <a:cubicBezTo>
                    <a:pt x="110" y="67"/>
                    <a:pt x="110" y="67"/>
                    <a:pt x="110" y="67"/>
                  </a:cubicBezTo>
                  <a:cubicBezTo>
                    <a:pt x="110" y="67"/>
                    <a:pt x="110" y="67"/>
                    <a:pt x="110" y="67"/>
                  </a:cubicBezTo>
                  <a:cubicBezTo>
                    <a:pt x="110" y="67"/>
                    <a:pt x="110" y="67"/>
                    <a:pt x="110" y="67"/>
                  </a:cubicBezTo>
                  <a:cubicBezTo>
                    <a:pt x="110" y="67"/>
                    <a:pt x="110" y="67"/>
                    <a:pt x="110" y="67"/>
                  </a:cubicBezTo>
                  <a:cubicBezTo>
                    <a:pt x="110" y="68"/>
                    <a:pt x="110" y="68"/>
                    <a:pt x="110" y="68"/>
                  </a:cubicBezTo>
                  <a:cubicBezTo>
                    <a:pt x="110" y="68"/>
                    <a:pt x="110" y="68"/>
                    <a:pt x="110" y="68"/>
                  </a:cubicBezTo>
                  <a:cubicBezTo>
                    <a:pt x="111" y="68"/>
                    <a:pt x="111" y="68"/>
                    <a:pt x="111" y="68"/>
                  </a:cubicBezTo>
                  <a:cubicBezTo>
                    <a:pt x="111" y="68"/>
                    <a:pt x="111" y="68"/>
                    <a:pt x="111" y="68"/>
                  </a:cubicBezTo>
                  <a:cubicBezTo>
                    <a:pt x="111" y="68"/>
                    <a:pt x="111" y="68"/>
                    <a:pt x="111" y="68"/>
                  </a:cubicBezTo>
                  <a:cubicBezTo>
                    <a:pt x="111" y="68"/>
                    <a:pt x="111" y="68"/>
                    <a:pt x="111" y="68"/>
                  </a:cubicBezTo>
                  <a:cubicBezTo>
                    <a:pt x="111" y="68"/>
                    <a:pt x="111" y="68"/>
                    <a:pt x="111" y="68"/>
                  </a:cubicBezTo>
                  <a:cubicBezTo>
                    <a:pt x="111" y="68"/>
                    <a:pt x="111" y="68"/>
                    <a:pt x="111" y="68"/>
                  </a:cubicBezTo>
                  <a:cubicBezTo>
                    <a:pt x="111" y="68"/>
                    <a:pt x="111" y="68"/>
                    <a:pt x="111" y="68"/>
                  </a:cubicBezTo>
                  <a:cubicBezTo>
                    <a:pt x="111" y="68"/>
                    <a:pt x="111" y="68"/>
                    <a:pt x="111" y="68"/>
                  </a:cubicBezTo>
                  <a:cubicBezTo>
                    <a:pt x="111" y="69"/>
                    <a:pt x="111" y="69"/>
                    <a:pt x="111" y="69"/>
                  </a:cubicBezTo>
                  <a:cubicBezTo>
                    <a:pt x="111" y="69"/>
                    <a:pt x="111" y="69"/>
                    <a:pt x="111" y="69"/>
                  </a:cubicBezTo>
                  <a:cubicBezTo>
                    <a:pt x="111" y="70"/>
                    <a:pt x="111" y="70"/>
                    <a:pt x="111" y="70"/>
                  </a:cubicBezTo>
                  <a:cubicBezTo>
                    <a:pt x="112" y="71"/>
                    <a:pt x="112" y="71"/>
                    <a:pt x="112" y="71"/>
                  </a:cubicBezTo>
                  <a:cubicBezTo>
                    <a:pt x="112" y="71"/>
                    <a:pt x="112" y="71"/>
                    <a:pt x="112" y="71"/>
                  </a:cubicBezTo>
                  <a:cubicBezTo>
                    <a:pt x="113" y="70"/>
                    <a:pt x="113" y="70"/>
                    <a:pt x="113" y="70"/>
                  </a:cubicBezTo>
                  <a:cubicBezTo>
                    <a:pt x="113" y="70"/>
                    <a:pt x="113" y="70"/>
                    <a:pt x="113" y="70"/>
                  </a:cubicBezTo>
                  <a:cubicBezTo>
                    <a:pt x="113" y="69"/>
                    <a:pt x="113" y="69"/>
                    <a:pt x="113" y="69"/>
                  </a:cubicBezTo>
                  <a:cubicBezTo>
                    <a:pt x="113" y="69"/>
                    <a:pt x="113" y="69"/>
                    <a:pt x="113" y="69"/>
                  </a:cubicBezTo>
                  <a:cubicBezTo>
                    <a:pt x="113" y="68"/>
                    <a:pt x="113" y="68"/>
                    <a:pt x="113" y="68"/>
                  </a:cubicBezTo>
                  <a:cubicBezTo>
                    <a:pt x="113" y="68"/>
                    <a:pt x="113" y="68"/>
                    <a:pt x="113" y="68"/>
                  </a:cubicBezTo>
                  <a:cubicBezTo>
                    <a:pt x="113" y="68"/>
                    <a:pt x="113" y="68"/>
                    <a:pt x="113" y="68"/>
                  </a:cubicBezTo>
                  <a:cubicBezTo>
                    <a:pt x="113" y="68"/>
                    <a:pt x="113" y="68"/>
                    <a:pt x="113" y="68"/>
                  </a:cubicBezTo>
                  <a:cubicBezTo>
                    <a:pt x="113" y="68"/>
                    <a:pt x="113" y="68"/>
                    <a:pt x="113" y="68"/>
                  </a:cubicBezTo>
                  <a:cubicBezTo>
                    <a:pt x="113" y="68"/>
                    <a:pt x="113" y="68"/>
                    <a:pt x="113" y="68"/>
                  </a:cubicBezTo>
                  <a:cubicBezTo>
                    <a:pt x="113" y="68"/>
                    <a:pt x="113" y="68"/>
                    <a:pt x="113" y="68"/>
                  </a:cubicBezTo>
                  <a:cubicBezTo>
                    <a:pt x="114" y="68"/>
                    <a:pt x="114" y="68"/>
                    <a:pt x="114" y="68"/>
                  </a:cubicBezTo>
                  <a:cubicBezTo>
                    <a:pt x="113" y="68"/>
                    <a:pt x="113" y="68"/>
                    <a:pt x="113" y="68"/>
                  </a:cubicBezTo>
                  <a:cubicBezTo>
                    <a:pt x="113" y="67"/>
                    <a:pt x="113" y="67"/>
                    <a:pt x="113" y="67"/>
                  </a:cubicBezTo>
                  <a:cubicBezTo>
                    <a:pt x="112" y="64"/>
                    <a:pt x="112" y="64"/>
                    <a:pt x="112" y="64"/>
                  </a:cubicBezTo>
                  <a:cubicBezTo>
                    <a:pt x="112" y="64"/>
                    <a:pt x="112" y="64"/>
                    <a:pt x="112" y="64"/>
                  </a:cubicBezTo>
                  <a:cubicBezTo>
                    <a:pt x="112" y="64"/>
                    <a:pt x="112" y="64"/>
                    <a:pt x="112" y="64"/>
                  </a:cubicBezTo>
                  <a:cubicBezTo>
                    <a:pt x="112" y="64"/>
                    <a:pt x="112" y="64"/>
                    <a:pt x="112" y="64"/>
                  </a:cubicBezTo>
                  <a:cubicBezTo>
                    <a:pt x="112" y="64"/>
                    <a:pt x="112" y="64"/>
                    <a:pt x="112" y="64"/>
                  </a:cubicBezTo>
                  <a:cubicBezTo>
                    <a:pt x="113" y="65"/>
                    <a:pt x="113" y="65"/>
                    <a:pt x="113" y="65"/>
                  </a:cubicBezTo>
                  <a:cubicBezTo>
                    <a:pt x="113" y="65"/>
                    <a:pt x="113" y="65"/>
                    <a:pt x="113" y="65"/>
                  </a:cubicBezTo>
                  <a:cubicBezTo>
                    <a:pt x="113" y="65"/>
                    <a:pt x="113" y="65"/>
                    <a:pt x="113" y="65"/>
                  </a:cubicBezTo>
                  <a:cubicBezTo>
                    <a:pt x="113" y="64"/>
                    <a:pt x="113" y="64"/>
                    <a:pt x="113" y="64"/>
                  </a:cubicBezTo>
                  <a:cubicBezTo>
                    <a:pt x="113" y="64"/>
                    <a:pt x="113" y="64"/>
                    <a:pt x="113" y="64"/>
                  </a:cubicBezTo>
                  <a:cubicBezTo>
                    <a:pt x="114" y="63"/>
                    <a:pt x="114" y="63"/>
                    <a:pt x="114" y="63"/>
                  </a:cubicBezTo>
                  <a:cubicBezTo>
                    <a:pt x="113" y="63"/>
                    <a:pt x="113" y="63"/>
                    <a:pt x="113" y="63"/>
                  </a:cubicBezTo>
                  <a:cubicBezTo>
                    <a:pt x="113" y="63"/>
                    <a:pt x="113" y="63"/>
                    <a:pt x="113" y="63"/>
                  </a:cubicBezTo>
                  <a:cubicBezTo>
                    <a:pt x="113" y="63"/>
                    <a:pt x="113" y="63"/>
                    <a:pt x="113" y="63"/>
                  </a:cubicBezTo>
                  <a:cubicBezTo>
                    <a:pt x="113" y="63"/>
                    <a:pt x="113" y="63"/>
                    <a:pt x="113" y="63"/>
                  </a:cubicBezTo>
                  <a:cubicBezTo>
                    <a:pt x="113" y="63"/>
                    <a:pt x="113" y="63"/>
                    <a:pt x="113" y="63"/>
                  </a:cubicBezTo>
                  <a:cubicBezTo>
                    <a:pt x="113" y="63"/>
                    <a:pt x="113" y="63"/>
                    <a:pt x="113" y="63"/>
                  </a:cubicBezTo>
                  <a:cubicBezTo>
                    <a:pt x="113" y="63"/>
                    <a:pt x="113" y="63"/>
                    <a:pt x="113" y="63"/>
                  </a:cubicBezTo>
                  <a:cubicBezTo>
                    <a:pt x="112" y="63"/>
                    <a:pt x="112" y="63"/>
                    <a:pt x="112" y="63"/>
                  </a:cubicBezTo>
                  <a:cubicBezTo>
                    <a:pt x="112" y="63"/>
                    <a:pt x="112" y="63"/>
                    <a:pt x="112" y="63"/>
                  </a:cubicBezTo>
                  <a:cubicBezTo>
                    <a:pt x="112" y="63"/>
                    <a:pt x="112" y="63"/>
                    <a:pt x="112" y="63"/>
                  </a:cubicBezTo>
                  <a:cubicBezTo>
                    <a:pt x="112" y="63"/>
                    <a:pt x="112" y="63"/>
                    <a:pt x="112" y="63"/>
                  </a:cubicBezTo>
                  <a:cubicBezTo>
                    <a:pt x="112" y="63"/>
                    <a:pt x="112" y="63"/>
                    <a:pt x="112" y="63"/>
                  </a:cubicBezTo>
                  <a:cubicBezTo>
                    <a:pt x="112" y="62"/>
                    <a:pt x="112" y="62"/>
                    <a:pt x="112" y="62"/>
                  </a:cubicBezTo>
                  <a:cubicBezTo>
                    <a:pt x="112" y="63"/>
                    <a:pt x="112" y="63"/>
                    <a:pt x="112" y="63"/>
                  </a:cubicBezTo>
                  <a:cubicBezTo>
                    <a:pt x="112" y="63"/>
                    <a:pt x="112" y="63"/>
                    <a:pt x="112" y="63"/>
                  </a:cubicBezTo>
                  <a:cubicBezTo>
                    <a:pt x="112" y="63"/>
                    <a:pt x="112" y="63"/>
                    <a:pt x="112" y="63"/>
                  </a:cubicBezTo>
                  <a:cubicBezTo>
                    <a:pt x="112" y="63"/>
                    <a:pt x="112" y="63"/>
                    <a:pt x="112" y="63"/>
                  </a:cubicBezTo>
                  <a:cubicBezTo>
                    <a:pt x="112" y="63"/>
                    <a:pt x="112" y="63"/>
                    <a:pt x="112" y="63"/>
                  </a:cubicBezTo>
                  <a:cubicBezTo>
                    <a:pt x="112" y="63"/>
                    <a:pt x="112" y="63"/>
                    <a:pt x="112" y="63"/>
                  </a:cubicBezTo>
                  <a:cubicBezTo>
                    <a:pt x="112" y="63"/>
                    <a:pt x="112" y="63"/>
                    <a:pt x="112" y="63"/>
                  </a:cubicBezTo>
                  <a:cubicBezTo>
                    <a:pt x="111" y="63"/>
                    <a:pt x="111" y="63"/>
                    <a:pt x="111" y="63"/>
                  </a:cubicBezTo>
                  <a:cubicBezTo>
                    <a:pt x="111" y="63"/>
                    <a:pt x="111" y="63"/>
                    <a:pt x="111" y="63"/>
                  </a:cubicBezTo>
                  <a:cubicBezTo>
                    <a:pt x="111" y="63"/>
                    <a:pt x="111" y="63"/>
                    <a:pt x="111" y="63"/>
                  </a:cubicBezTo>
                  <a:cubicBezTo>
                    <a:pt x="111" y="63"/>
                    <a:pt x="111" y="63"/>
                    <a:pt x="111" y="63"/>
                  </a:cubicBezTo>
                  <a:cubicBezTo>
                    <a:pt x="111" y="63"/>
                    <a:pt x="111" y="63"/>
                    <a:pt x="111" y="63"/>
                  </a:cubicBezTo>
                  <a:cubicBezTo>
                    <a:pt x="111" y="62"/>
                    <a:pt x="111" y="62"/>
                    <a:pt x="111" y="62"/>
                  </a:cubicBezTo>
                  <a:cubicBezTo>
                    <a:pt x="111" y="62"/>
                    <a:pt x="111" y="62"/>
                    <a:pt x="111" y="62"/>
                  </a:cubicBezTo>
                  <a:cubicBezTo>
                    <a:pt x="111" y="62"/>
                    <a:pt x="111" y="62"/>
                    <a:pt x="111" y="62"/>
                  </a:cubicBezTo>
                  <a:cubicBezTo>
                    <a:pt x="111" y="62"/>
                    <a:pt x="111" y="62"/>
                    <a:pt x="111" y="62"/>
                  </a:cubicBezTo>
                  <a:cubicBezTo>
                    <a:pt x="112" y="60"/>
                    <a:pt x="112" y="60"/>
                    <a:pt x="112" y="60"/>
                  </a:cubicBezTo>
                  <a:cubicBezTo>
                    <a:pt x="112" y="60"/>
                    <a:pt x="112" y="60"/>
                    <a:pt x="112" y="60"/>
                  </a:cubicBezTo>
                  <a:cubicBezTo>
                    <a:pt x="112" y="60"/>
                    <a:pt x="112" y="60"/>
                    <a:pt x="112" y="60"/>
                  </a:cubicBezTo>
                  <a:cubicBezTo>
                    <a:pt x="112" y="61"/>
                    <a:pt x="112" y="61"/>
                    <a:pt x="112" y="61"/>
                  </a:cubicBezTo>
                  <a:cubicBezTo>
                    <a:pt x="112" y="61"/>
                    <a:pt x="112" y="61"/>
                    <a:pt x="112" y="61"/>
                  </a:cubicBezTo>
                  <a:cubicBezTo>
                    <a:pt x="112" y="61"/>
                    <a:pt x="112" y="61"/>
                    <a:pt x="112" y="61"/>
                  </a:cubicBezTo>
                  <a:cubicBezTo>
                    <a:pt x="112" y="61"/>
                    <a:pt x="112" y="61"/>
                    <a:pt x="112" y="61"/>
                  </a:cubicBezTo>
                  <a:cubicBezTo>
                    <a:pt x="112" y="61"/>
                    <a:pt x="112" y="61"/>
                    <a:pt x="112" y="61"/>
                  </a:cubicBezTo>
                  <a:cubicBezTo>
                    <a:pt x="112" y="61"/>
                    <a:pt x="112" y="61"/>
                    <a:pt x="112" y="61"/>
                  </a:cubicBezTo>
                  <a:cubicBezTo>
                    <a:pt x="113" y="61"/>
                    <a:pt x="113" y="61"/>
                    <a:pt x="113" y="61"/>
                  </a:cubicBezTo>
                  <a:cubicBezTo>
                    <a:pt x="113" y="61"/>
                    <a:pt x="113" y="61"/>
                    <a:pt x="113" y="61"/>
                  </a:cubicBezTo>
                  <a:cubicBezTo>
                    <a:pt x="113" y="61"/>
                    <a:pt x="113" y="61"/>
                    <a:pt x="113" y="61"/>
                  </a:cubicBezTo>
                  <a:cubicBezTo>
                    <a:pt x="112" y="61"/>
                    <a:pt x="112" y="61"/>
                    <a:pt x="112" y="61"/>
                  </a:cubicBezTo>
                  <a:cubicBezTo>
                    <a:pt x="112" y="60"/>
                    <a:pt x="112" y="60"/>
                    <a:pt x="112" y="60"/>
                  </a:cubicBezTo>
                  <a:cubicBezTo>
                    <a:pt x="112" y="60"/>
                    <a:pt x="112" y="60"/>
                    <a:pt x="112" y="60"/>
                  </a:cubicBezTo>
                  <a:cubicBezTo>
                    <a:pt x="112" y="60"/>
                    <a:pt x="112" y="60"/>
                    <a:pt x="112" y="60"/>
                  </a:cubicBezTo>
                  <a:cubicBezTo>
                    <a:pt x="113" y="60"/>
                    <a:pt x="113" y="60"/>
                    <a:pt x="113" y="60"/>
                  </a:cubicBezTo>
                  <a:cubicBezTo>
                    <a:pt x="113" y="60"/>
                    <a:pt x="113" y="60"/>
                    <a:pt x="113" y="60"/>
                  </a:cubicBezTo>
                  <a:cubicBezTo>
                    <a:pt x="113" y="60"/>
                    <a:pt x="113" y="60"/>
                    <a:pt x="113" y="60"/>
                  </a:cubicBezTo>
                  <a:cubicBezTo>
                    <a:pt x="113" y="60"/>
                    <a:pt x="113" y="60"/>
                    <a:pt x="113" y="60"/>
                  </a:cubicBezTo>
                  <a:cubicBezTo>
                    <a:pt x="114" y="60"/>
                    <a:pt x="114" y="60"/>
                    <a:pt x="114" y="60"/>
                  </a:cubicBezTo>
                  <a:cubicBezTo>
                    <a:pt x="114" y="60"/>
                    <a:pt x="114" y="60"/>
                    <a:pt x="114" y="60"/>
                  </a:cubicBezTo>
                  <a:cubicBezTo>
                    <a:pt x="114" y="60"/>
                    <a:pt x="114" y="60"/>
                    <a:pt x="114" y="60"/>
                  </a:cubicBezTo>
                  <a:cubicBezTo>
                    <a:pt x="114" y="59"/>
                    <a:pt x="114" y="59"/>
                    <a:pt x="114" y="59"/>
                  </a:cubicBezTo>
                  <a:cubicBezTo>
                    <a:pt x="114" y="59"/>
                    <a:pt x="114" y="59"/>
                    <a:pt x="114" y="59"/>
                  </a:cubicBezTo>
                  <a:cubicBezTo>
                    <a:pt x="113" y="59"/>
                    <a:pt x="113" y="59"/>
                    <a:pt x="113" y="59"/>
                  </a:cubicBezTo>
                  <a:cubicBezTo>
                    <a:pt x="113" y="59"/>
                    <a:pt x="113" y="59"/>
                    <a:pt x="113" y="59"/>
                  </a:cubicBezTo>
                  <a:cubicBezTo>
                    <a:pt x="113" y="59"/>
                    <a:pt x="113" y="59"/>
                    <a:pt x="113" y="59"/>
                  </a:cubicBezTo>
                  <a:cubicBezTo>
                    <a:pt x="113" y="58"/>
                    <a:pt x="113" y="58"/>
                    <a:pt x="113" y="58"/>
                  </a:cubicBezTo>
                  <a:cubicBezTo>
                    <a:pt x="113" y="58"/>
                    <a:pt x="113" y="58"/>
                    <a:pt x="113" y="58"/>
                  </a:cubicBezTo>
                  <a:cubicBezTo>
                    <a:pt x="113" y="58"/>
                    <a:pt x="113" y="58"/>
                    <a:pt x="113" y="58"/>
                  </a:cubicBezTo>
                  <a:cubicBezTo>
                    <a:pt x="113" y="58"/>
                    <a:pt x="113" y="58"/>
                    <a:pt x="113" y="58"/>
                  </a:cubicBezTo>
                  <a:cubicBezTo>
                    <a:pt x="113" y="58"/>
                    <a:pt x="113" y="58"/>
                    <a:pt x="113" y="58"/>
                  </a:cubicBezTo>
                  <a:cubicBezTo>
                    <a:pt x="112" y="58"/>
                    <a:pt x="112" y="58"/>
                    <a:pt x="112" y="58"/>
                  </a:cubicBezTo>
                  <a:cubicBezTo>
                    <a:pt x="112" y="58"/>
                    <a:pt x="112" y="58"/>
                    <a:pt x="112" y="58"/>
                  </a:cubicBezTo>
                  <a:cubicBezTo>
                    <a:pt x="112" y="58"/>
                    <a:pt x="112" y="58"/>
                    <a:pt x="112" y="58"/>
                  </a:cubicBezTo>
                  <a:cubicBezTo>
                    <a:pt x="112" y="58"/>
                    <a:pt x="112" y="58"/>
                    <a:pt x="112" y="58"/>
                  </a:cubicBezTo>
                  <a:cubicBezTo>
                    <a:pt x="112" y="58"/>
                    <a:pt x="112" y="58"/>
                    <a:pt x="112" y="58"/>
                  </a:cubicBezTo>
                  <a:cubicBezTo>
                    <a:pt x="111" y="58"/>
                    <a:pt x="111" y="58"/>
                    <a:pt x="111" y="58"/>
                  </a:cubicBezTo>
                  <a:cubicBezTo>
                    <a:pt x="111" y="57"/>
                    <a:pt x="111" y="57"/>
                    <a:pt x="111" y="57"/>
                  </a:cubicBezTo>
                  <a:cubicBezTo>
                    <a:pt x="111" y="58"/>
                    <a:pt x="111" y="58"/>
                    <a:pt x="111" y="58"/>
                  </a:cubicBezTo>
                  <a:cubicBezTo>
                    <a:pt x="110" y="58"/>
                    <a:pt x="110" y="58"/>
                    <a:pt x="110" y="58"/>
                  </a:cubicBezTo>
                  <a:cubicBezTo>
                    <a:pt x="110" y="59"/>
                    <a:pt x="110" y="59"/>
                    <a:pt x="110" y="59"/>
                  </a:cubicBezTo>
                  <a:cubicBezTo>
                    <a:pt x="109" y="59"/>
                    <a:pt x="109" y="59"/>
                    <a:pt x="109" y="59"/>
                  </a:cubicBezTo>
                  <a:cubicBezTo>
                    <a:pt x="109" y="59"/>
                    <a:pt x="109" y="59"/>
                    <a:pt x="109" y="59"/>
                  </a:cubicBezTo>
                  <a:cubicBezTo>
                    <a:pt x="109" y="59"/>
                    <a:pt x="109" y="59"/>
                    <a:pt x="109" y="59"/>
                  </a:cubicBezTo>
                  <a:cubicBezTo>
                    <a:pt x="109" y="59"/>
                    <a:pt x="109" y="59"/>
                    <a:pt x="109" y="59"/>
                  </a:cubicBezTo>
                  <a:cubicBezTo>
                    <a:pt x="109" y="59"/>
                    <a:pt x="109" y="59"/>
                    <a:pt x="109" y="59"/>
                  </a:cubicBezTo>
                  <a:cubicBezTo>
                    <a:pt x="109" y="59"/>
                    <a:pt x="109" y="59"/>
                    <a:pt x="109" y="59"/>
                  </a:cubicBezTo>
                  <a:cubicBezTo>
                    <a:pt x="109" y="59"/>
                    <a:pt x="109" y="59"/>
                    <a:pt x="109" y="59"/>
                  </a:cubicBezTo>
                  <a:cubicBezTo>
                    <a:pt x="108" y="60"/>
                    <a:pt x="108" y="60"/>
                    <a:pt x="108" y="60"/>
                  </a:cubicBezTo>
                  <a:cubicBezTo>
                    <a:pt x="108" y="60"/>
                    <a:pt x="108" y="60"/>
                    <a:pt x="108" y="60"/>
                  </a:cubicBezTo>
                  <a:cubicBezTo>
                    <a:pt x="108" y="59"/>
                    <a:pt x="108" y="59"/>
                    <a:pt x="108" y="59"/>
                  </a:cubicBezTo>
                  <a:cubicBezTo>
                    <a:pt x="107" y="59"/>
                    <a:pt x="107" y="59"/>
                    <a:pt x="107" y="59"/>
                  </a:cubicBezTo>
                  <a:cubicBezTo>
                    <a:pt x="107" y="59"/>
                    <a:pt x="107" y="59"/>
                    <a:pt x="107" y="59"/>
                  </a:cubicBezTo>
                  <a:cubicBezTo>
                    <a:pt x="109" y="58"/>
                    <a:pt x="109" y="58"/>
                    <a:pt x="109" y="58"/>
                  </a:cubicBezTo>
                  <a:cubicBezTo>
                    <a:pt x="109" y="58"/>
                    <a:pt x="109" y="58"/>
                    <a:pt x="109" y="58"/>
                  </a:cubicBezTo>
                  <a:cubicBezTo>
                    <a:pt x="109" y="58"/>
                    <a:pt x="109" y="58"/>
                    <a:pt x="109" y="58"/>
                  </a:cubicBezTo>
                  <a:cubicBezTo>
                    <a:pt x="108" y="58"/>
                    <a:pt x="108" y="58"/>
                    <a:pt x="108" y="58"/>
                  </a:cubicBezTo>
                  <a:cubicBezTo>
                    <a:pt x="108" y="58"/>
                    <a:pt x="108" y="58"/>
                    <a:pt x="108" y="58"/>
                  </a:cubicBezTo>
                  <a:cubicBezTo>
                    <a:pt x="108" y="57"/>
                    <a:pt x="108" y="57"/>
                    <a:pt x="108" y="57"/>
                  </a:cubicBezTo>
                  <a:cubicBezTo>
                    <a:pt x="108" y="57"/>
                    <a:pt x="108" y="57"/>
                    <a:pt x="108" y="57"/>
                  </a:cubicBezTo>
                  <a:cubicBezTo>
                    <a:pt x="108" y="57"/>
                    <a:pt x="108" y="57"/>
                    <a:pt x="108" y="57"/>
                  </a:cubicBezTo>
                  <a:cubicBezTo>
                    <a:pt x="108" y="57"/>
                    <a:pt x="108" y="57"/>
                    <a:pt x="108" y="57"/>
                  </a:cubicBezTo>
                  <a:cubicBezTo>
                    <a:pt x="108" y="57"/>
                    <a:pt x="108" y="57"/>
                    <a:pt x="108" y="57"/>
                  </a:cubicBezTo>
                  <a:cubicBezTo>
                    <a:pt x="108" y="57"/>
                    <a:pt x="108" y="57"/>
                    <a:pt x="108" y="57"/>
                  </a:cubicBezTo>
                  <a:cubicBezTo>
                    <a:pt x="108" y="56"/>
                    <a:pt x="108" y="56"/>
                    <a:pt x="108" y="56"/>
                  </a:cubicBezTo>
                  <a:cubicBezTo>
                    <a:pt x="108" y="56"/>
                    <a:pt x="108" y="56"/>
                    <a:pt x="108" y="56"/>
                  </a:cubicBezTo>
                  <a:cubicBezTo>
                    <a:pt x="107" y="56"/>
                    <a:pt x="107" y="56"/>
                    <a:pt x="107" y="56"/>
                  </a:cubicBezTo>
                  <a:cubicBezTo>
                    <a:pt x="107" y="56"/>
                    <a:pt x="107" y="56"/>
                    <a:pt x="107" y="56"/>
                  </a:cubicBezTo>
                  <a:cubicBezTo>
                    <a:pt x="107" y="56"/>
                    <a:pt x="107" y="56"/>
                    <a:pt x="107" y="56"/>
                  </a:cubicBezTo>
                  <a:cubicBezTo>
                    <a:pt x="107" y="56"/>
                    <a:pt x="107" y="56"/>
                    <a:pt x="107" y="56"/>
                  </a:cubicBezTo>
                  <a:cubicBezTo>
                    <a:pt x="107" y="56"/>
                    <a:pt x="107" y="56"/>
                    <a:pt x="107" y="56"/>
                  </a:cubicBezTo>
                  <a:cubicBezTo>
                    <a:pt x="107" y="56"/>
                    <a:pt x="107" y="56"/>
                    <a:pt x="107" y="56"/>
                  </a:cubicBezTo>
                  <a:cubicBezTo>
                    <a:pt x="106" y="56"/>
                    <a:pt x="106" y="56"/>
                    <a:pt x="106" y="56"/>
                  </a:cubicBezTo>
                  <a:cubicBezTo>
                    <a:pt x="106" y="56"/>
                    <a:pt x="106" y="56"/>
                    <a:pt x="106" y="56"/>
                  </a:cubicBezTo>
                  <a:cubicBezTo>
                    <a:pt x="106" y="56"/>
                    <a:pt x="106" y="56"/>
                    <a:pt x="106" y="56"/>
                  </a:cubicBezTo>
                  <a:cubicBezTo>
                    <a:pt x="106" y="55"/>
                    <a:pt x="106" y="55"/>
                    <a:pt x="106" y="55"/>
                  </a:cubicBezTo>
                  <a:cubicBezTo>
                    <a:pt x="106" y="55"/>
                    <a:pt x="106" y="55"/>
                    <a:pt x="106" y="55"/>
                  </a:cubicBezTo>
                  <a:cubicBezTo>
                    <a:pt x="107" y="54"/>
                    <a:pt x="107" y="54"/>
                    <a:pt x="107" y="54"/>
                  </a:cubicBezTo>
                  <a:cubicBezTo>
                    <a:pt x="107" y="54"/>
                    <a:pt x="107" y="54"/>
                    <a:pt x="107" y="54"/>
                  </a:cubicBezTo>
                  <a:cubicBezTo>
                    <a:pt x="107" y="53"/>
                    <a:pt x="107" y="53"/>
                    <a:pt x="107" y="53"/>
                  </a:cubicBezTo>
                  <a:cubicBezTo>
                    <a:pt x="108" y="53"/>
                    <a:pt x="108" y="53"/>
                    <a:pt x="108" y="53"/>
                  </a:cubicBezTo>
                  <a:cubicBezTo>
                    <a:pt x="108" y="53"/>
                    <a:pt x="108" y="53"/>
                    <a:pt x="108" y="53"/>
                  </a:cubicBezTo>
                  <a:cubicBezTo>
                    <a:pt x="108" y="52"/>
                    <a:pt x="108" y="52"/>
                    <a:pt x="108" y="52"/>
                  </a:cubicBezTo>
                  <a:cubicBezTo>
                    <a:pt x="108" y="52"/>
                    <a:pt x="108" y="52"/>
                    <a:pt x="108" y="52"/>
                  </a:cubicBezTo>
                  <a:cubicBezTo>
                    <a:pt x="108" y="51"/>
                    <a:pt x="108" y="51"/>
                    <a:pt x="108" y="51"/>
                  </a:cubicBezTo>
                  <a:cubicBezTo>
                    <a:pt x="108" y="51"/>
                    <a:pt x="108" y="51"/>
                    <a:pt x="108" y="51"/>
                  </a:cubicBezTo>
                  <a:cubicBezTo>
                    <a:pt x="107" y="51"/>
                    <a:pt x="107" y="51"/>
                    <a:pt x="107" y="51"/>
                  </a:cubicBezTo>
                  <a:cubicBezTo>
                    <a:pt x="107" y="51"/>
                    <a:pt x="107" y="51"/>
                    <a:pt x="107" y="51"/>
                  </a:cubicBezTo>
                  <a:cubicBezTo>
                    <a:pt x="107" y="51"/>
                    <a:pt x="107" y="51"/>
                    <a:pt x="107" y="51"/>
                  </a:cubicBezTo>
                  <a:cubicBezTo>
                    <a:pt x="107" y="51"/>
                    <a:pt x="107" y="51"/>
                    <a:pt x="107" y="51"/>
                  </a:cubicBezTo>
                  <a:cubicBezTo>
                    <a:pt x="107" y="51"/>
                    <a:pt x="107" y="51"/>
                    <a:pt x="107" y="51"/>
                  </a:cubicBezTo>
                  <a:cubicBezTo>
                    <a:pt x="107" y="51"/>
                    <a:pt x="107" y="51"/>
                    <a:pt x="107" y="51"/>
                  </a:cubicBezTo>
                  <a:cubicBezTo>
                    <a:pt x="106" y="51"/>
                    <a:pt x="106" y="51"/>
                    <a:pt x="106" y="51"/>
                  </a:cubicBezTo>
                  <a:cubicBezTo>
                    <a:pt x="106" y="51"/>
                    <a:pt x="106" y="51"/>
                    <a:pt x="106" y="51"/>
                  </a:cubicBezTo>
                  <a:cubicBezTo>
                    <a:pt x="106" y="51"/>
                    <a:pt x="106" y="51"/>
                    <a:pt x="106" y="51"/>
                  </a:cubicBezTo>
                  <a:cubicBezTo>
                    <a:pt x="107" y="50"/>
                    <a:pt x="107" y="50"/>
                    <a:pt x="107" y="50"/>
                  </a:cubicBezTo>
                  <a:cubicBezTo>
                    <a:pt x="107" y="50"/>
                    <a:pt x="107" y="50"/>
                    <a:pt x="107" y="50"/>
                  </a:cubicBezTo>
                  <a:cubicBezTo>
                    <a:pt x="107" y="49"/>
                    <a:pt x="107" y="49"/>
                    <a:pt x="107" y="49"/>
                  </a:cubicBezTo>
                  <a:cubicBezTo>
                    <a:pt x="107" y="49"/>
                    <a:pt x="107" y="49"/>
                    <a:pt x="107" y="49"/>
                  </a:cubicBezTo>
                  <a:cubicBezTo>
                    <a:pt x="107" y="49"/>
                    <a:pt x="107" y="49"/>
                    <a:pt x="107" y="49"/>
                  </a:cubicBezTo>
                  <a:cubicBezTo>
                    <a:pt x="107" y="49"/>
                    <a:pt x="107" y="49"/>
                    <a:pt x="107" y="49"/>
                  </a:cubicBezTo>
                  <a:cubicBezTo>
                    <a:pt x="107" y="49"/>
                    <a:pt x="107" y="49"/>
                    <a:pt x="107" y="49"/>
                  </a:cubicBezTo>
                  <a:cubicBezTo>
                    <a:pt x="106" y="49"/>
                    <a:pt x="106" y="49"/>
                    <a:pt x="106" y="49"/>
                  </a:cubicBezTo>
                  <a:cubicBezTo>
                    <a:pt x="106" y="49"/>
                    <a:pt x="106" y="49"/>
                    <a:pt x="106" y="49"/>
                  </a:cubicBezTo>
                  <a:cubicBezTo>
                    <a:pt x="106" y="49"/>
                    <a:pt x="106" y="49"/>
                    <a:pt x="106" y="49"/>
                  </a:cubicBezTo>
                  <a:cubicBezTo>
                    <a:pt x="106" y="48"/>
                    <a:pt x="106" y="48"/>
                    <a:pt x="106" y="48"/>
                  </a:cubicBezTo>
                  <a:cubicBezTo>
                    <a:pt x="106" y="48"/>
                    <a:pt x="106" y="48"/>
                    <a:pt x="106" y="48"/>
                  </a:cubicBezTo>
                  <a:cubicBezTo>
                    <a:pt x="106" y="48"/>
                    <a:pt x="106" y="48"/>
                    <a:pt x="106" y="48"/>
                  </a:cubicBezTo>
                  <a:cubicBezTo>
                    <a:pt x="106" y="48"/>
                    <a:pt x="106" y="48"/>
                    <a:pt x="106" y="48"/>
                  </a:cubicBezTo>
                  <a:cubicBezTo>
                    <a:pt x="106" y="48"/>
                    <a:pt x="106" y="48"/>
                    <a:pt x="106" y="48"/>
                  </a:cubicBezTo>
                  <a:cubicBezTo>
                    <a:pt x="106" y="47"/>
                    <a:pt x="106" y="47"/>
                    <a:pt x="106" y="47"/>
                  </a:cubicBezTo>
                  <a:cubicBezTo>
                    <a:pt x="106" y="47"/>
                    <a:pt x="106" y="47"/>
                    <a:pt x="106" y="47"/>
                  </a:cubicBezTo>
                  <a:cubicBezTo>
                    <a:pt x="106" y="47"/>
                    <a:pt x="106" y="47"/>
                    <a:pt x="106" y="47"/>
                  </a:cubicBezTo>
                  <a:cubicBezTo>
                    <a:pt x="104" y="47"/>
                    <a:pt x="104" y="47"/>
                    <a:pt x="104" y="47"/>
                  </a:cubicBezTo>
                  <a:cubicBezTo>
                    <a:pt x="104" y="47"/>
                    <a:pt x="104" y="47"/>
                    <a:pt x="104" y="47"/>
                  </a:cubicBezTo>
                  <a:cubicBezTo>
                    <a:pt x="104" y="46"/>
                    <a:pt x="104" y="46"/>
                    <a:pt x="104" y="46"/>
                  </a:cubicBezTo>
                  <a:cubicBezTo>
                    <a:pt x="104" y="46"/>
                    <a:pt x="104" y="46"/>
                    <a:pt x="104" y="46"/>
                  </a:cubicBezTo>
                  <a:cubicBezTo>
                    <a:pt x="104" y="46"/>
                    <a:pt x="104" y="46"/>
                    <a:pt x="104" y="46"/>
                  </a:cubicBezTo>
                  <a:cubicBezTo>
                    <a:pt x="104" y="45"/>
                    <a:pt x="104" y="45"/>
                    <a:pt x="104" y="45"/>
                  </a:cubicBezTo>
                  <a:cubicBezTo>
                    <a:pt x="104" y="45"/>
                    <a:pt x="104" y="45"/>
                    <a:pt x="104" y="45"/>
                  </a:cubicBezTo>
                  <a:cubicBezTo>
                    <a:pt x="103" y="45"/>
                    <a:pt x="103" y="45"/>
                    <a:pt x="103" y="45"/>
                  </a:cubicBezTo>
                  <a:cubicBezTo>
                    <a:pt x="103" y="46"/>
                    <a:pt x="103" y="46"/>
                    <a:pt x="103" y="46"/>
                  </a:cubicBezTo>
                  <a:cubicBezTo>
                    <a:pt x="102" y="46"/>
                    <a:pt x="102" y="46"/>
                    <a:pt x="102" y="46"/>
                  </a:cubicBezTo>
                  <a:cubicBezTo>
                    <a:pt x="101" y="47"/>
                    <a:pt x="101" y="47"/>
                    <a:pt x="101" y="47"/>
                  </a:cubicBezTo>
                  <a:cubicBezTo>
                    <a:pt x="100" y="47"/>
                    <a:pt x="100" y="47"/>
                    <a:pt x="100" y="47"/>
                  </a:cubicBezTo>
                  <a:cubicBezTo>
                    <a:pt x="99" y="47"/>
                    <a:pt x="99" y="47"/>
                    <a:pt x="99" y="47"/>
                  </a:cubicBezTo>
                  <a:cubicBezTo>
                    <a:pt x="98" y="46"/>
                    <a:pt x="98" y="46"/>
                    <a:pt x="98" y="46"/>
                  </a:cubicBezTo>
                  <a:cubicBezTo>
                    <a:pt x="98" y="46"/>
                    <a:pt x="98" y="46"/>
                    <a:pt x="98" y="46"/>
                  </a:cubicBezTo>
                  <a:cubicBezTo>
                    <a:pt x="97" y="47"/>
                    <a:pt x="97" y="47"/>
                    <a:pt x="97" y="47"/>
                  </a:cubicBezTo>
                  <a:cubicBezTo>
                    <a:pt x="97" y="47"/>
                    <a:pt x="97" y="47"/>
                    <a:pt x="97" y="47"/>
                  </a:cubicBezTo>
                  <a:cubicBezTo>
                    <a:pt x="97" y="47"/>
                    <a:pt x="97" y="47"/>
                    <a:pt x="97" y="47"/>
                  </a:cubicBezTo>
                  <a:cubicBezTo>
                    <a:pt x="97" y="47"/>
                    <a:pt x="97" y="47"/>
                    <a:pt x="97" y="47"/>
                  </a:cubicBezTo>
                  <a:cubicBezTo>
                    <a:pt x="96" y="47"/>
                    <a:pt x="96" y="47"/>
                    <a:pt x="96" y="47"/>
                  </a:cubicBezTo>
                  <a:cubicBezTo>
                    <a:pt x="96" y="47"/>
                    <a:pt x="96" y="47"/>
                    <a:pt x="96" y="47"/>
                  </a:cubicBezTo>
                  <a:cubicBezTo>
                    <a:pt x="95" y="48"/>
                    <a:pt x="95" y="48"/>
                    <a:pt x="95" y="48"/>
                  </a:cubicBezTo>
                  <a:cubicBezTo>
                    <a:pt x="93" y="47"/>
                    <a:pt x="93" y="47"/>
                    <a:pt x="93" y="47"/>
                  </a:cubicBezTo>
                  <a:cubicBezTo>
                    <a:pt x="92" y="47"/>
                    <a:pt x="92" y="47"/>
                    <a:pt x="92" y="47"/>
                  </a:cubicBezTo>
                  <a:cubicBezTo>
                    <a:pt x="92" y="47"/>
                    <a:pt x="92" y="47"/>
                    <a:pt x="92" y="47"/>
                  </a:cubicBezTo>
                  <a:cubicBezTo>
                    <a:pt x="91" y="47"/>
                    <a:pt x="91" y="47"/>
                    <a:pt x="91" y="47"/>
                  </a:cubicBezTo>
                  <a:cubicBezTo>
                    <a:pt x="91" y="47"/>
                    <a:pt x="91" y="47"/>
                    <a:pt x="91" y="47"/>
                  </a:cubicBezTo>
                  <a:cubicBezTo>
                    <a:pt x="90" y="47"/>
                    <a:pt x="90" y="47"/>
                    <a:pt x="90" y="47"/>
                  </a:cubicBezTo>
                  <a:cubicBezTo>
                    <a:pt x="89" y="47"/>
                    <a:pt x="89" y="47"/>
                    <a:pt x="89" y="47"/>
                  </a:cubicBezTo>
                  <a:cubicBezTo>
                    <a:pt x="89" y="47"/>
                    <a:pt x="89" y="47"/>
                    <a:pt x="89" y="47"/>
                  </a:cubicBezTo>
                  <a:cubicBezTo>
                    <a:pt x="93" y="47"/>
                    <a:pt x="93" y="47"/>
                    <a:pt x="93" y="47"/>
                  </a:cubicBezTo>
                  <a:cubicBezTo>
                    <a:pt x="94" y="47"/>
                    <a:pt x="94" y="47"/>
                    <a:pt x="94" y="47"/>
                  </a:cubicBezTo>
                  <a:cubicBezTo>
                    <a:pt x="94" y="47"/>
                    <a:pt x="94" y="47"/>
                    <a:pt x="94" y="47"/>
                  </a:cubicBezTo>
                  <a:cubicBezTo>
                    <a:pt x="94" y="47"/>
                    <a:pt x="94" y="47"/>
                    <a:pt x="94" y="47"/>
                  </a:cubicBezTo>
                  <a:cubicBezTo>
                    <a:pt x="97" y="46"/>
                    <a:pt x="97" y="46"/>
                    <a:pt x="97" y="46"/>
                  </a:cubicBezTo>
                  <a:cubicBezTo>
                    <a:pt x="97" y="46"/>
                    <a:pt x="97" y="46"/>
                    <a:pt x="97" y="46"/>
                  </a:cubicBezTo>
                  <a:cubicBezTo>
                    <a:pt x="97" y="46"/>
                    <a:pt x="97" y="46"/>
                    <a:pt x="97" y="46"/>
                  </a:cubicBezTo>
                  <a:cubicBezTo>
                    <a:pt x="97" y="46"/>
                    <a:pt x="97" y="46"/>
                    <a:pt x="97" y="46"/>
                  </a:cubicBezTo>
                  <a:cubicBezTo>
                    <a:pt x="97" y="46"/>
                    <a:pt x="97" y="46"/>
                    <a:pt x="97" y="46"/>
                  </a:cubicBezTo>
                  <a:cubicBezTo>
                    <a:pt x="97" y="46"/>
                    <a:pt x="97" y="46"/>
                    <a:pt x="97" y="46"/>
                  </a:cubicBezTo>
                  <a:cubicBezTo>
                    <a:pt x="102" y="45"/>
                    <a:pt x="102" y="45"/>
                    <a:pt x="102" y="45"/>
                  </a:cubicBezTo>
                  <a:cubicBezTo>
                    <a:pt x="103" y="45"/>
                    <a:pt x="103" y="45"/>
                    <a:pt x="103" y="45"/>
                  </a:cubicBezTo>
                  <a:cubicBezTo>
                    <a:pt x="103" y="45"/>
                    <a:pt x="103" y="45"/>
                    <a:pt x="103" y="45"/>
                  </a:cubicBezTo>
                  <a:cubicBezTo>
                    <a:pt x="103" y="45"/>
                    <a:pt x="103" y="45"/>
                    <a:pt x="103" y="45"/>
                  </a:cubicBezTo>
                  <a:cubicBezTo>
                    <a:pt x="103" y="44"/>
                    <a:pt x="103" y="44"/>
                    <a:pt x="103" y="44"/>
                  </a:cubicBezTo>
                  <a:cubicBezTo>
                    <a:pt x="102" y="44"/>
                    <a:pt x="102" y="44"/>
                    <a:pt x="102" y="44"/>
                  </a:cubicBezTo>
                  <a:cubicBezTo>
                    <a:pt x="102" y="44"/>
                    <a:pt x="102" y="44"/>
                    <a:pt x="102" y="44"/>
                  </a:cubicBezTo>
                  <a:cubicBezTo>
                    <a:pt x="102" y="44"/>
                    <a:pt x="102" y="44"/>
                    <a:pt x="102" y="44"/>
                  </a:cubicBezTo>
                  <a:cubicBezTo>
                    <a:pt x="102" y="43"/>
                    <a:pt x="102" y="43"/>
                    <a:pt x="102" y="43"/>
                  </a:cubicBezTo>
                  <a:cubicBezTo>
                    <a:pt x="102" y="43"/>
                    <a:pt x="102" y="43"/>
                    <a:pt x="102" y="43"/>
                  </a:cubicBezTo>
                  <a:cubicBezTo>
                    <a:pt x="103" y="43"/>
                    <a:pt x="103" y="43"/>
                    <a:pt x="103" y="43"/>
                  </a:cubicBezTo>
                  <a:cubicBezTo>
                    <a:pt x="103" y="44"/>
                    <a:pt x="103" y="44"/>
                    <a:pt x="103" y="44"/>
                  </a:cubicBezTo>
                  <a:cubicBezTo>
                    <a:pt x="103" y="44"/>
                    <a:pt x="103" y="44"/>
                    <a:pt x="103" y="44"/>
                  </a:cubicBezTo>
                  <a:cubicBezTo>
                    <a:pt x="104" y="43"/>
                    <a:pt x="104" y="43"/>
                    <a:pt x="104" y="43"/>
                  </a:cubicBezTo>
                  <a:cubicBezTo>
                    <a:pt x="104" y="43"/>
                    <a:pt x="104" y="43"/>
                    <a:pt x="104" y="43"/>
                  </a:cubicBezTo>
                  <a:cubicBezTo>
                    <a:pt x="104" y="43"/>
                    <a:pt x="104" y="43"/>
                    <a:pt x="104" y="43"/>
                  </a:cubicBezTo>
                  <a:cubicBezTo>
                    <a:pt x="104" y="43"/>
                    <a:pt x="104" y="43"/>
                    <a:pt x="104" y="43"/>
                  </a:cubicBezTo>
                  <a:cubicBezTo>
                    <a:pt x="104" y="43"/>
                    <a:pt x="104" y="43"/>
                    <a:pt x="104" y="43"/>
                  </a:cubicBezTo>
                  <a:cubicBezTo>
                    <a:pt x="104" y="42"/>
                    <a:pt x="104" y="42"/>
                    <a:pt x="104" y="42"/>
                  </a:cubicBezTo>
                  <a:cubicBezTo>
                    <a:pt x="104" y="42"/>
                    <a:pt x="104" y="42"/>
                    <a:pt x="104" y="42"/>
                  </a:cubicBezTo>
                  <a:cubicBezTo>
                    <a:pt x="104" y="42"/>
                    <a:pt x="104" y="42"/>
                    <a:pt x="104" y="42"/>
                  </a:cubicBezTo>
                  <a:cubicBezTo>
                    <a:pt x="104" y="41"/>
                    <a:pt x="104" y="41"/>
                    <a:pt x="104" y="41"/>
                  </a:cubicBezTo>
                  <a:cubicBezTo>
                    <a:pt x="104" y="41"/>
                    <a:pt x="104" y="41"/>
                    <a:pt x="104" y="41"/>
                  </a:cubicBezTo>
                  <a:cubicBezTo>
                    <a:pt x="104" y="40"/>
                    <a:pt x="104" y="40"/>
                    <a:pt x="104" y="40"/>
                  </a:cubicBezTo>
                  <a:cubicBezTo>
                    <a:pt x="104" y="40"/>
                    <a:pt x="104" y="40"/>
                    <a:pt x="104" y="40"/>
                  </a:cubicBezTo>
                  <a:cubicBezTo>
                    <a:pt x="104" y="40"/>
                    <a:pt x="104" y="40"/>
                    <a:pt x="104" y="40"/>
                  </a:cubicBezTo>
                  <a:cubicBezTo>
                    <a:pt x="103" y="40"/>
                    <a:pt x="103" y="40"/>
                    <a:pt x="103" y="40"/>
                  </a:cubicBezTo>
                  <a:cubicBezTo>
                    <a:pt x="103" y="40"/>
                    <a:pt x="103" y="40"/>
                    <a:pt x="103" y="40"/>
                  </a:cubicBezTo>
                  <a:cubicBezTo>
                    <a:pt x="104" y="40"/>
                    <a:pt x="104" y="40"/>
                    <a:pt x="104" y="40"/>
                  </a:cubicBezTo>
                  <a:cubicBezTo>
                    <a:pt x="104" y="39"/>
                    <a:pt x="104" y="39"/>
                    <a:pt x="104" y="39"/>
                  </a:cubicBezTo>
                  <a:cubicBezTo>
                    <a:pt x="103" y="39"/>
                    <a:pt x="103" y="39"/>
                    <a:pt x="103" y="39"/>
                  </a:cubicBezTo>
                  <a:cubicBezTo>
                    <a:pt x="103" y="39"/>
                    <a:pt x="103" y="39"/>
                    <a:pt x="103" y="39"/>
                  </a:cubicBezTo>
                  <a:cubicBezTo>
                    <a:pt x="103" y="39"/>
                    <a:pt x="103" y="39"/>
                    <a:pt x="103" y="39"/>
                  </a:cubicBezTo>
                  <a:cubicBezTo>
                    <a:pt x="103" y="39"/>
                    <a:pt x="103" y="39"/>
                    <a:pt x="103" y="39"/>
                  </a:cubicBezTo>
                  <a:cubicBezTo>
                    <a:pt x="102" y="38"/>
                    <a:pt x="102" y="38"/>
                    <a:pt x="102" y="38"/>
                  </a:cubicBezTo>
                  <a:cubicBezTo>
                    <a:pt x="102" y="38"/>
                    <a:pt x="102" y="38"/>
                    <a:pt x="102" y="38"/>
                  </a:cubicBezTo>
                  <a:cubicBezTo>
                    <a:pt x="102" y="38"/>
                    <a:pt x="102" y="38"/>
                    <a:pt x="102" y="38"/>
                  </a:cubicBezTo>
                  <a:cubicBezTo>
                    <a:pt x="102" y="38"/>
                    <a:pt x="102" y="38"/>
                    <a:pt x="102" y="38"/>
                  </a:cubicBezTo>
                  <a:cubicBezTo>
                    <a:pt x="101" y="38"/>
                    <a:pt x="101" y="38"/>
                    <a:pt x="101" y="38"/>
                  </a:cubicBezTo>
                  <a:cubicBezTo>
                    <a:pt x="101" y="38"/>
                    <a:pt x="101" y="38"/>
                    <a:pt x="101" y="38"/>
                  </a:cubicBezTo>
                  <a:cubicBezTo>
                    <a:pt x="101" y="37"/>
                    <a:pt x="101" y="37"/>
                    <a:pt x="101" y="37"/>
                  </a:cubicBezTo>
                  <a:cubicBezTo>
                    <a:pt x="101" y="37"/>
                    <a:pt x="101" y="37"/>
                    <a:pt x="101" y="37"/>
                  </a:cubicBezTo>
                  <a:cubicBezTo>
                    <a:pt x="101" y="37"/>
                    <a:pt x="101" y="37"/>
                    <a:pt x="101" y="37"/>
                  </a:cubicBezTo>
                  <a:cubicBezTo>
                    <a:pt x="101" y="36"/>
                    <a:pt x="101" y="36"/>
                    <a:pt x="101" y="36"/>
                  </a:cubicBezTo>
                  <a:cubicBezTo>
                    <a:pt x="101" y="36"/>
                    <a:pt x="101" y="36"/>
                    <a:pt x="101" y="36"/>
                  </a:cubicBezTo>
                  <a:cubicBezTo>
                    <a:pt x="101" y="36"/>
                    <a:pt x="101" y="36"/>
                    <a:pt x="101" y="36"/>
                  </a:cubicBezTo>
                  <a:cubicBezTo>
                    <a:pt x="101" y="35"/>
                    <a:pt x="101" y="35"/>
                    <a:pt x="101" y="35"/>
                  </a:cubicBezTo>
                  <a:cubicBezTo>
                    <a:pt x="101" y="36"/>
                    <a:pt x="101" y="36"/>
                    <a:pt x="101" y="36"/>
                  </a:cubicBezTo>
                  <a:cubicBezTo>
                    <a:pt x="101" y="35"/>
                    <a:pt x="101" y="35"/>
                    <a:pt x="101" y="35"/>
                  </a:cubicBezTo>
                  <a:cubicBezTo>
                    <a:pt x="101" y="35"/>
                    <a:pt x="101" y="35"/>
                    <a:pt x="101" y="35"/>
                  </a:cubicBezTo>
                  <a:cubicBezTo>
                    <a:pt x="101" y="35"/>
                    <a:pt x="101" y="35"/>
                    <a:pt x="101" y="35"/>
                  </a:cubicBezTo>
                  <a:cubicBezTo>
                    <a:pt x="101" y="34"/>
                    <a:pt x="101" y="34"/>
                    <a:pt x="101" y="34"/>
                  </a:cubicBezTo>
                  <a:cubicBezTo>
                    <a:pt x="100" y="34"/>
                    <a:pt x="100" y="34"/>
                    <a:pt x="100" y="34"/>
                  </a:cubicBezTo>
                  <a:cubicBezTo>
                    <a:pt x="100" y="34"/>
                    <a:pt x="100" y="34"/>
                    <a:pt x="100" y="34"/>
                  </a:cubicBezTo>
                  <a:cubicBezTo>
                    <a:pt x="100" y="33"/>
                    <a:pt x="100" y="33"/>
                    <a:pt x="100" y="33"/>
                  </a:cubicBezTo>
                  <a:cubicBezTo>
                    <a:pt x="99" y="33"/>
                    <a:pt x="99" y="33"/>
                    <a:pt x="99" y="33"/>
                  </a:cubicBezTo>
                  <a:cubicBezTo>
                    <a:pt x="100" y="33"/>
                    <a:pt x="100" y="33"/>
                    <a:pt x="100" y="33"/>
                  </a:cubicBezTo>
                  <a:cubicBezTo>
                    <a:pt x="101" y="32"/>
                    <a:pt x="101" y="32"/>
                    <a:pt x="101" y="32"/>
                  </a:cubicBezTo>
                  <a:cubicBezTo>
                    <a:pt x="101" y="32"/>
                    <a:pt x="101" y="32"/>
                    <a:pt x="101" y="32"/>
                  </a:cubicBezTo>
                  <a:cubicBezTo>
                    <a:pt x="101" y="32"/>
                    <a:pt x="101" y="32"/>
                    <a:pt x="101" y="32"/>
                  </a:cubicBezTo>
                  <a:cubicBezTo>
                    <a:pt x="101" y="31"/>
                    <a:pt x="101" y="31"/>
                    <a:pt x="101" y="31"/>
                  </a:cubicBezTo>
                  <a:cubicBezTo>
                    <a:pt x="100" y="31"/>
                    <a:pt x="100" y="31"/>
                    <a:pt x="100" y="31"/>
                  </a:cubicBezTo>
                  <a:cubicBezTo>
                    <a:pt x="100" y="31"/>
                    <a:pt x="100" y="31"/>
                    <a:pt x="100" y="31"/>
                  </a:cubicBezTo>
                  <a:cubicBezTo>
                    <a:pt x="100" y="31"/>
                    <a:pt x="100" y="31"/>
                    <a:pt x="100" y="31"/>
                  </a:cubicBezTo>
                  <a:cubicBezTo>
                    <a:pt x="100" y="30"/>
                    <a:pt x="100" y="30"/>
                    <a:pt x="100" y="30"/>
                  </a:cubicBezTo>
                  <a:cubicBezTo>
                    <a:pt x="100" y="30"/>
                    <a:pt x="100" y="30"/>
                    <a:pt x="100" y="30"/>
                  </a:cubicBezTo>
                  <a:cubicBezTo>
                    <a:pt x="100" y="30"/>
                    <a:pt x="100" y="30"/>
                    <a:pt x="100" y="30"/>
                  </a:cubicBezTo>
                  <a:cubicBezTo>
                    <a:pt x="100" y="30"/>
                    <a:pt x="100" y="30"/>
                    <a:pt x="100" y="30"/>
                  </a:cubicBezTo>
                  <a:cubicBezTo>
                    <a:pt x="100" y="29"/>
                    <a:pt x="100" y="29"/>
                    <a:pt x="100" y="29"/>
                  </a:cubicBezTo>
                  <a:cubicBezTo>
                    <a:pt x="100" y="29"/>
                    <a:pt x="100" y="29"/>
                    <a:pt x="100" y="29"/>
                  </a:cubicBezTo>
                  <a:cubicBezTo>
                    <a:pt x="100" y="29"/>
                    <a:pt x="100" y="29"/>
                    <a:pt x="100" y="29"/>
                  </a:cubicBezTo>
                  <a:cubicBezTo>
                    <a:pt x="100" y="29"/>
                    <a:pt x="100" y="29"/>
                    <a:pt x="100" y="29"/>
                  </a:cubicBezTo>
                  <a:cubicBezTo>
                    <a:pt x="100" y="28"/>
                    <a:pt x="100" y="28"/>
                    <a:pt x="100" y="28"/>
                  </a:cubicBezTo>
                  <a:cubicBezTo>
                    <a:pt x="101" y="28"/>
                    <a:pt x="101" y="28"/>
                    <a:pt x="101" y="28"/>
                  </a:cubicBezTo>
                  <a:cubicBezTo>
                    <a:pt x="101" y="27"/>
                    <a:pt x="101" y="27"/>
                    <a:pt x="101" y="27"/>
                  </a:cubicBezTo>
                  <a:cubicBezTo>
                    <a:pt x="102" y="27"/>
                    <a:pt x="102" y="27"/>
                    <a:pt x="102" y="27"/>
                  </a:cubicBezTo>
                  <a:cubicBezTo>
                    <a:pt x="102" y="26"/>
                    <a:pt x="102" y="26"/>
                    <a:pt x="102" y="26"/>
                  </a:cubicBezTo>
                  <a:cubicBezTo>
                    <a:pt x="102" y="26"/>
                    <a:pt x="102" y="26"/>
                    <a:pt x="102" y="26"/>
                  </a:cubicBezTo>
                  <a:cubicBezTo>
                    <a:pt x="102" y="25"/>
                    <a:pt x="102" y="25"/>
                    <a:pt x="102" y="25"/>
                  </a:cubicBezTo>
                  <a:cubicBezTo>
                    <a:pt x="102" y="25"/>
                    <a:pt x="102" y="25"/>
                    <a:pt x="102" y="25"/>
                  </a:cubicBezTo>
                  <a:cubicBezTo>
                    <a:pt x="102" y="25"/>
                    <a:pt x="102" y="25"/>
                    <a:pt x="102" y="25"/>
                  </a:cubicBezTo>
                  <a:cubicBezTo>
                    <a:pt x="102" y="24"/>
                    <a:pt x="102" y="24"/>
                    <a:pt x="102" y="24"/>
                  </a:cubicBezTo>
                  <a:cubicBezTo>
                    <a:pt x="102" y="24"/>
                    <a:pt x="102" y="24"/>
                    <a:pt x="102" y="24"/>
                  </a:cubicBezTo>
                  <a:cubicBezTo>
                    <a:pt x="102" y="24"/>
                    <a:pt x="102" y="24"/>
                    <a:pt x="102" y="24"/>
                  </a:cubicBezTo>
                  <a:cubicBezTo>
                    <a:pt x="102" y="23"/>
                    <a:pt x="102" y="23"/>
                    <a:pt x="102" y="23"/>
                  </a:cubicBezTo>
                  <a:cubicBezTo>
                    <a:pt x="101" y="23"/>
                    <a:pt x="101" y="23"/>
                    <a:pt x="101" y="23"/>
                  </a:cubicBezTo>
                  <a:cubicBezTo>
                    <a:pt x="101" y="23"/>
                    <a:pt x="101" y="23"/>
                    <a:pt x="101" y="23"/>
                  </a:cubicBezTo>
                  <a:cubicBezTo>
                    <a:pt x="101" y="23"/>
                    <a:pt x="101" y="23"/>
                    <a:pt x="101" y="23"/>
                  </a:cubicBezTo>
                  <a:cubicBezTo>
                    <a:pt x="101" y="22"/>
                    <a:pt x="101" y="22"/>
                    <a:pt x="101" y="22"/>
                  </a:cubicBezTo>
                  <a:cubicBezTo>
                    <a:pt x="101" y="22"/>
                    <a:pt x="101" y="22"/>
                    <a:pt x="101" y="22"/>
                  </a:cubicBezTo>
                  <a:cubicBezTo>
                    <a:pt x="100" y="22"/>
                    <a:pt x="100" y="22"/>
                    <a:pt x="100" y="22"/>
                  </a:cubicBezTo>
                  <a:cubicBezTo>
                    <a:pt x="100" y="22"/>
                    <a:pt x="100" y="22"/>
                    <a:pt x="100" y="22"/>
                  </a:cubicBezTo>
                  <a:cubicBezTo>
                    <a:pt x="100" y="21"/>
                    <a:pt x="100" y="21"/>
                    <a:pt x="100" y="21"/>
                  </a:cubicBezTo>
                  <a:cubicBezTo>
                    <a:pt x="99" y="20"/>
                    <a:pt x="99" y="20"/>
                    <a:pt x="99" y="20"/>
                  </a:cubicBezTo>
                  <a:cubicBezTo>
                    <a:pt x="99" y="20"/>
                    <a:pt x="99" y="20"/>
                    <a:pt x="99" y="20"/>
                  </a:cubicBezTo>
                  <a:cubicBezTo>
                    <a:pt x="99" y="20"/>
                    <a:pt x="99" y="20"/>
                    <a:pt x="99" y="20"/>
                  </a:cubicBezTo>
                  <a:cubicBezTo>
                    <a:pt x="98" y="20"/>
                    <a:pt x="98" y="20"/>
                    <a:pt x="98" y="20"/>
                  </a:cubicBezTo>
                  <a:cubicBezTo>
                    <a:pt x="98" y="20"/>
                    <a:pt x="98" y="20"/>
                    <a:pt x="98" y="20"/>
                  </a:cubicBezTo>
                  <a:cubicBezTo>
                    <a:pt x="98" y="21"/>
                    <a:pt x="98" y="21"/>
                    <a:pt x="98" y="21"/>
                  </a:cubicBezTo>
                  <a:cubicBezTo>
                    <a:pt x="98" y="21"/>
                    <a:pt x="98" y="21"/>
                    <a:pt x="98" y="21"/>
                  </a:cubicBezTo>
                  <a:cubicBezTo>
                    <a:pt x="98" y="21"/>
                    <a:pt x="98" y="21"/>
                    <a:pt x="98" y="21"/>
                  </a:cubicBezTo>
                  <a:cubicBezTo>
                    <a:pt x="98" y="21"/>
                    <a:pt x="98" y="21"/>
                    <a:pt x="98" y="21"/>
                  </a:cubicBezTo>
                  <a:cubicBezTo>
                    <a:pt x="98" y="21"/>
                    <a:pt x="98" y="21"/>
                    <a:pt x="98" y="21"/>
                  </a:cubicBezTo>
                  <a:cubicBezTo>
                    <a:pt x="98" y="21"/>
                    <a:pt x="98" y="21"/>
                    <a:pt x="98" y="21"/>
                  </a:cubicBezTo>
                  <a:cubicBezTo>
                    <a:pt x="98" y="22"/>
                    <a:pt x="98" y="22"/>
                    <a:pt x="98" y="22"/>
                  </a:cubicBezTo>
                  <a:cubicBezTo>
                    <a:pt x="98" y="22"/>
                    <a:pt x="98" y="22"/>
                    <a:pt x="98" y="22"/>
                  </a:cubicBezTo>
                  <a:cubicBezTo>
                    <a:pt x="98" y="22"/>
                    <a:pt x="98" y="22"/>
                    <a:pt x="98" y="22"/>
                  </a:cubicBezTo>
                  <a:cubicBezTo>
                    <a:pt x="98" y="22"/>
                    <a:pt x="98" y="22"/>
                    <a:pt x="98" y="22"/>
                  </a:cubicBezTo>
                  <a:cubicBezTo>
                    <a:pt x="98" y="23"/>
                    <a:pt x="98" y="23"/>
                    <a:pt x="98" y="23"/>
                  </a:cubicBezTo>
                  <a:cubicBezTo>
                    <a:pt x="98" y="23"/>
                    <a:pt x="98" y="23"/>
                    <a:pt x="98" y="23"/>
                  </a:cubicBezTo>
                  <a:cubicBezTo>
                    <a:pt x="98" y="23"/>
                    <a:pt x="98" y="23"/>
                    <a:pt x="98" y="23"/>
                  </a:cubicBezTo>
                  <a:cubicBezTo>
                    <a:pt x="98" y="24"/>
                    <a:pt x="98" y="24"/>
                    <a:pt x="98" y="24"/>
                  </a:cubicBezTo>
                  <a:cubicBezTo>
                    <a:pt x="99" y="24"/>
                    <a:pt x="99" y="24"/>
                    <a:pt x="99" y="24"/>
                  </a:cubicBezTo>
                  <a:cubicBezTo>
                    <a:pt x="99" y="24"/>
                    <a:pt x="99" y="24"/>
                    <a:pt x="99" y="24"/>
                  </a:cubicBezTo>
                  <a:cubicBezTo>
                    <a:pt x="99" y="25"/>
                    <a:pt x="99" y="25"/>
                    <a:pt x="99" y="25"/>
                  </a:cubicBezTo>
                  <a:cubicBezTo>
                    <a:pt x="99" y="25"/>
                    <a:pt x="99" y="25"/>
                    <a:pt x="99" y="25"/>
                  </a:cubicBezTo>
                  <a:cubicBezTo>
                    <a:pt x="98" y="25"/>
                    <a:pt x="98" y="25"/>
                    <a:pt x="98" y="25"/>
                  </a:cubicBezTo>
                  <a:cubicBezTo>
                    <a:pt x="98" y="24"/>
                    <a:pt x="98" y="24"/>
                    <a:pt x="98" y="24"/>
                  </a:cubicBezTo>
                  <a:cubicBezTo>
                    <a:pt x="97" y="24"/>
                    <a:pt x="97" y="24"/>
                    <a:pt x="97" y="24"/>
                  </a:cubicBezTo>
                  <a:cubicBezTo>
                    <a:pt x="97" y="25"/>
                    <a:pt x="97" y="25"/>
                    <a:pt x="97" y="25"/>
                  </a:cubicBezTo>
                  <a:cubicBezTo>
                    <a:pt x="97" y="26"/>
                    <a:pt x="97" y="26"/>
                    <a:pt x="97" y="26"/>
                  </a:cubicBezTo>
                  <a:cubicBezTo>
                    <a:pt x="97" y="26"/>
                    <a:pt x="97" y="26"/>
                    <a:pt x="97" y="26"/>
                  </a:cubicBezTo>
                  <a:cubicBezTo>
                    <a:pt x="97" y="26"/>
                    <a:pt x="97" y="26"/>
                    <a:pt x="97" y="26"/>
                  </a:cubicBezTo>
                  <a:cubicBezTo>
                    <a:pt x="96" y="26"/>
                    <a:pt x="96" y="26"/>
                    <a:pt x="96" y="26"/>
                  </a:cubicBezTo>
                  <a:cubicBezTo>
                    <a:pt x="96" y="27"/>
                    <a:pt x="96" y="27"/>
                    <a:pt x="96" y="27"/>
                  </a:cubicBezTo>
                  <a:cubicBezTo>
                    <a:pt x="96" y="27"/>
                    <a:pt x="96" y="27"/>
                    <a:pt x="96" y="27"/>
                  </a:cubicBezTo>
                  <a:cubicBezTo>
                    <a:pt x="97" y="27"/>
                    <a:pt x="97" y="27"/>
                    <a:pt x="97" y="27"/>
                  </a:cubicBezTo>
                  <a:cubicBezTo>
                    <a:pt x="97" y="26"/>
                    <a:pt x="97" y="26"/>
                    <a:pt x="97" y="26"/>
                  </a:cubicBezTo>
                  <a:cubicBezTo>
                    <a:pt x="97" y="26"/>
                    <a:pt x="97" y="26"/>
                    <a:pt x="97" y="26"/>
                  </a:cubicBezTo>
                  <a:cubicBezTo>
                    <a:pt x="97" y="26"/>
                    <a:pt x="97" y="26"/>
                    <a:pt x="97" y="26"/>
                  </a:cubicBezTo>
                  <a:cubicBezTo>
                    <a:pt x="97" y="27"/>
                    <a:pt x="97" y="27"/>
                    <a:pt x="97" y="27"/>
                  </a:cubicBezTo>
                  <a:cubicBezTo>
                    <a:pt x="97" y="27"/>
                    <a:pt x="97" y="27"/>
                    <a:pt x="97" y="27"/>
                  </a:cubicBezTo>
                  <a:cubicBezTo>
                    <a:pt x="97" y="27"/>
                    <a:pt x="97" y="27"/>
                    <a:pt x="97" y="27"/>
                  </a:cubicBezTo>
                  <a:cubicBezTo>
                    <a:pt x="96" y="27"/>
                    <a:pt x="96" y="27"/>
                    <a:pt x="96" y="27"/>
                  </a:cubicBezTo>
                  <a:cubicBezTo>
                    <a:pt x="96" y="27"/>
                    <a:pt x="96" y="27"/>
                    <a:pt x="96" y="27"/>
                  </a:cubicBezTo>
                  <a:cubicBezTo>
                    <a:pt x="96" y="27"/>
                    <a:pt x="96" y="27"/>
                    <a:pt x="96" y="27"/>
                  </a:cubicBezTo>
                  <a:cubicBezTo>
                    <a:pt x="96" y="27"/>
                    <a:pt x="96" y="27"/>
                    <a:pt x="96" y="27"/>
                  </a:cubicBezTo>
                  <a:cubicBezTo>
                    <a:pt x="96" y="27"/>
                    <a:pt x="96" y="27"/>
                    <a:pt x="96" y="27"/>
                  </a:cubicBezTo>
                  <a:cubicBezTo>
                    <a:pt x="96" y="27"/>
                    <a:pt x="96" y="27"/>
                    <a:pt x="96" y="27"/>
                  </a:cubicBezTo>
                  <a:cubicBezTo>
                    <a:pt x="95" y="27"/>
                    <a:pt x="95" y="27"/>
                    <a:pt x="95" y="27"/>
                  </a:cubicBezTo>
                  <a:cubicBezTo>
                    <a:pt x="95" y="27"/>
                    <a:pt x="95" y="27"/>
                    <a:pt x="95" y="27"/>
                  </a:cubicBezTo>
                  <a:cubicBezTo>
                    <a:pt x="95" y="27"/>
                    <a:pt x="95" y="27"/>
                    <a:pt x="95" y="27"/>
                  </a:cubicBezTo>
                  <a:cubicBezTo>
                    <a:pt x="95" y="26"/>
                    <a:pt x="95" y="26"/>
                    <a:pt x="95" y="26"/>
                  </a:cubicBezTo>
                  <a:cubicBezTo>
                    <a:pt x="95" y="26"/>
                    <a:pt x="95" y="26"/>
                    <a:pt x="95" y="26"/>
                  </a:cubicBezTo>
                  <a:cubicBezTo>
                    <a:pt x="94" y="26"/>
                    <a:pt x="94" y="26"/>
                    <a:pt x="94" y="26"/>
                  </a:cubicBezTo>
                  <a:cubicBezTo>
                    <a:pt x="94" y="26"/>
                    <a:pt x="94" y="26"/>
                    <a:pt x="94" y="26"/>
                  </a:cubicBezTo>
                  <a:cubicBezTo>
                    <a:pt x="94" y="26"/>
                    <a:pt x="94" y="26"/>
                    <a:pt x="94" y="26"/>
                  </a:cubicBezTo>
                  <a:cubicBezTo>
                    <a:pt x="94" y="26"/>
                    <a:pt x="94" y="26"/>
                    <a:pt x="94" y="26"/>
                  </a:cubicBezTo>
                  <a:cubicBezTo>
                    <a:pt x="94" y="26"/>
                    <a:pt x="94" y="26"/>
                    <a:pt x="94" y="26"/>
                  </a:cubicBezTo>
                  <a:cubicBezTo>
                    <a:pt x="94" y="26"/>
                    <a:pt x="94" y="26"/>
                    <a:pt x="94" y="26"/>
                  </a:cubicBezTo>
                  <a:cubicBezTo>
                    <a:pt x="94" y="25"/>
                    <a:pt x="94" y="25"/>
                    <a:pt x="94" y="25"/>
                  </a:cubicBezTo>
                  <a:cubicBezTo>
                    <a:pt x="94" y="25"/>
                    <a:pt x="94" y="25"/>
                    <a:pt x="94" y="25"/>
                  </a:cubicBezTo>
                  <a:cubicBezTo>
                    <a:pt x="94" y="25"/>
                    <a:pt x="94" y="25"/>
                    <a:pt x="94" y="25"/>
                  </a:cubicBezTo>
                  <a:cubicBezTo>
                    <a:pt x="94" y="25"/>
                    <a:pt x="94" y="25"/>
                    <a:pt x="94" y="25"/>
                  </a:cubicBezTo>
                  <a:cubicBezTo>
                    <a:pt x="94" y="25"/>
                    <a:pt x="94" y="25"/>
                    <a:pt x="94" y="25"/>
                  </a:cubicBezTo>
                  <a:cubicBezTo>
                    <a:pt x="94" y="25"/>
                    <a:pt x="94" y="25"/>
                    <a:pt x="94" y="25"/>
                  </a:cubicBezTo>
                  <a:cubicBezTo>
                    <a:pt x="94" y="25"/>
                    <a:pt x="94" y="25"/>
                    <a:pt x="94" y="25"/>
                  </a:cubicBezTo>
                  <a:cubicBezTo>
                    <a:pt x="94" y="25"/>
                    <a:pt x="94" y="25"/>
                    <a:pt x="94" y="25"/>
                  </a:cubicBezTo>
                  <a:cubicBezTo>
                    <a:pt x="94" y="25"/>
                    <a:pt x="94" y="25"/>
                    <a:pt x="94" y="25"/>
                  </a:cubicBezTo>
                  <a:cubicBezTo>
                    <a:pt x="94" y="24"/>
                    <a:pt x="94" y="24"/>
                    <a:pt x="94" y="24"/>
                  </a:cubicBezTo>
                  <a:cubicBezTo>
                    <a:pt x="94" y="24"/>
                    <a:pt x="94" y="24"/>
                    <a:pt x="94" y="24"/>
                  </a:cubicBezTo>
                  <a:cubicBezTo>
                    <a:pt x="94" y="24"/>
                    <a:pt x="94" y="24"/>
                    <a:pt x="94" y="24"/>
                  </a:cubicBezTo>
                  <a:cubicBezTo>
                    <a:pt x="94" y="24"/>
                    <a:pt x="94" y="24"/>
                    <a:pt x="94" y="24"/>
                  </a:cubicBezTo>
                  <a:cubicBezTo>
                    <a:pt x="93" y="24"/>
                    <a:pt x="93" y="24"/>
                    <a:pt x="93" y="24"/>
                  </a:cubicBezTo>
                  <a:cubicBezTo>
                    <a:pt x="93" y="24"/>
                    <a:pt x="93" y="24"/>
                    <a:pt x="93" y="24"/>
                  </a:cubicBezTo>
                  <a:cubicBezTo>
                    <a:pt x="93" y="23"/>
                    <a:pt x="93" y="23"/>
                    <a:pt x="93" y="23"/>
                  </a:cubicBezTo>
                  <a:cubicBezTo>
                    <a:pt x="93" y="23"/>
                    <a:pt x="93" y="23"/>
                    <a:pt x="93" y="23"/>
                  </a:cubicBezTo>
                  <a:cubicBezTo>
                    <a:pt x="93" y="24"/>
                    <a:pt x="93" y="24"/>
                    <a:pt x="93" y="24"/>
                  </a:cubicBezTo>
                  <a:cubicBezTo>
                    <a:pt x="93" y="24"/>
                    <a:pt x="93" y="24"/>
                    <a:pt x="93" y="24"/>
                  </a:cubicBezTo>
                  <a:cubicBezTo>
                    <a:pt x="93" y="23"/>
                    <a:pt x="93" y="23"/>
                    <a:pt x="93" y="23"/>
                  </a:cubicBezTo>
                  <a:cubicBezTo>
                    <a:pt x="93" y="23"/>
                    <a:pt x="93" y="23"/>
                    <a:pt x="93" y="23"/>
                  </a:cubicBezTo>
                  <a:cubicBezTo>
                    <a:pt x="93" y="23"/>
                    <a:pt x="93" y="23"/>
                    <a:pt x="93" y="23"/>
                  </a:cubicBezTo>
                  <a:cubicBezTo>
                    <a:pt x="93" y="22"/>
                    <a:pt x="93" y="22"/>
                    <a:pt x="93" y="22"/>
                  </a:cubicBezTo>
                  <a:cubicBezTo>
                    <a:pt x="93" y="22"/>
                    <a:pt x="93" y="22"/>
                    <a:pt x="93" y="22"/>
                  </a:cubicBezTo>
                  <a:cubicBezTo>
                    <a:pt x="93" y="22"/>
                    <a:pt x="93" y="22"/>
                    <a:pt x="93" y="22"/>
                  </a:cubicBezTo>
                  <a:cubicBezTo>
                    <a:pt x="93" y="22"/>
                    <a:pt x="93" y="22"/>
                    <a:pt x="93" y="22"/>
                  </a:cubicBezTo>
                  <a:cubicBezTo>
                    <a:pt x="93" y="22"/>
                    <a:pt x="93" y="22"/>
                    <a:pt x="93" y="22"/>
                  </a:cubicBezTo>
                  <a:cubicBezTo>
                    <a:pt x="93" y="22"/>
                    <a:pt x="93" y="22"/>
                    <a:pt x="93" y="22"/>
                  </a:cubicBezTo>
                  <a:cubicBezTo>
                    <a:pt x="93" y="22"/>
                    <a:pt x="93" y="22"/>
                    <a:pt x="93" y="22"/>
                  </a:cubicBezTo>
                  <a:cubicBezTo>
                    <a:pt x="92" y="22"/>
                    <a:pt x="92" y="22"/>
                    <a:pt x="92" y="22"/>
                  </a:cubicBezTo>
                  <a:cubicBezTo>
                    <a:pt x="92" y="22"/>
                    <a:pt x="92" y="22"/>
                    <a:pt x="92" y="22"/>
                  </a:cubicBezTo>
                  <a:cubicBezTo>
                    <a:pt x="92" y="22"/>
                    <a:pt x="92" y="22"/>
                    <a:pt x="92" y="22"/>
                  </a:cubicBezTo>
                  <a:cubicBezTo>
                    <a:pt x="92" y="22"/>
                    <a:pt x="92" y="22"/>
                    <a:pt x="92" y="22"/>
                  </a:cubicBezTo>
                  <a:cubicBezTo>
                    <a:pt x="92" y="22"/>
                    <a:pt x="92" y="22"/>
                    <a:pt x="92" y="22"/>
                  </a:cubicBezTo>
                  <a:cubicBezTo>
                    <a:pt x="91" y="22"/>
                    <a:pt x="91" y="22"/>
                    <a:pt x="91" y="22"/>
                  </a:cubicBezTo>
                  <a:cubicBezTo>
                    <a:pt x="91" y="22"/>
                    <a:pt x="91" y="22"/>
                    <a:pt x="91" y="22"/>
                  </a:cubicBezTo>
                  <a:cubicBezTo>
                    <a:pt x="91" y="22"/>
                    <a:pt x="91" y="22"/>
                    <a:pt x="91" y="22"/>
                  </a:cubicBezTo>
                  <a:cubicBezTo>
                    <a:pt x="91" y="22"/>
                    <a:pt x="91" y="22"/>
                    <a:pt x="91" y="22"/>
                  </a:cubicBezTo>
                  <a:cubicBezTo>
                    <a:pt x="91" y="22"/>
                    <a:pt x="91" y="22"/>
                    <a:pt x="91" y="22"/>
                  </a:cubicBezTo>
                  <a:cubicBezTo>
                    <a:pt x="90" y="22"/>
                    <a:pt x="90" y="22"/>
                    <a:pt x="90" y="22"/>
                  </a:cubicBezTo>
                  <a:cubicBezTo>
                    <a:pt x="90" y="22"/>
                    <a:pt x="90" y="22"/>
                    <a:pt x="90" y="22"/>
                  </a:cubicBezTo>
                  <a:cubicBezTo>
                    <a:pt x="90" y="23"/>
                    <a:pt x="90" y="23"/>
                    <a:pt x="90" y="23"/>
                  </a:cubicBezTo>
                  <a:cubicBezTo>
                    <a:pt x="90" y="23"/>
                    <a:pt x="90" y="23"/>
                    <a:pt x="90" y="23"/>
                  </a:cubicBezTo>
                  <a:cubicBezTo>
                    <a:pt x="90" y="23"/>
                    <a:pt x="90" y="23"/>
                    <a:pt x="90" y="23"/>
                  </a:cubicBezTo>
                  <a:cubicBezTo>
                    <a:pt x="90" y="23"/>
                    <a:pt x="90" y="23"/>
                    <a:pt x="90" y="23"/>
                  </a:cubicBezTo>
                  <a:cubicBezTo>
                    <a:pt x="89" y="23"/>
                    <a:pt x="89" y="23"/>
                    <a:pt x="89" y="23"/>
                  </a:cubicBezTo>
                  <a:cubicBezTo>
                    <a:pt x="90" y="23"/>
                    <a:pt x="90" y="23"/>
                    <a:pt x="90" y="23"/>
                  </a:cubicBezTo>
                  <a:cubicBezTo>
                    <a:pt x="90" y="23"/>
                    <a:pt x="90" y="23"/>
                    <a:pt x="90" y="23"/>
                  </a:cubicBezTo>
                  <a:cubicBezTo>
                    <a:pt x="90" y="23"/>
                    <a:pt x="90" y="23"/>
                    <a:pt x="90" y="23"/>
                  </a:cubicBezTo>
                  <a:cubicBezTo>
                    <a:pt x="90" y="23"/>
                    <a:pt x="90" y="23"/>
                    <a:pt x="90" y="23"/>
                  </a:cubicBezTo>
                  <a:cubicBezTo>
                    <a:pt x="90" y="23"/>
                    <a:pt x="90" y="23"/>
                    <a:pt x="90" y="23"/>
                  </a:cubicBezTo>
                  <a:cubicBezTo>
                    <a:pt x="90" y="23"/>
                    <a:pt x="90" y="23"/>
                    <a:pt x="90" y="23"/>
                  </a:cubicBezTo>
                  <a:cubicBezTo>
                    <a:pt x="90" y="23"/>
                    <a:pt x="90" y="23"/>
                    <a:pt x="90" y="23"/>
                  </a:cubicBezTo>
                  <a:cubicBezTo>
                    <a:pt x="89" y="23"/>
                    <a:pt x="89" y="23"/>
                    <a:pt x="89" y="23"/>
                  </a:cubicBezTo>
                  <a:cubicBezTo>
                    <a:pt x="90" y="24"/>
                    <a:pt x="90" y="24"/>
                    <a:pt x="90" y="24"/>
                  </a:cubicBezTo>
                  <a:cubicBezTo>
                    <a:pt x="90" y="24"/>
                    <a:pt x="90" y="24"/>
                    <a:pt x="90" y="24"/>
                  </a:cubicBezTo>
                  <a:cubicBezTo>
                    <a:pt x="90" y="24"/>
                    <a:pt x="90" y="24"/>
                    <a:pt x="90" y="24"/>
                  </a:cubicBezTo>
                  <a:cubicBezTo>
                    <a:pt x="89" y="24"/>
                    <a:pt x="89" y="24"/>
                    <a:pt x="89" y="24"/>
                  </a:cubicBezTo>
                  <a:cubicBezTo>
                    <a:pt x="89" y="24"/>
                    <a:pt x="89" y="24"/>
                    <a:pt x="89" y="24"/>
                  </a:cubicBezTo>
                  <a:cubicBezTo>
                    <a:pt x="89" y="24"/>
                    <a:pt x="89" y="24"/>
                    <a:pt x="89" y="24"/>
                  </a:cubicBezTo>
                  <a:cubicBezTo>
                    <a:pt x="89" y="24"/>
                    <a:pt x="89" y="24"/>
                    <a:pt x="89" y="24"/>
                  </a:cubicBezTo>
                  <a:cubicBezTo>
                    <a:pt x="89" y="24"/>
                    <a:pt x="89" y="24"/>
                    <a:pt x="89" y="24"/>
                  </a:cubicBezTo>
                  <a:cubicBezTo>
                    <a:pt x="89" y="23"/>
                    <a:pt x="89" y="23"/>
                    <a:pt x="89" y="23"/>
                  </a:cubicBezTo>
                  <a:cubicBezTo>
                    <a:pt x="89" y="23"/>
                    <a:pt x="89" y="23"/>
                    <a:pt x="89" y="23"/>
                  </a:cubicBezTo>
                  <a:cubicBezTo>
                    <a:pt x="89" y="23"/>
                    <a:pt x="89" y="23"/>
                    <a:pt x="89" y="23"/>
                  </a:cubicBezTo>
                  <a:cubicBezTo>
                    <a:pt x="88" y="24"/>
                    <a:pt x="88" y="24"/>
                    <a:pt x="88" y="24"/>
                  </a:cubicBezTo>
                  <a:cubicBezTo>
                    <a:pt x="88" y="24"/>
                    <a:pt x="88" y="24"/>
                    <a:pt x="88" y="24"/>
                  </a:cubicBezTo>
                  <a:cubicBezTo>
                    <a:pt x="88" y="24"/>
                    <a:pt x="88" y="24"/>
                    <a:pt x="88" y="24"/>
                  </a:cubicBezTo>
                  <a:cubicBezTo>
                    <a:pt x="89" y="24"/>
                    <a:pt x="89" y="24"/>
                    <a:pt x="89" y="24"/>
                  </a:cubicBezTo>
                  <a:cubicBezTo>
                    <a:pt x="89" y="24"/>
                    <a:pt x="89" y="24"/>
                    <a:pt x="89" y="24"/>
                  </a:cubicBezTo>
                  <a:cubicBezTo>
                    <a:pt x="88" y="24"/>
                    <a:pt x="88" y="24"/>
                    <a:pt x="88" y="24"/>
                  </a:cubicBezTo>
                  <a:cubicBezTo>
                    <a:pt x="88" y="24"/>
                    <a:pt x="88" y="24"/>
                    <a:pt x="88" y="24"/>
                  </a:cubicBezTo>
                  <a:cubicBezTo>
                    <a:pt x="88" y="24"/>
                    <a:pt x="88" y="24"/>
                    <a:pt x="88" y="24"/>
                  </a:cubicBezTo>
                  <a:cubicBezTo>
                    <a:pt x="88" y="24"/>
                    <a:pt x="88" y="24"/>
                    <a:pt x="88" y="24"/>
                  </a:cubicBezTo>
                  <a:cubicBezTo>
                    <a:pt x="88" y="24"/>
                    <a:pt x="88" y="24"/>
                    <a:pt x="88" y="24"/>
                  </a:cubicBezTo>
                  <a:cubicBezTo>
                    <a:pt x="89" y="24"/>
                    <a:pt x="89" y="24"/>
                    <a:pt x="89" y="24"/>
                  </a:cubicBezTo>
                  <a:cubicBezTo>
                    <a:pt x="89" y="25"/>
                    <a:pt x="89" y="25"/>
                    <a:pt x="89" y="25"/>
                  </a:cubicBezTo>
                  <a:cubicBezTo>
                    <a:pt x="89" y="25"/>
                    <a:pt x="89" y="25"/>
                    <a:pt x="89" y="25"/>
                  </a:cubicBezTo>
                  <a:cubicBezTo>
                    <a:pt x="89" y="25"/>
                    <a:pt x="89" y="25"/>
                    <a:pt x="89" y="25"/>
                  </a:cubicBezTo>
                  <a:cubicBezTo>
                    <a:pt x="88" y="24"/>
                    <a:pt x="88" y="24"/>
                    <a:pt x="88" y="24"/>
                  </a:cubicBezTo>
                  <a:cubicBezTo>
                    <a:pt x="87" y="25"/>
                    <a:pt x="87" y="25"/>
                    <a:pt x="87" y="25"/>
                  </a:cubicBezTo>
                  <a:cubicBezTo>
                    <a:pt x="87" y="25"/>
                    <a:pt x="87" y="25"/>
                    <a:pt x="87" y="25"/>
                  </a:cubicBezTo>
                  <a:cubicBezTo>
                    <a:pt x="87" y="24"/>
                    <a:pt x="87" y="24"/>
                    <a:pt x="87" y="24"/>
                  </a:cubicBezTo>
                  <a:cubicBezTo>
                    <a:pt x="87" y="24"/>
                    <a:pt x="87" y="24"/>
                    <a:pt x="87" y="24"/>
                  </a:cubicBezTo>
                  <a:cubicBezTo>
                    <a:pt x="87" y="24"/>
                    <a:pt x="87" y="24"/>
                    <a:pt x="87" y="24"/>
                  </a:cubicBezTo>
                  <a:cubicBezTo>
                    <a:pt x="86" y="24"/>
                    <a:pt x="86" y="24"/>
                    <a:pt x="86" y="24"/>
                  </a:cubicBezTo>
                  <a:cubicBezTo>
                    <a:pt x="86" y="24"/>
                    <a:pt x="86" y="24"/>
                    <a:pt x="86" y="24"/>
                  </a:cubicBezTo>
                  <a:cubicBezTo>
                    <a:pt x="86" y="24"/>
                    <a:pt x="86" y="24"/>
                    <a:pt x="86" y="24"/>
                  </a:cubicBezTo>
                  <a:cubicBezTo>
                    <a:pt x="86" y="24"/>
                    <a:pt x="86" y="24"/>
                    <a:pt x="86" y="24"/>
                  </a:cubicBezTo>
                  <a:cubicBezTo>
                    <a:pt x="86" y="24"/>
                    <a:pt x="86" y="24"/>
                    <a:pt x="86" y="24"/>
                  </a:cubicBezTo>
                  <a:cubicBezTo>
                    <a:pt x="86" y="24"/>
                    <a:pt x="86" y="24"/>
                    <a:pt x="86" y="24"/>
                  </a:cubicBezTo>
                  <a:cubicBezTo>
                    <a:pt x="86" y="24"/>
                    <a:pt x="86" y="24"/>
                    <a:pt x="86" y="24"/>
                  </a:cubicBezTo>
                  <a:cubicBezTo>
                    <a:pt x="86" y="25"/>
                    <a:pt x="86" y="25"/>
                    <a:pt x="86" y="25"/>
                  </a:cubicBezTo>
                  <a:cubicBezTo>
                    <a:pt x="86" y="24"/>
                    <a:pt x="86" y="24"/>
                    <a:pt x="86" y="24"/>
                  </a:cubicBezTo>
                  <a:cubicBezTo>
                    <a:pt x="85" y="24"/>
                    <a:pt x="85" y="24"/>
                    <a:pt x="85" y="24"/>
                  </a:cubicBezTo>
                  <a:cubicBezTo>
                    <a:pt x="85" y="24"/>
                    <a:pt x="85" y="24"/>
                    <a:pt x="85" y="24"/>
                  </a:cubicBezTo>
                  <a:cubicBezTo>
                    <a:pt x="85" y="24"/>
                    <a:pt x="85" y="24"/>
                    <a:pt x="85" y="24"/>
                  </a:cubicBezTo>
                  <a:cubicBezTo>
                    <a:pt x="84" y="25"/>
                    <a:pt x="84" y="25"/>
                    <a:pt x="84" y="25"/>
                  </a:cubicBezTo>
                  <a:cubicBezTo>
                    <a:pt x="84" y="24"/>
                    <a:pt x="84" y="24"/>
                    <a:pt x="84" y="24"/>
                  </a:cubicBezTo>
                  <a:cubicBezTo>
                    <a:pt x="84" y="24"/>
                    <a:pt x="84" y="24"/>
                    <a:pt x="84" y="24"/>
                  </a:cubicBezTo>
                  <a:cubicBezTo>
                    <a:pt x="84" y="24"/>
                    <a:pt x="84" y="24"/>
                    <a:pt x="84" y="24"/>
                  </a:cubicBezTo>
                  <a:cubicBezTo>
                    <a:pt x="83" y="24"/>
                    <a:pt x="83" y="24"/>
                    <a:pt x="83" y="24"/>
                  </a:cubicBezTo>
                  <a:cubicBezTo>
                    <a:pt x="82" y="24"/>
                    <a:pt x="82" y="24"/>
                    <a:pt x="82" y="24"/>
                  </a:cubicBezTo>
                  <a:cubicBezTo>
                    <a:pt x="82" y="24"/>
                    <a:pt x="82" y="24"/>
                    <a:pt x="82" y="24"/>
                  </a:cubicBezTo>
                  <a:cubicBezTo>
                    <a:pt x="82" y="24"/>
                    <a:pt x="82" y="24"/>
                    <a:pt x="82" y="24"/>
                  </a:cubicBezTo>
                  <a:cubicBezTo>
                    <a:pt x="81" y="24"/>
                    <a:pt x="81" y="24"/>
                    <a:pt x="81" y="24"/>
                  </a:cubicBezTo>
                  <a:cubicBezTo>
                    <a:pt x="81" y="24"/>
                    <a:pt x="81" y="24"/>
                    <a:pt x="81" y="24"/>
                  </a:cubicBezTo>
                  <a:cubicBezTo>
                    <a:pt x="81" y="24"/>
                    <a:pt x="81" y="24"/>
                    <a:pt x="81" y="24"/>
                  </a:cubicBezTo>
                  <a:cubicBezTo>
                    <a:pt x="81" y="24"/>
                    <a:pt x="81" y="24"/>
                    <a:pt x="81" y="24"/>
                  </a:cubicBezTo>
                  <a:cubicBezTo>
                    <a:pt x="81" y="24"/>
                    <a:pt x="81" y="24"/>
                    <a:pt x="81" y="24"/>
                  </a:cubicBezTo>
                  <a:cubicBezTo>
                    <a:pt x="81" y="24"/>
                    <a:pt x="81" y="24"/>
                    <a:pt x="81" y="24"/>
                  </a:cubicBezTo>
                  <a:cubicBezTo>
                    <a:pt x="81" y="23"/>
                    <a:pt x="81" y="23"/>
                    <a:pt x="81" y="23"/>
                  </a:cubicBezTo>
                  <a:cubicBezTo>
                    <a:pt x="80" y="23"/>
                    <a:pt x="80" y="23"/>
                    <a:pt x="80" y="23"/>
                  </a:cubicBezTo>
                  <a:cubicBezTo>
                    <a:pt x="80" y="24"/>
                    <a:pt x="80" y="24"/>
                    <a:pt x="80" y="24"/>
                  </a:cubicBezTo>
                  <a:cubicBezTo>
                    <a:pt x="79" y="24"/>
                    <a:pt x="79" y="24"/>
                    <a:pt x="79" y="24"/>
                  </a:cubicBezTo>
                  <a:cubicBezTo>
                    <a:pt x="79" y="25"/>
                    <a:pt x="79" y="25"/>
                    <a:pt x="79" y="25"/>
                  </a:cubicBezTo>
                  <a:cubicBezTo>
                    <a:pt x="79" y="25"/>
                    <a:pt x="79" y="25"/>
                    <a:pt x="79" y="25"/>
                  </a:cubicBezTo>
                  <a:cubicBezTo>
                    <a:pt x="79" y="24"/>
                    <a:pt x="79" y="24"/>
                    <a:pt x="79" y="24"/>
                  </a:cubicBezTo>
                  <a:cubicBezTo>
                    <a:pt x="79" y="24"/>
                    <a:pt x="79" y="24"/>
                    <a:pt x="79" y="24"/>
                  </a:cubicBezTo>
                  <a:cubicBezTo>
                    <a:pt x="78" y="23"/>
                    <a:pt x="78" y="23"/>
                    <a:pt x="78" y="23"/>
                  </a:cubicBezTo>
                  <a:cubicBezTo>
                    <a:pt x="78" y="23"/>
                    <a:pt x="78" y="23"/>
                    <a:pt x="78" y="23"/>
                  </a:cubicBezTo>
                  <a:cubicBezTo>
                    <a:pt x="78" y="23"/>
                    <a:pt x="78" y="23"/>
                    <a:pt x="78" y="23"/>
                  </a:cubicBezTo>
                  <a:cubicBezTo>
                    <a:pt x="77" y="23"/>
                    <a:pt x="77" y="23"/>
                    <a:pt x="77" y="23"/>
                  </a:cubicBezTo>
                  <a:cubicBezTo>
                    <a:pt x="77" y="23"/>
                    <a:pt x="77" y="23"/>
                    <a:pt x="77" y="23"/>
                  </a:cubicBezTo>
                  <a:cubicBezTo>
                    <a:pt x="77" y="23"/>
                    <a:pt x="77" y="23"/>
                    <a:pt x="77" y="23"/>
                  </a:cubicBezTo>
                  <a:cubicBezTo>
                    <a:pt x="77" y="23"/>
                    <a:pt x="77" y="23"/>
                    <a:pt x="77" y="23"/>
                  </a:cubicBezTo>
                  <a:cubicBezTo>
                    <a:pt x="77" y="23"/>
                    <a:pt x="77" y="23"/>
                    <a:pt x="77" y="23"/>
                  </a:cubicBezTo>
                  <a:cubicBezTo>
                    <a:pt x="77" y="24"/>
                    <a:pt x="77" y="24"/>
                    <a:pt x="77" y="24"/>
                  </a:cubicBezTo>
                  <a:cubicBezTo>
                    <a:pt x="77" y="24"/>
                    <a:pt x="77" y="24"/>
                    <a:pt x="77" y="24"/>
                  </a:cubicBezTo>
                  <a:cubicBezTo>
                    <a:pt x="77" y="24"/>
                    <a:pt x="77" y="24"/>
                    <a:pt x="77" y="24"/>
                  </a:cubicBezTo>
                  <a:cubicBezTo>
                    <a:pt x="77" y="24"/>
                    <a:pt x="77" y="24"/>
                    <a:pt x="77" y="24"/>
                  </a:cubicBezTo>
                  <a:cubicBezTo>
                    <a:pt x="77" y="24"/>
                    <a:pt x="77" y="24"/>
                    <a:pt x="77" y="24"/>
                  </a:cubicBezTo>
                  <a:cubicBezTo>
                    <a:pt x="77" y="25"/>
                    <a:pt x="77" y="25"/>
                    <a:pt x="77" y="25"/>
                  </a:cubicBezTo>
                  <a:cubicBezTo>
                    <a:pt x="77" y="24"/>
                    <a:pt x="77" y="24"/>
                    <a:pt x="77" y="24"/>
                  </a:cubicBezTo>
                  <a:cubicBezTo>
                    <a:pt x="77" y="24"/>
                    <a:pt x="77" y="24"/>
                    <a:pt x="77" y="24"/>
                  </a:cubicBezTo>
                  <a:cubicBezTo>
                    <a:pt x="77" y="24"/>
                    <a:pt x="77" y="24"/>
                    <a:pt x="77" y="24"/>
                  </a:cubicBezTo>
                  <a:cubicBezTo>
                    <a:pt x="77" y="23"/>
                    <a:pt x="77" y="23"/>
                    <a:pt x="77" y="23"/>
                  </a:cubicBezTo>
                  <a:cubicBezTo>
                    <a:pt x="76" y="23"/>
                    <a:pt x="76" y="23"/>
                    <a:pt x="76" y="23"/>
                  </a:cubicBezTo>
                  <a:cubicBezTo>
                    <a:pt x="76" y="23"/>
                    <a:pt x="76" y="23"/>
                    <a:pt x="76" y="23"/>
                  </a:cubicBezTo>
                  <a:cubicBezTo>
                    <a:pt x="76" y="23"/>
                    <a:pt x="76" y="23"/>
                    <a:pt x="76" y="23"/>
                  </a:cubicBezTo>
                  <a:cubicBezTo>
                    <a:pt x="76" y="23"/>
                    <a:pt x="76" y="23"/>
                    <a:pt x="76" y="23"/>
                  </a:cubicBezTo>
                  <a:cubicBezTo>
                    <a:pt x="76" y="23"/>
                    <a:pt x="76" y="23"/>
                    <a:pt x="76" y="23"/>
                  </a:cubicBezTo>
                  <a:cubicBezTo>
                    <a:pt x="76" y="24"/>
                    <a:pt x="76" y="24"/>
                    <a:pt x="76" y="24"/>
                  </a:cubicBezTo>
                  <a:cubicBezTo>
                    <a:pt x="76" y="23"/>
                    <a:pt x="76" y="23"/>
                    <a:pt x="76" y="23"/>
                  </a:cubicBezTo>
                  <a:cubicBezTo>
                    <a:pt x="76" y="23"/>
                    <a:pt x="76" y="23"/>
                    <a:pt x="76" y="23"/>
                  </a:cubicBezTo>
                  <a:cubicBezTo>
                    <a:pt x="76" y="22"/>
                    <a:pt x="76" y="22"/>
                    <a:pt x="76" y="22"/>
                  </a:cubicBezTo>
                  <a:cubicBezTo>
                    <a:pt x="75" y="22"/>
                    <a:pt x="75" y="22"/>
                    <a:pt x="75" y="22"/>
                  </a:cubicBezTo>
                  <a:cubicBezTo>
                    <a:pt x="74" y="22"/>
                    <a:pt x="74" y="22"/>
                    <a:pt x="74" y="22"/>
                  </a:cubicBezTo>
                  <a:cubicBezTo>
                    <a:pt x="74" y="22"/>
                    <a:pt x="74" y="22"/>
                    <a:pt x="74" y="22"/>
                  </a:cubicBezTo>
                  <a:cubicBezTo>
                    <a:pt x="75" y="21"/>
                    <a:pt x="75" y="21"/>
                    <a:pt x="75" y="21"/>
                  </a:cubicBezTo>
                  <a:cubicBezTo>
                    <a:pt x="75" y="21"/>
                    <a:pt x="75" y="21"/>
                    <a:pt x="75" y="21"/>
                  </a:cubicBezTo>
                  <a:cubicBezTo>
                    <a:pt x="75" y="21"/>
                    <a:pt x="75" y="21"/>
                    <a:pt x="75" y="21"/>
                  </a:cubicBezTo>
                  <a:cubicBezTo>
                    <a:pt x="74" y="21"/>
                    <a:pt x="74" y="21"/>
                    <a:pt x="74" y="21"/>
                  </a:cubicBezTo>
                  <a:cubicBezTo>
                    <a:pt x="74" y="21"/>
                    <a:pt x="74" y="21"/>
                    <a:pt x="74" y="21"/>
                  </a:cubicBezTo>
                  <a:cubicBezTo>
                    <a:pt x="74" y="21"/>
                    <a:pt x="74" y="21"/>
                    <a:pt x="74" y="21"/>
                  </a:cubicBezTo>
                  <a:cubicBezTo>
                    <a:pt x="73" y="21"/>
                    <a:pt x="73" y="21"/>
                    <a:pt x="73" y="21"/>
                  </a:cubicBezTo>
                  <a:cubicBezTo>
                    <a:pt x="73" y="21"/>
                    <a:pt x="73" y="21"/>
                    <a:pt x="73" y="21"/>
                  </a:cubicBezTo>
                  <a:cubicBezTo>
                    <a:pt x="73" y="21"/>
                    <a:pt x="73" y="21"/>
                    <a:pt x="73" y="21"/>
                  </a:cubicBezTo>
                  <a:cubicBezTo>
                    <a:pt x="73" y="21"/>
                    <a:pt x="73" y="21"/>
                    <a:pt x="73" y="21"/>
                  </a:cubicBezTo>
                  <a:cubicBezTo>
                    <a:pt x="73" y="21"/>
                    <a:pt x="73" y="21"/>
                    <a:pt x="73" y="21"/>
                  </a:cubicBezTo>
                  <a:cubicBezTo>
                    <a:pt x="73" y="20"/>
                    <a:pt x="73" y="20"/>
                    <a:pt x="73" y="20"/>
                  </a:cubicBezTo>
                  <a:cubicBezTo>
                    <a:pt x="73" y="20"/>
                    <a:pt x="73" y="20"/>
                    <a:pt x="73" y="20"/>
                  </a:cubicBezTo>
                  <a:cubicBezTo>
                    <a:pt x="73" y="20"/>
                    <a:pt x="73" y="20"/>
                    <a:pt x="73" y="20"/>
                  </a:cubicBezTo>
                  <a:cubicBezTo>
                    <a:pt x="74" y="20"/>
                    <a:pt x="74" y="20"/>
                    <a:pt x="74" y="20"/>
                  </a:cubicBezTo>
                  <a:cubicBezTo>
                    <a:pt x="74" y="20"/>
                    <a:pt x="74" y="20"/>
                    <a:pt x="74" y="20"/>
                  </a:cubicBezTo>
                  <a:cubicBezTo>
                    <a:pt x="74" y="20"/>
                    <a:pt x="74" y="20"/>
                    <a:pt x="74" y="20"/>
                  </a:cubicBezTo>
                  <a:cubicBezTo>
                    <a:pt x="74" y="20"/>
                    <a:pt x="74" y="20"/>
                    <a:pt x="74" y="20"/>
                  </a:cubicBezTo>
                  <a:cubicBezTo>
                    <a:pt x="75" y="19"/>
                    <a:pt x="75" y="19"/>
                    <a:pt x="75" y="19"/>
                  </a:cubicBezTo>
                  <a:cubicBezTo>
                    <a:pt x="75" y="19"/>
                    <a:pt x="75" y="19"/>
                    <a:pt x="75" y="19"/>
                  </a:cubicBezTo>
                  <a:cubicBezTo>
                    <a:pt x="75" y="19"/>
                    <a:pt x="75" y="19"/>
                    <a:pt x="75" y="19"/>
                  </a:cubicBezTo>
                  <a:cubicBezTo>
                    <a:pt x="75" y="19"/>
                    <a:pt x="75" y="19"/>
                    <a:pt x="75" y="19"/>
                  </a:cubicBezTo>
                  <a:cubicBezTo>
                    <a:pt x="74" y="19"/>
                    <a:pt x="74" y="19"/>
                    <a:pt x="74" y="19"/>
                  </a:cubicBezTo>
                  <a:cubicBezTo>
                    <a:pt x="73" y="19"/>
                    <a:pt x="73" y="19"/>
                    <a:pt x="73" y="19"/>
                  </a:cubicBezTo>
                  <a:cubicBezTo>
                    <a:pt x="72" y="19"/>
                    <a:pt x="72" y="19"/>
                    <a:pt x="72" y="19"/>
                  </a:cubicBezTo>
                  <a:cubicBezTo>
                    <a:pt x="72" y="19"/>
                    <a:pt x="72" y="19"/>
                    <a:pt x="72" y="19"/>
                  </a:cubicBezTo>
                  <a:cubicBezTo>
                    <a:pt x="72" y="19"/>
                    <a:pt x="72" y="19"/>
                    <a:pt x="72" y="19"/>
                  </a:cubicBezTo>
                  <a:cubicBezTo>
                    <a:pt x="72" y="19"/>
                    <a:pt x="72" y="19"/>
                    <a:pt x="72" y="19"/>
                  </a:cubicBezTo>
                  <a:cubicBezTo>
                    <a:pt x="73" y="18"/>
                    <a:pt x="73" y="18"/>
                    <a:pt x="73" y="18"/>
                  </a:cubicBezTo>
                  <a:cubicBezTo>
                    <a:pt x="73" y="18"/>
                    <a:pt x="73" y="18"/>
                    <a:pt x="73" y="18"/>
                  </a:cubicBezTo>
                  <a:cubicBezTo>
                    <a:pt x="73" y="18"/>
                    <a:pt x="73" y="18"/>
                    <a:pt x="73" y="18"/>
                  </a:cubicBezTo>
                  <a:cubicBezTo>
                    <a:pt x="73" y="18"/>
                    <a:pt x="73" y="18"/>
                    <a:pt x="73" y="18"/>
                  </a:cubicBezTo>
                  <a:cubicBezTo>
                    <a:pt x="72" y="18"/>
                    <a:pt x="72" y="18"/>
                    <a:pt x="72" y="18"/>
                  </a:cubicBezTo>
                  <a:cubicBezTo>
                    <a:pt x="72" y="17"/>
                    <a:pt x="72" y="17"/>
                    <a:pt x="72" y="17"/>
                  </a:cubicBezTo>
                  <a:cubicBezTo>
                    <a:pt x="72" y="17"/>
                    <a:pt x="72" y="17"/>
                    <a:pt x="72" y="17"/>
                  </a:cubicBezTo>
                  <a:cubicBezTo>
                    <a:pt x="72" y="17"/>
                    <a:pt x="72" y="17"/>
                    <a:pt x="72" y="17"/>
                  </a:cubicBezTo>
                  <a:cubicBezTo>
                    <a:pt x="72" y="17"/>
                    <a:pt x="72" y="17"/>
                    <a:pt x="72" y="17"/>
                  </a:cubicBezTo>
                  <a:cubicBezTo>
                    <a:pt x="72" y="17"/>
                    <a:pt x="72" y="17"/>
                    <a:pt x="72" y="17"/>
                  </a:cubicBezTo>
                  <a:cubicBezTo>
                    <a:pt x="72" y="17"/>
                    <a:pt x="72" y="17"/>
                    <a:pt x="72" y="17"/>
                  </a:cubicBezTo>
                  <a:cubicBezTo>
                    <a:pt x="72" y="17"/>
                    <a:pt x="72" y="17"/>
                    <a:pt x="72" y="17"/>
                  </a:cubicBezTo>
                  <a:cubicBezTo>
                    <a:pt x="71" y="17"/>
                    <a:pt x="71" y="17"/>
                    <a:pt x="71" y="17"/>
                  </a:cubicBezTo>
                  <a:cubicBezTo>
                    <a:pt x="72" y="17"/>
                    <a:pt x="72" y="17"/>
                    <a:pt x="72" y="17"/>
                  </a:cubicBezTo>
                  <a:cubicBezTo>
                    <a:pt x="73" y="16"/>
                    <a:pt x="73" y="16"/>
                    <a:pt x="73" y="16"/>
                  </a:cubicBezTo>
                  <a:cubicBezTo>
                    <a:pt x="74" y="16"/>
                    <a:pt x="74" y="16"/>
                    <a:pt x="74" y="16"/>
                  </a:cubicBezTo>
                  <a:cubicBezTo>
                    <a:pt x="74" y="16"/>
                    <a:pt x="74" y="16"/>
                    <a:pt x="74" y="16"/>
                  </a:cubicBezTo>
                  <a:cubicBezTo>
                    <a:pt x="74" y="16"/>
                    <a:pt x="74" y="16"/>
                    <a:pt x="74" y="16"/>
                  </a:cubicBezTo>
                  <a:cubicBezTo>
                    <a:pt x="74" y="15"/>
                    <a:pt x="74" y="15"/>
                    <a:pt x="74" y="15"/>
                  </a:cubicBezTo>
                  <a:cubicBezTo>
                    <a:pt x="74" y="15"/>
                    <a:pt x="74" y="15"/>
                    <a:pt x="74" y="15"/>
                  </a:cubicBezTo>
                  <a:cubicBezTo>
                    <a:pt x="74" y="15"/>
                    <a:pt x="74" y="15"/>
                    <a:pt x="74" y="15"/>
                  </a:cubicBezTo>
                  <a:cubicBezTo>
                    <a:pt x="75" y="15"/>
                    <a:pt x="75" y="15"/>
                    <a:pt x="75" y="15"/>
                  </a:cubicBezTo>
                  <a:cubicBezTo>
                    <a:pt x="75" y="15"/>
                    <a:pt x="75" y="15"/>
                    <a:pt x="75" y="15"/>
                  </a:cubicBezTo>
                  <a:cubicBezTo>
                    <a:pt x="74" y="15"/>
                    <a:pt x="74" y="15"/>
                    <a:pt x="74" y="15"/>
                  </a:cubicBezTo>
                  <a:cubicBezTo>
                    <a:pt x="74" y="15"/>
                    <a:pt x="74" y="15"/>
                    <a:pt x="74" y="15"/>
                  </a:cubicBezTo>
                  <a:cubicBezTo>
                    <a:pt x="74" y="15"/>
                    <a:pt x="74" y="15"/>
                    <a:pt x="74" y="15"/>
                  </a:cubicBezTo>
                  <a:cubicBezTo>
                    <a:pt x="74" y="15"/>
                    <a:pt x="74" y="15"/>
                    <a:pt x="74" y="15"/>
                  </a:cubicBezTo>
                  <a:cubicBezTo>
                    <a:pt x="74" y="14"/>
                    <a:pt x="74" y="14"/>
                    <a:pt x="74" y="14"/>
                  </a:cubicBezTo>
                  <a:cubicBezTo>
                    <a:pt x="73" y="14"/>
                    <a:pt x="73" y="14"/>
                    <a:pt x="73" y="14"/>
                  </a:cubicBezTo>
                  <a:cubicBezTo>
                    <a:pt x="73" y="14"/>
                    <a:pt x="73" y="14"/>
                    <a:pt x="73" y="14"/>
                  </a:cubicBezTo>
                  <a:cubicBezTo>
                    <a:pt x="72" y="14"/>
                    <a:pt x="72" y="14"/>
                    <a:pt x="72" y="14"/>
                  </a:cubicBezTo>
                  <a:cubicBezTo>
                    <a:pt x="72" y="13"/>
                    <a:pt x="72" y="13"/>
                    <a:pt x="72" y="13"/>
                  </a:cubicBezTo>
                  <a:cubicBezTo>
                    <a:pt x="72" y="13"/>
                    <a:pt x="72" y="13"/>
                    <a:pt x="72" y="13"/>
                  </a:cubicBezTo>
                  <a:cubicBezTo>
                    <a:pt x="71" y="13"/>
                    <a:pt x="71" y="13"/>
                    <a:pt x="71" y="13"/>
                  </a:cubicBezTo>
                  <a:cubicBezTo>
                    <a:pt x="70" y="13"/>
                    <a:pt x="70" y="13"/>
                    <a:pt x="70" y="13"/>
                  </a:cubicBezTo>
                  <a:cubicBezTo>
                    <a:pt x="69" y="13"/>
                    <a:pt x="69" y="13"/>
                    <a:pt x="69" y="13"/>
                  </a:cubicBezTo>
                  <a:cubicBezTo>
                    <a:pt x="69" y="13"/>
                    <a:pt x="69" y="13"/>
                    <a:pt x="69" y="13"/>
                  </a:cubicBezTo>
                  <a:cubicBezTo>
                    <a:pt x="69" y="13"/>
                    <a:pt x="69" y="13"/>
                    <a:pt x="69" y="13"/>
                  </a:cubicBezTo>
                  <a:cubicBezTo>
                    <a:pt x="70" y="14"/>
                    <a:pt x="70" y="14"/>
                    <a:pt x="70" y="14"/>
                  </a:cubicBezTo>
                  <a:cubicBezTo>
                    <a:pt x="70" y="14"/>
                    <a:pt x="70" y="14"/>
                    <a:pt x="70" y="14"/>
                  </a:cubicBezTo>
                  <a:cubicBezTo>
                    <a:pt x="70" y="14"/>
                    <a:pt x="70" y="14"/>
                    <a:pt x="70" y="14"/>
                  </a:cubicBezTo>
                  <a:cubicBezTo>
                    <a:pt x="70" y="14"/>
                    <a:pt x="70" y="14"/>
                    <a:pt x="70" y="14"/>
                  </a:cubicBezTo>
                  <a:cubicBezTo>
                    <a:pt x="70" y="14"/>
                    <a:pt x="70" y="14"/>
                    <a:pt x="70" y="14"/>
                  </a:cubicBezTo>
                  <a:cubicBezTo>
                    <a:pt x="70" y="14"/>
                    <a:pt x="70" y="14"/>
                    <a:pt x="70" y="14"/>
                  </a:cubicBezTo>
                  <a:cubicBezTo>
                    <a:pt x="70" y="15"/>
                    <a:pt x="70" y="15"/>
                    <a:pt x="70" y="15"/>
                  </a:cubicBezTo>
                  <a:cubicBezTo>
                    <a:pt x="70" y="15"/>
                    <a:pt x="70" y="15"/>
                    <a:pt x="70" y="15"/>
                  </a:cubicBezTo>
                  <a:cubicBezTo>
                    <a:pt x="70" y="15"/>
                    <a:pt x="70" y="15"/>
                    <a:pt x="70" y="15"/>
                  </a:cubicBezTo>
                  <a:cubicBezTo>
                    <a:pt x="70" y="15"/>
                    <a:pt x="70" y="15"/>
                    <a:pt x="70" y="15"/>
                  </a:cubicBezTo>
                  <a:cubicBezTo>
                    <a:pt x="70" y="15"/>
                    <a:pt x="70" y="15"/>
                    <a:pt x="70" y="15"/>
                  </a:cubicBezTo>
                  <a:cubicBezTo>
                    <a:pt x="70" y="16"/>
                    <a:pt x="70" y="16"/>
                    <a:pt x="70" y="16"/>
                  </a:cubicBezTo>
                  <a:cubicBezTo>
                    <a:pt x="70" y="16"/>
                    <a:pt x="70" y="16"/>
                    <a:pt x="70" y="16"/>
                  </a:cubicBezTo>
                  <a:cubicBezTo>
                    <a:pt x="69" y="16"/>
                    <a:pt x="69" y="16"/>
                    <a:pt x="69" y="16"/>
                  </a:cubicBezTo>
                  <a:cubicBezTo>
                    <a:pt x="69" y="16"/>
                    <a:pt x="69" y="16"/>
                    <a:pt x="69" y="16"/>
                  </a:cubicBezTo>
                  <a:cubicBezTo>
                    <a:pt x="69" y="16"/>
                    <a:pt x="69" y="16"/>
                    <a:pt x="69" y="16"/>
                  </a:cubicBezTo>
                  <a:cubicBezTo>
                    <a:pt x="69" y="16"/>
                    <a:pt x="69" y="16"/>
                    <a:pt x="69" y="16"/>
                  </a:cubicBezTo>
                  <a:cubicBezTo>
                    <a:pt x="68" y="16"/>
                    <a:pt x="68" y="16"/>
                    <a:pt x="68" y="16"/>
                  </a:cubicBezTo>
                  <a:cubicBezTo>
                    <a:pt x="67" y="16"/>
                    <a:pt x="67" y="16"/>
                    <a:pt x="67" y="16"/>
                  </a:cubicBezTo>
                  <a:cubicBezTo>
                    <a:pt x="67" y="16"/>
                    <a:pt x="67" y="16"/>
                    <a:pt x="67" y="16"/>
                  </a:cubicBezTo>
                  <a:cubicBezTo>
                    <a:pt x="66" y="17"/>
                    <a:pt x="66" y="17"/>
                    <a:pt x="66" y="17"/>
                  </a:cubicBezTo>
                  <a:cubicBezTo>
                    <a:pt x="67" y="16"/>
                    <a:pt x="67" y="16"/>
                    <a:pt x="67" y="16"/>
                  </a:cubicBezTo>
                  <a:cubicBezTo>
                    <a:pt x="67" y="16"/>
                    <a:pt x="67" y="16"/>
                    <a:pt x="67" y="16"/>
                  </a:cubicBezTo>
                  <a:cubicBezTo>
                    <a:pt x="67" y="16"/>
                    <a:pt x="67" y="16"/>
                    <a:pt x="67" y="16"/>
                  </a:cubicBezTo>
                  <a:cubicBezTo>
                    <a:pt x="68" y="16"/>
                    <a:pt x="68" y="16"/>
                    <a:pt x="68" y="16"/>
                  </a:cubicBezTo>
                  <a:cubicBezTo>
                    <a:pt x="68" y="16"/>
                    <a:pt x="68" y="16"/>
                    <a:pt x="68" y="16"/>
                  </a:cubicBezTo>
                  <a:cubicBezTo>
                    <a:pt x="69" y="16"/>
                    <a:pt x="69" y="16"/>
                    <a:pt x="69" y="16"/>
                  </a:cubicBezTo>
                  <a:cubicBezTo>
                    <a:pt x="69" y="16"/>
                    <a:pt x="69" y="16"/>
                    <a:pt x="69" y="16"/>
                  </a:cubicBezTo>
                  <a:cubicBezTo>
                    <a:pt x="69" y="15"/>
                    <a:pt x="69" y="15"/>
                    <a:pt x="69" y="15"/>
                  </a:cubicBezTo>
                  <a:cubicBezTo>
                    <a:pt x="69" y="14"/>
                    <a:pt x="69" y="14"/>
                    <a:pt x="69" y="14"/>
                  </a:cubicBezTo>
                  <a:cubicBezTo>
                    <a:pt x="69" y="14"/>
                    <a:pt x="69" y="14"/>
                    <a:pt x="69" y="14"/>
                  </a:cubicBezTo>
                  <a:cubicBezTo>
                    <a:pt x="69" y="14"/>
                    <a:pt x="69" y="14"/>
                    <a:pt x="69" y="14"/>
                  </a:cubicBezTo>
                  <a:cubicBezTo>
                    <a:pt x="69" y="14"/>
                    <a:pt x="69" y="14"/>
                    <a:pt x="69" y="14"/>
                  </a:cubicBezTo>
                  <a:cubicBezTo>
                    <a:pt x="69" y="14"/>
                    <a:pt x="69" y="14"/>
                    <a:pt x="69" y="14"/>
                  </a:cubicBezTo>
                  <a:cubicBezTo>
                    <a:pt x="69" y="14"/>
                    <a:pt x="69" y="14"/>
                    <a:pt x="69" y="14"/>
                  </a:cubicBezTo>
                  <a:cubicBezTo>
                    <a:pt x="69" y="13"/>
                    <a:pt x="69" y="13"/>
                    <a:pt x="69" y="13"/>
                  </a:cubicBezTo>
                  <a:cubicBezTo>
                    <a:pt x="68" y="13"/>
                    <a:pt x="68" y="13"/>
                    <a:pt x="68" y="13"/>
                  </a:cubicBezTo>
                  <a:cubicBezTo>
                    <a:pt x="68" y="13"/>
                    <a:pt x="68" y="13"/>
                    <a:pt x="68" y="13"/>
                  </a:cubicBezTo>
                  <a:cubicBezTo>
                    <a:pt x="68" y="13"/>
                    <a:pt x="68" y="13"/>
                    <a:pt x="68" y="13"/>
                  </a:cubicBezTo>
                  <a:cubicBezTo>
                    <a:pt x="68" y="13"/>
                    <a:pt x="68" y="13"/>
                    <a:pt x="68" y="13"/>
                  </a:cubicBezTo>
                  <a:cubicBezTo>
                    <a:pt x="67" y="13"/>
                    <a:pt x="67" y="13"/>
                    <a:pt x="67" y="13"/>
                  </a:cubicBezTo>
                  <a:cubicBezTo>
                    <a:pt x="67" y="13"/>
                    <a:pt x="67" y="13"/>
                    <a:pt x="67" y="13"/>
                  </a:cubicBezTo>
                  <a:cubicBezTo>
                    <a:pt x="67" y="13"/>
                    <a:pt x="67" y="13"/>
                    <a:pt x="67" y="13"/>
                  </a:cubicBezTo>
                  <a:cubicBezTo>
                    <a:pt x="67" y="13"/>
                    <a:pt x="67" y="13"/>
                    <a:pt x="67" y="13"/>
                  </a:cubicBezTo>
                  <a:cubicBezTo>
                    <a:pt x="67" y="13"/>
                    <a:pt x="67" y="13"/>
                    <a:pt x="67" y="13"/>
                  </a:cubicBezTo>
                  <a:cubicBezTo>
                    <a:pt x="67" y="13"/>
                    <a:pt x="67" y="13"/>
                    <a:pt x="67" y="13"/>
                  </a:cubicBezTo>
                  <a:cubicBezTo>
                    <a:pt x="66" y="13"/>
                    <a:pt x="66" y="13"/>
                    <a:pt x="66" y="13"/>
                  </a:cubicBezTo>
                  <a:cubicBezTo>
                    <a:pt x="66" y="13"/>
                    <a:pt x="66" y="13"/>
                    <a:pt x="66" y="13"/>
                  </a:cubicBezTo>
                  <a:cubicBezTo>
                    <a:pt x="66" y="12"/>
                    <a:pt x="66" y="12"/>
                    <a:pt x="66" y="12"/>
                  </a:cubicBezTo>
                  <a:cubicBezTo>
                    <a:pt x="67" y="12"/>
                    <a:pt x="67" y="12"/>
                    <a:pt x="67" y="12"/>
                  </a:cubicBezTo>
                  <a:cubicBezTo>
                    <a:pt x="66" y="12"/>
                    <a:pt x="66" y="12"/>
                    <a:pt x="66" y="12"/>
                  </a:cubicBezTo>
                  <a:cubicBezTo>
                    <a:pt x="66" y="12"/>
                    <a:pt x="66" y="12"/>
                    <a:pt x="66" y="12"/>
                  </a:cubicBezTo>
                  <a:cubicBezTo>
                    <a:pt x="66" y="12"/>
                    <a:pt x="66" y="12"/>
                    <a:pt x="66" y="12"/>
                  </a:cubicBezTo>
                  <a:cubicBezTo>
                    <a:pt x="67" y="12"/>
                    <a:pt x="67" y="12"/>
                    <a:pt x="67" y="12"/>
                  </a:cubicBezTo>
                  <a:cubicBezTo>
                    <a:pt x="67" y="12"/>
                    <a:pt x="67" y="12"/>
                    <a:pt x="67" y="12"/>
                  </a:cubicBezTo>
                  <a:cubicBezTo>
                    <a:pt x="67" y="11"/>
                    <a:pt x="67" y="11"/>
                    <a:pt x="67" y="11"/>
                  </a:cubicBezTo>
                  <a:cubicBezTo>
                    <a:pt x="66" y="11"/>
                    <a:pt x="66" y="11"/>
                    <a:pt x="66" y="11"/>
                  </a:cubicBezTo>
                  <a:cubicBezTo>
                    <a:pt x="66" y="11"/>
                    <a:pt x="66" y="11"/>
                    <a:pt x="66" y="11"/>
                  </a:cubicBezTo>
                  <a:cubicBezTo>
                    <a:pt x="66" y="11"/>
                    <a:pt x="66" y="11"/>
                    <a:pt x="66" y="11"/>
                  </a:cubicBezTo>
                  <a:cubicBezTo>
                    <a:pt x="66" y="11"/>
                    <a:pt x="66" y="11"/>
                    <a:pt x="66" y="11"/>
                  </a:cubicBezTo>
                  <a:cubicBezTo>
                    <a:pt x="66" y="10"/>
                    <a:pt x="66" y="10"/>
                    <a:pt x="66" y="10"/>
                  </a:cubicBezTo>
                  <a:cubicBezTo>
                    <a:pt x="65" y="10"/>
                    <a:pt x="65" y="10"/>
                    <a:pt x="65" y="10"/>
                  </a:cubicBezTo>
                  <a:cubicBezTo>
                    <a:pt x="64" y="10"/>
                    <a:pt x="64" y="10"/>
                    <a:pt x="64" y="10"/>
                  </a:cubicBezTo>
                  <a:cubicBezTo>
                    <a:pt x="62" y="10"/>
                    <a:pt x="62" y="10"/>
                    <a:pt x="62" y="10"/>
                  </a:cubicBezTo>
                  <a:cubicBezTo>
                    <a:pt x="62" y="10"/>
                    <a:pt x="62" y="10"/>
                    <a:pt x="62" y="10"/>
                  </a:cubicBezTo>
                  <a:cubicBezTo>
                    <a:pt x="61" y="10"/>
                    <a:pt x="61" y="10"/>
                    <a:pt x="61" y="10"/>
                  </a:cubicBezTo>
                  <a:cubicBezTo>
                    <a:pt x="61" y="10"/>
                    <a:pt x="61" y="10"/>
                    <a:pt x="61" y="10"/>
                  </a:cubicBezTo>
                  <a:cubicBezTo>
                    <a:pt x="61" y="10"/>
                    <a:pt x="61" y="10"/>
                    <a:pt x="61" y="10"/>
                  </a:cubicBezTo>
                  <a:cubicBezTo>
                    <a:pt x="61" y="11"/>
                    <a:pt x="61" y="11"/>
                    <a:pt x="61" y="11"/>
                  </a:cubicBezTo>
                  <a:cubicBezTo>
                    <a:pt x="61" y="11"/>
                    <a:pt x="61" y="11"/>
                    <a:pt x="61" y="11"/>
                  </a:cubicBezTo>
                  <a:cubicBezTo>
                    <a:pt x="62" y="12"/>
                    <a:pt x="62" y="12"/>
                    <a:pt x="62" y="12"/>
                  </a:cubicBezTo>
                  <a:cubicBezTo>
                    <a:pt x="62" y="13"/>
                    <a:pt x="62" y="13"/>
                    <a:pt x="62" y="13"/>
                  </a:cubicBezTo>
                  <a:cubicBezTo>
                    <a:pt x="62" y="13"/>
                    <a:pt x="62" y="13"/>
                    <a:pt x="62" y="13"/>
                  </a:cubicBezTo>
                  <a:cubicBezTo>
                    <a:pt x="61" y="12"/>
                    <a:pt x="61" y="12"/>
                    <a:pt x="61" y="12"/>
                  </a:cubicBezTo>
                  <a:cubicBezTo>
                    <a:pt x="61" y="11"/>
                    <a:pt x="61" y="11"/>
                    <a:pt x="61" y="11"/>
                  </a:cubicBezTo>
                  <a:cubicBezTo>
                    <a:pt x="61" y="11"/>
                    <a:pt x="61" y="11"/>
                    <a:pt x="61" y="11"/>
                  </a:cubicBezTo>
                  <a:cubicBezTo>
                    <a:pt x="60" y="12"/>
                    <a:pt x="60" y="12"/>
                    <a:pt x="60" y="12"/>
                  </a:cubicBezTo>
                  <a:cubicBezTo>
                    <a:pt x="60" y="13"/>
                    <a:pt x="60" y="13"/>
                    <a:pt x="60" y="13"/>
                  </a:cubicBezTo>
                  <a:cubicBezTo>
                    <a:pt x="60" y="13"/>
                    <a:pt x="60" y="13"/>
                    <a:pt x="60" y="13"/>
                  </a:cubicBezTo>
                  <a:cubicBezTo>
                    <a:pt x="60" y="11"/>
                    <a:pt x="60" y="11"/>
                    <a:pt x="60" y="11"/>
                  </a:cubicBezTo>
                  <a:cubicBezTo>
                    <a:pt x="60" y="11"/>
                    <a:pt x="60" y="11"/>
                    <a:pt x="60" y="11"/>
                  </a:cubicBezTo>
                  <a:cubicBezTo>
                    <a:pt x="60" y="10"/>
                    <a:pt x="60" y="10"/>
                    <a:pt x="60" y="10"/>
                  </a:cubicBezTo>
                  <a:cubicBezTo>
                    <a:pt x="60" y="10"/>
                    <a:pt x="60" y="10"/>
                    <a:pt x="60" y="10"/>
                  </a:cubicBezTo>
                  <a:cubicBezTo>
                    <a:pt x="60" y="10"/>
                    <a:pt x="60" y="10"/>
                    <a:pt x="60" y="10"/>
                  </a:cubicBezTo>
                  <a:cubicBezTo>
                    <a:pt x="60" y="10"/>
                    <a:pt x="60" y="10"/>
                    <a:pt x="60" y="10"/>
                  </a:cubicBezTo>
                  <a:cubicBezTo>
                    <a:pt x="61" y="9"/>
                    <a:pt x="61" y="9"/>
                    <a:pt x="61" y="9"/>
                  </a:cubicBezTo>
                  <a:cubicBezTo>
                    <a:pt x="61" y="9"/>
                    <a:pt x="61" y="9"/>
                    <a:pt x="61" y="9"/>
                  </a:cubicBezTo>
                  <a:cubicBezTo>
                    <a:pt x="61" y="9"/>
                    <a:pt x="61" y="9"/>
                    <a:pt x="61" y="9"/>
                  </a:cubicBezTo>
                  <a:cubicBezTo>
                    <a:pt x="61" y="8"/>
                    <a:pt x="61" y="8"/>
                    <a:pt x="61" y="8"/>
                  </a:cubicBezTo>
                  <a:cubicBezTo>
                    <a:pt x="61" y="8"/>
                    <a:pt x="61" y="8"/>
                    <a:pt x="61" y="8"/>
                  </a:cubicBezTo>
                  <a:cubicBezTo>
                    <a:pt x="61" y="8"/>
                    <a:pt x="61" y="8"/>
                    <a:pt x="61" y="8"/>
                  </a:cubicBezTo>
                  <a:cubicBezTo>
                    <a:pt x="60" y="8"/>
                    <a:pt x="60" y="8"/>
                    <a:pt x="60" y="8"/>
                  </a:cubicBezTo>
                  <a:cubicBezTo>
                    <a:pt x="60" y="7"/>
                    <a:pt x="60" y="7"/>
                    <a:pt x="60" y="7"/>
                  </a:cubicBezTo>
                  <a:cubicBezTo>
                    <a:pt x="61" y="7"/>
                    <a:pt x="61" y="7"/>
                    <a:pt x="61" y="7"/>
                  </a:cubicBezTo>
                  <a:cubicBezTo>
                    <a:pt x="60" y="7"/>
                    <a:pt x="60" y="7"/>
                    <a:pt x="60" y="7"/>
                  </a:cubicBezTo>
                  <a:cubicBezTo>
                    <a:pt x="60" y="7"/>
                    <a:pt x="60" y="7"/>
                    <a:pt x="60" y="7"/>
                  </a:cubicBezTo>
                  <a:cubicBezTo>
                    <a:pt x="60" y="7"/>
                    <a:pt x="60" y="7"/>
                    <a:pt x="60" y="7"/>
                  </a:cubicBezTo>
                  <a:cubicBezTo>
                    <a:pt x="60" y="7"/>
                    <a:pt x="60" y="7"/>
                    <a:pt x="60" y="7"/>
                  </a:cubicBezTo>
                  <a:cubicBezTo>
                    <a:pt x="60" y="6"/>
                    <a:pt x="60" y="6"/>
                    <a:pt x="60" y="6"/>
                  </a:cubicBezTo>
                  <a:cubicBezTo>
                    <a:pt x="60" y="6"/>
                    <a:pt x="60" y="6"/>
                    <a:pt x="60" y="6"/>
                  </a:cubicBezTo>
                  <a:cubicBezTo>
                    <a:pt x="59" y="6"/>
                    <a:pt x="59" y="6"/>
                    <a:pt x="59" y="6"/>
                  </a:cubicBezTo>
                  <a:cubicBezTo>
                    <a:pt x="59" y="5"/>
                    <a:pt x="59" y="5"/>
                    <a:pt x="59" y="5"/>
                  </a:cubicBezTo>
                  <a:cubicBezTo>
                    <a:pt x="59" y="5"/>
                    <a:pt x="59" y="5"/>
                    <a:pt x="59" y="5"/>
                  </a:cubicBezTo>
                  <a:cubicBezTo>
                    <a:pt x="58" y="5"/>
                    <a:pt x="58" y="5"/>
                    <a:pt x="58" y="5"/>
                  </a:cubicBezTo>
                  <a:cubicBezTo>
                    <a:pt x="58" y="6"/>
                    <a:pt x="58" y="6"/>
                    <a:pt x="58" y="6"/>
                  </a:cubicBezTo>
                  <a:cubicBezTo>
                    <a:pt x="58" y="6"/>
                    <a:pt x="58" y="6"/>
                    <a:pt x="58" y="6"/>
                  </a:cubicBezTo>
                  <a:cubicBezTo>
                    <a:pt x="58" y="6"/>
                    <a:pt x="58" y="6"/>
                    <a:pt x="58" y="6"/>
                  </a:cubicBezTo>
                  <a:cubicBezTo>
                    <a:pt x="58" y="6"/>
                    <a:pt x="58" y="6"/>
                    <a:pt x="58" y="6"/>
                  </a:cubicBezTo>
                  <a:cubicBezTo>
                    <a:pt x="58" y="6"/>
                    <a:pt x="58" y="6"/>
                    <a:pt x="58" y="6"/>
                  </a:cubicBezTo>
                  <a:cubicBezTo>
                    <a:pt x="56" y="7"/>
                    <a:pt x="56" y="7"/>
                    <a:pt x="56" y="7"/>
                  </a:cubicBezTo>
                  <a:cubicBezTo>
                    <a:pt x="57" y="6"/>
                    <a:pt x="57" y="6"/>
                    <a:pt x="57" y="6"/>
                  </a:cubicBezTo>
                  <a:cubicBezTo>
                    <a:pt x="57" y="6"/>
                    <a:pt x="57" y="6"/>
                    <a:pt x="57" y="6"/>
                  </a:cubicBezTo>
                  <a:cubicBezTo>
                    <a:pt x="57" y="6"/>
                    <a:pt x="57" y="6"/>
                    <a:pt x="57" y="6"/>
                  </a:cubicBezTo>
                  <a:cubicBezTo>
                    <a:pt x="57" y="6"/>
                    <a:pt x="57" y="6"/>
                    <a:pt x="57" y="6"/>
                  </a:cubicBezTo>
                  <a:cubicBezTo>
                    <a:pt x="56" y="6"/>
                    <a:pt x="56" y="6"/>
                    <a:pt x="56" y="6"/>
                  </a:cubicBezTo>
                  <a:cubicBezTo>
                    <a:pt x="56" y="5"/>
                    <a:pt x="56" y="5"/>
                    <a:pt x="56" y="5"/>
                  </a:cubicBezTo>
                  <a:cubicBezTo>
                    <a:pt x="55" y="5"/>
                    <a:pt x="55" y="5"/>
                    <a:pt x="55" y="5"/>
                  </a:cubicBezTo>
                  <a:cubicBezTo>
                    <a:pt x="55" y="5"/>
                    <a:pt x="55" y="5"/>
                    <a:pt x="55" y="5"/>
                  </a:cubicBezTo>
                  <a:cubicBezTo>
                    <a:pt x="55" y="5"/>
                    <a:pt x="55" y="5"/>
                    <a:pt x="55" y="5"/>
                  </a:cubicBezTo>
                  <a:cubicBezTo>
                    <a:pt x="55" y="5"/>
                    <a:pt x="55" y="5"/>
                    <a:pt x="55" y="5"/>
                  </a:cubicBezTo>
                  <a:cubicBezTo>
                    <a:pt x="55" y="5"/>
                    <a:pt x="55" y="5"/>
                    <a:pt x="55" y="5"/>
                  </a:cubicBezTo>
                  <a:cubicBezTo>
                    <a:pt x="54" y="5"/>
                    <a:pt x="54" y="5"/>
                    <a:pt x="54" y="5"/>
                  </a:cubicBezTo>
                  <a:cubicBezTo>
                    <a:pt x="53" y="4"/>
                    <a:pt x="53" y="4"/>
                    <a:pt x="53" y="4"/>
                  </a:cubicBezTo>
                  <a:cubicBezTo>
                    <a:pt x="53" y="4"/>
                    <a:pt x="53" y="4"/>
                    <a:pt x="53" y="4"/>
                  </a:cubicBezTo>
                  <a:cubicBezTo>
                    <a:pt x="53" y="3"/>
                    <a:pt x="53" y="3"/>
                    <a:pt x="53" y="3"/>
                  </a:cubicBezTo>
                  <a:cubicBezTo>
                    <a:pt x="53" y="3"/>
                    <a:pt x="53" y="3"/>
                    <a:pt x="53" y="3"/>
                  </a:cubicBezTo>
                  <a:cubicBezTo>
                    <a:pt x="52" y="3"/>
                    <a:pt x="52" y="3"/>
                    <a:pt x="52" y="3"/>
                  </a:cubicBezTo>
                  <a:cubicBezTo>
                    <a:pt x="51" y="3"/>
                    <a:pt x="51" y="3"/>
                    <a:pt x="51" y="3"/>
                  </a:cubicBezTo>
                  <a:cubicBezTo>
                    <a:pt x="51" y="3"/>
                    <a:pt x="51" y="3"/>
                    <a:pt x="51" y="3"/>
                  </a:cubicBezTo>
                  <a:cubicBezTo>
                    <a:pt x="51" y="2"/>
                    <a:pt x="51" y="2"/>
                    <a:pt x="51" y="2"/>
                  </a:cubicBezTo>
                  <a:cubicBezTo>
                    <a:pt x="51" y="2"/>
                    <a:pt x="51" y="2"/>
                    <a:pt x="51" y="2"/>
                  </a:cubicBezTo>
                  <a:cubicBezTo>
                    <a:pt x="50" y="2"/>
                    <a:pt x="50" y="2"/>
                    <a:pt x="50" y="2"/>
                  </a:cubicBezTo>
                  <a:cubicBezTo>
                    <a:pt x="50" y="2"/>
                    <a:pt x="50" y="2"/>
                    <a:pt x="50" y="2"/>
                  </a:cubicBezTo>
                  <a:cubicBezTo>
                    <a:pt x="50" y="2"/>
                    <a:pt x="50" y="2"/>
                    <a:pt x="50" y="2"/>
                  </a:cubicBezTo>
                  <a:cubicBezTo>
                    <a:pt x="50" y="2"/>
                    <a:pt x="50" y="2"/>
                    <a:pt x="50" y="2"/>
                  </a:cubicBezTo>
                  <a:cubicBezTo>
                    <a:pt x="50" y="2"/>
                    <a:pt x="50" y="2"/>
                    <a:pt x="50" y="2"/>
                  </a:cubicBezTo>
                  <a:cubicBezTo>
                    <a:pt x="49" y="2"/>
                    <a:pt x="49" y="2"/>
                    <a:pt x="49" y="2"/>
                  </a:cubicBezTo>
                  <a:cubicBezTo>
                    <a:pt x="49" y="2"/>
                    <a:pt x="49" y="2"/>
                    <a:pt x="49" y="2"/>
                  </a:cubicBezTo>
                  <a:cubicBezTo>
                    <a:pt x="49" y="2"/>
                    <a:pt x="49" y="2"/>
                    <a:pt x="49" y="2"/>
                  </a:cubicBezTo>
                  <a:cubicBezTo>
                    <a:pt x="49" y="2"/>
                    <a:pt x="49" y="2"/>
                    <a:pt x="49" y="2"/>
                  </a:cubicBezTo>
                  <a:cubicBezTo>
                    <a:pt x="49" y="2"/>
                    <a:pt x="49" y="2"/>
                    <a:pt x="49" y="2"/>
                  </a:cubicBezTo>
                  <a:cubicBezTo>
                    <a:pt x="49" y="2"/>
                    <a:pt x="49" y="2"/>
                    <a:pt x="49" y="2"/>
                  </a:cubicBezTo>
                  <a:cubicBezTo>
                    <a:pt x="48" y="2"/>
                    <a:pt x="48" y="2"/>
                    <a:pt x="48" y="2"/>
                  </a:cubicBezTo>
                  <a:cubicBezTo>
                    <a:pt x="48" y="2"/>
                    <a:pt x="48" y="2"/>
                    <a:pt x="48" y="2"/>
                  </a:cubicBezTo>
                  <a:cubicBezTo>
                    <a:pt x="47" y="1"/>
                    <a:pt x="47" y="1"/>
                    <a:pt x="47" y="1"/>
                  </a:cubicBezTo>
                  <a:cubicBezTo>
                    <a:pt x="47" y="0"/>
                    <a:pt x="47" y="0"/>
                    <a:pt x="47" y="0"/>
                  </a:cubicBezTo>
                  <a:cubicBezTo>
                    <a:pt x="47" y="0"/>
                    <a:pt x="47" y="0"/>
                    <a:pt x="47" y="0"/>
                  </a:cubicBezTo>
                  <a:cubicBezTo>
                    <a:pt x="47" y="0"/>
                    <a:pt x="47" y="0"/>
                    <a:pt x="47" y="0"/>
                  </a:cubicBezTo>
                  <a:cubicBezTo>
                    <a:pt x="46" y="1"/>
                    <a:pt x="46" y="1"/>
                    <a:pt x="46" y="1"/>
                  </a:cubicBezTo>
                  <a:cubicBezTo>
                    <a:pt x="45" y="1"/>
                    <a:pt x="45" y="1"/>
                    <a:pt x="45" y="1"/>
                  </a:cubicBezTo>
                  <a:cubicBezTo>
                    <a:pt x="45" y="1"/>
                    <a:pt x="45" y="1"/>
                    <a:pt x="45" y="1"/>
                  </a:cubicBezTo>
                  <a:cubicBezTo>
                    <a:pt x="45" y="2"/>
                    <a:pt x="45" y="2"/>
                    <a:pt x="45" y="2"/>
                  </a:cubicBezTo>
                  <a:cubicBezTo>
                    <a:pt x="45" y="2"/>
                    <a:pt x="45" y="2"/>
                    <a:pt x="45" y="2"/>
                  </a:cubicBezTo>
                  <a:cubicBezTo>
                    <a:pt x="44" y="2"/>
                    <a:pt x="44" y="2"/>
                    <a:pt x="44" y="2"/>
                  </a:cubicBezTo>
                  <a:cubicBezTo>
                    <a:pt x="44" y="3"/>
                    <a:pt x="44" y="3"/>
                    <a:pt x="44" y="3"/>
                  </a:cubicBezTo>
                  <a:cubicBezTo>
                    <a:pt x="44" y="3"/>
                    <a:pt x="44" y="3"/>
                    <a:pt x="44" y="3"/>
                  </a:cubicBezTo>
                  <a:cubicBezTo>
                    <a:pt x="44" y="4"/>
                    <a:pt x="44" y="4"/>
                    <a:pt x="44" y="4"/>
                  </a:cubicBezTo>
                  <a:cubicBezTo>
                    <a:pt x="44" y="4"/>
                    <a:pt x="44" y="4"/>
                    <a:pt x="44" y="4"/>
                  </a:cubicBezTo>
                  <a:cubicBezTo>
                    <a:pt x="43" y="4"/>
                    <a:pt x="43" y="4"/>
                    <a:pt x="43" y="4"/>
                  </a:cubicBezTo>
                  <a:cubicBezTo>
                    <a:pt x="43" y="5"/>
                    <a:pt x="43" y="5"/>
                    <a:pt x="43" y="5"/>
                  </a:cubicBezTo>
                  <a:cubicBezTo>
                    <a:pt x="43" y="5"/>
                    <a:pt x="43" y="5"/>
                    <a:pt x="43" y="5"/>
                  </a:cubicBezTo>
                  <a:cubicBezTo>
                    <a:pt x="42" y="5"/>
                    <a:pt x="42" y="5"/>
                    <a:pt x="42" y="5"/>
                  </a:cubicBezTo>
                  <a:cubicBezTo>
                    <a:pt x="42" y="5"/>
                    <a:pt x="42" y="5"/>
                    <a:pt x="42" y="5"/>
                  </a:cubicBezTo>
                  <a:cubicBezTo>
                    <a:pt x="42" y="5"/>
                    <a:pt x="42" y="5"/>
                    <a:pt x="42" y="5"/>
                  </a:cubicBezTo>
                  <a:cubicBezTo>
                    <a:pt x="42" y="5"/>
                    <a:pt x="42" y="5"/>
                    <a:pt x="42" y="5"/>
                  </a:cubicBezTo>
                  <a:cubicBezTo>
                    <a:pt x="42" y="5"/>
                    <a:pt x="42" y="5"/>
                    <a:pt x="42" y="5"/>
                  </a:cubicBezTo>
                  <a:cubicBezTo>
                    <a:pt x="41" y="5"/>
                    <a:pt x="41" y="5"/>
                    <a:pt x="41" y="5"/>
                  </a:cubicBezTo>
                  <a:cubicBezTo>
                    <a:pt x="41" y="6"/>
                    <a:pt x="41" y="6"/>
                    <a:pt x="41" y="6"/>
                  </a:cubicBezTo>
                  <a:cubicBezTo>
                    <a:pt x="41" y="6"/>
                    <a:pt x="41" y="6"/>
                    <a:pt x="41" y="6"/>
                  </a:cubicBezTo>
                  <a:cubicBezTo>
                    <a:pt x="41" y="7"/>
                    <a:pt x="41" y="7"/>
                    <a:pt x="41" y="7"/>
                  </a:cubicBezTo>
                  <a:cubicBezTo>
                    <a:pt x="41" y="7"/>
                    <a:pt x="41" y="7"/>
                    <a:pt x="41" y="7"/>
                  </a:cubicBezTo>
                  <a:cubicBezTo>
                    <a:pt x="41" y="7"/>
                    <a:pt x="41" y="7"/>
                    <a:pt x="41" y="7"/>
                  </a:cubicBezTo>
                  <a:cubicBezTo>
                    <a:pt x="41" y="7"/>
                    <a:pt x="41" y="7"/>
                    <a:pt x="41" y="7"/>
                  </a:cubicBezTo>
                  <a:cubicBezTo>
                    <a:pt x="40" y="7"/>
                    <a:pt x="40" y="7"/>
                    <a:pt x="40" y="7"/>
                  </a:cubicBezTo>
                  <a:cubicBezTo>
                    <a:pt x="40" y="7"/>
                    <a:pt x="40" y="7"/>
                    <a:pt x="40" y="7"/>
                  </a:cubicBezTo>
                  <a:cubicBezTo>
                    <a:pt x="37" y="8"/>
                    <a:pt x="37" y="8"/>
                    <a:pt x="37" y="8"/>
                  </a:cubicBezTo>
                  <a:cubicBezTo>
                    <a:pt x="37" y="8"/>
                    <a:pt x="37" y="8"/>
                    <a:pt x="37" y="8"/>
                  </a:cubicBezTo>
                  <a:cubicBezTo>
                    <a:pt x="37" y="9"/>
                    <a:pt x="37" y="9"/>
                    <a:pt x="37" y="9"/>
                  </a:cubicBezTo>
                  <a:cubicBezTo>
                    <a:pt x="37" y="9"/>
                    <a:pt x="37" y="9"/>
                    <a:pt x="37" y="9"/>
                  </a:cubicBezTo>
                  <a:cubicBezTo>
                    <a:pt x="37" y="9"/>
                    <a:pt x="37" y="9"/>
                    <a:pt x="37" y="9"/>
                  </a:cubicBezTo>
                  <a:cubicBezTo>
                    <a:pt x="37" y="10"/>
                    <a:pt x="37" y="10"/>
                    <a:pt x="37" y="10"/>
                  </a:cubicBezTo>
                  <a:cubicBezTo>
                    <a:pt x="38" y="10"/>
                    <a:pt x="38" y="10"/>
                    <a:pt x="38" y="10"/>
                  </a:cubicBezTo>
                  <a:cubicBezTo>
                    <a:pt x="38" y="10"/>
                    <a:pt x="38" y="10"/>
                    <a:pt x="38" y="10"/>
                  </a:cubicBezTo>
                  <a:cubicBezTo>
                    <a:pt x="39" y="11"/>
                    <a:pt x="39" y="11"/>
                    <a:pt x="39" y="11"/>
                  </a:cubicBezTo>
                  <a:cubicBezTo>
                    <a:pt x="39" y="11"/>
                    <a:pt x="39" y="11"/>
                    <a:pt x="39" y="11"/>
                  </a:cubicBezTo>
                  <a:cubicBezTo>
                    <a:pt x="39" y="11"/>
                    <a:pt x="39" y="11"/>
                    <a:pt x="39" y="11"/>
                  </a:cubicBezTo>
                  <a:cubicBezTo>
                    <a:pt x="39" y="11"/>
                    <a:pt x="39" y="11"/>
                    <a:pt x="39" y="11"/>
                  </a:cubicBezTo>
                  <a:cubicBezTo>
                    <a:pt x="38" y="11"/>
                    <a:pt x="38" y="11"/>
                    <a:pt x="38" y="11"/>
                  </a:cubicBezTo>
                  <a:cubicBezTo>
                    <a:pt x="37" y="11"/>
                    <a:pt x="37" y="11"/>
                    <a:pt x="37" y="11"/>
                  </a:cubicBezTo>
                  <a:cubicBezTo>
                    <a:pt x="37" y="10"/>
                    <a:pt x="37" y="10"/>
                    <a:pt x="37" y="10"/>
                  </a:cubicBezTo>
                  <a:cubicBezTo>
                    <a:pt x="37" y="10"/>
                    <a:pt x="37" y="10"/>
                    <a:pt x="37" y="10"/>
                  </a:cubicBezTo>
                  <a:cubicBezTo>
                    <a:pt x="37" y="10"/>
                    <a:pt x="37" y="10"/>
                    <a:pt x="37" y="10"/>
                  </a:cubicBezTo>
                  <a:cubicBezTo>
                    <a:pt x="37" y="10"/>
                    <a:pt x="37" y="10"/>
                    <a:pt x="37" y="10"/>
                  </a:cubicBezTo>
                  <a:cubicBezTo>
                    <a:pt x="36" y="10"/>
                    <a:pt x="36" y="10"/>
                    <a:pt x="36" y="10"/>
                  </a:cubicBezTo>
                  <a:cubicBezTo>
                    <a:pt x="35" y="9"/>
                    <a:pt x="35" y="9"/>
                    <a:pt x="35" y="9"/>
                  </a:cubicBezTo>
                  <a:cubicBezTo>
                    <a:pt x="34" y="8"/>
                    <a:pt x="34" y="8"/>
                    <a:pt x="34" y="8"/>
                  </a:cubicBezTo>
                  <a:cubicBezTo>
                    <a:pt x="33" y="8"/>
                    <a:pt x="33" y="8"/>
                    <a:pt x="33" y="8"/>
                  </a:cubicBezTo>
                  <a:cubicBezTo>
                    <a:pt x="33" y="9"/>
                    <a:pt x="33" y="9"/>
                    <a:pt x="33" y="9"/>
                  </a:cubicBezTo>
                  <a:cubicBezTo>
                    <a:pt x="33" y="9"/>
                    <a:pt x="33" y="9"/>
                    <a:pt x="33" y="9"/>
                  </a:cubicBezTo>
                  <a:cubicBezTo>
                    <a:pt x="33" y="9"/>
                    <a:pt x="33" y="9"/>
                    <a:pt x="33" y="9"/>
                  </a:cubicBezTo>
                  <a:cubicBezTo>
                    <a:pt x="33" y="10"/>
                    <a:pt x="33" y="10"/>
                    <a:pt x="33" y="10"/>
                  </a:cubicBezTo>
                  <a:cubicBezTo>
                    <a:pt x="32" y="10"/>
                    <a:pt x="32" y="10"/>
                    <a:pt x="32" y="10"/>
                  </a:cubicBezTo>
                  <a:cubicBezTo>
                    <a:pt x="32" y="9"/>
                    <a:pt x="32" y="9"/>
                    <a:pt x="32" y="9"/>
                  </a:cubicBezTo>
                  <a:cubicBezTo>
                    <a:pt x="32" y="9"/>
                    <a:pt x="32" y="9"/>
                    <a:pt x="32" y="9"/>
                  </a:cubicBezTo>
                  <a:cubicBezTo>
                    <a:pt x="32" y="8"/>
                    <a:pt x="32" y="8"/>
                    <a:pt x="32" y="8"/>
                  </a:cubicBezTo>
                  <a:cubicBezTo>
                    <a:pt x="32" y="8"/>
                    <a:pt x="32" y="8"/>
                    <a:pt x="32" y="8"/>
                  </a:cubicBezTo>
                  <a:cubicBezTo>
                    <a:pt x="30" y="8"/>
                    <a:pt x="30" y="8"/>
                    <a:pt x="30" y="8"/>
                  </a:cubicBezTo>
                  <a:cubicBezTo>
                    <a:pt x="29" y="9"/>
                    <a:pt x="29" y="9"/>
                    <a:pt x="29" y="9"/>
                  </a:cubicBezTo>
                  <a:cubicBezTo>
                    <a:pt x="29" y="9"/>
                    <a:pt x="29" y="9"/>
                    <a:pt x="29" y="9"/>
                  </a:cubicBezTo>
                  <a:cubicBezTo>
                    <a:pt x="28" y="10"/>
                    <a:pt x="28" y="10"/>
                    <a:pt x="28" y="10"/>
                  </a:cubicBezTo>
                  <a:cubicBezTo>
                    <a:pt x="27" y="11"/>
                    <a:pt x="27" y="11"/>
                    <a:pt x="27" y="11"/>
                  </a:cubicBezTo>
                  <a:cubicBezTo>
                    <a:pt x="27" y="11"/>
                    <a:pt x="27" y="11"/>
                    <a:pt x="27" y="11"/>
                  </a:cubicBezTo>
                  <a:cubicBezTo>
                    <a:pt x="26" y="12"/>
                    <a:pt x="26" y="12"/>
                    <a:pt x="26" y="12"/>
                  </a:cubicBezTo>
                  <a:cubicBezTo>
                    <a:pt x="26" y="12"/>
                    <a:pt x="26" y="12"/>
                    <a:pt x="26" y="12"/>
                  </a:cubicBezTo>
                  <a:cubicBezTo>
                    <a:pt x="26" y="13"/>
                    <a:pt x="26" y="13"/>
                    <a:pt x="26" y="13"/>
                  </a:cubicBezTo>
                  <a:cubicBezTo>
                    <a:pt x="26" y="13"/>
                    <a:pt x="26" y="13"/>
                    <a:pt x="26" y="13"/>
                  </a:cubicBezTo>
                  <a:cubicBezTo>
                    <a:pt x="25" y="13"/>
                    <a:pt x="25" y="13"/>
                    <a:pt x="25" y="13"/>
                  </a:cubicBezTo>
                  <a:cubicBezTo>
                    <a:pt x="25" y="12"/>
                    <a:pt x="25" y="12"/>
                    <a:pt x="25" y="12"/>
                  </a:cubicBezTo>
                  <a:cubicBezTo>
                    <a:pt x="25" y="12"/>
                    <a:pt x="25" y="12"/>
                    <a:pt x="25" y="12"/>
                  </a:cubicBezTo>
                  <a:cubicBezTo>
                    <a:pt x="26" y="12"/>
                    <a:pt x="26" y="12"/>
                    <a:pt x="26" y="12"/>
                  </a:cubicBezTo>
                  <a:cubicBezTo>
                    <a:pt x="26" y="12"/>
                    <a:pt x="26" y="12"/>
                    <a:pt x="26" y="12"/>
                  </a:cubicBezTo>
                  <a:cubicBezTo>
                    <a:pt x="26" y="12"/>
                    <a:pt x="26" y="12"/>
                    <a:pt x="26" y="12"/>
                  </a:cubicBezTo>
                  <a:cubicBezTo>
                    <a:pt x="26" y="11"/>
                    <a:pt x="26" y="11"/>
                    <a:pt x="26" y="11"/>
                  </a:cubicBezTo>
                  <a:cubicBezTo>
                    <a:pt x="28" y="10"/>
                    <a:pt x="28" y="10"/>
                    <a:pt x="28" y="10"/>
                  </a:cubicBezTo>
                  <a:cubicBezTo>
                    <a:pt x="28" y="10"/>
                    <a:pt x="28" y="10"/>
                    <a:pt x="28" y="10"/>
                  </a:cubicBezTo>
                  <a:cubicBezTo>
                    <a:pt x="27" y="9"/>
                    <a:pt x="27" y="9"/>
                    <a:pt x="27" y="9"/>
                  </a:cubicBezTo>
                  <a:cubicBezTo>
                    <a:pt x="25" y="9"/>
                    <a:pt x="25" y="9"/>
                    <a:pt x="25" y="9"/>
                  </a:cubicBezTo>
                  <a:cubicBezTo>
                    <a:pt x="25" y="9"/>
                    <a:pt x="25" y="9"/>
                    <a:pt x="25" y="9"/>
                  </a:cubicBezTo>
                  <a:cubicBezTo>
                    <a:pt x="24" y="9"/>
                    <a:pt x="24" y="9"/>
                    <a:pt x="24" y="9"/>
                  </a:cubicBezTo>
                  <a:cubicBezTo>
                    <a:pt x="23" y="9"/>
                    <a:pt x="23" y="9"/>
                    <a:pt x="23" y="9"/>
                  </a:cubicBezTo>
                  <a:cubicBezTo>
                    <a:pt x="23" y="9"/>
                    <a:pt x="23" y="9"/>
                    <a:pt x="23" y="9"/>
                  </a:cubicBezTo>
                  <a:cubicBezTo>
                    <a:pt x="23" y="9"/>
                    <a:pt x="23" y="9"/>
                    <a:pt x="23" y="9"/>
                  </a:cubicBezTo>
                  <a:cubicBezTo>
                    <a:pt x="23" y="9"/>
                    <a:pt x="23" y="9"/>
                    <a:pt x="23" y="9"/>
                  </a:cubicBezTo>
                  <a:cubicBezTo>
                    <a:pt x="23" y="9"/>
                    <a:pt x="23" y="9"/>
                    <a:pt x="23" y="9"/>
                  </a:cubicBezTo>
                  <a:cubicBezTo>
                    <a:pt x="23" y="9"/>
                    <a:pt x="23" y="9"/>
                    <a:pt x="23" y="9"/>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2" y="9"/>
                    <a:pt x="22" y="9"/>
                    <a:pt x="22" y="9"/>
                  </a:cubicBezTo>
                  <a:cubicBezTo>
                    <a:pt x="21" y="9"/>
                    <a:pt x="21" y="9"/>
                    <a:pt x="21" y="9"/>
                  </a:cubicBezTo>
                  <a:cubicBezTo>
                    <a:pt x="21" y="9"/>
                    <a:pt x="21" y="9"/>
                    <a:pt x="21" y="9"/>
                  </a:cubicBezTo>
                  <a:cubicBezTo>
                    <a:pt x="21" y="9"/>
                    <a:pt x="21" y="9"/>
                    <a:pt x="21" y="9"/>
                  </a:cubicBezTo>
                  <a:cubicBezTo>
                    <a:pt x="21" y="9"/>
                    <a:pt x="21" y="9"/>
                    <a:pt x="21" y="9"/>
                  </a:cubicBezTo>
                  <a:cubicBezTo>
                    <a:pt x="20" y="8"/>
                    <a:pt x="20" y="8"/>
                    <a:pt x="20" y="8"/>
                  </a:cubicBezTo>
                  <a:cubicBezTo>
                    <a:pt x="19" y="8"/>
                    <a:pt x="19" y="8"/>
                    <a:pt x="19" y="8"/>
                  </a:cubicBezTo>
                  <a:cubicBezTo>
                    <a:pt x="18" y="8"/>
                    <a:pt x="18" y="8"/>
                    <a:pt x="18" y="8"/>
                  </a:cubicBezTo>
                  <a:cubicBezTo>
                    <a:pt x="17" y="8"/>
                    <a:pt x="17" y="8"/>
                    <a:pt x="17" y="8"/>
                  </a:cubicBezTo>
                  <a:cubicBezTo>
                    <a:pt x="17" y="8"/>
                    <a:pt x="17" y="8"/>
                    <a:pt x="17" y="8"/>
                  </a:cubicBezTo>
                  <a:cubicBezTo>
                    <a:pt x="16" y="8"/>
                    <a:pt x="16" y="8"/>
                    <a:pt x="16" y="8"/>
                  </a:cubicBezTo>
                  <a:cubicBezTo>
                    <a:pt x="16" y="8"/>
                    <a:pt x="16" y="8"/>
                    <a:pt x="16" y="8"/>
                  </a:cubicBezTo>
                  <a:cubicBezTo>
                    <a:pt x="15" y="8"/>
                    <a:pt x="15" y="8"/>
                    <a:pt x="15" y="8"/>
                  </a:cubicBezTo>
                  <a:cubicBezTo>
                    <a:pt x="15" y="8"/>
                    <a:pt x="15" y="8"/>
                    <a:pt x="15" y="8"/>
                  </a:cubicBezTo>
                  <a:cubicBezTo>
                    <a:pt x="15" y="7"/>
                    <a:pt x="15" y="7"/>
                    <a:pt x="15" y="7"/>
                  </a:cubicBezTo>
                  <a:cubicBezTo>
                    <a:pt x="15" y="7"/>
                    <a:pt x="15" y="7"/>
                    <a:pt x="15" y="7"/>
                  </a:cubicBezTo>
                  <a:cubicBezTo>
                    <a:pt x="14" y="7"/>
                    <a:pt x="14" y="7"/>
                    <a:pt x="14" y="7"/>
                  </a:cubicBezTo>
                  <a:cubicBezTo>
                    <a:pt x="14" y="7"/>
                    <a:pt x="14" y="7"/>
                    <a:pt x="14" y="7"/>
                  </a:cubicBezTo>
                  <a:cubicBezTo>
                    <a:pt x="14" y="7"/>
                    <a:pt x="14" y="7"/>
                    <a:pt x="14" y="7"/>
                  </a:cubicBezTo>
                  <a:cubicBezTo>
                    <a:pt x="12" y="7"/>
                    <a:pt x="12" y="7"/>
                    <a:pt x="12" y="7"/>
                  </a:cubicBezTo>
                  <a:cubicBezTo>
                    <a:pt x="12" y="7"/>
                    <a:pt x="12" y="7"/>
                    <a:pt x="12" y="7"/>
                  </a:cubicBezTo>
                  <a:cubicBezTo>
                    <a:pt x="12" y="7"/>
                    <a:pt x="12" y="7"/>
                    <a:pt x="12" y="7"/>
                  </a:cubicBezTo>
                  <a:cubicBezTo>
                    <a:pt x="12" y="7"/>
                    <a:pt x="12" y="7"/>
                    <a:pt x="12" y="7"/>
                  </a:cubicBezTo>
                  <a:cubicBezTo>
                    <a:pt x="12" y="7"/>
                    <a:pt x="12" y="7"/>
                    <a:pt x="12" y="7"/>
                  </a:cubicBezTo>
                  <a:cubicBezTo>
                    <a:pt x="11" y="7"/>
                    <a:pt x="11" y="7"/>
                    <a:pt x="11" y="7"/>
                  </a:cubicBezTo>
                  <a:cubicBezTo>
                    <a:pt x="11" y="7"/>
                    <a:pt x="11" y="7"/>
                    <a:pt x="11" y="7"/>
                  </a:cubicBezTo>
                  <a:cubicBezTo>
                    <a:pt x="11" y="8"/>
                    <a:pt x="11" y="8"/>
                    <a:pt x="11" y="8"/>
                  </a:cubicBezTo>
                  <a:cubicBezTo>
                    <a:pt x="11" y="7"/>
                    <a:pt x="11" y="7"/>
                    <a:pt x="11" y="7"/>
                  </a:cubicBezTo>
                  <a:cubicBezTo>
                    <a:pt x="11" y="7"/>
                    <a:pt x="11" y="7"/>
                    <a:pt x="11" y="7"/>
                  </a:cubicBezTo>
                  <a:cubicBezTo>
                    <a:pt x="11" y="7"/>
                    <a:pt x="11" y="7"/>
                    <a:pt x="11" y="7"/>
                  </a:cubicBezTo>
                  <a:cubicBezTo>
                    <a:pt x="10" y="7"/>
                    <a:pt x="10" y="7"/>
                    <a:pt x="10" y="7"/>
                  </a:cubicBezTo>
                  <a:cubicBezTo>
                    <a:pt x="10" y="7"/>
                    <a:pt x="10" y="7"/>
                    <a:pt x="10" y="7"/>
                  </a:cubicBezTo>
                  <a:cubicBezTo>
                    <a:pt x="10" y="8"/>
                    <a:pt x="10" y="8"/>
                    <a:pt x="10" y="8"/>
                  </a:cubicBezTo>
                  <a:cubicBezTo>
                    <a:pt x="10" y="8"/>
                    <a:pt x="10" y="8"/>
                    <a:pt x="10" y="8"/>
                  </a:cubicBezTo>
                  <a:cubicBezTo>
                    <a:pt x="10" y="7"/>
                    <a:pt x="10" y="7"/>
                    <a:pt x="10" y="7"/>
                  </a:cubicBezTo>
                  <a:cubicBezTo>
                    <a:pt x="10" y="7"/>
                    <a:pt x="10" y="7"/>
                    <a:pt x="10" y="7"/>
                  </a:cubicBezTo>
                  <a:cubicBezTo>
                    <a:pt x="10" y="7"/>
                    <a:pt x="10" y="7"/>
                    <a:pt x="10" y="7"/>
                  </a:cubicBezTo>
                  <a:cubicBezTo>
                    <a:pt x="10" y="7"/>
                    <a:pt x="10" y="7"/>
                    <a:pt x="10" y="7"/>
                  </a:cubicBezTo>
                  <a:cubicBezTo>
                    <a:pt x="9" y="7"/>
                    <a:pt x="9" y="7"/>
                    <a:pt x="9" y="7"/>
                  </a:cubicBezTo>
                  <a:cubicBezTo>
                    <a:pt x="9" y="7"/>
                    <a:pt x="9" y="7"/>
                    <a:pt x="9" y="7"/>
                  </a:cubicBezTo>
                  <a:cubicBezTo>
                    <a:pt x="9" y="7"/>
                    <a:pt x="9" y="7"/>
                    <a:pt x="9" y="7"/>
                  </a:cubicBezTo>
                  <a:cubicBezTo>
                    <a:pt x="8" y="7"/>
                    <a:pt x="8" y="7"/>
                    <a:pt x="8"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6" y="7"/>
                    <a:pt x="6" y="7"/>
                    <a:pt x="6" y="7"/>
                  </a:cubicBezTo>
                  <a:cubicBezTo>
                    <a:pt x="6" y="7"/>
                    <a:pt x="6" y="7"/>
                    <a:pt x="6" y="7"/>
                  </a:cubicBezTo>
                  <a:cubicBezTo>
                    <a:pt x="6" y="7"/>
                    <a:pt x="6" y="7"/>
                    <a:pt x="6" y="7"/>
                  </a:cubicBezTo>
                  <a:cubicBezTo>
                    <a:pt x="6" y="8"/>
                    <a:pt x="6" y="8"/>
                    <a:pt x="6" y="8"/>
                  </a:cubicBezTo>
                  <a:cubicBezTo>
                    <a:pt x="6" y="8"/>
                    <a:pt x="6" y="8"/>
                    <a:pt x="6" y="8"/>
                  </a:cubicBezTo>
                  <a:cubicBezTo>
                    <a:pt x="5" y="9"/>
                    <a:pt x="5" y="9"/>
                    <a:pt x="5" y="9"/>
                  </a:cubicBezTo>
                  <a:cubicBezTo>
                    <a:pt x="4" y="9"/>
                    <a:pt x="4" y="9"/>
                    <a:pt x="4" y="9"/>
                  </a:cubicBezTo>
                  <a:cubicBezTo>
                    <a:pt x="4" y="10"/>
                    <a:pt x="4" y="10"/>
                    <a:pt x="4" y="10"/>
                  </a:cubicBezTo>
                  <a:cubicBezTo>
                    <a:pt x="4" y="10"/>
                    <a:pt x="4" y="10"/>
                    <a:pt x="4" y="10"/>
                  </a:cubicBezTo>
                  <a:cubicBezTo>
                    <a:pt x="4" y="10"/>
                    <a:pt x="4" y="10"/>
                    <a:pt x="4" y="10"/>
                  </a:cubicBezTo>
                  <a:cubicBezTo>
                    <a:pt x="3" y="10"/>
                    <a:pt x="3" y="10"/>
                    <a:pt x="3" y="10"/>
                  </a:cubicBezTo>
                  <a:cubicBezTo>
                    <a:pt x="3" y="10"/>
                    <a:pt x="3" y="10"/>
                    <a:pt x="3" y="10"/>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1" y="12"/>
                    <a:pt x="1" y="12"/>
                    <a:pt x="1" y="12"/>
                  </a:cubicBezTo>
                  <a:cubicBezTo>
                    <a:pt x="1" y="13"/>
                    <a:pt x="1" y="13"/>
                    <a:pt x="1" y="13"/>
                  </a:cubicBezTo>
                  <a:cubicBezTo>
                    <a:pt x="0" y="14"/>
                    <a:pt x="0" y="14"/>
                    <a:pt x="0" y="14"/>
                  </a:cubicBezTo>
                  <a:cubicBezTo>
                    <a:pt x="0" y="14"/>
                    <a:pt x="0" y="14"/>
                    <a:pt x="0" y="14"/>
                  </a:cubicBezTo>
                  <a:cubicBezTo>
                    <a:pt x="1" y="14"/>
                    <a:pt x="1" y="14"/>
                    <a:pt x="1" y="14"/>
                  </a:cubicBezTo>
                  <a:cubicBezTo>
                    <a:pt x="1" y="15"/>
                    <a:pt x="1" y="15"/>
                    <a:pt x="1" y="15"/>
                  </a:cubicBezTo>
                  <a:cubicBezTo>
                    <a:pt x="0" y="15"/>
                    <a:pt x="0" y="15"/>
                    <a:pt x="0" y="15"/>
                  </a:cubicBezTo>
                  <a:cubicBezTo>
                    <a:pt x="0" y="15"/>
                    <a:pt x="0" y="15"/>
                    <a:pt x="0" y="15"/>
                  </a:cubicBezTo>
                  <a:cubicBezTo>
                    <a:pt x="0" y="15"/>
                    <a:pt x="0" y="15"/>
                    <a:pt x="0" y="15"/>
                  </a:cubicBezTo>
                  <a:cubicBezTo>
                    <a:pt x="0" y="16"/>
                    <a:pt x="0" y="16"/>
                    <a:pt x="0" y="16"/>
                  </a:cubicBezTo>
                  <a:cubicBezTo>
                    <a:pt x="1" y="17"/>
                    <a:pt x="1" y="17"/>
                    <a:pt x="1" y="17"/>
                  </a:cubicBezTo>
                  <a:cubicBezTo>
                    <a:pt x="1" y="17"/>
                    <a:pt x="1" y="17"/>
                    <a:pt x="1" y="17"/>
                  </a:cubicBezTo>
                  <a:cubicBezTo>
                    <a:pt x="1" y="18"/>
                    <a:pt x="1" y="18"/>
                    <a:pt x="1" y="18"/>
                  </a:cubicBezTo>
                  <a:cubicBezTo>
                    <a:pt x="1" y="18"/>
                    <a:pt x="1" y="18"/>
                    <a:pt x="1" y="18"/>
                  </a:cubicBezTo>
                  <a:cubicBezTo>
                    <a:pt x="1" y="19"/>
                    <a:pt x="1" y="19"/>
                    <a:pt x="1" y="19"/>
                  </a:cubicBezTo>
                  <a:cubicBezTo>
                    <a:pt x="1" y="19"/>
                    <a:pt x="1" y="19"/>
                    <a:pt x="1" y="19"/>
                  </a:cubicBezTo>
                  <a:cubicBezTo>
                    <a:pt x="1" y="19"/>
                    <a:pt x="1" y="19"/>
                    <a:pt x="1" y="19"/>
                  </a:cubicBezTo>
                  <a:cubicBezTo>
                    <a:pt x="1" y="21"/>
                    <a:pt x="1" y="21"/>
                    <a:pt x="1" y="21"/>
                  </a:cubicBezTo>
                  <a:cubicBezTo>
                    <a:pt x="2" y="22"/>
                    <a:pt x="2" y="22"/>
                    <a:pt x="2" y="22"/>
                  </a:cubicBezTo>
                  <a:cubicBezTo>
                    <a:pt x="2" y="22"/>
                    <a:pt x="2" y="22"/>
                    <a:pt x="2" y="22"/>
                  </a:cubicBezTo>
                  <a:cubicBezTo>
                    <a:pt x="2" y="22"/>
                    <a:pt x="2" y="22"/>
                    <a:pt x="2" y="22"/>
                  </a:cubicBezTo>
                  <a:cubicBezTo>
                    <a:pt x="2" y="23"/>
                    <a:pt x="2" y="23"/>
                    <a:pt x="2" y="23"/>
                  </a:cubicBezTo>
                  <a:cubicBezTo>
                    <a:pt x="3" y="23"/>
                    <a:pt x="3" y="23"/>
                    <a:pt x="3" y="23"/>
                  </a:cubicBezTo>
                  <a:cubicBezTo>
                    <a:pt x="3" y="23"/>
                    <a:pt x="3" y="23"/>
                    <a:pt x="3" y="23"/>
                  </a:cubicBezTo>
                  <a:cubicBezTo>
                    <a:pt x="3" y="24"/>
                    <a:pt x="3" y="24"/>
                    <a:pt x="3" y="24"/>
                  </a:cubicBezTo>
                  <a:cubicBezTo>
                    <a:pt x="3" y="24"/>
                    <a:pt x="3" y="24"/>
                    <a:pt x="3" y="24"/>
                  </a:cubicBezTo>
                  <a:cubicBezTo>
                    <a:pt x="3" y="25"/>
                    <a:pt x="3" y="25"/>
                    <a:pt x="3" y="25"/>
                  </a:cubicBezTo>
                  <a:cubicBezTo>
                    <a:pt x="3" y="25"/>
                    <a:pt x="3" y="25"/>
                    <a:pt x="3" y="25"/>
                  </a:cubicBezTo>
                  <a:cubicBezTo>
                    <a:pt x="3" y="25"/>
                    <a:pt x="3" y="25"/>
                    <a:pt x="3" y="25"/>
                  </a:cubicBezTo>
                  <a:cubicBezTo>
                    <a:pt x="4" y="26"/>
                    <a:pt x="4" y="26"/>
                    <a:pt x="4" y="26"/>
                  </a:cubicBezTo>
                  <a:cubicBezTo>
                    <a:pt x="4" y="26"/>
                    <a:pt x="4" y="26"/>
                    <a:pt x="4" y="26"/>
                  </a:cubicBezTo>
                  <a:cubicBezTo>
                    <a:pt x="4" y="26"/>
                    <a:pt x="4" y="26"/>
                    <a:pt x="4" y="26"/>
                  </a:cubicBezTo>
                  <a:cubicBezTo>
                    <a:pt x="4" y="26"/>
                    <a:pt x="4" y="26"/>
                    <a:pt x="4" y="26"/>
                  </a:cubicBezTo>
                  <a:cubicBezTo>
                    <a:pt x="4" y="26"/>
                    <a:pt x="4" y="26"/>
                    <a:pt x="4" y="26"/>
                  </a:cubicBezTo>
                  <a:cubicBezTo>
                    <a:pt x="4" y="27"/>
                    <a:pt x="4" y="27"/>
                    <a:pt x="4" y="27"/>
                  </a:cubicBezTo>
                  <a:cubicBezTo>
                    <a:pt x="4" y="27"/>
                    <a:pt x="4" y="27"/>
                    <a:pt x="4" y="27"/>
                  </a:cubicBezTo>
                  <a:cubicBezTo>
                    <a:pt x="4" y="27"/>
                    <a:pt x="4" y="27"/>
                    <a:pt x="4" y="27"/>
                  </a:cubicBezTo>
                  <a:cubicBezTo>
                    <a:pt x="4" y="27"/>
                    <a:pt x="4" y="27"/>
                    <a:pt x="4" y="27"/>
                  </a:cubicBezTo>
                  <a:cubicBezTo>
                    <a:pt x="4" y="27"/>
                    <a:pt x="4" y="27"/>
                    <a:pt x="4" y="27"/>
                  </a:cubicBezTo>
                  <a:cubicBezTo>
                    <a:pt x="4" y="28"/>
                    <a:pt x="4" y="28"/>
                    <a:pt x="4" y="28"/>
                  </a:cubicBezTo>
                  <a:cubicBezTo>
                    <a:pt x="5" y="28"/>
                    <a:pt x="5" y="28"/>
                    <a:pt x="5" y="28"/>
                  </a:cubicBezTo>
                  <a:cubicBezTo>
                    <a:pt x="5" y="28"/>
                    <a:pt x="5" y="28"/>
                    <a:pt x="5" y="28"/>
                  </a:cubicBezTo>
                  <a:cubicBezTo>
                    <a:pt x="5" y="28"/>
                    <a:pt x="5" y="28"/>
                    <a:pt x="5" y="28"/>
                  </a:cubicBezTo>
                  <a:cubicBezTo>
                    <a:pt x="7" y="28"/>
                    <a:pt x="7" y="28"/>
                    <a:pt x="7" y="28"/>
                  </a:cubicBezTo>
                  <a:cubicBezTo>
                    <a:pt x="7" y="28"/>
                    <a:pt x="7" y="28"/>
                    <a:pt x="7" y="28"/>
                  </a:cubicBezTo>
                  <a:cubicBezTo>
                    <a:pt x="7" y="28"/>
                    <a:pt x="7" y="28"/>
                    <a:pt x="7" y="28"/>
                  </a:cubicBezTo>
                  <a:cubicBezTo>
                    <a:pt x="7" y="29"/>
                    <a:pt x="7" y="29"/>
                    <a:pt x="7" y="29"/>
                  </a:cubicBezTo>
                  <a:cubicBezTo>
                    <a:pt x="7" y="29"/>
                    <a:pt x="7" y="29"/>
                    <a:pt x="7" y="29"/>
                  </a:cubicBezTo>
                  <a:cubicBezTo>
                    <a:pt x="8" y="29"/>
                    <a:pt x="8" y="29"/>
                    <a:pt x="8" y="29"/>
                  </a:cubicBezTo>
                  <a:cubicBezTo>
                    <a:pt x="8" y="30"/>
                    <a:pt x="8" y="30"/>
                    <a:pt x="8" y="30"/>
                  </a:cubicBezTo>
                  <a:cubicBezTo>
                    <a:pt x="8" y="30"/>
                    <a:pt x="8" y="30"/>
                    <a:pt x="8" y="30"/>
                  </a:cubicBezTo>
                  <a:cubicBezTo>
                    <a:pt x="9" y="30"/>
                    <a:pt x="9" y="30"/>
                    <a:pt x="9" y="30"/>
                  </a:cubicBezTo>
                  <a:cubicBezTo>
                    <a:pt x="10" y="30"/>
                    <a:pt x="10" y="30"/>
                    <a:pt x="10" y="30"/>
                  </a:cubicBezTo>
                  <a:cubicBezTo>
                    <a:pt x="10" y="30"/>
                    <a:pt x="10" y="30"/>
                    <a:pt x="10" y="30"/>
                  </a:cubicBezTo>
                  <a:cubicBezTo>
                    <a:pt x="9" y="30"/>
                    <a:pt x="9" y="30"/>
                    <a:pt x="9" y="30"/>
                  </a:cubicBezTo>
                  <a:cubicBezTo>
                    <a:pt x="9" y="30"/>
                    <a:pt x="9" y="30"/>
                    <a:pt x="9" y="30"/>
                  </a:cubicBezTo>
                  <a:cubicBezTo>
                    <a:pt x="9" y="30"/>
                    <a:pt x="9" y="30"/>
                    <a:pt x="9" y="30"/>
                  </a:cubicBezTo>
                  <a:cubicBezTo>
                    <a:pt x="9" y="30"/>
                    <a:pt x="9" y="30"/>
                    <a:pt x="9" y="30"/>
                  </a:cubicBezTo>
                  <a:cubicBezTo>
                    <a:pt x="10" y="30"/>
                    <a:pt x="10" y="30"/>
                    <a:pt x="10" y="30"/>
                  </a:cubicBezTo>
                  <a:cubicBezTo>
                    <a:pt x="11" y="30"/>
                    <a:pt x="11" y="30"/>
                    <a:pt x="11" y="30"/>
                  </a:cubicBezTo>
                  <a:cubicBezTo>
                    <a:pt x="11" y="31"/>
                    <a:pt x="11" y="31"/>
                    <a:pt x="11" y="31"/>
                  </a:cubicBezTo>
                  <a:cubicBezTo>
                    <a:pt x="10" y="31"/>
                    <a:pt x="10" y="31"/>
                    <a:pt x="10" y="31"/>
                  </a:cubicBezTo>
                  <a:cubicBezTo>
                    <a:pt x="9" y="31"/>
                    <a:pt x="9" y="31"/>
                    <a:pt x="9" y="31"/>
                  </a:cubicBezTo>
                  <a:cubicBezTo>
                    <a:pt x="9" y="31"/>
                    <a:pt x="9" y="31"/>
                    <a:pt x="9" y="31"/>
                  </a:cubicBezTo>
                  <a:cubicBezTo>
                    <a:pt x="9" y="31"/>
                    <a:pt x="9" y="31"/>
                    <a:pt x="9" y="31"/>
                  </a:cubicBezTo>
                  <a:cubicBezTo>
                    <a:pt x="9" y="31"/>
                    <a:pt x="9" y="31"/>
                    <a:pt x="9" y="31"/>
                  </a:cubicBezTo>
                  <a:cubicBezTo>
                    <a:pt x="9" y="32"/>
                    <a:pt x="9" y="32"/>
                    <a:pt x="9" y="32"/>
                  </a:cubicBezTo>
                  <a:cubicBezTo>
                    <a:pt x="9" y="32"/>
                    <a:pt x="9" y="32"/>
                    <a:pt x="9" y="32"/>
                  </a:cubicBezTo>
                  <a:cubicBezTo>
                    <a:pt x="10" y="32"/>
                    <a:pt x="10" y="32"/>
                    <a:pt x="10" y="32"/>
                  </a:cubicBezTo>
                  <a:cubicBezTo>
                    <a:pt x="10" y="33"/>
                    <a:pt x="10" y="33"/>
                    <a:pt x="10" y="33"/>
                  </a:cubicBezTo>
                  <a:cubicBezTo>
                    <a:pt x="10" y="33"/>
                    <a:pt x="10" y="33"/>
                    <a:pt x="10" y="33"/>
                  </a:cubicBezTo>
                  <a:cubicBezTo>
                    <a:pt x="9" y="33"/>
                    <a:pt x="9" y="33"/>
                    <a:pt x="9" y="33"/>
                  </a:cubicBezTo>
                  <a:cubicBezTo>
                    <a:pt x="9" y="34"/>
                    <a:pt x="9" y="34"/>
                    <a:pt x="9" y="34"/>
                  </a:cubicBezTo>
                  <a:cubicBezTo>
                    <a:pt x="9" y="34"/>
                    <a:pt x="9" y="34"/>
                    <a:pt x="9" y="34"/>
                  </a:cubicBezTo>
                  <a:cubicBezTo>
                    <a:pt x="9" y="34"/>
                    <a:pt x="9" y="34"/>
                    <a:pt x="9" y="34"/>
                  </a:cubicBezTo>
                  <a:cubicBezTo>
                    <a:pt x="9" y="33"/>
                    <a:pt x="9" y="33"/>
                    <a:pt x="9" y="33"/>
                  </a:cubicBezTo>
                  <a:cubicBezTo>
                    <a:pt x="8" y="33"/>
                    <a:pt x="8" y="33"/>
                    <a:pt x="8" y="33"/>
                  </a:cubicBezTo>
                  <a:cubicBezTo>
                    <a:pt x="8" y="33"/>
                    <a:pt x="8" y="33"/>
                    <a:pt x="8" y="33"/>
                  </a:cubicBezTo>
                  <a:cubicBezTo>
                    <a:pt x="8" y="33"/>
                    <a:pt x="8" y="33"/>
                    <a:pt x="8" y="33"/>
                  </a:cubicBezTo>
                  <a:cubicBezTo>
                    <a:pt x="9" y="35"/>
                    <a:pt x="9" y="35"/>
                    <a:pt x="9" y="35"/>
                  </a:cubicBezTo>
                  <a:cubicBezTo>
                    <a:pt x="9" y="35"/>
                    <a:pt x="9" y="35"/>
                    <a:pt x="9" y="35"/>
                  </a:cubicBezTo>
                  <a:cubicBezTo>
                    <a:pt x="9" y="36"/>
                    <a:pt x="9" y="36"/>
                    <a:pt x="9" y="36"/>
                  </a:cubicBezTo>
                  <a:cubicBezTo>
                    <a:pt x="9" y="37"/>
                    <a:pt x="9" y="37"/>
                    <a:pt x="9" y="37"/>
                  </a:cubicBezTo>
                  <a:cubicBezTo>
                    <a:pt x="9" y="37"/>
                    <a:pt x="9" y="37"/>
                    <a:pt x="9" y="37"/>
                  </a:cubicBezTo>
                  <a:cubicBezTo>
                    <a:pt x="9" y="37"/>
                    <a:pt x="9" y="37"/>
                    <a:pt x="9" y="37"/>
                  </a:cubicBezTo>
                  <a:cubicBezTo>
                    <a:pt x="10" y="37"/>
                    <a:pt x="10" y="37"/>
                    <a:pt x="10" y="37"/>
                  </a:cubicBezTo>
                  <a:cubicBezTo>
                    <a:pt x="10" y="38"/>
                    <a:pt x="10" y="38"/>
                    <a:pt x="10" y="38"/>
                  </a:cubicBezTo>
                  <a:cubicBezTo>
                    <a:pt x="10" y="38"/>
                    <a:pt x="10" y="38"/>
                    <a:pt x="10" y="38"/>
                  </a:cubicBezTo>
                  <a:cubicBezTo>
                    <a:pt x="9" y="38"/>
                    <a:pt x="9" y="38"/>
                    <a:pt x="9" y="38"/>
                  </a:cubicBezTo>
                  <a:cubicBezTo>
                    <a:pt x="9" y="38"/>
                    <a:pt x="9" y="38"/>
                    <a:pt x="9" y="38"/>
                  </a:cubicBezTo>
                  <a:cubicBezTo>
                    <a:pt x="10" y="39"/>
                    <a:pt x="10" y="39"/>
                    <a:pt x="10" y="39"/>
                  </a:cubicBezTo>
                  <a:cubicBezTo>
                    <a:pt x="10" y="39"/>
                    <a:pt x="10" y="39"/>
                    <a:pt x="10" y="39"/>
                  </a:cubicBezTo>
                  <a:cubicBezTo>
                    <a:pt x="10" y="39"/>
                    <a:pt x="10" y="39"/>
                    <a:pt x="10" y="39"/>
                  </a:cubicBezTo>
                  <a:cubicBezTo>
                    <a:pt x="10" y="40"/>
                    <a:pt x="10" y="40"/>
                    <a:pt x="10" y="40"/>
                  </a:cubicBezTo>
                  <a:cubicBezTo>
                    <a:pt x="10" y="40"/>
                    <a:pt x="10" y="40"/>
                    <a:pt x="10" y="40"/>
                  </a:cubicBezTo>
                  <a:cubicBezTo>
                    <a:pt x="9" y="40"/>
                    <a:pt x="9" y="40"/>
                    <a:pt x="9" y="40"/>
                  </a:cubicBezTo>
                  <a:cubicBezTo>
                    <a:pt x="9" y="40"/>
                    <a:pt x="9" y="40"/>
                    <a:pt x="9" y="40"/>
                  </a:cubicBezTo>
                  <a:cubicBezTo>
                    <a:pt x="9" y="40"/>
                    <a:pt x="9" y="40"/>
                    <a:pt x="9" y="40"/>
                  </a:cubicBezTo>
                  <a:cubicBezTo>
                    <a:pt x="9" y="42"/>
                    <a:pt x="9" y="42"/>
                    <a:pt x="9" y="42"/>
                  </a:cubicBezTo>
                  <a:cubicBezTo>
                    <a:pt x="9" y="42"/>
                    <a:pt x="9" y="42"/>
                    <a:pt x="9" y="42"/>
                  </a:cubicBezTo>
                  <a:cubicBezTo>
                    <a:pt x="10" y="42"/>
                    <a:pt x="10" y="42"/>
                    <a:pt x="10" y="42"/>
                  </a:cubicBezTo>
                  <a:cubicBezTo>
                    <a:pt x="10" y="43"/>
                    <a:pt x="10" y="43"/>
                    <a:pt x="10" y="43"/>
                  </a:cubicBezTo>
                  <a:cubicBezTo>
                    <a:pt x="9" y="43"/>
                    <a:pt x="9" y="43"/>
                    <a:pt x="9" y="43"/>
                  </a:cubicBezTo>
                  <a:cubicBezTo>
                    <a:pt x="9" y="43"/>
                    <a:pt x="9" y="43"/>
                    <a:pt x="9" y="43"/>
                  </a:cubicBezTo>
                  <a:cubicBezTo>
                    <a:pt x="9" y="43"/>
                    <a:pt x="9" y="43"/>
                    <a:pt x="9" y="43"/>
                  </a:cubicBezTo>
                  <a:cubicBezTo>
                    <a:pt x="9" y="43"/>
                    <a:pt x="9" y="43"/>
                    <a:pt x="9" y="43"/>
                  </a:cubicBezTo>
                  <a:cubicBezTo>
                    <a:pt x="9" y="43"/>
                    <a:pt x="9" y="43"/>
                    <a:pt x="9" y="43"/>
                  </a:cubicBezTo>
                  <a:cubicBezTo>
                    <a:pt x="8" y="45"/>
                    <a:pt x="8" y="45"/>
                    <a:pt x="8" y="45"/>
                  </a:cubicBezTo>
                  <a:cubicBezTo>
                    <a:pt x="8" y="45"/>
                    <a:pt x="8" y="45"/>
                    <a:pt x="8" y="45"/>
                  </a:cubicBezTo>
                  <a:cubicBezTo>
                    <a:pt x="8" y="45"/>
                    <a:pt x="8" y="45"/>
                    <a:pt x="8" y="45"/>
                  </a:cubicBezTo>
                  <a:cubicBezTo>
                    <a:pt x="7" y="46"/>
                    <a:pt x="7" y="46"/>
                    <a:pt x="7" y="46"/>
                  </a:cubicBezTo>
                  <a:cubicBezTo>
                    <a:pt x="7" y="47"/>
                    <a:pt x="7" y="47"/>
                    <a:pt x="7" y="47"/>
                  </a:cubicBezTo>
                  <a:cubicBezTo>
                    <a:pt x="7" y="47"/>
                    <a:pt x="7" y="47"/>
                    <a:pt x="7" y="47"/>
                  </a:cubicBezTo>
                  <a:cubicBezTo>
                    <a:pt x="7" y="48"/>
                    <a:pt x="7" y="48"/>
                    <a:pt x="7" y="48"/>
                  </a:cubicBezTo>
                  <a:cubicBezTo>
                    <a:pt x="7" y="48"/>
                    <a:pt x="7" y="48"/>
                    <a:pt x="7" y="48"/>
                  </a:cubicBezTo>
                  <a:cubicBezTo>
                    <a:pt x="7" y="49"/>
                    <a:pt x="7" y="49"/>
                    <a:pt x="7" y="49"/>
                  </a:cubicBezTo>
                  <a:cubicBezTo>
                    <a:pt x="8" y="49"/>
                    <a:pt x="8" y="49"/>
                    <a:pt x="8" y="49"/>
                  </a:cubicBezTo>
                  <a:cubicBezTo>
                    <a:pt x="8" y="49"/>
                    <a:pt x="8" y="49"/>
                    <a:pt x="8" y="49"/>
                  </a:cubicBezTo>
                  <a:cubicBezTo>
                    <a:pt x="9" y="48"/>
                    <a:pt x="9" y="48"/>
                    <a:pt x="9" y="48"/>
                  </a:cubicBezTo>
                  <a:cubicBezTo>
                    <a:pt x="9" y="48"/>
                    <a:pt x="9" y="48"/>
                    <a:pt x="9" y="48"/>
                  </a:cubicBezTo>
                  <a:cubicBezTo>
                    <a:pt x="10" y="48"/>
                    <a:pt x="10" y="48"/>
                    <a:pt x="10" y="48"/>
                  </a:cubicBezTo>
                  <a:cubicBezTo>
                    <a:pt x="9" y="49"/>
                    <a:pt x="9" y="49"/>
                    <a:pt x="9" y="49"/>
                  </a:cubicBezTo>
                  <a:cubicBezTo>
                    <a:pt x="10" y="48"/>
                    <a:pt x="10" y="48"/>
                    <a:pt x="10" y="48"/>
                  </a:cubicBezTo>
                  <a:cubicBezTo>
                    <a:pt x="10" y="49"/>
                    <a:pt x="10" y="49"/>
                    <a:pt x="10" y="49"/>
                  </a:cubicBezTo>
                  <a:cubicBezTo>
                    <a:pt x="10" y="49"/>
                    <a:pt x="10" y="49"/>
                    <a:pt x="10" y="49"/>
                  </a:cubicBezTo>
                  <a:cubicBezTo>
                    <a:pt x="10" y="49"/>
                    <a:pt x="10" y="49"/>
                    <a:pt x="10" y="49"/>
                  </a:cubicBezTo>
                  <a:cubicBezTo>
                    <a:pt x="10" y="50"/>
                    <a:pt x="10" y="50"/>
                    <a:pt x="10" y="50"/>
                  </a:cubicBezTo>
                  <a:cubicBezTo>
                    <a:pt x="13" y="47"/>
                    <a:pt x="13" y="47"/>
                    <a:pt x="13" y="47"/>
                  </a:cubicBezTo>
                  <a:cubicBezTo>
                    <a:pt x="14" y="47"/>
                    <a:pt x="14" y="47"/>
                    <a:pt x="14" y="47"/>
                  </a:cubicBezTo>
                  <a:cubicBezTo>
                    <a:pt x="14" y="47"/>
                    <a:pt x="14" y="47"/>
                    <a:pt x="14" y="47"/>
                  </a:cubicBezTo>
                  <a:cubicBezTo>
                    <a:pt x="12" y="49"/>
                    <a:pt x="12" y="49"/>
                    <a:pt x="12" y="49"/>
                  </a:cubicBezTo>
                  <a:cubicBezTo>
                    <a:pt x="12" y="49"/>
                    <a:pt x="12" y="49"/>
                    <a:pt x="12" y="49"/>
                  </a:cubicBezTo>
                  <a:cubicBezTo>
                    <a:pt x="12" y="49"/>
                    <a:pt x="12" y="49"/>
                    <a:pt x="12" y="49"/>
                  </a:cubicBezTo>
                  <a:cubicBezTo>
                    <a:pt x="13" y="48"/>
                    <a:pt x="13" y="48"/>
                    <a:pt x="13" y="48"/>
                  </a:cubicBezTo>
                  <a:cubicBezTo>
                    <a:pt x="13" y="49"/>
                    <a:pt x="13" y="49"/>
                    <a:pt x="13" y="49"/>
                  </a:cubicBezTo>
                  <a:cubicBezTo>
                    <a:pt x="13" y="49"/>
                    <a:pt x="13" y="49"/>
                    <a:pt x="13" y="49"/>
                  </a:cubicBezTo>
                  <a:cubicBezTo>
                    <a:pt x="13" y="50"/>
                    <a:pt x="13" y="50"/>
                    <a:pt x="13" y="50"/>
                  </a:cubicBezTo>
                  <a:cubicBezTo>
                    <a:pt x="12" y="50"/>
                    <a:pt x="12" y="50"/>
                    <a:pt x="12" y="50"/>
                  </a:cubicBezTo>
                  <a:cubicBezTo>
                    <a:pt x="12" y="50"/>
                    <a:pt x="12" y="50"/>
                    <a:pt x="12" y="50"/>
                  </a:cubicBezTo>
                  <a:cubicBezTo>
                    <a:pt x="12" y="51"/>
                    <a:pt x="12" y="51"/>
                    <a:pt x="12" y="51"/>
                  </a:cubicBezTo>
                  <a:cubicBezTo>
                    <a:pt x="11" y="52"/>
                    <a:pt x="11" y="52"/>
                    <a:pt x="11" y="52"/>
                  </a:cubicBezTo>
                  <a:cubicBezTo>
                    <a:pt x="11" y="52"/>
                    <a:pt x="11" y="52"/>
                    <a:pt x="11" y="52"/>
                  </a:cubicBezTo>
                  <a:cubicBezTo>
                    <a:pt x="11" y="52"/>
                    <a:pt x="11" y="52"/>
                    <a:pt x="11" y="52"/>
                  </a:cubicBezTo>
                  <a:cubicBezTo>
                    <a:pt x="12" y="53"/>
                    <a:pt x="12" y="53"/>
                    <a:pt x="12" y="53"/>
                  </a:cubicBezTo>
                  <a:cubicBezTo>
                    <a:pt x="12" y="53"/>
                    <a:pt x="12" y="53"/>
                    <a:pt x="12" y="53"/>
                  </a:cubicBezTo>
                  <a:cubicBezTo>
                    <a:pt x="13" y="53"/>
                    <a:pt x="13" y="53"/>
                    <a:pt x="13" y="53"/>
                  </a:cubicBezTo>
                  <a:cubicBezTo>
                    <a:pt x="13" y="53"/>
                    <a:pt x="13" y="53"/>
                    <a:pt x="13" y="53"/>
                  </a:cubicBezTo>
                  <a:cubicBezTo>
                    <a:pt x="14" y="53"/>
                    <a:pt x="14" y="53"/>
                    <a:pt x="14" y="53"/>
                  </a:cubicBezTo>
                  <a:cubicBezTo>
                    <a:pt x="14" y="53"/>
                    <a:pt x="14" y="53"/>
                    <a:pt x="14" y="53"/>
                  </a:cubicBezTo>
                  <a:cubicBezTo>
                    <a:pt x="14" y="53"/>
                    <a:pt x="14" y="53"/>
                    <a:pt x="14" y="53"/>
                  </a:cubicBezTo>
                  <a:cubicBezTo>
                    <a:pt x="14" y="53"/>
                    <a:pt x="14" y="53"/>
                    <a:pt x="14" y="53"/>
                  </a:cubicBezTo>
                  <a:cubicBezTo>
                    <a:pt x="15" y="53"/>
                    <a:pt x="15" y="53"/>
                    <a:pt x="15" y="53"/>
                  </a:cubicBezTo>
                  <a:cubicBezTo>
                    <a:pt x="16" y="53"/>
                    <a:pt x="16" y="53"/>
                    <a:pt x="16" y="53"/>
                  </a:cubicBezTo>
                  <a:cubicBezTo>
                    <a:pt x="16" y="53"/>
                    <a:pt x="16" y="53"/>
                    <a:pt x="16" y="53"/>
                  </a:cubicBezTo>
                  <a:cubicBezTo>
                    <a:pt x="16" y="53"/>
                    <a:pt x="16" y="53"/>
                    <a:pt x="16" y="53"/>
                  </a:cubicBezTo>
                  <a:cubicBezTo>
                    <a:pt x="15" y="53"/>
                    <a:pt x="15" y="53"/>
                    <a:pt x="15" y="53"/>
                  </a:cubicBezTo>
                  <a:cubicBezTo>
                    <a:pt x="15" y="53"/>
                    <a:pt x="15" y="53"/>
                    <a:pt x="15" y="53"/>
                  </a:cubicBezTo>
                  <a:cubicBezTo>
                    <a:pt x="15" y="54"/>
                    <a:pt x="15" y="54"/>
                    <a:pt x="15" y="54"/>
                  </a:cubicBezTo>
                  <a:cubicBezTo>
                    <a:pt x="15" y="54"/>
                    <a:pt x="15" y="54"/>
                    <a:pt x="15" y="54"/>
                  </a:cubicBezTo>
                  <a:cubicBezTo>
                    <a:pt x="15" y="54"/>
                    <a:pt x="15" y="54"/>
                    <a:pt x="15" y="54"/>
                  </a:cubicBezTo>
                  <a:cubicBezTo>
                    <a:pt x="15" y="54"/>
                    <a:pt x="15" y="54"/>
                    <a:pt x="15" y="54"/>
                  </a:cubicBezTo>
                  <a:cubicBezTo>
                    <a:pt x="14" y="56"/>
                    <a:pt x="14" y="56"/>
                    <a:pt x="14" y="56"/>
                  </a:cubicBezTo>
                  <a:cubicBezTo>
                    <a:pt x="13" y="56"/>
                    <a:pt x="13" y="56"/>
                    <a:pt x="13" y="56"/>
                  </a:cubicBezTo>
                  <a:cubicBezTo>
                    <a:pt x="13" y="57"/>
                    <a:pt x="13" y="57"/>
                    <a:pt x="13" y="57"/>
                  </a:cubicBezTo>
                  <a:cubicBezTo>
                    <a:pt x="13" y="57"/>
                    <a:pt x="13" y="57"/>
                    <a:pt x="13" y="57"/>
                  </a:cubicBezTo>
                  <a:cubicBezTo>
                    <a:pt x="14" y="57"/>
                    <a:pt x="14" y="57"/>
                    <a:pt x="14" y="57"/>
                  </a:cubicBezTo>
                  <a:cubicBezTo>
                    <a:pt x="14" y="58"/>
                    <a:pt x="14" y="58"/>
                    <a:pt x="14" y="58"/>
                  </a:cubicBezTo>
                  <a:cubicBezTo>
                    <a:pt x="14" y="58"/>
                    <a:pt x="14" y="58"/>
                    <a:pt x="14" y="58"/>
                  </a:cubicBezTo>
                  <a:cubicBezTo>
                    <a:pt x="15" y="58"/>
                    <a:pt x="15" y="58"/>
                    <a:pt x="15" y="58"/>
                  </a:cubicBezTo>
                  <a:cubicBezTo>
                    <a:pt x="15" y="58"/>
                    <a:pt x="15" y="58"/>
                    <a:pt x="15" y="58"/>
                  </a:cubicBezTo>
                  <a:cubicBezTo>
                    <a:pt x="15" y="58"/>
                    <a:pt x="15" y="58"/>
                    <a:pt x="15" y="58"/>
                  </a:cubicBezTo>
                  <a:cubicBezTo>
                    <a:pt x="15" y="58"/>
                    <a:pt x="15" y="58"/>
                    <a:pt x="15" y="58"/>
                  </a:cubicBezTo>
                  <a:cubicBezTo>
                    <a:pt x="15" y="58"/>
                    <a:pt x="15" y="58"/>
                    <a:pt x="15" y="58"/>
                  </a:cubicBezTo>
                  <a:cubicBezTo>
                    <a:pt x="15" y="58"/>
                    <a:pt x="15" y="58"/>
                    <a:pt x="15" y="58"/>
                  </a:cubicBezTo>
                  <a:cubicBezTo>
                    <a:pt x="15" y="59"/>
                    <a:pt x="15" y="59"/>
                    <a:pt x="15" y="59"/>
                  </a:cubicBezTo>
                  <a:cubicBezTo>
                    <a:pt x="15" y="59"/>
                    <a:pt x="15" y="59"/>
                    <a:pt x="15" y="59"/>
                  </a:cubicBezTo>
                  <a:cubicBezTo>
                    <a:pt x="15" y="60"/>
                    <a:pt x="15" y="60"/>
                    <a:pt x="15" y="60"/>
                  </a:cubicBezTo>
                  <a:cubicBezTo>
                    <a:pt x="15" y="60"/>
                    <a:pt x="15" y="60"/>
                    <a:pt x="15" y="60"/>
                  </a:cubicBezTo>
                  <a:cubicBezTo>
                    <a:pt x="16" y="60"/>
                    <a:pt x="16" y="60"/>
                    <a:pt x="16" y="60"/>
                  </a:cubicBezTo>
                  <a:cubicBezTo>
                    <a:pt x="16" y="59"/>
                    <a:pt x="16" y="59"/>
                    <a:pt x="16" y="59"/>
                  </a:cubicBezTo>
                  <a:cubicBezTo>
                    <a:pt x="16" y="59"/>
                    <a:pt x="16" y="59"/>
                    <a:pt x="16" y="59"/>
                  </a:cubicBezTo>
                  <a:cubicBezTo>
                    <a:pt x="16" y="60"/>
                    <a:pt x="16" y="60"/>
                    <a:pt x="16" y="60"/>
                  </a:cubicBezTo>
                  <a:cubicBezTo>
                    <a:pt x="16" y="60"/>
                    <a:pt x="16" y="60"/>
                    <a:pt x="16" y="60"/>
                  </a:cubicBezTo>
                  <a:cubicBezTo>
                    <a:pt x="16" y="60"/>
                    <a:pt x="16" y="60"/>
                    <a:pt x="16" y="60"/>
                  </a:cubicBezTo>
                  <a:cubicBezTo>
                    <a:pt x="16" y="60"/>
                    <a:pt x="16" y="60"/>
                    <a:pt x="16" y="60"/>
                  </a:cubicBezTo>
                  <a:cubicBezTo>
                    <a:pt x="17" y="61"/>
                    <a:pt x="17" y="61"/>
                    <a:pt x="17" y="61"/>
                  </a:cubicBezTo>
                  <a:cubicBezTo>
                    <a:pt x="17" y="61"/>
                    <a:pt x="17" y="61"/>
                    <a:pt x="17" y="61"/>
                  </a:cubicBezTo>
                  <a:cubicBezTo>
                    <a:pt x="17" y="61"/>
                    <a:pt x="17" y="61"/>
                    <a:pt x="17" y="61"/>
                  </a:cubicBezTo>
                  <a:cubicBezTo>
                    <a:pt x="16" y="61"/>
                    <a:pt x="16" y="61"/>
                    <a:pt x="16" y="61"/>
                  </a:cubicBezTo>
                  <a:cubicBezTo>
                    <a:pt x="16" y="61"/>
                    <a:pt x="16" y="61"/>
                    <a:pt x="16" y="61"/>
                  </a:cubicBezTo>
                  <a:cubicBezTo>
                    <a:pt x="17" y="61"/>
                    <a:pt x="17" y="61"/>
                    <a:pt x="17" y="61"/>
                  </a:cubicBezTo>
                  <a:cubicBezTo>
                    <a:pt x="17" y="62"/>
                    <a:pt x="17" y="62"/>
                    <a:pt x="17" y="62"/>
                  </a:cubicBezTo>
                  <a:cubicBezTo>
                    <a:pt x="17" y="62"/>
                    <a:pt x="17" y="62"/>
                    <a:pt x="17" y="62"/>
                  </a:cubicBezTo>
                  <a:cubicBezTo>
                    <a:pt x="18" y="62"/>
                    <a:pt x="18" y="62"/>
                    <a:pt x="18" y="62"/>
                  </a:cubicBezTo>
                  <a:cubicBezTo>
                    <a:pt x="18" y="62"/>
                    <a:pt x="18" y="62"/>
                    <a:pt x="18" y="62"/>
                  </a:cubicBezTo>
                  <a:cubicBezTo>
                    <a:pt x="18" y="62"/>
                    <a:pt x="18" y="62"/>
                    <a:pt x="18" y="62"/>
                  </a:cubicBezTo>
                  <a:cubicBezTo>
                    <a:pt x="18" y="62"/>
                    <a:pt x="18" y="62"/>
                    <a:pt x="18" y="62"/>
                  </a:cubicBezTo>
                  <a:cubicBezTo>
                    <a:pt x="17" y="63"/>
                    <a:pt x="17" y="63"/>
                    <a:pt x="17" y="63"/>
                  </a:cubicBezTo>
                  <a:cubicBezTo>
                    <a:pt x="17" y="63"/>
                    <a:pt x="17" y="63"/>
                    <a:pt x="17" y="63"/>
                  </a:cubicBezTo>
                  <a:cubicBezTo>
                    <a:pt x="17" y="63"/>
                    <a:pt x="17" y="63"/>
                    <a:pt x="17" y="63"/>
                  </a:cubicBezTo>
                  <a:cubicBezTo>
                    <a:pt x="17" y="63"/>
                    <a:pt x="17" y="63"/>
                    <a:pt x="17" y="63"/>
                  </a:cubicBezTo>
                  <a:cubicBezTo>
                    <a:pt x="17" y="63"/>
                    <a:pt x="17" y="63"/>
                    <a:pt x="17" y="63"/>
                  </a:cubicBezTo>
                  <a:cubicBezTo>
                    <a:pt x="17" y="63"/>
                    <a:pt x="17" y="63"/>
                    <a:pt x="17" y="63"/>
                  </a:cubicBezTo>
                  <a:cubicBezTo>
                    <a:pt x="16" y="63"/>
                    <a:pt x="16" y="63"/>
                    <a:pt x="16" y="63"/>
                  </a:cubicBezTo>
                  <a:cubicBezTo>
                    <a:pt x="16" y="63"/>
                    <a:pt x="16" y="63"/>
                    <a:pt x="16" y="63"/>
                  </a:cubicBezTo>
                  <a:cubicBezTo>
                    <a:pt x="16" y="63"/>
                    <a:pt x="16" y="63"/>
                    <a:pt x="16" y="63"/>
                  </a:cubicBezTo>
                  <a:cubicBezTo>
                    <a:pt x="17" y="64"/>
                    <a:pt x="17" y="64"/>
                    <a:pt x="17" y="64"/>
                  </a:cubicBezTo>
                  <a:cubicBezTo>
                    <a:pt x="16" y="64"/>
                    <a:pt x="16" y="64"/>
                    <a:pt x="16" y="64"/>
                  </a:cubicBezTo>
                  <a:cubicBezTo>
                    <a:pt x="16" y="64"/>
                    <a:pt x="16" y="64"/>
                    <a:pt x="16" y="64"/>
                  </a:cubicBezTo>
                  <a:cubicBezTo>
                    <a:pt x="16" y="64"/>
                    <a:pt x="16" y="64"/>
                    <a:pt x="16" y="64"/>
                  </a:cubicBezTo>
                  <a:cubicBezTo>
                    <a:pt x="17" y="64"/>
                    <a:pt x="17" y="64"/>
                    <a:pt x="17" y="64"/>
                  </a:cubicBezTo>
                  <a:cubicBezTo>
                    <a:pt x="17" y="64"/>
                    <a:pt x="17" y="64"/>
                    <a:pt x="17" y="64"/>
                  </a:cubicBezTo>
                  <a:cubicBezTo>
                    <a:pt x="17" y="64"/>
                    <a:pt x="17" y="64"/>
                    <a:pt x="17" y="64"/>
                  </a:cubicBezTo>
                  <a:cubicBezTo>
                    <a:pt x="17" y="64"/>
                    <a:pt x="17" y="64"/>
                    <a:pt x="17" y="64"/>
                  </a:cubicBezTo>
                  <a:cubicBezTo>
                    <a:pt x="18" y="64"/>
                    <a:pt x="18" y="64"/>
                    <a:pt x="18" y="64"/>
                  </a:cubicBezTo>
                  <a:cubicBezTo>
                    <a:pt x="19" y="64"/>
                    <a:pt x="19" y="64"/>
                    <a:pt x="19" y="64"/>
                  </a:cubicBezTo>
                  <a:cubicBezTo>
                    <a:pt x="19" y="64"/>
                    <a:pt x="19" y="64"/>
                    <a:pt x="19" y="64"/>
                  </a:cubicBezTo>
                  <a:cubicBezTo>
                    <a:pt x="19" y="64"/>
                    <a:pt x="19" y="64"/>
                    <a:pt x="19" y="64"/>
                  </a:cubicBezTo>
                  <a:cubicBezTo>
                    <a:pt x="19" y="64"/>
                    <a:pt x="19" y="64"/>
                    <a:pt x="19" y="64"/>
                  </a:cubicBezTo>
                  <a:cubicBezTo>
                    <a:pt x="19" y="64"/>
                    <a:pt x="19" y="64"/>
                    <a:pt x="19" y="64"/>
                  </a:cubicBezTo>
                  <a:cubicBezTo>
                    <a:pt x="19" y="64"/>
                    <a:pt x="19" y="64"/>
                    <a:pt x="19" y="64"/>
                  </a:cubicBezTo>
                  <a:cubicBezTo>
                    <a:pt x="19" y="64"/>
                    <a:pt x="19" y="64"/>
                    <a:pt x="19" y="64"/>
                  </a:cubicBezTo>
                  <a:cubicBezTo>
                    <a:pt x="19" y="64"/>
                    <a:pt x="19" y="64"/>
                    <a:pt x="19" y="64"/>
                  </a:cubicBezTo>
                  <a:cubicBezTo>
                    <a:pt x="19" y="64"/>
                    <a:pt x="19" y="64"/>
                    <a:pt x="19" y="64"/>
                  </a:cubicBezTo>
                  <a:cubicBezTo>
                    <a:pt x="20" y="64"/>
                    <a:pt x="20" y="64"/>
                    <a:pt x="20" y="64"/>
                  </a:cubicBezTo>
                  <a:cubicBezTo>
                    <a:pt x="20" y="64"/>
                    <a:pt x="20" y="64"/>
                    <a:pt x="20" y="64"/>
                  </a:cubicBezTo>
                  <a:cubicBezTo>
                    <a:pt x="21" y="64"/>
                    <a:pt x="21" y="64"/>
                    <a:pt x="21" y="64"/>
                  </a:cubicBezTo>
                  <a:cubicBezTo>
                    <a:pt x="21" y="63"/>
                    <a:pt x="21" y="63"/>
                    <a:pt x="21" y="63"/>
                  </a:cubicBezTo>
                  <a:cubicBezTo>
                    <a:pt x="21" y="64"/>
                    <a:pt x="21" y="64"/>
                    <a:pt x="21" y="64"/>
                  </a:cubicBezTo>
                  <a:cubicBezTo>
                    <a:pt x="21" y="64"/>
                    <a:pt x="21" y="64"/>
                    <a:pt x="21" y="64"/>
                  </a:cubicBezTo>
                  <a:cubicBezTo>
                    <a:pt x="20" y="64"/>
                    <a:pt x="20" y="64"/>
                    <a:pt x="20" y="64"/>
                  </a:cubicBezTo>
                  <a:cubicBezTo>
                    <a:pt x="20" y="64"/>
                    <a:pt x="20" y="64"/>
                    <a:pt x="20" y="64"/>
                  </a:cubicBezTo>
                  <a:cubicBezTo>
                    <a:pt x="20" y="65"/>
                    <a:pt x="20" y="65"/>
                    <a:pt x="20" y="65"/>
                  </a:cubicBezTo>
                  <a:cubicBezTo>
                    <a:pt x="20" y="65"/>
                    <a:pt x="20" y="65"/>
                    <a:pt x="20" y="65"/>
                  </a:cubicBezTo>
                  <a:cubicBezTo>
                    <a:pt x="21" y="65"/>
                    <a:pt x="21" y="65"/>
                    <a:pt x="21" y="65"/>
                  </a:cubicBezTo>
                  <a:cubicBezTo>
                    <a:pt x="21" y="65"/>
                    <a:pt x="21" y="65"/>
                    <a:pt x="21" y="65"/>
                  </a:cubicBezTo>
                  <a:cubicBezTo>
                    <a:pt x="21" y="65"/>
                    <a:pt x="21" y="65"/>
                    <a:pt x="21" y="65"/>
                  </a:cubicBezTo>
                  <a:cubicBezTo>
                    <a:pt x="21" y="65"/>
                    <a:pt x="21" y="65"/>
                    <a:pt x="21" y="65"/>
                  </a:cubicBezTo>
                  <a:cubicBezTo>
                    <a:pt x="20" y="65"/>
                    <a:pt x="20" y="65"/>
                    <a:pt x="20" y="65"/>
                  </a:cubicBezTo>
                  <a:cubicBezTo>
                    <a:pt x="20" y="65"/>
                    <a:pt x="20" y="65"/>
                    <a:pt x="20" y="65"/>
                  </a:cubicBezTo>
                  <a:cubicBezTo>
                    <a:pt x="20" y="66"/>
                    <a:pt x="20" y="66"/>
                    <a:pt x="20" y="66"/>
                  </a:cubicBezTo>
                  <a:cubicBezTo>
                    <a:pt x="20" y="66"/>
                    <a:pt x="20" y="66"/>
                    <a:pt x="20" y="66"/>
                  </a:cubicBezTo>
                  <a:cubicBezTo>
                    <a:pt x="20" y="66"/>
                    <a:pt x="20" y="66"/>
                    <a:pt x="20" y="66"/>
                  </a:cubicBezTo>
                  <a:cubicBezTo>
                    <a:pt x="20" y="66"/>
                    <a:pt x="20" y="66"/>
                    <a:pt x="20" y="66"/>
                  </a:cubicBezTo>
                  <a:cubicBezTo>
                    <a:pt x="20" y="66"/>
                    <a:pt x="20" y="66"/>
                    <a:pt x="20" y="66"/>
                  </a:cubicBezTo>
                  <a:cubicBezTo>
                    <a:pt x="19" y="66"/>
                    <a:pt x="19" y="66"/>
                    <a:pt x="19" y="66"/>
                  </a:cubicBezTo>
                  <a:cubicBezTo>
                    <a:pt x="19" y="66"/>
                    <a:pt x="19" y="66"/>
                    <a:pt x="19" y="66"/>
                  </a:cubicBezTo>
                  <a:cubicBezTo>
                    <a:pt x="20" y="66"/>
                    <a:pt x="20" y="66"/>
                    <a:pt x="20" y="66"/>
                  </a:cubicBezTo>
                  <a:cubicBezTo>
                    <a:pt x="20" y="67"/>
                    <a:pt x="20" y="67"/>
                    <a:pt x="20" y="67"/>
                  </a:cubicBezTo>
                  <a:cubicBezTo>
                    <a:pt x="20" y="67"/>
                    <a:pt x="20" y="67"/>
                    <a:pt x="20" y="67"/>
                  </a:cubicBezTo>
                  <a:cubicBezTo>
                    <a:pt x="20" y="67"/>
                    <a:pt x="20" y="67"/>
                    <a:pt x="20" y="67"/>
                  </a:cubicBezTo>
                  <a:cubicBezTo>
                    <a:pt x="19" y="67"/>
                    <a:pt x="19" y="67"/>
                    <a:pt x="19" y="67"/>
                  </a:cubicBezTo>
                  <a:cubicBezTo>
                    <a:pt x="19" y="67"/>
                    <a:pt x="19" y="67"/>
                    <a:pt x="19" y="67"/>
                  </a:cubicBezTo>
                  <a:cubicBezTo>
                    <a:pt x="19" y="67"/>
                    <a:pt x="19" y="67"/>
                    <a:pt x="19" y="67"/>
                  </a:cubicBezTo>
                  <a:cubicBezTo>
                    <a:pt x="19" y="67"/>
                    <a:pt x="19" y="67"/>
                    <a:pt x="19" y="67"/>
                  </a:cubicBezTo>
                  <a:cubicBezTo>
                    <a:pt x="20" y="67"/>
                    <a:pt x="20" y="67"/>
                    <a:pt x="20" y="67"/>
                  </a:cubicBezTo>
                  <a:cubicBezTo>
                    <a:pt x="20" y="68"/>
                    <a:pt x="20" y="68"/>
                    <a:pt x="20" y="68"/>
                  </a:cubicBezTo>
                  <a:cubicBezTo>
                    <a:pt x="20" y="68"/>
                    <a:pt x="20" y="68"/>
                    <a:pt x="20" y="68"/>
                  </a:cubicBezTo>
                  <a:cubicBezTo>
                    <a:pt x="21" y="69"/>
                    <a:pt x="21" y="69"/>
                    <a:pt x="21" y="69"/>
                  </a:cubicBezTo>
                  <a:cubicBezTo>
                    <a:pt x="21" y="70"/>
                    <a:pt x="21" y="70"/>
                    <a:pt x="21" y="70"/>
                  </a:cubicBezTo>
                  <a:cubicBezTo>
                    <a:pt x="21" y="70"/>
                    <a:pt x="21" y="70"/>
                    <a:pt x="21" y="70"/>
                  </a:cubicBezTo>
                  <a:cubicBezTo>
                    <a:pt x="20" y="70"/>
                    <a:pt x="20" y="70"/>
                    <a:pt x="20" y="70"/>
                  </a:cubicBezTo>
                  <a:cubicBezTo>
                    <a:pt x="20" y="70"/>
                    <a:pt x="20" y="70"/>
                    <a:pt x="20" y="70"/>
                  </a:cubicBezTo>
                  <a:cubicBezTo>
                    <a:pt x="19" y="70"/>
                    <a:pt x="19" y="70"/>
                    <a:pt x="19" y="70"/>
                  </a:cubicBezTo>
                  <a:cubicBezTo>
                    <a:pt x="19" y="71"/>
                    <a:pt x="19" y="71"/>
                    <a:pt x="19" y="71"/>
                  </a:cubicBezTo>
                  <a:cubicBezTo>
                    <a:pt x="19" y="71"/>
                    <a:pt x="19" y="71"/>
                    <a:pt x="19" y="71"/>
                  </a:cubicBezTo>
                  <a:cubicBezTo>
                    <a:pt x="19" y="71"/>
                    <a:pt x="19" y="71"/>
                    <a:pt x="19" y="71"/>
                  </a:cubicBezTo>
                  <a:cubicBezTo>
                    <a:pt x="19" y="71"/>
                    <a:pt x="19" y="71"/>
                    <a:pt x="19" y="71"/>
                  </a:cubicBezTo>
                  <a:cubicBezTo>
                    <a:pt x="19" y="71"/>
                    <a:pt x="19" y="71"/>
                    <a:pt x="19" y="71"/>
                  </a:cubicBezTo>
                  <a:cubicBezTo>
                    <a:pt x="19" y="71"/>
                    <a:pt x="19" y="71"/>
                    <a:pt x="19" y="71"/>
                  </a:cubicBezTo>
                  <a:cubicBezTo>
                    <a:pt x="19" y="71"/>
                    <a:pt x="19" y="71"/>
                    <a:pt x="19" y="71"/>
                  </a:cubicBezTo>
                  <a:cubicBezTo>
                    <a:pt x="19" y="71"/>
                    <a:pt x="19" y="71"/>
                    <a:pt x="19" y="71"/>
                  </a:cubicBezTo>
                  <a:cubicBezTo>
                    <a:pt x="19" y="71"/>
                    <a:pt x="19" y="71"/>
                    <a:pt x="19" y="71"/>
                  </a:cubicBezTo>
                  <a:cubicBezTo>
                    <a:pt x="19" y="72"/>
                    <a:pt x="19" y="72"/>
                    <a:pt x="19" y="72"/>
                  </a:cubicBezTo>
                  <a:cubicBezTo>
                    <a:pt x="19" y="72"/>
                    <a:pt x="19" y="72"/>
                    <a:pt x="19" y="72"/>
                  </a:cubicBezTo>
                  <a:cubicBezTo>
                    <a:pt x="19" y="72"/>
                    <a:pt x="19" y="72"/>
                    <a:pt x="19" y="72"/>
                  </a:cubicBezTo>
                  <a:cubicBezTo>
                    <a:pt x="19" y="72"/>
                    <a:pt x="19" y="72"/>
                    <a:pt x="19" y="72"/>
                  </a:cubicBezTo>
                  <a:cubicBezTo>
                    <a:pt x="19" y="72"/>
                    <a:pt x="19" y="72"/>
                    <a:pt x="19" y="72"/>
                  </a:cubicBezTo>
                  <a:cubicBezTo>
                    <a:pt x="19" y="72"/>
                    <a:pt x="19" y="72"/>
                    <a:pt x="19" y="72"/>
                  </a:cubicBezTo>
                  <a:cubicBezTo>
                    <a:pt x="19" y="72"/>
                    <a:pt x="19" y="72"/>
                    <a:pt x="19" y="72"/>
                  </a:cubicBezTo>
                  <a:cubicBezTo>
                    <a:pt x="19" y="72"/>
                    <a:pt x="19" y="72"/>
                    <a:pt x="19" y="72"/>
                  </a:cubicBezTo>
                  <a:cubicBezTo>
                    <a:pt x="19" y="72"/>
                    <a:pt x="19" y="72"/>
                    <a:pt x="19" y="72"/>
                  </a:cubicBezTo>
                  <a:cubicBezTo>
                    <a:pt x="19" y="72"/>
                    <a:pt x="19" y="72"/>
                    <a:pt x="19" y="72"/>
                  </a:cubicBezTo>
                  <a:cubicBezTo>
                    <a:pt x="19" y="72"/>
                    <a:pt x="19" y="72"/>
                    <a:pt x="19" y="72"/>
                  </a:cubicBezTo>
                  <a:cubicBezTo>
                    <a:pt x="20" y="72"/>
                    <a:pt x="20" y="72"/>
                    <a:pt x="20" y="72"/>
                  </a:cubicBezTo>
                  <a:cubicBezTo>
                    <a:pt x="20" y="73"/>
                    <a:pt x="20" y="73"/>
                    <a:pt x="20" y="73"/>
                  </a:cubicBezTo>
                  <a:cubicBezTo>
                    <a:pt x="20" y="73"/>
                    <a:pt x="20" y="73"/>
                    <a:pt x="20" y="73"/>
                  </a:cubicBezTo>
                  <a:cubicBezTo>
                    <a:pt x="20" y="73"/>
                    <a:pt x="20" y="73"/>
                    <a:pt x="20" y="73"/>
                  </a:cubicBezTo>
                  <a:cubicBezTo>
                    <a:pt x="20" y="74"/>
                    <a:pt x="20" y="74"/>
                    <a:pt x="20" y="74"/>
                  </a:cubicBezTo>
                  <a:cubicBezTo>
                    <a:pt x="20" y="74"/>
                    <a:pt x="20" y="74"/>
                    <a:pt x="20" y="74"/>
                  </a:cubicBezTo>
                  <a:cubicBezTo>
                    <a:pt x="21" y="74"/>
                    <a:pt x="21" y="74"/>
                    <a:pt x="21" y="74"/>
                  </a:cubicBezTo>
                  <a:cubicBezTo>
                    <a:pt x="21" y="74"/>
                    <a:pt x="21" y="74"/>
                    <a:pt x="21" y="74"/>
                  </a:cubicBezTo>
                  <a:cubicBezTo>
                    <a:pt x="22" y="75"/>
                    <a:pt x="22" y="75"/>
                    <a:pt x="22" y="75"/>
                  </a:cubicBezTo>
                  <a:cubicBezTo>
                    <a:pt x="22" y="75"/>
                    <a:pt x="22" y="75"/>
                    <a:pt x="22" y="75"/>
                  </a:cubicBezTo>
                  <a:cubicBezTo>
                    <a:pt x="21" y="75"/>
                    <a:pt x="21" y="75"/>
                    <a:pt x="21" y="75"/>
                  </a:cubicBezTo>
                  <a:cubicBezTo>
                    <a:pt x="20" y="75"/>
                    <a:pt x="20" y="75"/>
                    <a:pt x="20" y="75"/>
                  </a:cubicBezTo>
                  <a:cubicBezTo>
                    <a:pt x="20" y="74"/>
                    <a:pt x="20" y="74"/>
                    <a:pt x="20" y="74"/>
                  </a:cubicBezTo>
                  <a:cubicBezTo>
                    <a:pt x="20" y="74"/>
                    <a:pt x="20" y="74"/>
                    <a:pt x="20" y="74"/>
                  </a:cubicBezTo>
                  <a:cubicBezTo>
                    <a:pt x="20" y="73"/>
                    <a:pt x="20" y="73"/>
                    <a:pt x="20" y="73"/>
                  </a:cubicBezTo>
                  <a:cubicBezTo>
                    <a:pt x="19" y="73"/>
                    <a:pt x="19" y="73"/>
                    <a:pt x="19" y="73"/>
                  </a:cubicBezTo>
                  <a:cubicBezTo>
                    <a:pt x="19" y="73"/>
                    <a:pt x="19" y="73"/>
                    <a:pt x="19" y="73"/>
                  </a:cubicBezTo>
                  <a:cubicBezTo>
                    <a:pt x="18" y="72"/>
                    <a:pt x="18" y="72"/>
                    <a:pt x="18" y="72"/>
                  </a:cubicBezTo>
                  <a:cubicBezTo>
                    <a:pt x="18" y="72"/>
                    <a:pt x="18" y="72"/>
                    <a:pt x="18" y="72"/>
                  </a:cubicBezTo>
                  <a:cubicBezTo>
                    <a:pt x="18" y="73"/>
                    <a:pt x="18" y="73"/>
                    <a:pt x="18" y="73"/>
                  </a:cubicBezTo>
                  <a:cubicBezTo>
                    <a:pt x="18" y="73"/>
                    <a:pt x="18" y="73"/>
                    <a:pt x="18" y="73"/>
                  </a:cubicBezTo>
                  <a:cubicBezTo>
                    <a:pt x="18" y="73"/>
                    <a:pt x="18" y="73"/>
                    <a:pt x="18" y="73"/>
                  </a:cubicBezTo>
                  <a:cubicBezTo>
                    <a:pt x="17" y="73"/>
                    <a:pt x="17" y="73"/>
                    <a:pt x="17" y="73"/>
                  </a:cubicBezTo>
                  <a:cubicBezTo>
                    <a:pt x="17" y="73"/>
                    <a:pt x="17" y="73"/>
                    <a:pt x="17" y="73"/>
                  </a:cubicBezTo>
                  <a:cubicBezTo>
                    <a:pt x="17" y="73"/>
                    <a:pt x="17" y="73"/>
                    <a:pt x="17" y="73"/>
                  </a:cubicBezTo>
                  <a:cubicBezTo>
                    <a:pt x="17" y="73"/>
                    <a:pt x="17" y="73"/>
                    <a:pt x="17" y="73"/>
                  </a:cubicBezTo>
                  <a:cubicBezTo>
                    <a:pt x="16" y="73"/>
                    <a:pt x="16" y="73"/>
                    <a:pt x="16" y="73"/>
                  </a:cubicBezTo>
                  <a:cubicBezTo>
                    <a:pt x="16" y="73"/>
                    <a:pt x="16" y="73"/>
                    <a:pt x="16" y="73"/>
                  </a:cubicBezTo>
                  <a:cubicBezTo>
                    <a:pt x="17" y="73"/>
                    <a:pt x="17" y="73"/>
                    <a:pt x="17" y="73"/>
                  </a:cubicBezTo>
                  <a:cubicBezTo>
                    <a:pt x="16" y="73"/>
                    <a:pt x="16" y="73"/>
                    <a:pt x="16" y="73"/>
                  </a:cubicBezTo>
                  <a:cubicBezTo>
                    <a:pt x="16" y="73"/>
                    <a:pt x="16" y="73"/>
                    <a:pt x="16" y="73"/>
                  </a:cubicBezTo>
                  <a:cubicBezTo>
                    <a:pt x="16" y="73"/>
                    <a:pt x="16" y="73"/>
                    <a:pt x="16" y="73"/>
                  </a:cubicBezTo>
                  <a:cubicBezTo>
                    <a:pt x="16" y="73"/>
                    <a:pt x="16" y="73"/>
                    <a:pt x="16" y="73"/>
                  </a:cubicBezTo>
                  <a:cubicBezTo>
                    <a:pt x="16" y="73"/>
                    <a:pt x="16" y="73"/>
                    <a:pt x="16" y="73"/>
                  </a:cubicBezTo>
                  <a:cubicBezTo>
                    <a:pt x="16" y="74"/>
                    <a:pt x="16" y="74"/>
                    <a:pt x="16" y="74"/>
                  </a:cubicBezTo>
                  <a:cubicBezTo>
                    <a:pt x="17" y="74"/>
                    <a:pt x="17" y="74"/>
                    <a:pt x="17" y="74"/>
                  </a:cubicBezTo>
                  <a:cubicBezTo>
                    <a:pt x="17" y="74"/>
                    <a:pt x="17" y="74"/>
                    <a:pt x="17" y="74"/>
                  </a:cubicBezTo>
                  <a:cubicBezTo>
                    <a:pt x="17" y="74"/>
                    <a:pt x="17" y="74"/>
                    <a:pt x="17" y="74"/>
                  </a:cubicBezTo>
                  <a:cubicBezTo>
                    <a:pt x="17" y="74"/>
                    <a:pt x="17" y="74"/>
                    <a:pt x="17" y="74"/>
                  </a:cubicBezTo>
                  <a:cubicBezTo>
                    <a:pt x="17" y="75"/>
                    <a:pt x="17" y="75"/>
                    <a:pt x="17" y="75"/>
                  </a:cubicBezTo>
                  <a:cubicBezTo>
                    <a:pt x="17" y="76"/>
                    <a:pt x="17" y="76"/>
                    <a:pt x="17" y="76"/>
                  </a:cubicBezTo>
                  <a:cubicBezTo>
                    <a:pt x="17" y="76"/>
                    <a:pt x="17" y="76"/>
                    <a:pt x="17" y="76"/>
                  </a:cubicBezTo>
                  <a:cubicBezTo>
                    <a:pt x="17" y="76"/>
                    <a:pt x="17" y="76"/>
                    <a:pt x="17" y="76"/>
                  </a:cubicBezTo>
                  <a:cubicBezTo>
                    <a:pt x="16" y="77"/>
                    <a:pt x="16" y="77"/>
                    <a:pt x="16" y="77"/>
                  </a:cubicBezTo>
                  <a:cubicBezTo>
                    <a:pt x="16" y="78"/>
                    <a:pt x="16" y="78"/>
                    <a:pt x="16" y="78"/>
                  </a:cubicBezTo>
                  <a:cubicBezTo>
                    <a:pt x="16" y="78"/>
                    <a:pt x="16" y="78"/>
                    <a:pt x="16" y="78"/>
                  </a:cubicBezTo>
                  <a:cubicBezTo>
                    <a:pt x="16" y="78"/>
                    <a:pt x="16" y="78"/>
                    <a:pt x="16" y="78"/>
                  </a:cubicBezTo>
                  <a:cubicBezTo>
                    <a:pt x="16" y="79"/>
                    <a:pt x="16" y="79"/>
                    <a:pt x="16" y="79"/>
                  </a:cubicBezTo>
                  <a:cubicBezTo>
                    <a:pt x="16" y="79"/>
                    <a:pt x="16" y="79"/>
                    <a:pt x="16" y="79"/>
                  </a:cubicBezTo>
                  <a:cubicBezTo>
                    <a:pt x="16" y="79"/>
                    <a:pt x="16" y="79"/>
                    <a:pt x="16" y="79"/>
                  </a:cubicBezTo>
                  <a:cubicBezTo>
                    <a:pt x="16" y="79"/>
                    <a:pt x="16" y="79"/>
                    <a:pt x="16" y="79"/>
                  </a:cubicBezTo>
                  <a:cubicBezTo>
                    <a:pt x="16" y="80"/>
                    <a:pt x="16" y="80"/>
                    <a:pt x="16" y="80"/>
                  </a:cubicBezTo>
                  <a:cubicBezTo>
                    <a:pt x="16" y="80"/>
                    <a:pt x="16" y="80"/>
                    <a:pt x="16" y="80"/>
                  </a:cubicBezTo>
                  <a:cubicBezTo>
                    <a:pt x="16" y="80"/>
                    <a:pt x="16" y="80"/>
                    <a:pt x="16" y="80"/>
                  </a:cubicBezTo>
                  <a:cubicBezTo>
                    <a:pt x="17" y="79"/>
                    <a:pt x="17" y="79"/>
                    <a:pt x="17" y="79"/>
                  </a:cubicBezTo>
                  <a:cubicBezTo>
                    <a:pt x="17" y="79"/>
                    <a:pt x="17" y="79"/>
                    <a:pt x="17" y="79"/>
                  </a:cubicBezTo>
                  <a:cubicBezTo>
                    <a:pt x="17" y="79"/>
                    <a:pt x="17" y="79"/>
                    <a:pt x="17" y="79"/>
                  </a:cubicBezTo>
                  <a:cubicBezTo>
                    <a:pt x="17" y="79"/>
                    <a:pt x="17" y="79"/>
                    <a:pt x="17" y="79"/>
                  </a:cubicBezTo>
                  <a:cubicBezTo>
                    <a:pt x="17" y="79"/>
                    <a:pt x="17" y="79"/>
                    <a:pt x="17" y="79"/>
                  </a:cubicBezTo>
                  <a:cubicBezTo>
                    <a:pt x="18" y="79"/>
                    <a:pt x="18" y="79"/>
                    <a:pt x="18" y="79"/>
                  </a:cubicBezTo>
                  <a:cubicBezTo>
                    <a:pt x="18" y="79"/>
                    <a:pt x="18" y="79"/>
                    <a:pt x="18" y="79"/>
                  </a:cubicBezTo>
                  <a:cubicBezTo>
                    <a:pt x="18" y="79"/>
                    <a:pt x="18" y="79"/>
                    <a:pt x="18" y="79"/>
                  </a:cubicBezTo>
                  <a:cubicBezTo>
                    <a:pt x="18" y="79"/>
                    <a:pt x="18" y="79"/>
                    <a:pt x="18" y="79"/>
                  </a:cubicBezTo>
                  <a:cubicBezTo>
                    <a:pt x="18" y="79"/>
                    <a:pt x="18" y="79"/>
                    <a:pt x="18" y="79"/>
                  </a:cubicBezTo>
                  <a:cubicBezTo>
                    <a:pt x="18" y="79"/>
                    <a:pt x="18" y="79"/>
                    <a:pt x="18" y="79"/>
                  </a:cubicBezTo>
                  <a:cubicBezTo>
                    <a:pt x="18" y="79"/>
                    <a:pt x="18" y="79"/>
                    <a:pt x="18" y="79"/>
                  </a:cubicBezTo>
                  <a:cubicBezTo>
                    <a:pt x="18" y="79"/>
                    <a:pt x="18" y="79"/>
                    <a:pt x="18" y="79"/>
                  </a:cubicBezTo>
                  <a:cubicBezTo>
                    <a:pt x="18" y="79"/>
                    <a:pt x="18" y="79"/>
                    <a:pt x="18" y="79"/>
                  </a:cubicBezTo>
                  <a:cubicBezTo>
                    <a:pt x="18" y="79"/>
                    <a:pt x="18" y="79"/>
                    <a:pt x="18" y="79"/>
                  </a:cubicBezTo>
                  <a:cubicBezTo>
                    <a:pt x="19" y="79"/>
                    <a:pt x="19" y="79"/>
                    <a:pt x="19" y="79"/>
                  </a:cubicBezTo>
                  <a:cubicBezTo>
                    <a:pt x="18" y="80"/>
                    <a:pt x="18" y="80"/>
                    <a:pt x="18" y="80"/>
                  </a:cubicBezTo>
                  <a:cubicBezTo>
                    <a:pt x="17" y="80"/>
                    <a:pt x="17" y="80"/>
                    <a:pt x="17" y="80"/>
                  </a:cubicBezTo>
                  <a:cubicBezTo>
                    <a:pt x="18" y="80"/>
                    <a:pt x="18" y="80"/>
                    <a:pt x="18" y="80"/>
                  </a:cubicBezTo>
                  <a:cubicBezTo>
                    <a:pt x="18" y="81"/>
                    <a:pt x="18" y="81"/>
                    <a:pt x="18" y="81"/>
                  </a:cubicBezTo>
                  <a:cubicBezTo>
                    <a:pt x="18" y="81"/>
                    <a:pt x="18" y="81"/>
                    <a:pt x="18" y="81"/>
                  </a:cubicBezTo>
                  <a:cubicBezTo>
                    <a:pt x="17" y="81"/>
                    <a:pt x="17" y="81"/>
                    <a:pt x="17" y="81"/>
                  </a:cubicBezTo>
                  <a:cubicBezTo>
                    <a:pt x="17" y="81"/>
                    <a:pt x="17" y="81"/>
                    <a:pt x="17" y="81"/>
                  </a:cubicBezTo>
                  <a:cubicBezTo>
                    <a:pt x="17" y="82"/>
                    <a:pt x="17" y="82"/>
                    <a:pt x="17" y="82"/>
                  </a:cubicBezTo>
                  <a:cubicBezTo>
                    <a:pt x="17" y="82"/>
                    <a:pt x="17" y="82"/>
                    <a:pt x="17" y="82"/>
                  </a:cubicBezTo>
                  <a:cubicBezTo>
                    <a:pt x="17" y="82"/>
                    <a:pt x="17" y="82"/>
                    <a:pt x="17" y="82"/>
                  </a:cubicBezTo>
                  <a:cubicBezTo>
                    <a:pt x="17" y="82"/>
                    <a:pt x="17" y="82"/>
                    <a:pt x="17" y="82"/>
                  </a:cubicBezTo>
                  <a:cubicBezTo>
                    <a:pt x="17" y="82"/>
                    <a:pt x="17" y="82"/>
                    <a:pt x="17" y="82"/>
                  </a:cubicBezTo>
                  <a:cubicBezTo>
                    <a:pt x="17" y="83"/>
                    <a:pt x="17" y="83"/>
                    <a:pt x="17" y="83"/>
                  </a:cubicBezTo>
                  <a:cubicBezTo>
                    <a:pt x="16" y="83"/>
                    <a:pt x="16" y="83"/>
                    <a:pt x="16" y="83"/>
                  </a:cubicBezTo>
                  <a:cubicBezTo>
                    <a:pt x="16" y="83"/>
                    <a:pt x="16" y="83"/>
                    <a:pt x="16" y="83"/>
                  </a:cubicBezTo>
                  <a:cubicBezTo>
                    <a:pt x="16" y="83"/>
                    <a:pt x="16" y="83"/>
                    <a:pt x="16" y="83"/>
                  </a:cubicBezTo>
                  <a:cubicBezTo>
                    <a:pt x="15" y="84"/>
                    <a:pt x="15" y="84"/>
                    <a:pt x="15" y="84"/>
                  </a:cubicBezTo>
                  <a:cubicBezTo>
                    <a:pt x="15" y="84"/>
                    <a:pt x="15" y="84"/>
                    <a:pt x="15" y="84"/>
                  </a:cubicBezTo>
                  <a:cubicBezTo>
                    <a:pt x="15" y="85"/>
                    <a:pt x="15" y="85"/>
                    <a:pt x="15" y="85"/>
                  </a:cubicBezTo>
                  <a:cubicBezTo>
                    <a:pt x="15" y="85"/>
                    <a:pt x="15" y="85"/>
                    <a:pt x="15" y="85"/>
                  </a:cubicBezTo>
                  <a:cubicBezTo>
                    <a:pt x="15" y="85"/>
                    <a:pt x="15" y="85"/>
                    <a:pt x="15" y="85"/>
                  </a:cubicBezTo>
                  <a:cubicBezTo>
                    <a:pt x="15" y="86"/>
                    <a:pt x="15" y="86"/>
                    <a:pt x="15" y="86"/>
                  </a:cubicBezTo>
                  <a:cubicBezTo>
                    <a:pt x="14" y="86"/>
                    <a:pt x="14" y="86"/>
                    <a:pt x="14" y="86"/>
                  </a:cubicBezTo>
                  <a:cubicBezTo>
                    <a:pt x="14" y="86"/>
                    <a:pt x="14" y="86"/>
                    <a:pt x="14" y="86"/>
                  </a:cubicBezTo>
                  <a:cubicBezTo>
                    <a:pt x="15" y="86"/>
                    <a:pt x="15" y="86"/>
                    <a:pt x="15" y="86"/>
                  </a:cubicBezTo>
                  <a:cubicBezTo>
                    <a:pt x="15" y="86"/>
                    <a:pt x="15" y="86"/>
                    <a:pt x="15" y="86"/>
                  </a:cubicBezTo>
                  <a:cubicBezTo>
                    <a:pt x="15" y="87"/>
                    <a:pt x="15" y="87"/>
                    <a:pt x="15" y="87"/>
                  </a:cubicBezTo>
                  <a:cubicBezTo>
                    <a:pt x="15" y="87"/>
                    <a:pt x="15" y="87"/>
                    <a:pt x="15" y="87"/>
                  </a:cubicBezTo>
                  <a:cubicBezTo>
                    <a:pt x="14" y="87"/>
                    <a:pt x="14" y="87"/>
                    <a:pt x="14" y="87"/>
                  </a:cubicBezTo>
                  <a:cubicBezTo>
                    <a:pt x="14" y="87"/>
                    <a:pt x="14" y="87"/>
                    <a:pt x="14" y="87"/>
                  </a:cubicBezTo>
                  <a:cubicBezTo>
                    <a:pt x="14" y="87"/>
                    <a:pt x="14" y="87"/>
                    <a:pt x="14" y="87"/>
                  </a:cubicBezTo>
                  <a:cubicBezTo>
                    <a:pt x="14" y="88"/>
                    <a:pt x="14" y="88"/>
                    <a:pt x="14" y="88"/>
                  </a:cubicBezTo>
                  <a:cubicBezTo>
                    <a:pt x="14" y="88"/>
                    <a:pt x="14" y="88"/>
                    <a:pt x="14" y="88"/>
                  </a:cubicBezTo>
                  <a:cubicBezTo>
                    <a:pt x="14" y="88"/>
                    <a:pt x="14" y="88"/>
                    <a:pt x="14" y="88"/>
                  </a:cubicBezTo>
                  <a:cubicBezTo>
                    <a:pt x="14" y="88"/>
                    <a:pt x="14" y="88"/>
                    <a:pt x="14" y="88"/>
                  </a:cubicBezTo>
                  <a:cubicBezTo>
                    <a:pt x="14" y="88"/>
                    <a:pt x="14" y="88"/>
                    <a:pt x="14" y="88"/>
                  </a:cubicBezTo>
                  <a:cubicBezTo>
                    <a:pt x="14" y="88"/>
                    <a:pt x="14" y="88"/>
                    <a:pt x="14" y="88"/>
                  </a:cubicBezTo>
                  <a:cubicBezTo>
                    <a:pt x="14" y="88"/>
                    <a:pt x="14" y="88"/>
                    <a:pt x="14" y="88"/>
                  </a:cubicBezTo>
                  <a:cubicBezTo>
                    <a:pt x="13" y="88"/>
                    <a:pt x="13" y="88"/>
                    <a:pt x="13" y="88"/>
                  </a:cubicBezTo>
                  <a:cubicBezTo>
                    <a:pt x="13" y="88"/>
                    <a:pt x="13" y="88"/>
                    <a:pt x="13" y="88"/>
                  </a:cubicBezTo>
                  <a:cubicBezTo>
                    <a:pt x="13" y="88"/>
                    <a:pt x="13" y="88"/>
                    <a:pt x="13" y="88"/>
                  </a:cubicBezTo>
                  <a:cubicBezTo>
                    <a:pt x="13" y="88"/>
                    <a:pt x="13" y="88"/>
                    <a:pt x="13" y="88"/>
                  </a:cubicBezTo>
                  <a:cubicBezTo>
                    <a:pt x="13" y="89"/>
                    <a:pt x="13" y="89"/>
                    <a:pt x="13" y="89"/>
                  </a:cubicBezTo>
                  <a:cubicBezTo>
                    <a:pt x="13" y="89"/>
                    <a:pt x="13" y="89"/>
                    <a:pt x="13" y="89"/>
                  </a:cubicBezTo>
                  <a:cubicBezTo>
                    <a:pt x="14" y="89"/>
                    <a:pt x="14" y="89"/>
                    <a:pt x="14" y="89"/>
                  </a:cubicBezTo>
                  <a:cubicBezTo>
                    <a:pt x="14" y="89"/>
                    <a:pt x="14" y="89"/>
                    <a:pt x="14" y="89"/>
                  </a:cubicBezTo>
                  <a:cubicBezTo>
                    <a:pt x="13" y="89"/>
                    <a:pt x="13" y="89"/>
                    <a:pt x="13" y="89"/>
                  </a:cubicBezTo>
                  <a:cubicBezTo>
                    <a:pt x="13" y="89"/>
                    <a:pt x="13" y="89"/>
                    <a:pt x="13" y="89"/>
                  </a:cubicBezTo>
                  <a:cubicBezTo>
                    <a:pt x="13" y="90"/>
                    <a:pt x="13" y="90"/>
                    <a:pt x="13" y="90"/>
                  </a:cubicBezTo>
                  <a:cubicBezTo>
                    <a:pt x="13" y="90"/>
                    <a:pt x="13" y="90"/>
                    <a:pt x="13" y="90"/>
                  </a:cubicBezTo>
                  <a:cubicBezTo>
                    <a:pt x="13" y="90"/>
                    <a:pt x="13" y="90"/>
                    <a:pt x="13" y="90"/>
                  </a:cubicBezTo>
                  <a:cubicBezTo>
                    <a:pt x="13" y="90"/>
                    <a:pt x="13" y="90"/>
                    <a:pt x="13" y="90"/>
                  </a:cubicBezTo>
                  <a:cubicBezTo>
                    <a:pt x="13" y="90"/>
                    <a:pt x="13" y="90"/>
                    <a:pt x="13" y="90"/>
                  </a:cubicBezTo>
                  <a:cubicBezTo>
                    <a:pt x="14" y="89"/>
                    <a:pt x="14" y="89"/>
                    <a:pt x="14" y="89"/>
                  </a:cubicBezTo>
                  <a:cubicBezTo>
                    <a:pt x="14" y="89"/>
                    <a:pt x="14" y="89"/>
                    <a:pt x="14" y="89"/>
                  </a:cubicBezTo>
                  <a:cubicBezTo>
                    <a:pt x="14" y="90"/>
                    <a:pt x="14" y="90"/>
                    <a:pt x="14" y="90"/>
                  </a:cubicBezTo>
                  <a:cubicBezTo>
                    <a:pt x="13" y="90"/>
                    <a:pt x="13" y="90"/>
                    <a:pt x="13" y="90"/>
                  </a:cubicBezTo>
                  <a:cubicBezTo>
                    <a:pt x="13" y="91"/>
                    <a:pt x="13" y="91"/>
                    <a:pt x="13" y="91"/>
                  </a:cubicBezTo>
                  <a:cubicBezTo>
                    <a:pt x="13" y="91"/>
                    <a:pt x="13" y="91"/>
                    <a:pt x="13" y="91"/>
                  </a:cubicBezTo>
                  <a:cubicBezTo>
                    <a:pt x="14" y="91"/>
                    <a:pt x="14" y="91"/>
                    <a:pt x="14" y="91"/>
                  </a:cubicBezTo>
                  <a:cubicBezTo>
                    <a:pt x="13" y="91"/>
                    <a:pt x="13" y="91"/>
                    <a:pt x="13" y="91"/>
                  </a:cubicBezTo>
                  <a:cubicBezTo>
                    <a:pt x="13" y="91"/>
                    <a:pt x="13" y="91"/>
                    <a:pt x="13" y="91"/>
                  </a:cubicBezTo>
                  <a:cubicBezTo>
                    <a:pt x="13" y="91"/>
                    <a:pt x="13" y="91"/>
                    <a:pt x="13" y="91"/>
                  </a:cubicBezTo>
                  <a:cubicBezTo>
                    <a:pt x="13" y="91"/>
                    <a:pt x="13" y="91"/>
                    <a:pt x="13" y="91"/>
                  </a:cubicBezTo>
                  <a:cubicBezTo>
                    <a:pt x="13" y="91"/>
                    <a:pt x="13" y="91"/>
                    <a:pt x="13" y="91"/>
                  </a:cubicBezTo>
                  <a:cubicBezTo>
                    <a:pt x="13" y="91"/>
                    <a:pt x="13" y="91"/>
                    <a:pt x="13" y="91"/>
                  </a:cubicBezTo>
                  <a:cubicBezTo>
                    <a:pt x="13" y="90"/>
                    <a:pt x="13" y="90"/>
                    <a:pt x="13" y="90"/>
                  </a:cubicBezTo>
                  <a:cubicBezTo>
                    <a:pt x="13" y="90"/>
                    <a:pt x="13" y="90"/>
                    <a:pt x="13" y="90"/>
                  </a:cubicBezTo>
                  <a:cubicBezTo>
                    <a:pt x="12" y="91"/>
                    <a:pt x="12" y="91"/>
                    <a:pt x="12" y="91"/>
                  </a:cubicBezTo>
                  <a:cubicBezTo>
                    <a:pt x="12" y="91"/>
                    <a:pt x="12" y="91"/>
                    <a:pt x="12" y="91"/>
                  </a:cubicBezTo>
                  <a:cubicBezTo>
                    <a:pt x="12" y="91"/>
                    <a:pt x="12" y="91"/>
                    <a:pt x="12" y="91"/>
                  </a:cubicBezTo>
                  <a:cubicBezTo>
                    <a:pt x="12" y="92"/>
                    <a:pt x="12" y="92"/>
                    <a:pt x="12" y="92"/>
                  </a:cubicBezTo>
                  <a:cubicBezTo>
                    <a:pt x="12" y="92"/>
                    <a:pt x="12" y="92"/>
                    <a:pt x="12" y="92"/>
                  </a:cubicBezTo>
                  <a:cubicBezTo>
                    <a:pt x="12" y="91"/>
                    <a:pt x="12" y="91"/>
                    <a:pt x="12" y="91"/>
                  </a:cubicBezTo>
                  <a:cubicBezTo>
                    <a:pt x="11" y="91"/>
                    <a:pt x="11" y="91"/>
                    <a:pt x="11" y="91"/>
                  </a:cubicBezTo>
                  <a:cubicBezTo>
                    <a:pt x="11" y="91"/>
                    <a:pt x="11" y="91"/>
                    <a:pt x="11" y="91"/>
                  </a:cubicBezTo>
                  <a:cubicBezTo>
                    <a:pt x="11" y="91"/>
                    <a:pt x="11" y="91"/>
                    <a:pt x="11" y="91"/>
                  </a:cubicBezTo>
                  <a:cubicBezTo>
                    <a:pt x="11" y="91"/>
                    <a:pt x="11" y="91"/>
                    <a:pt x="11" y="91"/>
                  </a:cubicBezTo>
                  <a:cubicBezTo>
                    <a:pt x="11" y="91"/>
                    <a:pt x="11" y="91"/>
                    <a:pt x="11" y="91"/>
                  </a:cubicBezTo>
                  <a:cubicBezTo>
                    <a:pt x="11" y="91"/>
                    <a:pt x="11" y="91"/>
                    <a:pt x="11" y="91"/>
                  </a:cubicBezTo>
                  <a:cubicBezTo>
                    <a:pt x="11" y="92"/>
                    <a:pt x="11" y="92"/>
                    <a:pt x="11" y="92"/>
                  </a:cubicBezTo>
                  <a:cubicBezTo>
                    <a:pt x="11" y="92"/>
                    <a:pt x="11" y="92"/>
                    <a:pt x="11" y="92"/>
                  </a:cubicBezTo>
                  <a:cubicBezTo>
                    <a:pt x="11" y="92"/>
                    <a:pt x="11" y="92"/>
                    <a:pt x="11" y="92"/>
                  </a:cubicBezTo>
                  <a:cubicBezTo>
                    <a:pt x="11" y="92"/>
                    <a:pt x="11" y="92"/>
                    <a:pt x="11" y="92"/>
                  </a:cubicBezTo>
                  <a:cubicBezTo>
                    <a:pt x="11" y="93"/>
                    <a:pt x="11" y="93"/>
                    <a:pt x="11" y="93"/>
                  </a:cubicBezTo>
                  <a:cubicBezTo>
                    <a:pt x="11" y="93"/>
                    <a:pt x="11" y="93"/>
                    <a:pt x="11" y="93"/>
                  </a:cubicBezTo>
                  <a:cubicBezTo>
                    <a:pt x="12" y="93"/>
                    <a:pt x="12" y="93"/>
                    <a:pt x="12" y="93"/>
                  </a:cubicBezTo>
                  <a:cubicBezTo>
                    <a:pt x="12" y="94"/>
                    <a:pt x="12" y="94"/>
                    <a:pt x="12" y="94"/>
                  </a:cubicBezTo>
                  <a:cubicBezTo>
                    <a:pt x="12" y="94"/>
                    <a:pt x="12" y="94"/>
                    <a:pt x="12" y="94"/>
                  </a:cubicBezTo>
                  <a:cubicBezTo>
                    <a:pt x="12" y="94"/>
                    <a:pt x="12" y="94"/>
                    <a:pt x="12" y="94"/>
                  </a:cubicBezTo>
                  <a:cubicBezTo>
                    <a:pt x="12" y="94"/>
                    <a:pt x="12" y="94"/>
                    <a:pt x="12" y="94"/>
                  </a:cubicBezTo>
                  <a:cubicBezTo>
                    <a:pt x="12" y="95"/>
                    <a:pt x="12" y="95"/>
                    <a:pt x="12" y="95"/>
                  </a:cubicBezTo>
                  <a:cubicBezTo>
                    <a:pt x="12" y="95"/>
                    <a:pt x="12" y="95"/>
                    <a:pt x="12" y="95"/>
                  </a:cubicBezTo>
                  <a:cubicBezTo>
                    <a:pt x="12" y="95"/>
                    <a:pt x="12" y="95"/>
                    <a:pt x="12" y="95"/>
                  </a:cubicBezTo>
                  <a:cubicBezTo>
                    <a:pt x="12" y="95"/>
                    <a:pt x="12" y="95"/>
                    <a:pt x="12" y="95"/>
                  </a:cubicBezTo>
                  <a:cubicBezTo>
                    <a:pt x="12" y="94"/>
                    <a:pt x="12" y="94"/>
                    <a:pt x="12" y="94"/>
                  </a:cubicBezTo>
                  <a:cubicBezTo>
                    <a:pt x="11" y="95"/>
                    <a:pt x="11" y="95"/>
                    <a:pt x="11" y="95"/>
                  </a:cubicBezTo>
                  <a:cubicBezTo>
                    <a:pt x="12" y="95"/>
                    <a:pt x="12" y="95"/>
                    <a:pt x="12" y="95"/>
                  </a:cubicBezTo>
                  <a:cubicBezTo>
                    <a:pt x="12" y="95"/>
                    <a:pt x="12" y="95"/>
                    <a:pt x="12" y="95"/>
                  </a:cubicBezTo>
                  <a:cubicBezTo>
                    <a:pt x="12" y="95"/>
                    <a:pt x="12" y="95"/>
                    <a:pt x="12" y="95"/>
                  </a:cubicBezTo>
                  <a:cubicBezTo>
                    <a:pt x="12" y="96"/>
                    <a:pt x="12" y="96"/>
                    <a:pt x="12" y="96"/>
                  </a:cubicBezTo>
                  <a:cubicBezTo>
                    <a:pt x="12" y="96"/>
                    <a:pt x="12" y="96"/>
                    <a:pt x="12" y="96"/>
                  </a:cubicBezTo>
                  <a:cubicBezTo>
                    <a:pt x="13" y="96"/>
                    <a:pt x="13" y="96"/>
                    <a:pt x="13" y="96"/>
                  </a:cubicBezTo>
                  <a:cubicBezTo>
                    <a:pt x="13" y="96"/>
                    <a:pt x="13" y="96"/>
                    <a:pt x="13" y="96"/>
                  </a:cubicBezTo>
                  <a:cubicBezTo>
                    <a:pt x="13" y="96"/>
                    <a:pt x="13" y="96"/>
                    <a:pt x="13" y="96"/>
                  </a:cubicBezTo>
                  <a:cubicBezTo>
                    <a:pt x="13" y="96"/>
                    <a:pt x="13" y="96"/>
                    <a:pt x="13" y="96"/>
                  </a:cubicBezTo>
                  <a:cubicBezTo>
                    <a:pt x="12" y="96"/>
                    <a:pt x="12" y="96"/>
                    <a:pt x="12" y="96"/>
                  </a:cubicBezTo>
                  <a:cubicBezTo>
                    <a:pt x="12" y="97"/>
                    <a:pt x="12" y="97"/>
                    <a:pt x="12" y="97"/>
                  </a:cubicBezTo>
                  <a:cubicBezTo>
                    <a:pt x="12" y="97"/>
                    <a:pt x="12" y="97"/>
                    <a:pt x="12" y="97"/>
                  </a:cubicBezTo>
                  <a:cubicBezTo>
                    <a:pt x="12" y="97"/>
                    <a:pt x="12" y="97"/>
                    <a:pt x="12" y="97"/>
                  </a:cubicBezTo>
                  <a:cubicBezTo>
                    <a:pt x="12" y="97"/>
                    <a:pt x="12" y="97"/>
                    <a:pt x="12" y="97"/>
                  </a:cubicBezTo>
                  <a:cubicBezTo>
                    <a:pt x="12" y="97"/>
                    <a:pt x="12" y="97"/>
                    <a:pt x="12" y="97"/>
                  </a:cubicBezTo>
                  <a:cubicBezTo>
                    <a:pt x="12" y="97"/>
                    <a:pt x="12" y="97"/>
                    <a:pt x="12" y="97"/>
                  </a:cubicBezTo>
                  <a:cubicBezTo>
                    <a:pt x="12" y="98"/>
                    <a:pt x="12" y="98"/>
                    <a:pt x="12" y="98"/>
                  </a:cubicBezTo>
                  <a:cubicBezTo>
                    <a:pt x="12" y="98"/>
                    <a:pt x="12" y="98"/>
                    <a:pt x="12" y="98"/>
                  </a:cubicBezTo>
                  <a:cubicBezTo>
                    <a:pt x="12" y="98"/>
                    <a:pt x="12" y="98"/>
                    <a:pt x="12" y="98"/>
                  </a:cubicBezTo>
                  <a:cubicBezTo>
                    <a:pt x="12" y="99"/>
                    <a:pt x="12" y="99"/>
                    <a:pt x="12" y="99"/>
                  </a:cubicBezTo>
                  <a:cubicBezTo>
                    <a:pt x="12" y="99"/>
                    <a:pt x="12" y="99"/>
                    <a:pt x="12" y="99"/>
                  </a:cubicBezTo>
                  <a:cubicBezTo>
                    <a:pt x="13" y="98"/>
                    <a:pt x="13" y="98"/>
                    <a:pt x="13" y="98"/>
                  </a:cubicBezTo>
                  <a:cubicBezTo>
                    <a:pt x="13" y="98"/>
                    <a:pt x="13" y="98"/>
                    <a:pt x="13" y="98"/>
                  </a:cubicBezTo>
                  <a:cubicBezTo>
                    <a:pt x="13" y="98"/>
                    <a:pt x="13" y="98"/>
                    <a:pt x="13" y="98"/>
                  </a:cubicBezTo>
                  <a:cubicBezTo>
                    <a:pt x="13" y="99"/>
                    <a:pt x="13" y="99"/>
                    <a:pt x="13" y="99"/>
                  </a:cubicBezTo>
                  <a:cubicBezTo>
                    <a:pt x="14" y="99"/>
                    <a:pt x="14" y="99"/>
                    <a:pt x="14" y="99"/>
                  </a:cubicBezTo>
                  <a:cubicBezTo>
                    <a:pt x="14" y="99"/>
                    <a:pt x="14" y="99"/>
                    <a:pt x="14" y="99"/>
                  </a:cubicBezTo>
                  <a:cubicBezTo>
                    <a:pt x="14" y="99"/>
                    <a:pt x="14" y="99"/>
                    <a:pt x="14" y="99"/>
                  </a:cubicBezTo>
                  <a:cubicBezTo>
                    <a:pt x="14" y="99"/>
                    <a:pt x="14" y="99"/>
                    <a:pt x="14" y="99"/>
                  </a:cubicBezTo>
                  <a:cubicBezTo>
                    <a:pt x="14" y="99"/>
                    <a:pt x="14" y="99"/>
                    <a:pt x="14" y="99"/>
                  </a:cubicBezTo>
                  <a:cubicBezTo>
                    <a:pt x="15" y="100"/>
                    <a:pt x="15" y="100"/>
                    <a:pt x="15" y="100"/>
                  </a:cubicBezTo>
                  <a:cubicBezTo>
                    <a:pt x="15" y="100"/>
                    <a:pt x="15" y="100"/>
                    <a:pt x="15" y="100"/>
                  </a:cubicBezTo>
                  <a:cubicBezTo>
                    <a:pt x="15" y="99"/>
                    <a:pt x="15" y="99"/>
                    <a:pt x="15" y="99"/>
                  </a:cubicBezTo>
                  <a:cubicBezTo>
                    <a:pt x="14" y="99"/>
                    <a:pt x="14" y="99"/>
                    <a:pt x="14" y="99"/>
                  </a:cubicBezTo>
                  <a:cubicBezTo>
                    <a:pt x="14" y="98"/>
                    <a:pt x="14" y="98"/>
                    <a:pt x="14" y="98"/>
                  </a:cubicBezTo>
                  <a:cubicBezTo>
                    <a:pt x="14" y="98"/>
                    <a:pt x="14" y="98"/>
                    <a:pt x="14" y="98"/>
                  </a:cubicBezTo>
                  <a:cubicBezTo>
                    <a:pt x="14" y="98"/>
                    <a:pt x="14" y="98"/>
                    <a:pt x="14" y="98"/>
                  </a:cubicBezTo>
                  <a:cubicBezTo>
                    <a:pt x="14" y="98"/>
                    <a:pt x="14" y="98"/>
                    <a:pt x="14" y="98"/>
                  </a:cubicBezTo>
                  <a:cubicBezTo>
                    <a:pt x="15" y="99"/>
                    <a:pt x="15" y="99"/>
                    <a:pt x="15" y="99"/>
                  </a:cubicBezTo>
                  <a:cubicBezTo>
                    <a:pt x="16" y="100"/>
                    <a:pt x="16" y="100"/>
                    <a:pt x="16" y="100"/>
                  </a:cubicBezTo>
                  <a:cubicBezTo>
                    <a:pt x="16" y="100"/>
                    <a:pt x="16" y="100"/>
                    <a:pt x="16" y="100"/>
                  </a:cubicBezTo>
                  <a:cubicBezTo>
                    <a:pt x="16" y="100"/>
                    <a:pt x="16" y="100"/>
                    <a:pt x="16" y="100"/>
                  </a:cubicBezTo>
                  <a:cubicBezTo>
                    <a:pt x="17" y="100"/>
                    <a:pt x="17" y="100"/>
                    <a:pt x="17" y="100"/>
                  </a:cubicBezTo>
                  <a:cubicBezTo>
                    <a:pt x="17" y="101"/>
                    <a:pt x="17" y="101"/>
                    <a:pt x="17" y="101"/>
                  </a:cubicBezTo>
                  <a:cubicBezTo>
                    <a:pt x="18" y="101"/>
                    <a:pt x="18" y="101"/>
                    <a:pt x="18" y="101"/>
                  </a:cubicBezTo>
                  <a:cubicBezTo>
                    <a:pt x="18" y="101"/>
                    <a:pt x="18" y="101"/>
                    <a:pt x="18" y="101"/>
                  </a:cubicBezTo>
                  <a:cubicBezTo>
                    <a:pt x="18" y="101"/>
                    <a:pt x="18" y="101"/>
                    <a:pt x="18" y="101"/>
                  </a:cubicBezTo>
                  <a:cubicBezTo>
                    <a:pt x="18" y="101"/>
                    <a:pt x="18" y="101"/>
                    <a:pt x="18" y="101"/>
                  </a:cubicBezTo>
                  <a:cubicBezTo>
                    <a:pt x="18" y="101"/>
                    <a:pt x="18" y="101"/>
                    <a:pt x="18" y="101"/>
                  </a:cubicBezTo>
                  <a:cubicBezTo>
                    <a:pt x="19" y="101"/>
                    <a:pt x="19" y="101"/>
                    <a:pt x="19" y="101"/>
                  </a:cubicBezTo>
                  <a:cubicBezTo>
                    <a:pt x="19" y="101"/>
                    <a:pt x="19" y="101"/>
                    <a:pt x="19" y="101"/>
                  </a:cubicBezTo>
                  <a:cubicBezTo>
                    <a:pt x="19" y="101"/>
                    <a:pt x="19" y="101"/>
                    <a:pt x="19" y="101"/>
                  </a:cubicBezTo>
                  <a:cubicBezTo>
                    <a:pt x="19" y="102"/>
                    <a:pt x="19" y="102"/>
                    <a:pt x="19" y="102"/>
                  </a:cubicBezTo>
                  <a:cubicBezTo>
                    <a:pt x="19" y="102"/>
                    <a:pt x="19" y="102"/>
                    <a:pt x="19" y="102"/>
                  </a:cubicBezTo>
                  <a:cubicBezTo>
                    <a:pt x="19" y="102"/>
                    <a:pt x="19" y="102"/>
                    <a:pt x="19" y="102"/>
                  </a:cubicBezTo>
                  <a:cubicBezTo>
                    <a:pt x="20" y="103"/>
                    <a:pt x="20" y="103"/>
                    <a:pt x="20" y="103"/>
                  </a:cubicBezTo>
                  <a:cubicBezTo>
                    <a:pt x="22" y="103"/>
                    <a:pt x="22" y="103"/>
                    <a:pt x="22" y="103"/>
                  </a:cubicBezTo>
                  <a:cubicBezTo>
                    <a:pt x="23" y="104"/>
                    <a:pt x="23" y="104"/>
                    <a:pt x="23" y="104"/>
                  </a:cubicBezTo>
                  <a:cubicBezTo>
                    <a:pt x="23" y="104"/>
                    <a:pt x="23" y="104"/>
                    <a:pt x="23" y="104"/>
                  </a:cubicBezTo>
                  <a:cubicBezTo>
                    <a:pt x="24" y="104"/>
                    <a:pt x="24" y="104"/>
                    <a:pt x="24" y="104"/>
                  </a:cubicBezTo>
                  <a:cubicBezTo>
                    <a:pt x="25" y="104"/>
                    <a:pt x="25" y="104"/>
                    <a:pt x="25" y="104"/>
                  </a:cubicBezTo>
                  <a:cubicBezTo>
                    <a:pt x="26" y="104"/>
                    <a:pt x="26" y="104"/>
                    <a:pt x="26" y="104"/>
                  </a:cubicBezTo>
                  <a:cubicBezTo>
                    <a:pt x="26" y="105"/>
                    <a:pt x="26" y="105"/>
                    <a:pt x="26" y="105"/>
                  </a:cubicBezTo>
                  <a:cubicBezTo>
                    <a:pt x="27" y="105"/>
                    <a:pt x="27" y="105"/>
                    <a:pt x="27" y="105"/>
                  </a:cubicBezTo>
                  <a:cubicBezTo>
                    <a:pt x="27" y="105"/>
                    <a:pt x="27" y="105"/>
                    <a:pt x="27" y="105"/>
                  </a:cubicBezTo>
                  <a:cubicBezTo>
                    <a:pt x="27" y="105"/>
                    <a:pt x="27" y="105"/>
                    <a:pt x="27" y="105"/>
                  </a:cubicBezTo>
                  <a:cubicBezTo>
                    <a:pt x="26" y="106"/>
                    <a:pt x="26" y="106"/>
                    <a:pt x="26" y="106"/>
                  </a:cubicBezTo>
                  <a:cubicBezTo>
                    <a:pt x="26" y="106"/>
                    <a:pt x="26" y="106"/>
                    <a:pt x="26" y="106"/>
                  </a:cubicBezTo>
                  <a:cubicBezTo>
                    <a:pt x="27" y="106"/>
                    <a:pt x="27" y="106"/>
                    <a:pt x="27" y="106"/>
                  </a:cubicBezTo>
                  <a:cubicBezTo>
                    <a:pt x="27" y="106"/>
                    <a:pt x="27" y="106"/>
                    <a:pt x="27" y="106"/>
                  </a:cubicBezTo>
                  <a:cubicBezTo>
                    <a:pt x="27" y="106"/>
                    <a:pt x="27" y="106"/>
                    <a:pt x="27" y="106"/>
                  </a:cubicBezTo>
                  <a:cubicBezTo>
                    <a:pt x="28" y="106"/>
                    <a:pt x="28" y="106"/>
                    <a:pt x="28" y="106"/>
                  </a:cubicBezTo>
                  <a:cubicBezTo>
                    <a:pt x="28" y="107"/>
                    <a:pt x="28" y="107"/>
                    <a:pt x="28" y="107"/>
                  </a:cubicBezTo>
                  <a:cubicBezTo>
                    <a:pt x="28" y="107"/>
                    <a:pt x="28" y="107"/>
                    <a:pt x="28" y="107"/>
                  </a:cubicBezTo>
                  <a:cubicBezTo>
                    <a:pt x="29" y="107"/>
                    <a:pt x="29" y="107"/>
                    <a:pt x="29" y="107"/>
                  </a:cubicBezTo>
                  <a:cubicBezTo>
                    <a:pt x="29" y="107"/>
                    <a:pt x="29" y="107"/>
                    <a:pt x="29" y="107"/>
                  </a:cubicBezTo>
                  <a:cubicBezTo>
                    <a:pt x="29" y="107"/>
                    <a:pt x="29" y="107"/>
                    <a:pt x="29" y="107"/>
                  </a:cubicBezTo>
                  <a:cubicBezTo>
                    <a:pt x="30" y="107"/>
                    <a:pt x="30" y="107"/>
                    <a:pt x="30" y="107"/>
                  </a:cubicBezTo>
                  <a:cubicBezTo>
                    <a:pt x="31" y="108"/>
                    <a:pt x="31" y="108"/>
                    <a:pt x="31" y="108"/>
                  </a:cubicBezTo>
                  <a:cubicBezTo>
                    <a:pt x="31" y="108"/>
                    <a:pt x="31" y="108"/>
                    <a:pt x="31" y="108"/>
                  </a:cubicBezTo>
                  <a:cubicBezTo>
                    <a:pt x="31" y="109"/>
                    <a:pt x="31" y="109"/>
                    <a:pt x="31" y="109"/>
                  </a:cubicBezTo>
                  <a:cubicBezTo>
                    <a:pt x="31" y="109"/>
                    <a:pt x="31" y="109"/>
                    <a:pt x="31" y="109"/>
                  </a:cubicBezTo>
                  <a:cubicBezTo>
                    <a:pt x="32" y="109"/>
                    <a:pt x="32" y="109"/>
                    <a:pt x="32" y="109"/>
                  </a:cubicBezTo>
                  <a:cubicBezTo>
                    <a:pt x="32" y="109"/>
                    <a:pt x="32" y="109"/>
                    <a:pt x="32" y="109"/>
                  </a:cubicBezTo>
                  <a:cubicBezTo>
                    <a:pt x="32" y="109"/>
                    <a:pt x="32" y="109"/>
                    <a:pt x="32" y="109"/>
                  </a:cubicBezTo>
                  <a:cubicBezTo>
                    <a:pt x="32" y="109"/>
                    <a:pt x="32" y="109"/>
                    <a:pt x="32" y="109"/>
                  </a:cubicBezTo>
                  <a:cubicBezTo>
                    <a:pt x="32" y="109"/>
                    <a:pt x="32" y="109"/>
                    <a:pt x="32" y="109"/>
                  </a:cubicBezTo>
                  <a:cubicBezTo>
                    <a:pt x="32" y="109"/>
                    <a:pt x="32" y="109"/>
                    <a:pt x="32" y="109"/>
                  </a:cubicBezTo>
                  <a:cubicBezTo>
                    <a:pt x="32" y="109"/>
                    <a:pt x="32" y="109"/>
                    <a:pt x="32" y="109"/>
                  </a:cubicBezTo>
                  <a:cubicBezTo>
                    <a:pt x="32" y="110"/>
                    <a:pt x="32" y="110"/>
                    <a:pt x="32" y="110"/>
                  </a:cubicBezTo>
                  <a:cubicBezTo>
                    <a:pt x="32" y="110"/>
                    <a:pt x="32" y="110"/>
                    <a:pt x="32" y="110"/>
                  </a:cubicBezTo>
                  <a:cubicBezTo>
                    <a:pt x="33" y="111"/>
                    <a:pt x="33" y="111"/>
                    <a:pt x="33" y="111"/>
                  </a:cubicBezTo>
                  <a:cubicBezTo>
                    <a:pt x="33" y="111"/>
                    <a:pt x="33" y="111"/>
                    <a:pt x="33" y="111"/>
                  </a:cubicBezTo>
                  <a:cubicBezTo>
                    <a:pt x="34" y="111"/>
                    <a:pt x="34" y="111"/>
                    <a:pt x="34" y="111"/>
                  </a:cubicBezTo>
                  <a:cubicBezTo>
                    <a:pt x="34" y="112"/>
                    <a:pt x="34" y="112"/>
                    <a:pt x="34" y="112"/>
                  </a:cubicBezTo>
                  <a:cubicBezTo>
                    <a:pt x="34" y="112"/>
                    <a:pt x="34" y="112"/>
                    <a:pt x="34" y="112"/>
                  </a:cubicBezTo>
                  <a:cubicBezTo>
                    <a:pt x="34" y="112"/>
                    <a:pt x="34" y="112"/>
                    <a:pt x="34" y="112"/>
                  </a:cubicBezTo>
                  <a:cubicBezTo>
                    <a:pt x="34" y="112"/>
                    <a:pt x="34" y="112"/>
                    <a:pt x="34" y="112"/>
                  </a:cubicBezTo>
                  <a:cubicBezTo>
                    <a:pt x="35" y="113"/>
                    <a:pt x="35" y="113"/>
                    <a:pt x="35" y="113"/>
                  </a:cubicBezTo>
                  <a:cubicBezTo>
                    <a:pt x="35" y="113"/>
                    <a:pt x="35" y="113"/>
                    <a:pt x="35" y="113"/>
                  </a:cubicBezTo>
                  <a:cubicBezTo>
                    <a:pt x="35" y="113"/>
                    <a:pt x="35" y="113"/>
                    <a:pt x="35" y="113"/>
                  </a:cubicBezTo>
                  <a:cubicBezTo>
                    <a:pt x="35" y="113"/>
                    <a:pt x="35" y="113"/>
                    <a:pt x="35" y="113"/>
                  </a:cubicBezTo>
                  <a:cubicBezTo>
                    <a:pt x="36" y="114"/>
                    <a:pt x="36" y="114"/>
                    <a:pt x="36" y="114"/>
                  </a:cubicBezTo>
                  <a:cubicBezTo>
                    <a:pt x="36" y="115"/>
                    <a:pt x="36" y="115"/>
                    <a:pt x="36" y="115"/>
                  </a:cubicBezTo>
                  <a:cubicBezTo>
                    <a:pt x="37" y="116"/>
                    <a:pt x="37" y="116"/>
                    <a:pt x="37" y="116"/>
                  </a:cubicBezTo>
                  <a:cubicBezTo>
                    <a:pt x="37" y="116"/>
                    <a:pt x="37" y="116"/>
                    <a:pt x="37" y="116"/>
                  </a:cubicBezTo>
                  <a:cubicBezTo>
                    <a:pt x="37" y="117"/>
                    <a:pt x="37" y="117"/>
                    <a:pt x="37" y="117"/>
                  </a:cubicBezTo>
                  <a:cubicBezTo>
                    <a:pt x="38" y="118"/>
                    <a:pt x="38" y="118"/>
                    <a:pt x="38" y="118"/>
                  </a:cubicBezTo>
                  <a:cubicBezTo>
                    <a:pt x="38" y="119"/>
                    <a:pt x="38" y="119"/>
                    <a:pt x="38" y="119"/>
                  </a:cubicBezTo>
                  <a:cubicBezTo>
                    <a:pt x="39" y="119"/>
                    <a:pt x="39" y="119"/>
                    <a:pt x="39" y="119"/>
                  </a:cubicBezTo>
                  <a:cubicBezTo>
                    <a:pt x="39" y="119"/>
                    <a:pt x="39" y="119"/>
                    <a:pt x="39" y="119"/>
                  </a:cubicBezTo>
                  <a:cubicBezTo>
                    <a:pt x="39" y="119"/>
                    <a:pt x="39" y="119"/>
                    <a:pt x="39" y="119"/>
                  </a:cubicBezTo>
                  <a:cubicBezTo>
                    <a:pt x="39" y="119"/>
                    <a:pt x="39" y="119"/>
                    <a:pt x="39" y="119"/>
                  </a:cubicBezTo>
                  <a:cubicBezTo>
                    <a:pt x="39" y="119"/>
                    <a:pt x="39" y="119"/>
                    <a:pt x="39" y="119"/>
                  </a:cubicBezTo>
                  <a:cubicBezTo>
                    <a:pt x="39" y="119"/>
                    <a:pt x="39" y="119"/>
                    <a:pt x="39" y="119"/>
                  </a:cubicBezTo>
                  <a:cubicBezTo>
                    <a:pt x="39" y="120"/>
                    <a:pt x="39" y="120"/>
                    <a:pt x="39" y="120"/>
                  </a:cubicBezTo>
                  <a:cubicBezTo>
                    <a:pt x="39" y="120"/>
                    <a:pt x="39" y="120"/>
                    <a:pt x="39" y="120"/>
                  </a:cubicBezTo>
                  <a:cubicBezTo>
                    <a:pt x="39" y="120"/>
                    <a:pt x="39" y="120"/>
                    <a:pt x="39" y="120"/>
                  </a:cubicBezTo>
                  <a:cubicBezTo>
                    <a:pt x="39" y="120"/>
                    <a:pt x="39" y="120"/>
                    <a:pt x="39" y="120"/>
                  </a:cubicBezTo>
                  <a:cubicBezTo>
                    <a:pt x="41" y="123"/>
                    <a:pt x="41" y="123"/>
                    <a:pt x="41" y="123"/>
                  </a:cubicBezTo>
                  <a:cubicBezTo>
                    <a:pt x="41" y="125"/>
                    <a:pt x="41" y="125"/>
                    <a:pt x="41" y="125"/>
                  </a:cubicBezTo>
                  <a:cubicBezTo>
                    <a:pt x="42" y="125"/>
                    <a:pt x="42" y="125"/>
                    <a:pt x="42" y="125"/>
                  </a:cubicBezTo>
                  <a:cubicBezTo>
                    <a:pt x="42" y="125"/>
                    <a:pt x="42" y="125"/>
                    <a:pt x="42" y="125"/>
                  </a:cubicBezTo>
                  <a:cubicBezTo>
                    <a:pt x="42" y="126"/>
                    <a:pt x="42" y="126"/>
                    <a:pt x="42" y="126"/>
                  </a:cubicBezTo>
                  <a:cubicBezTo>
                    <a:pt x="42" y="126"/>
                    <a:pt x="42" y="126"/>
                    <a:pt x="42" y="126"/>
                  </a:cubicBezTo>
                  <a:cubicBezTo>
                    <a:pt x="42" y="126"/>
                    <a:pt x="42" y="126"/>
                    <a:pt x="42" y="126"/>
                  </a:cubicBezTo>
                  <a:cubicBezTo>
                    <a:pt x="42" y="126"/>
                    <a:pt x="42" y="126"/>
                    <a:pt x="42" y="126"/>
                  </a:cubicBezTo>
                  <a:cubicBezTo>
                    <a:pt x="42" y="126"/>
                    <a:pt x="42" y="126"/>
                    <a:pt x="42" y="126"/>
                  </a:cubicBezTo>
                  <a:cubicBezTo>
                    <a:pt x="42" y="127"/>
                    <a:pt x="42" y="127"/>
                    <a:pt x="42" y="127"/>
                  </a:cubicBezTo>
                  <a:cubicBezTo>
                    <a:pt x="42" y="128"/>
                    <a:pt x="42" y="128"/>
                    <a:pt x="42" y="128"/>
                  </a:cubicBezTo>
                  <a:cubicBezTo>
                    <a:pt x="42" y="128"/>
                    <a:pt x="42" y="128"/>
                    <a:pt x="42" y="128"/>
                  </a:cubicBezTo>
                  <a:cubicBezTo>
                    <a:pt x="42" y="128"/>
                    <a:pt x="42" y="128"/>
                    <a:pt x="42" y="128"/>
                  </a:cubicBezTo>
                  <a:cubicBezTo>
                    <a:pt x="43" y="129"/>
                    <a:pt x="43" y="129"/>
                    <a:pt x="43" y="129"/>
                  </a:cubicBezTo>
                  <a:cubicBezTo>
                    <a:pt x="43" y="130"/>
                    <a:pt x="43" y="130"/>
                    <a:pt x="43" y="130"/>
                  </a:cubicBezTo>
                  <a:cubicBezTo>
                    <a:pt x="43" y="131"/>
                    <a:pt x="43" y="131"/>
                    <a:pt x="43" y="131"/>
                  </a:cubicBezTo>
                  <a:cubicBezTo>
                    <a:pt x="44" y="132"/>
                    <a:pt x="44" y="132"/>
                    <a:pt x="44" y="132"/>
                  </a:cubicBezTo>
                  <a:cubicBezTo>
                    <a:pt x="44" y="133"/>
                    <a:pt x="44" y="133"/>
                    <a:pt x="44" y="133"/>
                  </a:cubicBezTo>
                  <a:cubicBezTo>
                    <a:pt x="44" y="133"/>
                    <a:pt x="44" y="133"/>
                    <a:pt x="44" y="133"/>
                  </a:cubicBezTo>
                  <a:cubicBezTo>
                    <a:pt x="44" y="133"/>
                    <a:pt x="44" y="133"/>
                    <a:pt x="44" y="133"/>
                  </a:cubicBezTo>
                  <a:cubicBezTo>
                    <a:pt x="44" y="134"/>
                    <a:pt x="44" y="134"/>
                    <a:pt x="44" y="134"/>
                  </a:cubicBezTo>
                  <a:cubicBezTo>
                    <a:pt x="44" y="134"/>
                    <a:pt x="44" y="134"/>
                    <a:pt x="44" y="134"/>
                  </a:cubicBezTo>
                  <a:cubicBezTo>
                    <a:pt x="44" y="135"/>
                    <a:pt x="44" y="135"/>
                    <a:pt x="44" y="135"/>
                  </a:cubicBezTo>
                  <a:cubicBezTo>
                    <a:pt x="45" y="137"/>
                    <a:pt x="45" y="137"/>
                    <a:pt x="45" y="137"/>
                  </a:cubicBezTo>
                  <a:cubicBezTo>
                    <a:pt x="45" y="139"/>
                    <a:pt x="45" y="139"/>
                    <a:pt x="45" y="139"/>
                  </a:cubicBezTo>
                  <a:cubicBezTo>
                    <a:pt x="45" y="139"/>
                    <a:pt x="45" y="139"/>
                    <a:pt x="45" y="139"/>
                  </a:cubicBezTo>
                  <a:cubicBezTo>
                    <a:pt x="45" y="139"/>
                    <a:pt x="45" y="139"/>
                    <a:pt x="45" y="139"/>
                  </a:cubicBezTo>
                  <a:cubicBezTo>
                    <a:pt x="45" y="139"/>
                    <a:pt x="45" y="139"/>
                    <a:pt x="45" y="139"/>
                  </a:cubicBezTo>
                  <a:cubicBezTo>
                    <a:pt x="45" y="140"/>
                    <a:pt x="45" y="140"/>
                    <a:pt x="45" y="140"/>
                  </a:cubicBezTo>
                  <a:cubicBezTo>
                    <a:pt x="45" y="140"/>
                    <a:pt x="45" y="140"/>
                    <a:pt x="45" y="140"/>
                  </a:cubicBezTo>
                  <a:cubicBezTo>
                    <a:pt x="45" y="140"/>
                    <a:pt x="45" y="140"/>
                    <a:pt x="45" y="140"/>
                  </a:cubicBezTo>
                  <a:cubicBezTo>
                    <a:pt x="46" y="141"/>
                    <a:pt x="46" y="141"/>
                    <a:pt x="46" y="141"/>
                  </a:cubicBezTo>
                  <a:cubicBezTo>
                    <a:pt x="46" y="141"/>
                    <a:pt x="46" y="141"/>
                    <a:pt x="46" y="141"/>
                  </a:cubicBezTo>
                  <a:cubicBezTo>
                    <a:pt x="46" y="142"/>
                    <a:pt x="46" y="142"/>
                    <a:pt x="46" y="142"/>
                  </a:cubicBezTo>
                  <a:cubicBezTo>
                    <a:pt x="46" y="142"/>
                    <a:pt x="46" y="142"/>
                    <a:pt x="46" y="142"/>
                  </a:cubicBezTo>
                  <a:cubicBezTo>
                    <a:pt x="46" y="143"/>
                    <a:pt x="46" y="143"/>
                    <a:pt x="46" y="143"/>
                  </a:cubicBezTo>
                  <a:cubicBezTo>
                    <a:pt x="46" y="143"/>
                    <a:pt x="46" y="143"/>
                    <a:pt x="46" y="143"/>
                  </a:cubicBezTo>
                  <a:cubicBezTo>
                    <a:pt x="46" y="144"/>
                    <a:pt x="46" y="144"/>
                    <a:pt x="46" y="144"/>
                  </a:cubicBezTo>
                  <a:cubicBezTo>
                    <a:pt x="46" y="145"/>
                    <a:pt x="46" y="145"/>
                    <a:pt x="46" y="145"/>
                  </a:cubicBezTo>
                  <a:cubicBezTo>
                    <a:pt x="46" y="145"/>
                    <a:pt x="46" y="145"/>
                    <a:pt x="46" y="145"/>
                  </a:cubicBezTo>
                  <a:cubicBezTo>
                    <a:pt x="46" y="146"/>
                    <a:pt x="46" y="146"/>
                    <a:pt x="46" y="146"/>
                  </a:cubicBezTo>
                  <a:cubicBezTo>
                    <a:pt x="46" y="147"/>
                    <a:pt x="46" y="147"/>
                    <a:pt x="46" y="147"/>
                  </a:cubicBezTo>
                  <a:cubicBezTo>
                    <a:pt x="46" y="147"/>
                    <a:pt x="46" y="147"/>
                    <a:pt x="46" y="147"/>
                  </a:cubicBezTo>
                  <a:cubicBezTo>
                    <a:pt x="46" y="149"/>
                    <a:pt x="46" y="149"/>
                    <a:pt x="46" y="149"/>
                  </a:cubicBezTo>
                  <a:cubicBezTo>
                    <a:pt x="45" y="149"/>
                    <a:pt x="45" y="149"/>
                    <a:pt x="45" y="149"/>
                  </a:cubicBezTo>
                  <a:cubicBezTo>
                    <a:pt x="45" y="150"/>
                    <a:pt x="45" y="150"/>
                    <a:pt x="45" y="150"/>
                  </a:cubicBezTo>
                  <a:cubicBezTo>
                    <a:pt x="45" y="150"/>
                    <a:pt x="45" y="150"/>
                    <a:pt x="45" y="150"/>
                  </a:cubicBezTo>
                  <a:cubicBezTo>
                    <a:pt x="44" y="151"/>
                    <a:pt x="44" y="151"/>
                    <a:pt x="44" y="151"/>
                  </a:cubicBezTo>
                  <a:cubicBezTo>
                    <a:pt x="44" y="151"/>
                    <a:pt x="44" y="151"/>
                    <a:pt x="44" y="151"/>
                  </a:cubicBezTo>
                  <a:cubicBezTo>
                    <a:pt x="44" y="151"/>
                    <a:pt x="44" y="151"/>
                    <a:pt x="44" y="151"/>
                  </a:cubicBezTo>
                  <a:cubicBezTo>
                    <a:pt x="44" y="151"/>
                    <a:pt x="44" y="151"/>
                    <a:pt x="44" y="151"/>
                  </a:cubicBezTo>
                  <a:cubicBezTo>
                    <a:pt x="44" y="152"/>
                    <a:pt x="44" y="152"/>
                    <a:pt x="44" y="152"/>
                  </a:cubicBezTo>
                  <a:cubicBezTo>
                    <a:pt x="44" y="152"/>
                    <a:pt x="44" y="152"/>
                    <a:pt x="44" y="152"/>
                  </a:cubicBezTo>
                  <a:cubicBezTo>
                    <a:pt x="44" y="152"/>
                    <a:pt x="44" y="152"/>
                    <a:pt x="44" y="152"/>
                  </a:cubicBezTo>
                  <a:cubicBezTo>
                    <a:pt x="43" y="153"/>
                    <a:pt x="43" y="153"/>
                    <a:pt x="43" y="153"/>
                  </a:cubicBezTo>
                  <a:cubicBezTo>
                    <a:pt x="42" y="156"/>
                    <a:pt x="42" y="156"/>
                    <a:pt x="42" y="156"/>
                  </a:cubicBezTo>
                  <a:cubicBezTo>
                    <a:pt x="41" y="158"/>
                    <a:pt x="41" y="158"/>
                    <a:pt x="41" y="158"/>
                  </a:cubicBezTo>
                  <a:cubicBezTo>
                    <a:pt x="41" y="158"/>
                    <a:pt x="41" y="158"/>
                    <a:pt x="41" y="158"/>
                  </a:cubicBezTo>
                  <a:cubicBezTo>
                    <a:pt x="41" y="158"/>
                    <a:pt x="41" y="158"/>
                    <a:pt x="41" y="158"/>
                  </a:cubicBezTo>
                  <a:cubicBezTo>
                    <a:pt x="41" y="158"/>
                    <a:pt x="41" y="158"/>
                    <a:pt x="41" y="158"/>
                  </a:cubicBezTo>
                  <a:cubicBezTo>
                    <a:pt x="42" y="158"/>
                    <a:pt x="42" y="158"/>
                    <a:pt x="42" y="158"/>
                  </a:cubicBezTo>
                  <a:cubicBezTo>
                    <a:pt x="42" y="158"/>
                    <a:pt x="42" y="158"/>
                    <a:pt x="42" y="158"/>
                  </a:cubicBezTo>
                  <a:cubicBezTo>
                    <a:pt x="42" y="157"/>
                    <a:pt x="42" y="157"/>
                    <a:pt x="42" y="157"/>
                  </a:cubicBezTo>
                  <a:cubicBezTo>
                    <a:pt x="42" y="158"/>
                    <a:pt x="42" y="158"/>
                    <a:pt x="42" y="158"/>
                  </a:cubicBezTo>
                  <a:cubicBezTo>
                    <a:pt x="42" y="158"/>
                    <a:pt x="42" y="158"/>
                    <a:pt x="42" y="158"/>
                  </a:cubicBezTo>
                  <a:cubicBezTo>
                    <a:pt x="42" y="159"/>
                    <a:pt x="42" y="159"/>
                    <a:pt x="42" y="159"/>
                  </a:cubicBezTo>
                  <a:cubicBezTo>
                    <a:pt x="41" y="159"/>
                    <a:pt x="41" y="159"/>
                    <a:pt x="41" y="159"/>
                  </a:cubicBezTo>
                  <a:cubicBezTo>
                    <a:pt x="41" y="160"/>
                    <a:pt x="41" y="160"/>
                    <a:pt x="41" y="160"/>
                  </a:cubicBezTo>
                  <a:cubicBezTo>
                    <a:pt x="37" y="166"/>
                    <a:pt x="37" y="166"/>
                    <a:pt x="37" y="166"/>
                  </a:cubicBezTo>
                  <a:cubicBezTo>
                    <a:pt x="37" y="166"/>
                    <a:pt x="37" y="166"/>
                    <a:pt x="37" y="166"/>
                  </a:cubicBezTo>
                  <a:cubicBezTo>
                    <a:pt x="36" y="166"/>
                    <a:pt x="36" y="166"/>
                    <a:pt x="36" y="166"/>
                  </a:cubicBezTo>
                  <a:cubicBezTo>
                    <a:pt x="36" y="169"/>
                    <a:pt x="36" y="169"/>
                    <a:pt x="36" y="169"/>
                  </a:cubicBezTo>
                  <a:cubicBezTo>
                    <a:pt x="35" y="169"/>
                    <a:pt x="35" y="169"/>
                    <a:pt x="35" y="169"/>
                  </a:cubicBezTo>
                  <a:cubicBezTo>
                    <a:pt x="35" y="169"/>
                    <a:pt x="35" y="169"/>
                    <a:pt x="35" y="169"/>
                  </a:cubicBezTo>
                  <a:cubicBezTo>
                    <a:pt x="33" y="171"/>
                    <a:pt x="33" y="171"/>
                    <a:pt x="33" y="171"/>
                  </a:cubicBezTo>
                  <a:cubicBezTo>
                    <a:pt x="33" y="171"/>
                    <a:pt x="33" y="171"/>
                    <a:pt x="33" y="171"/>
                  </a:cubicBezTo>
                  <a:cubicBezTo>
                    <a:pt x="33" y="171"/>
                    <a:pt x="33" y="171"/>
                    <a:pt x="33" y="171"/>
                  </a:cubicBezTo>
                  <a:cubicBezTo>
                    <a:pt x="32" y="172"/>
                    <a:pt x="32" y="172"/>
                    <a:pt x="32" y="172"/>
                  </a:cubicBezTo>
                  <a:cubicBezTo>
                    <a:pt x="31" y="173"/>
                    <a:pt x="31" y="173"/>
                    <a:pt x="31" y="173"/>
                  </a:cubicBezTo>
                  <a:cubicBezTo>
                    <a:pt x="31" y="174"/>
                    <a:pt x="31" y="174"/>
                    <a:pt x="31" y="174"/>
                  </a:cubicBezTo>
                  <a:cubicBezTo>
                    <a:pt x="31" y="174"/>
                    <a:pt x="31" y="174"/>
                    <a:pt x="31" y="174"/>
                  </a:cubicBezTo>
                  <a:cubicBezTo>
                    <a:pt x="30" y="174"/>
                    <a:pt x="30" y="174"/>
                    <a:pt x="30" y="174"/>
                  </a:cubicBezTo>
                  <a:cubicBezTo>
                    <a:pt x="30" y="175"/>
                    <a:pt x="30" y="175"/>
                    <a:pt x="30" y="175"/>
                  </a:cubicBezTo>
                  <a:cubicBezTo>
                    <a:pt x="29" y="175"/>
                    <a:pt x="29" y="175"/>
                    <a:pt x="29" y="175"/>
                  </a:cubicBezTo>
                  <a:cubicBezTo>
                    <a:pt x="29" y="175"/>
                    <a:pt x="29" y="175"/>
                    <a:pt x="29" y="175"/>
                  </a:cubicBezTo>
                  <a:cubicBezTo>
                    <a:pt x="29" y="175"/>
                    <a:pt x="29" y="175"/>
                    <a:pt x="29" y="175"/>
                  </a:cubicBezTo>
                  <a:cubicBezTo>
                    <a:pt x="28" y="176"/>
                    <a:pt x="28" y="176"/>
                    <a:pt x="28" y="176"/>
                  </a:cubicBezTo>
                  <a:cubicBezTo>
                    <a:pt x="28" y="176"/>
                    <a:pt x="28" y="176"/>
                    <a:pt x="28" y="176"/>
                  </a:cubicBezTo>
                  <a:cubicBezTo>
                    <a:pt x="27" y="177"/>
                    <a:pt x="27" y="177"/>
                    <a:pt x="27" y="177"/>
                  </a:cubicBezTo>
                  <a:cubicBezTo>
                    <a:pt x="27" y="177"/>
                    <a:pt x="27" y="177"/>
                    <a:pt x="27" y="177"/>
                  </a:cubicBezTo>
                  <a:cubicBezTo>
                    <a:pt x="27" y="177"/>
                    <a:pt x="27" y="177"/>
                    <a:pt x="27" y="177"/>
                  </a:cubicBezTo>
                  <a:cubicBezTo>
                    <a:pt x="26" y="178"/>
                    <a:pt x="26" y="178"/>
                    <a:pt x="26" y="178"/>
                  </a:cubicBezTo>
                  <a:cubicBezTo>
                    <a:pt x="26" y="178"/>
                    <a:pt x="26" y="178"/>
                    <a:pt x="26" y="178"/>
                  </a:cubicBezTo>
                  <a:cubicBezTo>
                    <a:pt x="25" y="178"/>
                    <a:pt x="25" y="178"/>
                    <a:pt x="25" y="178"/>
                  </a:cubicBezTo>
                  <a:cubicBezTo>
                    <a:pt x="24" y="179"/>
                    <a:pt x="24" y="179"/>
                    <a:pt x="24" y="179"/>
                  </a:cubicBezTo>
                  <a:cubicBezTo>
                    <a:pt x="24" y="179"/>
                    <a:pt x="24" y="179"/>
                    <a:pt x="24" y="179"/>
                  </a:cubicBezTo>
                  <a:cubicBezTo>
                    <a:pt x="23" y="180"/>
                    <a:pt x="23" y="180"/>
                    <a:pt x="23" y="180"/>
                  </a:cubicBezTo>
                  <a:cubicBezTo>
                    <a:pt x="23" y="180"/>
                    <a:pt x="23" y="180"/>
                    <a:pt x="23" y="180"/>
                  </a:cubicBezTo>
                  <a:cubicBezTo>
                    <a:pt x="19" y="182"/>
                    <a:pt x="19" y="182"/>
                    <a:pt x="19" y="182"/>
                  </a:cubicBezTo>
                  <a:cubicBezTo>
                    <a:pt x="19" y="183"/>
                    <a:pt x="19" y="183"/>
                    <a:pt x="19" y="183"/>
                  </a:cubicBezTo>
                  <a:cubicBezTo>
                    <a:pt x="19" y="183"/>
                    <a:pt x="19" y="183"/>
                    <a:pt x="19" y="183"/>
                  </a:cubicBezTo>
                  <a:cubicBezTo>
                    <a:pt x="18" y="183"/>
                    <a:pt x="18" y="183"/>
                    <a:pt x="18" y="183"/>
                  </a:cubicBezTo>
                  <a:cubicBezTo>
                    <a:pt x="18" y="183"/>
                    <a:pt x="18" y="183"/>
                    <a:pt x="18" y="183"/>
                  </a:cubicBezTo>
                  <a:cubicBezTo>
                    <a:pt x="18" y="183"/>
                    <a:pt x="18" y="183"/>
                    <a:pt x="18" y="183"/>
                  </a:cubicBezTo>
                  <a:cubicBezTo>
                    <a:pt x="17" y="183"/>
                    <a:pt x="17" y="183"/>
                    <a:pt x="17" y="183"/>
                  </a:cubicBezTo>
                  <a:cubicBezTo>
                    <a:pt x="17" y="184"/>
                    <a:pt x="17" y="184"/>
                    <a:pt x="17" y="184"/>
                  </a:cubicBezTo>
                  <a:cubicBezTo>
                    <a:pt x="17" y="184"/>
                    <a:pt x="17" y="184"/>
                    <a:pt x="17" y="184"/>
                  </a:cubicBezTo>
                  <a:cubicBezTo>
                    <a:pt x="17" y="184"/>
                    <a:pt x="17" y="184"/>
                    <a:pt x="17" y="184"/>
                  </a:cubicBezTo>
                  <a:cubicBezTo>
                    <a:pt x="16" y="184"/>
                    <a:pt x="16" y="184"/>
                    <a:pt x="16" y="184"/>
                  </a:cubicBezTo>
                  <a:cubicBezTo>
                    <a:pt x="16" y="184"/>
                    <a:pt x="16" y="184"/>
                    <a:pt x="16" y="184"/>
                  </a:cubicBezTo>
                  <a:cubicBezTo>
                    <a:pt x="16" y="184"/>
                    <a:pt x="16" y="184"/>
                    <a:pt x="16" y="184"/>
                  </a:cubicBezTo>
                  <a:cubicBezTo>
                    <a:pt x="16" y="185"/>
                    <a:pt x="16" y="185"/>
                    <a:pt x="16" y="185"/>
                  </a:cubicBezTo>
                  <a:cubicBezTo>
                    <a:pt x="15" y="185"/>
                    <a:pt x="15" y="185"/>
                    <a:pt x="15" y="185"/>
                  </a:cubicBezTo>
                  <a:cubicBezTo>
                    <a:pt x="15" y="185"/>
                    <a:pt x="15" y="185"/>
                    <a:pt x="15" y="185"/>
                  </a:cubicBezTo>
                  <a:cubicBezTo>
                    <a:pt x="15" y="184"/>
                    <a:pt x="15" y="184"/>
                    <a:pt x="15" y="184"/>
                  </a:cubicBezTo>
                  <a:cubicBezTo>
                    <a:pt x="15" y="184"/>
                    <a:pt x="15" y="184"/>
                    <a:pt x="15" y="184"/>
                  </a:cubicBezTo>
                  <a:cubicBezTo>
                    <a:pt x="15" y="184"/>
                    <a:pt x="15" y="184"/>
                    <a:pt x="15" y="184"/>
                  </a:cubicBezTo>
                  <a:cubicBezTo>
                    <a:pt x="15" y="184"/>
                    <a:pt x="15" y="184"/>
                    <a:pt x="15" y="184"/>
                  </a:cubicBezTo>
                  <a:cubicBezTo>
                    <a:pt x="15" y="185"/>
                    <a:pt x="15" y="185"/>
                    <a:pt x="15" y="185"/>
                  </a:cubicBezTo>
                  <a:cubicBezTo>
                    <a:pt x="15" y="185"/>
                    <a:pt x="15" y="185"/>
                    <a:pt x="15" y="185"/>
                  </a:cubicBezTo>
                  <a:cubicBezTo>
                    <a:pt x="15" y="185"/>
                    <a:pt x="15" y="185"/>
                    <a:pt x="15" y="185"/>
                  </a:cubicBezTo>
                  <a:cubicBezTo>
                    <a:pt x="15" y="185"/>
                    <a:pt x="15" y="185"/>
                    <a:pt x="15" y="185"/>
                  </a:cubicBezTo>
                  <a:cubicBezTo>
                    <a:pt x="15" y="185"/>
                    <a:pt x="15" y="185"/>
                    <a:pt x="15" y="185"/>
                  </a:cubicBezTo>
                  <a:cubicBezTo>
                    <a:pt x="15" y="185"/>
                    <a:pt x="15" y="185"/>
                    <a:pt x="15" y="185"/>
                  </a:cubicBezTo>
                  <a:cubicBezTo>
                    <a:pt x="14" y="186"/>
                    <a:pt x="14" y="186"/>
                    <a:pt x="14" y="186"/>
                  </a:cubicBezTo>
                  <a:cubicBezTo>
                    <a:pt x="14" y="186"/>
                    <a:pt x="14" y="186"/>
                    <a:pt x="14" y="186"/>
                  </a:cubicBezTo>
                  <a:cubicBezTo>
                    <a:pt x="14" y="186"/>
                    <a:pt x="14" y="186"/>
                    <a:pt x="14" y="186"/>
                  </a:cubicBezTo>
                  <a:cubicBezTo>
                    <a:pt x="15" y="186"/>
                    <a:pt x="15" y="186"/>
                    <a:pt x="15" y="186"/>
                  </a:cubicBezTo>
                  <a:cubicBezTo>
                    <a:pt x="15" y="186"/>
                    <a:pt x="15" y="186"/>
                    <a:pt x="15" y="186"/>
                  </a:cubicBezTo>
                  <a:cubicBezTo>
                    <a:pt x="15" y="186"/>
                    <a:pt x="15" y="186"/>
                    <a:pt x="15" y="186"/>
                  </a:cubicBezTo>
                  <a:cubicBezTo>
                    <a:pt x="15" y="186"/>
                    <a:pt x="15" y="186"/>
                    <a:pt x="15" y="186"/>
                  </a:cubicBezTo>
                  <a:cubicBezTo>
                    <a:pt x="15" y="186"/>
                    <a:pt x="15" y="186"/>
                    <a:pt x="15" y="186"/>
                  </a:cubicBezTo>
                  <a:cubicBezTo>
                    <a:pt x="15" y="186"/>
                    <a:pt x="15" y="186"/>
                    <a:pt x="15" y="186"/>
                  </a:cubicBezTo>
                  <a:cubicBezTo>
                    <a:pt x="16" y="186"/>
                    <a:pt x="16" y="186"/>
                    <a:pt x="16" y="186"/>
                  </a:cubicBezTo>
                  <a:cubicBezTo>
                    <a:pt x="15" y="186"/>
                    <a:pt x="15" y="186"/>
                    <a:pt x="15" y="186"/>
                  </a:cubicBezTo>
                  <a:cubicBezTo>
                    <a:pt x="15" y="187"/>
                    <a:pt x="15" y="187"/>
                    <a:pt x="15" y="187"/>
                  </a:cubicBezTo>
                  <a:cubicBezTo>
                    <a:pt x="16" y="186"/>
                    <a:pt x="16" y="186"/>
                    <a:pt x="16" y="186"/>
                  </a:cubicBezTo>
                  <a:cubicBezTo>
                    <a:pt x="16" y="187"/>
                    <a:pt x="16" y="187"/>
                    <a:pt x="16" y="187"/>
                  </a:cubicBezTo>
                  <a:cubicBezTo>
                    <a:pt x="16" y="187"/>
                    <a:pt x="16" y="187"/>
                    <a:pt x="16" y="187"/>
                  </a:cubicBezTo>
                  <a:cubicBezTo>
                    <a:pt x="16" y="187"/>
                    <a:pt x="16" y="187"/>
                    <a:pt x="16" y="187"/>
                  </a:cubicBezTo>
                  <a:cubicBezTo>
                    <a:pt x="16" y="188"/>
                    <a:pt x="16" y="188"/>
                    <a:pt x="16" y="188"/>
                  </a:cubicBezTo>
                  <a:cubicBezTo>
                    <a:pt x="16" y="188"/>
                    <a:pt x="16" y="188"/>
                    <a:pt x="16" y="188"/>
                  </a:cubicBezTo>
                  <a:cubicBezTo>
                    <a:pt x="16" y="187"/>
                    <a:pt x="16" y="187"/>
                    <a:pt x="16" y="187"/>
                  </a:cubicBezTo>
                  <a:cubicBezTo>
                    <a:pt x="17" y="187"/>
                    <a:pt x="17" y="187"/>
                    <a:pt x="17" y="187"/>
                  </a:cubicBezTo>
                  <a:cubicBezTo>
                    <a:pt x="16" y="187"/>
                    <a:pt x="16" y="187"/>
                    <a:pt x="16" y="187"/>
                  </a:cubicBezTo>
                  <a:cubicBezTo>
                    <a:pt x="16" y="187"/>
                    <a:pt x="16" y="187"/>
                    <a:pt x="16" y="187"/>
                  </a:cubicBezTo>
                  <a:cubicBezTo>
                    <a:pt x="16" y="187"/>
                    <a:pt x="16" y="187"/>
                    <a:pt x="16" y="187"/>
                  </a:cubicBezTo>
                  <a:cubicBezTo>
                    <a:pt x="16" y="187"/>
                    <a:pt x="16" y="187"/>
                    <a:pt x="16" y="187"/>
                  </a:cubicBezTo>
                  <a:cubicBezTo>
                    <a:pt x="16" y="187"/>
                    <a:pt x="16" y="187"/>
                    <a:pt x="16" y="187"/>
                  </a:cubicBezTo>
                  <a:cubicBezTo>
                    <a:pt x="17" y="187"/>
                    <a:pt x="17" y="187"/>
                    <a:pt x="17" y="187"/>
                  </a:cubicBezTo>
                  <a:cubicBezTo>
                    <a:pt x="17" y="187"/>
                    <a:pt x="17" y="187"/>
                    <a:pt x="17" y="187"/>
                  </a:cubicBezTo>
                  <a:cubicBezTo>
                    <a:pt x="17" y="187"/>
                    <a:pt x="17" y="187"/>
                    <a:pt x="17" y="187"/>
                  </a:cubicBezTo>
                  <a:cubicBezTo>
                    <a:pt x="17" y="187"/>
                    <a:pt x="17" y="187"/>
                    <a:pt x="17" y="187"/>
                  </a:cubicBezTo>
                  <a:cubicBezTo>
                    <a:pt x="17" y="188"/>
                    <a:pt x="17" y="188"/>
                    <a:pt x="17" y="188"/>
                  </a:cubicBezTo>
                  <a:cubicBezTo>
                    <a:pt x="16" y="188"/>
                    <a:pt x="16" y="188"/>
                    <a:pt x="16" y="188"/>
                  </a:cubicBezTo>
                  <a:cubicBezTo>
                    <a:pt x="16" y="188"/>
                    <a:pt x="16" y="188"/>
                    <a:pt x="16" y="188"/>
                  </a:cubicBezTo>
                  <a:cubicBezTo>
                    <a:pt x="17" y="188"/>
                    <a:pt x="17" y="188"/>
                    <a:pt x="17" y="188"/>
                  </a:cubicBezTo>
                  <a:cubicBezTo>
                    <a:pt x="17" y="188"/>
                    <a:pt x="17" y="188"/>
                    <a:pt x="17" y="188"/>
                  </a:cubicBezTo>
                  <a:cubicBezTo>
                    <a:pt x="17" y="189"/>
                    <a:pt x="17" y="189"/>
                    <a:pt x="17" y="189"/>
                  </a:cubicBezTo>
                  <a:cubicBezTo>
                    <a:pt x="17" y="189"/>
                    <a:pt x="17" y="189"/>
                    <a:pt x="17" y="189"/>
                  </a:cubicBezTo>
                  <a:cubicBezTo>
                    <a:pt x="17" y="189"/>
                    <a:pt x="17" y="189"/>
                    <a:pt x="17" y="189"/>
                  </a:cubicBezTo>
                  <a:cubicBezTo>
                    <a:pt x="17" y="189"/>
                    <a:pt x="17" y="189"/>
                    <a:pt x="17" y="189"/>
                  </a:cubicBezTo>
                  <a:cubicBezTo>
                    <a:pt x="18" y="189"/>
                    <a:pt x="18" y="189"/>
                    <a:pt x="18" y="189"/>
                  </a:cubicBezTo>
                  <a:cubicBezTo>
                    <a:pt x="18" y="189"/>
                    <a:pt x="18" y="189"/>
                    <a:pt x="18" y="189"/>
                  </a:cubicBezTo>
                  <a:cubicBezTo>
                    <a:pt x="18" y="189"/>
                    <a:pt x="18" y="189"/>
                    <a:pt x="18" y="189"/>
                  </a:cubicBezTo>
                  <a:cubicBezTo>
                    <a:pt x="18" y="189"/>
                    <a:pt x="18" y="189"/>
                    <a:pt x="18" y="189"/>
                  </a:cubicBezTo>
                  <a:cubicBezTo>
                    <a:pt x="18" y="190"/>
                    <a:pt x="18" y="190"/>
                    <a:pt x="18" y="190"/>
                  </a:cubicBezTo>
                  <a:cubicBezTo>
                    <a:pt x="18" y="190"/>
                    <a:pt x="18" y="190"/>
                    <a:pt x="18" y="190"/>
                  </a:cubicBezTo>
                  <a:cubicBezTo>
                    <a:pt x="18" y="190"/>
                    <a:pt x="18" y="190"/>
                    <a:pt x="18" y="190"/>
                  </a:cubicBezTo>
                  <a:cubicBezTo>
                    <a:pt x="18" y="190"/>
                    <a:pt x="18" y="190"/>
                    <a:pt x="18" y="190"/>
                  </a:cubicBezTo>
                  <a:cubicBezTo>
                    <a:pt x="18" y="190"/>
                    <a:pt x="18" y="190"/>
                    <a:pt x="18" y="190"/>
                  </a:cubicBezTo>
                  <a:cubicBezTo>
                    <a:pt x="18" y="190"/>
                    <a:pt x="18" y="190"/>
                    <a:pt x="18" y="190"/>
                  </a:cubicBezTo>
                  <a:cubicBezTo>
                    <a:pt x="19" y="191"/>
                    <a:pt x="19" y="191"/>
                    <a:pt x="19" y="191"/>
                  </a:cubicBezTo>
                  <a:cubicBezTo>
                    <a:pt x="19" y="191"/>
                    <a:pt x="19" y="191"/>
                    <a:pt x="19" y="191"/>
                  </a:cubicBezTo>
                  <a:cubicBezTo>
                    <a:pt x="19" y="191"/>
                    <a:pt x="19" y="191"/>
                    <a:pt x="19" y="191"/>
                  </a:cubicBezTo>
                  <a:cubicBezTo>
                    <a:pt x="18" y="191"/>
                    <a:pt x="18" y="191"/>
                    <a:pt x="18" y="191"/>
                  </a:cubicBezTo>
                  <a:cubicBezTo>
                    <a:pt x="18" y="191"/>
                    <a:pt x="18" y="191"/>
                    <a:pt x="18" y="191"/>
                  </a:cubicBezTo>
                  <a:cubicBezTo>
                    <a:pt x="18" y="191"/>
                    <a:pt x="18" y="191"/>
                    <a:pt x="18" y="191"/>
                  </a:cubicBezTo>
                  <a:cubicBezTo>
                    <a:pt x="18" y="191"/>
                    <a:pt x="18" y="191"/>
                    <a:pt x="18" y="191"/>
                  </a:cubicBezTo>
                  <a:cubicBezTo>
                    <a:pt x="18" y="191"/>
                    <a:pt x="18" y="191"/>
                    <a:pt x="18" y="191"/>
                  </a:cubicBezTo>
                  <a:cubicBezTo>
                    <a:pt x="18" y="191"/>
                    <a:pt x="18" y="191"/>
                    <a:pt x="18" y="191"/>
                  </a:cubicBezTo>
                  <a:cubicBezTo>
                    <a:pt x="18" y="191"/>
                    <a:pt x="18" y="191"/>
                    <a:pt x="18" y="191"/>
                  </a:cubicBezTo>
                  <a:cubicBezTo>
                    <a:pt x="18" y="192"/>
                    <a:pt x="18" y="192"/>
                    <a:pt x="18" y="192"/>
                  </a:cubicBezTo>
                  <a:cubicBezTo>
                    <a:pt x="18" y="192"/>
                    <a:pt x="18" y="192"/>
                    <a:pt x="18" y="192"/>
                  </a:cubicBezTo>
                  <a:cubicBezTo>
                    <a:pt x="19" y="192"/>
                    <a:pt x="19" y="192"/>
                    <a:pt x="19" y="192"/>
                  </a:cubicBezTo>
                  <a:cubicBezTo>
                    <a:pt x="19" y="192"/>
                    <a:pt x="19" y="192"/>
                    <a:pt x="19" y="192"/>
                  </a:cubicBezTo>
                  <a:cubicBezTo>
                    <a:pt x="19" y="192"/>
                    <a:pt x="19" y="192"/>
                    <a:pt x="19" y="192"/>
                  </a:cubicBezTo>
                  <a:cubicBezTo>
                    <a:pt x="19" y="193"/>
                    <a:pt x="19" y="193"/>
                    <a:pt x="19" y="193"/>
                  </a:cubicBezTo>
                  <a:cubicBezTo>
                    <a:pt x="19" y="193"/>
                    <a:pt x="19" y="193"/>
                    <a:pt x="19" y="193"/>
                  </a:cubicBezTo>
                  <a:cubicBezTo>
                    <a:pt x="20" y="193"/>
                    <a:pt x="20" y="193"/>
                    <a:pt x="20" y="193"/>
                  </a:cubicBezTo>
                  <a:cubicBezTo>
                    <a:pt x="20" y="193"/>
                    <a:pt x="20" y="193"/>
                    <a:pt x="20" y="193"/>
                  </a:cubicBezTo>
                  <a:cubicBezTo>
                    <a:pt x="20" y="193"/>
                    <a:pt x="20" y="193"/>
                    <a:pt x="20" y="193"/>
                  </a:cubicBezTo>
                  <a:cubicBezTo>
                    <a:pt x="20" y="193"/>
                    <a:pt x="20" y="193"/>
                    <a:pt x="20" y="193"/>
                  </a:cubicBezTo>
                  <a:cubicBezTo>
                    <a:pt x="19" y="193"/>
                    <a:pt x="19" y="193"/>
                    <a:pt x="19" y="193"/>
                  </a:cubicBezTo>
                  <a:cubicBezTo>
                    <a:pt x="20" y="194"/>
                    <a:pt x="20" y="194"/>
                    <a:pt x="20" y="194"/>
                  </a:cubicBezTo>
                  <a:cubicBezTo>
                    <a:pt x="21" y="193"/>
                    <a:pt x="21" y="193"/>
                    <a:pt x="21" y="193"/>
                  </a:cubicBezTo>
                  <a:cubicBezTo>
                    <a:pt x="22" y="194"/>
                    <a:pt x="22" y="194"/>
                    <a:pt x="22" y="194"/>
                  </a:cubicBezTo>
                  <a:cubicBezTo>
                    <a:pt x="21" y="194"/>
                    <a:pt x="21" y="194"/>
                    <a:pt x="21" y="194"/>
                  </a:cubicBezTo>
                  <a:cubicBezTo>
                    <a:pt x="21" y="194"/>
                    <a:pt x="21" y="194"/>
                    <a:pt x="21" y="194"/>
                  </a:cubicBezTo>
                  <a:cubicBezTo>
                    <a:pt x="21" y="194"/>
                    <a:pt x="21" y="194"/>
                    <a:pt x="21" y="194"/>
                  </a:cubicBezTo>
                  <a:cubicBezTo>
                    <a:pt x="21" y="194"/>
                    <a:pt x="21" y="194"/>
                    <a:pt x="21" y="194"/>
                  </a:cubicBezTo>
                  <a:cubicBezTo>
                    <a:pt x="21" y="194"/>
                    <a:pt x="21" y="194"/>
                    <a:pt x="21" y="194"/>
                  </a:cubicBezTo>
                  <a:cubicBezTo>
                    <a:pt x="21" y="194"/>
                    <a:pt x="21" y="194"/>
                    <a:pt x="21" y="194"/>
                  </a:cubicBezTo>
                  <a:cubicBezTo>
                    <a:pt x="21" y="194"/>
                    <a:pt x="21" y="194"/>
                    <a:pt x="21" y="194"/>
                  </a:cubicBezTo>
                  <a:cubicBezTo>
                    <a:pt x="21" y="195"/>
                    <a:pt x="21" y="195"/>
                    <a:pt x="21" y="195"/>
                  </a:cubicBezTo>
                  <a:cubicBezTo>
                    <a:pt x="21" y="195"/>
                    <a:pt x="21" y="195"/>
                    <a:pt x="21" y="195"/>
                  </a:cubicBezTo>
                  <a:cubicBezTo>
                    <a:pt x="21" y="195"/>
                    <a:pt x="21" y="195"/>
                    <a:pt x="21" y="195"/>
                  </a:cubicBezTo>
                  <a:cubicBezTo>
                    <a:pt x="21" y="195"/>
                    <a:pt x="21" y="195"/>
                    <a:pt x="21" y="195"/>
                  </a:cubicBezTo>
                  <a:cubicBezTo>
                    <a:pt x="21" y="195"/>
                    <a:pt x="21" y="195"/>
                    <a:pt x="21" y="195"/>
                  </a:cubicBezTo>
                  <a:cubicBezTo>
                    <a:pt x="22" y="195"/>
                    <a:pt x="22" y="195"/>
                    <a:pt x="22" y="195"/>
                  </a:cubicBezTo>
                  <a:cubicBezTo>
                    <a:pt x="22" y="195"/>
                    <a:pt x="22" y="195"/>
                    <a:pt x="22" y="195"/>
                  </a:cubicBezTo>
                  <a:cubicBezTo>
                    <a:pt x="22" y="195"/>
                    <a:pt x="22" y="195"/>
                    <a:pt x="22" y="195"/>
                  </a:cubicBezTo>
                  <a:cubicBezTo>
                    <a:pt x="22" y="195"/>
                    <a:pt x="22" y="195"/>
                    <a:pt x="22" y="195"/>
                  </a:cubicBezTo>
                  <a:cubicBezTo>
                    <a:pt x="22" y="195"/>
                    <a:pt x="22" y="195"/>
                    <a:pt x="22" y="195"/>
                  </a:cubicBezTo>
                  <a:cubicBezTo>
                    <a:pt x="22" y="195"/>
                    <a:pt x="22" y="195"/>
                    <a:pt x="22" y="195"/>
                  </a:cubicBezTo>
                  <a:cubicBezTo>
                    <a:pt x="23" y="195"/>
                    <a:pt x="23" y="195"/>
                    <a:pt x="23" y="195"/>
                  </a:cubicBezTo>
                  <a:cubicBezTo>
                    <a:pt x="23" y="195"/>
                    <a:pt x="23" y="195"/>
                    <a:pt x="23" y="195"/>
                  </a:cubicBezTo>
                  <a:cubicBezTo>
                    <a:pt x="24" y="195"/>
                    <a:pt x="24" y="195"/>
                    <a:pt x="24" y="195"/>
                  </a:cubicBezTo>
                  <a:cubicBezTo>
                    <a:pt x="24" y="195"/>
                    <a:pt x="24" y="195"/>
                    <a:pt x="24" y="195"/>
                  </a:cubicBezTo>
                  <a:cubicBezTo>
                    <a:pt x="25" y="195"/>
                    <a:pt x="25" y="195"/>
                    <a:pt x="25" y="195"/>
                  </a:cubicBezTo>
                  <a:cubicBezTo>
                    <a:pt x="25" y="195"/>
                    <a:pt x="25" y="195"/>
                    <a:pt x="25" y="195"/>
                  </a:cubicBezTo>
                  <a:cubicBezTo>
                    <a:pt x="25" y="195"/>
                    <a:pt x="25" y="195"/>
                    <a:pt x="25" y="195"/>
                  </a:cubicBezTo>
                  <a:cubicBezTo>
                    <a:pt x="24" y="195"/>
                    <a:pt x="24" y="195"/>
                    <a:pt x="24" y="195"/>
                  </a:cubicBezTo>
                  <a:cubicBezTo>
                    <a:pt x="24" y="195"/>
                    <a:pt x="24" y="195"/>
                    <a:pt x="24" y="195"/>
                  </a:cubicBezTo>
                  <a:cubicBezTo>
                    <a:pt x="24" y="195"/>
                    <a:pt x="24" y="195"/>
                    <a:pt x="24" y="195"/>
                  </a:cubicBezTo>
                  <a:cubicBezTo>
                    <a:pt x="24" y="196"/>
                    <a:pt x="24" y="196"/>
                    <a:pt x="24" y="196"/>
                  </a:cubicBezTo>
                  <a:cubicBezTo>
                    <a:pt x="24" y="196"/>
                    <a:pt x="24" y="196"/>
                    <a:pt x="24" y="196"/>
                  </a:cubicBezTo>
                  <a:cubicBezTo>
                    <a:pt x="24" y="196"/>
                    <a:pt x="24" y="196"/>
                    <a:pt x="24" y="196"/>
                  </a:cubicBezTo>
                  <a:cubicBezTo>
                    <a:pt x="24" y="196"/>
                    <a:pt x="24" y="196"/>
                    <a:pt x="24" y="196"/>
                  </a:cubicBezTo>
                  <a:cubicBezTo>
                    <a:pt x="24" y="196"/>
                    <a:pt x="24" y="196"/>
                    <a:pt x="24" y="196"/>
                  </a:cubicBezTo>
                  <a:cubicBezTo>
                    <a:pt x="24" y="196"/>
                    <a:pt x="24" y="196"/>
                    <a:pt x="24" y="196"/>
                  </a:cubicBezTo>
                  <a:cubicBezTo>
                    <a:pt x="24" y="196"/>
                    <a:pt x="24" y="196"/>
                    <a:pt x="24" y="196"/>
                  </a:cubicBezTo>
                  <a:cubicBezTo>
                    <a:pt x="24" y="196"/>
                    <a:pt x="24" y="196"/>
                    <a:pt x="24" y="196"/>
                  </a:cubicBezTo>
                  <a:cubicBezTo>
                    <a:pt x="24" y="196"/>
                    <a:pt x="24" y="196"/>
                    <a:pt x="24" y="196"/>
                  </a:cubicBezTo>
                  <a:cubicBezTo>
                    <a:pt x="24" y="196"/>
                    <a:pt x="24" y="196"/>
                    <a:pt x="24" y="196"/>
                  </a:cubicBezTo>
                  <a:cubicBezTo>
                    <a:pt x="24" y="196"/>
                    <a:pt x="24" y="196"/>
                    <a:pt x="24" y="196"/>
                  </a:cubicBezTo>
                  <a:cubicBezTo>
                    <a:pt x="24" y="196"/>
                    <a:pt x="24" y="196"/>
                    <a:pt x="24" y="196"/>
                  </a:cubicBezTo>
                  <a:cubicBezTo>
                    <a:pt x="24" y="196"/>
                    <a:pt x="24" y="196"/>
                    <a:pt x="24" y="196"/>
                  </a:cubicBezTo>
                  <a:cubicBezTo>
                    <a:pt x="24" y="196"/>
                    <a:pt x="24" y="196"/>
                    <a:pt x="24" y="196"/>
                  </a:cubicBezTo>
                  <a:cubicBezTo>
                    <a:pt x="24" y="196"/>
                    <a:pt x="24" y="196"/>
                    <a:pt x="24" y="196"/>
                  </a:cubicBezTo>
                  <a:cubicBezTo>
                    <a:pt x="23" y="196"/>
                    <a:pt x="23" y="196"/>
                    <a:pt x="23" y="196"/>
                  </a:cubicBezTo>
                  <a:cubicBezTo>
                    <a:pt x="24" y="197"/>
                    <a:pt x="24" y="197"/>
                    <a:pt x="24" y="197"/>
                  </a:cubicBezTo>
                  <a:cubicBezTo>
                    <a:pt x="22" y="197"/>
                    <a:pt x="22" y="197"/>
                    <a:pt x="22" y="197"/>
                  </a:cubicBezTo>
                  <a:cubicBezTo>
                    <a:pt x="22" y="197"/>
                    <a:pt x="22" y="197"/>
                    <a:pt x="22" y="197"/>
                  </a:cubicBezTo>
                  <a:cubicBezTo>
                    <a:pt x="22" y="197"/>
                    <a:pt x="22" y="197"/>
                    <a:pt x="22" y="197"/>
                  </a:cubicBezTo>
                  <a:cubicBezTo>
                    <a:pt x="24" y="197"/>
                    <a:pt x="24" y="197"/>
                    <a:pt x="24" y="197"/>
                  </a:cubicBezTo>
                  <a:cubicBezTo>
                    <a:pt x="25" y="197"/>
                    <a:pt x="25" y="197"/>
                    <a:pt x="25" y="197"/>
                  </a:cubicBezTo>
                  <a:cubicBezTo>
                    <a:pt x="25" y="197"/>
                    <a:pt x="25" y="197"/>
                    <a:pt x="25" y="197"/>
                  </a:cubicBezTo>
                  <a:cubicBezTo>
                    <a:pt x="25" y="197"/>
                    <a:pt x="25" y="197"/>
                    <a:pt x="25" y="197"/>
                  </a:cubicBezTo>
                  <a:cubicBezTo>
                    <a:pt x="24" y="197"/>
                    <a:pt x="24" y="197"/>
                    <a:pt x="24" y="197"/>
                  </a:cubicBezTo>
                  <a:cubicBezTo>
                    <a:pt x="25" y="197"/>
                    <a:pt x="25" y="197"/>
                    <a:pt x="25" y="197"/>
                  </a:cubicBezTo>
                  <a:cubicBezTo>
                    <a:pt x="25" y="197"/>
                    <a:pt x="25" y="197"/>
                    <a:pt x="25" y="197"/>
                  </a:cubicBezTo>
                  <a:cubicBezTo>
                    <a:pt x="26" y="198"/>
                    <a:pt x="26" y="198"/>
                    <a:pt x="26" y="198"/>
                  </a:cubicBezTo>
                  <a:cubicBezTo>
                    <a:pt x="26" y="198"/>
                    <a:pt x="26" y="198"/>
                    <a:pt x="26" y="198"/>
                  </a:cubicBezTo>
                  <a:cubicBezTo>
                    <a:pt x="26" y="198"/>
                    <a:pt x="26" y="198"/>
                    <a:pt x="26" y="198"/>
                  </a:cubicBezTo>
                  <a:cubicBezTo>
                    <a:pt x="25" y="198"/>
                    <a:pt x="25" y="198"/>
                    <a:pt x="25" y="198"/>
                  </a:cubicBezTo>
                  <a:cubicBezTo>
                    <a:pt x="25" y="198"/>
                    <a:pt x="25" y="198"/>
                    <a:pt x="25" y="198"/>
                  </a:cubicBezTo>
                  <a:cubicBezTo>
                    <a:pt x="25" y="198"/>
                    <a:pt x="25" y="198"/>
                    <a:pt x="25" y="198"/>
                  </a:cubicBezTo>
                  <a:cubicBezTo>
                    <a:pt x="25" y="199"/>
                    <a:pt x="25" y="199"/>
                    <a:pt x="25" y="199"/>
                  </a:cubicBezTo>
                  <a:cubicBezTo>
                    <a:pt x="25" y="199"/>
                    <a:pt x="25" y="199"/>
                    <a:pt x="25" y="199"/>
                  </a:cubicBezTo>
                  <a:cubicBezTo>
                    <a:pt x="25" y="199"/>
                    <a:pt x="25" y="199"/>
                    <a:pt x="25" y="199"/>
                  </a:cubicBezTo>
                  <a:cubicBezTo>
                    <a:pt x="25" y="199"/>
                    <a:pt x="25" y="199"/>
                    <a:pt x="25" y="199"/>
                  </a:cubicBezTo>
                  <a:cubicBezTo>
                    <a:pt x="25" y="199"/>
                    <a:pt x="25" y="199"/>
                    <a:pt x="25" y="199"/>
                  </a:cubicBezTo>
                  <a:cubicBezTo>
                    <a:pt x="25" y="199"/>
                    <a:pt x="25" y="199"/>
                    <a:pt x="25" y="199"/>
                  </a:cubicBezTo>
                  <a:cubicBezTo>
                    <a:pt x="25" y="199"/>
                    <a:pt x="25" y="199"/>
                    <a:pt x="25" y="199"/>
                  </a:cubicBezTo>
                  <a:cubicBezTo>
                    <a:pt x="25" y="199"/>
                    <a:pt x="25" y="199"/>
                    <a:pt x="25" y="199"/>
                  </a:cubicBezTo>
                  <a:cubicBezTo>
                    <a:pt x="26" y="199"/>
                    <a:pt x="26" y="199"/>
                    <a:pt x="26" y="199"/>
                  </a:cubicBezTo>
                  <a:cubicBezTo>
                    <a:pt x="26" y="199"/>
                    <a:pt x="26" y="199"/>
                    <a:pt x="26" y="199"/>
                  </a:cubicBezTo>
                  <a:cubicBezTo>
                    <a:pt x="25" y="199"/>
                    <a:pt x="25" y="199"/>
                    <a:pt x="25" y="199"/>
                  </a:cubicBezTo>
                  <a:cubicBezTo>
                    <a:pt x="26" y="199"/>
                    <a:pt x="26" y="199"/>
                    <a:pt x="26" y="199"/>
                  </a:cubicBezTo>
                  <a:cubicBezTo>
                    <a:pt x="26" y="199"/>
                    <a:pt x="26" y="199"/>
                    <a:pt x="26" y="199"/>
                  </a:cubicBezTo>
                  <a:cubicBezTo>
                    <a:pt x="26" y="199"/>
                    <a:pt x="26" y="199"/>
                    <a:pt x="26" y="199"/>
                  </a:cubicBezTo>
                  <a:cubicBezTo>
                    <a:pt x="25" y="200"/>
                    <a:pt x="25" y="200"/>
                    <a:pt x="25" y="200"/>
                  </a:cubicBezTo>
                  <a:cubicBezTo>
                    <a:pt x="25" y="199"/>
                    <a:pt x="25" y="199"/>
                    <a:pt x="25" y="199"/>
                  </a:cubicBezTo>
                  <a:cubicBezTo>
                    <a:pt x="25" y="200"/>
                    <a:pt x="25" y="200"/>
                    <a:pt x="25" y="200"/>
                  </a:cubicBezTo>
                  <a:cubicBezTo>
                    <a:pt x="26" y="200"/>
                    <a:pt x="26" y="200"/>
                    <a:pt x="26" y="200"/>
                  </a:cubicBezTo>
                  <a:cubicBezTo>
                    <a:pt x="27" y="200"/>
                    <a:pt x="27" y="200"/>
                    <a:pt x="27" y="200"/>
                  </a:cubicBezTo>
                  <a:cubicBezTo>
                    <a:pt x="26" y="200"/>
                    <a:pt x="26" y="200"/>
                    <a:pt x="26" y="200"/>
                  </a:cubicBezTo>
                  <a:cubicBezTo>
                    <a:pt x="26" y="200"/>
                    <a:pt x="26" y="200"/>
                    <a:pt x="26" y="200"/>
                  </a:cubicBezTo>
                  <a:cubicBezTo>
                    <a:pt x="25" y="200"/>
                    <a:pt x="25" y="200"/>
                    <a:pt x="25" y="200"/>
                  </a:cubicBezTo>
                  <a:cubicBezTo>
                    <a:pt x="25" y="200"/>
                    <a:pt x="25" y="200"/>
                    <a:pt x="25" y="200"/>
                  </a:cubicBezTo>
                  <a:cubicBezTo>
                    <a:pt x="25" y="201"/>
                    <a:pt x="25" y="201"/>
                    <a:pt x="25" y="201"/>
                  </a:cubicBezTo>
                  <a:cubicBezTo>
                    <a:pt x="26" y="201"/>
                    <a:pt x="26" y="201"/>
                    <a:pt x="26" y="201"/>
                  </a:cubicBezTo>
                  <a:cubicBezTo>
                    <a:pt x="26" y="201"/>
                    <a:pt x="26" y="201"/>
                    <a:pt x="26" y="201"/>
                  </a:cubicBezTo>
                  <a:cubicBezTo>
                    <a:pt x="26" y="201"/>
                    <a:pt x="26" y="201"/>
                    <a:pt x="26" y="201"/>
                  </a:cubicBezTo>
                  <a:cubicBezTo>
                    <a:pt x="27" y="201"/>
                    <a:pt x="27" y="201"/>
                    <a:pt x="27" y="201"/>
                  </a:cubicBezTo>
                  <a:cubicBezTo>
                    <a:pt x="28" y="201"/>
                    <a:pt x="28" y="201"/>
                    <a:pt x="28" y="201"/>
                  </a:cubicBezTo>
                  <a:cubicBezTo>
                    <a:pt x="28" y="202"/>
                    <a:pt x="28" y="202"/>
                    <a:pt x="28" y="202"/>
                  </a:cubicBezTo>
                  <a:cubicBezTo>
                    <a:pt x="28" y="202"/>
                    <a:pt x="28" y="202"/>
                    <a:pt x="28" y="202"/>
                  </a:cubicBezTo>
                  <a:cubicBezTo>
                    <a:pt x="27" y="202"/>
                    <a:pt x="27" y="202"/>
                    <a:pt x="27" y="202"/>
                  </a:cubicBezTo>
                  <a:cubicBezTo>
                    <a:pt x="27" y="202"/>
                    <a:pt x="27" y="202"/>
                    <a:pt x="27" y="202"/>
                  </a:cubicBezTo>
                  <a:cubicBezTo>
                    <a:pt x="26" y="202"/>
                    <a:pt x="26" y="202"/>
                    <a:pt x="26" y="202"/>
                  </a:cubicBezTo>
                  <a:cubicBezTo>
                    <a:pt x="26" y="202"/>
                    <a:pt x="26" y="202"/>
                    <a:pt x="26" y="202"/>
                  </a:cubicBezTo>
                  <a:cubicBezTo>
                    <a:pt x="26" y="202"/>
                    <a:pt x="26" y="202"/>
                    <a:pt x="26" y="202"/>
                  </a:cubicBezTo>
                  <a:cubicBezTo>
                    <a:pt x="26" y="202"/>
                    <a:pt x="26" y="202"/>
                    <a:pt x="26" y="202"/>
                  </a:cubicBezTo>
                  <a:cubicBezTo>
                    <a:pt x="27" y="202"/>
                    <a:pt x="27" y="202"/>
                    <a:pt x="27" y="202"/>
                  </a:cubicBezTo>
                  <a:cubicBezTo>
                    <a:pt x="26" y="203"/>
                    <a:pt x="26" y="203"/>
                    <a:pt x="26" y="203"/>
                  </a:cubicBezTo>
                  <a:cubicBezTo>
                    <a:pt x="26" y="203"/>
                    <a:pt x="26" y="203"/>
                    <a:pt x="26" y="203"/>
                  </a:cubicBezTo>
                  <a:cubicBezTo>
                    <a:pt x="26" y="203"/>
                    <a:pt x="26" y="203"/>
                    <a:pt x="26" y="203"/>
                  </a:cubicBezTo>
                  <a:cubicBezTo>
                    <a:pt x="26" y="203"/>
                    <a:pt x="26" y="203"/>
                    <a:pt x="26" y="203"/>
                  </a:cubicBezTo>
                  <a:cubicBezTo>
                    <a:pt x="26" y="204"/>
                    <a:pt x="26" y="204"/>
                    <a:pt x="26" y="204"/>
                  </a:cubicBezTo>
                  <a:cubicBezTo>
                    <a:pt x="26" y="204"/>
                    <a:pt x="26" y="204"/>
                    <a:pt x="26" y="204"/>
                  </a:cubicBezTo>
                  <a:cubicBezTo>
                    <a:pt x="27" y="204"/>
                    <a:pt x="27" y="204"/>
                    <a:pt x="27" y="204"/>
                  </a:cubicBezTo>
                  <a:cubicBezTo>
                    <a:pt x="27" y="204"/>
                    <a:pt x="27" y="204"/>
                    <a:pt x="27" y="204"/>
                  </a:cubicBezTo>
                  <a:cubicBezTo>
                    <a:pt x="26" y="204"/>
                    <a:pt x="26" y="204"/>
                    <a:pt x="26" y="204"/>
                  </a:cubicBezTo>
                  <a:cubicBezTo>
                    <a:pt x="26" y="204"/>
                    <a:pt x="26" y="204"/>
                    <a:pt x="26" y="204"/>
                  </a:cubicBezTo>
                  <a:cubicBezTo>
                    <a:pt x="25" y="204"/>
                    <a:pt x="25" y="204"/>
                    <a:pt x="25" y="204"/>
                  </a:cubicBezTo>
                  <a:cubicBezTo>
                    <a:pt x="25" y="205"/>
                    <a:pt x="25" y="205"/>
                    <a:pt x="25" y="205"/>
                  </a:cubicBezTo>
                  <a:cubicBezTo>
                    <a:pt x="26" y="205"/>
                    <a:pt x="26" y="205"/>
                    <a:pt x="26" y="205"/>
                  </a:cubicBezTo>
                  <a:cubicBezTo>
                    <a:pt x="26" y="205"/>
                    <a:pt x="26" y="205"/>
                    <a:pt x="26" y="205"/>
                  </a:cubicBezTo>
                  <a:cubicBezTo>
                    <a:pt x="27" y="205"/>
                    <a:pt x="27" y="205"/>
                    <a:pt x="27" y="205"/>
                  </a:cubicBezTo>
                  <a:cubicBezTo>
                    <a:pt x="27" y="205"/>
                    <a:pt x="27" y="205"/>
                    <a:pt x="27" y="205"/>
                  </a:cubicBezTo>
                  <a:cubicBezTo>
                    <a:pt x="27" y="205"/>
                    <a:pt x="27" y="205"/>
                    <a:pt x="27" y="205"/>
                  </a:cubicBezTo>
                  <a:cubicBezTo>
                    <a:pt x="27" y="205"/>
                    <a:pt x="27" y="205"/>
                    <a:pt x="27" y="205"/>
                  </a:cubicBezTo>
                  <a:cubicBezTo>
                    <a:pt x="27" y="205"/>
                    <a:pt x="27" y="205"/>
                    <a:pt x="27" y="205"/>
                  </a:cubicBezTo>
                  <a:cubicBezTo>
                    <a:pt x="27" y="205"/>
                    <a:pt x="27" y="205"/>
                    <a:pt x="27" y="205"/>
                  </a:cubicBezTo>
                  <a:cubicBezTo>
                    <a:pt x="27" y="205"/>
                    <a:pt x="27" y="205"/>
                    <a:pt x="27" y="205"/>
                  </a:cubicBezTo>
                  <a:cubicBezTo>
                    <a:pt x="27" y="205"/>
                    <a:pt x="27" y="205"/>
                    <a:pt x="27" y="205"/>
                  </a:cubicBezTo>
                  <a:cubicBezTo>
                    <a:pt x="27" y="205"/>
                    <a:pt x="27" y="205"/>
                    <a:pt x="27" y="205"/>
                  </a:cubicBezTo>
                  <a:cubicBezTo>
                    <a:pt x="27" y="206"/>
                    <a:pt x="27" y="206"/>
                    <a:pt x="27" y="206"/>
                  </a:cubicBezTo>
                  <a:cubicBezTo>
                    <a:pt x="27" y="206"/>
                    <a:pt x="27" y="206"/>
                    <a:pt x="27" y="206"/>
                  </a:cubicBezTo>
                  <a:cubicBezTo>
                    <a:pt x="27" y="206"/>
                    <a:pt x="27" y="206"/>
                    <a:pt x="27" y="206"/>
                  </a:cubicBezTo>
                  <a:cubicBezTo>
                    <a:pt x="27" y="206"/>
                    <a:pt x="27" y="206"/>
                    <a:pt x="27" y="206"/>
                  </a:cubicBezTo>
                  <a:cubicBezTo>
                    <a:pt x="27" y="206"/>
                    <a:pt x="27" y="206"/>
                    <a:pt x="27" y="206"/>
                  </a:cubicBezTo>
                  <a:cubicBezTo>
                    <a:pt x="27" y="206"/>
                    <a:pt x="27" y="206"/>
                    <a:pt x="27" y="206"/>
                  </a:cubicBezTo>
                  <a:cubicBezTo>
                    <a:pt x="27" y="206"/>
                    <a:pt x="27" y="206"/>
                    <a:pt x="27" y="206"/>
                  </a:cubicBezTo>
                  <a:cubicBezTo>
                    <a:pt x="27" y="206"/>
                    <a:pt x="27" y="206"/>
                    <a:pt x="27" y="206"/>
                  </a:cubicBezTo>
                  <a:cubicBezTo>
                    <a:pt x="27" y="206"/>
                    <a:pt x="27" y="206"/>
                    <a:pt x="27" y="206"/>
                  </a:cubicBezTo>
                  <a:cubicBezTo>
                    <a:pt x="27" y="207"/>
                    <a:pt x="27" y="207"/>
                    <a:pt x="27" y="207"/>
                  </a:cubicBezTo>
                  <a:cubicBezTo>
                    <a:pt x="27" y="207"/>
                    <a:pt x="27" y="207"/>
                    <a:pt x="27" y="207"/>
                  </a:cubicBezTo>
                  <a:cubicBezTo>
                    <a:pt x="27" y="207"/>
                    <a:pt x="27" y="207"/>
                    <a:pt x="27" y="207"/>
                  </a:cubicBezTo>
                  <a:cubicBezTo>
                    <a:pt x="27" y="207"/>
                    <a:pt x="27" y="207"/>
                    <a:pt x="27" y="207"/>
                  </a:cubicBezTo>
                  <a:cubicBezTo>
                    <a:pt x="27" y="207"/>
                    <a:pt x="27" y="207"/>
                    <a:pt x="27" y="207"/>
                  </a:cubicBezTo>
                  <a:cubicBezTo>
                    <a:pt x="28" y="206"/>
                    <a:pt x="28" y="206"/>
                    <a:pt x="28" y="206"/>
                  </a:cubicBezTo>
                  <a:cubicBezTo>
                    <a:pt x="28" y="206"/>
                    <a:pt x="28" y="206"/>
                    <a:pt x="28" y="206"/>
                  </a:cubicBezTo>
                  <a:cubicBezTo>
                    <a:pt x="28" y="206"/>
                    <a:pt x="28" y="206"/>
                    <a:pt x="28" y="206"/>
                  </a:cubicBezTo>
                  <a:cubicBezTo>
                    <a:pt x="28" y="207"/>
                    <a:pt x="28" y="207"/>
                    <a:pt x="28" y="207"/>
                  </a:cubicBezTo>
                  <a:cubicBezTo>
                    <a:pt x="28" y="207"/>
                    <a:pt x="28" y="207"/>
                    <a:pt x="28" y="207"/>
                  </a:cubicBezTo>
                  <a:cubicBezTo>
                    <a:pt x="28" y="207"/>
                    <a:pt x="28" y="207"/>
                    <a:pt x="28" y="207"/>
                  </a:cubicBezTo>
                  <a:cubicBezTo>
                    <a:pt x="29" y="207"/>
                    <a:pt x="29" y="207"/>
                    <a:pt x="29" y="207"/>
                  </a:cubicBezTo>
                  <a:cubicBezTo>
                    <a:pt x="29" y="207"/>
                    <a:pt x="29" y="207"/>
                    <a:pt x="29" y="207"/>
                  </a:cubicBezTo>
                  <a:cubicBezTo>
                    <a:pt x="29" y="207"/>
                    <a:pt x="29" y="207"/>
                    <a:pt x="29" y="207"/>
                  </a:cubicBezTo>
                  <a:cubicBezTo>
                    <a:pt x="28" y="208"/>
                    <a:pt x="28" y="208"/>
                    <a:pt x="28" y="208"/>
                  </a:cubicBezTo>
                  <a:cubicBezTo>
                    <a:pt x="28" y="208"/>
                    <a:pt x="28" y="208"/>
                    <a:pt x="28" y="208"/>
                  </a:cubicBezTo>
                  <a:cubicBezTo>
                    <a:pt x="28" y="207"/>
                    <a:pt x="28" y="207"/>
                    <a:pt x="28" y="207"/>
                  </a:cubicBezTo>
                  <a:cubicBezTo>
                    <a:pt x="28" y="207"/>
                    <a:pt x="28" y="207"/>
                    <a:pt x="28" y="207"/>
                  </a:cubicBezTo>
                  <a:cubicBezTo>
                    <a:pt x="27" y="208"/>
                    <a:pt x="27" y="208"/>
                    <a:pt x="27" y="208"/>
                  </a:cubicBezTo>
                  <a:cubicBezTo>
                    <a:pt x="28" y="208"/>
                    <a:pt x="28" y="208"/>
                    <a:pt x="28" y="208"/>
                  </a:cubicBezTo>
                  <a:cubicBezTo>
                    <a:pt x="28" y="208"/>
                    <a:pt x="28" y="208"/>
                    <a:pt x="28" y="208"/>
                  </a:cubicBezTo>
                  <a:cubicBezTo>
                    <a:pt x="28" y="208"/>
                    <a:pt x="28" y="208"/>
                    <a:pt x="28" y="208"/>
                  </a:cubicBezTo>
                  <a:cubicBezTo>
                    <a:pt x="28" y="208"/>
                    <a:pt x="28" y="208"/>
                    <a:pt x="28" y="208"/>
                  </a:cubicBezTo>
                  <a:cubicBezTo>
                    <a:pt x="28" y="208"/>
                    <a:pt x="28" y="208"/>
                    <a:pt x="28" y="208"/>
                  </a:cubicBezTo>
                  <a:cubicBezTo>
                    <a:pt x="29" y="208"/>
                    <a:pt x="29" y="208"/>
                    <a:pt x="29" y="208"/>
                  </a:cubicBezTo>
                  <a:cubicBezTo>
                    <a:pt x="28" y="209"/>
                    <a:pt x="28" y="209"/>
                    <a:pt x="28" y="209"/>
                  </a:cubicBezTo>
                  <a:cubicBezTo>
                    <a:pt x="28" y="209"/>
                    <a:pt x="28" y="209"/>
                    <a:pt x="28" y="209"/>
                  </a:cubicBezTo>
                  <a:cubicBezTo>
                    <a:pt x="28" y="209"/>
                    <a:pt x="28" y="209"/>
                    <a:pt x="28" y="209"/>
                  </a:cubicBezTo>
                  <a:cubicBezTo>
                    <a:pt x="27" y="208"/>
                    <a:pt x="27" y="208"/>
                    <a:pt x="27" y="208"/>
                  </a:cubicBezTo>
                  <a:cubicBezTo>
                    <a:pt x="28" y="208"/>
                    <a:pt x="28" y="208"/>
                    <a:pt x="28" y="208"/>
                  </a:cubicBezTo>
                  <a:cubicBezTo>
                    <a:pt x="27" y="208"/>
                    <a:pt x="27" y="208"/>
                    <a:pt x="27" y="208"/>
                  </a:cubicBezTo>
                  <a:cubicBezTo>
                    <a:pt x="27" y="208"/>
                    <a:pt x="27" y="208"/>
                    <a:pt x="27" y="208"/>
                  </a:cubicBezTo>
                  <a:cubicBezTo>
                    <a:pt x="28" y="208"/>
                    <a:pt x="28" y="208"/>
                    <a:pt x="28" y="208"/>
                  </a:cubicBezTo>
                  <a:cubicBezTo>
                    <a:pt x="27" y="208"/>
                    <a:pt x="27" y="208"/>
                    <a:pt x="27" y="208"/>
                  </a:cubicBezTo>
                  <a:cubicBezTo>
                    <a:pt x="27" y="208"/>
                    <a:pt x="27" y="208"/>
                    <a:pt x="27" y="208"/>
                  </a:cubicBezTo>
                  <a:cubicBezTo>
                    <a:pt x="27" y="208"/>
                    <a:pt x="27" y="208"/>
                    <a:pt x="27" y="208"/>
                  </a:cubicBezTo>
                  <a:cubicBezTo>
                    <a:pt x="27" y="209"/>
                    <a:pt x="27" y="209"/>
                    <a:pt x="27" y="209"/>
                  </a:cubicBezTo>
                  <a:cubicBezTo>
                    <a:pt x="27" y="209"/>
                    <a:pt x="27" y="209"/>
                    <a:pt x="27" y="209"/>
                  </a:cubicBezTo>
                  <a:cubicBezTo>
                    <a:pt x="27" y="209"/>
                    <a:pt x="27" y="209"/>
                    <a:pt x="27" y="209"/>
                  </a:cubicBezTo>
                  <a:cubicBezTo>
                    <a:pt x="27" y="210"/>
                    <a:pt x="27" y="210"/>
                    <a:pt x="27" y="210"/>
                  </a:cubicBezTo>
                  <a:cubicBezTo>
                    <a:pt x="28" y="210"/>
                    <a:pt x="28" y="210"/>
                    <a:pt x="28" y="210"/>
                  </a:cubicBezTo>
                  <a:cubicBezTo>
                    <a:pt x="28" y="210"/>
                    <a:pt x="28" y="210"/>
                    <a:pt x="28" y="210"/>
                  </a:cubicBezTo>
                  <a:cubicBezTo>
                    <a:pt x="27" y="210"/>
                    <a:pt x="27" y="210"/>
                    <a:pt x="27" y="210"/>
                  </a:cubicBezTo>
                  <a:cubicBezTo>
                    <a:pt x="28" y="210"/>
                    <a:pt x="28" y="210"/>
                    <a:pt x="28" y="210"/>
                  </a:cubicBezTo>
                  <a:cubicBezTo>
                    <a:pt x="28" y="210"/>
                    <a:pt x="28" y="210"/>
                    <a:pt x="28" y="210"/>
                  </a:cubicBezTo>
                  <a:cubicBezTo>
                    <a:pt x="28" y="210"/>
                    <a:pt x="28" y="210"/>
                    <a:pt x="28" y="210"/>
                  </a:cubicBezTo>
                  <a:cubicBezTo>
                    <a:pt x="28" y="210"/>
                    <a:pt x="28" y="210"/>
                    <a:pt x="28" y="210"/>
                  </a:cubicBezTo>
                  <a:cubicBezTo>
                    <a:pt x="28" y="210"/>
                    <a:pt x="28" y="210"/>
                    <a:pt x="28" y="210"/>
                  </a:cubicBezTo>
                  <a:cubicBezTo>
                    <a:pt x="28" y="210"/>
                    <a:pt x="28" y="210"/>
                    <a:pt x="28" y="210"/>
                  </a:cubicBezTo>
                  <a:cubicBezTo>
                    <a:pt x="28" y="210"/>
                    <a:pt x="28" y="210"/>
                    <a:pt x="28" y="210"/>
                  </a:cubicBezTo>
                  <a:cubicBezTo>
                    <a:pt x="28" y="210"/>
                    <a:pt x="28" y="210"/>
                    <a:pt x="28" y="210"/>
                  </a:cubicBezTo>
                  <a:cubicBezTo>
                    <a:pt x="29" y="210"/>
                    <a:pt x="29" y="210"/>
                    <a:pt x="29" y="210"/>
                  </a:cubicBezTo>
                  <a:cubicBezTo>
                    <a:pt x="29" y="210"/>
                    <a:pt x="29" y="210"/>
                    <a:pt x="29" y="210"/>
                  </a:cubicBezTo>
                  <a:cubicBezTo>
                    <a:pt x="29" y="210"/>
                    <a:pt x="29" y="210"/>
                    <a:pt x="29" y="210"/>
                  </a:cubicBezTo>
                  <a:cubicBezTo>
                    <a:pt x="29" y="211"/>
                    <a:pt x="29" y="211"/>
                    <a:pt x="29" y="211"/>
                  </a:cubicBezTo>
                  <a:cubicBezTo>
                    <a:pt x="29" y="211"/>
                    <a:pt x="29" y="211"/>
                    <a:pt x="29" y="211"/>
                  </a:cubicBezTo>
                  <a:cubicBezTo>
                    <a:pt x="29" y="211"/>
                    <a:pt x="29" y="211"/>
                    <a:pt x="29" y="211"/>
                  </a:cubicBezTo>
                  <a:cubicBezTo>
                    <a:pt x="29" y="211"/>
                    <a:pt x="29" y="211"/>
                    <a:pt x="29" y="211"/>
                  </a:cubicBezTo>
                  <a:cubicBezTo>
                    <a:pt x="29" y="212"/>
                    <a:pt x="29" y="212"/>
                    <a:pt x="29" y="212"/>
                  </a:cubicBezTo>
                  <a:cubicBezTo>
                    <a:pt x="29" y="212"/>
                    <a:pt x="29" y="212"/>
                    <a:pt x="29" y="212"/>
                  </a:cubicBezTo>
                  <a:cubicBezTo>
                    <a:pt x="29" y="212"/>
                    <a:pt x="29" y="212"/>
                    <a:pt x="29" y="212"/>
                  </a:cubicBezTo>
                  <a:cubicBezTo>
                    <a:pt x="29" y="212"/>
                    <a:pt x="29" y="212"/>
                    <a:pt x="29" y="212"/>
                  </a:cubicBezTo>
                  <a:cubicBezTo>
                    <a:pt x="30" y="212"/>
                    <a:pt x="30" y="212"/>
                    <a:pt x="30" y="212"/>
                  </a:cubicBezTo>
                  <a:cubicBezTo>
                    <a:pt x="30" y="213"/>
                    <a:pt x="30" y="213"/>
                    <a:pt x="30" y="213"/>
                  </a:cubicBezTo>
                  <a:cubicBezTo>
                    <a:pt x="29" y="213"/>
                    <a:pt x="29" y="213"/>
                    <a:pt x="29" y="213"/>
                  </a:cubicBezTo>
                  <a:cubicBezTo>
                    <a:pt x="30" y="213"/>
                    <a:pt x="30" y="213"/>
                    <a:pt x="30" y="213"/>
                  </a:cubicBezTo>
                  <a:cubicBezTo>
                    <a:pt x="30" y="213"/>
                    <a:pt x="30" y="213"/>
                    <a:pt x="30" y="213"/>
                  </a:cubicBezTo>
                  <a:cubicBezTo>
                    <a:pt x="30" y="213"/>
                    <a:pt x="30" y="213"/>
                    <a:pt x="30" y="213"/>
                  </a:cubicBezTo>
                  <a:cubicBezTo>
                    <a:pt x="30" y="213"/>
                    <a:pt x="30" y="213"/>
                    <a:pt x="30" y="213"/>
                  </a:cubicBezTo>
                  <a:cubicBezTo>
                    <a:pt x="30" y="213"/>
                    <a:pt x="30" y="213"/>
                    <a:pt x="30" y="213"/>
                  </a:cubicBezTo>
                  <a:cubicBezTo>
                    <a:pt x="30" y="213"/>
                    <a:pt x="30" y="213"/>
                    <a:pt x="30" y="213"/>
                  </a:cubicBezTo>
                  <a:cubicBezTo>
                    <a:pt x="30" y="213"/>
                    <a:pt x="30" y="213"/>
                    <a:pt x="30" y="213"/>
                  </a:cubicBezTo>
                  <a:cubicBezTo>
                    <a:pt x="30" y="213"/>
                    <a:pt x="30" y="213"/>
                    <a:pt x="30" y="213"/>
                  </a:cubicBezTo>
                  <a:cubicBezTo>
                    <a:pt x="30" y="214"/>
                    <a:pt x="30" y="214"/>
                    <a:pt x="30" y="214"/>
                  </a:cubicBezTo>
                  <a:cubicBezTo>
                    <a:pt x="30" y="214"/>
                    <a:pt x="30" y="214"/>
                    <a:pt x="30" y="214"/>
                  </a:cubicBezTo>
                  <a:cubicBezTo>
                    <a:pt x="30" y="214"/>
                    <a:pt x="30" y="214"/>
                    <a:pt x="30" y="214"/>
                  </a:cubicBezTo>
                  <a:cubicBezTo>
                    <a:pt x="30" y="214"/>
                    <a:pt x="30" y="214"/>
                    <a:pt x="30" y="214"/>
                  </a:cubicBezTo>
                  <a:cubicBezTo>
                    <a:pt x="31" y="214"/>
                    <a:pt x="31" y="214"/>
                    <a:pt x="31" y="214"/>
                  </a:cubicBezTo>
                  <a:cubicBezTo>
                    <a:pt x="30" y="214"/>
                    <a:pt x="30" y="214"/>
                    <a:pt x="30" y="214"/>
                  </a:cubicBezTo>
                  <a:cubicBezTo>
                    <a:pt x="30" y="214"/>
                    <a:pt x="30" y="214"/>
                    <a:pt x="30" y="214"/>
                  </a:cubicBezTo>
                  <a:cubicBezTo>
                    <a:pt x="30" y="214"/>
                    <a:pt x="30" y="214"/>
                    <a:pt x="30" y="214"/>
                  </a:cubicBezTo>
                  <a:cubicBezTo>
                    <a:pt x="30" y="214"/>
                    <a:pt x="30" y="214"/>
                    <a:pt x="30" y="214"/>
                  </a:cubicBezTo>
                  <a:cubicBezTo>
                    <a:pt x="30" y="214"/>
                    <a:pt x="30" y="214"/>
                    <a:pt x="30" y="214"/>
                  </a:cubicBezTo>
                  <a:cubicBezTo>
                    <a:pt x="30" y="215"/>
                    <a:pt x="30" y="215"/>
                    <a:pt x="30" y="215"/>
                  </a:cubicBezTo>
                  <a:cubicBezTo>
                    <a:pt x="31" y="215"/>
                    <a:pt x="31" y="215"/>
                    <a:pt x="31" y="215"/>
                  </a:cubicBezTo>
                  <a:cubicBezTo>
                    <a:pt x="30" y="215"/>
                    <a:pt x="30" y="215"/>
                    <a:pt x="30" y="215"/>
                  </a:cubicBezTo>
                  <a:cubicBezTo>
                    <a:pt x="30" y="215"/>
                    <a:pt x="30" y="215"/>
                    <a:pt x="30" y="215"/>
                  </a:cubicBezTo>
                  <a:cubicBezTo>
                    <a:pt x="30" y="215"/>
                    <a:pt x="30" y="215"/>
                    <a:pt x="30" y="215"/>
                  </a:cubicBezTo>
                  <a:cubicBezTo>
                    <a:pt x="30" y="215"/>
                    <a:pt x="30" y="215"/>
                    <a:pt x="30" y="215"/>
                  </a:cubicBezTo>
                  <a:cubicBezTo>
                    <a:pt x="30" y="218"/>
                    <a:pt x="30" y="218"/>
                    <a:pt x="30" y="218"/>
                  </a:cubicBezTo>
                  <a:cubicBezTo>
                    <a:pt x="30" y="218"/>
                    <a:pt x="30" y="218"/>
                    <a:pt x="30" y="218"/>
                  </a:cubicBezTo>
                  <a:cubicBezTo>
                    <a:pt x="30" y="217"/>
                    <a:pt x="30" y="217"/>
                    <a:pt x="30" y="217"/>
                  </a:cubicBezTo>
                  <a:cubicBezTo>
                    <a:pt x="31" y="217"/>
                    <a:pt x="31" y="217"/>
                    <a:pt x="31" y="217"/>
                  </a:cubicBezTo>
                  <a:cubicBezTo>
                    <a:pt x="31" y="218"/>
                    <a:pt x="31" y="218"/>
                    <a:pt x="31" y="218"/>
                  </a:cubicBezTo>
                  <a:cubicBezTo>
                    <a:pt x="31" y="218"/>
                    <a:pt x="31" y="218"/>
                    <a:pt x="31" y="218"/>
                  </a:cubicBezTo>
                  <a:cubicBezTo>
                    <a:pt x="31" y="218"/>
                    <a:pt x="31" y="218"/>
                    <a:pt x="31" y="218"/>
                  </a:cubicBezTo>
                  <a:cubicBezTo>
                    <a:pt x="30" y="218"/>
                    <a:pt x="30" y="218"/>
                    <a:pt x="30" y="218"/>
                  </a:cubicBezTo>
                  <a:cubicBezTo>
                    <a:pt x="30" y="218"/>
                    <a:pt x="30" y="218"/>
                    <a:pt x="30" y="218"/>
                  </a:cubicBezTo>
                  <a:cubicBezTo>
                    <a:pt x="31" y="219"/>
                    <a:pt x="31" y="219"/>
                    <a:pt x="31" y="219"/>
                  </a:cubicBezTo>
                  <a:cubicBezTo>
                    <a:pt x="31" y="219"/>
                    <a:pt x="31" y="219"/>
                    <a:pt x="31" y="219"/>
                  </a:cubicBezTo>
                  <a:cubicBezTo>
                    <a:pt x="31" y="219"/>
                    <a:pt x="31" y="219"/>
                    <a:pt x="31" y="219"/>
                  </a:cubicBezTo>
                  <a:cubicBezTo>
                    <a:pt x="32" y="219"/>
                    <a:pt x="32" y="219"/>
                    <a:pt x="32" y="219"/>
                  </a:cubicBezTo>
                  <a:cubicBezTo>
                    <a:pt x="32" y="219"/>
                    <a:pt x="32" y="219"/>
                    <a:pt x="32" y="219"/>
                  </a:cubicBezTo>
                  <a:cubicBezTo>
                    <a:pt x="32" y="219"/>
                    <a:pt x="32" y="219"/>
                    <a:pt x="32" y="219"/>
                  </a:cubicBezTo>
                  <a:cubicBezTo>
                    <a:pt x="32" y="219"/>
                    <a:pt x="32" y="219"/>
                    <a:pt x="32" y="219"/>
                  </a:cubicBezTo>
                  <a:cubicBezTo>
                    <a:pt x="32" y="219"/>
                    <a:pt x="32" y="219"/>
                    <a:pt x="32" y="219"/>
                  </a:cubicBezTo>
                  <a:cubicBezTo>
                    <a:pt x="32" y="218"/>
                    <a:pt x="32" y="218"/>
                    <a:pt x="32" y="218"/>
                  </a:cubicBezTo>
                  <a:cubicBezTo>
                    <a:pt x="32" y="219"/>
                    <a:pt x="32" y="219"/>
                    <a:pt x="32" y="219"/>
                  </a:cubicBezTo>
                  <a:cubicBezTo>
                    <a:pt x="32" y="219"/>
                    <a:pt x="32" y="219"/>
                    <a:pt x="32" y="219"/>
                  </a:cubicBezTo>
                  <a:cubicBezTo>
                    <a:pt x="32" y="219"/>
                    <a:pt x="32" y="219"/>
                    <a:pt x="32" y="219"/>
                  </a:cubicBezTo>
                  <a:cubicBezTo>
                    <a:pt x="32" y="219"/>
                    <a:pt x="32" y="219"/>
                    <a:pt x="32" y="219"/>
                  </a:cubicBezTo>
                  <a:cubicBezTo>
                    <a:pt x="32" y="219"/>
                    <a:pt x="32" y="219"/>
                    <a:pt x="32" y="219"/>
                  </a:cubicBezTo>
                  <a:cubicBezTo>
                    <a:pt x="33" y="219"/>
                    <a:pt x="33" y="219"/>
                    <a:pt x="33" y="219"/>
                  </a:cubicBezTo>
                  <a:cubicBezTo>
                    <a:pt x="33" y="219"/>
                    <a:pt x="33" y="219"/>
                    <a:pt x="33" y="219"/>
                  </a:cubicBezTo>
                  <a:cubicBezTo>
                    <a:pt x="33" y="219"/>
                    <a:pt x="33" y="219"/>
                    <a:pt x="33" y="219"/>
                  </a:cubicBezTo>
                  <a:cubicBezTo>
                    <a:pt x="33" y="219"/>
                    <a:pt x="33" y="219"/>
                    <a:pt x="33" y="219"/>
                  </a:cubicBezTo>
                  <a:cubicBezTo>
                    <a:pt x="33" y="219"/>
                    <a:pt x="33" y="219"/>
                    <a:pt x="33" y="219"/>
                  </a:cubicBezTo>
                  <a:cubicBezTo>
                    <a:pt x="32" y="219"/>
                    <a:pt x="32" y="219"/>
                    <a:pt x="32" y="219"/>
                  </a:cubicBezTo>
                  <a:cubicBezTo>
                    <a:pt x="32" y="220"/>
                    <a:pt x="32" y="220"/>
                    <a:pt x="32" y="220"/>
                  </a:cubicBezTo>
                  <a:cubicBezTo>
                    <a:pt x="32" y="219"/>
                    <a:pt x="32" y="219"/>
                    <a:pt x="32" y="219"/>
                  </a:cubicBezTo>
                  <a:cubicBezTo>
                    <a:pt x="32" y="220"/>
                    <a:pt x="32" y="220"/>
                    <a:pt x="32" y="220"/>
                  </a:cubicBezTo>
                  <a:cubicBezTo>
                    <a:pt x="32" y="220"/>
                    <a:pt x="32" y="220"/>
                    <a:pt x="32" y="220"/>
                  </a:cubicBezTo>
                  <a:cubicBezTo>
                    <a:pt x="32" y="220"/>
                    <a:pt x="32" y="220"/>
                    <a:pt x="32" y="220"/>
                  </a:cubicBezTo>
                  <a:cubicBezTo>
                    <a:pt x="32" y="220"/>
                    <a:pt x="32" y="220"/>
                    <a:pt x="32" y="220"/>
                  </a:cubicBezTo>
                  <a:cubicBezTo>
                    <a:pt x="32" y="221"/>
                    <a:pt x="32" y="221"/>
                    <a:pt x="32" y="221"/>
                  </a:cubicBezTo>
                  <a:cubicBezTo>
                    <a:pt x="32" y="221"/>
                    <a:pt x="32" y="221"/>
                    <a:pt x="32" y="221"/>
                  </a:cubicBezTo>
                  <a:cubicBezTo>
                    <a:pt x="32" y="221"/>
                    <a:pt x="32" y="221"/>
                    <a:pt x="32" y="221"/>
                  </a:cubicBezTo>
                  <a:cubicBezTo>
                    <a:pt x="33" y="221"/>
                    <a:pt x="33" y="221"/>
                    <a:pt x="33" y="221"/>
                  </a:cubicBezTo>
                  <a:cubicBezTo>
                    <a:pt x="33" y="221"/>
                    <a:pt x="33" y="221"/>
                    <a:pt x="33" y="221"/>
                  </a:cubicBezTo>
                  <a:cubicBezTo>
                    <a:pt x="33" y="221"/>
                    <a:pt x="33" y="221"/>
                    <a:pt x="33" y="221"/>
                  </a:cubicBezTo>
                  <a:cubicBezTo>
                    <a:pt x="33" y="221"/>
                    <a:pt x="33" y="221"/>
                    <a:pt x="33" y="221"/>
                  </a:cubicBezTo>
                  <a:cubicBezTo>
                    <a:pt x="34" y="221"/>
                    <a:pt x="34" y="221"/>
                    <a:pt x="34" y="221"/>
                  </a:cubicBezTo>
                  <a:cubicBezTo>
                    <a:pt x="34" y="221"/>
                    <a:pt x="34" y="221"/>
                    <a:pt x="34" y="221"/>
                  </a:cubicBezTo>
                  <a:cubicBezTo>
                    <a:pt x="34" y="222"/>
                    <a:pt x="34" y="222"/>
                    <a:pt x="34" y="222"/>
                  </a:cubicBezTo>
                  <a:cubicBezTo>
                    <a:pt x="34" y="222"/>
                    <a:pt x="34" y="222"/>
                    <a:pt x="34" y="222"/>
                  </a:cubicBezTo>
                  <a:cubicBezTo>
                    <a:pt x="34" y="222"/>
                    <a:pt x="34" y="222"/>
                    <a:pt x="34" y="222"/>
                  </a:cubicBezTo>
                  <a:cubicBezTo>
                    <a:pt x="34" y="222"/>
                    <a:pt x="34" y="222"/>
                    <a:pt x="34" y="222"/>
                  </a:cubicBezTo>
                  <a:cubicBezTo>
                    <a:pt x="34" y="222"/>
                    <a:pt x="34" y="222"/>
                    <a:pt x="34" y="222"/>
                  </a:cubicBezTo>
                  <a:cubicBezTo>
                    <a:pt x="34" y="222"/>
                    <a:pt x="34" y="222"/>
                    <a:pt x="34" y="222"/>
                  </a:cubicBezTo>
                  <a:cubicBezTo>
                    <a:pt x="34" y="222"/>
                    <a:pt x="34" y="222"/>
                    <a:pt x="34" y="222"/>
                  </a:cubicBezTo>
                  <a:cubicBezTo>
                    <a:pt x="34" y="223"/>
                    <a:pt x="34" y="223"/>
                    <a:pt x="34" y="223"/>
                  </a:cubicBezTo>
                  <a:cubicBezTo>
                    <a:pt x="34" y="223"/>
                    <a:pt x="34" y="223"/>
                    <a:pt x="34" y="223"/>
                  </a:cubicBezTo>
                  <a:cubicBezTo>
                    <a:pt x="34" y="223"/>
                    <a:pt x="34" y="223"/>
                    <a:pt x="34" y="223"/>
                  </a:cubicBezTo>
                  <a:cubicBezTo>
                    <a:pt x="33" y="223"/>
                    <a:pt x="33" y="223"/>
                    <a:pt x="33" y="223"/>
                  </a:cubicBezTo>
                  <a:cubicBezTo>
                    <a:pt x="33" y="223"/>
                    <a:pt x="33" y="223"/>
                    <a:pt x="33" y="223"/>
                  </a:cubicBezTo>
                  <a:cubicBezTo>
                    <a:pt x="33" y="224"/>
                    <a:pt x="33" y="224"/>
                    <a:pt x="33" y="224"/>
                  </a:cubicBezTo>
                  <a:cubicBezTo>
                    <a:pt x="33" y="224"/>
                    <a:pt x="33" y="224"/>
                    <a:pt x="33" y="224"/>
                  </a:cubicBezTo>
                  <a:cubicBezTo>
                    <a:pt x="34" y="224"/>
                    <a:pt x="34" y="224"/>
                    <a:pt x="34" y="224"/>
                  </a:cubicBezTo>
                  <a:cubicBezTo>
                    <a:pt x="34" y="224"/>
                    <a:pt x="34" y="224"/>
                    <a:pt x="34" y="224"/>
                  </a:cubicBezTo>
                  <a:cubicBezTo>
                    <a:pt x="34" y="224"/>
                    <a:pt x="34" y="224"/>
                    <a:pt x="34" y="224"/>
                  </a:cubicBezTo>
                  <a:cubicBezTo>
                    <a:pt x="34" y="225"/>
                    <a:pt x="34" y="225"/>
                    <a:pt x="34" y="225"/>
                  </a:cubicBezTo>
                  <a:cubicBezTo>
                    <a:pt x="34" y="225"/>
                    <a:pt x="34" y="225"/>
                    <a:pt x="34" y="225"/>
                  </a:cubicBezTo>
                  <a:cubicBezTo>
                    <a:pt x="34" y="225"/>
                    <a:pt x="34" y="225"/>
                    <a:pt x="34" y="225"/>
                  </a:cubicBezTo>
                  <a:cubicBezTo>
                    <a:pt x="34" y="225"/>
                    <a:pt x="34" y="225"/>
                    <a:pt x="34" y="225"/>
                  </a:cubicBezTo>
                  <a:cubicBezTo>
                    <a:pt x="34" y="225"/>
                    <a:pt x="34" y="225"/>
                    <a:pt x="34" y="225"/>
                  </a:cubicBezTo>
                  <a:cubicBezTo>
                    <a:pt x="34" y="225"/>
                    <a:pt x="34" y="225"/>
                    <a:pt x="34" y="225"/>
                  </a:cubicBezTo>
                  <a:cubicBezTo>
                    <a:pt x="34" y="225"/>
                    <a:pt x="34" y="225"/>
                    <a:pt x="34" y="225"/>
                  </a:cubicBezTo>
                  <a:cubicBezTo>
                    <a:pt x="34" y="226"/>
                    <a:pt x="34" y="226"/>
                    <a:pt x="34" y="226"/>
                  </a:cubicBezTo>
                  <a:cubicBezTo>
                    <a:pt x="34" y="226"/>
                    <a:pt x="34" y="226"/>
                    <a:pt x="34" y="226"/>
                  </a:cubicBezTo>
                  <a:cubicBezTo>
                    <a:pt x="35" y="226"/>
                    <a:pt x="35" y="226"/>
                    <a:pt x="35" y="226"/>
                  </a:cubicBezTo>
                  <a:cubicBezTo>
                    <a:pt x="35" y="226"/>
                    <a:pt x="35" y="226"/>
                    <a:pt x="35" y="226"/>
                  </a:cubicBezTo>
                  <a:cubicBezTo>
                    <a:pt x="35" y="226"/>
                    <a:pt x="35" y="226"/>
                    <a:pt x="35" y="226"/>
                  </a:cubicBezTo>
                  <a:cubicBezTo>
                    <a:pt x="35" y="226"/>
                    <a:pt x="35" y="226"/>
                    <a:pt x="35" y="226"/>
                  </a:cubicBezTo>
                  <a:cubicBezTo>
                    <a:pt x="35" y="226"/>
                    <a:pt x="35" y="226"/>
                    <a:pt x="35" y="226"/>
                  </a:cubicBezTo>
                  <a:cubicBezTo>
                    <a:pt x="35" y="226"/>
                    <a:pt x="35" y="226"/>
                    <a:pt x="35" y="226"/>
                  </a:cubicBezTo>
                  <a:cubicBezTo>
                    <a:pt x="35" y="226"/>
                    <a:pt x="35" y="226"/>
                    <a:pt x="35" y="226"/>
                  </a:cubicBezTo>
                  <a:cubicBezTo>
                    <a:pt x="35" y="226"/>
                    <a:pt x="35" y="226"/>
                    <a:pt x="35" y="226"/>
                  </a:cubicBezTo>
                  <a:cubicBezTo>
                    <a:pt x="35" y="226"/>
                    <a:pt x="35" y="226"/>
                    <a:pt x="35" y="226"/>
                  </a:cubicBezTo>
                  <a:cubicBezTo>
                    <a:pt x="35" y="227"/>
                    <a:pt x="35" y="227"/>
                    <a:pt x="35" y="227"/>
                  </a:cubicBezTo>
                  <a:cubicBezTo>
                    <a:pt x="36" y="227"/>
                    <a:pt x="36" y="227"/>
                    <a:pt x="36" y="227"/>
                  </a:cubicBezTo>
                  <a:cubicBezTo>
                    <a:pt x="35" y="227"/>
                    <a:pt x="35" y="227"/>
                    <a:pt x="35" y="227"/>
                  </a:cubicBezTo>
                  <a:cubicBezTo>
                    <a:pt x="35" y="227"/>
                    <a:pt x="35" y="227"/>
                    <a:pt x="35" y="227"/>
                  </a:cubicBezTo>
                  <a:cubicBezTo>
                    <a:pt x="35" y="227"/>
                    <a:pt x="35" y="227"/>
                    <a:pt x="35" y="227"/>
                  </a:cubicBezTo>
                  <a:cubicBezTo>
                    <a:pt x="35" y="227"/>
                    <a:pt x="35" y="227"/>
                    <a:pt x="35" y="227"/>
                  </a:cubicBezTo>
                  <a:cubicBezTo>
                    <a:pt x="35" y="227"/>
                    <a:pt x="35" y="227"/>
                    <a:pt x="35" y="227"/>
                  </a:cubicBezTo>
                  <a:cubicBezTo>
                    <a:pt x="35" y="228"/>
                    <a:pt x="35" y="228"/>
                    <a:pt x="35" y="228"/>
                  </a:cubicBezTo>
                  <a:cubicBezTo>
                    <a:pt x="35" y="227"/>
                    <a:pt x="35" y="227"/>
                    <a:pt x="35" y="227"/>
                  </a:cubicBezTo>
                  <a:cubicBezTo>
                    <a:pt x="35" y="228"/>
                    <a:pt x="35" y="228"/>
                    <a:pt x="35" y="228"/>
                  </a:cubicBezTo>
                  <a:cubicBezTo>
                    <a:pt x="35" y="228"/>
                    <a:pt x="35" y="228"/>
                    <a:pt x="35" y="228"/>
                  </a:cubicBezTo>
                  <a:cubicBezTo>
                    <a:pt x="35" y="228"/>
                    <a:pt x="35" y="228"/>
                    <a:pt x="35" y="228"/>
                  </a:cubicBezTo>
                  <a:cubicBezTo>
                    <a:pt x="36" y="228"/>
                    <a:pt x="36" y="228"/>
                    <a:pt x="36" y="228"/>
                  </a:cubicBezTo>
                  <a:cubicBezTo>
                    <a:pt x="36" y="228"/>
                    <a:pt x="36" y="228"/>
                    <a:pt x="36" y="228"/>
                  </a:cubicBezTo>
                  <a:cubicBezTo>
                    <a:pt x="36" y="228"/>
                    <a:pt x="36" y="228"/>
                    <a:pt x="36" y="228"/>
                  </a:cubicBezTo>
                  <a:cubicBezTo>
                    <a:pt x="36" y="228"/>
                    <a:pt x="36" y="228"/>
                    <a:pt x="36" y="228"/>
                  </a:cubicBezTo>
                  <a:cubicBezTo>
                    <a:pt x="36" y="228"/>
                    <a:pt x="36" y="228"/>
                    <a:pt x="36" y="228"/>
                  </a:cubicBezTo>
                  <a:cubicBezTo>
                    <a:pt x="37" y="228"/>
                    <a:pt x="37" y="228"/>
                    <a:pt x="37" y="228"/>
                  </a:cubicBezTo>
                  <a:cubicBezTo>
                    <a:pt x="37" y="228"/>
                    <a:pt x="37" y="228"/>
                    <a:pt x="37" y="228"/>
                  </a:cubicBezTo>
                  <a:cubicBezTo>
                    <a:pt x="37" y="228"/>
                    <a:pt x="37" y="228"/>
                    <a:pt x="37" y="228"/>
                  </a:cubicBezTo>
                  <a:cubicBezTo>
                    <a:pt x="37" y="228"/>
                    <a:pt x="37" y="228"/>
                    <a:pt x="37" y="228"/>
                  </a:cubicBezTo>
                  <a:cubicBezTo>
                    <a:pt x="38" y="228"/>
                    <a:pt x="38" y="228"/>
                    <a:pt x="38" y="228"/>
                  </a:cubicBezTo>
                  <a:cubicBezTo>
                    <a:pt x="38" y="228"/>
                    <a:pt x="38" y="228"/>
                    <a:pt x="38" y="228"/>
                  </a:cubicBezTo>
                  <a:cubicBezTo>
                    <a:pt x="38" y="228"/>
                    <a:pt x="38" y="228"/>
                    <a:pt x="38" y="228"/>
                  </a:cubicBezTo>
                  <a:cubicBezTo>
                    <a:pt x="38" y="228"/>
                    <a:pt x="38" y="228"/>
                    <a:pt x="38" y="228"/>
                  </a:cubicBezTo>
                  <a:cubicBezTo>
                    <a:pt x="38" y="228"/>
                    <a:pt x="38" y="228"/>
                    <a:pt x="38" y="228"/>
                  </a:cubicBezTo>
                  <a:cubicBezTo>
                    <a:pt x="38" y="229"/>
                    <a:pt x="38" y="229"/>
                    <a:pt x="38" y="229"/>
                  </a:cubicBezTo>
                  <a:cubicBezTo>
                    <a:pt x="38" y="229"/>
                    <a:pt x="38" y="229"/>
                    <a:pt x="38" y="229"/>
                  </a:cubicBezTo>
                  <a:cubicBezTo>
                    <a:pt x="38" y="229"/>
                    <a:pt x="38" y="229"/>
                    <a:pt x="38" y="229"/>
                  </a:cubicBezTo>
                  <a:cubicBezTo>
                    <a:pt x="38" y="229"/>
                    <a:pt x="38" y="229"/>
                    <a:pt x="38" y="229"/>
                  </a:cubicBezTo>
                  <a:cubicBezTo>
                    <a:pt x="38" y="229"/>
                    <a:pt x="38" y="229"/>
                    <a:pt x="38" y="229"/>
                  </a:cubicBezTo>
                  <a:cubicBezTo>
                    <a:pt x="38" y="229"/>
                    <a:pt x="38" y="229"/>
                    <a:pt x="38" y="229"/>
                  </a:cubicBezTo>
                  <a:cubicBezTo>
                    <a:pt x="38" y="230"/>
                    <a:pt x="38" y="230"/>
                    <a:pt x="38" y="230"/>
                  </a:cubicBezTo>
                  <a:cubicBezTo>
                    <a:pt x="38" y="230"/>
                    <a:pt x="38" y="230"/>
                    <a:pt x="38" y="230"/>
                  </a:cubicBezTo>
                  <a:cubicBezTo>
                    <a:pt x="38" y="230"/>
                    <a:pt x="38" y="230"/>
                    <a:pt x="38" y="230"/>
                  </a:cubicBezTo>
                  <a:cubicBezTo>
                    <a:pt x="39" y="230"/>
                    <a:pt x="39" y="230"/>
                    <a:pt x="39" y="230"/>
                  </a:cubicBezTo>
                  <a:cubicBezTo>
                    <a:pt x="39" y="230"/>
                    <a:pt x="39" y="230"/>
                    <a:pt x="39" y="230"/>
                  </a:cubicBezTo>
                  <a:cubicBezTo>
                    <a:pt x="38" y="230"/>
                    <a:pt x="38" y="230"/>
                    <a:pt x="38" y="230"/>
                  </a:cubicBezTo>
                  <a:cubicBezTo>
                    <a:pt x="38" y="230"/>
                    <a:pt x="38" y="230"/>
                    <a:pt x="38" y="230"/>
                  </a:cubicBezTo>
                  <a:cubicBezTo>
                    <a:pt x="39" y="231"/>
                    <a:pt x="39" y="231"/>
                    <a:pt x="39" y="231"/>
                  </a:cubicBezTo>
                  <a:cubicBezTo>
                    <a:pt x="39" y="231"/>
                    <a:pt x="39" y="231"/>
                    <a:pt x="39" y="231"/>
                  </a:cubicBezTo>
                  <a:cubicBezTo>
                    <a:pt x="39" y="231"/>
                    <a:pt x="39" y="231"/>
                    <a:pt x="39" y="231"/>
                  </a:cubicBezTo>
                  <a:cubicBezTo>
                    <a:pt x="39" y="232"/>
                    <a:pt x="39" y="232"/>
                    <a:pt x="39" y="232"/>
                  </a:cubicBezTo>
                  <a:cubicBezTo>
                    <a:pt x="39" y="232"/>
                    <a:pt x="39" y="232"/>
                    <a:pt x="39" y="232"/>
                  </a:cubicBezTo>
                  <a:cubicBezTo>
                    <a:pt x="38" y="233"/>
                    <a:pt x="38" y="233"/>
                    <a:pt x="38" y="233"/>
                  </a:cubicBezTo>
                  <a:cubicBezTo>
                    <a:pt x="39" y="233"/>
                    <a:pt x="39" y="233"/>
                    <a:pt x="39" y="233"/>
                  </a:cubicBezTo>
                  <a:cubicBezTo>
                    <a:pt x="39" y="233"/>
                    <a:pt x="39" y="233"/>
                    <a:pt x="39" y="233"/>
                  </a:cubicBezTo>
                  <a:cubicBezTo>
                    <a:pt x="39" y="233"/>
                    <a:pt x="39" y="233"/>
                    <a:pt x="39" y="233"/>
                  </a:cubicBezTo>
                  <a:cubicBezTo>
                    <a:pt x="40" y="233"/>
                    <a:pt x="40" y="233"/>
                    <a:pt x="40" y="233"/>
                  </a:cubicBezTo>
                  <a:cubicBezTo>
                    <a:pt x="40" y="233"/>
                    <a:pt x="40" y="233"/>
                    <a:pt x="40" y="233"/>
                  </a:cubicBezTo>
                  <a:cubicBezTo>
                    <a:pt x="40" y="233"/>
                    <a:pt x="40" y="233"/>
                    <a:pt x="40" y="233"/>
                  </a:cubicBezTo>
                  <a:cubicBezTo>
                    <a:pt x="40" y="233"/>
                    <a:pt x="40" y="233"/>
                    <a:pt x="40" y="233"/>
                  </a:cubicBezTo>
                  <a:cubicBezTo>
                    <a:pt x="41" y="233"/>
                    <a:pt x="41" y="233"/>
                    <a:pt x="41" y="233"/>
                  </a:cubicBezTo>
                  <a:cubicBezTo>
                    <a:pt x="41" y="233"/>
                    <a:pt x="41" y="233"/>
                    <a:pt x="41" y="233"/>
                  </a:cubicBezTo>
                  <a:cubicBezTo>
                    <a:pt x="40" y="233"/>
                    <a:pt x="40" y="233"/>
                    <a:pt x="40" y="233"/>
                  </a:cubicBezTo>
                  <a:cubicBezTo>
                    <a:pt x="39" y="233"/>
                    <a:pt x="39" y="233"/>
                    <a:pt x="39" y="233"/>
                  </a:cubicBezTo>
                  <a:cubicBezTo>
                    <a:pt x="39" y="234"/>
                    <a:pt x="39" y="234"/>
                    <a:pt x="39" y="234"/>
                  </a:cubicBezTo>
                  <a:cubicBezTo>
                    <a:pt x="39" y="234"/>
                    <a:pt x="39" y="234"/>
                    <a:pt x="39" y="234"/>
                  </a:cubicBezTo>
                  <a:cubicBezTo>
                    <a:pt x="39" y="235"/>
                    <a:pt x="39" y="235"/>
                    <a:pt x="39" y="235"/>
                  </a:cubicBezTo>
                  <a:cubicBezTo>
                    <a:pt x="39" y="235"/>
                    <a:pt x="39" y="235"/>
                    <a:pt x="39" y="235"/>
                  </a:cubicBezTo>
                  <a:cubicBezTo>
                    <a:pt x="39" y="235"/>
                    <a:pt x="39" y="235"/>
                    <a:pt x="39" y="235"/>
                  </a:cubicBezTo>
                  <a:cubicBezTo>
                    <a:pt x="39" y="235"/>
                    <a:pt x="39" y="235"/>
                    <a:pt x="39" y="235"/>
                  </a:cubicBezTo>
                  <a:cubicBezTo>
                    <a:pt x="39" y="236"/>
                    <a:pt x="39" y="236"/>
                    <a:pt x="39" y="236"/>
                  </a:cubicBezTo>
                  <a:cubicBezTo>
                    <a:pt x="39" y="236"/>
                    <a:pt x="39" y="236"/>
                    <a:pt x="39" y="236"/>
                  </a:cubicBezTo>
                  <a:cubicBezTo>
                    <a:pt x="39" y="236"/>
                    <a:pt x="39" y="236"/>
                    <a:pt x="39" y="236"/>
                  </a:cubicBezTo>
                  <a:cubicBezTo>
                    <a:pt x="39" y="237"/>
                    <a:pt x="39" y="237"/>
                    <a:pt x="39" y="237"/>
                  </a:cubicBezTo>
                  <a:cubicBezTo>
                    <a:pt x="39" y="237"/>
                    <a:pt x="39" y="237"/>
                    <a:pt x="39" y="237"/>
                  </a:cubicBezTo>
                  <a:cubicBezTo>
                    <a:pt x="38" y="237"/>
                    <a:pt x="38" y="237"/>
                    <a:pt x="38" y="237"/>
                  </a:cubicBezTo>
                  <a:cubicBezTo>
                    <a:pt x="38" y="237"/>
                    <a:pt x="38" y="237"/>
                    <a:pt x="38" y="237"/>
                  </a:cubicBezTo>
                  <a:cubicBezTo>
                    <a:pt x="38" y="237"/>
                    <a:pt x="38" y="237"/>
                    <a:pt x="38" y="237"/>
                  </a:cubicBezTo>
                  <a:cubicBezTo>
                    <a:pt x="38" y="237"/>
                    <a:pt x="38" y="237"/>
                    <a:pt x="38" y="237"/>
                  </a:cubicBezTo>
                  <a:cubicBezTo>
                    <a:pt x="38" y="237"/>
                    <a:pt x="38" y="237"/>
                    <a:pt x="38" y="237"/>
                  </a:cubicBezTo>
                  <a:cubicBezTo>
                    <a:pt x="38" y="238"/>
                    <a:pt x="38" y="238"/>
                    <a:pt x="38" y="238"/>
                  </a:cubicBezTo>
                  <a:cubicBezTo>
                    <a:pt x="38" y="238"/>
                    <a:pt x="38" y="238"/>
                    <a:pt x="38" y="238"/>
                  </a:cubicBezTo>
                  <a:cubicBezTo>
                    <a:pt x="38" y="238"/>
                    <a:pt x="38" y="238"/>
                    <a:pt x="38" y="238"/>
                  </a:cubicBezTo>
                  <a:cubicBezTo>
                    <a:pt x="38" y="238"/>
                    <a:pt x="38" y="238"/>
                    <a:pt x="38" y="238"/>
                  </a:cubicBezTo>
                  <a:cubicBezTo>
                    <a:pt x="38" y="238"/>
                    <a:pt x="38" y="238"/>
                    <a:pt x="38" y="238"/>
                  </a:cubicBezTo>
                  <a:cubicBezTo>
                    <a:pt x="38" y="238"/>
                    <a:pt x="38" y="238"/>
                    <a:pt x="38" y="238"/>
                  </a:cubicBezTo>
                  <a:cubicBezTo>
                    <a:pt x="38" y="239"/>
                    <a:pt x="38" y="239"/>
                    <a:pt x="38" y="239"/>
                  </a:cubicBezTo>
                  <a:cubicBezTo>
                    <a:pt x="38" y="239"/>
                    <a:pt x="38" y="239"/>
                    <a:pt x="38" y="239"/>
                  </a:cubicBezTo>
                  <a:cubicBezTo>
                    <a:pt x="38" y="239"/>
                    <a:pt x="38" y="239"/>
                    <a:pt x="38" y="239"/>
                  </a:cubicBezTo>
                  <a:cubicBezTo>
                    <a:pt x="38" y="239"/>
                    <a:pt x="38" y="239"/>
                    <a:pt x="38" y="239"/>
                  </a:cubicBezTo>
                  <a:cubicBezTo>
                    <a:pt x="38" y="239"/>
                    <a:pt x="38" y="239"/>
                    <a:pt x="38" y="239"/>
                  </a:cubicBezTo>
                  <a:cubicBezTo>
                    <a:pt x="37" y="240"/>
                    <a:pt x="37" y="240"/>
                    <a:pt x="37" y="240"/>
                  </a:cubicBezTo>
                  <a:cubicBezTo>
                    <a:pt x="36" y="240"/>
                    <a:pt x="36" y="240"/>
                    <a:pt x="36" y="240"/>
                  </a:cubicBezTo>
                  <a:cubicBezTo>
                    <a:pt x="36" y="240"/>
                    <a:pt x="36" y="240"/>
                    <a:pt x="36" y="240"/>
                  </a:cubicBezTo>
                  <a:cubicBezTo>
                    <a:pt x="36" y="241"/>
                    <a:pt x="36" y="241"/>
                    <a:pt x="36" y="241"/>
                  </a:cubicBezTo>
                  <a:cubicBezTo>
                    <a:pt x="36" y="241"/>
                    <a:pt x="36" y="241"/>
                    <a:pt x="36" y="241"/>
                  </a:cubicBezTo>
                  <a:cubicBezTo>
                    <a:pt x="36" y="241"/>
                    <a:pt x="36" y="241"/>
                    <a:pt x="36" y="241"/>
                  </a:cubicBezTo>
                  <a:cubicBezTo>
                    <a:pt x="36" y="242"/>
                    <a:pt x="36" y="242"/>
                    <a:pt x="36" y="242"/>
                  </a:cubicBezTo>
                  <a:cubicBezTo>
                    <a:pt x="37" y="242"/>
                    <a:pt x="37" y="242"/>
                    <a:pt x="37" y="242"/>
                  </a:cubicBezTo>
                  <a:cubicBezTo>
                    <a:pt x="37" y="242"/>
                    <a:pt x="37" y="242"/>
                    <a:pt x="37" y="242"/>
                  </a:cubicBezTo>
                  <a:cubicBezTo>
                    <a:pt x="37" y="243"/>
                    <a:pt x="37" y="243"/>
                    <a:pt x="37" y="243"/>
                  </a:cubicBezTo>
                  <a:cubicBezTo>
                    <a:pt x="37" y="243"/>
                    <a:pt x="37" y="243"/>
                    <a:pt x="37" y="243"/>
                  </a:cubicBezTo>
                  <a:cubicBezTo>
                    <a:pt x="36" y="243"/>
                    <a:pt x="36" y="243"/>
                    <a:pt x="36" y="243"/>
                  </a:cubicBezTo>
                  <a:cubicBezTo>
                    <a:pt x="36" y="244"/>
                    <a:pt x="36" y="244"/>
                    <a:pt x="36" y="244"/>
                  </a:cubicBezTo>
                  <a:cubicBezTo>
                    <a:pt x="36" y="244"/>
                    <a:pt x="36" y="244"/>
                    <a:pt x="36" y="244"/>
                  </a:cubicBezTo>
                  <a:cubicBezTo>
                    <a:pt x="36" y="244"/>
                    <a:pt x="36" y="244"/>
                    <a:pt x="36" y="244"/>
                  </a:cubicBezTo>
                  <a:cubicBezTo>
                    <a:pt x="36" y="244"/>
                    <a:pt x="36" y="244"/>
                    <a:pt x="36" y="244"/>
                  </a:cubicBezTo>
                  <a:cubicBezTo>
                    <a:pt x="35" y="244"/>
                    <a:pt x="35" y="244"/>
                    <a:pt x="35" y="244"/>
                  </a:cubicBezTo>
                  <a:cubicBezTo>
                    <a:pt x="35" y="244"/>
                    <a:pt x="35" y="244"/>
                    <a:pt x="35" y="244"/>
                  </a:cubicBezTo>
                  <a:cubicBezTo>
                    <a:pt x="35" y="244"/>
                    <a:pt x="35" y="244"/>
                    <a:pt x="35" y="244"/>
                  </a:cubicBezTo>
                  <a:cubicBezTo>
                    <a:pt x="35" y="244"/>
                    <a:pt x="35" y="244"/>
                    <a:pt x="35" y="244"/>
                  </a:cubicBezTo>
                  <a:cubicBezTo>
                    <a:pt x="35" y="244"/>
                    <a:pt x="35" y="244"/>
                    <a:pt x="35" y="244"/>
                  </a:cubicBezTo>
                  <a:cubicBezTo>
                    <a:pt x="34" y="245"/>
                    <a:pt x="34" y="245"/>
                    <a:pt x="34" y="245"/>
                  </a:cubicBezTo>
                  <a:cubicBezTo>
                    <a:pt x="35" y="245"/>
                    <a:pt x="35" y="245"/>
                    <a:pt x="35" y="245"/>
                  </a:cubicBezTo>
                  <a:cubicBezTo>
                    <a:pt x="35" y="245"/>
                    <a:pt x="35" y="245"/>
                    <a:pt x="35" y="245"/>
                  </a:cubicBezTo>
                  <a:cubicBezTo>
                    <a:pt x="35" y="245"/>
                    <a:pt x="35" y="245"/>
                    <a:pt x="35" y="245"/>
                  </a:cubicBezTo>
                  <a:cubicBezTo>
                    <a:pt x="35" y="246"/>
                    <a:pt x="35" y="246"/>
                    <a:pt x="35" y="246"/>
                  </a:cubicBezTo>
                  <a:cubicBezTo>
                    <a:pt x="36" y="246"/>
                    <a:pt x="36" y="246"/>
                    <a:pt x="36" y="246"/>
                  </a:cubicBezTo>
                  <a:cubicBezTo>
                    <a:pt x="36" y="246"/>
                    <a:pt x="36" y="246"/>
                    <a:pt x="36" y="246"/>
                  </a:cubicBezTo>
                  <a:cubicBezTo>
                    <a:pt x="36" y="246"/>
                    <a:pt x="36" y="246"/>
                    <a:pt x="36" y="246"/>
                  </a:cubicBezTo>
                  <a:cubicBezTo>
                    <a:pt x="36" y="247"/>
                    <a:pt x="36" y="247"/>
                    <a:pt x="36" y="247"/>
                  </a:cubicBezTo>
                  <a:cubicBezTo>
                    <a:pt x="37" y="247"/>
                    <a:pt x="37" y="247"/>
                    <a:pt x="37" y="247"/>
                  </a:cubicBezTo>
                  <a:cubicBezTo>
                    <a:pt x="37" y="247"/>
                    <a:pt x="37" y="247"/>
                    <a:pt x="37" y="247"/>
                  </a:cubicBezTo>
                  <a:cubicBezTo>
                    <a:pt x="37" y="247"/>
                    <a:pt x="37" y="247"/>
                    <a:pt x="37" y="247"/>
                  </a:cubicBezTo>
                  <a:cubicBezTo>
                    <a:pt x="37" y="247"/>
                    <a:pt x="37" y="247"/>
                    <a:pt x="37" y="247"/>
                  </a:cubicBezTo>
                  <a:cubicBezTo>
                    <a:pt x="38" y="247"/>
                    <a:pt x="38" y="247"/>
                    <a:pt x="38" y="247"/>
                  </a:cubicBezTo>
                  <a:cubicBezTo>
                    <a:pt x="38" y="247"/>
                    <a:pt x="38" y="247"/>
                    <a:pt x="38" y="247"/>
                  </a:cubicBezTo>
                  <a:cubicBezTo>
                    <a:pt x="38" y="247"/>
                    <a:pt x="38" y="247"/>
                    <a:pt x="38" y="247"/>
                  </a:cubicBezTo>
                  <a:cubicBezTo>
                    <a:pt x="38" y="247"/>
                    <a:pt x="38" y="247"/>
                    <a:pt x="38" y="247"/>
                  </a:cubicBezTo>
                  <a:cubicBezTo>
                    <a:pt x="38" y="248"/>
                    <a:pt x="38" y="248"/>
                    <a:pt x="38" y="248"/>
                  </a:cubicBezTo>
                  <a:cubicBezTo>
                    <a:pt x="38" y="248"/>
                    <a:pt x="38" y="248"/>
                    <a:pt x="38" y="248"/>
                  </a:cubicBezTo>
                  <a:cubicBezTo>
                    <a:pt x="38" y="249"/>
                    <a:pt x="38" y="249"/>
                    <a:pt x="38" y="249"/>
                  </a:cubicBezTo>
                  <a:cubicBezTo>
                    <a:pt x="38" y="249"/>
                    <a:pt x="38" y="249"/>
                    <a:pt x="38" y="249"/>
                  </a:cubicBezTo>
                  <a:cubicBezTo>
                    <a:pt x="39" y="249"/>
                    <a:pt x="39" y="249"/>
                    <a:pt x="39" y="249"/>
                  </a:cubicBezTo>
                  <a:cubicBezTo>
                    <a:pt x="40" y="249"/>
                    <a:pt x="40" y="249"/>
                    <a:pt x="40" y="249"/>
                  </a:cubicBezTo>
                  <a:cubicBezTo>
                    <a:pt x="40" y="250"/>
                    <a:pt x="40" y="250"/>
                    <a:pt x="40" y="250"/>
                  </a:cubicBezTo>
                  <a:cubicBezTo>
                    <a:pt x="39" y="250"/>
                    <a:pt x="39" y="250"/>
                    <a:pt x="39" y="250"/>
                  </a:cubicBezTo>
                  <a:cubicBezTo>
                    <a:pt x="39" y="250"/>
                    <a:pt x="39" y="250"/>
                    <a:pt x="39" y="250"/>
                  </a:cubicBezTo>
                  <a:cubicBezTo>
                    <a:pt x="39" y="250"/>
                    <a:pt x="39" y="250"/>
                    <a:pt x="39" y="250"/>
                  </a:cubicBezTo>
                  <a:cubicBezTo>
                    <a:pt x="39" y="250"/>
                    <a:pt x="39" y="250"/>
                    <a:pt x="39" y="250"/>
                  </a:cubicBezTo>
                  <a:cubicBezTo>
                    <a:pt x="38" y="251"/>
                    <a:pt x="38" y="251"/>
                    <a:pt x="38" y="251"/>
                  </a:cubicBezTo>
                  <a:cubicBezTo>
                    <a:pt x="38" y="251"/>
                    <a:pt x="38" y="251"/>
                    <a:pt x="38" y="251"/>
                  </a:cubicBezTo>
                  <a:cubicBezTo>
                    <a:pt x="38" y="252"/>
                    <a:pt x="38" y="252"/>
                    <a:pt x="38" y="252"/>
                  </a:cubicBezTo>
                  <a:cubicBezTo>
                    <a:pt x="38" y="252"/>
                    <a:pt x="38" y="252"/>
                    <a:pt x="38" y="252"/>
                  </a:cubicBezTo>
                  <a:cubicBezTo>
                    <a:pt x="38" y="252"/>
                    <a:pt x="38" y="252"/>
                    <a:pt x="38" y="252"/>
                  </a:cubicBezTo>
                  <a:cubicBezTo>
                    <a:pt x="38" y="252"/>
                    <a:pt x="38" y="252"/>
                    <a:pt x="38" y="252"/>
                  </a:cubicBezTo>
                  <a:cubicBezTo>
                    <a:pt x="39" y="253"/>
                    <a:pt x="39" y="253"/>
                    <a:pt x="39" y="253"/>
                  </a:cubicBezTo>
                  <a:cubicBezTo>
                    <a:pt x="39" y="253"/>
                    <a:pt x="39" y="253"/>
                    <a:pt x="39" y="253"/>
                  </a:cubicBezTo>
                  <a:cubicBezTo>
                    <a:pt x="39" y="253"/>
                    <a:pt x="39" y="253"/>
                    <a:pt x="39" y="253"/>
                  </a:cubicBezTo>
                  <a:cubicBezTo>
                    <a:pt x="38" y="253"/>
                    <a:pt x="38" y="253"/>
                    <a:pt x="38" y="253"/>
                  </a:cubicBezTo>
                  <a:cubicBezTo>
                    <a:pt x="38" y="254"/>
                    <a:pt x="38" y="254"/>
                    <a:pt x="38" y="254"/>
                  </a:cubicBezTo>
                  <a:cubicBezTo>
                    <a:pt x="38" y="254"/>
                    <a:pt x="38" y="254"/>
                    <a:pt x="38" y="254"/>
                  </a:cubicBezTo>
                  <a:cubicBezTo>
                    <a:pt x="38" y="254"/>
                    <a:pt x="38" y="254"/>
                    <a:pt x="38" y="254"/>
                  </a:cubicBezTo>
                  <a:cubicBezTo>
                    <a:pt x="38" y="254"/>
                    <a:pt x="38" y="254"/>
                    <a:pt x="38" y="254"/>
                  </a:cubicBezTo>
                  <a:cubicBezTo>
                    <a:pt x="38" y="255"/>
                    <a:pt x="38" y="255"/>
                    <a:pt x="38" y="255"/>
                  </a:cubicBezTo>
                  <a:cubicBezTo>
                    <a:pt x="38" y="255"/>
                    <a:pt x="38" y="255"/>
                    <a:pt x="38" y="255"/>
                  </a:cubicBezTo>
                  <a:cubicBezTo>
                    <a:pt x="38" y="256"/>
                    <a:pt x="38" y="256"/>
                    <a:pt x="38" y="256"/>
                  </a:cubicBezTo>
                  <a:cubicBezTo>
                    <a:pt x="39" y="256"/>
                    <a:pt x="39" y="256"/>
                    <a:pt x="39" y="256"/>
                  </a:cubicBezTo>
                  <a:cubicBezTo>
                    <a:pt x="39" y="256"/>
                    <a:pt x="39" y="256"/>
                    <a:pt x="39" y="256"/>
                  </a:cubicBezTo>
                  <a:cubicBezTo>
                    <a:pt x="39" y="256"/>
                    <a:pt x="39" y="256"/>
                    <a:pt x="39" y="256"/>
                  </a:cubicBezTo>
                  <a:cubicBezTo>
                    <a:pt x="39" y="257"/>
                    <a:pt x="39" y="257"/>
                    <a:pt x="39" y="257"/>
                  </a:cubicBezTo>
                  <a:cubicBezTo>
                    <a:pt x="39" y="256"/>
                    <a:pt x="39" y="256"/>
                    <a:pt x="39" y="256"/>
                  </a:cubicBezTo>
                  <a:cubicBezTo>
                    <a:pt x="38" y="256"/>
                    <a:pt x="38" y="256"/>
                    <a:pt x="38" y="256"/>
                  </a:cubicBezTo>
                  <a:cubicBezTo>
                    <a:pt x="38" y="256"/>
                    <a:pt x="38" y="256"/>
                    <a:pt x="38" y="256"/>
                  </a:cubicBezTo>
                  <a:cubicBezTo>
                    <a:pt x="38" y="255"/>
                    <a:pt x="38" y="255"/>
                    <a:pt x="38" y="255"/>
                  </a:cubicBezTo>
                  <a:cubicBezTo>
                    <a:pt x="38" y="255"/>
                    <a:pt x="38" y="255"/>
                    <a:pt x="38" y="255"/>
                  </a:cubicBezTo>
                  <a:cubicBezTo>
                    <a:pt x="38" y="255"/>
                    <a:pt x="38" y="255"/>
                    <a:pt x="38" y="255"/>
                  </a:cubicBezTo>
                  <a:cubicBezTo>
                    <a:pt x="38" y="255"/>
                    <a:pt x="38" y="255"/>
                    <a:pt x="38" y="255"/>
                  </a:cubicBezTo>
                  <a:cubicBezTo>
                    <a:pt x="38" y="254"/>
                    <a:pt x="38" y="254"/>
                    <a:pt x="38" y="254"/>
                  </a:cubicBezTo>
                  <a:cubicBezTo>
                    <a:pt x="38" y="254"/>
                    <a:pt x="38" y="254"/>
                    <a:pt x="38" y="254"/>
                  </a:cubicBezTo>
                  <a:cubicBezTo>
                    <a:pt x="37" y="254"/>
                    <a:pt x="37" y="254"/>
                    <a:pt x="37" y="254"/>
                  </a:cubicBezTo>
                  <a:cubicBezTo>
                    <a:pt x="37" y="253"/>
                    <a:pt x="37" y="253"/>
                    <a:pt x="37" y="253"/>
                  </a:cubicBezTo>
                  <a:cubicBezTo>
                    <a:pt x="37" y="252"/>
                    <a:pt x="37" y="252"/>
                    <a:pt x="37" y="252"/>
                  </a:cubicBezTo>
                  <a:cubicBezTo>
                    <a:pt x="36" y="252"/>
                    <a:pt x="36" y="252"/>
                    <a:pt x="36" y="252"/>
                  </a:cubicBezTo>
                  <a:cubicBezTo>
                    <a:pt x="36" y="252"/>
                    <a:pt x="36" y="252"/>
                    <a:pt x="36" y="252"/>
                  </a:cubicBezTo>
                  <a:cubicBezTo>
                    <a:pt x="36" y="252"/>
                    <a:pt x="36" y="252"/>
                    <a:pt x="36" y="252"/>
                  </a:cubicBezTo>
                  <a:cubicBezTo>
                    <a:pt x="36" y="251"/>
                    <a:pt x="36" y="251"/>
                    <a:pt x="36" y="251"/>
                  </a:cubicBezTo>
                  <a:cubicBezTo>
                    <a:pt x="36" y="251"/>
                    <a:pt x="36" y="251"/>
                    <a:pt x="36" y="251"/>
                  </a:cubicBezTo>
                  <a:cubicBezTo>
                    <a:pt x="36" y="251"/>
                    <a:pt x="36" y="251"/>
                    <a:pt x="36" y="251"/>
                  </a:cubicBezTo>
                  <a:cubicBezTo>
                    <a:pt x="35" y="250"/>
                    <a:pt x="35" y="250"/>
                    <a:pt x="35" y="250"/>
                  </a:cubicBezTo>
                  <a:cubicBezTo>
                    <a:pt x="35" y="250"/>
                    <a:pt x="35" y="250"/>
                    <a:pt x="35" y="250"/>
                  </a:cubicBezTo>
                  <a:cubicBezTo>
                    <a:pt x="35" y="250"/>
                    <a:pt x="35" y="250"/>
                    <a:pt x="35" y="250"/>
                  </a:cubicBezTo>
                  <a:cubicBezTo>
                    <a:pt x="34" y="250"/>
                    <a:pt x="34" y="250"/>
                    <a:pt x="34" y="250"/>
                  </a:cubicBezTo>
                  <a:cubicBezTo>
                    <a:pt x="34" y="250"/>
                    <a:pt x="34" y="250"/>
                    <a:pt x="34" y="250"/>
                  </a:cubicBezTo>
                  <a:cubicBezTo>
                    <a:pt x="34" y="250"/>
                    <a:pt x="34" y="250"/>
                    <a:pt x="34" y="250"/>
                  </a:cubicBezTo>
                  <a:cubicBezTo>
                    <a:pt x="34" y="250"/>
                    <a:pt x="34" y="250"/>
                    <a:pt x="34" y="250"/>
                  </a:cubicBezTo>
                  <a:cubicBezTo>
                    <a:pt x="34" y="250"/>
                    <a:pt x="34" y="250"/>
                    <a:pt x="34" y="250"/>
                  </a:cubicBezTo>
                  <a:cubicBezTo>
                    <a:pt x="34" y="250"/>
                    <a:pt x="34" y="250"/>
                    <a:pt x="34" y="250"/>
                  </a:cubicBezTo>
                  <a:cubicBezTo>
                    <a:pt x="33" y="250"/>
                    <a:pt x="33" y="250"/>
                    <a:pt x="33" y="250"/>
                  </a:cubicBezTo>
                  <a:cubicBezTo>
                    <a:pt x="32" y="250"/>
                    <a:pt x="32" y="250"/>
                    <a:pt x="32" y="250"/>
                  </a:cubicBezTo>
                  <a:cubicBezTo>
                    <a:pt x="32" y="250"/>
                    <a:pt x="32" y="250"/>
                    <a:pt x="32" y="250"/>
                  </a:cubicBezTo>
                  <a:cubicBezTo>
                    <a:pt x="32" y="249"/>
                    <a:pt x="32" y="249"/>
                    <a:pt x="32" y="249"/>
                  </a:cubicBezTo>
                  <a:cubicBezTo>
                    <a:pt x="32" y="249"/>
                    <a:pt x="32" y="249"/>
                    <a:pt x="32" y="249"/>
                  </a:cubicBezTo>
                  <a:cubicBezTo>
                    <a:pt x="32" y="248"/>
                    <a:pt x="32" y="248"/>
                    <a:pt x="32" y="248"/>
                  </a:cubicBezTo>
                  <a:cubicBezTo>
                    <a:pt x="32" y="248"/>
                    <a:pt x="32" y="248"/>
                    <a:pt x="32" y="248"/>
                  </a:cubicBezTo>
                  <a:cubicBezTo>
                    <a:pt x="32" y="248"/>
                    <a:pt x="32" y="248"/>
                    <a:pt x="32" y="248"/>
                  </a:cubicBezTo>
                  <a:cubicBezTo>
                    <a:pt x="31" y="247"/>
                    <a:pt x="31" y="247"/>
                    <a:pt x="31" y="247"/>
                  </a:cubicBezTo>
                  <a:cubicBezTo>
                    <a:pt x="31" y="248"/>
                    <a:pt x="31" y="248"/>
                    <a:pt x="31" y="248"/>
                  </a:cubicBezTo>
                  <a:cubicBezTo>
                    <a:pt x="30" y="250"/>
                    <a:pt x="30" y="250"/>
                    <a:pt x="30" y="250"/>
                  </a:cubicBezTo>
                  <a:cubicBezTo>
                    <a:pt x="29" y="250"/>
                    <a:pt x="29" y="250"/>
                    <a:pt x="29" y="250"/>
                  </a:cubicBezTo>
                  <a:cubicBezTo>
                    <a:pt x="29" y="250"/>
                    <a:pt x="29" y="250"/>
                    <a:pt x="29" y="250"/>
                  </a:cubicBezTo>
                  <a:cubicBezTo>
                    <a:pt x="29" y="251"/>
                    <a:pt x="29" y="251"/>
                    <a:pt x="29" y="251"/>
                  </a:cubicBezTo>
                  <a:cubicBezTo>
                    <a:pt x="29" y="251"/>
                    <a:pt x="29" y="251"/>
                    <a:pt x="29" y="251"/>
                  </a:cubicBezTo>
                  <a:cubicBezTo>
                    <a:pt x="29" y="252"/>
                    <a:pt x="29" y="252"/>
                    <a:pt x="29" y="252"/>
                  </a:cubicBezTo>
                  <a:cubicBezTo>
                    <a:pt x="30" y="252"/>
                    <a:pt x="30" y="252"/>
                    <a:pt x="30" y="252"/>
                  </a:cubicBezTo>
                  <a:cubicBezTo>
                    <a:pt x="29" y="252"/>
                    <a:pt x="29" y="252"/>
                    <a:pt x="29" y="252"/>
                  </a:cubicBezTo>
                  <a:cubicBezTo>
                    <a:pt x="30" y="255"/>
                    <a:pt x="31" y="259"/>
                    <a:pt x="31" y="262"/>
                  </a:cubicBezTo>
                  <a:cubicBezTo>
                    <a:pt x="32" y="263"/>
                    <a:pt x="32" y="263"/>
                    <a:pt x="32" y="263"/>
                  </a:cubicBezTo>
                  <a:cubicBezTo>
                    <a:pt x="32" y="263"/>
                    <a:pt x="32" y="263"/>
                    <a:pt x="32" y="263"/>
                  </a:cubicBezTo>
                  <a:cubicBezTo>
                    <a:pt x="32" y="263"/>
                    <a:pt x="32" y="263"/>
                    <a:pt x="32" y="263"/>
                  </a:cubicBezTo>
                  <a:cubicBezTo>
                    <a:pt x="33" y="263"/>
                    <a:pt x="33" y="263"/>
                    <a:pt x="33" y="263"/>
                  </a:cubicBezTo>
                  <a:cubicBezTo>
                    <a:pt x="33" y="264"/>
                    <a:pt x="33" y="264"/>
                    <a:pt x="33" y="264"/>
                  </a:cubicBezTo>
                  <a:cubicBezTo>
                    <a:pt x="34" y="265"/>
                    <a:pt x="34" y="265"/>
                    <a:pt x="34" y="265"/>
                  </a:cubicBezTo>
                  <a:cubicBezTo>
                    <a:pt x="34" y="265"/>
                    <a:pt x="34" y="265"/>
                    <a:pt x="34" y="265"/>
                  </a:cubicBezTo>
                  <a:cubicBezTo>
                    <a:pt x="34" y="265"/>
                    <a:pt x="34" y="265"/>
                    <a:pt x="34" y="265"/>
                  </a:cubicBezTo>
                  <a:cubicBezTo>
                    <a:pt x="35" y="266"/>
                    <a:pt x="35" y="266"/>
                    <a:pt x="35" y="266"/>
                  </a:cubicBezTo>
                  <a:cubicBezTo>
                    <a:pt x="35" y="267"/>
                    <a:pt x="35" y="267"/>
                    <a:pt x="35" y="267"/>
                  </a:cubicBezTo>
                  <a:cubicBezTo>
                    <a:pt x="35" y="267"/>
                    <a:pt x="35" y="267"/>
                    <a:pt x="35" y="267"/>
                  </a:cubicBezTo>
                  <a:cubicBezTo>
                    <a:pt x="34" y="266"/>
                    <a:pt x="34" y="266"/>
                    <a:pt x="34" y="266"/>
                  </a:cubicBezTo>
                  <a:cubicBezTo>
                    <a:pt x="34" y="266"/>
                    <a:pt x="34" y="266"/>
                    <a:pt x="34" y="266"/>
                  </a:cubicBezTo>
                  <a:cubicBezTo>
                    <a:pt x="34" y="266"/>
                    <a:pt x="34" y="266"/>
                    <a:pt x="34" y="266"/>
                  </a:cubicBezTo>
                  <a:cubicBezTo>
                    <a:pt x="34" y="266"/>
                    <a:pt x="34" y="266"/>
                    <a:pt x="34" y="266"/>
                  </a:cubicBezTo>
                  <a:cubicBezTo>
                    <a:pt x="34" y="265"/>
                    <a:pt x="34" y="265"/>
                    <a:pt x="34" y="265"/>
                  </a:cubicBezTo>
                  <a:cubicBezTo>
                    <a:pt x="34" y="265"/>
                    <a:pt x="34" y="265"/>
                    <a:pt x="34" y="265"/>
                  </a:cubicBezTo>
                  <a:cubicBezTo>
                    <a:pt x="33" y="265"/>
                    <a:pt x="33" y="265"/>
                    <a:pt x="33" y="265"/>
                  </a:cubicBezTo>
                  <a:cubicBezTo>
                    <a:pt x="33" y="264"/>
                    <a:pt x="33" y="264"/>
                    <a:pt x="33" y="264"/>
                  </a:cubicBezTo>
                  <a:cubicBezTo>
                    <a:pt x="32" y="263"/>
                    <a:pt x="32" y="263"/>
                    <a:pt x="32" y="263"/>
                  </a:cubicBezTo>
                  <a:cubicBezTo>
                    <a:pt x="35" y="284"/>
                    <a:pt x="39" y="305"/>
                    <a:pt x="43" y="326"/>
                  </a:cubicBezTo>
                  <a:cubicBezTo>
                    <a:pt x="44" y="327"/>
                    <a:pt x="44" y="327"/>
                    <a:pt x="44" y="328"/>
                  </a:cubicBezTo>
                  <a:cubicBezTo>
                    <a:pt x="44" y="328"/>
                    <a:pt x="44" y="329"/>
                    <a:pt x="44" y="329"/>
                  </a:cubicBezTo>
                  <a:cubicBezTo>
                    <a:pt x="44" y="330"/>
                    <a:pt x="44" y="330"/>
                    <a:pt x="44" y="330"/>
                  </a:cubicBezTo>
                  <a:cubicBezTo>
                    <a:pt x="44" y="331"/>
                    <a:pt x="44" y="331"/>
                    <a:pt x="44" y="331"/>
                  </a:cubicBezTo>
                  <a:cubicBezTo>
                    <a:pt x="44" y="332"/>
                    <a:pt x="44" y="332"/>
                    <a:pt x="44" y="332"/>
                  </a:cubicBezTo>
                  <a:cubicBezTo>
                    <a:pt x="44" y="332"/>
                    <a:pt x="44" y="332"/>
                    <a:pt x="44" y="332"/>
                  </a:cubicBezTo>
                  <a:cubicBezTo>
                    <a:pt x="44" y="333"/>
                    <a:pt x="44" y="333"/>
                    <a:pt x="44" y="333"/>
                  </a:cubicBezTo>
                  <a:cubicBezTo>
                    <a:pt x="44" y="334"/>
                    <a:pt x="44" y="334"/>
                    <a:pt x="44" y="334"/>
                  </a:cubicBezTo>
                  <a:cubicBezTo>
                    <a:pt x="44" y="334"/>
                    <a:pt x="44" y="334"/>
                    <a:pt x="44" y="334"/>
                  </a:cubicBezTo>
                  <a:cubicBezTo>
                    <a:pt x="45" y="335"/>
                    <a:pt x="45" y="335"/>
                    <a:pt x="45" y="335"/>
                  </a:cubicBezTo>
                  <a:cubicBezTo>
                    <a:pt x="45" y="335"/>
                    <a:pt x="45" y="335"/>
                    <a:pt x="45" y="335"/>
                  </a:cubicBezTo>
                  <a:cubicBezTo>
                    <a:pt x="45" y="336"/>
                    <a:pt x="45" y="336"/>
                    <a:pt x="45" y="336"/>
                  </a:cubicBezTo>
                  <a:cubicBezTo>
                    <a:pt x="46" y="336"/>
                    <a:pt x="46" y="336"/>
                    <a:pt x="46" y="336"/>
                  </a:cubicBezTo>
                  <a:cubicBezTo>
                    <a:pt x="46" y="336"/>
                    <a:pt x="46" y="336"/>
                    <a:pt x="46" y="336"/>
                  </a:cubicBezTo>
                  <a:cubicBezTo>
                    <a:pt x="46" y="337"/>
                    <a:pt x="46" y="337"/>
                    <a:pt x="46" y="337"/>
                  </a:cubicBezTo>
                  <a:cubicBezTo>
                    <a:pt x="47" y="337"/>
                    <a:pt x="47" y="337"/>
                    <a:pt x="47" y="337"/>
                  </a:cubicBezTo>
                  <a:cubicBezTo>
                    <a:pt x="47" y="338"/>
                    <a:pt x="47" y="338"/>
                    <a:pt x="47" y="338"/>
                  </a:cubicBezTo>
                  <a:cubicBezTo>
                    <a:pt x="47" y="338"/>
                    <a:pt x="47" y="338"/>
                    <a:pt x="47" y="338"/>
                  </a:cubicBezTo>
                  <a:cubicBezTo>
                    <a:pt x="47" y="339"/>
                    <a:pt x="47" y="339"/>
                    <a:pt x="47" y="339"/>
                  </a:cubicBezTo>
                  <a:cubicBezTo>
                    <a:pt x="47" y="340"/>
                    <a:pt x="47" y="340"/>
                    <a:pt x="47" y="340"/>
                  </a:cubicBezTo>
                  <a:cubicBezTo>
                    <a:pt x="47" y="340"/>
                    <a:pt x="47" y="340"/>
                    <a:pt x="47" y="340"/>
                  </a:cubicBezTo>
                  <a:cubicBezTo>
                    <a:pt x="48" y="341"/>
                    <a:pt x="48" y="341"/>
                    <a:pt x="48" y="341"/>
                  </a:cubicBezTo>
                  <a:cubicBezTo>
                    <a:pt x="49" y="342"/>
                    <a:pt x="49" y="342"/>
                    <a:pt x="49" y="342"/>
                  </a:cubicBezTo>
                  <a:cubicBezTo>
                    <a:pt x="49" y="342"/>
                    <a:pt x="49" y="342"/>
                    <a:pt x="49" y="342"/>
                  </a:cubicBezTo>
                  <a:cubicBezTo>
                    <a:pt x="50" y="343"/>
                    <a:pt x="50" y="343"/>
                    <a:pt x="50" y="343"/>
                  </a:cubicBezTo>
                  <a:cubicBezTo>
                    <a:pt x="51" y="344"/>
                    <a:pt x="51" y="344"/>
                    <a:pt x="51" y="344"/>
                  </a:cubicBezTo>
                  <a:cubicBezTo>
                    <a:pt x="51" y="344"/>
                    <a:pt x="52" y="345"/>
                    <a:pt x="52" y="345"/>
                  </a:cubicBezTo>
                  <a:cubicBezTo>
                    <a:pt x="53" y="347"/>
                    <a:pt x="53" y="347"/>
                    <a:pt x="53" y="347"/>
                  </a:cubicBezTo>
                  <a:cubicBezTo>
                    <a:pt x="54" y="348"/>
                    <a:pt x="54" y="348"/>
                    <a:pt x="54" y="348"/>
                  </a:cubicBezTo>
                  <a:cubicBezTo>
                    <a:pt x="54" y="348"/>
                    <a:pt x="54" y="348"/>
                    <a:pt x="54" y="348"/>
                  </a:cubicBezTo>
                  <a:cubicBezTo>
                    <a:pt x="55" y="348"/>
                    <a:pt x="55" y="348"/>
                    <a:pt x="55" y="348"/>
                  </a:cubicBezTo>
                  <a:cubicBezTo>
                    <a:pt x="55" y="349"/>
                    <a:pt x="55" y="349"/>
                    <a:pt x="55" y="349"/>
                  </a:cubicBezTo>
                  <a:cubicBezTo>
                    <a:pt x="55" y="349"/>
                    <a:pt x="55" y="349"/>
                    <a:pt x="55" y="349"/>
                  </a:cubicBezTo>
                  <a:cubicBezTo>
                    <a:pt x="55" y="349"/>
                    <a:pt x="55" y="349"/>
                    <a:pt x="55" y="349"/>
                  </a:cubicBezTo>
                  <a:cubicBezTo>
                    <a:pt x="56" y="350"/>
                    <a:pt x="56" y="350"/>
                    <a:pt x="56" y="350"/>
                  </a:cubicBezTo>
                  <a:cubicBezTo>
                    <a:pt x="56" y="351"/>
                    <a:pt x="56" y="351"/>
                    <a:pt x="56" y="351"/>
                  </a:cubicBezTo>
                  <a:cubicBezTo>
                    <a:pt x="57" y="351"/>
                    <a:pt x="57" y="351"/>
                    <a:pt x="57" y="351"/>
                  </a:cubicBezTo>
                  <a:cubicBezTo>
                    <a:pt x="59" y="352"/>
                    <a:pt x="59" y="352"/>
                    <a:pt x="59" y="352"/>
                  </a:cubicBezTo>
                  <a:cubicBezTo>
                    <a:pt x="60" y="353"/>
                    <a:pt x="60" y="353"/>
                    <a:pt x="60" y="353"/>
                  </a:cubicBezTo>
                  <a:cubicBezTo>
                    <a:pt x="60" y="353"/>
                    <a:pt x="60" y="353"/>
                    <a:pt x="60" y="353"/>
                  </a:cubicBezTo>
                  <a:cubicBezTo>
                    <a:pt x="60" y="353"/>
                    <a:pt x="60" y="353"/>
                    <a:pt x="60" y="353"/>
                  </a:cubicBezTo>
                  <a:cubicBezTo>
                    <a:pt x="60" y="353"/>
                    <a:pt x="60" y="353"/>
                    <a:pt x="60" y="353"/>
                  </a:cubicBezTo>
                  <a:cubicBezTo>
                    <a:pt x="64" y="354"/>
                    <a:pt x="64" y="354"/>
                    <a:pt x="64" y="354"/>
                  </a:cubicBezTo>
                  <a:cubicBezTo>
                    <a:pt x="65" y="353"/>
                    <a:pt x="65" y="353"/>
                    <a:pt x="65" y="353"/>
                  </a:cubicBezTo>
                  <a:cubicBezTo>
                    <a:pt x="65" y="353"/>
                    <a:pt x="65" y="353"/>
                    <a:pt x="65" y="353"/>
                  </a:cubicBezTo>
                  <a:cubicBezTo>
                    <a:pt x="66" y="354"/>
                    <a:pt x="66" y="354"/>
                    <a:pt x="66" y="354"/>
                  </a:cubicBezTo>
                  <a:cubicBezTo>
                    <a:pt x="66" y="354"/>
                    <a:pt x="66" y="354"/>
                    <a:pt x="66" y="354"/>
                  </a:cubicBezTo>
                  <a:cubicBezTo>
                    <a:pt x="66" y="354"/>
                    <a:pt x="66" y="354"/>
                    <a:pt x="66" y="354"/>
                  </a:cubicBezTo>
                  <a:cubicBezTo>
                    <a:pt x="67" y="353"/>
                    <a:pt x="67" y="353"/>
                    <a:pt x="67" y="353"/>
                  </a:cubicBezTo>
                  <a:cubicBezTo>
                    <a:pt x="69" y="353"/>
                    <a:pt x="69" y="353"/>
                    <a:pt x="69" y="353"/>
                  </a:cubicBezTo>
                  <a:cubicBezTo>
                    <a:pt x="70" y="354"/>
                    <a:pt x="70" y="354"/>
                    <a:pt x="70" y="354"/>
                  </a:cubicBezTo>
                  <a:cubicBezTo>
                    <a:pt x="71" y="353"/>
                    <a:pt x="71" y="353"/>
                    <a:pt x="71" y="353"/>
                  </a:cubicBezTo>
                  <a:cubicBezTo>
                    <a:pt x="74" y="354"/>
                    <a:pt x="74" y="354"/>
                    <a:pt x="74" y="354"/>
                  </a:cubicBezTo>
                  <a:cubicBezTo>
                    <a:pt x="75" y="354"/>
                    <a:pt x="75" y="354"/>
                    <a:pt x="75" y="354"/>
                  </a:cubicBezTo>
                  <a:cubicBezTo>
                    <a:pt x="75" y="354"/>
                    <a:pt x="75" y="354"/>
                    <a:pt x="75" y="354"/>
                  </a:cubicBezTo>
                  <a:cubicBezTo>
                    <a:pt x="75" y="354"/>
                    <a:pt x="75" y="354"/>
                    <a:pt x="75" y="354"/>
                  </a:cubicBezTo>
                  <a:cubicBezTo>
                    <a:pt x="78" y="354"/>
                    <a:pt x="78" y="354"/>
                    <a:pt x="78" y="354"/>
                  </a:cubicBezTo>
                  <a:cubicBezTo>
                    <a:pt x="79" y="355"/>
                    <a:pt x="79" y="355"/>
                    <a:pt x="79" y="355"/>
                  </a:cubicBezTo>
                  <a:cubicBezTo>
                    <a:pt x="79" y="355"/>
                    <a:pt x="79" y="355"/>
                    <a:pt x="79" y="355"/>
                  </a:cubicBezTo>
                  <a:cubicBezTo>
                    <a:pt x="80" y="355"/>
                    <a:pt x="80" y="355"/>
                    <a:pt x="80" y="355"/>
                  </a:cubicBezTo>
                  <a:cubicBezTo>
                    <a:pt x="80" y="355"/>
                    <a:pt x="80" y="355"/>
                    <a:pt x="80" y="355"/>
                  </a:cubicBezTo>
                  <a:cubicBezTo>
                    <a:pt x="80" y="355"/>
                    <a:pt x="80" y="355"/>
                    <a:pt x="80" y="355"/>
                  </a:cubicBezTo>
                  <a:cubicBezTo>
                    <a:pt x="80" y="356"/>
                    <a:pt x="80" y="356"/>
                    <a:pt x="80" y="356"/>
                  </a:cubicBezTo>
                  <a:cubicBezTo>
                    <a:pt x="81" y="356"/>
                    <a:pt x="81" y="356"/>
                    <a:pt x="81" y="356"/>
                  </a:cubicBezTo>
                  <a:cubicBezTo>
                    <a:pt x="81" y="356"/>
                    <a:pt x="81" y="356"/>
                    <a:pt x="81" y="356"/>
                  </a:cubicBezTo>
                  <a:cubicBezTo>
                    <a:pt x="81" y="357"/>
                    <a:pt x="81" y="357"/>
                    <a:pt x="81" y="357"/>
                  </a:cubicBezTo>
                  <a:cubicBezTo>
                    <a:pt x="81" y="357"/>
                    <a:pt x="81" y="357"/>
                    <a:pt x="81" y="357"/>
                  </a:cubicBezTo>
                  <a:cubicBezTo>
                    <a:pt x="81" y="357"/>
                    <a:pt x="81" y="357"/>
                    <a:pt x="81" y="357"/>
                  </a:cubicBezTo>
                  <a:cubicBezTo>
                    <a:pt x="82" y="358"/>
                    <a:pt x="82" y="358"/>
                    <a:pt x="82" y="358"/>
                  </a:cubicBezTo>
                  <a:cubicBezTo>
                    <a:pt x="82" y="358"/>
                    <a:pt x="82" y="358"/>
                    <a:pt x="82" y="358"/>
                  </a:cubicBezTo>
                  <a:cubicBezTo>
                    <a:pt x="82" y="358"/>
                    <a:pt x="82" y="358"/>
                    <a:pt x="82" y="358"/>
                  </a:cubicBezTo>
                  <a:cubicBezTo>
                    <a:pt x="83" y="358"/>
                    <a:pt x="83" y="358"/>
                    <a:pt x="83" y="358"/>
                  </a:cubicBezTo>
                  <a:cubicBezTo>
                    <a:pt x="83" y="359"/>
                    <a:pt x="83" y="359"/>
                    <a:pt x="83" y="359"/>
                  </a:cubicBezTo>
                  <a:cubicBezTo>
                    <a:pt x="84" y="359"/>
                    <a:pt x="84" y="359"/>
                    <a:pt x="84" y="359"/>
                  </a:cubicBezTo>
                  <a:cubicBezTo>
                    <a:pt x="84" y="359"/>
                    <a:pt x="84" y="359"/>
                    <a:pt x="84" y="359"/>
                  </a:cubicBezTo>
                  <a:cubicBezTo>
                    <a:pt x="85" y="359"/>
                    <a:pt x="85" y="359"/>
                    <a:pt x="85" y="359"/>
                  </a:cubicBezTo>
                  <a:cubicBezTo>
                    <a:pt x="86" y="359"/>
                    <a:pt x="86" y="359"/>
                    <a:pt x="86" y="359"/>
                  </a:cubicBezTo>
                  <a:cubicBezTo>
                    <a:pt x="86" y="359"/>
                    <a:pt x="86" y="359"/>
                    <a:pt x="86" y="359"/>
                  </a:cubicBezTo>
                  <a:cubicBezTo>
                    <a:pt x="86" y="359"/>
                    <a:pt x="86" y="359"/>
                    <a:pt x="86" y="359"/>
                  </a:cubicBezTo>
                  <a:cubicBezTo>
                    <a:pt x="87" y="359"/>
                    <a:pt x="87" y="359"/>
                    <a:pt x="87" y="359"/>
                  </a:cubicBezTo>
                  <a:cubicBezTo>
                    <a:pt x="87" y="359"/>
                    <a:pt x="87" y="359"/>
                    <a:pt x="87" y="359"/>
                  </a:cubicBezTo>
                  <a:cubicBezTo>
                    <a:pt x="87" y="359"/>
                    <a:pt x="87" y="359"/>
                    <a:pt x="87" y="359"/>
                  </a:cubicBezTo>
                  <a:cubicBezTo>
                    <a:pt x="87" y="358"/>
                    <a:pt x="87" y="358"/>
                    <a:pt x="87" y="358"/>
                  </a:cubicBezTo>
                  <a:cubicBezTo>
                    <a:pt x="87" y="358"/>
                    <a:pt x="87" y="358"/>
                    <a:pt x="87" y="358"/>
                  </a:cubicBezTo>
                  <a:cubicBezTo>
                    <a:pt x="86" y="358"/>
                    <a:pt x="86" y="358"/>
                    <a:pt x="86" y="358"/>
                  </a:cubicBezTo>
                  <a:cubicBezTo>
                    <a:pt x="87" y="357"/>
                    <a:pt x="87" y="357"/>
                    <a:pt x="87" y="357"/>
                  </a:cubicBezTo>
                  <a:cubicBezTo>
                    <a:pt x="87" y="357"/>
                    <a:pt x="87" y="357"/>
                    <a:pt x="87" y="357"/>
                  </a:cubicBezTo>
                  <a:cubicBezTo>
                    <a:pt x="87" y="357"/>
                    <a:pt x="87" y="357"/>
                    <a:pt x="87" y="357"/>
                  </a:cubicBezTo>
                  <a:cubicBezTo>
                    <a:pt x="87" y="357"/>
                    <a:pt x="87" y="357"/>
                    <a:pt x="87" y="357"/>
                  </a:cubicBezTo>
                  <a:cubicBezTo>
                    <a:pt x="87" y="357"/>
                    <a:pt x="87" y="357"/>
                    <a:pt x="87" y="357"/>
                  </a:cubicBezTo>
                  <a:cubicBezTo>
                    <a:pt x="88" y="357"/>
                    <a:pt x="88" y="357"/>
                    <a:pt x="88" y="357"/>
                  </a:cubicBezTo>
                  <a:cubicBezTo>
                    <a:pt x="88" y="357"/>
                    <a:pt x="88" y="357"/>
                    <a:pt x="88" y="357"/>
                  </a:cubicBezTo>
                  <a:cubicBezTo>
                    <a:pt x="88" y="357"/>
                    <a:pt x="88" y="357"/>
                    <a:pt x="88" y="357"/>
                  </a:cubicBezTo>
                  <a:cubicBezTo>
                    <a:pt x="89" y="358"/>
                    <a:pt x="89" y="358"/>
                    <a:pt x="89" y="358"/>
                  </a:cubicBezTo>
                  <a:cubicBezTo>
                    <a:pt x="89" y="359"/>
                    <a:pt x="89" y="359"/>
                    <a:pt x="89" y="359"/>
                  </a:cubicBezTo>
                  <a:cubicBezTo>
                    <a:pt x="89" y="359"/>
                    <a:pt x="89" y="359"/>
                    <a:pt x="89" y="359"/>
                  </a:cubicBezTo>
                  <a:cubicBezTo>
                    <a:pt x="89" y="359"/>
                    <a:pt x="89" y="359"/>
                    <a:pt x="89" y="359"/>
                  </a:cubicBezTo>
                  <a:cubicBezTo>
                    <a:pt x="89" y="360"/>
                    <a:pt x="89" y="360"/>
                    <a:pt x="89" y="360"/>
                  </a:cubicBezTo>
                  <a:cubicBezTo>
                    <a:pt x="90" y="360"/>
                    <a:pt x="90" y="360"/>
                    <a:pt x="90" y="360"/>
                  </a:cubicBezTo>
                  <a:cubicBezTo>
                    <a:pt x="90" y="360"/>
                    <a:pt x="90" y="360"/>
                    <a:pt x="90" y="360"/>
                  </a:cubicBezTo>
                  <a:cubicBezTo>
                    <a:pt x="90" y="360"/>
                    <a:pt x="90" y="360"/>
                    <a:pt x="90" y="360"/>
                  </a:cubicBezTo>
                  <a:cubicBezTo>
                    <a:pt x="90" y="360"/>
                    <a:pt x="90" y="360"/>
                    <a:pt x="90" y="360"/>
                  </a:cubicBezTo>
                  <a:cubicBezTo>
                    <a:pt x="90" y="361"/>
                    <a:pt x="90" y="361"/>
                    <a:pt x="90" y="361"/>
                  </a:cubicBezTo>
                  <a:cubicBezTo>
                    <a:pt x="91" y="361"/>
                    <a:pt x="91" y="361"/>
                    <a:pt x="91" y="361"/>
                  </a:cubicBezTo>
                  <a:cubicBezTo>
                    <a:pt x="91" y="361"/>
                    <a:pt x="91" y="361"/>
                    <a:pt x="91" y="361"/>
                  </a:cubicBezTo>
                  <a:cubicBezTo>
                    <a:pt x="91" y="362"/>
                    <a:pt x="91" y="362"/>
                    <a:pt x="91" y="362"/>
                  </a:cubicBezTo>
                  <a:cubicBezTo>
                    <a:pt x="91" y="362"/>
                    <a:pt x="91" y="362"/>
                    <a:pt x="91" y="362"/>
                  </a:cubicBezTo>
                  <a:cubicBezTo>
                    <a:pt x="91" y="362"/>
                    <a:pt x="91" y="362"/>
                    <a:pt x="91" y="362"/>
                  </a:cubicBezTo>
                  <a:cubicBezTo>
                    <a:pt x="92" y="363"/>
                    <a:pt x="92" y="363"/>
                    <a:pt x="92" y="363"/>
                  </a:cubicBezTo>
                  <a:cubicBezTo>
                    <a:pt x="92" y="363"/>
                    <a:pt x="92" y="363"/>
                    <a:pt x="92" y="363"/>
                  </a:cubicBezTo>
                  <a:cubicBezTo>
                    <a:pt x="92" y="363"/>
                    <a:pt x="92" y="363"/>
                    <a:pt x="92" y="363"/>
                  </a:cubicBezTo>
                  <a:cubicBezTo>
                    <a:pt x="92" y="363"/>
                    <a:pt x="92" y="363"/>
                    <a:pt x="92" y="363"/>
                  </a:cubicBezTo>
                  <a:cubicBezTo>
                    <a:pt x="94" y="363"/>
                    <a:pt x="94" y="363"/>
                    <a:pt x="94" y="363"/>
                  </a:cubicBezTo>
                  <a:cubicBezTo>
                    <a:pt x="94" y="363"/>
                    <a:pt x="94" y="363"/>
                    <a:pt x="94" y="363"/>
                  </a:cubicBezTo>
                  <a:cubicBezTo>
                    <a:pt x="95" y="363"/>
                    <a:pt x="95" y="363"/>
                    <a:pt x="95" y="363"/>
                  </a:cubicBezTo>
                  <a:cubicBezTo>
                    <a:pt x="95" y="363"/>
                    <a:pt x="95" y="363"/>
                    <a:pt x="95" y="363"/>
                  </a:cubicBezTo>
                  <a:cubicBezTo>
                    <a:pt x="95" y="363"/>
                    <a:pt x="95" y="363"/>
                    <a:pt x="95" y="363"/>
                  </a:cubicBezTo>
                  <a:cubicBezTo>
                    <a:pt x="95" y="363"/>
                    <a:pt x="95" y="363"/>
                    <a:pt x="95" y="363"/>
                  </a:cubicBezTo>
                  <a:cubicBezTo>
                    <a:pt x="95" y="363"/>
                    <a:pt x="95" y="363"/>
                    <a:pt x="95" y="363"/>
                  </a:cubicBezTo>
                  <a:cubicBezTo>
                    <a:pt x="95" y="363"/>
                    <a:pt x="95" y="363"/>
                    <a:pt x="95" y="363"/>
                  </a:cubicBezTo>
                  <a:cubicBezTo>
                    <a:pt x="96" y="364"/>
                    <a:pt x="96" y="364"/>
                    <a:pt x="96" y="364"/>
                  </a:cubicBezTo>
                  <a:cubicBezTo>
                    <a:pt x="96" y="364"/>
                    <a:pt x="96" y="364"/>
                    <a:pt x="96" y="364"/>
                  </a:cubicBezTo>
                  <a:cubicBezTo>
                    <a:pt x="96" y="364"/>
                    <a:pt x="96" y="364"/>
                    <a:pt x="96" y="364"/>
                  </a:cubicBezTo>
                  <a:cubicBezTo>
                    <a:pt x="97" y="364"/>
                    <a:pt x="97" y="364"/>
                    <a:pt x="97" y="364"/>
                  </a:cubicBezTo>
                  <a:cubicBezTo>
                    <a:pt x="97" y="364"/>
                    <a:pt x="97" y="364"/>
                    <a:pt x="97" y="364"/>
                  </a:cubicBezTo>
                  <a:cubicBezTo>
                    <a:pt x="97" y="364"/>
                    <a:pt x="97" y="364"/>
                    <a:pt x="97" y="364"/>
                  </a:cubicBezTo>
                  <a:cubicBezTo>
                    <a:pt x="97" y="363"/>
                    <a:pt x="97" y="363"/>
                    <a:pt x="97" y="363"/>
                  </a:cubicBezTo>
                  <a:cubicBezTo>
                    <a:pt x="97" y="363"/>
                    <a:pt x="97" y="363"/>
                    <a:pt x="97" y="363"/>
                  </a:cubicBezTo>
                  <a:cubicBezTo>
                    <a:pt x="97" y="363"/>
                    <a:pt x="97" y="363"/>
                    <a:pt x="97" y="363"/>
                  </a:cubicBezTo>
                  <a:cubicBezTo>
                    <a:pt x="98" y="363"/>
                    <a:pt x="98" y="363"/>
                    <a:pt x="98" y="363"/>
                  </a:cubicBezTo>
                  <a:cubicBezTo>
                    <a:pt x="98" y="363"/>
                    <a:pt x="98" y="363"/>
                    <a:pt x="98" y="363"/>
                  </a:cubicBezTo>
                  <a:cubicBezTo>
                    <a:pt x="98" y="363"/>
                    <a:pt x="98" y="363"/>
                    <a:pt x="98" y="363"/>
                  </a:cubicBezTo>
                  <a:cubicBezTo>
                    <a:pt x="98" y="362"/>
                    <a:pt x="98" y="362"/>
                    <a:pt x="98" y="362"/>
                  </a:cubicBezTo>
                  <a:cubicBezTo>
                    <a:pt x="99" y="362"/>
                    <a:pt x="99" y="362"/>
                    <a:pt x="99" y="362"/>
                  </a:cubicBezTo>
                  <a:cubicBezTo>
                    <a:pt x="99" y="362"/>
                    <a:pt x="99" y="362"/>
                    <a:pt x="99" y="362"/>
                  </a:cubicBezTo>
                  <a:cubicBezTo>
                    <a:pt x="100" y="362"/>
                    <a:pt x="100" y="362"/>
                    <a:pt x="100" y="362"/>
                  </a:cubicBezTo>
                  <a:cubicBezTo>
                    <a:pt x="101" y="362"/>
                    <a:pt x="101" y="362"/>
                    <a:pt x="101" y="362"/>
                  </a:cubicBezTo>
                  <a:cubicBezTo>
                    <a:pt x="101" y="362"/>
                    <a:pt x="101" y="362"/>
                    <a:pt x="101" y="362"/>
                  </a:cubicBezTo>
                  <a:cubicBezTo>
                    <a:pt x="101" y="362"/>
                    <a:pt x="101" y="362"/>
                    <a:pt x="101" y="362"/>
                  </a:cubicBezTo>
                  <a:cubicBezTo>
                    <a:pt x="101" y="363"/>
                    <a:pt x="101" y="363"/>
                    <a:pt x="101" y="363"/>
                  </a:cubicBezTo>
                  <a:cubicBezTo>
                    <a:pt x="102" y="363"/>
                    <a:pt x="102" y="363"/>
                    <a:pt x="102" y="363"/>
                  </a:cubicBezTo>
                  <a:cubicBezTo>
                    <a:pt x="102" y="363"/>
                    <a:pt x="102" y="363"/>
                    <a:pt x="102" y="363"/>
                  </a:cubicBezTo>
                  <a:cubicBezTo>
                    <a:pt x="102" y="363"/>
                    <a:pt x="102" y="363"/>
                    <a:pt x="102" y="363"/>
                  </a:cubicBezTo>
                  <a:cubicBezTo>
                    <a:pt x="102" y="363"/>
                    <a:pt x="102" y="363"/>
                    <a:pt x="102" y="363"/>
                  </a:cubicBezTo>
                  <a:cubicBezTo>
                    <a:pt x="102" y="363"/>
                    <a:pt x="102" y="363"/>
                    <a:pt x="102" y="363"/>
                  </a:cubicBezTo>
                  <a:cubicBezTo>
                    <a:pt x="103" y="364"/>
                    <a:pt x="103" y="364"/>
                    <a:pt x="103" y="364"/>
                  </a:cubicBezTo>
                  <a:cubicBezTo>
                    <a:pt x="103" y="364"/>
                    <a:pt x="103" y="364"/>
                    <a:pt x="103" y="364"/>
                  </a:cubicBezTo>
                  <a:cubicBezTo>
                    <a:pt x="103" y="364"/>
                    <a:pt x="103" y="364"/>
                    <a:pt x="103" y="364"/>
                  </a:cubicBezTo>
                  <a:cubicBezTo>
                    <a:pt x="104" y="364"/>
                    <a:pt x="104" y="364"/>
                    <a:pt x="104" y="364"/>
                  </a:cubicBezTo>
                  <a:cubicBezTo>
                    <a:pt x="104" y="364"/>
                    <a:pt x="104" y="364"/>
                    <a:pt x="104" y="364"/>
                  </a:cubicBezTo>
                  <a:cubicBezTo>
                    <a:pt x="105" y="363"/>
                    <a:pt x="105" y="363"/>
                    <a:pt x="105" y="363"/>
                  </a:cubicBezTo>
                  <a:cubicBezTo>
                    <a:pt x="105" y="363"/>
                    <a:pt x="105" y="363"/>
                    <a:pt x="105" y="363"/>
                  </a:cubicBezTo>
                  <a:cubicBezTo>
                    <a:pt x="105" y="363"/>
                    <a:pt x="105" y="363"/>
                    <a:pt x="105" y="363"/>
                  </a:cubicBezTo>
                  <a:cubicBezTo>
                    <a:pt x="105" y="362"/>
                    <a:pt x="105" y="362"/>
                    <a:pt x="105" y="362"/>
                  </a:cubicBezTo>
                  <a:cubicBezTo>
                    <a:pt x="105" y="362"/>
                    <a:pt x="105" y="362"/>
                    <a:pt x="105" y="362"/>
                  </a:cubicBezTo>
                  <a:cubicBezTo>
                    <a:pt x="106" y="362"/>
                    <a:pt x="106" y="362"/>
                    <a:pt x="106" y="362"/>
                  </a:cubicBezTo>
                  <a:cubicBezTo>
                    <a:pt x="107" y="361"/>
                    <a:pt x="107" y="361"/>
                    <a:pt x="107" y="361"/>
                  </a:cubicBezTo>
                  <a:cubicBezTo>
                    <a:pt x="110" y="359"/>
                    <a:pt x="110" y="359"/>
                    <a:pt x="110" y="359"/>
                  </a:cubicBezTo>
                  <a:cubicBezTo>
                    <a:pt x="110" y="359"/>
                    <a:pt x="110" y="359"/>
                    <a:pt x="110" y="359"/>
                  </a:cubicBezTo>
                  <a:cubicBezTo>
                    <a:pt x="110" y="358"/>
                    <a:pt x="110" y="358"/>
                    <a:pt x="110" y="358"/>
                  </a:cubicBezTo>
                  <a:cubicBezTo>
                    <a:pt x="114" y="357"/>
                    <a:pt x="114" y="357"/>
                    <a:pt x="114" y="357"/>
                  </a:cubicBezTo>
                  <a:cubicBezTo>
                    <a:pt x="114" y="357"/>
                    <a:pt x="114" y="357"/>
                    <a:pt x="114" y="357"/>
                  </a:cubicBezTo>
                  <a:cubicBezTo>
                    <a:pt x="114" y="357"/>
                    <a:pt x="114" y="357"/>
                    <a:pt x="114" y="357"/>
                  </a:cubicBezTo>
                  <a:cubicBezTo>
                    <a:pt x="115" y="356"/>
                    <a:pt x="115" y="356"/>
                    <a:pt x="115" y="356"/>
                  </a:cubicBezTo>
                  <a:cubicBezTo>
                    <a:pt x="115" y="356"/>
                    <a:pt x="115" y="356"/>
                    <a:pt x="115" y="356"/>
                  </a:cubicBezTo>
                  <a:cubicBezTo>
                    <a:pt x="117" y="356"/>
                    <a:pt x="117" y="356"/>
                    <a:pt x="117" y="356"/>
                  </a:cubicBezTo>
                  <a:cubicBezTo>
                    <a:pt x="118" y="355"/>
                    <a:pt x="118" y="355"/>
                    <a:pt x="118" y="355"/>
                  </a:cubicBezTo>
                  <a:cubicBezTo>
                    <a:pt x="118" y="355"/>
                    <a:pt x="118" y="355"/>
                    <a:pt x="118" y="355"/>
                  </a:cubicBezTo>
                  <a:cubicBezTo>
                    <a:pt x="118" y="355"/>
                    <a:pt x="118" y="355"/>
                    <a:pt x="118" y="355"/>
                  </a:cubicBezTo>
                  <a:cubicBezTo>
                    <a:pt x="118" y="355"/>
                    <a:pt x="118" y="355"/>
                    <a:pt x="118" y="355"/>
                  </a:cubicBezTo>
                  <a:cubicBezTo>
                    <a:pt x="119" y="355"/>
                    <a:pt x="119" y="355"/>
                    <a:pt x="119" y="355"/>
                  </a:cubicBezTo>
                  <a:cubicBezTo>
                    <a:pt x="119" y="355"/>
                    <a:pt x="119" y="355"/>
                    <a:pt x="119" y="355"/>
                  </a:cubicBezTo>
                  <a:cubicBezTo>
                    <a:pt x="119" y="355"/>
                    <a:pt x="119" y="355"/>
                    <a:pt x="119" y="355"/>
                  </a:cubicBezTo>
                  <a:cubicBezTo>
                    <a:pt x="119" y="355"/>
                    <a:pt x="119" y="355"/>
                    <a:pt x="119" y="355"/>
                  </a:cubicBezTo>
                  <a:cubicBezTo>
                    <a:pt x="120" y="355"/>
                    <a:pt x="120" y="355"/>
                    <a:pt x="120" y="355"/>
                  </a:cubicBezTo>
                  <a:cubicBezTo>
                    <a:pt x="120" y="355"/>
                    <a:pt x="120" y="355"/>
                    <a:pt x="120" y="355"/>
                  </a:cubicBezTo>
                  <a:cubicBezTo>
                    <a:pt x="121" y="356"/>
                    <a:pt x="121" y="356"/>
                    <a:pt x="121" y="356"/>
                  </a:cubicBezTo>
                  <a:cubicBezTo>
                    <a:pt x="122" y="355"/>
                    <a:pt x="122" y="355"/>
                    <a:pt x="122" y="355"/>
                  </a:cubicBezTo>
                  <a:cubicBezTo>
                    <a:pt x="123" y="356"/>
                    <a:pt x="123" y="356"/>
                    <a:pt x="123" y="356"/>
                  </a:cubicBezTo>
                  <a:cubicBezTo>
                    <a:pt x="123" y="356"/>
                    <a:pt x="123" y="356"/>
                    <a:pt x="123" y="356"/>
                  </a:cubicBezTo>
                  <a:cubicBezTo>
                    <a:pt x="123" y="357"/>
                    <a:pt x="123" y="359"/>
                    <a:pt x="123" y="361"/>
                  </a:cubicBezTo>
                  <a:cubicBezTo>
                    <a:pt x="123" y="361"/>
                    <a:pt x="124" y="362"/>
                    <a:pt x="125" y="362"/>
                  </a:cubicBezTo>
                  <a:cubicBezTo>
                    <a:pt x="125" y="362"/>
                    <a:pt x="125" y="362"/>
                    <a:pt x="125" y="362"/>
                  </a:cubicBezTo>
                  <a:cubicBezTo>
                    <a:pt x="125" y="362"/>
                    <a:pt x="125" y="362"/>
                    <a:pt x="125" y="362"/>
                  </a:cubicBezTo>
                  <a:cubicBezTo>
                    <a:pt x="125" y="362"/>
                    <a:pt x="125" y="362"/>
                    <a:pt x="125" y="362"/>
                  </a:cubicBezTo>
                  <a:cubicBezTo>
                    <a:pt x="125" y="362"/>
                    <a:pt x="125" y="362"/>
                    <a:pt x="125" y="362"/>
                  </a:cubicBezTo>
                  <a:cubicBezTo>
                    <a:pt x="125" y="362"/>
                    <a:pt x="125" y="362"/>
                    <a:pt x="125" y="362"/>
                  </a:cubicBezTo>
                  <a:cubicBezTo>
                    <a:pt x="125" y="362"/>
                    <a:pt x="125" y="362"/>
                    <a:pt x="125" y="362"/>
                  </a:cubicBezTo>
                  <a:cubicBezTo>
                    <a:pt x="126" y="361"/>
                    <a:pt x="126" y="361"/>
                    <a:pt x="126" y="361"/>
                  </a:cubicBezTo>
                  <a:cubicBezTo>
                    <a:pt x="127" y="361"/>
                    <a:pt x="127" y="361"/>
                    <a:pt x="127" y="361"/>
                  </a:cubicBezTo>
                  <a:cubicBezTo>
                    <a:pt x="127" y="361"/>
                    <a:pt x="127" y="361"/>
                    <a:pt x="127" y="361"/>
                  </a:cubicBezTo>
                  <a:cubicBezTo>
                    <a:pt x="127" y="360"/>
                    <a:pt x="127" y="360"/>
                    <a:pt x="127" y="360"/>
                  </a:cubicBezTo>
                  <a:cubicBezTo>
                    <a:pt x="127" y="360"/>
                    <a:pt x="127" y="360"/>
                    <a:pt x="127" y="360"/>
                  </a:cubicBezTo>
                  <a:cubicBezTo>
                    <a:pt x="128" y="360"/>
                    <a:pt x="128" y="360"/>
                    <a:pt x="128" y="360"/>
                  </a:cubicBezTo>
                  <a:cubicBezTo>
                    <a:pt x="129" y="359"/>
                    <a:pt x="129" y="359"/>
                    <a:pt x="129" y="359"/>
                  </a:cubicBezTo>
                  <a:cubicBezTo>
                    <a:pt x="130" y="359"/>
                    <a:pt x="130" y="359"/>
                    <a:pt x="130" y="359"/>
                  </a:cubicBezTo>
                  <a:cubicBezTo>
                    <a:pt x="130" y="359"/>
                    <a:pt x="130" y="359"/>
                    <a:pt x="130" y="359"/>
                  </a:cubicBezTo>
                  <a:cubicBezTo>
                    <a:pt x="130" y="359"/>
                    <a:pt x="130" y="359"/>
                    <a:pt x="130" y="359"/>
                  </a:cubicBezTo>
                  <a:cubicBezTo>
                    <a:pt x="130" y="359"/>
                    <a:pt x="130" y="359"/>
                    <a:pt x="130" y="359"/>
                  </a:cubicBezTo>
                  <a:cubicBezTo>
                    <a:pt x="129" y="358"/>
                    <a:pt x="129" y="358"/>
                    <a:pt x="129" y="358"/>
                  </a:cubicBezTo>
                  <a:cubicBezTo>
                    <a:pt x="129" y="358"/>
                    <a:pt x="129" y="358"/>
                    <a:pt x="129" y="358"/>
                  </a:cubicBezTo>
                  <a:cubicBezTo>
                    <a:pt x="129" y="357"/>
                    <a:pt x="129" y="357"/>
                    <a:pt x="129" y="357"/>
                  </a:cubicBezTo>
                  <a:cubicBezTo>
                    <a:pt x="129" y="357"/>
                    <a:pt x="129" y="357"/>
                    <a:pt x="129" y="357"/>
                  </a:cubicBezTo>
                  <a:cubicBezTo>
                    <a:pt x="128" y="357"/>
                    <a:pt x="128" y="357"/>
                    <a:pt x="128" y="357"/>
                  </a:cubicBezTo>
                  <a:cubicBezTo>
                    <a:pt x="128" y="357"/>
                    <a:pt x="128" y="357"/>
                    <a:pt x="128" y="357"/>
                  </a:cubicBezTo>
                  <a:cubicBezTo>
                    <a:pt x="128" y="357"/>
                    <a:pt x="128" y="357"/>
                    <a:pt x="128" y="357"/>
                  </a:cubicBezTo>
                  <a:cubicBezTo>
                    <a:pt x="128" y="357"/>
                    <a:pt x="128" y="357"/>
                    <a:pt x="128" y="357"/>
                  </a:cubicBezTo>
                  <a:cubicBezTo>
                    <a:pt x="127" y="357"/>
                    <a:pt x="127" y="357"/>
                    <a:pt x="127" y="357"/>
                  </a:cubicBezTo>
                  <a:cubicBezTo>
                    <a:pt x="127" y="357"/>
                    <a:pt x="127" y="357"/>
                    <a:pt x="127" y="357"/>
                  </a:cubicBezTo>
                  <a:cubicBezTo>
                    <a:pt x="125" y="357"/>
                    <a:pt x="125" y="357"/>
                    <a:pt x="125" y="357"/>
                  </a:cubicBezTo>
                  <a:cubicBezTo>
                    <a:pt x="124" y="357"/>
                    <a:pt x="124" y="357"/>
                    <a:pt x="124" y="357"/>
                  </a:cubicBezTo>
                  <a:cubicBezTo>
                    <a:pt x="124" y="357"/>
                    <a:pt x="124" y="357"/>
                    <a:pt x="124" y="357"/>
                  </a:cubicBezTo>
                  <a:cubicBezTo>
                    <a:pt x="124" y="357"/>
                    <a:pt x="124" y="357"/>
                    <a:pt x="124" y="357"/>
                  </a:cubicBezTo>
                  <a:cubicBezTo>
                    <a:pt x="123" y="356"/>
                    <a:pt x="123" y="356"/>
                    <a:pt x="123" y="356"/>
                  </a:cubicBezTo>
                  <a:cubicBezTo>
                    <a:pt x="123" y="356"/>
                    <a:pt x="123" y="356"/>
                    <a:pt x="123" y="356"/>
                  </a:cubicBezTo>
                  <a:cubicBezTo>
                    <a:pt x="123" y="356"/>
                    <a:pt x="123" y="356"/>
                    <a:pt x="123" y="356"/>
                  </a:cubicBezTo>
                  <a:cubicBezTo>
                    <a:pt x="123" y="356"/>
                    <a:pt x="123" y="356"/>
                    <a:pt x="123" y="356"/>
                  </a:cubicBezTo>
                  <a:cubicBezTo>
                    <a:pt x="124" y="356"/>
                    <a:pt x="124" y="356"/>
                    <a:pt x="124" y="356"/>
                  </a:cubicBezTo>
                  <a:cubicBezTo>
                    <a:pt x="124" y="356"/>
                    <a:pt x="124" y="356"/>
                    <a:pt x="124" y="356"/>
                  </a:cubicBezTo>
                  <a:cubicBezTo>
                    <a:pt x="124" y="356"/>
                    <a:pt x="124" y="356"/>
                    <a:pt x="124" y="356"/>
                  </a:cubicBezTo>
                  <a:cubicBezTo>
                    <a:pt x="125" y="356"/>
                    <a:pt x="125" y="356"/>
                    <a:pt x="125" y="356"/>
                  </a:cubicBezTo>
                  <a:cubicBezTo>
                    <a:pt x="126" y="356"/>
                    <a:pt x="126" y="356"/>
                    <a:pt x="126" y="356"/>
                  </a:cubicBezTo>
                  <a:cubicBezTo>
                    <a:pt x="126" y="356"/>
                    <a:pt x="126" y="356"/>
                    <a:pt x="126" y="356"/>
                  </a:cubicBezTo>
                  <a:cubicBezTo>
                    <a:pt x="126" y="356"/>
                    <a:pt x="126" y="356"/>
                    <a:pt x="126" y="356"/>
                  </a:cubicBezTo>
                  <a:cubicBezTo>
                    <a:pt x="126" y="356"/>
                    <a:pt x="126" y="356"/>
                    <a:pt x="126" y="356"/>
                  </a:cubicBezTo>
                  <a:cubicBezTo>
                    <a:pt x="127" y="356"/>
                    <a:pt x="127" y="356"/>
                    <a:pt x="127" y="356"/>
                  </a:cubicBezTo>
                  <a:cubicBezTo>
                    <a:pt x="127" y="356"/>
                    <a:pt x="127" y="356"/>
                    <a:pt x="127" y="356"/>
                  </a:cubicBezTo>
                  <a:cubicBezTo>
                    <a:pt x="127" y="356"/>
                    <a:pt x="127" y="356"/>
                    <a:pt x="127" y="356"/>
                  </a:cubicBezTo>
                  <a:cubicBezTo>
                    <a:pt x="128" y="356"/>
                    <a:pt x="128" y="356"/>
                    <a:pt x="128" y="356"/>
                  </a:cubicBezTo>
                  <a:cubicBezTo>
                    <a:pt x="129" y="356"/>
                    <a:pt x="129" y="356"/>
                    <a:pt x="129" y="356"/>
                  </a:cubicBezTo>
                  <a:cubicBezTo>
                    <a:pt x="129" y="356"/>
                    <a:pt x="129" y="356"/>
                    <a:pt x="129" y="356"/>
                  </a:cubicBezTo>
                  <a:cubicBezTo>
                    <a:pt x="129" y="356"/>
                    <a:pt x="129" y="356"/>
                    <a:pt x="129" y="356"/>
                  </a:cubicBezTo>
                  <a:cubicBezTo>
                    <a:pt x="129" y="355"/>
                    <a:pt x="129" y="355"/>
                    <a:pt x="129" y="355"/>
                  </a:cubicBezTo>
                  <a:cubicBezTo>
                    <a:pt x="129" y="355"/>
                    <a:pt x="129" y="355"/>
                    <a:pt x="129" y="355"/>
                  </a:cubicBezTo>
                  <a:cubicBezTo>
                    <a:pt x="129" y="355"/>
                    <a:pt x="129" y="355"/>
                    <a:pt x="129" y="355"/>
                  </a:cubicBezTo>
                  <a:cubicBezTo>
                    <a:pt x="130" y="355"/>
                    <a:pt x="130" y="355"/>
                    <a:pt x="130" y="355"/>
                  </a:cubicBezTo>
                  <a:cubicBezTo>
                    <a:pt x="130" y="355"/>
                    <a:pt x="130" y="355"/>
                    <a:pt x="130" y="355"/>
                  </a:cubicBezTo>
                  <a:cubicBezTo>
                    <a:pt x="130" y="354"/>
                    <a:pt x="130" y="354"/>
                    <a:pt x="130" y="354"/>
                  </a:cubicBezTo>
                  <a:cubicBezTo>
                    <a:pt x="130" y="354"/>
                    <a:pt x="130" y="354"/>
                    <a:pt x="130" y="354"/>
                  </a:cubicBezTo>
                  <a:cubicBezTo>
                    <a:pt x="131" y="352"/>
                    <a:pt x="131" y="352"/>
                    <a:pt x="131" y="352"/>
                  </a:cubicBezTo>
                  <a:cubicBezTo>
                    <a:pt x="132" y="351"/>
                    <a:pt x="132" y="351"/>
                    <a:pt x="132" y="351"/>
                  </a:cubicBezTo>
                  <a:cubicBezTo>
                    <a:pt x="134" y="350"/>
                    <a:pt x="134" y="350"/>
                    <a:pt x="134" y="350"/>
                  </a:cubicBezTo>
                  <a:cubicBezTo>
                    <a:pt x="135" y="349"/>
                    <a:pt x="135" y="349"/>
                    <a:pt x="135" y="349"/>
                  </a:cubicBezTo>
                  <a:cubicBezTo>
                    <a:pt x="136" y="348"/>
                    <a:pt x="136" y="348"/>
                    <a:pt x="136" y="348"/>
                  </a:cubicBezTo>
                  <a:cubicBezTo>
                    <a:pt x="136" y="347"/>
                    <a:pt x="136" y="347"/>
                    <a:pt x="136" y="347"/>
                  </a:cubicBezTo>
                  <a:cubicBezTo>
                    <a:pt x="136" y="347"/>
                    <a:pt x="136" y="347"/>
                    <a:pt x="136" y="347"/>
                  </a:cubicBezTo>
                  <a:cubicBezTo>
                    <a:pt x="136" y="346"/>
                    <a:pt x="136" y="346"/>
                    <a:pt x="136" y="346"/>
                  </a:cubicBezTo>
                  <a:cubicBezTo>
                    <a:pt x="137" y="345"/>
                    <a:pt x="137" y="345"/>
                    <a:pt x="137" y="345"/>
                  </a:cubicBezTo>
                  <a:cubicBezTo>
                    <a:pt x="137" y="344"/>
                    <a:pt x="137" y="344"/>
                    <a:pt x="137" y="344"/>
                  </a:cubicBezTo>
                  <a:cubicBezTo>
                    <a:pt x="137" y="343"/>
                    <a:pt x="137" y="343"/>
                    <a:pt x="137" y="343"/>
                  </a:cubicBezTo>
                  <a:cubicBezTo>
                    <a:pt x="137" y="343"/>
                    <a:pt x="137" y="343"/>
                    <a:pt x="137" y="343"/>
                  </a:cubicBezTo>
                  <a:cubicBezTo>
                    <a:pt x="137" y="342"/>
                    <a:pt x="137" y="342"/>
                    <a:pt x="137" y="342"/>
                  </a:cubicBezTo>
                  <a:cubicBezTo>
                    <a:pt x="137" y="342"/>
                    <a:pt x="137" y="342"/>
                    <a:pt x="137" y="342"/>
                  </a:cubicBezTo>
                  <a:cubicBezTo>
                    <a:pt x="138" y="341"/>
                    <a:pt x="138" y="341"/>
                    <a:pt x="138" y="341"/>
                  </a:cubicBezTo>
                  <a:cubicBezTo>
                    <a:pt x="138" y="341"/>
                    <a:pt x="138" y="341"/>
                    <a:pt x="138" y="341"/>
                  </a:cubicBezTo>
                  <a:cubicBezTo>
                    <a:pt x="139" y="341"/>
                    <a:pt x="139" y="341"/>
                    <a:pt x="139" y="341"/>
                  </a:cubicBezTo>
                  <a:cubicBezTo>
                    <a:pt x="139" y="340"/>
                    <a:pt x="139" y="340"/>
                    <a:pt x="139" y="340"/>
                  </a:cubicBezTo>
                  <a:cubicBezTo>
                    <a:pt x="139" y="339"/>
                    <a:pt x="139" y="339"/>
                    <a:pt x="139" y="339"/>
                  </a:cubicBezTo>
                  <a:cubicBezTo>
                    <a:pt x="139" y="339"/>
                    <a:pt x="139" y="339"/>
                    <a:pt x="139" y="339"/>
                  </a:cubicBezTo>
                  <a:cubicBezTo>
                    <a:pt x="140" y="338"/>
                    <a:pt x="140" y="338"/>
                    <a:pt x="140" y="338"/>
                  </a:cubicBezTo>
                  <a:cubicBezTo>
                    <a:pt x="141" y="337"/>
                    <a:pt x="141" y="337"/>
                    <a:pt x="141" y="337"/>
                  </a:cubicBezTo>
                  <a:cubicBezTo>
                    <a:pt x="142" y="336"/>
                    <a:pt x="142" y="336"/>
                    <a:pt x="142" y="336"/>
                  </a:cubicBezTo>
                  <a:cubicBezTo>
                    <a:pt x="142" y="336"/>
                    <a:pt x="142" y="336"/>
                    <a:pt x="142" y="336"/>
                  </a:cubicBezTo>
                  <a:cubicBezTo>
                    <a:pt x="143" y="336"/>
                    <a:pt x="143" y="336"/>
                    <a:pt x="143" y="336"/>
                  </a:cubicBezTo>
                  <a:cubicBezTo>
                    <a:pt x="143" y="336"/>
                    <a:pt x="143" y="336"/>
                    <a:pt x="143" y="336"/>
                  </a:cubicBezTo>
                  <a:cubicBezTo>
                    <a:pt x="144" y="335"/>
                    <a:pt x="144" y="335"/>
                    <a:pt x="144" y="335"/>
                  </a:cubicBezTo>
                  <a:cubicBezTo>
                    <a:pt x="145" y="333"/>
                    <a:pt x="145" y="333"/>
                    <a:pt x="145" y="333"/>
                  </a:cubicBezTo>
                  <a:cubicBezTo>
                    <a:pt x="145" y="333"/>
                    <a:pt x="145" y="333"/>
                    <a:pt x="145" y="333"/>
                  </a:cubicBezTo>
                  <a:cubicBezTo>
                    <a:pt x="146" y="332"/>
                    <a:pt x="146" y="332"/>
                    <a:pt x="146" y="332"/>
                  </a:cubicBezTo>
                  <a:cubicBezTo>
                    <a:pt x="146" y="332"/>
                    <a:pt x="146" y="332"/>
                    <a:pt x="146" y="332"/>
                  </a:cubicBezTo>
                  <a:cubicBezTo>
                    <a:pt x="147" y="332"/>
                    <a:pt x="147" y="332"/>
                    <a:pt x="147" y="332"/>
                  </a:cubicBezTo>
                  <a:cubicBezTo>
                    <a:pt x="147" y="331"/>
                    <a:pt x="147" y="331"/>
                    <a:pt x="147" y="331"/>
                  </a:cubicBezTo>
                  <a:cubicBezTo>
                    <a:pt x="148" y="331"/>
                    <a:pt x="148" y="331"/>
                    <a:pt x="148" y="331"/>
                  </a:cubicBezTo>
                  <a:cubicBezTo>
                    <a:pt x="148" y="331"/>
                    <a:pt x="148" y="331"/>
                    <a:pt x="148" y="331"/>
                  </a:cubicBezTo>
                  <a:cubicBezTo>
                    <a:pt x="148" y="330"/>
                    <a:pt x="148" y="330"/>
                    <a:pt x="148" y="330"/>
                  </a:cubicBezTo>
                  <a:cubicBezTo>
                    <a:pt x="148" y="329"/>
                    <a:pt x="148" y="329"/>
                    <a:pt x="148" y="329"/>
                  </a:cubicBezTo>
                  <a:cubicBezTo>
                    <a:pt x="148" y="329"/>
                    <a:pt x="148" y="329"/>
                    <a:pt x="148" y="329"/>
                  </a:cubicBezTo>
                  <a:cubicBezTo>
                    <a:pt x="149" y="328"/>
                    <a:pt x="149" y="328"/>
                    <a:pt x="149" y="328"/>
                  </a:cubicBezTo>
                  <a:cubicBezTo>
                    <a:pt x="150" y="328"/>
                    <a:pt x="150" y="328"/>
                    <a:pt x="150" y="328"/>
                  </a:cubicBezTo>
                  <a:cubicBezTo>
                    <a:pt x="150" y="327"/>
                    <a:pt x="150" y="327"/>
                    <a:pt x="150" y="327"/>
                  </a:cubicBezTo>
                  <a:cubicBezTo>
                    <a:pt x="151" y="327"/>
                    <a:pt x="151" y="327"/>
                    <a:pt x="151" y="327"/>
                  </a:cubicBezTo>
                  <a:cubicBezTo>
                    <a:pt x="152" y="325"/>
                    <a:pt x="152" y="325"/>
                    <a:pt x="152" y="325"/>
                  </a:cubicBezTo>
                  <a:cubicBezTo>
                    <a:pt x="152" y="325"/>
                    <a:pt x="152" y="325"/>
                    <a:pt x="152" y="325"/>
                  </a:cubicBezTo>
                  <a:cubicBezTo>
                    <a:pt x="152" y="325"/>
                    <a:pt x="152" y="325"/>
                    <a:pt x="152" y="325"/>
                  </a:cubicBezTo>
                  <a:cubicBezTo>
                    <a:pt x="152" y="325"/>
                    <a:pt x="152" y="325"/>
                    <a:pt x="152" y="325"/>
                  </a:cubicBezTo>
                  <a:cubicBezTo>
                    <a:pt x="153" y="325"/>
                    <a:pt x="153" y="325"/>
                    <a:pt x="153" y="325"/>
                  </a:cubicBezTo>
                  <a:cubicBezTo>
                    <a:pt x="153" y="325"/>
                    <a:pt x="153" y="325"/>
                    <a:pt x="153" y="325"/>
                  </a:cubicBezTo>
                  <a:cubicBezTo>
                    <a:pt x="153" y="325"/>
                    <a:pt x="153" y="325"/>
                    <a:pt x="153" y="325"/>
                  </a:cubicBezTo>
                  <a:cubicBezTo>
                    <a:pt x="154" y="325"/>
                    <a:pt x="154" y="325"/>
                    <a:pt x="154" y="325"/>
                  </a:cubicBezTo>
                  <a:cubicBezTo>
                    <a:pt x="154" y="325"/>
                    <a:pt x="154" y="325"/>
                    <a:pt x="154" y="325"/>
                  </a:cubicBezTo>
                  <a:cubicBezTo>
                    <a:pt x="155" y="324"/>
                    <a:pt x="155" y="324"/>
                    <a:pt x="155" y="324"/>
                  </a:cubicBezTo>
                  <a:cubicBezTo>
                    <a:pt x="155" y="324"/>
                    <a:pt x="155" y="324"/>
                    <a:pt x="155" y="324"/>
                  </a:cubicBezTo>
                  <a:cubicBezTo>
                    <a:pt x="156" y="323"/>
                    <a:pt x="156" y="323"/>
                    <a:pt x="156" y="323"/>
                  </a:cubicBezTo>
                  <a:cubicBezTo>
                    <a:pt x="157" y="323"/>
                    <a:pt x="157" y="323"/>
                    <a:pt x="157" y="323"/>
                  </a:cubicBezTo>
                  <a:cubicBezTo>
                    <a:pt x="158" y="322"/>
                    <a:pt x="158" y="322"/>
                    <a:pt x="158" y="322"/>
                  </a:cubicBezTo>
                  <a:cubicBezTo>
                    <a:pt x="159" y="322"/>
                    <a:pt x="159" y="322"/>
                    <a:pt x="159" y="322"/>
                  </a:cubicBezTo>
                  <a:cubicBezTo>
                    <a:pt x="159" y="322"/>
                    <a:pt x="159" y="322"/>
                    <a:pt x="159" y="322"/>
                  </a:cubicBezTo>
                  <a:cubicBezTo>
                    <a:pt x="159" y="322"/>
                    <a:pt x="159" y="322"/>
                    <a:pt x="159" y="322"/>
                  </a:cubicBezTo>
                  <a:cubicBezTo>
                    <a:pt x="160" y="321"/>
                    <a:pt x="160" y="321"/>
                    <a:pt x="160" y="321"/>
                  </a:cubicBezTo>
                  <a:cubicBezTo>
                    <a:pt x="160" y="321"/>
                    <a:pt x="160" y="321"/>
                    <a:pt x="160" y="321"/>
                  </a:cubicBezTo>
                  <a:cubicBezTo>
                    <a:pt x="160" y="321"/>
                    <a:pt x="160" y="321"/>
                    <a:pt x="160" y="321"/>
                  </a:cubicBezTo>
                  <a:cubicBezTo>
                    <a:pt x="160" y="321"/>
                    <a:pt x="160" y="321"/>
                    <a:pt x="160" y="321"/>
                  </a:cubicBezTo>
                  <a:cubicBezTo>
                    <a:pt x="160" y="320"/>
                    <a:pt x="160" y="320"/>
                    <a:pt x="160" y="320"/>
                  </a:cubicBezTo>
                  <a:cubicBezTo>
                    <a:pt x="160" y="320"/>
                    <a:pt x="160" y="320"/>
                    <a:pt x="160" y="320"/>
                  </a:cubicBezTo>
                  <a:cubicBezTo>
                    <a:pt x="162" y="316"/>
                    <a:pt x="162" y="316"/>
                    <a:pt x="162" y="316"/>
                  </a:cubicBezTo>
                  <a:cubicBezTo>
                    <a:pt x="163" y="315"/>
                    <a:pt x="163" y="315"/>
                    <a:pt x="163" y="315"/>
                  </a:cubicBezTo>
                  <a:cubicBezTo>
                    <a:pt x="164" y="314"/>
                    <a:pt x="164" y="314"/>
                    <a:pt x="164" y="314"/>
                  </a:cubicBezTo>
                  <a:cubicBezTo>
                    <a:pt x="165" y="313"/>
                    <a:pt x="165" y="313"/>
                    <a:pt x="165" y="313"/>
                  </a:cubicBezTo>
                  <a:cubicBezTo>
                    <a:pt x="165" y="313"/>
                    <a:pt x="165" y="313"/>
                    <a:pt x="165" y="313"/>
                  </a:cubicBezTo>
                  <a:cubicBezTo>
                    <a:pt x="165" y="312"/>
                    <a:pt x="165" y="312"/>
                    <a:pt x="165" y="312"/>
                  </a:cubicBezTo>
                  <a:cubicBezTo>
                    <a:pt x="165" y="310"/>
                    <a:pt x="165" y="310"/>
                    <a:pt x="165" y="310"/>
                  </a:cubicBezTo>
                  <a:cubicBezTo>
                    <a:pt x="166" y="310"/>
                    <a:pt x="166" y="310"/>
                    <a:pt x="166" y="310"/>
                  </a:cubicBezTo>
                  <a:cubicBezTo>
                    <a:pt x="166" y="310"/>
                    <a:pt x="166" y="310"/>
                    <a:pt x="166" y="310"/>
                  </a:cubicBezTo>
                  <a:cubicBezTo>
                    <a:pt x="166" y="309"/>
                    <a:pt x="166" y="309"/>
                    <a:pt x="166" y="309"/>
                  </a:cubicBezTo>
                  <a:cubicBezTo>
                    <a:pt x="166" y="308"/>
                    <a:pt x="166" y="308"/>
                    <a:pt x="166" y="308"/>
                  </a:cubicBezTo>
                  <a:cubicBezTo>
                    <a:pt x="166" y="307"/>
                    <a:pt x="166" y="307"/>
                    <a:pt x="166" y="307"/>
                  </a:cubicBezTo>
                  <a:cubicBezTo>
                    <a:pt x="166" y="307"/>
                    <a:pt x="166" y="307"/>
                    <a:pt x="166" y="307"/>
                  </a:cubicBezTo>
                  <a:cubicBezTo>
                    <a:pt x="166" y="307"/>
                    <a:pt x="166" y="307"/>
                    <a:pt x="166" y="307"/>
                  </a:cubicBezTo>
                  <a:cubicBezTo>
                    <a:pt x="166" y="306"/>
                    <a:pt x="166" y="306"/>
                    <a:pt x="166" y="306"/>
                  </a:cubicBezTo>
                  <a:cubicBezTo>
                    <a:pt x="166" y="306"/>
                    <a:pt x="166" y="306"/>
                    <a:pt x="166" y="306"/>
                  </a:cubicBezTo>
                  <a:cubicBezTo>
                    <a:pt x="166" y="306"/>
                    <a:pt x="166" y="306"/>
                    <a:pt x="166" y="306"/>
                  </a:cubicBezTo>
                  <a:cubicBezTo>
                    <a:pt x="167" y="306"/>
                    <a:pt x="167" y="306"/>
                    <a:pt x="167" y="306"/>
                  </a:cubicBezTo>
                  <a:cubicBezTo>
                    <a:pt x="167" y="306"/>
                    <a:pt x="167" y="306"/>
                    <a:pt x="167" y="306"/>
                  </a:cubicBezTo>
                  <a:cubicBezTo>
                    <a:pt x="167" y="305"/>
                    <a:pt x="167" y="305"/>
                    <a:pt x="167" y="305"/>
                  </a:cubicBezTo>
                  <a:cubicBezTo>
                    <a:pt x="167" y="305"/>
                    <a:pt x="167" y="305"/>
                    <a:pt x="167" y="305"/>
                  </a:cubicBezTo>
                  <a:cubicBezTo>
                    <a:pt x="168" y="305"/>
                    <a:pt x="168" y="305"/>
                    <a:pt x="168" y="305"/>
                  </a:cubicBezTo>
                  <a:cubicBezTo>
                    <a:pt x="168" y="304"/>
                    <a:pt x="168" y="304"/>
                    <a:pt x="168" y="304"/>
                  </a:cubicBezTo>
                  <a:cubicBezTo>
                    <a:pt x="169" y="304"/>
                    <a:pt x="169" y="304"/>
                    <a:pt x="169" y="304"/>
                  </a:cubicBezTo>
                  <a:cubicBezTo>
                    <a:pt x="169" y="304"/>
                    <a:pt x="169" y="304"/>
                    <a:pt x="169" y="304"/>
                  </a:cubicBezTo>
                  <a:cubicBezTo>
                    <a:pt x="169" y="304"/>
                    <a:pt x="169" y="304"/>
                    <a:pt x="169" y="304"/>
                  </a:cubicBezTo>
                  <a:cubicBezTo>
                    <a:pt x="169" y="304"/>
                    <a:pt x="169" y="304"/>
                    <a:pt x="169" y="304"/>
                  </a:cubicBezTo>
                  <a:cubicBezTo>
                    <a:pt x="169" y="303"/>
                    <a:pt x="169" y="303"/>
                    <a:pt x="169" y="303"/>
                  </a:cubicBezTo>
                  <a:cubicBezTo>
                    <a:pt x="169" y="303"/>
                    <a:pt x="169" y="303"/>
                    <a:pt x="169" y="303"/>
                  </a:cubicBezTo>
                  <a:cubicBezTo>
                    <a:pt x="169" y="303"/>
                    <a:pt x="169" y="303"/>
                    <a:pt x="169" y="303"/>
                  </a:cubicBezTo>
                  <a:cubicBezTo>
                    <a:pt x="169" y="302"/>
                    <a:pt x="169" y="302"/>
                    <a:pt x="169" y="302"/>
                  </a:cubicBezTo>
                  <a:cubicBezTo>
                    <a:pt x="169" y="302"/>
                    <a:pt x="169" y="302"/>
                    <a:pt x="169" y="302"/>
                  </a:cubicBezTo>
                  <a:cubicBezTo>
                    <a:pt x="169" y="302"/>
                    <a:pt x="169" y="302"/>
                    <a:pt x="169" y="302"/>
                  </a:cubicBezTo>
                  <a:cubicBezTo>
                    <a:pt x="169" y="301"/>
                    <a:pt x="169" y="301"/>
                    <a:pt x="169" y="301"/>
                  </a:cubicBezTo>
                  <a:cubicBezTo>
                    <a:pt x="169" y="301"/>
                    <a:pt x="169" y="301"/>
                    <a:pt x="169" y="301"/>
                  </a:cubicBezTo>
                  <a:cubicBezTo>
                    <a:pt x="170" y="301"/>
                    <a:pt x="170" y="301"/>
                    <a:pt x="170" y="301"/>
                  </a:cubicBezTo>
                  <a:cubicBezTo>
                    <a:pt x="170" y="300"/>
                    <a:pt x="170" y="300"/>
                    <a:pt x="170" y="300"/>
                  </a:cubicBezTo>
                  <a:cubicBezTo>
                    <a:pt x="170" y="300"/>
                    <a:pt x="170" y="300"/>
                    <a:pt x="170" y="300"/>
                  </a:cubicBezTo>
                  <a:cubicBezTo>
                    <a:pt x="170" y="300"/>
                    <a:pt x="170" y="300"/>
                    <a:pt x="170" y="300"/>
                  </a:cubicBezTo>
                  <a:cubicBezTo>
                    <a:pt x="170" y="300"/>
                    <a:pt x="170" y="300"/>
                    <a:pt x="170" y="300"/>
                  </a:cubicBezTo>
                  <a:cubicBezTo>
                    <a:pt x="170" y="300"/>
                    <a:pt x="170" y="300"/>
                    <a:pt x="170" y="300"/>
                  </a:cubicBezTo>
                  <a:cubicBezTo>
                    <a:pt x="170" y="300"/>
                    <a:pt x="170" y="300"/>
                    <a:pt x="170" y="300"/>
                  </a:cubicBezTo>
                  <a:cubicBezTo>
                    <a:pt x="170" y="299"/>
                    <a:pt x="170" y="299"/>
                    <a:pt x="170" y="299"/>
                  </a:cubicBezTo>
                  <a:cubicBezTo>
                    <a:pt x="171" y="299"/>
                    <a:pt x="171" y="299"/>
                    <a:pt x="171" y="299"/>
                  </a:cubicBezTo>
                  <a:cubicBezTo>
                    <a:pt x="171" y="299"/>
                    <a:pt x="171" y="299"/>
                    <a:pt x="171" y="299"/>
                  </a:cubicBezTo>
                  <a:cubicBezTo>
                    <a:pt x="171" y="298"/>
                    <a:pt x="171" y="298"/>
                    <a:pt x="171" y="298"/>
                  </a:cubicBezTo>
                  <a:cubicBezTo>
                    <a:pt x="171" y="298"/>
                    <a:pt x="171" y="298"/>
                    <a:pt x="171" y="298"/>
                  </a:cubicBezTo>
                  <a:cubicBezTo>
                    <a:pt x="172" y="297"/>
                    <a:pt x="172" y="297"/>
                    <a:pt x="172" y="297"/>
                  </a:cubicBezTo>
                  <a:cubicBezTo>
                    <a:pt x="172" y="297"/>
                    <a:pt x="172" y="297"/>
                    <a:pt x="172" y="297"/>
                  </a:cubicBezTo>
                  <a:cubicBezTo>
                    <a:pt x="172" y="297"/>
                    <a:pt x="172" y="297"/>
                    <a:pt x="172" y="297"/>
                  </a:cubicBezTo>
                  <a:cubicBezTo>
                    <a:pt x="172" y="296"/>
                    <a:pt x="172" y="296"/>
                    <a:pt x="172" y="296"/>
                  </a:cubicBezTo>
                  <a:cubicBezTo>
                    <a:pt x="172" y="295"/>
                    <a:pt x="172" y="295"/>
                    <a:pt x="172" y="295"/>
                  </a:cubicBezTo>
                  <a:cubicBezTo>
                    <a:pt x="172" y="294"/>
                    <a:pt x="172" y="294"/>
                    <a:pt x="172" y="294"/>
                  </a:cubicBezTo>
                  <a:cubicBezTo>
                    <a:pt x="172" y="294"/>
                    <a:pt x="172" y="294"/>
                    <a:pt x="172" y="294"/>
                  </a:cubicBezTo>
                  <a:cubicBezTo>
                    <a:pt x="172" y="293"/>
                    <a:pt x="172" y="293"/>
                    <a:pt x="172" y="293"/>
                  </a:cubicBezTo>
                  <a:cubicBezTo>
                    <a:pt x="172" y="293"/>
                    <a:pt x="172" y="293"/>
                    <a:pt x="172" y="293"/>
                  </a:cubicBezTo>
                  <a:cubicBezTo>
                    <a:pt x="172" y="293"/>
                    <a:pt x="172" y="293"/>
                    <a:pt x="172" y="293"/>
                  </a:cubicBezTo>
                  <a:cubicBezTo>
                    <a:pt x="172" y="293"/>
                    <a:pt x="172" y="293"/>
                    <a:pt x="172" y="293"/>
                  </a:cubicBezTo>
                  <a:cubicBezTo>
                    <a:pt x="172" y="293"/>
                    <a:pt x="172" y="293"/>
                    <a:pt x="172" y="293"/>
                  </a:cubicBezTo>
                  <a:cubicBezTo>
                    <a:pt x="172" y="292"/>
                    <a:pt x="172" y="292"/>
                    <a:pt x="172" y="292"/>
                  </a:cubicBezTo>
                  <a:cubicBezTo>
                    <a:pt x="172" y="292"/>
                    <a:pt x="172" y="292"/>
                    <a:pt x="172" y="292"/>
                  </a:cubicBezTo>
                  <a:cubicBezTo>
                    <a:pt x="172" y="292"/>
                    <a:pt x="172" y="292"/>
                    <a:pt x="172" y="292"/>
                  </a:cubicBezTo>
                  <a:cubicBezTo>
                    <a:pt x="172" y="291"/>
                    <a:pt x="172" y="291"/>
                    <a:pt x="172" y="291"/>
                  </a:cubicBezTo>
                  <a:cubicBezTo>
                    <a:pt x="172" y="291"/>
                    <a:pt x="172" y="291"/>
                    <a:pt x="172" y="291"/>
                  </a:cubicBezTo>
                  <a:cubicBezTo>
                    <a:pt x="173" y="290"/>
                    <a:pt x="173" y="290"/>
                    <a:pt x="173" y="290"/>
                  </a:cubicBezTo>
                  <a:cubicBezTo>
                    <a:pt x="172" y="289"/>
                    <a:pt x="172" y="289"/>
                    <a:pt x="172" y="289"/>
                  </a:cubicBezTo>
                  <a:cubicBezTo>
                    <a:pt x="172" y="289"/>
                    <a:pt x="172" y="289"/>
                    <a:pt x="172" y="289"/>
                  </a:cubicBezTo>
                  <a:cubicBezTo>
                    <a:pt x="171" y="289"/>
                    <a:pt x="171" y="289"/>
                    <a:pt x="171" y="289"/>
                  </a:cubicBezTo>
                  <a:cubicBezTo>
                    <a:pt x="171" y="289"/>
                    <a:pt x="171" y="289"/>
                    <a:pt x="171" y="289"/>
                  </a:cubicBezTo>
                  <a:cubicBezTo>
                    <a:pt x="171" y="289"/>
                    <a:pt x="171" y="289"/>
                    <a:pt x="171" y="289"/>
                  </a:cubicBezTo>
                  <a:cubicBezTo>
                    <a:pt x="170" y="288"/>
                    <a:pt x="170" y="288"/>
                    <a:pt x="170" y="288"/>
                  </a:cubicBezTo>
                  <a:cubicBezTo>
                    <a:pt x="169" y="288"/>
                    <a:pt x="169" y="288"/>
                    <a:pt x="169" y="288"/>
                  </a:cubicBezTo>
                  <a:cubicBezTo>
                    <a:pt x="169" y="288"/>
                    <a:pt x="169" y="288"/>
                    <a:pt x="169" y="288"/>
                  </a:cubicBezTo>
                  <a:cubicBezTo>
                    <a:pt x="168" y="288"/>
                    <a:pt x="168" y="288"/>
                    <a:pt x="168" y="288"/>
                  </a:cubicBezTo>
                  <a:cubicBezTo>
                    <a:pt x="168" y="288"/>
                    <a:pt x="168" y="288"/>
                    <a:pt x="168" y="288"/>
                  </a:cubicBezTo>
                  <a:cubicBezTo>
                    <a:pt x="167" y="289"/>
                    <a:pt x="167" y="289"/>
                    <a:pt x="167" y="289"/>
                  </a:cubicBezTo>
                  <a:cubicBezTo>
                    <a:pt x="166" y="289"/>
                    <a:pt x="166" y="289"/>
                    <a:pt x="166" y="289"/>
                  </a:cubicBezTo>
                  <a:cubicBezTo>
                    <a:pt x="165" y="288"/>
                    <a:pt x="165" y="288"/>
                    <a:pt x="165" y="288"/>
                  </a:cubicBezTo>
                  <a:cubicBezTo>
                    <a:pt x="164" y="288"/>
                    <a:pt x="164" y="288"/>
                    <a:pt x="164" y="288"/>
                  </a:cubicBezTo>
                  <a:cubicBezTo>
                    <a:pt x="164" y="288"/>
                    <a:pt x="164" y="288"/>
                    <a:pt x="164" y="288"/>
                  </a:cubicBezTo>
                  <a:cubicBezTo>
                    <a:pt x="164" y="288"/>
                    <a:pt x="164" y="288"/>
                    <a:pt x="164" y="288"/>
                  </a:cubicBezTo>
                  <a:cubicBezTo>
                    <a:pt x="164" y="288"/>
                    <a:pt x="164" y="288"/>
                    <a:pt x="164" y="288"/>
                  </a:cubicBezTo>
                  <a:cubicBezTo>
                    <a:pt x="164" y="288"/>
                    <a:pt x="164" y="288"/>
                    <a:pt x="164" y="288"/>
                  </a:cubicBezTo>
                  <a:cubicBezTo>
                    <a:pt x="163" y="288"/>
                    <a:pt x="163" y="288"/>
                    <a:pt x="163" y="288"/>
                  </a:cubicBezTo>
                  <a:cubicBezTo>
                    <a:pt x="163" y="288"/>
                    <a:pt x="163" y="288"/>
                    <a:pt x="163" y="288"/>
                  </a:cubicBezTo>
                  <a:cubicBezTo>
                    <a:pt x="163" y="288"/>
                    <a:pt x="163" y="288"/>
                    <a:pt x="163" y="288"/>
                  </a:cubicBezTo>
                  <a:cubicBezTo>
                    <a:pt x="162" y="288"/>
                    <a:pt x="162" y="288"/>
                    <a:pt x="162" y="288"/>
                  </a:cubicBezTo>
                  <a:cubicBezTo>
                    <a:pt x="162" y="288"/>
                    <a:pt x="162" y="288"/>
                    <a:pt x="162" y="288"/>
                  </a:cubicBezTo>
                  <a:cubicBezTo>
                    <a:pt x="161" y="288"/>
                    <a:pt x="161" y="288"/>
                    <a:pt x="161" y="288"/>
                  </a:cubicBezTo>
                  <a:cubicBezTo>
                    <a:pt x="161" y="288"/>
                    <a:pt x="161" y="288"/>
                    <a:pt x="161" y="288"/>
                  </a:cubicBezTo>
                  <a:cubicBezTo>
                    <a:pt x="160" y="288"/>
                    <a:pt x="160" y="288"/>
                    <a:pt x="160" y="288"/>
                  </a:cubicBezTo>
                  <a:cubicBezTo>
                    <a:pt x="158" y="289"/>
                    <a:pt x="158" y="289"/>
                    <a:pt x="158" y="289"/>
                  </a:cubicBezTo>
                  <a:cubicBezTo>
                    <a:pt x="158" y="289"/>
                    <a:pt x="158" y="289"/>
                    <a:pt x="158" y="289"/>
                  </a:cubicBezTo>
                  <a:cubicBezTo>
                    <a:pt x="157" y="289"/>
                    <a:pt x="157" y="289"/>
                    <a:pt x="157" y="289"/>
                  </a:cubicBezTo>
                  <a:cubicBezTo>
                    <a:pt x="157" y="290"/>
                    <a:pt x="157" y="290"/>
                    <a:pt x="157" y="290"/>
                  </a:cubicBezTo>
                  <a:cubicBezTo>
                    <a:pt x="157" y="290"/>
                    <a:pt x="157" y="290"/>
                    <a:pt x="157" y="290"/>
                  </a:cubicBezTo>
                  <a:cubicBezTo>
                    <a:pt x="156" y="289"/>
                    <a:pt x="156" y="289"/>
                    <a:pt x="156" y="289"/>
                  </a:cubicBezTo>
                  <a:cubicBezTo>
                    <a:pt x="156" y="289"/>
                    <a:pt x="156" y="289"/>
                    <a:pt x="156" y="289"/>
                  </a:cubicBezTo>
                  <a:cubicBezTo>
                    <a:pt x="156" y="289"/>
                    <a:pt x="156" y="289"/>
                    <a:pt x="156" y="289"/>
                  </a:cubicBezTo>
                  <a:cubicBezTo>
                    <a:pt x="157" y="289"/>
                    <a:pt x="157" y="289"/>
                    <a:pt x="157" y="289"/>
                  </a:cubicBezTo>
                  <a:cubicBezTo>
                    <a:pt x="157" y="288"/>
                    <a:pt x="157" y="288"/>
                    <a:pt x="157" y="288"/>
                  </a:cubicBezTo>
                  <a:cubicBezTo>
                    <a:pt x="157" y="288"/>
                    <a:pt x="157" y="288"/>
                    <a:pt x="157" y="288"/>
                  </a:cubicBezTo>
                  <a:cubicBezTo>
                    <a:pt x="157" y="288"/>
                    <a:pt x="157" y="288"/>
                    <a:pt x="157" y="288"/>
                  </a:cubicBezTo>
                  <a:cubicBezTo>
                    <a:pt x="157" y="288"/>
                    <a:pt x="157" y="288"/>
                    <a:pt x="157" y="288"/>
                  </a:cubicBezTo>
                  <a:cubicBezTo>
                    <a:pt x="156" y="288"/>
                    <a:pt x="156" y="288"/>
                    <a:pt x="156" y="288"/>
                  </a:cubicBezTo>
                  <a:cubicBezTo>
                    <a:pt x="156" y="288"/>
                    <a:pt x="156" y="288"/>
                    <a:pt x="156" y="288"/>
                  </a:cubicBezTo>
                  <a:cubicBezTo>
                    <a:pt x="154" y="287"/>
                    <a:pt x="154" y="287"/>
                    <a:pt x="154" y="287"/>
                  </a:cubicBezTo>
                  <a:cubicBezTo>
                    <a:pt x="154" y="287"/>
                    <a:pt x="154" y="287"/>
                    <a:pt x="154" y="287"/>
                  </a:cubicBezTo>
                  <a:cubicBezTo>
                    <a:pt x="153" y="288"/>
                    <a:pt x="153" y="288"/>
                    <a:pt x="153" y="288"/>
                  </a:cubicBezTo>
                  <a:cubicBezTo>
                    <a:pt x="153" y="288"/>
                    <a:pt x="153" y="288"/>
                    <a:pt x="153" y="288"/>
                  </a:cubicBezTo>
                  <a:cubicBezTo>
                    <a:pt x="154" y="287"/>
                    <a:pt x="154" y="287"/>
                    <a:pt x="154" y="287"/>
                  </a:cubicBezTo>
                  <a:cubicBezTo>
                    <a:pt x="154" y="287"/>
                    <a:pt x="154" y="287"/>
                    <a:pt x="154" y="287"/>
                  </a:cubicBezTo>
                  <a:cubicBezTo>
                    <a:pt x="156" y="287"/>
                    <a:pt x="156" y="287"/>
                    <a:pt x="156" y="287"/>
                  </a:cubicBezTo>
                  <a:cubicBezTo>
                    <a:pt x="156" y="287"/>
                    <a:pt x="156" y="287"/>
                    <a:pt x="156" y="287"/>
                  </a:cubicBezTo>
                  <a:cubicBezTo>
                    <a:pt x="156" y="287"/>
                    <a:pt x="156" y="287"/>
                    <a:pt x="156" y="287"/>
                  </a:cubicBezTo>
                  <a:cubicBezTo>
                    <a:pt x="157" y="287"/>
                    <a:pt x="157" y="287"/>
                    <a:pt x="157" y="287"/>
                  </a:cubicBezTo>
                  <a:cubicBezTo>
                    <a:pt x="157" y="287"/>
                    <a:pt x="157" y="287"/>
                    <a:pt x="157" y="287"/>
                  </a:cubicBezTo>
                  <a:cubicBezTo>
                    <a:pt x="157" y="287"/>
                    <a:pt x="157" y="287"/>
                    <a:pt x="157" y="287"/>
                  </a:cubicBezTo>
                  <a:cubicBezTo>
                    <a:pt x="157" y="287"/>
                    <a:pt x="157" y="287"/>
                    <a:pt x="157" y="287"/>
                  </a:cubicBezTo>
                  <a:cubicBezTo>
                    <a:pt x="158" y="287"/>
                    <a:pt x="158" y="287"/>
                    <a:pt x="158" y="287"/>
                  </a:cubicBezTo>
                  <a:cubicBezTo>
                    <a:pt x="158" y="287"/>
                    <a:pt x="158" y="287"/>
                    <a:pt x="158" y="287"/>
                  </a:cubicBezTo>
                  <a:cubicBezTo>
                    <a:pt x="158" y="288"/>
                    <a:pt x="158" y="288"/>
                    <a:pt x="158" y="288"/>
                  </a:cubicBezTo>
                  <a:cubicBezTo>
                    <a:pt x="159" y="288"/>
                    <a:pt x="159" y="288"/>
                    <a:pt x="159" y="288"/>
                  </a:cubicBezTo>
                  <a:cubicBezTo>
                    <a:pt x="159" y="287"/>
                    <a:pt x="159" y="287"/>
                    <a:pt x="159" y="287"/>
                  </a:cubicBezTo>
                  <a:cubicBezTo>
                    <a:pt x="162" y="287"/>
                    <a:pt x="162" y="287"/>
                    <a:pt x="162" y="287"/>
                  </a:cubicBezTo>
                  <a:cubicBezTo>
                    <a:pt x="162" y="287"/>
                    <a:pt x="162" y="287"/>
                    <a:pt x="162" y="287"/>
                  </a:cubicBezTo>
                  <a:cubicBezTo>
                    <a:pt x="162" y="287"/>
                    <a:pt x="162" y="287"/>
                    <a:pt x="162" y="287"/>
                  </a:cubicBezTo>
                  <a:cubicBezTo>
                    <a:pt x="163" y="287"/>
                    <a:pt x="163" y="287"/>
                    <a:pt x="163" y="287"/>
                  </a:cubicBezTo>
                  <a:cubicBezTo>
                    <a:pt x="164" y="287"/>
                    <a:pt x="164" y="287"/>
                    <a:pt x="164" y="287"/>
                  </a:cubicBezTo>
                  <a:cubicBezTo>
                    <a:pt x="165" y="287"/>
                    <a:pt x="165" y="287"/>
                    <a:pt x="165" y="287"/>
                  </a:cubicBezTo>
                  <a:cubicBezTo>
                    <a:pt x="165" y="287"/>
                    <a:pt x="165" y="287"/>
                    <a:pt x="165" y="287"/>
                  </a:cubicBezTo>
                  <a:cubicBezTo>
                    <a:pt x="165" y="287"/>
                    <a:pt x="165" y="287"/>
                    <a:pt x="165" y="287"/>
                  </a:cubicBezTo>
                  <a:cubicBezTo>
                    <a:pt x="166" y="288"/>
                    <a:pt x="166" y="288"/>
                    <a:pt x="166" y="288"/>
                  </a:cubicBezTo>
                  <a:cubicBezTo>
                    <a:pt x="166" y="288"/>
                    <a:pt x="166" y="288"/>
                    <a:pt x="166" y="288"/>
                  </a:cubicBezTo>
                  <a:cubicBezTo>
                    <a:pt x="167" y="288"/>
                    <a:pt x="167" y="288"/>
                    <a:pt x="167" y="288"/>
                  </a:cubicBezTo>
                  <a:cubicBezTo>
                    <a:pt x="168" y="287"/>
                    <a:pt x="168" y="287"/>
                    <a:pt x="168" y="287"/>
                  </a:cubicBezTo>
                  <a:cubicBezTo>
                    <a:pt x="168" y="287"/>
                    <a:pt x="168" y="287"/>
                    <a:pt x="168" y="287"/>
                  </a:cubicBezTo>
                  <a:cubicBezTo>
                    <a:pt x="169" y="288"/>
                    <a:pt x="169" y="288"/>
                    <a:pt x="169" y="288"/>
                  </a:cubicBezTo>
                  <a:cubicBezTo>
                    <a:pt x="170" y="288"/>
                    <a:pt x="170" y="288"/>
                    <a:pt x="170" y="288"/>
                  </a:cubicBezTo>
                  <a:cubicBezTo>
                    <a:pt x="170" y="288"/>
                    <a:pt x="170" y="288"/>
                    <a:pt x="170" y="288"/>
                  </a:cubicBezTo>
                  <a:cubicBezTo>
                    <a:pt x="170" y="288"/>
                    <a:pt x="170" y="288"/>
                    <a:pt x="170" y="288"/>
                  </a:cubicBezTo>
                  <a:cubicBezTo>
                    <a:pt x="171" y="289"/>
                    <a:pt x="171" y="289"/>
                    <a:pt x="171" y="289"/>
                  </a:cubicBezTo>
                  <a:cubicBezTo>
                    <a:pt x="171" y="289"/>
                    <a:pt x="171" y="289"/>
                    <a:pt x="171" y="289"/>
                  </a:cubicBezTo>
                  <a:cubicBezTo>
                    <a:pt x="171" y="289"/>
                    <a:pt x="171" y="289"/>
                    <a:pt x="171" y="289"/>
                  </a:cubicBezTo>
                  <a:cubicBezTo>
                    <a:pt x="172" y="289"/>
                    <a:pt x="172" y="289"/>
                    <a:pt x="172" y="289"/>
                  </a:cubicBezTo>
                  <a:cubicBezTo>
                    <a:pt x="172" y="289"/>
                    <a:pt x="172" y="289"/>
                    <a:pt x="172" y="289"/>
                  </a:cubicBezTo>
                  <a:cubicBezTo>
                    <a:pt x="173" y="289"/>
                    <a:pt x="173" y="289"/>
                    <a:pt x="173" y="289"/>
                  </a:cubicBezTo>
                  <a:cubicBezTo>
                    <a:pt x="173" y="289"/>
                    <a:pt x="173" y="289"/>
                    <a:pt x="173" y="289"/>
                  </a:cubicBezTo>
                  <a:cubicBezTo>
                    <a:pt x="173" y="289"/>
                    <a:pt x="173" y="289"/>
                    <a:pt x="173" y="289"/>
                  </a:cubicBezTo>
                  <a:cubicBezTo>
                    <a:pt x="173" y="288"/>
                    <a:pt x="173" y="288"/>
                    <a:pt x="173" y="288"/>
                  </a:cubicBezTo>
                  <a:cubicBezTo>
                    <a:pt x="174" y="287"/>
                    <a:pt x="174" y="287"/>
                    <a:pt x="174" y="287"/>
                  </a:cubicBezTo>
                  <a:cubicBezTo>
                    <a:pt x="174" y="287"/>
                    <a:pt x="174" y="287"/>
                    <a:pt x="174" y="287"/>
                  </a:cubicBezTo>
                  <a:cubicBezTo>
                    <a:pt x="174" y="287"/>
                    <a:pt x="174" y="287"/>
                    <a:pt x="174" y="287"/>
                  </a:cubicBezTo>
                  <a:cubicBezTo>
                    <a:pt x="174" y="287"/>
                    <a:pt x="174" y="287"/>
                    <a:pt x="174" y="287"/>
                  </a:cubicBezTo>
                  <a:cubicBezTo>
                    <a:pt x="174" y="286"/>
                    <a:pt x="174" y="286"/>
                    <a:pt x="174" y="286"/>
                  </a:cubicBezTo>
                  <a:cubicBezTo>
                    <a:pt x="174" y="286"/>
                    <a:pt x="174" y="286"/>
                    <a:pt x="174" y="286"/>
                  </a:cubicBezTo>
                  <a:cubicBezTo>
                    <a:pt x="174" y="286"/>
                    <a:pt x="174" y="286"/>
                    <a:pt x="174" y="286"/>
                  </a:cubicBezTo>
                  <a:cubicBezTo>
                    <a:pt x="174" y="286"/>
                    <a:pt x="174" y="286"/>
                    <a:pt x="174" y="286"/>
                  </a:cubicBezTo>
                  <a:cubicBezTo>
                    <a:pt x="174" y="286"/>
                    <a:pt x="174" y="286"/>
                    <a:pt x="174" y="286"/>
                  </a:cubicBezTo>
                  <a:cubicBezTo>
                    <a:pt x="175" y="286"/>
                    <a:pt x="175" y="286"/>
                    <a:pt x="175" y="286"/>
                  </a:cubicBezTo>
                  <a:cubicBezTo>
                    <a:pt x="175" y="285"/>
                    <a:pt x="175" y="285"/>
                    <a:pt x="175" y="285"/>
                  </a:cubicBezTo>
                  <a:cubicBezTo>
                    <a:pt x="175" y="285"/>
                    <a:pt x="175" y="285"/>
                    <a:pt x="175" y="285"/>
                  </a:cubicBezTo>
                  <a:cubicBezTo>
                    <a:pt x="175" y="285"/>
                    <a:pt x="175" y="285"/>
                    <a:pt x="175" y="285"/>
                  </a:cubicBezTo>
                  <a:cubicBezTo>
                    <a:pt x="175" y="284"/>
                    <a:pt x="175" y="284"/>
                    <a:pt x="175" y="284"/>
                  </a:cubicBezTo>
                  <a:cubicBezTo>
                    <a:pt x="176" y="283"/>
                    <a:pt x="176" y="283"/>
                    <a:pt x="176" y="283"/>
                  </a:cubicBezTo>
                  <a:cubicBezTo>
                    <a:pt x="176" y="282"/>
                    <a:pt x="176" y="282"/>
                    <a:pt x="176" y="282"/>
                  </a:cubicBezTo>
                  <a:cubicBezTo>
                    <a:pt x="176" y="281"/>
                    <a:pt x="176" y="281"/>
                    <a:pt x="176" y="281"/>
                  </a:cubicBezTo>
                  <a:cubicBezTo>
                    <a:pt x="176" y="280"/>
                    <a:pt x="176" y="280"/>
                    <a:pt x="176" y="280"/>
                  </a:cubicBezTo>
                  <a:cubicBezTo>
                    <a:pt x="176" y="280"/>
                    <a:pt x="176" y="280"/>
                    <a:pt x="176" y="280"/>
                  </a:cubicBezTo>
                  <a:cubicBezTo>
                    <a:pt x="176" y="279"/>
                    <a:pt x="176" y="279"/>
                    <a:pt x="176" y="279"/>
                  </a:cubicBezTo>
                  <a:cubicBezTo>
                    <a:pt x="177" y="278"/>
                    <a:pt x="177" y="278"/>
                    <a:pt x="177" y="278"/>
                  </a:cubicBezTo>
                  <a:cubicBezTo>
                    <a:pt x="177" y="278"/>
                    <a:pt x="177" y="278"/>
                    <a:pt x="177" y="278"/>
                  </a:cubicBezTo>
                  <a:cubicBezTo>
                    <a:pt x="177" y="278"/>
                    <a:pt x="177" y="278"/>
                    <a:pt x="177" y="278"/>
                  </a:cubicBezTo>
                  <a:cubicBezTo>
                    <a:pt x="177" y="278"/>
                    <a:pt x="177" y="278"/>
                    <a:pt x="177" y="278"/>
                  </a:cubicBezTo>
                  <a:cubicBezTo>
                    <a:pt x="177" y="278"/>
                    <a:pt x="177" y="278"/>
                    <a:pt x="177" y="278"/>
                  </a:cubicBezTo>
                  <a:cubicBezTo>
                    <a:pt x="178" y="278"/>
                    <a:pt x="178" y="278"/>
                    <a:pt x="178" y="278"/>
                  </a:cubicBezTo>
                  <a:cubicBezTo>
                    <a:pt x="178" y="277"/>
                    <a:pt x="178" y="277"/>
                    <a:pt x="178" y="277"/>
                  </a:cubicBezTo>
                  <a:cubicBezTo>
                    <a:pt x="178" y="274"/>
                    <a:pt x="178" y="274"/>
                    <a:pt x="178" y="274"/>
                  </a:cubicBezTo>
                  <a:cubicBezTo>
                    <a:pt x="178" y="274"/>
                    <a:pt x="178" y="274"/>
                    <a:pt x="178" y="274"/>
                  </a:cubicBezTo>
                  <a:cubicBezTo>
                    <a:pt x="178" y="274"/>
                    <a:pt x="178" y="274"/>
                    <a:pt x="178" y="274"/>
                  </a:cubicBezTo>
                  <a:cubicBezTo>
                    <a:pt x="179" y="274"/>
                    <a:pt x="179" y="274"/>
                    <a:pt x="179" y="274"/>
                  </a:cubicBezTo>
                  <a:cubicBezTo>
                    <a:pt x="179" y="273"/>
                    <a:pt x="179" y="273"/>
                    <a:pt x="179" y="273"/>
                  </a:cubicBezTo>
                  <a:cubicBezTo>
                    <a:pt x="179" y="273"/>
                    <a:pt x="179" y="273"/>
                    <a:pt x="179" y="273"/>
                  </a:cubicBezTo>
                  <a:cubicBezTo>
                    <a:pt x="179" y="273"/>
                    <a:pt x="179" y="273"/>
                    <a:pt x="179" y="273"/>
                  </a:cubicBezTo>
                  <a:cubicBezTo>
                    <a:pt x="179" y="273"/>
                    <a:pt x="179" y="273"/>
                    <a:pt x="179" y="273"/>
                  </a:cubicBezTo>
                  <a:cubicBezTo>
                    <a:pt x="179" y="273"/>
                    <a:pt x="179" y="273"/>
                    <a:pt x="179" y="273"/>
                  </a:cubicBezTo>
                  <a:cubicBezTo>
                    <a:pt x="179" y="272"/>
                    <a:pt x="179" y="272"/>
                    <a:pt x="179" y="272"/>
                  </a:cubicBezTo>
                  <a:cubicBezTo>
                    <a:pt x="179" y="272"/>
                    <a:pt x="179" y="272"/>
                    <a:pt x="179" y="272"/>
                  </a:cubicBezTo>
                  <a:cubicBezTo>
                    <a:pt x="180" y="272"/>
                    <a:pt x="180" y="272"/>
                    <a:pt x="180" y="272"/>
                  </a:cubicBezTo>
                  <a:cubicBezTo>
                    <a:pt x="180" y="271"/>
                    <a:pt x="180" y="271"/>
                    <a:pt x="180" y="271"/>
                  </a:cubicBezTo>
                  <a:cubicBezTo>
                    <a:pt x="180" y="271"/>
                    <a:pt x="180" y="271"/>
                    <a:pt x="180" y="271"/>
                  </a:cubicBezTo>
                  <a:cubicBezTo>
                    <a:pt x="180" y="271"/>
                    <a:pt x="180" y="271"/>
                    <a:pt x="180" y="271"/>
                  </a:cubicBezTo>
                  <a:cubicBezTo>
                    <a:pt x="180" y="270"/>
                    <a:pt x="180" y="270"/>
                    <a:pt x="180" y="270"/>
                  </a:cubicBezTo>
                  <a:cubicBezTo>
                    <a:pt x="181" y="270"/>
                    <a:pt x="181" y="270"/>
                    <a:pt x="181" y="270"/>
                  </a:cubicBezTo>
                  <a:cubicBezTo>
                    <a:pt x="182" y="270"/>
                    <a:pt x="182" y="270"/>
                    <a:pt x="182" y="270"/>
                  </a:cubicBezTo>
                  <a:cubicBezTo>
                    <a:pt x="182" y="269"/>
                    <a:pt x="182" y="269"/>
                    <a:pt x="182" y="269"/>
                  </a:cubicBezTo>
                  <a:cubicBezTo>
                    <a:pt x="182" y="270"/>
                    <a:pt x="182" y="270"/>
                    <a:pt x="182" y="270"/>
                  </a:cubicBezTo>
                  <a:cubicBezTo>
                    <a:pt x="181" y="269"/>
                    <a:pt x="181" y="269"/>
                    <a:pt x="181" y="269"/>
                  </a:cubicBezTo>
                  <a:cubicBezTo>
                    <a:pt x="182" y="269"/>
                    <a:pt x="182" y="269"/>
                    <a:pt x="182" y="269"/>
                  </a:cubicBezTo>
                  <a:cubicBezTo>
                    <a:pt x="182" y="268"/>
                    <a:pt x="182" y="268"/>
                    <a:pt x="182" y="268"/>
                  </a:cubicBezTo>
                  <a:cubicBezTo>
                    <a:pt x="182" y="268"/>
                    <a:pt x="182" y="268"/>
                    <a:pt x="182" y="268"/>
                  </a:cubicBezTo>
                  <a:cubicBezTo>
                    <a:pt x="182" y="267"/>
                    <a:pt x="182" y="267"/>
                    <a:pt x="182" y="267"/>
                  </a:cubicBezTo>
                  <a:cubicBezTo>
                    <a:pt x="182" y="267"/>
                    <a:pt x="182" y="267"/>
                    <a:pt x="182" y="267"/>
                  </a:cubicBezTo>
                  <a:cubicBezTo>
                    <a:pt x="182" y="267"/>
                    <a:pt x="182" y="267"/>
                    <a:pt x="182" y="267"/>
                  </a:cubicBezTo>
                  <a:cubicBezTo>
                    <a:pt x="183" y="266"/>
                    <a:pt x="183" y="266"/>
                    <a:pt x="183" y="266"/>
                  </a:cubicBezTo>
                  <a:cubicBezTo>
                    <a:pt x="183" y="266"/>
                    <a:pt x="183" y="266"/>
                    <a:pt x="183" y="266"/>
                  </a:cubicBezTo>
                  <a:cubicBezTo>
                    <a:pt x="183" y="266"/>
                    <a:pt x="183" y="266"/>
                    <a:pt x="183" y="266"/>
                  </a:cubicBezTo>
                  <a:cubicBezTo>
                    <a:pt x="184" y="265"/>
                    <a:pt x="184" y="265"/>
                    <a:pt x="184" y="265"/>
                  </a:cubicBezTo>
                  <a:cubicBezTo>
                    <a:pt x="184" y="265"/>
                    <a:pt x="184" y="265"/>
                    <a:pt x="184" y="265"/>
                  </a:cubicBezTo>
                  <a:cubicBezTo>
                    <a:pt x="184" y="265"/>
                    <a:pt x="184" y="265"/>
                    <a:pt x="184" y="265"/>
                  </a:cubicBezTo>
                  <a:cubicBezTo>
                    <a:pt x="184" y="265"/>
                    <a:pt x="184" y="265"/>
                    <a:pt x="184" y="265"/>
                  </a:cubicBezTo>
                  <a:cubicBezTo>
                    <a:pt x="184" y="264"/>
                    <a:pt x="184" y="264"/>
                    <a:pt x="184" y="264"/>
                  </a:cubicBezTo>
                  <a:cubicBezTo>
                    <a:pt x="184" y="264"/>
                    <a:pt x="184" y="264"/>
                    <a:pt x="184" y="264"/>
                  </a:cubicBezTo>
                  <a:cubicBezTo>
                    <a:pt x="183" y="263"/>
                    <a:pt x="183" y="263"/>
                    <a:pt x="183" y="263"/>
                  </a:cubicBezTo>
                  <a:cubicBezTo>
                    <a:pt x="183" y="263"/>
                    <a:pt x="183" y="263"/>
                    <a:pt x="183" y="263"/>
                  </a:cubicBezTo>
                  <a:cubicBezTo>
                    <a:pt x="184" y="264"/>
                    <a:pt x="184" y="264"/>
                    <a:pt x="184" y="264"/>
                  </a:cubicBezTo>
                  <a:cubicBezTo>
                    <a:pt x="184" y="264"/>
                    <a:pt x="184" y="264"/>
                    <a:pt x="184" y="264"/>
                  </a:cubicBezTo>
                  <a:cubicBezTo>
                    <a:pt x="185" y="264"/>
                    <a:pt x="185" y="264"/>
                    <a:pt x="185" y="264"/>
                  </a:cubicBezTo>
                  <a:cubicBezTo>
                    <a:pt x="185" y="265"/>
                    <a:pt x="185" y="265"/>
                    <a:pt x="185" y="265"/>
                  </a:cubicBezTo>
                  <a:cubicBezTo>
                    <a:pt x="185" y="265"/>
                    <a:pt x="185" y="265"/>
                    <a:pt x="185" y="265"/>
                  </a:cubicBezTo>
                  <a:cubicBezTo>
                    <a:pt x="184" y="266"/>
                    <a:pt x="184" y="266"/>
                    <a:pt x="184" y="266"/>
                  </a:cubicBezTo>
                  <a:cubicBezTo>
                    <a:pt x="185" y="266"/>
                    <a:pt x="185" y="266"/>
                    <a:pt x="185" y="266"/>
                  </a:cubicBezTo>
                  <a:cubicBezTo>
                    <a:pt x="185" y="266"/>
                    <a:pt x="185" y="266"/>
                    <a:pt x="185" y="266"/>
                  </a:cubicBezTo>
                  <a:cubicBezTo>
                    <a:pt x="185" y="266"/>
                    <a:pt x="185" y="266"/>
                    <a:pt x="185" y="266"/>
                  </a:cubicBezTo>
                  <a:cubicBezTo>
                    <a:pt x="185" y="265"/>
                    <a:pt x="185" y="265"/>
                    <a:pt x="185" y="265"/>
                  </a:cubicBezTo>
                  <a:cubicBezTo>
                    <a:pt x="185" y="265"/>
                    <a:pt x="185" y="265"/>
                    <a:pt x="185" y="265"/>
                  </a:cubicBezTo>
                  <a:cubicBezTo>
                    <a:pt x="187" y="264"/>
                    <a:pt x="187" y="264"/>
                    <a:pt x="187" y="264"/>
                  </a:cubicBezTo>
                  <a:cubicBezTo>
                    <a:pt x="187" y="264"/>
                    <a:pt x="187" y="264"/>
                    <a:pt x="187" y="264"/>
                  </a:cubicBezTo>
                  <a:cubicBezTo>
                    <a:pt x="187" y="263"/>
                    <a:pt x="187" y="263"/>
                    <a:pt x="187" y="263"/>
                  </a:cubicBezTo>
                  <a:cubicBezTo>
                    <a:pt x="187" y="263"/>
                    <a:pt x="187" y="263"/>
                    <a:pt x="187" y="263"/>
                  </a:cubicBezTo>
                  <a:cubicBezTo>
                    <a:pt x="187" y="263"/>
                    <a:pt x="187" y="263"/>
                    <a:pt x="187" y="263"/>
                  </a:cubicBezTo>
                  <a:cubicBezTo>
                    <a:pt x="187" y="263"/>
                    <a:pt x="187" y="263"/>
                    <a:pt x="187" y="263"/>
                  </a:cubicBezTo>
                  <a:cubicBezTo>
                    <a:pt x="186" y="263"/>
                    <a:pt x="186" y="263"/>
                    <a:pt x="186" y="263"/>
                  </a:cubicBezTo>
                  <a:cubicBezTo>
                    <a:pt x="186" y="263"/>
                    <a:pt x="186" y="263"/>
                    <a:pt x="186" y="263"/>
                  </a:cubicBezTo>
                  <a:cubicBezTo>
                    <a:pt x="185" y="263"/>
                    <a:pt x="185" y="263"/>
                    <a:pt x="185" y="263"/>
                  </a:cubicBezTo>
                  <a:cubicBezTo>
                    <a:pt x="185" y="263"/>
                    <a:pt x="185" y="263"/>
                    <a:pt x="185" y="263"/>
                  </a:cubicBezTo>
                  <a:cubicBezTo>
                    <a:pt x="185" y="263"/>
                    <a:pt x="185" y="263"/>
                    <a:pt x="185" y="263"/>
                  </a:cubicBezTo>
                  <a:cubicBezTo>
                    <a:pt x="186" y="263"/>
                    <a:pt x="186" y="263"/>
                    <a:pt x="186" y="263"/>
                  </a:cubicBezTo>
                  <a:cubicBezTo>
                    <a:pt x="186" y="263"/>
                    <a:pt x="186" y="263"/>
                    <a:pt x="186" y="263"/>
                  </a:cubicBezTo>
                  <a:cubicBezTo>
                    <a:pt x="186" y="262"/>
                    <a:pt x="186" y="262"/>
                    <a:pt x="186" y="262"/>
                  </a:cubicBezTo>
                  <a:cubicBezTo>
                    <a:pt x="186" y="262"/>
                    <a:pt x="186" y="262"/>
                    <a:pt x="186" y="262"/>
                  </a:cubicBezTo>
                  <a:cubicBezTo>
                    <a:pt x="187" y="262"/>
                    <a:pt x="187" y="262"/>
                    <a:pt x="187" y="262"/>
                  </a:cubicBezTo>
                  <a:cubicBezTo>
                    <a:pt x="187" y="262"/>
                    <a:pt x="187" y="262"/>
                    <a:pt x="187" y="262"/>
                  </a:cubicBezTo>
                  <a:cubicBezTo>
                    <a:pt x="187" y="262"/>
                    <a:pt x="187" y="262"/>
                    <a:pt x="187" y="262"/>
                  </a:cubicBezTo>
                  <a:cubicBezTo>
                    <a:pt x="187" y="262"/>
                    <a:pt x="187" y="262"/>
                    <a:pt x="187" y="262"/>
                  </a:cubicBezTo>
                  <a:cubicBezTo>
                    <a:pt x="187" y="261"/>
                    <a:pt x="187" y="261"/>
                    <a:pt x="187" y="261"/>
                  </a:cubicBezTo>
                  <a:cubicBezTo>
                    <a:pt x="187" y="261"/>
                    <a:pt x="187" y="261"/>
                    <a:pt x="187" y="261"/>
                  </a:cubicBezTo>
                  <a:cubicBezTo>
                    <a:pt x="188" y="261"/>
                    <a:pt x="188" y="261"/>
                    <a:pt x="188" y="261"/>
                  </a:cubicBezTo>
                  <a:cubicBezTo>
                    <a:pt x="188" y="260"/>
                    <a:pt x="188" y="260"/>
                    <a:pt x="188" y="260"/>
                  </a:cubicBezTo>
                  <a:cubicBezTo>
                    <a:pt x="188" y="260"/>
                    <a:pt x="188" y="260"/>
                    <a:pt x="188" y="260"/>
                  </a:cubicBezTo>
                  <a:cubicBezTo>
                    <a:pt x="188" y="260"/>
                    <a:pt x="188" y="260"/>
                    <a:pt x="188" y="260"/>
                  </a:cubicBezTo>
                  <a:cubicBezTo>
                    <a:pt x="188" y="260"/>
                    <a:pt x="188" y="260"/>
                    <a:pt x="188" y="260"/>
                  </a:cubicBezTo>
                  <a:cubicBezTo>
                    <a:pt x="189" y="260"/>
                    <a:pt x="189" y="260"/>
                    <a:pt x="189" y="260"/>
                  </a:cubicBezTo>
                  <a:cubicBezTo>
                    <a:pt x="189" y="260"/>
                    <a:pt x="189" y="260"/>
                    <a:pt x="189" y="260"/>
                  </a:cubicBezTo>
                  <a:cubicBezTo>
                    <a:pt x="189" y="260"/>
                    <a:pt x="189" y="260"/>
                    <a:pt x="189" y="260"/>
                  </a:cubicBezTo>
                  <a:cubicBezTo>
                    <a:pt x="190" y="260"/>
                    <a:pt x="190" y="260"/>
                    <a:pt x="190" y="260"/>
                  </a:cubicBezTo>
                  <a:cubicBezTo>
                    <a:pt x="191" y="259"/>
                    <a:pt x="191" y="259"/>
                    <a:pt x="191" y="259"/>
                  </a:cubicBezTo>
                  <a:cubicBezTo>
                    <a:pt x="191" y="259"/>
                    <a:pt x="191" y="259"/>
                    <a:pt x="191" y="259"/>
                  </a:cubicBezTo>
                  <a:cubicBezTo>
                    <a:pt x="191" y="259"/>
                    <a:pt x="191" y="259"/>
                    <a:pt x="191" y="259"/>
                  </a:cubicBezTo>
                  <a:cubicBezTo>
                    <a:pt x="191" y="259"/>
                    <a:pt x="191" y="259"/>
                    <a:pt x="191" y="259"/>
                  </a:cubicBezTo>
                  <a:cubicBezTo>
                    <a:pt x="191" y="259"/>
                    <a:pt x="191" y="259"/>
                    <a:pt x="191" y="259"/>
                  </a:cubicBezTo>
                  <a:cubicBezTo>
                    <a:pt x="192" y="258"/>
                    <a:pt x="192" y="258"/>
                    <a:pt x="192" y="258"/>
                  </a:cubicBezTo>
                  <a:cubicBezTo>
                    <a:pt x="192" y="258"/>
                    <a:pt x="192" y="258"/>
                    <a:pt x="192" y="258"/>
                  </a:cubicBezTo>
                  <a:cubicBezTo>
                    <a:pt x="193" y="258"/>
                    <a:pt x="193" y="258"/>
                    <a:pt x="193" y="258"/>
                  </a:cubicBezTo>
                  <a:cubicBezTo>
                    <a:pt x="193" y="258"/>
                    <a:pt x="193" y="258"/>
                    <a:pt x="193" y="258"/>
                  </a:cubicBezTo>
                  <a:cubicBezTo>
                    <a:pt x="193" y="258"/>
                    <a:pt x="193" y="258"/>
                    <a:pt x="193" y="258"/>
                  </a:cubicBezTo>
                  <a:cubicBezTo>
                    <a:pt x="193" y="258"/>
                    <a:pt x="193" y="258"/>
                    <a:pt x="193" y="258"/>
                  </a:cubicBezTo>
                  <a:cubicBezTo>
                    <a:pt x="194" y="258"/>
                    <a:pt x="194" y="258"/>
                    <a:pt x="194" y="258"/>
                  </a:cubicBezTo>
                  <a:cubicBezTo>
                    <a:pt x="194" y="257"/>
                    <a:pt x="194" y="257"/>
                    <a:pt x="194" y="257"/>
                  </a:cubicBezTo>
                  <a:cubicBezTo>
                    <a:pt x="196" y="257"/>
                    <a:pt x="196" y="257"/>
                    <a:pt x="196" y="257"/>
                  </a:cubicBezTo>
                  <a:cubicBezTo>
                    <a:pt x="196" y="256"/>
                    <a:pt x="196" y="256"/>
                    <a:pt x="196" y="256"/>
                  </a:cubicBezTo>
                  <a:cubicBezTo>
                    <a:pt x="197" y="254"/>
                    <a:pt x="197" y="254"/>
                    <a:pt x="197" y="254"/>
                  </a:cubicBezTo>
                  <a:cubicBezTo>
                    <a:pt x="197" y="254"/>
                    <a:pt x="197" y="254"/>
                    <a:pt x="197" y="254"/>
                  </a:cubicBezTo>
                  <a:cubicBezTo>
                    <a:pt x="197" y="253"/>
                    <a:pt x="197" y="253"/>
                    <a:pt x="197" y="253"/>
                  </a:cubicBezTo>
                  <a:cubicBezTo>
                    <a:pt x="197" y="252"/>
                    <a:pt x="197" y="252"/>
                    <a:pt x="197" y="252"/>
                  </a:cubicBezTo>
                  <a:cubicBezTo>
                    <a:pt x="197" y="252"/>
                    <a:pt x="197" y="252"/>
                    <a:pt x="197" y="252"/>
                  </a:cubicBezTo>
                  <a:cubicBezTo>
                    <a:pt x="197" y="251"/>
                    <a:pt x="197" y="251"/>
                    <a:pt x="197" y="251"/>
                  </a:cubicBezTo>
                  <a:cubicBezTo>
                    <a:pt x="196" y="251"/>
                    <a:pt x="196" y="251"/>
                    <a:pt x="196" y="251"/>
                  </a:cubicBezTo>
                  <a:cubicBezTo>
                    <a:pt x="196" y="250"/>
                    <a:pt x="196" y="250"/>
                    <a:pt x="196" y="250"/>
                  </a:cubicBezTo>
                  <a:cubicBezTo>
                    <a:pt x="197" y="250"/>
                    <a:pt x="197" y="250"/>
                    <a:pt x="197" y="250"/>
                  </a:cubicBezTo>
                  <a:cubicBezTo>
                    <a:pt x="197" y="249"/>
                    <a:pt x="197" y="249"/>
                    <a:pt x="197" y="249"/>
                  </a:cubicBezTo>
                  <a:cubicBezTo>
                    <a:pt x="197" y="249"/>
                    <a:pt x="197" y="249"/>
                    <a:pt x="197" y="249"/>
                  </a:cubicBezTo>
                  <a:cubicBezTo>
                    <a:pt x="197" y="249"/>
                    <a:pt x="197" y="249"/>
                    <a:pt x="197" y="249"/>
                  </a:cubicBezTo>
                  <a:cubicBezTo>
                    <a:pt x="197" y="248"/>
                    <a:pt x="197" y="248"/>
                    <a:pt x="197" y="248"/>
                  </a:cubicBezTo>
                  <a:cubicBezTo>
                    <a:pt x="196" y="248"/>
                    <a:pt x="196" y="248"/>
                    <a:pt x="196" y="248"/>
                  </a:cubicBezTo>
                  <a:cubicBezTo>
                    <a:pt x="196" y="248"/>
                    <a:pt x="196" y="248"/>
                    <a:pt x="196" y="248"/>
                  </a:cubicBezTo>
                  <a:cubicBezTo>
                    <a:pt x="196" y="248"/>
                    <a:pt x="196" y="248"/>
                    <a:pt x="196" y="248"/>
                  </a:cubicBezTo>
                  <a:cubicBezTo>
                    <a:pt x="196" y="247"/>
                    <a:pt x="196" y="247"/>
                    <a:pt x="196" y="247"/>
                  </a:cubicBezTo>
                  <a:cubicBezTo>
                    <a:pt x="196" y="247"/>
                    <a:pt x="196" y="247"/>
                    <a:pt x="196" y="247"/>
                  </a:cubicBezTo>
                  <a:cubicBezTo>
                    <a:pt x="196" y="246"/>
                    <a:pt x="196" y="246"/>
                    <a:pt x="196" y="246"/>
                  </a:cubicBezTo>
                  <a:cubicBezTo>
                    <a:pt x="196" y="246"/>
                    <a:pt x="196" y="246"/>
                    <a:pt x="196" y="246"/>
                  </a:cubicBezTo>
                  <a:cubicBezTo>
                    <a:pt x="197" y="246"/>
                    <a:pt x="197" y="246"/>
                    <a:pt x="197" y="246"/>
                  </a:cubicBezTo>
                  <a:cubicBezTo>
                    <a:pt x="197" y="245"/>
                    <a:pt x="197" y="245"/>
                    <a:pt x="197" y="245"/>
                  </a:cubicBezTo>
                  <a:cubicBezTo>
                    <a:pt x="197" y="245"/>
                    <a:pt x="197" y="245"/>
                    <a:pt x="197" y="245"/>
                  </a:cubicBezTo>
                  <a:cubicBezTo>
                    <a:pt x="197" y="246"/>
                    <a:pt x="197" y="246"/>
                    <a:pt x="197" y="246"/>
                  </a:cubicBezTo>
                  <a:cubicBezTo>
                    <a:pt x="197" y="246"/>
                    <a:pt x="197" y="246"/>
                    <a:pt x="197" y="246"/>
                  </a:cubicBezTo>
                  <a:cubicBezTo>
                    <a:pt x="198" y="245"/>
                    <a:pt x="198" y="245"/>
                    <a:pt x="198" y="245"/>
                  </a:cubicBezTo>
                  <a:cubicBezTo>
                    <a:pt x="198" y="245"/>
                    <a:pt x="198" y="245"/>
                    <a:pt x="198" y="245"/>
                  </a:cubicBezTo>
                  <a:cubicBezTo>
                    <a:pt x="198" y="244"/>
                    <a:pt x="198" y="244"/>
                    <a:pt x="198" y="244"/>
                  </a:cubicBezTo>
                  <a:cubicBezTo>
                    <a:pt x="198" y="244"/>
                    <a:pt x="198" y="244"/>
                    <a:pt x="198" y="244"/>
                  </a:cubicBezTo>
                  <a:cubicBezTo>
                    <a:pt x="198" y="244"/>
                    <a:pt x="198" y="244"/>
                    <a:pt x="198" y="244"/>
                  </a:cubicBezTo>
                  <a:cubicBezTo>
                    <a:pt x="198" y="243"/>
                    <a:pt x="198" y="243"/>
                    <a:pt x="198" y="243"/>
                  </a:cubicBezTo>
                  <a:cubicBezTo>
                    <a:pt x="198" y="243"/>
                    <a:pt x="198" y="243"/>
                    <a:pt x="198" y="243"/>
                  </a:cubicBezTo>
                  <a:cubicBezTo>
                    <a:pt x="198" y="243"/>
                    <a:pt x="198" y="243"/>
                    <a:pt x="198" y="243"/>
                  </a:cubicBezTo>
                  <a:cubicBezTo>
                    <a:pt x="198" y="243"/>
                    <a:pt x="198" y="243"/>
                    <a:pt x="198" y="243"/>
                  </a:cubicBezTo>
                  <a:cubicBezTo>
                    <a:pt x="198" y="243"/>
                    <a:pt x="198" y="243"/>
                    <a:pt x="198" y="243"/>
                  </a:cubicBezTo>
                  <a:cubicBezTo>
                    <a:pt x="198" y="242"/>
                    <a:pt x="198" y="242"/>
                    <a:pt x="198" y="242"/>
                  </a:cubicBezTo>
                  <a:cubicBezTo>
                    <a:pt x="198" y="241"/>
                    <a:pt x="198" y="241"/>
                    <a:pt x="198" y="241"/>
                  </a:cubicBezTo>
                  <a:cubicBezTo>
                    <a:pt x="199" y="241"/>
                    <a:pt x="199" y="241"/>
                    <a:pt x="199" y="241"/>
                  </a:cubicBezTo>
                  <a:cubicBezTo>
                    <a:pt x="200" y="240"/>
                    <a:pt x="200" y="240"/>
                    <a:pt x="200" y="240"/>
                  </a:cubicBezTo>
                  <a:cubicBezTo>
                    <a:pt x="200" y="240"/>
                    <a:pt x="200" y="240"/>
                    <a:pt x="200" y="240"/>
                  </a:cubicBezTo>
                  <a:cubicBezTo>
                    <a:pt x="200" y="239"/>
                    <a:pt x="200" y="239"/>
                    <a:pt x="200" y="239"/>
                  </a:cubicBezTo>
                  <a:cubicBezTo>
                    <a:pt x="200" y="238"/>
                    <a:pt x="200" y="238"/>
                    <a:pt x="200" y="238"/>
                  </a:cubicBezTo>
                  <a:cubicBezTo>
                    <a:pt x="201" y="238"/>
                    <a:pt x="201" y="238"/>
                    <a:pt x="201" y="238"/>
                  </a:cubicBezTo>
                  <a:cubicBezTo>
                    <a:pt x="201" y="238"/>
                    <a:pt x="201" y="238"/>
                    <a:pt x="201" y="238"/>
                  </a:cubicBezTo>
                  <a:cubicBezTo>
                    <a:pt x="201" y="237"/>
                    <a:pt x="201" y="237"/>
                    <a:pt x="201" y="237"/>
                  </a:cubicBezTo>
                  <a:cubicBezTo>
                    <a:pt x="201" y="237"/>
                    <a:pt x="201" y="237"/>
                    <a:pt x="201" y="237"/>
                  </a:cubicBezTo>
                  <a:cubicBezTo>
                    <a:pt x="201" y="237"/>
                    <a:pt x="201" y="237"/>
                    <a:pt x="201" y="237"/>
                  </a:cubicBezTo>
                  <a:cubicBezTo>
                    <a:pt x="201" y="237"/>
                    <a:pt x="201" y="237"/>
                    <a:pt x="201" y="237"/>
                  </a:cubicBezTo>
                  <a:cubicBezTo>
                    <a:pt x="201" y="237"/>
                    <a:pt x="201" y="237"/>
                    <a:pt x="201" y="237"/>
                  </a:cubicBezTo>
                  <a:cubicBezTo>
                    <a:pt x="201" y="237"/>
                    <a:pt x="201" y="237"/>
                    <a:pt x="201" y="237"/>
                  </a:cubicBezTo>
                  <a:cubicBezTo>
                    <a:pt x="201" y="237"/>
                    <a:pt x="201" y="237"/>
                    <a:pt x="201" y="237"/>
                  </a:cubicBezTo>
                  <a:cubicBezTo>
                    <a:pt x="202" y="237"/>
                    <a:pt x="202" y="237"/>
                    <a:pt x="202" y="237"/>
                  </a:cubicBezTo>
                  <a:cubicBezTo>
                    <a:pt x="202" y="237"/>
                    <a:pt x="202" y="237"/>
                    <a:pt x="202" y="237"/>
                  </a:cubicBezTo>
                  <a:cubicBezTo>
                    <a:pt x="202" y="237"/>
                    <a:pt x="202" y="237"/>
                    <a:pt x="202" y="237"/>
                  </a:cubicBezTo>
                  <a:cubicBezTo>
                    <a:pt x="203" y="237"/>
                    <a:pt x="203" y="237"/>
                    <a:pt x="203" y="237"/>
                  </a:cubicBezTo>
                  <a:cubicBezTo>
                    <a:pt x="203" y="237"/>
                    <a:pt x="203" y="237"/>
                    <a:pt x="203" y="237"/>
                  </a:cubicBezTo>
                  <a:cubicBezTo>
                    <a:pt x="203" y="237"/>
                    <a:pt x="203" y="237"/>
                    <a:pt x="203" y="237"/>
                  </a:cubicBezTo>
                  <a:cubicBezTo>
                    <a:pt x="203" y="237"/>
                    <a:pt x="203" y="237"/>
                    <a:pt x="203" y="237"/>
                  </a:cubicBezTo>
                  <a:cubicBezTo>
                    <a:pt x="203" y="237"/>
                    <a:pt x="203" y="237"/>
                    <a:pt x="203" y="237"/>
                  </a:cubicBezTo>
                  <a:cubicBezTo>
                    <a:pt x="203" y="237"/>
                    <a:pt x="203" y="237"/>
                    <a:pt x="203" y="237"/>
                  </a:cubicBezTo>
                  <a:cubicBezTo>
                    <a:pt x="203" y="236"/>
                    <a:pt x="203" y="236"/>
                    <a:pt x="203" y="236"/>
                  </a:cubicBezTo>
                  <a:cubicBezTo>
                    <a:pt x="203" y="236"/>
                    <a:pt x="203" y="236"/>
                    <a:pt x="203" y="236"/>
                  </a:cubicBezTo>
                  <a:cubicBezTo>
                    <a:pt x="203" y="236"/>
                    <a:pt x="203" y="236"/>
                    <a:pt x="203" y="236"/>
                  </a:cubicBezTo>
                  <a:cubicBezTo>
                    <a:pt x="202" y="237"/>
                    <a:pt x="202" y="237"/>
                    <a:pt x="202" y="237"/>
                  </a:cubicBezTo>
                  <a:cubicBezTo>
                    <a:pt x="202" y="237"/>
                    <a:pt x="202" y="237"/>
                    <a:pt x="202" y="237"/>
                  </a:cubicBezTo>
                  <a:cubicBezTo>
                    <a:pt x="202" y="237"/>
                    <a:pt x="202" y="237"/>
                    <a:pt x="202" y="237"/>
                  </a:cubicBezTo>
                  <a:cubicBezTo>
                    <a:pt x="202" y="236"/>
                    <a:pt x="202" y="236"/>
                    <a:pt x="202" y="236"/>
                  </a:cubicBezTo>
                  <a:cubicBezTo>
                    <a:pt x="202" y="236"/>
                    <a:pt x="202" y="236"/>
                    <a:pt x="202" y="236"/>
                  </a:cubicBezTo>
                  <a:cubicBezTo>
                    <a:pt x="202" y="236"/>
                    <a:pt x="202" y="236"/>
                    <a:pt x="202" y="236"/>
                  </a:cubicBezTo>
                  <a:cubicBezTo>
                    <a:pt x="202" y="235"/>
                    <a:pt x="202" y="235"/>
                    <a:pt x="202" y="235"/>
                  </a:cubicBezTo>
                  <a:cubicBezTo>
                    <a:pt x="202" y="235"/>
                    <a:pt x="202" y="235"/>
                    <a:pt x="202" y="235"/>
                  </a:cubicBezTo>
                  <a:cubicBezTo>
                    <a:pt x="202" y="234"/>
                    <a:pt x="202" y="234"/>
                    <a:pt x="202" y="234"/>
                  </a:cubicBezTo>
                  <a:cubicBezTo>
                    <a:pt x="203" y="234"/>
                    <a:pt x="203" y="234"/>
                    <a:pt x="203" y="234"/>
                  </a:cubicBezTo>
                  <a:cubicBezTo>
                    <a:pt x="203" y="234"/>
                    <a:pt x="203" y="234"/>
                    <a:pt x="203" y="234"/>
                  </a:cubicBezTo>
                  <a:cubicBezTo>
                    <a:pt x="203" y="235"/>
                    <a:pt x="203" y="235"/>
                    <a:pt x="203" y="235"/>
                  </a:cubicBezTo>
                  <a:cubicBezTo>
                    <a:pt x="203" y="235"/>
                    <a:pt x="203" y="235"/>
                    <a:pt x="203" y="235"/>
                  </a:cubicBezTo>
                  <a:cubicBezTo>
                    <a:pt x="203" y="235"/>
                    <a:pt x="203" y="235"/>
                    <a:pt x="203" y="235"/>
                  </a:cubicBezTo>
                  <a:cubicBezTo>
                    <a:pt x="203" y="235"/>
                    <a:pt x="203" y="235"/>
                    <a:pt x="203" y="235"/>
                  </a:cubicBezTo>
                  <a:cubicBezTo>
                    <a:pt x="203" y="235"/>
                    <a:pt x="203" y="235"/>
                    <a:pt x="203" y="235"/>
                  </a:cubicBezTo>
                  <a:cubicBezTo>
                    <a:pt x="203" y="235"/>
                    <a:pt x="203" y="235"/>
                    <a:pt x="203" y="235"/>
                  </a:cubicBezTo>
                  <a:cubicBezTo>
                    <a:pt x="204" y="235"/>
                    <a:pt x="204" y="235"/>
                    <a:pt x="204" y="235"/>
                  </a:cubicBezTo>
                  <a:cubicBezTo>
                    <a:pt x="204" y="235"/>
                    <a:pt x="204" y="235"/>
                    <a:pt x="204" y="235"/>
                  </a:cubicBezTo>
                  <a:cubicBezTo>
                    <a:pt x="205" y="235"/>
                    <a:pt x="205" y="235"/>
                    <a:pt x="205" y="235"/>
                  </a:cubicBezTo>
                  <a:cubicBezTo>
                    <a:pt x="205" y="235"/>
                    <a:pt x="205" y="235"/>
                    <a:pt x="205" y="235"/>
                  </a:cubicBezTo>
                  <a:cubicBezTo>
                    <a:pt x="206" y="235"/>
                    <a:pt x="206" y="235"/>
                    <a:pt x="206" y="235"/>
                  </a:cubicBezTo>
                  <a:cubicBezTo>
                    <a:pt x="206" y="235"/>
                    <a:pt x="206" y="235"/>
                    <a:pt x="206" y="235"/>
                  </a:cubicBezTo>
                  <a:cubicBezTo>
                    <a:pt x="206" y="235"/>
                    <a:pt x="206" y="235"/>
                    <a:pt x="206" y="235"/>
                  </a:cubicBezTo>
                  <a:cubicBezTo>
                    <a:pt x="206" y="235"/>
                    <a:pt x="206" y="235"/>
                    <a:pt x="206" y="235"/>
                  </a:cubicBezTo>
                  <a:cubicBezTo>
                    <a:pt x="207" y="235"/>
                    <a:pt x="207" y="235"/>
                    <a:pt x="207" y="235"/>
                  </a:cubicBezTo>
                  <a:cubicBezTo>
                    <a:pt x="207" y="235"/>
                    <a:pt x="207" y="235"/>
                    <a:pt x="207" y="235"/>
                  </a:cubicBezTo>
                  <a:cubicBezTo>
                    <a:pt x="207" y="234"/>
                    <a:pt x="207" y="234"/>
                    <a:pt x="207" y="234"/>
                  </a:cubicBezTo>
                  <a:cubicBezTo>
                    <a:pt x="207" y="234"/>
                    <a:pt x="207" y="234"/>
                    <a:pt x="207" y="234"/>
                  </a:cubicBezTo>
                  <a:cubicBezTo>
                    <a:pt x="207" y="234"/>
                    <a:pt x="207" y="234"/>
                    <a:pt x="207" y="234"/>
                  </a:cubicBezTo>
                  <a:cubicBezTo>
                    <a:pt x="207" y="233"/>
                    <a:pt x="207" y="233"/>
                    <a:pt x="207" y="233"/>
                  </a:cubicBezTo>
                  <a:cubicBezTo>
                    <a:pt x="207" y="234"/>
                    <a:pt x="207" y="234"/>
                    <a:pt x="207" y="234"/>
                  </a:cubicBezTo>
                  <a:cubicBezTo>
                    <a:pt x="207" y="234"/>
                    <a:pt x="207" y="234"/>
                    <a:pt x="207" y="234"/>
                  </a:cubicBezTo>
                  <a:cubicBezTo>
                    <a:pt x="208" y="234"/>
                    <a:pt x="208" y="234"/>
                    <a:pt x="208" y="234"/>
                  </a:cubicBezTo>
                  <a:cubicBezTo>
                    <a:pt x="208" y="234"/>
                    <a:pt x="208" y="234"/>
                    <a:pt x="208" y="234"/>
                  </a:cubicBezTo>
                  <a:cubicBezTo>
                    <a:pt x="208" y="234"/>
                    <a:pt x="208" y="234"/>
                    <a:pt x="208" y="234"/>
                  </a:cubicBezTo>
                  <a:cubicBezTo>
                    <a:pt x="208" y="233"/>
                    <a:pt x="208" y="233"/>
                    <a:pt x="208" y="233"/>
                  </a:cubicBezTo>
                  <a:cubicBezTo>
                    <a:pt x="208" y="232"/>
                    <a:pt x="208" y="232"/>
                    <a:pt x="208" y="232"/>
                  </a:cubicBezTo>
                  <a:cubicBezTo>
                    <a:pt x="209" y="232"/>
                    <a:pt x="209" y="232"/>
                    <a:pt x="209" y="232"/>
                  </a:cubicBezTo>
                  <a:cubicBezTo>
                    <a:pt x="209" y="232"/>
                    <a:pt x="209" y="232"/>
                    <a:pt x="209" y="232"/>
                  </a:cubicBezTo>
                  <a:cubicBezTo>
                    <a:pt x="210" y="232"/>
                    <a:pt x="210" y="232"/>
                    <a:pt x="210" y="232"/>
                  </a:cubicBezTo>
                  <a:cubicBezTo>
                    <a:pt x="210" y="232"/>
                    <a:pt x="210" y="232"/>
                    <a:pt x="210" y="232"/>
                  </a:cubicBezTo>
                  <a:cubicBezTo>
                    <a:pt x="211" y="232"/>
                    <a:pt x="211" y="232"/>
                    <a:pt x="211" y="232"/>
                  </a:cubicBezTo>
                  <a:cubicBezTo>
                    <a:pt x="213" y="231"/>
                    <a:pt x="213" y="231"/>
                    <a:pt x="213" y="231"/>
                  </a:cubicBezTo>
                  <a:cubicBezTo>
                    <a:pt x="214" y="231"/>
                    <a:pt x="214" y="231"/>
                    <a:pt x="214" y="231"/>
                  </a:cubicBezTo>
                  <a:cubicBezTo>
                    <a:pt x="215" y="230"/>
                    <a:pt x="215" y="230"/>
                    <a:pt x="215" y="230"/>
                  </a:cubicBezTo>
                  <a:cubicBezTo>
                    <a:pt x="217" y="229"/>
                    <a:pt x="217" y="229"/>
                    <a:pt x="217" y="229"/>
                  </a:cubicBezTo>
                  <a:cubicBezTo>
                    <a:pt x="217" y="229"/>
                    <a:pt x="217" y="229"/>
                    <a:pt x="217" y="229"/>
                  </a:cubicBezTo>
                  <a:cubicBezTo>
                    <a:pt x="217" y="229"/>
                    <a:pt x="217" y="229"/>
                    <a:pt x="217" y="229"/>
                  </a:cubicBezTo>
                  <a:cubicBezTo>
                    <a:pt x="217" y="229"/>
                    <a:pt x="217" y="229"/>
                    <a:pt x="217" y="229"/>
                  </a:cubicBezTo>
                  <a:cubicBezTo>
                    <a:pt x="218" y="229"/>
                    <a:pt x="218" y="229"/>
                    <a:pt x="218" y="229"/>
                  </a:cubicBezTo>
                  <a:cubicBezTo>
                    <a:pt x="218" y="229"/>
                    <a:pt x="218" y="229"/>
                    <a:pt x="218" y="229"/>
                  </a:cubicBezTo>
                  <a:cubicBezTo>
                    <a:pt x="218" y="229"/>
                    <a:pt x="218" y="229"/>
                    <a:pt x="218" y="229"/>
                  </a:cubicBezTo>
                  <a:cubicBezTo>
                    <a:pt x="219" y="229"/>
                    <a:pt x="219" y="229"/>
                    <a:pt x="219" y="229"/>
                  </a:cubicBezTo>
                  <a:cubicBezTo>
                    <a:pt x="219" y="229"/>
                    <a:pt x="219" y="229"/>
                    <a:pt x="219" y="229"/>
                  </a:cubicBezTo>
                  <a:cubicBezTo>
                    <a:pt x="220" y="228"/>
                    <a:pt x="220" y="228"/>
                    <a:pt x="220" y="228"/>
                  </a:cubicBezTo>
                  <a:cubicBezTo>
                    <a:pt x="221" y="228"/>
                    <a:pt x="221" y="228"/>
                    <a:pt x="221" y="228"/>
                  </a:cubicBezTo>
                  <a:cubicBezTo>
                    <a:pt x="222" y="228"/>
                    <a:pt x="222" y="228"/>
                    <a:pt x="222" y="228"/>
                  </a:cubicBezTo>
                  <a:cubicBezTo>
                    <a:pt x="222" y="228"/>
                    <a:pt x="222" y="228"/>
                    <a:pt x="222" y="228"/>
                  </a:cubicBezTo>
                  <a:cubicBezTo>
                    <a:pt x="222" y="228"/>
                    <a:pt x="222" y="228"/>
                    <a:pt x="222" y="228"/>
                  </a:cubicBezTo>
                  <a:cubicBezTo>
                    <a:pt x="222" y="228"/>
                    <a:pt x="222" y="228"/>
                    <a:pt x="222" y="228"/>
                  </a:cubicBezTo>
                  <a:cubicBezTo>
                    <a:pt x="222" y="228"/>
                    <a:pt x="222" y="228"/>
                    <a:pt x="222" y="228"/>
                  </a:cubicBezTo>
                  <a:cubicBezTo>
                    <a:pt x="222" y="228"/>
                    <a:pt x="222" y="228"/>
                    <a:pt x="222" y="228"/>
                  </a:cubicBezTo>
                  <a:cubicBezTo>
                    <a:pt x="222" y="228"/>
                    <a:pt x="222" y="228"/>
                    <a:pt x="222" y="228"/>
                  </a:cubicBezTo>
                  <a:cubicBezTo>
                    <a:pt x="222" y="228"/>
                    <a:pt x="222" y="228"/>
                    <a:pt x="222" y="228"/>
                  </a:cubicBezTo>
                  <a:cubicBezTo>
                    <a:pt x="225" y="227"/>
                    <a:pt x="225" y="227"/>
                    <a:pt x="225" y="227"/>
                  </a:cubicBezTo>
                  <a:cubicBezTo>
                    <a:pt x="226" y="226"/>
                    <a:pt x="226" y="226"/>
                    <a:pt x="226" y="226"/>
                  </a:cubicBezTo>
                  <a:cubicBezTo>
                    <a:pt x="227" y="226"/>
                    <a:pt x="227" y="226"/>
                    <a:pt x="227" y="226"/>
                  </a:cubicBezTo>
                  <a:cubicBezTo>
                    <a:pt x="227" y="225"/>
                    <a:pt x="227" y="225"/>
                    <a:pt x="227" y="225"/>
                  </a:cubicBezTo>
                  <a:cubicBezTo>
                    <a:pt x="227" y="225"/>
                    <a:pt x="227" y="225"/>
                    <a:pt x="227" y="225"/>
                  </a:cubicBezTo>
                  <a:cubicBezTo>
                    <a:pt x="228" y="225"/>
                    <a:pt x="228" y="225"/>
                    <a:pt x="228" y="225"/>
                  </a:cubicBezTo>
                  <a:cubicBezTo>
                    <a:pt x="228" y="225"/>
                    <a:pt x="228" y="225"/>
                    <a:pt x="228" y="225"/>
                  </a:cubicBezTo>
                  <a:cubicBezTo>
                    <a:pt x="228" y="225"/>
                    <a:pt x="228" y="225"/>
                    <a:pt x="228" y="225"/>
                  </a:cubicBezTo>
                  <a:cubicBezTo>
                    <a:pt x="229" y="226"/>
                    <a:pt x="229" y="226"/>
                    <a:pt x="229" y="226"/>
                  </a:cubicBezTo>
                  <a:cubicBezTo>
                    <a:pt x="230" y="225"/>
                    <a:pt x="230" y="225"/>
                    <a:pt x="230" y="225"/>
                  </a:cubicBezTo>
                  <a:cubicBezTo>
                    <a:pt x="231" y="225"/>
                    <a:pt x="231" y="225"/>
                    <a:pt x="231" y="225"/>
                  </a:cubicBezTo>
                  <a:cubicBezTo>
                    <a:pt x="232" y="225"/>
                    <a:pt x="232" y="225"/>
                    <a:pt x="232" y="225"/>
                  </a:cubicBezTo>
                  <a:cubicBezTo>
                    <a:pt x="232" y="225"/>
                    <a:pt x="232" y="225"/>
                    <a:pt x="232" y="225"/>
                  </a:cubicBezTo>
                  <a:cubicBezTo>
                    <a:pt x="232" y="224"/>
                    <a:pt x="232" y="224"/>
                    <a:pt x="232" y="224"/>
                  </a:cubicBezTo>
                  <a:cubicBezTo>
                    <a:pt x="233" y="224"/>
                    <a:pt x="233" y="224"/>
                    <a:pt x="233" y="224"/>
                  </a:cubicBezTo>
                  <a:cubicBezTo>
                    <a:pt x="233" y="224"/>
                    <a:pt x="233" y="224"/>
                    <a:pt x="233" y="224"/>
                  </a:cubicBezTo>
                  <a:cubicBezTo>
                    <a:pt x="235" y="223"/>
                    <a:pt x="235" y="223"/>
                    <a:pt x="235" y="223"/>
                  </a:cubicBezTo>
                  <a:cubicBezTo>
                    <a:pt x="236" y="223"/>
                    <a:pt x="236" y="223"/>
                    <a:pt x="236" y="223"/>
                  </a:cubicBezTo>
                  <a:cubicBezTo>
                    <a:pt x="236" y="223"/>
                    <a:pt x="236" y="223"/>
                    <a:pt x="236" y="223"/>
                  </a:cubicBezTo>
                  <a:cubicBezTo>
                    <a:pt x="236" y="223"/>
                    <a:pt x="236" y="223"/>
                    <a:pt x="236" y="223"/>
                  </a:cubicBezTo>
                  <a:cubicBezTo>
                    <a:pt x="237" y="223"/>
                    <a:pt x="237" y="223"/>
                    <a:pt x="237" y="223"/>
                  </a:cubicBezTo>
                  <a:cubicBezTo>
                    <a:pt x="237" y="223"/>
                    <a:pt x="237" y="223"/>
                    <a:pt x="237" y="223"/>
                  </a:cubicBezTo>
                  <a:cubicBezTo>
                    <a:pt x="237" y="223"/>
                    <a:pt x="237" y="223"/>
                    <a:pt x="237" y="223"/>
                  </a:cubicBezTo>
                  <a:cubicBezTo>
                    <a:pt x="237" y="223"/>
                    <a:pt x="237" y="223"/>
                    <a:pt x="237" y="223"/>
                  </a:cubicBezTo>
                  <a:cubicBezTo>
                    <a:pt x="237" y="223"/>
                    <a:pt x="237" y="223"/>
                    <a:pt x="237" y="223"/>
                  </a:cubicBezTo>
                  <a:cubicBezTo>
                    <a:pt x="237" y="223"/>
                    <a:pt x="237" y="223"/>
                    <a:pt x="237" y="223"/>
                  </a:cubicBezTo>
                  <a:cubicBezTo>
                    <a:pt x="238" y="223"/>
                    <a:pt x="238" y="223"/>
                    <a:pt x="238" y="223"/>
                  </a:cubicBezTo>
                  <a:cubicBezTo>
                    <a:pt x="238" y="223"/>
                    <a:pt x="238" y="223"/>
                    <a:pt x="238" y="223"/>
                  </a:cubicBezTo>
                  <a:cubicBezTo>
                    <a:pt x="238" y="223"/>
                    <a:pt x="238" y="223"/>
                    <a:pt x="238" y="223"/>
                  </a:cubicBezTo>
                  <a:cubicBezTo>
                    <a:pt x="238" y="223"/>
                    <a:pt x="238" y="223"/>
                    <a:pt x="238" y="223"/>
                  </a:cubicBezTo>
                  <a:cubicBezTo>
                    <a:pt x="238" y="223"/>
                    <a:pt x="238" y="223"/>
                    <a:pt x="238" y="223"/>
                  </a:cubicBezTo>
                  <a:cubicBezTo>
                    <a:pt x="238" y="223"/>
                    <a:pt x="238" y="223"/>
                    <a:pt x="238" y="223"/>
                  </a:cubicBezTo>
                  <a:cubicBezTo>
                    <a:pt x="239" y="222"/>
                    <a:pt x="239" y="222"/>
                    <a:pt x="239" y="222"/>
                  </a:cubicBezTo>
                  <a:cubicBezTo>
                    <a:pt x="239" y="222"/>
                    <a:pt x="239" y="222"/>
                    <a:pt x="239" y="222"/>
                  </a:cubicBezTo>
                  <a:cubicBezTo>
                    <a:pt x="240" y="222"/>
                    <a:pt x="240" y="222"/>
                    <a:pt x="240" y="222"/>
                  </a:cubicBezTo>
                  <a:cubicBezTo>
                    <a:pt x="240" y="222"/>
                    <a:pt x="240" y="222"/>
                    <a:pt x="240" y="222"/>
                  </a:cubicBezTo>
                  <a:cubicBezTo>
                    <a:pt x="240" y="223"/>
                    <a:pt x="240" y="223"/>
                    <a:pt x="240" y="223"/>
                  </a:cubicBezTo>
                  <a:cubicBezTo>
                    <a:pt x="241" y="223"/>
                    <a:pt x="241" y="223"/>
                    <a:pt x="241" y="223"/>
                  </a:cubicBezTo>
                  <a:cubicBezTo>
                    <a:pt x="241" y="223"/>
                    <a:pt x="241" y="223"/>
                    <a:pt x="241" y="223"/>
                  </a:cubicBezTo>
                  <a:cubicBezTo>
                    <a:pt x="241" y="223"/>
                    <a:pt x="241" y="223"/>
                    <a:pt x="241" y="223"/>
                  </a:cubicBezTo>
                  <a:cubicBezTo>
                    <a:pt x="241" y="223"/>
                    <a:pt x="241" y="223"/>
                    <a:pt x="241" y="223"/>
                  </a:cubicBezTo>
                  <a:cubicBezTo>
                    <a:pt x="241" y="223"/>
                    <a:pt x="241" y="223"/>
                    <a:pt x="241" y="223"/>
                  </a:cubicBezTo>
                  <a:cubicBezTo>
                    <a:pt x="241" y="222"/>
                    <a:pt x="241" y="222"/>
                    <a:pt x="241" y="222"/>
                  </a:cubicBezTo>
                  <a:cubicBezTo>
                    <a:pt x="241" y="222"/>
                    <a:pt x="241" y="222"/>
                    <a:pt x="241" y="222"/>
                  </a:cubicBezTo>
                  <a:cubicBezTo>
                    <a:pt x="242" y="222"/>
                    <a:pt x="242" y="222"/>
                    <a:pt x="242" y="222"/>
                  </a:cubicBezTo>
                  <a:cubicBezTo>
                    <a:pt x="243" y="222"/>
                    <a:pt x="243" y="222"/>
                    <a:pt x="243" y="222"/>
                  </a:cubicBezTo>
                  <a:cubicBezTo>
                    <a:pt x="243" y="221"/>
                    <a:pt x="243" y="221"/>
                    <a:pt x="243" y="221"/>
                  </a:cubicBezTo>
                  <a:cubicBezTo>
                    <a:pt x="244" y="221"/>
                    <a:pt x="244" y="221"/>
                    <a:pt x="244" y="221"/>
                  </a:cubicBezTo>
                  <a:cubicBezTo>
                    <a:pt x="244" y="221"/>
                    <a:pt x="244" y="221"/>
                    <a:pt x="244" y="221"/>
                  </a:cubicBezTo>
                  <a:cubicBezTo>
                    <a:pt x="244" y="221"/>
                    <a:pt x="244" y="221"/>
                    <a:pt x="244" y="221"/>
                  </a:cubicBezTo>
                  <a:cubicBezTo>
                    <a:pt x="244" y="221"/>
                    <a:pt x="244" y="221"/>
                    <a:pt x="244" y="221"/>
                  </a:cubicBezTo>
                  <a:cubicBezTo>
                    <a:pt x="243" y="220"/>
                    <a:pt x="243" y="220"/>
                    <a:pt x="243" y="220"/>
                  </a:cubicBezTo>
                  <a:cubicBezTo>
                    <a:pt x="244" y="220"/>
                    <a:pt x="244" y="220"/>
                    <a:pt x="244" y="220"/>
                  </a:cubicBezTo>
                  <a:cubicBezTo>
                    <a:pt x="244" y="220"/>
                    <a:pt x="244" y="220"/>
                    <a:pt x="244" y="220"/>
                  </a:cubicBezTo>
                  <a:cubicBezTo>
                    <a:pt x="245" y="220"/>
                    <a:pt x="245" y="220"/>
                    <a:pt x="245" y="220"/>
                  </a:cubicBezTo>
                  <a:cubicBezTo>
                    <a:pt x="245" y="220"/>
                    <a:pt x="245" y="220"/>
                    <a:pt x="245" y="220"/>
                  </a:cubicBezTo>
                  <a:cubicBezTo>
                    <a:pt x="245" y="220"/>
                    <a:pt x="245" y="220"/>
                    <a:pt x="245" y="220"/>
                  </a:cubicBezTo>
                  <a:cubicBezTo>
                    <a:pt x="245" y="219"/>
                    <a:pt x="245" y="219"/>
                    <a:pt x="245" y="219"/>
                  </a:cubicBezTo>
                  <a:cubicBezTo>
                    <a:pt x="245" y="219"/>
                    <a:pt x="245" y="219"/>
                    <a:pt x="245" y="219"/>
                  </a:cubicBezTo>
                  <a:cubicBezTo>
                    <a:pt x="245" y="219"/>
                    <a:pt x="245" y="219"/>
                    <a:pt x="245" y="219"/>
                  </a:cubicBezTo>
                  <a:cubicBezTo>
                    <a:pt x="246" y="219"/>
                    <a:pt x="246" y="219"/>
                    <a:pt x="246" y="219"/>
                  </a:cubicBezTo>
                  <a:cubicBezTo>
                    <a:pt x="246" y="219"/>
                    <a:pt x="246" y="219"/>
                    <a:pt x="246" y="219"/>
                  </a:cubicBezTo>
                  <a:cubicBezTo>
                    <a:pt x="246" y="220"/>
                    <a:pt x="246" y="220"/>
                    <a:pt x="246" y="220"/>
                  </a:cubicBezTo>
                  <a:cubicBezTo>
                    <a:pt x="246" y="220"/>
                    <a:pt x="246" y="220"/>
                    <a:pt x="246" y="220"/>
                  </a:cubicBezTo>
                  <a:cubicBezTo>
                    <a:pt x="247" y="219"/>
                    <a:pt x="247" y="219"/>
                    <a:pt x="247" y="219"/>
                  </a:cubicBezTo>
                  <a:cubicBezTo>
                    <a:pt x="248" y="219"/>
                    <a:pt x="248" y="219"/>
                    <a:pt x="248" y="219"/>
                  </a:cubicBezTo>
                  <a:cubicBezTo>
                    <a:pt x="248" y="219"/>
                    <a:pt x="248" y="219"/>
                    <a:pt x="248" y="219"/>
                  </a:cubicBezTo>
                  <a:cubicBezTo>
                    <a:pt x="248" y="219"/>
                    <a:pt x="248" y="219"/>
                    <a:pt x="248" y="219"/>
                  </a:cubicBezTo>
                  <a:cubicBezTo>
                    <a:pt x="248" y="219"/>
                    <a:pt x="248" y="219"/>
                    <a:pt x="248" y="219"/>
                  </a:cubicBezTo>
                  <a:cubicBezTo>
                    <a:pt x="248" y="218"/>
                    <a:pt x="248" y="218"/>
                    <a:pt x="248" y="218"/>
                  </a:cubicBezTo>
                  <a:cubicBezTo>
                    <a:pt x="248" y="218"/>
                    <a:pt x="248" y="218"/>
                    <a:pt x="248" y="218"/>
                  </a:cubicBezTo>
                  <a:cubicBezTo>
                    <a:pt x="249" y="218"/>
                    <a:pt x="249" y="218"/>
                    <a:pt x="249" y="218"/>
                  </a:cubicBezTo>
                  <a:cubicBezTo>
                    <a:pt x="249" y="218"/>
                    <a:pt x="249" y="218"/>
                    <a:pt x="249" y="218"/>
                  </a:cubicBezTo>
                  <a:cubicBezTo>
                    <a:pt x="249" y="218"/>
                    <a:pt x="249" y="218"/>
                    <a:pt x="249" y="218"/>
                  </a:cubicBezTo>
                  <a:cubicBezTo>
                    <a:pt x="249" y="219"/>
                    <a:pt x="249" y="219"/>
                    <a:pt x="249" y="219"/>
                  </a:cubicBezTo>
                  <a:cubicBezTo>
                    <a:pt x="249" y="219"/>
                    <a:pt x="249" y="219"/>
                    <a:pt x="249" y="219"/>
                  </a:cubicBezTo>
                  <a:cubicBezTo>
                    <a:pt x="251" y="218"/>
                    <a:pt x="251" y="218"/>
                    <a:pt x="251" y="218"/>
                  </a:cubicBezTo>
                  <a:cubicBezTo>
                    <a:pt x="252" y="218"/>
                    <a:pt x="252" y="218"/>
                    <a:pt x="252" y="218"/>
                  </a:cubicBezTo>
                  <a:cubicBezTo>
                    <a:pt x="252" y="218"/>
                    <a:pt x="252" y="218"/>
                    <a:pt x="252" y="218"/>
                  </a:cubicBezTo>
                  <a:cubicBezTo>
                    <a:pt x="253" y="218"/>
                    <a:pt x="253" y="218"/>
                    <a:pt x="253" y="218"/>
                  </a:cubicBezTo>
                  <a:cubicBezTo>
                    <a:pt x="253" y="218"/>
                    <a:pt x="253" y="218"/>
                    <a:pt x="253" y="218"/>
                  </a:cubicBezTo>
                  <a:cubicBezTo>
                    <a:pt x="253" y="218"/>
                    <a:pt x="253" y="218"/>
                    <a:pt x="253" y="218"/>
                  </a:cubicBezTo>
                  <a:cubicBezTo>
                    <a:pt x="253" y="217"/>
                    <a:pt x="253" y="217"/>
                    <a:pt x="253" y="217"/>
                  </a:cubicBezTo>
                  <a:cubicBezTo>
                    <a:pt x="253" y="217"/>
                    <a:pt x="253" y="217"/>
                    <a:pt x="253" y="217"/>
                  </a:cubicBezTo>
                  <a:cubicBezTo>
                    <a:pt x="253" y="217"/>
                    <a:pt x="253" y="217"/>
                    <a:pt x="253" y="217"/>
                  </a:cubicBezTo>
                  <a:cubicBezTo>
                    <a:pt x="253" y="217"/>
                    <a:pt x="253" y="217"/>
                    <a:pt x="253" y="217"/>
                  </a:cubicBezTo>
                  <a:cubicBezTo>
                    <a:pt x="253" y="217"/>
                    <a:pt x="253" y="217"/>
                    <a:pt x="253" y="217"/>
                  </a:cubicBezTo>
                  <a:cubicBezTo>
                    <a:pt x="253" y="217"/>
                    <a:pt x="253" y="217"/>
                    <a:pt x="253" y="217"/>
                  </a:cubicBezTo>
                  <a:cubicBezTo>
                    <a:pt x="253" y="217"/>
                    <a:pt x="253" y="217"/>
                    <a:pt x="253" y="217"/>
                  </a:cubicBezTo>
                  <a:cubicBezTo>
                    <a:pt x="253" y="217"/>
                    <a:pt x="253" y="217"/>
                    <a:pt x="253" y="217"/>
                  </a:cubicBezTo>
                  <a:cubicBezTo>
                    <a:pt x="254" y="217"/>
                    <a:pt x="254" y="217"/>
                    <a:pt x="254" y="217"/>
                  </a:cubicBezTo>
                  <a:cubicBezTo>
                    <a:pt x="254" y="217"/>
                    <a:pt x="254" y="217"/>
                    <a:pt x="254" y="217"/>
                  </a:cubicBezTo>
                  <a:cubicBezTo>
                    <a:pt x="254" y="217"/>
                    <a:pt x="254" y="217"/>
                    <a:pt x="254" y="217"/>
                  </a:cubicBezTo>
                  <a:cubicBezTo>
                    <a:pt x="254" y="217"/>
                    <a:pt x="254" y="217"/>
                    <a:pt x="254" y="217"/>
                  </a:cubicBezTo>
                  <a:cubicBezTo>
                    <a:pt x="254" y="217"/>
                    <a:pt x="254" y="217"/>
                    <a:pt x="254" y="217"/>
                  </a:cubicBezTo>
                  <a:cubicBezTo>
                    <a:pt x="254" y="217"/>
                    <a:pt x="254" y="217"/>
                    <a:pt x="254" y="217"/>
                  </a:cubicBezTo>
                  <a:cubicBezTo>
                    <a:pt x="255" y="217"/>
                    <a:pt x="255" y="217"/>
                    <a:pt x="255" y="217"/>
                  </a:cubicBezTo>
                  <a:cubicBezTo>
                    <a:pt x="255" y="217"/>
                    <a:pt x="255" y="217"/>
                    <a:pt x="255" y="217"/>
                  </a:cubicBezTo>
                  <a:cubicBezTo>
                    <a:pt x="256" y="217"/>
                    <a:pt x="256" y="217"/>
                    <a:pt x="256" y="217"/>
                  </a:cubicBezTo>
                  <a:cubicBezTo>
                    <a:pt x="256" y="217"/>
                    <a:pt x="256" y="217"/>
                    <a:pt x="256" y="217"/>
                  </a:cubicBezTo>
                  <a:cubicBezTo>
                    <a:pt x="257" y="217"/>
                    <a:pt x="257" y="217"/>
                    <a:pt x="257" y="217"/>
                  </a:cubicBezTo>
                  <a:cubicBezTo>
                    <a:pt x="258" y="217"/>
                    <a:pt x="258" y="217"/>
                    <a:pt x="258" y="217"/>
                  </a:cubicBezTo>
                  <a:cubicBezTo>
                    <a:pt x="259" y="216"/>
                    <a:pt x="259" y="216"/>
                    <a:pt x="259" y="216"/>
                  </a:cubicBezTo>
                  <a:cubicBezTo>
                    <a:pt x="259" y="216"/>
                    <a:pt x="259" y="216"/>
                    <a:pt x="259" y="216"/>
                  </a:cubicBezTo>
                  <a:cubicBezTo>
                    <a:pt x="259" y="216"/>
                    <a:pt x="259" y="216"/>
                    <a:pt x="259" y="216"/>
                  </a:cubicBezTo>
                  <a:cubicBezTo>
                    <a:pt x="259" y="216"/>
                    <a:pt x="259" y="216"/>
                    <a:pt x="259" y="216"/>
                  </a:cubicBezTo>
                  <a:cubicBezTo>
                    <a:pt x="259" y="216"/>
                    <a:pt x="259" y="216"/>
                    <a:pt x="259" y="216"/>
                  </a:cubicBezTo>
                  <a:cubicBezTo>
                    <a:pt x="259" y="216"/>
                    <a:pt x="259" y="216"/>
                    <a:pt x="259" y="216"/>
                  </a:cubicBezTo>
                  <a:cubicBezTo>
                    <a:pt x="260" y="216"/>
                    <a:pt x="260" y="216"/>
                    <a:pt x="260" y="216"/>
                  </a:cubicBezTo>
                  <a:cubicBezTo>
                    <a:pt x="260" y="216"/>
                    <a:pt x="260" y="216"/>
                    <a:pt x="260" y="216"/>
                  </a:cubicBezTo>
                  <a:cubicBezTo>
                    <a:pt x="260" y="216"/>
                    <a:pt x="260" y="216"/>
                    <a:pt x="260" y="216"/>
                  </a:cubicBezTo>
                  <a:cubicBezTo>
                    <a:pt x="261" y="216"/>
                    <a:pt x="261" y="216"/>
                    <a:pt x="261" y="216"/>
                  </a:cubicBezTo>
                  <a:cubicBezTo>
                    <a:pt x="261" y="216"/>
                    <a:pt x="261" y="216"/>
                    <a:pt x="261" y="216"/>
                  </a:cubicBezTo>
                  <a:cubicBezTo>
                    <a:pt x="261" y="216"/>
                    <a:pt x="261" y="216"/>
                    <a:pt x="261" y="216"/>
                  </a:cubicBezTo>
                  <a:cubicBezTo>
                    <a:pt x="262" y="217"/>
                    <a:pt x="262" y="217"/>
                    <a:pt x="262" y="217"/>
                  </a:cubicBezTo>
                  <a:cubicBezTo>
                    <a:pt x="262" y="217"/>
                    <a:pt x="262" y="217"/>
                    <a:pt x="262" y="217"/>
                  </a:cubicBezTo>
                  <a:cubicBezTo>
                    <a:pt x="262" y="217"/>
                    <a:pt x="262" y="217"/>
                    <a:pt x="262" y="217"/>
                  </a:cubicBezTo>
                  <a:cubicBezTo>
                    <a:pt x="262" y="217"/>
                    <a:pt x="262" y="217"/>
                    <a:pt x="262" y="217"/>
                  </a:cubicBezTo>
                  <a:cubicBezTo>
                    <a:pt x="263" y="216"/>
                    <a:pt x="263" y="216"/>
                    <a:pt x="263" y="216"/>
                  </a:cubicBezTo>
                  <a:cubicBezTo>
                    <a:pt x="264" y="216"/>
                    <a:pt x="264" y="216"/>
                    <a:pt x="264" y="216"/>
                  </a:cubicBezTo>
                  <a:cubicBezTo>
                    <a:pt x="264" y="216"/>
                    <a:pt x="264" y="216"/>
                    <a:pt x="264" y="216"/>
                  </a:cubicBezTo>
                  <a:cubicBezTo>
                    <a:pt x="264" y="215"/>
                    <a:pt x="264" y="215"/>
                    <a:pt x="264" y="215"/>
                  </a:cubicBezTo>
                  <a:cubicBezTo>
                    <a:pt x="264" y="215"/>
                    <a:pt x="264" y="215"/>
                    <a:pt x="264" y="215"/>
                  </a:cubicBezTo>
                  <a:cubicBezTo>
                    <a:pt x="264" y="216"/>
                    <a:pt x="264" y="216"/>
                    <a:pt x="264" y="216"/>
                  </a:cubicBezTo>
                  <a:cubicBezTo>
                    <a:pt x="264" y="216"/>
                    <a:pt x="264" y="216"/>
                    <a:pt x="264" y="216"/>
                  </a:cubicBezTo>
                  <a:cubicBezTo>
                    <a:pt x="264" y="216"/>
                    <a:pt x="264" y="216"/>
                    <a:pt x="264" y="216"/>
                  </a:cubicBezTo>
                  <a:cubicBezTo>
                    <a:pt x="264" y="216"/>
                    <a:pt x="264" y="216"/>
                    <a:pt x="264" y="216"/>
                  </a:cubicBezTo>
                  <a:cubicBezTo>
                    <a:pt x="263" y="217"/>
                    <a:pt x="263" y="217"/>
                    <a:pt x="263" y="217"/>
                  </a:cubicBezTo>
                  <a:cubicBezTo>
                    <a:pt x="263" y="217"/>
                    <a:pt x="263" y="217"/>
                    <a:pt x="263" y="217"/>
                  </a:cubicBezTo>
                  <a:cubicBezTo>
                    <a:pt x="263" y="217"/>
                    <a:pt x="263" y="217"/>
                    <a:pt x="263" y="217"/>
                  </a:cubicBezTo>
                  <a:cubicBezTo>
                    <a:pt x="262" y="218"/>
                    <a:pt x="262" y="218"/>
                    <a:pt x="262" y="218"/>
                  </a:cubicBezTo>
                  <a:cubicBezTo>
                    <a:pt x="262" y="218"/>
                    <a:pt x="262" y="218"/>
                    <a:pt x="262" y="218"/>
                  </a:cubicBezTo>
                  <a:cubicBezTo>
                    <a:pt x="262" y="218"/>
                    <a:pt x="262" y="218"/>
                    <a:pt x="262" y="218"/>
                  </a:cubicBezTo>
                  <a:cubicBezTo>
                    <a:pt x="263" y="218"/>
                    <a:pt x="263" y="218"/>
                    <a:pt x="263" y="218"/>
                  </a:cubicBezTo>
                  <a:cubicBezTo>
                    <a:pt x="263" y="218"/>
                    <a:pt x="263" y="218"/>
                    <a:pt x="263" y="218"/>
                  </a:cubicBezTo>
                  <a:cubicBezTo>
                    <a:pt x="264" y="217"/>
                    <a:pt x="264" y="217"/>
                    <a:pt x="264" y="217"/>
                  </a:cubicBezTo>
                  <a:cubicBezTo>
                    <a:pt x="265" y="217"/>
                    <a:pt x="265" y="217"/>
                    <a:pt x="265" y="217"/>
                  </a:cubicBezTo>
                  <a:cubicBezTo>
                    <a:pt x="265" y="216"/>
                    <a:pt x="265" y="216"/>
                    <a:pt x="265" y="216"/>
                  </a:cubicBezTo>
                  <a:cubicBezTo>
                    <a:pt x="266" y="215"/>
                    <a:pt x="266" y="215"/>
                    <a:pt x="266" y="215"/>
                  </a:cubicBezTo>
                  <a:cubicBezTo>
                    <a:pt x="267" y="214"/>
                    <a:pt x="267" y="214"/>
                    <a:pt x="267" y="214"/>
                  </a:cubicBezTo>
                  <a:cubicBezTo>
                    <a:pt x="268" y="213"/>
                    <a:pt x="268" y="213"/>
                    <a:pt x="268" y="213"/>
                  </a:cubicBezTo>
                  <a:cubicBezTo>
                    <a:pt x="269" y="213"/>
                    <a:pt x="269" y="213"/>
                    <a:pt x="269" y="213"/>
                  </a:cubicBezTo>
                  <a:cubicBezTo>
                    <a:pt x="269" y="214"/>
                    <a:pt x="269" y="214"/>
                    <a:pt x="269" y="214"/>
                  </a:cubicBezTo>
                  <a:cubicBezTo>
                    <a:pt x="270" y="213"/>
                    <a:pt x="270" y="213"/>
                    <a:pt x="270" y="213"/>
                  </a:cubicBezTo>
                  <a:cubicBezTo>
                    <a:pt x="269" y="213"/>
                    <a:pt x="269" y="213"/>
                    <a:pt x="269" y="213"/>
                  </a:cubicBezTo>
                  <a:cubicBezTo>
                    <a:pt x="269" y="213"/>
                    <a:pt x="269" y="213"/>
                    <a:pt x="269" y="213"/>
                  </a:cubicBezTo>
                  <a:cubicBezTo>
                    <a:pt x="270" y="213"/>
                    <a:pt x="270" y="213"/>
                    <a:pt x="270" y="213"/>
                  </a:cubicBezTo>
                  <a:cubicBezTo>
                    <a:pt x="270" y="213"/>
                    <a:pt x="270" y="213"/>
                    <a:pt x="270" y="213"/>
                  </a:cubicBezTo>
                  <a:cubicBezTo>
                    <a:pt x="270" y="213"/>
                    <a:pt x="270" y="213"/>
                    <a:pt x="270" y="213"/>
                  </a:cubicBezTo>
                  <a:cubicBezTo>
                    <a:pt x="270" y="213"/>
                    <a:pt x="270" y="213"/>
                    <a:pt x="270" y="213"/>
                  </a:cubicBezTo>
                  <a:cubicBezTo>
                    <a:pt x="270" y="213"/>
                    <a:pt x="270" y="213"/>
                    <a:pt x="270" y="213"/>
                  </a:cubicBezTo>
                  <a:cubicBezTo>
                    <a:pt x="270" y="213"/>
                    <a:pt x="270" y="213"/>
                    <a:pt x="270" y="213"/>
                  </a:cubicBezTo>
                  <a:cubicBezTo>
                    <a:pt x="271" y="213"/>
                    <a:pt x="271" y="213"/>
                    <a:pt x="271" y="213"/>
                  </a:cubicBezTo>
                  <a:cubicBezTo>
                    <a:pt x="271" y="213"/>
                    <a:pt x="271" y="213"/>
                    <a:pt x="271" y="213"/>
                  </a:cubicBezTo>
                  <a:cubicBezTo>
                    <a:pt x="271" y="213"/>
                    <a:pt x="271" y="213"/>
                    <a:pt x="271" y="213"/>
                  </a:cubicBezTo>
                  <a:cubicBezTo>
                    <a:pt x="271" y="212"/>
                    <a:pt x="271" y="212"/>
                    <a:pt x="271" y="212"/>
                  </a:cubicBezTo>
                  <a:cubicBezTo>
                    <a:pt x="271" y="212"/>
                    <a:pt x="271" y="212"/>
                    <a:pt x="271" y="212"/>
                  </a:cubicBezTo>
                  <a:cubicBezTo>
                    <a:pt x="271" y="212"/>
                    <a:pt x="271" y="212"/>
                    <a:pt x="271" y="212"/>
                  </a:cubicBezTo>
                  <a:cubicBezTo>
                    <a:pt x="271" y="212"/>
                    <a:pt x="271" y="212"/>
                    <a:pt x="271" y="212"/>
                  </a:cubicBezTo>
                  <a:cubicBezTo>
                    <a:pt x="271" y="212"/>
                    <a:pt x="271" y="212"/>
                    <a:pt x="271" y="212"/>
                  </a:cubicBezTo>
                  <a:cubicBezTo>
                    <a:pt x="271" y="212"/>
                    <a:pt x="271" y="212"/>
                    <a:pt x="271" y="212"/>
                  </a:cubicBezTo>
                  <a:cubicBezTo>
                    <a:pt x="271" y="212"/>
                    <a:pt x="271" y="212"/>
                    <a:pt x="271" y="212"/>
                  </a:cubicBezTo>
                  <a:cubicBezTo>
                    <a:pt x="272" y="212"/>
                    <a:pt x="272" y="212"/>
                    <a:pt x="272" y="212"/>
                  </a:cubicBezTo>
                  <a:cubicBezTo>
                    <a:pt x="272" y="212"/>
                    <a:pt x="272" y="212"/>
                    <a:pt x="272" y="212"/>
                  </a:cubicBezTo>
                  <a:cubicBezTo>
                    <a:pt x="272" y="212"/>
                    <a:pt x="272" y="212"/>
                    <a:pt x="272" y="212"/>
                  </a:cubicBezTo>
                  <a:cubicBezTo>
                    <a:pt x="272" y="212"/>
                    <a:pt x="272" y="212"/>
                    <a:pt x="272" y="212"/>
                  </a:cubicBezTo>
                  <a:cubicBezTo>
                    <a:pt x="272" y="212"/>
                    <a:pt x="272" y="212"/>
                    <a:pt x="272" y="212"/>
                  </a:cubicBezTo>
                  <a:cubicBezTo>
                    <a:pt x="272" y="212"/>
                    <a:pt x="272" y="212"/>
                    <a:pt x="272" y="212"/>
                  </a:cubicBezTo>
                  <a:cubicBezTo>
                    <a:pt x="272" y="212"/>
                    <a:pt x="272" y="212"/>
                    <a:pt x="272" y="212"/>
                  </a:cubicBezTo>
                  <a:cubicBezTo>
                    <a:pt x="272" y="212"/>
                    <a:pt x="272" y="212"/>
                    <a:pt x="272" y="212"/>
                  </a:cubicBezTo>
                  <a:cubicBezTo>
                    <a:pt x="272" y="212"/>
                    <a:pt x="272" y="212"/>
                    <a:pt x="272" y="212"/>
                  </a:cubicBezTo>
                  <a:cubicBezTo>
                    <a:pt x="272" y="212"/>
                    <a:pt x="272" y="212"/>
                    <a:pt x="272" y="212"/>
                  </a:cubicBezTo>
                  <a:cubicBezTo>
                    <a:pt x="272" y="212"/>
                    <a:pt x="272" y="212"/>
                    <a:pt x="272" y="212"/>
                  </a:cubicBezTo>
                  <a:cubicBezTo>
                    <a:pt x="273" y="211"/>
                    <a:pt x="273" y="211"/>
                    <a:pt x="273" y="211"/>
                  </a:cubicBezTo>
                  <a:cubicBezTo>
                    <a:pt x="273" y="210"/>
                    <a:pt x="273" y="210"/>
                    <a:pt x="273" y="210"/>
                  </a:cubicBezTo>
                  <a:cubicBezTo>
                    <a:pt x="274" y="210"/>
                    <a:pt x="274" y="210"/>
                    <a:pt x="274" y="210"/>
                  </a:cubicBezTo>
                  <a:cubicBezTo>
                    <a:pt x="273" y="210"/>
                    <a:pt x="273" y="210"/>
                    <a:pt x="273" y="210"/>
                  </a:cubicBezTo>
                  <a:cubicBezTo>
                    <a:pt x="273" y="211"/>
                    <a:pt x="273" y="211"/>
                    <a:pt x="273" y="211"/>
                  </a:cubicBezTo>
                  <a:cubicBezTo>
                    <a:pt x="273" y="211"/>
                    <a:pt x="273" y="211"/>
                    <a:pt x="273" y="211"/>
                  </a:cubicBezTo>
                  <a:cubicBezTo>
                    <a:pt x="273" y="211"/>
                    <a:pt x="273" y="211"/>
                    <a:pt x="273" y="211"/>
                  </a:cubicBezTo>
                  <a:cubicBezTo>
                    <a:pt x="273" y="211"/>
                    <a:pt x="273" y="211"/>
                    <a:pt x="273" y="211"/>
                  </a:cubicBezTo>
                  <a:cubicBezTo>
                    <a:pt x="274" y="211"/>
                    <a:pt x="274" y="211"/>
                    <a:pt x="274" y="211"/>
                  </a:cubicBezTo>
                  <a:cubicBezTo>
                    <a:pt x="274" y="211"/>
                    <a:pt x="274" y="211"/>
                    <a:pt x="274" y="211"/>
                  </a:cubicBezTo>
                  <a:cubicBezTo>
                    <a:pt x="274" y="211"/>
                    <a:pt x="274" y="211"/>
                    <a:pt x="274" y="211"/>
                  </a:cubicBezTo>
                  <a:cubicBezTo>
                    <a:pt x="274" y="211"/>
                    <a:pt x="274" y="211"/>
                    <a:pt x="274" y="211"/>
                  </a:cubicBezTo>
                  <a:cubicBezTo>
                    <a:pt x="274" y="210"/>
                    <a:pt x="274" y="210"/>
                    <a:pt x="274" y="210"/>
                  </a:cubicBezTo>
                  <a:cubicBezTo>
                    <a:pt x="275" y="210"/>
                    <a:pt x="275" y="210"/>
                    <a:pt x="275" y="210"/>
                  </a:cubicBezTo>
                  <a:cubicBezTo>
                    <a:pt x="275" y="210"/>
                    <a:pt x="275" y="210"/>
                    <a:pt x="275" y="210"/>
                  </a:cubicBezTo>
                  <a:cubicBezTo>
                    <a:pt x="275" y="211"/>
                    <a:pt x="275" y="211"/>
                    <a:pt x="275" y="211"/>
                  </a:cubicBezTo>
                  <a:cubicBezTo>
                    <a:pt x="275" y="211"/>
                    <a:pt x="275" y="211"/>
                    <a:pt x="275" y="211"/>
                  </a:cubicBezTo>
                  <a:cubicBezTo>
                    <a:pt x="275" y="211"/>
                    <a:pt x="275" y="211"/>
                    <a:pt x="275" y="211"/>
                  </a:cubicBezTo>
                  <a:cubicBezTo>
                    <a:pt x="275" y="210"/>
                    <a:pt x="275" y="210"/>
                    <a:pt x="275" y="210"/>
                  </a:cubicBezTo>
                  <a:cubicBezTo>
                    <a:pt x="275" y="210"/>
                    <a:pt x="275" y="210"/>
                    <a:pt x="275" y="210"/>
                  </a:cubicBezTo>
                  <a:cubicBezTo>
                    <a:pt x="276" y="210"/>
                    <a:pt x="276" y="210"/>
                    <a:pt x="276" y="210"/>
                  </a:cubicBezTo>
                  <a:cubicBezTo>
                    <a:pt x="276" y="210"/>
                    <a:pt x="276" y="210"/>
                    <a:pt x="276" y="210"/>
                  </a:cubicBezTo>
                  <a:cubicBezTo>
                    <a:pt x="276" y="210"/>
                    <a:pt x="276" y="210"/>
                    <a:pt x="276" y="210"/>
                  </a:cubicBezTo>
                  <a:cubicBezTo>
                    <a:pt x="276" y="210"/>
                    <a:pt x="276" y="210"/>
                    <a:pt x="276" y="210"/>
                  </a:cubicBezTo>
                  <a:cubicBezTo>
                    <a:pt x="277" y="210"/>
                    <a:pt x="277" y="210"/>
                    <a:pt x="277" y="210"/>
                  </a:cubicBezTo>
                  <a:cubicBezTo>
                    <a:pt x="277" y="210"/>
                    <a:pt x="277" y="210"/>
                    <a:pt x="277" y="210"/>
                  </a:cubicBezTo>
                  <a:cubicBezTo>
                    <a:pt x="277" y="209"/>
                    <a:pt x="277" y="209"/>
                    <a:pt x="277" y="209"/>
                  </a:cubicBezTo>
                  <a:cubicBezTo>
                    <a:pt x="277" y="209"/>
                    <a:pt x="277" y="209"/>
                    <a:pt x="277" y="209"/>
                  </a:cubicBezTo>
                  <a:cubicBezTo>
                    <a:pt x="278" y="209"/>
                    <a:pt x="278" y="209"/>
                    <a:pt x="278" y="209"/>
                  </a:cubicBezTo>
                  <a:cubicBezTo>
                    <a:pt x="278" y="209"/>
                    <a:pt x="278" y="209"/>
                    <a:pt x="278" y="209"/>
                  </a:cubicBezTo>
                  <a:cubicBezTo>
                    <a:pt x="278" y="209"/>
                    <a:pt x="278" y="209"/>
                    <a:pt x="278" y="209"/>
                  </a:cubicBezTo>
                  <a:cubicBezTo>
                    <a:pt x="278" y="209"/>
                    <a:pt x="278" y="209"/>
                    <a:pt x="278" y="209"/>
                  </a:cubicBezTo>
                  <a:cubicBezTo>
                    <a:pt x="278" y="209"/>
                    <a:pt x="278" y="209"/>
                    <a:pt x="278" y="209"/>
                  </a:cubicBezTo>
                  <a:cubicBezTo>
                    <a:pt x="278" y="209"/>
                    <a:pt x="278" y="209"/>
                    <a:pt x="278" y="209"/>
                  </a:cubicBezTo>
                  <a:cubicBezTo>
                    <a:pt x="278" y="209"/>
                    <a:pt x="278" y="209"/>
                    <a:pt x="278" y="209"/>
                  </a:cubicBezTo>
                  <a:cubicBezTo>
                    <a:pt x="278" y="209"/>
                    <a:pt x="278" y="209"/>
                    <a:pt x="278" y="209"/>
                  </a:cubicBezTo>
                  <a:cubicBezTo>
                    <a:pt x="278" y="209"/>
                    <a:pt x="278" y="209"/>
                    <a:pt x="278" y="209"/>
                  </a:cubicBezTo>
                  <a:cubicBezTo>
                    <a:pt x="278" y="209"/>
                    <a:pt x="278" y="209"/>
                    <a:pt x="278" y="209"/>
                  </a:cubicBezTo>
                  <a:cubicBezTo>
                    <a:pt x="279" y="209"/>
                    <a:pt x="279" y="209"/>
                    <a:pt x="279" y="209"/>
                  </a:cubicBezTo>
                  <a:cubicBezTo>
                    <a:pt x="279" y="209"/>
                    <a:pt x="279" y="209"/>
                    <a:pt x="279" y="209"/>
                  </a:cubicBezTo>
                  <a:cubicBezTo>
                    <a:pt x="279" y="209"/>
                    <a:pt x="279" y="209"/>
                    <a:pt x="279" y="209"/>
                  </a:cubicBezTo>
                  <a:cubicBezTo>
                    <a:pt x="279" y="209"/>
                    <a:pt x="279" y="209"/>
                    <a:pt x="279" y="209"/>
                  </a:cubicBezTo>
                  <a:cubicBezTo>
                    <a:pt x="279" y="209"/>
                    <a:pt x="279" y="209"/>
                    <a:pt x="279" y="209"/>
                  </a:cubicBezTo>
                  <a:cubicBezTo>
                    <a:pt x="279" y="209"/>
                    <a:pt x="279" y="209"/>
                    <a:pt x="279" y="209"/>
                  </a:cubicBezTo>
                  <a:cubicBezTo>
                    <a:pt x="279" y="209"/>
                    <a:pt x="279" y="209"/>
                    <a:pt x="279" y="209"/>
                  </a:cubicBezTo>
                  <a:cubicBezTo>
                    <a:pt x="279" y="209"/>
                    <a:pt x="279" y="209"/>
                    <a:pt x="279" y="209"/>
                  </a:cubicBezTo>
                  <a:cubicBezTo>
                    <a:pt x="279" y="208"/>
                    <a:pt x="279" y="208"/>
                    <a:pt x="279" y="208"/>
                  </a:cubicBezTo>
                  <a:cubicBezTo>
                    <a:pt x="279" y="208"/>
                    <a:pt x="279" y="208"/>
                    <a:pt x="279" y="208"/>
                  </a:cubicBezTo>
                  <a:cubicBezTo>
                    <a:pt x="280" y="208"/>
                    <a:pt x="280" y="208"/>
                    <a:pt x="280" y="208"/>
                  </a:cubicBezTo>
                  <a:cubicBezTo>
                    <a:pt x="280" y="208"/>
                    <a:pt x="280" y="208"/>
                    <a:pt x="280" y="208"/>
                  </a:cubicBezTo>
                  <a:cubicBezTo>
                    <a:pt x="280" y="208"/>
                    <a:pt x="280" y="208"/>
                    <a:pt x="280" y="208"/>
                  </a:cubicBezTo>
                  <a:cubicBezTo>
                    <a:pt x="280" y="207"/>
                    <a:pt x="280" y="207"/>
                    <a:pt x="280" y="207"/>
                  </a:cubicBezTo>
                  <a:cubicBezTo>
                    <a:pt x="280" y="208"/>
                    <a:pt x="280" y="208"/>
                    <a:pt x="280" y="208"/>
                  </a:cubicBezTo>
                  <a:cubicBezTo>
                    <a:pt x="280" y="208"/>
                    <a:pt x="280" y="208"/>
                    <a:pt x="280" y="208"/>
                  </a:cubicBezTo>
                  <a:cubicBezTo>
                    <a:pt x="280" y="208"/>
                    <a:pt x="280" y="208"/>
                    <a:pt x="280" y="208"/>
                  </a:cubicBezTo>
                  <a:cubicBezTo>
                    <a:pt x="280" y="207"/>
                    <a:pt x="280" y="207"/>
                    <a:pt x="280" y="207"/>
                  </a:cubicBezTo>
                  <a:cubicBezTo>
                    <a:pt x="280" y="208"/>
                    <a:pt x="280" y="208"/>
                    <a:pt x="280" y="208"/>
                  </a:cubicBezTo>
                  <a:cubicBezTo>
                    <a:pt x="280" y="208"/>
                    <a:pt x="280" y="208"/>
                    <a:pt x="280" y="208"/>
                  </a:cubicBezTo>
                  <a:cubicBezTo>
                    <a:pt x="280" y="208"/>
                    <a:pt x="280" y="208"/>
                    <a:pt x="280" y="208"/>
                  </a:cubicBezTo>
                  <a:cubicBezTo>
                    <a:pt x="280" y="208"/>
                    <a:pt x="280" y="208"/>
                    <a:pt x="280" y="208"/>
                  </a:cubicBezTo>
                  <a:cubicBezTo>
                    <a:pt x="280" y="208"/>
                    <a:pt x="280" y="208"/>
                    <a:pt x="280" y="208"/>
                  </a:cubicBezTo>
                  <a:cubicBezTo>
                    <a:pt x="281" y="208"/>
                    <a:pt x="281" y="208"/>
                    <a:pt x="281" y="208"/>
                  </a:cubicBezTo>
                  <a:cubicBezTo>
                    <a:pt x="281" y="207"/>
                    <a:pt x="281" y="207"/>
                    <a:pt x="281" y="207"/>
                  </a:cubicBezTo>
                  <a:cubicBezTo>
                    <a:pt x="281" y="207"/>
                    <a:pt x="281" y="207"/>
                    <a:pt x="281" y="207"/>
                  </a:cubicBezTo>
                  <a:cubicBezTo>
                    <a:pt x="281" y="207"/>
                    <a:pt x="281" y="207"/>
                    <a:pt x="281" y="207"/>
                  </a:cubicBezTo>
                  <a:cubicBezTo>
                    <a:pt x="281" y="207"/>
                    <a:pt x="281" y="207"/>
                    <a:pt x="281" y="207"/>
                  </a:cubicBezTo>
                  <a:cubicBezTo>
                    <a:pt x="281" y="207"/>
                    <a:pt x="281" y="207"/>
                    <a:pt x="281" y="207"/>
                  </a:cubicBezTo>
                  <a:cubicBezTo>
                    <a:pt x="281" y="208"/>
                    <a:pt x="281" y="208"/>
                    <a:pt x="281" y="208"/>
                  </a:cubicBezTo>
                  <a:cubicBezTo>
                    <a:pt x="281" y="208"/>
                    <a:pt x="281" y="208"/>
                    <a:pt x="281" y="208"/>
                  </a:cubicBezTo>
                  <a:cubicBezTo>
                    <a:pt x="281" y="208"/>
                    <a:pt x="281" y="208"/>
                    <a:pt x="281" y="208"/>
                  </a:cubicBezTo>
                  <a:cubicBezTo>
                    <a:pt x="282" y="208"/>
                    <a:pt x="282" y="208"/>
                    <a:pt x="282" y="208"/>
                  </a:cubicBezTo>
                  <a:cubicBezTo>
                    <a:pt x="282" y="208"/>
                    <a:pt x="282" y="208"/>
                    <a:pt x="282" y="208"/>
                  </a:cubicBezTo>
                  <a:cubicBezTo>
                    <a:pt x="282" y="208"/>
                    <a:pt x="282" y="208"/>
                    <a:pt x="282" y="208"/>
                  </a:cubicBezTo>
                  <a:cubicBezTo>
                    <a:pt x="282" y="208"/>
                    <a:pt x="282" y="208"/>
                    <a:pt x="282" y="208"/>
                  </a:cubicBezTo>
                  <a:cubicBezTo>
                    <a:pt x="282" y="208"/>
                    <a:pt x="282" y="208"/>
                    <a:pt x="282" y="208"/>
                  </a:cubicBezTo>
                  <a:cubicBezTo>
                    <a:pt x="282" y="208"/>
                    <a:pt x="282" y="208"/>
                    <a:pt x="282" y="208"/>
                  </a:cubicBezTo>
                  <a:cubicBezTo>
                    <a:pt x="282" y="208"/>
                    <a:pt x="282" y="208"/>
                    <a:pt x="282" y="208"/>
                  </a:cubicBezTo>
                  <a:cubicBezTo>
                    <a:pt x="282" y="208"/>
                    <a:pt x="282" y="208"/>
                    <a:pt x="282" y="208"/>
                  </a:cubicBezTo>
                  <a:cubicBezTo>
                    <a:pt x="282" y="207"/>
                    <a:pt x="282" y="207"/>
                    <a:pt x="282" y="207"/>
                  </a:cubicBezTo>
                  <a:cubicBezTo>
                    <a:pt x="282" y="207"/>
                    <a:pt x="282" y="207"/>
                    <a:pt x="282" y="207"/>
                  </a:cubicBezTo>
                  <a:cubicBezTo>
                    <a:pt x="283" y="207"/>
                    <a:pt x="283" y="207"/>
                    <a:pt x="283" y="207"/>
                  </a:cubicBezTo>
                  <a:cubicBezTo>
                    <a:pt x="283" y="207"/>
                    <a:pt x="283" y="207"/>
                    <a:pt x="283" y="207"/>
                  </a:cubicBezTo>
                  <a:cubicBezTo>
                    <a:pt x="283" y="207"/>
                    <a:pt x="283" y="207"/>
                    <a:pt x="283" y="207"/>
                  </a:cubicBezTo>
                  <a:cubicBezTo>
                    <a:pt x="283" y="207"/>
                    <a:pt x="283" y="207"/>
                    <a:pt x="283" y="207"/>
                  </a:cubicBezTo>
                  <a:cubicBezTo>
                    <a:pt x="283" y="207"/>
                    <a:pt x="283" y="207"/>
                    <a:pt x="283" y="207"/>
                  </a:cubicBezTo>
                  <a:cubicBezTo>
                    <a:pt x="284" y="206"/>
                    <a:pt x="284" y="206"/>
                    <a:pt x="284" y="206"/>
                  </a:cubicBezTo>
                  <a:cubicBezTo>
                    <a:pt x="284" y="206"/>
                    <a:pt x="284" y="206"/>
                    <a:pt x="284" y="206"/>
                  </a:cubicBezTo>
                  <a:cubicBezTo>
                    <a:pt x="284" y="206"/>
                    <a:pt x="284" y="206"/>
                    <a:pt x="284" y="206"/>
                  </a:cubicBezTo>
                  <a:cubicBezTo>
                    <a:pt x="284" y="206"/>
                    <a:pt x="284" y="206"/>
                    <a:pt x="284" y="206"/>
                  </a:cubicBezTo>
                  <a:cubicBezTo>
                    <a:pt x="284" y="206"/>
                    <a:pt x="284" y="206"/>
                    <a:pt x="284" y="206"/>
                  </a:cubicBezTo>
                  <a:cubicBezTo>
                    <a:pt x="284" y="206"/>
                    <a:pt x="284" y="206"/>
                    <a:pt x="284" y="206"/>
                  </a:cubicBezTo>
                  <a:cubicBezTo>
                    <a:pt x="284" y="206"/>
                    <a:pt x="284" y="206"/>
                    <a:pt x="284" y="206"/>
                  </a:cubicBezTo>
                  <a:cubicBezTo>
                    <a:pt x="284" y="206"/>
                    <a:pt x="284" y="206"/>
                    <a:pt x="284" y="206"/>
                  </a:cubicBezTo>
                  <a:cubicBezTo>
                    <a:pt x="285" y="205"/>
                    <a:pt x="285" y="205"/>
                    <a:pt x="285" y="205"/>
                  </a:cubicBezTo>
                  <a:cubicBezTo>
                    <a:pt x="285" y="205"/>
                    <a:pt x="285" y="205"/>
                    <a:pt x="285" y="205"/>
                  </a:cubicBezTo>
                  <a:cubicBezTo>
                    <a:pt x="285" y="204"/>
                    <a:pt x="285" y="204"/>
                    <a:pt x="285" y="204"/>
                  </a:cubicBezTo>
                  <a:cubicBezTo>
                    <a:pt x="285" y="204"/>
                    <a:pt x="285" y="204"/>
                    <a:pt x="285" y="204"/>
                  </a:cubicBezTo>
                  <a:cubicBezTo>
                    <a:pt x="285" y="204"/>
                    <a:pt x="285" y="204"/>
                    <a:pt x="285" y="204"/>
                  </a:cubicBezTo>
                  <a:cubicBezTo>
                    <a:pt x="285" y="204"/>
                    <a:pt x="285" y="204"/>
                    <a:pt x="285" y="204"/>
                  </a:cubicBezTo>
                  <a:cubicBezTo>
                    <a:pt x="285" y="205"/>
                    <a:pt x="285" y="205"/>
                    <a:pt x="285" y="205"/>
                  </a:cubicBezTo>
                  <a:cubicBezTo>
                    <a:pt x="285" y="205"/>
                    <a:pt x="285" y="205"/>
                    <a:pt x="285" y="205"/>
                  </a:cubicBezTo>
                  <a:cubicBezTo>
                    <a:pt x="284" y="204"/>
                    <a:pt x="284" y="204"/>
                    <a:pt x="284" y="204"/>
                  </a:cubicBezTo>
                  <a:cubicBezTo>
                    <a:pt x="284" y="204"/>
                    <a:pt x="284" y="204"/>
                    <a:pt x="284" y="204"/>
                  </a:cubicBezTo>
                  <a:cubicBezTo>
                    <a:pt x="284" y="204"/>
                    <a:pt x="284" y="204"/>
                    <a:pt x="284" y="204"/>
                  </a:cubicBezTo>
                  <a:cubicBezTo>
                    <a:pt x="284" y="204"/>
                    <a:pt x="284" y="204"/>
                    <a:pt x="284" y="204"/>
                  </a:cubicBezTo>
                  <a:cubicBezTo>
                    <a:pt x="284" y="204"/>
                    <a:pt x="284" y="204"/>
                    <a:pt x="284" y="204"/>
                  </a:cubicBezTo>
                  <a:cubicBezTo>
                    <a:pt x="284" y="204"/>
                    <a:pt x="284" y="204"/>
                    <a:pt x="284" y="204"/>
                  </a:cubicBezTo>
                  <a:cubicBezTo>
                    <a:pt x="284" y="203"/>
                    <a:pt x="284" y="203"/>
                    <a:pt x="284" y="203"/>
                  </a:cubicBezTo>
                  <a:cubicBezTo>
                    <a:pt x="284" y="203"/>
                    <a:pt x="284" y="203"/>
                    <a:pt x="284" y="203"/>
                  </a:cubicBezTo>
                  <a:cubicBezTo>
                    <a:pt x="284" y="202"/>
                    <a:pt x="284" y="202"/>
                    <a:pt x="284" y="202"/>
                  </a:cubicBezTo>
                  <a:cubicBezTo>
                    <a:pt x="285" y="202"/>
                    <a:pt x="285" y="202"/>
                    <a:pt x="285" y="202"/>
                  </a:cubicBezTo>
                  <a:cubicBezTo>
                    <a:pt x="285" y="202"/>
                    <a:pt x="285" y="202"/>
                    <a:pt x="285" y="202"/>
                  </a:cubicBezTo>
                  <a:cubicBezTo>
                    <a:pt x="285" y="202"/>
                    <a:pt x="285" y="202"/>
                    <a:pt x="285" y="202"/>
                  </a:cubicBezTo>
                  <a:cubicBezTo>
                    <a:pt x="285" y="202"/>
                    <a:pt x="285" y="202"/>
                    <a:pt x="285" y="202"/>
                  </a:cubicBezTo>
                  <a:cubicBezTo>
                    <a:pt x="285" y="202"/>
                    <a:pt x="285" y="202"/>
                    <a:pt x="285" y="202"/>
                  </a:cubicBezTo>
                  <a:cubicBezTo>
                    <a:pt x="285" y="202"/>
                    <a:pt x="285" y="202"/>
                    <a:pt x="285" y="202"/>
                  </a:cubicBezTo>
                  <a:cubicBezTo>
                    <a:pt x="286" y="201"/>
                    <a:pt x="286" y="201"/>
                    <a:pt x="286" y="201"/>
                  </a:cubicBezTo>
                  <a:cubicBezTo>
                    <a:pt x="286" y="201"/>
                    <a:pt x="286" y="201"/>
                    <a:pt x="286" y="201"/>
                  </a:cubicBezTo>
                  <a:cubicBezTo>
                    <a:pt x="287" y="201"/>
                    <a:pt x="287" y="201"/>
                    <a:pt x="287" y="201"/>
                  </a:cubicBezTo>
                  <a:cubicBezTo>
                    <a:pt x="287" y="200"/>
                    <a:pt x="287" y="200"/>
                    <a:pt x="287" y="200"/>
                  </a:cubicBezTo>
                  <a:cubicBezTo>
                    <a:pt x="287" y="200"/>
                    <a:pt x="287" y="200"/>
                    <a:pt x="287" y="200"/>
                  </a:cubicBezTo>
                  <a:cubicBezTo>
                    <a:pt x="287" y="200"/>
                    <a:pt x="287" y="200"/>
                    <a:pt x="287" y="200"/>
                  </a:cubicBezTo>
                  <a:cubicBezTo>
                    <a:pt x="287" y="200"/>
                    <a:pt x="287" y="200"/>
                    <a:pt x="287" y="200"/>
                  </a:cubicBezTo>
                  <a:cubicBezTo>
                    <a:pt x="287" y="199"/>
                    <a:pt x="287" y="199"/>
                    <a:pt x="287" y="199"/>
                  </a:cubicBezTo>
                  <a:cubicBezTo>
                    <a:pt x="287" y="199"/>
                    <a:pt x="287" y="199"/>
                    <a:pt x="287" y="199"/>
                  </a:cubicBezTo>
                  <a:cubicBezTo>
                    <a:pt x="287" y="199"/>
                    <a:pt x="287" y="199"/>
                    <a:pt x="287" y="199"/>
                  </a:cubicBezTo>
                  <a:cubicBezTo>
                    <a:pt x="287" y="199"/>
                    <a:pt x="287" y="199"/>
                    <a:pt x="287" y="199"/>
                  </a:cubicBezTo>
                  <a:cubicBezTo>
                    <a:pt x="287" y="199"/>
                    <a:pt x="287" y="199"/>
                    <a:pt x="287" y="199"/>
                  </a:cubicBezTo>
                  <a:cubicBezTo>
                    <a:pt x="288" y="199"/>
                    <a:pt x="288" y="199"/>
                    <a:pt x="288" y="199"/>
                  </a:cubicBezTo>
                  <a:cubicBezTo>
                    <a:pt x="288" y="199"/>
                    <a:pt x="288" y="199"/>
                    <a:pt x="288" y="199"/>
                  </a:cubicBezTo>
                  <a:cubicBezTo>
                    <a:pt x="288" y="199"/>
                    <a:pt x="288" y="199"/>
                    <a:pt x="288" y="199"/>
                  </a:cubicBezTo>
                  <a:cubicBezTo>
                    <a:pt x="288" y="198"/>
                    <a:pt x="288" y="198"/>
                    <a:pt x="288" y="198"/>
                  </a:cubicBezTo>
                  <a:cubicBezTo>
                    <a:pt x="288" y="198"/>
                    <a:pt x="288" y="198"/>
                    <a:pt x="288" y="198"/>
                  </a:cubicBezTo>
                  <a:cubicBezTo>
                    <a:pt x="288" y="198"/>
                    <a:pt x="288" y="198"/>
                    <a:pt x="288" y="198"/>
                  </a:cubicBezTo>
                  <a:cubicBezTo>
                    <a:pt x="288" y="198"/>
                    <a:pt x="288" y="198"/>
                    <a:pt x="288" y="198"/>
                  </a:cubicBezTo>
                  <a:cubicBezTo>
                    <a:pt x="287" y="198"/>
                    <a:pt x="287" y="198"/>
                    <a:pt x="287" y="198"/>
                  </a:cubicBezTo>
                  <a:cubicBezTo>
                    <a:pt x="287" y="197"/>
                    <a:pt x="287" y="197"/>
                    <a:pt x="287" y="197"/>
                  </a:cubicBezTo>
                  <a:cubicBezTo>
                    <a:pt x="287" y="197"/>
                    <a:pt x="287" y="197"/>
                    <a:pt x="287" y="197"/>
                  </a:cubicBezTo>
                  <a:cubicBezTo>
                    <a:pt x="288" y="197"/>
                    <a:pt x="288" y="197"/>
                    <a:pt x="288" y="197"/>
                  </a:cubicBezTo>
                  <a:cubicBezTo>
                    <a:pt x="288" y="197"/>
                    <a:pt x="288" y="197"/>
                    <a:pt x="288" y="197"/>
                  </a:cubicBezTo>
                  <a:cubicBezTo>
                    <a:pt x="288" y="197"/>
                    <a:pt x="288" y="197"/>
                    <a:pt x="288" y="197"/>
                  </a:cubicBezTo>
                  <a:cubicBezTo>
                    <a:pt x="288" y="196"/>
                    <a:pt x="288" y="196"/>
                    <a:pt x="288" y="196"/>
                  </a:cubicBezTo>
                  <a:cubicBezTo>
                    <a:pt x="288" y="196"/>
                    <a:pt x="288" y="196"/>
                    <a:pt x="288" y="196"/>
                  </a:cubicBezTo>
                  <a:cubicBezTo>
                    <a:pt x="288" y="196"/>
                    <a:pt x="288" y="196"/>
                    <a:pt x="288" y="196"/>
                  </a:cubicBezTo>
                  <a:cubicBezTo>
                    <a:pt x="287" y="196"/>
                    <a:pt x="287" y="196"/>
                    <a:pt x="287" y="196"/>
                  </a:cubicBezTo>
                  <a:cubicBezTo>
                    <a:pt x="288" y="196"/>
                    <a:pt x="288" y="196"/>
                    <a:pt x="288" y="196"/>
                  </a:cubicBezTo>
                  <a:cubicBezTo>
                    <a:pt x="288" y="196"/>
                    <a:pt x="288" y="196"/>
                    <a:pt x="288" y="196"/>
                  </a:cubicBezTo>
                  <a:cubicBezTo>
                    <a:pt x="288" y="196"/>
                    <a:pt x="288" y="196"/>
                    <a:pt x="288" y="196"/>
                  </a:cubicBezTo>
                  <a:cubicBezTo>
                    <a:pt x="288" y="196"/>
                    <a:pt x="288" y="196"/>
                    <a:pt x="288" y="196"/>
                  </a:cubicBezTo>
                  <a:cubicBezTo>
                    <a:pt x="288" y="196"/>
                    <a:pt x="288" y="196"/>
                    <a:pt x="288" y="196"/>
                  </a:cubicBezTo>
                  <a:cubicBezTo>
                    <a:pt x="288" y="195"/>
                    <a:pt x="288" y="195"/>
                    <a:pt x="288" y="195"/>
                  </a:cubicBezTo>
                  <a:cubicBezTo>
                    <a:pt x="289" y="195"/>
                    <a:pt x="289" y="195"/>
                    <a:pt x="289" y="195"/>
                  </a:cubicBezTo>
                  <a:cubicBezTo>
                    <a:pt x="289" y="194"/>
                    <a:pt x="289" y="194"/>
                    <a:pt x="289" y="194"/>
                  </a:cubicBezTo>
                  <a:cubicBezTo>
                    <a:pt x="289" y="194"/>
                    <a:pt x="289" y="194"/>
                    <a:pt x="289" y="194"/>
                  </a:cubicBezTo>
                  <a:cubicBezTo>
                    <a:pt x="289" y="194"/>
                    <a:pt x="289" y="194"/>
                    <a:pt x="289" y="194"/>
                  </a:cubicBezTo>
                  <a:cubicBezTo>
                    <a:pt x="289" y="194"/>
                    <a:pt x="289" y="194"/>
                    <a:pt x="289" y="194"/>
                  </a:cubicBezTo>
                  <a:cubicBezTo>
                    <a:pt x="289" y="194"/>
                    <a:pt x="289" y="194"/>
                    <a:pt x="289" y="194"/>
                  </a:cubicBezTo>
                  <a:cubicBezTo>
                    <a:pt x="289" y="194"/>
                    <a:pt x="289" y="194"/>
                    <a:pt x="289" y="194"/>
                  </a:cubicBezTo>
                  <a:cubicBezTo>
                    <a:pt x="289" y="194"/>
                    <a:pt x="289" y="194"/>
                    <a:pt x="289" y="194"/>
                  </a:cubicBezTo>
                  <a:cubicBezTo>
                    <a:pt x="289" y="193"/>
                    <a:pt x="289" y="193"/>
                    <a:pt x="289" y="193"/>
                  </a:cubicBezTo>
                  <a:cubicBezTo>
                    <a:pt x="289" y="193"/>
                    <a:pt x="289" y="193"/>
                    <a:pt x="289" y="193"/>
                  </a:cubicBezTo>
                  <a:cubicBezTo>
                    <a:pt x="289" y="194"/>
                    <a:pt x="289" y="194"/>
                    <a:pt x="289" y="194"/>
                  </a:cubicBezTo>
                  <a:cubicBezTo>
                    <a:pt x="290" y="194"/>
                    <a:pt x="290" y="194"/>
                    <a:pt x="290" y="194"/>
                  </a:cubicBezTo>
                  <a:cubicBezTo>
                    <a:pt x="290" y="193"/>
                    <a:pt x="290" y="193"/>
                    <a:pt x="290" y="193"/>
                  </a:cubicBezTo>
                  <a:cubicBezTo>
                    <a:pt x="290" y="193"/>
                    <a:pt x="290" y="193"/>
                    <a:pt x="290" y="193"/>
                  </a:cubicBezTo>
                  <a:cubicBezTo>
                    <a:pt x="290" y="192"/>
                    <a:pt x="290" y="192"/>
                    <a:pt x="290" y="192"/>
                  </a:cubicBezTo>
                  <a:cubicBezTo>
                    <a:pt x="290" y="191"/>
                    <a:pt x="290" y="191"/>
                    <a:pt x="290" y="191"/>
                  </a:cubicBezTo>
                  <a:cubicBezTo>
                    <a:pt x="290" y="191"/>
                    <a:pt x="290" y="191"/>
                    <a:pt x="290" y="191"/>
                  </a:cubicBezTo>
                  <a:cubicBezTo>
                    <a:pt x="290" y="190"/>
                    <a:pt x="290" y="190"/>
                    <a:pt x="290" y="190"/>
                  </a:cubicBezTo>
                  <a:cubicBezTo>
                    <a:pt x="290" y="190"/>
                    <a:pt x="290" y="190"/>
                    <a:pt x="290" y="190"/>
                  </a:cubicBezTo>
                  <a:cubicBezTo>
                    <a:pt x="290" y="190"/>
                    <a:pt x="290" y="190"/>
                    <a:pt x="290" y="190"/>
                  </a:cubicBezTo>
                  <a:cubicBezTo>
                    <a:pt x="290" y="190"/>
                    <a:pt x="290" y="190"/>
                    <a:pt x="290" y="190"/>
                  </a:cubicBezTo>
                  <a:cubicBezTo>
                    <a:pt x="290" y="191"/>
                    <a:pt x="290" y="191"/>
                    <a:pt x="290" y="191"/>
                  </a:cubicBezTo>
                  <a:cubicBezTo>
                    <a:pt x="290" y="191"/>
                    <a:pt x="290" y="191"/>
                    <a:pt x="290" y="191"/>
                  </a:cubicBezTo>
                  <a:cubicBezTo>
                    <a:pt x="290" y="191"/>
                    <a:pt x="290" y="191"/>
                    <a:pt x="290" y="191"/>
                  </a:cubicBezTo>
                  <a:cubicBezTo>
                    <a:pt x="290" y="192"/>
                    <a:pt x="290" y="192"/>
                    <a:pt x="290" y="192"/>
                  </a:cubicBezTo>
                  <a:cubicBezTo>
                    <a:pt x="291" y="192"/>
                    <a:pt x="291" y="192"/>
                    <a:pt x="291" y="192"/>
                  </a:cubicBezTo>
                  <a:cubicBezTo>
                    <a:pt x="291" y="193"/>
                    <a:pt x="291" y="193"/>
                    <a:pt x="291" y="193"/>
                  </a:cubicBezTo>
                  <a:cubicBezTo>
                    <a:pt x="292" y="193"/>
                    <a:pt x="292" y="193"/>
                    <a:pt x="292" y="193"/>
                  </a:cubicBezTo>
                  <a:cubicBezTo>
                    <a:pt x="292" y="192"/>
                    <a:pt x="292" y="192"/>
                    <a:pt x="292" y="192"/>
                  </a:cubicBezTo>
                  <a:cubicBezTo>
                    <a:pt x="292" y="192"/>
                    <a:pt x="292" y="192"/>
                    <a:pt x="292" y="192"/>
                  </a:cubicBezTo>
                  <a:cubicBezTo>
                    <a:pt x="292" y="192"/>
                    <a:pt x="292" y="192"/>
                    <a:pt x="292" y="192"/>
                  </a:cubicBezTo>
                  <a:cubicBezTo>
                    <a:pt x="292" y="192"/>
                    <a:pt x="292" y="192"/>
                    <a:pt x="292" y="192"/>
                  </a:cubicBezTo>
                  <a:cubicBezTo>
                    <a:pt x="291" y="192"/>
                    <a:pt x="291" y="192"/>
                    <a:pt x="291" y="192"/>
                  </a:cubicBezTo>
                  <a:cubicBezTo>
                    <a:pt x="292" y="192"/>
                    <a:pt x="292" y="192"/>
                    <a:pt x="292" y="192"/>
                  </a:cubicBezTo>
                  <a:cubicBezTo>
                    <a:pt x="292" y="192"/>
                    <a:pt x="292" y="192"/>
                    <a:pt x="292" y="192"/>
                  </a:cubicBezTo>
                  <a:cubicBezTo>
                    <a:pt x="292" y="191"/>
                    <a:pt x="292" y="191"/>
                    <a:pt x="292" y="191"/>
                  </a:cubicBezTo>
                  <a:cubicBezTo>
                    <a:pt x="292" y="191"/>
                    <a:pt x="292" y="191"/>
                    <a:pt x="292" y="191"/>
                  </a:cubicBezTo>
                  <a:cubicBezTo>
                    <a:pt x="292" y="191"/>
                    <a:pt x="292" y="191"/>
                    <a:pt x="292" y="191"/>
                  </a:cubicBezTo>
                  <a:cubicBezTo>
                    <a:pt x="292" y="191"/>
                    <a:pt x="292" y="191"/>
                    <a:pt x="292" y="191"/>
                  </a:cubicBezTo>
                  <a:cubicBezTo>
                    <a:pt x="292" y="191"/>
                    <a:pt x="292" y="191"/>
                    <a:pt x="292" y="191"/>
                  </a:cubicBezTo>
                  <a:cubicBezTo>
                    <a:pt x="292" y="190"/>
                    <a:pt x="292" y="190"/>
                    <a:pt x="292" y="190"/>
                  </a:cubicBezTo>
                  <a:cubicBezTo>
                    <a:pt x="292" y="190"/>
                    <a:pt x="292" y="190"/>
                    <a:pt x="292" y="190"/>
                  </a:cubicBezTo>
                  <a:cubicBezTo>
                    <a:pt x="291" y="190"/>
                    <a:pt x="291" y="190"/>
                    <a:pt x="291" y="190"/>
                  </a:cubicBezTo>
                  <a:cubicBezTo>
                    <a:pt x="292" y="190"/>
                    <a:pt x="292" y="190"/>
                    <a:pt x="292" y="190"/>
                  </a:cubicBezTo>
                  <a:cubicBezTo>
                    <a:pt x="292" y="189"/>
                    <a:pt x="292" y="189"/>
                    <a:pt x="292" y="189"/>
                  </a:cubicBezTo>
                  <a:cubicBezTo>
                    <a:pt x="291" y="189"/>
                    <a:pt x="291" y="189"/>
                    <a:pt x="291" y="189"/>
                  </a:cubicBezTo>
                  <a:cubicBezTo>
                    <a:pt x="291" y="189"/>
                    <a:pt x="291" y="189"/>
                    <a:pt x="291" y="189"/>
                  </a:cubicBezTo>
                  <a:cubicBezTo>
                    <a:pt x="291" y="189"/>
                    <a:pt x="291" y="189"/>
                    <a:pt x="291" y="189"/>
                  </a:cubicBezTo>
                  <a:cubicBezTo>
                    <a:pt x="291" y="189"/>
                    <a:pt x="291" y="189"/>
                    <a:pt x="291" y="189"/>
                  </a:cubicBezTo>
                  <a:cubicBezTo>
                    <a:pt x="291" y="189"/>
                    <a:pt x="291" y="189"/>
                    <a:pt x="291" y="189"/>
                  </a:cubicBezTo>
                  <a:cubicBezTo>
                    <a:pt x="291" y="189"/>
                    <a:pt x="291" y="189"/>
                    <a:pt x="291" y="189"/>
                  </a:cubicBezTo>
                  <a:cubicBezTo>
                    <a:pt x="291" y="188"/>
                    <a:pt x="291" y="188"/>
                    <a:pt x="291" y="188"/>
                  </a:cubicBezTo>
                  <a:cubicBezTo>
                    <a:pt x="291" y="188"/>
                    <a:pt x="291" y="188"/>
                    <a:pt x="291" y="188"/>
                  </a:cubicBezTo>
                  <a:cubicBezTo>
                    <a:pt x="291" y="188"/>
                    <a:pt x="291" y="188"/>
                    <a:pt x="291" y="188"/>
                  </a:cubicBezTo>
                  <a:cubicBezTo>
                    <a:pt x="291" y="188"/>
                    <a:pt x="291" y="188"/>
                    <a:pt x="291" y="188"/>
                  </a:cubicBezTo>
                  <a:cubicBezTo>
                    <a:pt x="291" y="188"/>
                    <a:pt x="291" y="188"/>
                    <a:pt x="291" y="188"/>
                  </a:cubicBezTo>
                  <a:cubicBezTo>
                    <a:pt x="291" y="188"/>
                    <a:pt x="291" y="188"/>
                    <a:pt x="291" y="188"/>
                  </a:cubicBezTo>
                  <a:cubicBezTo>
                    <a:pt x="291" y="188"/>
                    <a:pt x="291" y="188"/>
                    <a:pt x="291" y="188"/>
                  </a:cubicBezTo>
                  <a:cubicBezTo>
                    <a:pt x="291" y="187"/>
                    <a:pt x="291" y="187"/>
                    <a:pt x="291" y="187"/>
                  </a:cubicBezTo>
                  <a:cubicBezTo>
                    <a:pt x="291" y="187"/>
                    <a:pt x="291" y="187"/>
                    <a:pt x="291" y="187"/>
                  </a:cubicBezTo>
                  <a:cubicBezTo>
                    <a:pt x="290" y="187"/>
                    <a:pt x="290" y="187"/>
                    <a:pt x="290" y="187"/>
                  </a:cubicBezTo>
                  <a:cubicBezTo>
                    <a:pt x="290" y="187"/>
                    <a:pt x="290" y="187"/>
                    <a:pt x="290" y="187"/>
                  </a:cubicBezTo>
                  <a:cubicBezTo>
                    <a:pt x="290" y="187"/>
                    <a:pt x="290" y="187"/>
                    <a:pt x="290" y="187"/>
                  </a:cubicBezTo>
                  <a:cubicBezTo>
                    <a:pt x="290" y="187"/>
                    <a:pt x="290" y="187"/>
                    <a:pt x="290" y="187"/>
                  </a:cubicBezTo>
                  <a:cubicBezTo>
                    <a:pt x="290" y="187"/>
                    <a:pt x="290" y="187"/>
                    <a:pt x="290" y="187"/>
                  </a:cubicBezTo>
                  <a:cubicBezTo>
                    <a:pt x="290" y="187"/>
                    <a:pt x="290" y="187"/>
                    <a:pt x="290" y="187"/>
                  </a:cubicBezTo>
                  <a:cubicBezTo>
                    <a:pt x="290" y="187"/>
                    <a:pt x="290" y="187"/>
                    <a:pt x="290" y="187"/>
                  </a:cubicBezTo>
                  <a:cubicBezTo>
                    <a:pt x="290" y="187"/>
                    <a:pt x="290" y="187"/>
                    <a:pt x="290" y="187"/>
                  </a:cubicBezTo>
                  <a:cubicBezTo>
                    <a:pt x="290" y="187"/>
                    <a:pt x="290" y="187"/>
                    <a:pt x="290" y="187"/>
                  </a:cubicBezTo>
                  <a:cubicBezTo>
                    <a:pt x="290" y="187"/>
                    <a:pt x="290" y="187"/>
                    <a:pt x="290" y="187"/>
                  </a:cubicBezTo>
                  <a:cubicBezTo>
                    <a:pt x="290" y="187"/>
                    <a:pt x="290" y="187"/>
                    <a:pt x="290" y="187"/>
                  </a:cubicBezTo>
                  <a:cubicBezTo>
                    <a:pt x="291" y="186"/>
                    <a:pt x="291" y="186"/>
                    <a:pt x="291" y="186"/>
                  </a:cubicBezTo>
                  <a:cubicBezTo>
                    <a:pt x="291" y="186"/>
                    <a:pt x="291" y="186"/>
                    <a:pt x="291" y="186"/>
                  </a:cubicBezTo>
                  <a:cubicBezTo>
                    <a:pt x="291" y="186"/>
                    <a:pt x="291" y="186"/>
                    <a:pt x="291" y="186"/>
                  </a:cubicBezTo>
                  <a:cubicBezTo>
                    <a:pt x="291" y="186"/>
                    <a:pt x="291" y="186"/>
                    <a:pt x="291" y="186"/>
                  </a:cubicBezTo>
                  <a:cubicBezTo>
                    <a:pt x="291" y="187"/>
                    <a:pt x="291" y="187"/>
                    <a:pt x="291" y="187"/>
                  </a:cubicBezTo>
                  <a:cubicBezTo>
                    <a:pt x="291" y="187"/>
                    <a:pt x="291" y="187"/>
                    <a:pt x="291" y="187"/>
                  </a:cubicBezTo>
                  <a:cubicBezTo>
                    <a:pt x="292" y="187"/>
                    <a:pt x="292" y="187"/>
                    <a:pt x="292" y="187"/>
                  </a:cubicBezTo>
                  <a:cubicBezTo>
                    <a:pt x="292" y="187"/>
                    <a:pt x="292" y="187"/>
                    <a:pt x="292" y="187"/>
                  </a:cubicBezTo>
                  <a:cubicBezTo>
                    <a:pt x="292" y="187"/>
                    <a:pt x="292" y="187"/>
                    <a:pt x="292" y="187"/>
                  </a:cubicBezTo>
                  <a:cubicBezTo>
                    <a:pt x="292" y="186"/>
                    <a:pt x="292" y="186"/>
                    <a:pt x="292" y="186"/>
                  </a:cubicBezTo>
                  <a:cubicBezTo>
                    <a:pt x="292" y="186"/>
                    <a:pt x="292" y="186"/>
                    <a:pt x="292" y="186"/>
                  </a:cubicBezTo>
                  <a:cubicBezTo>
                    <a:pt x="292" y="186"/>
                    <a:pt x="292" y="186"/>
                    <a:pt x="292" y="186"/>
                  </a:cubicBezTo>
                  <a:cubicBezTo>
                    <a:pt x="292" y="186"/>
                    <a:pt x="292" y="186"/>
                    <a:pt x="292" y="186"/>
                  </a:cubicBezTo>
                  <a:cubicBezTo>
                    <a:pt x="292" y="186"/>
                    <a:pt x="292" y="186"/>
                    <a:pt x="292" y="186"/>
                  </a:cubicBezTo>
                  <a:cubicBezTo>
                    <a:pt x="292" y="186"/>
                    <a:pt x="292" y="186"/>
                    <a:pt x="292" y="186"/>
                  </a:cubicBezTo>
                  <a:cubicBezTo>
                    <a:pt x="291" y="185"/>
                    <a:pt x="291" y="185"/>
                    <a:pt x="291" y="185"/>
                  </a:cubicBezTo>
                  <a:cubicBezTo>
                    <a:pt x="291" y="185"/>
                    <a:pt x="291" y="185"/>
                    <a:pt x="291" y="185"/>
                  </a:cubicBezTo>
                  <a:cubicBezTo>
                    <a:pt x="292" y="185"/>
                    <a:pt x="292" y="185"/>
                    <a:pt x="292" y="185"/>
                  </a:cubicBezTo>
                  <a:cubicBezTo>
                    <a:pt x="292" y="185"/>
                    <a:pt x="292" y="185"/>
                    <a:pt x="292" y="185"/>
                  </a:cubicBezTo>
                  <a:cubicBezTo>
                    <a:pt x="292" y="185"/>
                    <a:pt x="292" y="185"/>
                    <a:pt x="292" y="185"/>
                  </a:cubicBezTo>
                  <a:cubicBezTo>
                    <a:pt x="292" y="185"/>
                    <a:pt x="292" y="185"/>
                    <a:pt x="292" y="185"/>
                  </a:cubicBezTo>
                  <a:cubicBezTo>
                    <a:pt x="292" y="185"/>
                    <a:pt x="292" y="185"/>
                    <a:pt x="292" y="185"/>
                  </a:cubicBezTo>
                  <a:cubicBezTo>
                    <a:pt x="292" y="185"/>
                    <a:pt x="292" y="185"/>
                    <a:pt x="292" y="185"/>
                  </a:cubicBezTo>
                  <a:cubicBezTo>
                    <a:pt x="293" y="184"/>
                    <a:pt x="293" y="184"/>
                    <a:pt x="293" y="184"/>
                  </a:cubicBezTo>
                  <a:cubicBezTo>
                    <a:pt x="293" y="184"/>
                    <a:pt x="293" y="184"/>
                    <a:pt x="293" y="184"/>
                  </a:cubicBezTo>
                  <a:cubicBezTo>
                    <a:pt x="293" y="183"/>
                    <a:pt x="293" y="183"/>
                    <a:pt x="293" y="183"/>
                  </a:cubicBezTo>
                  <a:cubicBezTo>
                    <a:pt x="293" y="183"/>
                    <a:pt x="293" y="183"/>
                    <a:pt x="293" y="183"/>
                  </a:cubicBezTo>
                  <a:cubicBezTo>
                    <a:pt x="293" y="183"/>
                    <a:pt x="293" y="183"/>
                    <a:pt x="293" y="183"/>
                  </a:cubicBezTo>
                  <a:cubicBezTo>
                    <a:pt x="294" y="183"/>
                    <a:pt x="294" y="183"/>
                    <a:pt x="294" y="183"/>
                  </a:cubicBezTo>
                  <a:cubicBezTo>
                    <a:pt x="294" y="183"/>
                    <a:pt x="294" y="183"/>
                    <a:pt x="294" y="183"/>
                  </a:cubicBezTo>
                  <a:cubicBezTo>
                    <a:pt x="294" y="182"/>
                    <a:pt x="294" y="182"/>
                    <a:pt x="294" y="182"/>
                  </a:cubicBezTo>
                  <a:cubicBezTo>
                    <a:pt x="294" y="182"/>
                    <a:pt x="294" y="182"/>
                    <a:pt x="294" y="182"/>
                  </a:cubicBezTo>
                  <a:cubicBezTo>
                    <a:pt x="294" y="182"/>
                    <a:pt x="294" y="182"/>
                    <a:pt x="294" y="182"/>
                  </a:cubicBezTo>
                  <a:cubicBezTo>
                    <a:pt x="293" y="182"/>
                    <a:pt x="293" y="182"/>
                    <a:pt x="293" y="182"/>
                  </a:cubicBezTo>
                  <a:cubicBezTo>
                    <a:pt x="293" y="182"/>
                    <a:pt x="293" y="182"/>
                    <a:pt x="293" y="182"/>
                  </a:cubicBezTo>
                  <a:cubicBezTo>
                    <a:pt x="292" y="182"/>
                    <a:pt x="292" y="182"/>
                    <a:pt x="292" y="182"/>
                  </a:cubicBezTo>
                  <a:cubicBezTo>
                    <a:pt x="292" y="181"/>
                    <a:pt x="292" y="181"/>
                    <a:pt x="292" y="181"/>
                  </a:cubicBezTo>
                  <a:cubicBezTo>
                    <a:pt x="292" y="181"/>
                    <a:pt x="292" y="181"/>
                    <a:pt x="292" y="181"/>
                  </a:cubicBezTo>
                  <a:cubicBezTo>
                    <a:pt x="292" y="181"/>
                    <a:pt x="292" y="181"/>
                    <a:pt x="292" y="181"/>
                  </a:cubicBezTo>
                  <a:cubicBezTo>
                    <a:pt x="292" y="181"/>
                    <a:pt x="292" y="181"/>
                    <a:pt x="292" y="181"/>
                  </a:cubicBezTo>
                  <a:cubicBezTo>
                    <a:pt x="293" y="181"/>
                    <a:pt x="293" y="181"/>
                    <a:pt x="293" y="181"/>
                  </a:cubicBezTo>
                  <a:cubicBezTo>
                    <a:pt x="293" y="181"/>
                    <a:pt x="293" y="181"/>
                    <a:pt x="293" y="181"/>
                  </a:cubicBezTo>
                  <a:cubicBezTo>
                    <a:pt x="293" y="181"/>
                    <a:pt x="293" y="181"/>
                    <a:pt x="293" y="181"/>
                  </a:cubicBezTo>
                  <a:cubicBezTo>
                    <a:pt x="293" y="181"/>
                    <a:pt x="293" y="181"/>
                    <a:pt x="293" y="181"/>
                  </a:cubicBezTo>
                  <a:cubicBezTo>
                    <a:pt x="293" y="181"/>
                    <a:pt x="293" y="181"/>
                    <a:pt x="293" y="181"/>
                  </a:cubicBezTo>
                  <a:cubicBezTo>
                    <a:pt x="293" y="181"/>
                    <a:pt x="293" y="181"/>
                    <a:pt x="293" y="181"/>
                  </a:cubicBezTo>
                  <a:cubicBezTo>
                    <a:pt x="293" y="181"/>
                    <a:pt x="293" y="181"/>
                    <a:pt x="293" y="181"/>
                  </a:cubicBezTo>
                  <a:cubicBezTo>
                    <a:pt x="293" y="181"/>
                    <a:pt x="293" y="181"/>
                    <a:pt x="293" y="181"/>
                  </a:cubicBezTo>
                  <a:cubicBezTo>
                    <a:pt x="293" y="180"/>
                    <a:pt x="293" y="180"/>
                    <a:pt x="293" y="180"/>
                  </a:cubicBezTo>
                  <a:cubicBezTo>
                    <a:pt x="293" y="180"/>
                    <a:pt x="293" y="180"/>
                    <a:pt x="293" y="180"/>
                  </a:cubicBezTo>
                  <a:cubicBezTo>
                    <a:pt x="293" y="180"/>
                    <a:pt x="293" y="180"/>
                    <a:pt x="293" y="180"/>
                  </a:cubicBezTo>
                  <a:cubicBezTo>
                    <a:pt x="293" y="181"/>
                    <a:pt x="293" y="181"/>
                    <a:pt x="293" y="181"/>
                  </a:cubicBezTo>
                  <a:cubicBezTo>
                    <a:pt x="293" y="181"/>
                    <a:pt x="293" y="181"/>
                    <a:pt x="293" y="181"/>
                  </a:cubicBezTo>
                  <a:cubicBezTo>
                    <a:pt x="294" y="179"/>
                    <a:pt x="294" y="179"/>
                    <a:pt x="294" y="179"/>
                  </a:cubicBezTo>
                  <a:cubicBezTo>
                    <a:pt x="295" y="179"/>
                    <a:pt x="295" y="179"/>
                    <a:pt x="295" y="179"/>
                  </a:cubicBezTo>
                  <a:cubicBezTo>
                    <a:pt x="296" y="179"/>
                    <a:pt x="296" y="179"/>
                    <a:pt x="296" y="179"/>
                  </a:cubicBezTo>
                  <a:cubicBezTo>
                    <a:pt x="297" y="179"/>
                    <a:pt x="297" y="179"/>
                    <a:pt x="297" y="179"/>
                  </a:cubicBezTo>
                  <a:cubicBezTo>
                    <a:pt x="296" y="179"/>
                    <a:pt x="296" y="179"/>
                    <a:pt x="296" y="179"/>
                  </a:cubicBezTo>
                  <a:cubicBezTo>
                    <a:pt x="297" y="178"/>
                    <a:pt x="297" y="178"/>
                    <a:pt x="297" y="178"/>
                  </a:cubicBezTo>
                  <a:cubicBezTo>
                    <a:pt x="296" y="178"/>
                    <a:pt x="296" y="178"/>
                    <a:pt x="296" y="178"/>
                  </a:cubicBezTo>
                  <a:cubicBezTo>
                    <a:pt x="297" y="178"/>
                    <a:pt x="297" y="178"/>
                    <a:pt x="297" y="178"/>
                  </a:cubicBezTo>
                  <a:cubicBezTo>
                    <a:pt x="297" y="178"/>
                    <a:pt x="297" y="178"/>
                    <a:pt x="297" y="178"/>
                  </a:cubicBezTo>
                  <a:cubicBezTo>
                    <a:pt x="297" y="178"/>
                    <a:pt x="297" y="178"/>
                    <a:pt x="297" y="178"/>
                  </a:cubicBezTo>
                  <a:cubicBezTo>
                    <a:pt x="297" y="178"/>
                    <a:pt x="297" y="178"/>
                    <a:pt x="297" y="178"/>
                  </a:cubicBezTo>
                  <a:cubicBezTo>
                    <a:pt x="297" y="179"/>
                    <a:pt x="297" y="179"/>
                    <a:pt x="297" y="179"/>
                  </a:cubicBezTo>
                  <a:cubicBezTo>
                    <a:pt x="297" y="179"/>
                    <a:pt x="297" y="179"/>
                    <a:pt x="297" y="179"/>
                  </a:cubicBezTo>
                  <a:cubicBezTo>
                    <a:pt x="298" y="178"/>
                    <a:pt x="298" y="178"/>
                    <a:pt x="298" y="178"/>
                  </a:cubicBezTo>
                  <a:cubicBezTo>
                    <a:pt x="298" y="178"/>
                    <a:pt x="298" y="178"/>
                    <a:pt x="298" y="178"/>
                  </a:cubicBezTo>
                  <a:cubicBezTo>
                    <a:pt x="298" y="178"/>
                    <a:pt x="298" y="178"/>
                    <a:pt x="298" y="178"/>
                  </a:cubicBezTo>
                  <a:cubicBezTo>
                    <a:pt x="298" y="178"/>
                    <a:pt x="298" y="178"/>
                    <a:pt x="298" y="178"/>
                  </a:cubicBezTo>
                  <a:cubicBezTo>
                    <a:pt x="298" y="178"/>
                    <a:pt x="298" y="178"/>
                    <a:pt x="298" y="178"/>
                  </a:cubicBezTo>
                  <a:cubicBezTo>
                    <a:pt x="299" y="178"/>
                    <a:pt x="299" y="178"/>
                    <a:pt x="299" y="178"/>
                  </a:cubicBezTo>
                  <a:cubicBezTo>
                    <a:pt x="299" y="177"/>
                    <a:pt x="299" y="177"/>
                    <a:pt x="299" y="177"/>
                  </a:cubicBezTo>
                  <a:cubicBezTo>
                    <a:pt x="299" y="177"/>
                    <a:pt x="299" y="177"/>
                    <a:pt x="299" y="177"/>
                  </a:cubicBezTo>
                  <a:cubicBezTo>
                    <a:pt x="299" y="177"/>
                    <a:pt x="299" y="177"/>
                    <a:pt x="299" y="177"/>
                  </a:cubicBezTo>
                  <a:cubicBezTo>
                    <a:pt x="300" y="176"/>
                    <a:pt x="300" y="176"/>
                    <a:pt x="300" y="176"/>
                  </a:cubicBezTo>
                  <a:cubicBezTo>
                    <a:pt x="300" y="176"/>
                    <a:pt x="300" y="176"/>
                    <a:pt x="300" y="176"/>
                  </a:cubicBezTo>
                  <a:cubicBezTo>
                    <a:pt x="300" y="175"/>
                    <a:pt x="300" y="175"/>
                    <a:pt x="300" y="175"/>
                  </a:cubicBezTo>
                  <a:cubicBezTo>
                    <a:pt x="301" y="174"/>
                    <a:pt x="301" y="174"/>
                    <a:pt x="301" y="174"/>
                  </a:cubicBezTo>
                  <a:cubicBezTo>
                    <a:pt x="301" y="174"/>
                    <a:pt x="301" y="174"/>
                    <a:pt x="301" y="174"/>
                  </a:cubicBezTo>
                  <a:cubicBezTo>
                    <a:pt x="301" y="173"/>
                    <a:pt x="301" y="173"/>
                    <a:pt x="301" y="173"/>
                  </a:cubicBezTo>
                  <a:cubicBezTo>
                    <a:pt x="301" y="173"/>
                    <a:pt x="301" y="173"/>
                    <a:pt x="301" y="173"/>
                  </a:cubicBezTo>
                  <a:cubicBezTo>
                    <a:pt x="301" y="174"/>
                    <a:pt x="301" y="174"/>
                    <a:pt x="301" y="174"/>
                  </a:cubicBezTo>
                  <a:cubicBezTo>
                    <a:pt x="302" y="174"/>
                    <a:pt x="302" y="174"/>
                    <a:pt x="302" y="174"/>
                  </a:cubicBezTo>
                  <a:cubicBezTo>
                    <a:pt x="302" y="174"/>
                    <a:pt x="302" y="174"/>
                    <a:pt x="302" y="174"/>
                  </a:cubicBezTo>
                  <a:cubicBezTo>
                    <a:pt x="302" y="174"/>
                    <a:pt x="302" y="174"/>
                    <a:pt x="302" y="174"/>
                  </a:cubicBezTo>
                  <a:cubicBezTo>
                    <a:pt x="302" y="174"/>
                    <a:pt x="302" y="174"/>
                    <a:pt x="302" y="174"/>
                  </a:cubicBezTo>
                  <a:cubicBezTo>
                    <a:pt x="302" y="174"/>
                    <a:pt x="302" y="174"/>
                    <a:pt x="302" y="174"/>
                  </a:cubicBezTo>
                  <a:cubicBezTo>
                    <a:pt x="302" y="173"/>
                    <a:pt x="302" y="173"/>
                    <a:pt x="302" y="173"/>
                  </a:cubicBezTo>
                  <a:cubicBezTo>
                    <a:pt x="302" y="173"/>
                    <a:pt x="302" y="173"/>
                    <a:pt x="302" y="173"/>
                  </a:cubicBezTo>
                  <a:cubicBezTo>
                    <a:pt x="302" y="172"/>
                    <a:pt x="302" y="172"/>
                    <a:pt x="302" y="172"/>
                  </a:cubicBezTo>
                  <a:cubicBezTo>
                    <a:pt x="302" y="172"/>
                    <a:pt x="302" y="172"/>
                    <a:pt x="302" y="172"/>
                  </a:cubicBezTo>
                  <a:cubicBezTo>
                    <a:pt x="302" y="172"/>
                    <a:pt x="302" y="172"/>
                    <a:pt x="302" y="172"/>
                  </a:cubicBezTo>
                  <a:cubicBezTo>
                    <a:pt x="302" y="172"/>
                    <a:pt x="302" y="172"/>
                    <a:pt x="302" y="172"/>
                  </a:cubicBezTo>
                  <a:cubicBezTo>
                    <a:pt x="303" y="172"/>
                    <a:pt x="303" y="172"/>
                    <a:pt x="303" y="172"/>
                  </a:cubicBezTo>
                  <a:cubicBezTo>
                    <a:pt x="303" y="173"/>
                    <a:pt x="303" y="173"/>
                    <a:pt x="303" y="173"/>
                  </a:cubicBezTo>
                  <a:cubicBezTo>
                    <a:pt x="303" y="173"/>
                    <a:pt x="303" y="173"/>
                    <a:pt x="303" y="173"/>
                  </a:cubicBezTo>
                  <a:cubicBezTo>
                    <a:pt x="303" y="173"/>
                    <a:pt x="303" y="173"/>
                    <a:pt x="303" y="173"/>
                  </a:cubicBezTo>
                  <a:cubicBezTo>
                    <a:pt x="303" y="173"/>
                    <a:pt x="303" y="173"/>
                    <a:pt x="303" y="173"/>
                  </a:cubicBezTo>
                  <a:cubicBezTo>
                    <a:pt x="303" y="172"/>
                    <a:pt x="303" y="172"/>
                    <a:pt x="303" y="172"/>
                  </a:cubicBezTo>
                  <a:cubicBezTo>
                    <a:pt x="304" y="172"/>
                    <a:pt x="304" y="172"/>
                    <a:pt x="304" y="172"/>
                  </a:cubicBezTo>
                  <a:cubicBezTo>
                    <a:pt x="304" y="172"/>
                    <a:pt x="304" y="172"/>
                    <a:pt x="304" y="172"/>
                  </a:cubicBezTo>
                  <a:cubicBezTo>
                    <a:pt x="304" y="172"/>
                    <a:pt x="304" y="172"/>
                    <a:pt x="304" y="172"/>
                  </a:cubicBezTo>
                  <a:cubicBezTo>
                    <a:pt x="304" y="172"/>
                    <a:pt x="304" y="172"/>
                    <a:pt x="304" y="172"/>
                  </a:cubicBezTo>
                  <a:cubicBezTo>
                    <a:pt x="304" y="172"/>
                    <a:pt x="304" y="172"/>
                    <a:pt x="304" y="172"/>
                  </a:cubicBezTo>
                  <a:cubicBezTo>
                    <a:pt x="305" y="172"/>
                    <a:pt x="305" y="172"/>
                    <a:pt x="305" y="172"/>
                  </a:cubicBezTo>
                  <a:cubicBezTo>
                    <a:pt x="305" y="171"/>
                    <a:pt x="305" y="171"/>
                    <a:pt x="305" y="171"/>
                  </a:cubicBezTo>
                  <a:cubicBezTo>
                    <a:pt x="305" y="171"/>
                    <a:pt x="305" y="171"/>
                    <a:pt x="305" y="171"/>
                  </a:cubicBezTo>
                  <a:cubicBezTo>
                    <a:pt x="305" y="171"/>
                    <a:pt x="305" y="171"/>
                    <a:pt x="305" y="171"/>
                  </a:cubicBezTo>
                  <a:cubicBezTo>
                    <a:pt x="305" y="171"/>
                    <a:pt x="305" y="171"/>
                    <a:pt x="305" y="171"/>
                  </a:cubicBezTo>
                  <a:cubicBezTo>
                    <a:pt x="305" y="171"/>
                    <a:pt x="305" y="171"/>
                    <a:pt x="305" y="171"/>
                  </a:cubicBezTo>
                  <a:cubicBezTo>
                    <a:pt x="305" y="171"/>
                    <a:pt x="305" y="171"/>
                    <a:pt x="305" y="171"/>
                  </a:cubicBezTo>
                  <a:cubicBezTo>
                    <a:pt x="305" y="172"/>
                    <a:pt x="305" y="172"/>
                    <a:pt x="305" y="172"/>
                  </a:cubicBezTo>
                  <a:cubicBezTo>
                    <a:pt x="306" y="171"/>
                    <a:pt x="306" y="171"/>
                    <a:pt x="306" y="171"/>
                  </a:cubicBezTo>
                  <a:cubicBezTo>
                    <a:pt x="306" y="171"/>
                    <a:pt x="306" y="171"/>
                    <a:pt x="306" y="171"/>
                  </a:cubicBezTo>
                  <a:cubicBezTo>
                    <a:pt x="305" y="171"/>
                    <a:pt x="305" y="171"/>
                    <a:pt x="305" y="171"/>
                  </a:cubicBezTo>
                  <a:cubicBezTo>
                    <a:pt x="305" y="171"/>
                    <a:pt x="305" y="171"/>
                    <a:pt x="305" y="171"/>
                  </a:cubicBezTo>
                  <a:cubicBezTo>
                    <a:pt x="305" y="171"/>
                    <a:pt x="305" y="171"/>
                    <a:pt x="305" y="171"/>
                  </a:cubicBezTo>
                  <a:cubicBezTo>
                    <a:pt x="306" y="171"/>
                    <a:pt x="306" y="171"/>
                    <a:pt x="306" y="171"/>
                  </a:cubicBezTo>
                  <a:cubicBezTo>
                    <a:pt x="306" y="171"/>
                    <a:pt x="306" y="171"/>
                    <a:pt x="306" y="171"/>
                  </a:cubicBezTo>
                  <a:cubicBezTo>
                    <a:pt x="306" y="171"/>
                    <a:pt x="306" y="171"/>
                    <a:pt x="306" y="171"/>
                  </a:cubicBezTo>
                  <a:cubicBezTo>
                    <a:pt x="306" y="170"/>
                    <a:pt x="306" y="170"/>
                    <a:pt x="306" y="170"/>
                  </a:cubicBezTo>
                  <a:cubicBezTo>
                    <a:pt x="307" y="169"/>
                    <a:pt x="307" y="169"/>
                    <a:pt x="307" y="169"/>
                  </a:cubicBezTo>
                  <a:cubicBezTo>
                    <a:pt x="307" y="169"/>
                    <a:pt x="307" y="169"/>
                    <a:pt x="307" y="169"/>
                  </a:cubicBezTo>
                  <a:cubicBezTo>
                    <a:pt x="308" y="169"/>
                    <a:pt x="308" y="169"/>
                    <a:pt x="308" y="169"/>
                  </a:cubicBezTo>
                  <a:cubicBezTo>
                    <a:pt x="308" y="170"/>
                    <a:pt x="308" y="170"/>
                    <a:pt x="308" y="170"/>
                  </a:cubicBezTo>
                  <a:cubicBezTo>
                    <a:pt x="308" y="170"/>
                    <a:pt x="308" y="170"/>
                    <a:pt x="308" y="170"/>
                  </a:cubicBezTo>
                  <a:cubicBezTo>
                    <a:pt x="309" y="171"/>
                    <a:pt x="309" y="171"/>
                    <a:pt x="309" y="171"/>
                  </a:cubicBezTo>
                  <a:cubicBezTo>
                    <a:pt x="309" y="171"/>
                    <a:pt x="309" y="171"/>
                    <a:pt x="309" y="171"/>
                  </a:cubicBezTo>
                  <a:cubicBezTo>
                    <a:pt x="309" y="170"/>
                    <a:pt x="309" y="170"/>
                    <a:pt x="309" y="170"/>
                  </a:cubicBezTo>
                  <a:cubicBezTo>
                    <a:pt x="309" y="170"/>
                    <a:pt x="309" y="170"/>
                    <a:pt x="309" y="170"/>
                  </a:cubicBezTo>
                  <a:cubicBezTo>
                    <a:pt x="310" y="170"/>
                    <a:pt x="310" y="170"/>
                    <a:pt x="310" y="170"/>
                  </a:cubicBezTo>
                  <a:cubicBezTo>
                    <a:pt x="310" y="170"/>
                    <a:pt x="310" y="170"/>
                    <a:pt x="310" y="170"/>
                  </a:cubicBezTo>
                  <a:cubicBezTo>
                    <a:pt x="308" y="166"/>
                    <a:pt x="307" y="163"/>
                    <a:pt x="305" y="159"/>
                  </a:cubicBezTo>
                  <a:close/>
                </a:path>
              </a:pathLst>
            </a:custGeom>
            <a:solidFill>
              <a:srgbClr val="B1B1B0"/>
            </a:solidFill>
            <a:ln w="635"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1035" name="Freeform 42">
              <a:extLst>
                <a:ext uri="{FF2B5EF4-FFF2-40B4-BE49-F238E27FC236}">
                  <a16:creationId xmlns:a16="http://schemas.microsoft.com/office/drawing/2014/main" id="{6C83D089-C2FD-B663-A9C0-D0A3494D8EAE}"/>
                </a:ext>
              </a:extLst>
            </p:cNvPr>
            <p:cNvSpPr>
              <a:spLocks/>
            </p:cNvSpPr>
            <p:nvPr/>
          </p:nvSpPr>
          <p:spPr bwMode="gray">
            <a:xfrm>
              <a:off x="5530850" y="2744788"/>
              <a:ext cx="11113" cy="11113"/>
            </a:xfrm>
            <a:custGeom>
              <a:avLst/>
              <a:gdLst>
                <a:gd name="T0" fmla="*/ 3 w 7"/>
                <a:gd name="T1" fmla="*/ 7 h 7"/>
                <a:gd name="T2" fmla="*/ 3 w 7"/>
                <a:gd name="T3" fmla="*/ 4 h 7"/>
                <a:gd name="T4" fmla="*/ 7 w 7"/>
                <a:gd name="T5" fmla="*/ 4 h 7"/>
                <a:gd name="T6" fmla="*/ 3 w 7"/>
                <a:gd name="T7" fmla="*/ 4 h 7"/>
                <a:gd name="T8" fmla="*/ 3 w 7"/>
                <a:gd name="T9" fmla="*/ 4 h 7"/>
                <a:gd name="T10" fmla="*/ 3 w 7"/>
                <a:gd name="T11" fmla="*/ 4 h 7"/>
                <a:gd name="T12" fmla="*/ 3 w 7"/>
                <a:gd name="T13" fmla="*/ 4 h 7"/>
                <a:gd name="T14" fmla="*/ 3 w 7"/>
                <a:gd name="T15" fmla="*/ 0 h 7"/>
                <a:gd name="T16" fmla="*/ 3 w 7"/>
                <a:gd name="T17" fmla="*/ 4 h 7"/>
                <a:gd name="T18" fmla="*/ 0 w 7"/>
                <a:gd name="T19" fmla="*/ 4 h 7"/>
                <a:gd name="T20" fmla="*/ 0 w 7"/>
                <a:gd name="T21" fmla="*/ 4 h 7"/>
                <a:gd name="T22" fmla="*/ 0 w 7"/>
                <a:gd name="T23" fmla="*/ 4 h 7"/>
                <a:gd name="T24" fmla="*/ 0 w 7"/>
                <a:gd name="T25" fmla="*/ 7 h 7"/>
                <a:gd name="T26" fmla="*/ 0 w 7"/>
                <a:gd name="T27" fmla="*/ 7 h 7"/>
                <a:gd name="T28" fmla="*/ 3 w 7"/>
                <a:gd name="T29" fmla="*/ 7 h 7"/>
                <a:gd name="T30" fmla="*/ 3 w 7"/>
                <a:gd name="T3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7">
                  <a:moveTo>
                    <a:pt x="3" y="7"/>
                  </a:moveTo>
                  <a:lnTo>
                    <a:pt x="3" y="4"/>
                  </a:lnTo>
                  <a:lnTo>
                    <a:pt x="7" y="4"/>
                  </a:lnTo>
                  <a:lnTo>
                    <a:pt x="3" y="4"/>
                  </a:lnTo>
                  <a:lnTo>
                    <a:pt x="3" y="4"/>
                  </a:lnTo>
                  <a:lnTo>
                    <a:pt x="3" y="4"/>
                  </a:lnTo>
                  <a:lnTo>
                    <a:pt x="3" y="4"/>
                  </a:lnTo>
                  <a:lnTo>
                    <a:pt x="3" y="0"/>
                  </a:lnTo>
                  <a:lnTo>
                    <a:pt x="3" y="4"/>
                  </a:lnTo>
                  <a:lnTo>
                    <a:pt x="0" y="4"/>
                  </a:lnTo>
                  <a:lnTo>
                    <a:pt x="0" y="4"/>
                  </a:lnTo>
                  <a:lnTo>
                    <a:pt x="0" y="4"/>
                  </a:lnTo>
                  <a:lnTo>
                    <a:pt x="0" y="7"/>
                  </a:lnTo>
                  <a:lnTo>
                    <a:pt x="0" y="7"/>
                  </a:lnTo>
                  <a:lnTo>
                    <a:pt x="3" y="7"/>
                  </a:lnTo>
                  <a:lnTo>
                    <a:pt x="3" y="7"/>
                  </a:lnTo>
                  <a:close/>
                </a:path>
              </a:pathLst>
            </a:custGeom>
            <a:solidFill>
              <a:srgbClr val="B1B1B0"/>
            </a:solidFill>
            <a:ln w="635"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1036" name="Freeform 43">
              <a:extLst>
                <a:ext uri="{FF2B5EF4-FFF2-40B4-BE49-F238E27FC236}">
                  <a16:creationId xmlns:a16="http://schemas.microsoft.com/office/drawing/2014/main" id="{D2077533-02F7-E69C-7069-4BC93447F9C3}"/>
                </a:ext>
              </a:extLst>
            </p:cNvPr>
            <p:cNvSpPr>
              <a:spLocks/>
            </p:cNvSpPr>
            <p:nvPr/>
          </p:nvSpPr>
          <p:spPr bwMode="gray">
            <a:xfrm>
              <a:off x="4295775" y="1827213"/>
              <a:ext cx="9525" cy="6350"/>
            </a:xfrm>
            <a:custGeom>
              <a:avLst/>
              <a:gdLst>
                <a:gd name="T0" fmla="*/ 3 w 6"/>
                <a:gd name="T1" fmla="*/ 4 h 4"/>
                <a:gd name="T2" fmla="*/ 3 w 6"/>
                <a:gd name="T3" fmla="*/ 4 h 4"/>
                <a:gd name="T4" fmla="*/ 6 w 6"/>
                <a:gd name="T5" fmla="*/ 0 h 4"/>
                <a:gd name="T6" fmla="*/ 3 w 6"/>
                <a:gd name="T7" fmla="*/ 0 h 4"/>
                <a:gd name="T8" fmla="*/ 3 w 6"/>
                <a:gd name="T9" fmla="*/ 0 h 4"/>
                <a:gd name="T10" fmla="*/ 0 w 6"/>
                <a:gd name="T11" fmla="*/ 0 h 4"/>
                <a:gd name="T12" fmla="*/ 0 w 6"/>
                <a:gd name="T13" fmla="*/ 0 h 4"/>
                <a:gd name="T14" fmla="*/ 3 w 6"/>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3" y="4"/>
                  </a:moveTo>
                  <a:lnTo>
                    <a:pt x="3" y="4"/>
                  </a:lnTo>
                  <a:lnTo>
                    <a:pt x="6" y="0"/>
                  </a:lnTo>
                  <a:lnTo>
                    <a:pt x="3" y="0"/>
                  </a:lnTo>
                  <a:lnTo>
                    <a:pt x="3" y="0"/>
                  </a:lnTo>
                  <a:lnTo>
                    <a:pt x="0" y="0"/>
                  </a:lnTo>
                  <a:lnTo>
                    <a:pt x="0" y="0"/>
                  </a:lnTo>
                  <a:lnTo>
                    <a:pt x="3" y="4"/>
                  </a:lnTo>
                  <a:close/>
                </a:path>
              </a:pathLst>
            </a:custGeom>
            <a:solidFill>
              <a:srgbClr val="B1B1B0"/>
            </a:solidFill>
            <a:ln w="635"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1037" name="Freeform 44">
              <a:extLst>
                <a:ext uri="{FF2B5EF4-FFF2-40B4-BE49-F238E27FC236}">
                  <a16:creationId xmlns:a16="http://schemas.microsoft.com/office/drawing/2014/main" id="{62D69CF8-B9C2-B94A-F608-CE1EA4D98710}"/>
                </a:ext>
              </a:extLst>
            </p:cNvPr>
            <p:cNvSpPr>
              <a:spLocks/>
            </p:cNvSpPr>
            <p:nvPr/>
          </p:nvSpPr>
          <p:spPr bwMode="gray">
            <a:xfrm>
              <a:off x="5530850" y="2760663"/>
              <a:ext cx="11113" cy="11113"/>
            </a:xfrm>
            <a:custGeom>
              <a:avLst/>
              <a:gdLst>
                <a:gd name="T0" fmla="*/ 3 w 7"/>
                <a:gd name="T1" fmla="*/ 0 h 7"/>
                <a:gd name="T2" fmla="*/ 0 w 7"/>
                <a:gd name="T3" fmla="*/ 4 h 7"/>
                <a:gd name="T4" fmla="*/ 0 w 7"/>
                <a:gd name="T5" fmla="*/ 7 h 7"/>
                <a:gd name="T6" fmla="*/ 3 w 7"/>
                <a:gd name="T7" fmla="*/ 7 h 7"/>
                <a:gd name="T8" fmla="*/ 3 w 7"/>
                <a:gd name="T9" fmla="*/ 7 h 7"/>
                <a:gd name="T10" fmla="*/ 3 w 7"/>
                <a:gd name="T11" fmla="*/ 4 h 7"/>
                <a:gd name="T12" fmla="*/ 7 w 7"/>
                <a:gd name="T13" fmla="*/ 0 h 7"/>
                <a:gd name="T14" fmla="*/ 7 w 7"/>
                <a:gd name="T15" fmla="*/ 0 h 7"/>
                <a:gd name="T16" fmla="*/ 3 w 7"/>
                <a:gd name="T17" fmla="*/ 0 h 7"/>
                <a:gd name="T18" fmla="*/ 3 w 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7">
                  <a:moveTo>
                    <a:pt x="3" y="0"/>
                  </a:moveTo>
                  <a:lnTo>
                    <a:pt x="0" y="4"/>
                  </a:lnTo>
                  <a:lnTo>
                    <a:pt x="0" y="7"/>
                  </a:lnTo>
                  <a:lnTo>
                    <a:pt x="3" y="7"/>
                  </a:lnTo>
                  <a:lnTo>
                    <a:pt x="3" y="7"/>
                  </a:lnTo>
                  <a:lnTo>
                    <a:pt x="3" y="4"/>
                  </a:lnTo>
                  <a:lnTo>
                    <a:pt x="7" y="0"/>
                  </a:lnTo>
                  <a:lnTo>
                    <a:pt x="7" y="0"/>
                  </a:lnTo>
                  <a:lnTo>
                    <a:pt x="3" y="0"/>
                  </a:lnTo>
                  <a:lnTo>
                    <a:pt x="3" y="0"/>
                  </a:lnTo>
                  <a:close/>
                </a:path>
              </a:pathLst>
            </a:custGeom>
            <a:solidFill>
              <a:srgbClr val="B1B1B0"/>
            </a:solidFill>
            <a:ln w="635"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1038" name="Freeform 45">
              <a:extLst>
                <a:ext uri="{FF2B5EF4-FFF2-40B4-BE49-F238E27FC236}">
                  <a16:creationId xmlns:a16="http://schemas.microsoft.com/office/drawing/2014/main" id="{867A66B8-050B-7B40-A051-D76A7BD20874}"/>
                </a:ext>
              </a:extLst>
            </p:cNvPr>
            <p:cNvSpPr>
              <a:spLocks/>
            </p:cNvSpPr>
            <p:nvPr/>
          </p:nvSpPr>
          <p:spPr bwMode="gray">
            <a:xfrm>
              <a:off x="5526088" y="2803525"/>
              <a:ext cx="4763" cy="6350"/>
            </a:xfrm>
            <a:custGeom>
              <a:avLst/>
              <a:gdLst>
                <a:gd name="T0" fmla="*/ 0 w 3"/>
                <a:gd name="T1" fmla="*/ 0 h 4"/>
                <a:gd name="T2" fmla="*/ 0 w 3"/>
                <a:gd name="T3" fmla="*/ 4 h 4"/>
                <a:gd name="T4" fmla="*/ 0 w 3"/>
                <a:gd name="T5" fmla="*/ 4 h 4"/>
                <a:gd name="T6" fmla="*/ 3 w 3"/>
                <a:gd name="T7" fmla="*/ 4 h 4"/>
                <a:gd name="T8" fmla="*/ 3 w 3"/>
                <a:gd name="T9" fmla="*/ 4 h 4"/>
                <a:gd name="T10" fmla="*/ 0 w 3"/>
                <a:gd name="T11" fmla="*/ 4 h 4"/>
                <a:gd name="T12" fmla="*/ 0 w 3"/>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0" y="0"/>
                  </a:moveTo>
                  <a:lnTo>
                    <a:pt x="0" y="4"/>
                  </a:lnTo>
                  <a:lnTo>
                    <a:pt x="0" y="4"/>
                  </a:lnTo>
                  <a:lnTo>
                    <a:pt x="3" y="4"/>
                  </a:lnTo>
                  <a:lnTo>
                    <a:pt x="3" y="4"/>
                  </a:lnTo>
                  <a:lnTo>
                    <a:pt x="0" y="4"/>
                  </a:lnTo>
                  <a:lnTo>
                    <a:pt x="0" y="0"/>
                  </a:lnTo>
                  <a:close/>
                </a:path>
              </a:pathLst>
            </a:custGeom>
            <a:solidFill>
              <a:srgbClr val="B1B1B0"/>
            </a:solidFill>
            <a:ln w="635"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1039" name="Freeform 46">
              <a:extLst>
                <a:ext uri="{FF2B5EF4-FFF2-40B4-BE49-F238E27FC236}">
                  <a16:creationId xmlns:a16="http://schemas.microsoft.com/office/drawing/2014/main" id="{C0A7778F-5F5E-121B-9376-01843E95CD1B}"/>
                </a:ext>
              </a:extLst>
            </p:cNvPr>
            <p:cNvSpPr>
              <a:spLocks/>
            </p:cNvSpPr>
            <p:nvPr/>
          </p:nvSpPr>
          <p:spPr bwMode="gray">
            <a:xfrm>
              <a:off x="4587875" y="2132013"/>
              <a:ext cx="4763" cy="4763"/>
            </a:xfrm>
            <a:custGeom>
              <a:avLst/>
              <a:gdLst>
                <a:gd name="T0" fmla="*/ 3 w 3"/>
                <a:gd name="T1" fmla="*/ 3 h 3"/>
                <a:gd name="T2" fmla="*/ 3 w 3"/>
                <a:gd name="T3" fmla="*/ 0 h 3"/>
                <a:gd name="T4" fmla="*/ 3 w 3"/>
                <a:gd name="T5" fmla="*/ 0 h 3"/>
                <a:gd name="T6" fmla="*/ 3 w 3"/>
                <a:gd name="T7" fmla="*/ 0 h 3"/>
                <a:gd name="T8" fmla="*/ 0 w 3"/>
                <a:gd name="T9" fmla="*/ 0 h 3"/>
                <a:gd name="T10" fmla="*/ 0 w 3"/>
                <a:gd name="T11" fmla="*/ 0 h 3"/>
                <a:gd name="T12" fmla="*/ 0 w 3"/>
                <a:gd name="T13" fmla="*/ 3 h 3"/>
                <a:gd name="T14" fmla="*/ 0 w 3"/>
                <a:gd name="T15" fmla="*/ 3 h 3"/>
                <a:gd name="T16" fmla="*/ 0 w 3"/>
                <a:gd name="T17" fmla="*/ 3 h 3"/>
                <a:gd name="T18" fmla="*/ 3 w 3"/>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3" y="3"/>
                  </a:moveTo>
                  <a:lnTo>
                    <a:pt x="3" y="0"/>
                  </a:lnTo>
                  <a:lnTo>
                    <a:pt x="3" y="0"/>
                  </a:lnTo>
                  <a:lnTo>
                    <a:pt x="3" y="0"/>
                  </a:lnTo>
                  <a:lnTo>
                    <a:pt x="0" y="0"/>
                  </a:lnTo>
                  <a:lnTo>
                    <a:pt x="0" y="0"/>
                  </a:lnTo>
                  <a:lnTo>
                    <a:pt x="0" y="3"/>
                  </a:lnTo>
                  <a:lnTo>
                    <a:pt x="0" y="3"/>
                  </a:lnTo>
                  <a:lnTo>
                    <a:pt x="0" y="3"/>
                  </a:lnTo>
                  <a:lnTo>
                    <a:pt x="3" y="3"/>
                  </a:lnTo>
                  <a:close/>
                </a:path>
              </a:pathLst>
            </a:custGeom>
            <a:solidFill>
              <a:srgbClr val="B1B1B0"/>
            </a:solidFill>
            <a:ln w="635"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1040" name="Freeform 47">
              <a:extLst>
                <a:ext uri="{FF2B5EF4-FFF2-40B4-BE49-F238E27FC236}">
                  <a16:creationId xmlns:a16="http://schemas.microsoft.com/office/drawing/2014/main" id="{D9D55DDB-84FB-D6F6-CAFC-BAA3D6994725}"/>
                </a:ext>
              </a:extLst>
            </p:cNvPr>
            <p:cNvSpPr>
              <a:spLocks/>
            </p:cNvSpPr>
            <p:nvPr/>
          </p:nvSpPr>
          <p:spPr bwMode="gray">
            <a:xfrm>
              <a:off x="4694238" y="2174875"/>
              <a:ext cx="11113" cy="15875"/>
            </a:xfrm>
            <a:custGeom>
              <a:avLst/>
              <a:gdLst>
                <a:gd name="T0" fmla="*/ 0 w 7"/>
                <a:gd name="T1" fmla="*/ 7 h 10"/>
                <a:gd name="T2" fmla="*/ 4 w 7"/>
                <a:gd name="T3" fmla="*/ 10 h 10"/>
                <a:gd name="T4" fmla="*/ 4 w 7"/>
                <a:gd name="T5" fmla="*/ 10 h 10"/>
                <a:gd name="T6" fmla="*/ 7 w 7"/>
                <a:gd name="T7" fmla="*/ 7 h 10"/>
                <a:gd name="T8" fmla="*/ 7 w 7"/>
                <a:gd name="T9" fmla="*/ 3 h 10"/>
                <a:gd name="T10" fmla="*/ 4 w 7"/>
                <a:gd name="T11" fmla="*/ 0 h 10"/>
                <a:gd name="T12" fmla="*/ 0 w 7"/>
                <a:gd name="T13" fmla="*/ 0 h 10"/>
                <a:gd name="T14" fmla="*/ 0 w 7"/>
                <a:gd name="T15" fmla="*/ 0 h 10"/>
                <a:gd name="T16" fmla="*/ 0 w 7"/>
                <a:gd name="T17" fmla="*/ 3 h 10"/>
                <a:gd name="T18" fmla="*/ 0 w 7"/>
                <a:gd name="T19"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0">
                  <a:moveTo>
                    <a:pt x="0" y="7"/>
                  </a:moveTo>
                  <a:lnTo>
                    <a:pt x="4" y="10"/>
                  </a:lnTo>
                  <a:lnTo>
                    <a:pt x="4" y="10"/>
                  </a:lnTo>
                  <a:lnTo>
                    <a:pt x="7" y="7"/>
                  </a:lnTo>
                  <a:lnTo>
                    <a:pt x="7" y="3"/>
                  </a:lnTo>
                  <a:lnTo>
                    <a:pt x="4" y="0"/>
                  </a:lnTo>
                  <a:lnTo>
                    <a:pt x="0" y="0"/>
                  </a:lnTo>
                  <a:lnTo>
                    <a:pt x="0" y="0"/>
                  </a:lnTo>
                  <a:lnTo>
                    <a:pt x="0" y="3"/>
                  </a:lnTo>
                  <a:lnTo>
                    <a:pt x="0" y="7"/>
                  </a:lnTo>
                  <a:close/>
                </a:path>
              </a:pathLst>
            </a:custGeom>
            <a:solidFill>
              <a:srgbClr val="B1B1B0"/>
            </a:solidFill>
            <a:ln w="635"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1041" name="Freeform 48">
              <a:extLst>
                <a:ext uri="{FF2B5EF4-FFF2-40B4-BE49-F238E27FC236}">
                  <a16:creationId xmlns:a16="http://schemas.microsoft.com/office/drawing/2014/main" id="{FECFC171-FFDE-D1C1-3A03-B251D747C114}"/>
                </a:ext>
              </a:extLst>
            </p:cNvPr>
            <p:cNvSpPr>
              <a:spLocks/>
            </p:cNvSpPr>
            <p:nvPr/>
          </p:nvSpPr>
          <p:spPr bwMode="gray">
            <a:xfrm>
              <a:off x="4465638" y="1908175"/>
              <a:ext cx="11113" cy="15875"/>
            </a:xfrm>
            <a:custGeom>
              <a:avLst/>
              <a:gdLst>
                <a:gd name="T0" fmla="*/ 3 w 7"/>
                <a:gd name="T1" fmla="*/ 10 h 10"/>
                <a:gd name="T2" fmla="*/ 3 w 7"/>
                <a:gd name="T3" fmla="*/ 10 h 10"/>
                <a:gd name="T4" fmla="*/ 3 w 7"/>
                <a:gd name="T5" fmla="*/ 7 h 10"/>
                <a:gd name="T6" fmla="*/ 3 w 7"/>
                <a:gd name="T7" fmla="*/ 7 h 10"/>
                <a:gd name="T8" fmla="*/ 3 w 7"/>
                <a:gd name="T9" fmla="*/ 7 h 10"/>
                <a:gd name="T10" fmla="*/ 7 w 7"/>
                <a:gd name="T11" fmla="*/ 3 h 10"/>
                <a:gd name="T12" fmla="*/ 3 w 7"/>
                <a:gd name="T13" fmla="*/ 3 h 10"/>
                <a:gd name="T14" fmla="*/ 3 w 7"/>
                <a:gd name="T15" fmla="*/ 0 h 10"/>
                <a:gd name="T16" fmla="*/ 3 w 7"/>
                <a:gd name="T17" fmla="*/ 0 h 10"/>
                <a:gd name="T18" fmla="*/ 3 w 7"/>
                <a:gd name="T19" fmla="*/ 3 h 10"/>
                <a:gd name="T20" fmla="*/ 0 w 7"/>
                <a:gd name="T21" fmla="*/ 3 h 10"/>
                <a:gd name="T22" fmla="*/ 3 w 7"/>
                <a:gd name="T23" fmla="*/ 7 h 10"/>
                <a:gd name="T24" fmla="*/ 3 w 7"/>
                <a:gd name="T2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0">
                  <a:moveTo>
                    <a:pt x="3" y="10"/>
                  </a:moveTo>
                  <a:lnTo>
                    <a:pt x="3" y="10"/>
                  </a:lnTo>
                  <a:lnTo>
                    <a:pt x="3" y="7"/>
                  </a:lnTo>
                  <a:lnTo>
                    <a:pt x="3" y="7"/>
                  </a:lnTo>
                  <a:lnTo>
                    <a:pt x="3" y="7"/>
                  </a:lnTo>
                  <a:lnTo>
                    <a:pt x="7" y="3"/>
                  </a:lnTo>
                  <a:lnTo>
                    <a:pt x="3" y="3"/>
                  </a:lnTo>
                  <a:lnTo>
                    <a:pt x="3" y="0"/>
                  </a:lnTo>
                  <a:lnTo>
                    <a:pt x="3" y="0"/>
                  </a:lnTo>
                  <a:lnTo>
                    <a:pt x="3" y="3"/>
                  </a:lnTo>
                  <a:lnTo>
                    <a:pt x="0" y="3"/>
                  </a:lnTo>
                  <a:lnTo>
                    <a:pt x="3" y="7"/>
                  </a:lnTo>
                  <a:lnTo>
                    <a:pt x="3" y="10"/>
                  </a:lnTo>
                  <a:close/>
                </a:path>
              </a:pathLst>
            </a:custGeom>
            <a:solidFill>
              <a:srgbClr val="B1B1B0"/>
            </a:solidFill>
            <a:ln w="635"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1042" name="Freeform 49">
              <a:extLst>
                <a:ext uri="{FF2B5EF4-FFF2-40B4-BE49-F238E27FC236}">
                  <a16:creationId xmlns:a16="http://schemas.microsoft.com/office/drawing/2014/main" id="{BCCCBE3A-9068-51C7-38A4-CEBBE51F6E4C}"/>
                </a:ext>
              </a:extLst>
            </p:cNvPr>
            <p:cNvSpPr>
              <a:spLocks/>
            </p:cNvSpPr>
            <p:nvPr/>
          </p:nvSpPr>
          <p:spPr bwMode="gray">
            <a:xfrm>
              <a:off x="4368800" y="1897063"/>
              <a:ext cx="6350" cy="4763"/>
            </a:xfrm>
            <a:custGeom>
              <a:avLst/>
              <a:gdLst>
                <a:gd name="T0" fmla="*/ 0 w 1"/>
                <a:gd name="T1" fmla="*/ 1 h 1"/>
                <a:gd name="T2" fmla="*/ 1 w 1"/>
                <a:gd name="T3" fmla="*/ 1 h 1"/>
                <a:gd name="T4" fmla="*/ 1 w 1"/>
                <a:gd name="T5" fmla="*/ 1 h 1"/>
                <a:gd name="T6" fmla="*/ 1 w 1"/>
                <a:gd name="T7" fmla="*/ 0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1"/>
                    <a:pt x="1" y="1"/>
                    <a:pt x="1" y="1"/>
                  </a:cubicBezTo>
                  <a:cubicBezTo>
                    <a:pt x="1" y="1"/>
                    <a:pt x="1" y="1"/>
                    <a:pt x="1" y="1"/>
                  </a:cubicBezTo>
                  <a:cubicBezTo>
                    <a:pt x="1" y="0"/>
                    <a:pt x="1" y="0"/>
                    <a:pt x="1" y="0"/>
                  </a:cubicBezTo>
                  <a:cubicBezTo>
                    <a:pt x="0" y="1"/>
                    <a:pt x="0" y="1"/>
                    <a:pt x="0" y="1"/>
                  </a:cubicBezTo>
                  <a:cubicBezTo>
                    <a:pt x="0" y="1"/>
                    <a:pt x="0" y="1"/>
                    <a:pt x="0" y="1"/>
                  </a:cubicBezTo>
                  <a:cubicBezTo>
                    <a:pt x="0" y="1"/>
                    <a:pt x="0" y="1"/>
                    <a:pt x="0" y="1"/>
                  </a:cubicBezTo>
                  <a:close/>
                </a:path>
              </a:pathLst>
            </a:custGeom>
            <a:solidFill>
              <a:srgbClr val="B1B1B0"/>
            </a:solidFill>
            <a:ln w="635"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1043" name="Freeform 50">
              <a:extLst>
                <a:ext uri="{FF2B5EF4-FFF2-40B4-BE49-F238E27FC236}">
                  <a16:creationId xmlns:a16="http://schemas.microsoft.com/office/drawing/2014/main" id="{EA56323A-AF7E-A00B-F603-735223BEDE91}"/>
                </a:ext>
              </a:extLst>
            </p:cNvPr>
            <p:cNvSpPr>
              <a:spLocks/>
            </p:cNvSpPr>
            <p:nvPr/>
          </p:nvSpPr>
          <p:spPr bwMode="gray">
            <a:xfrm>
              <a:off x="4316413" y="1838325"/>
              <a:ext cx="11113" cy="6350"/>
            </a:xfrm>
            <a:custGeom>
              <a:avLst/>
              <a:gdLst>
                <a:gd name="T0" fmla="*/ 1 w 2"/>
                <a:gd name="T1" fmla="*/ 1 h 1"/>
                <a:gd name="T2" fmla="*/ 2 w 2"/>
                <a:gd name="T3" fmla="*/ 1 h 1"/>
                <a:gd name="T4" fmla="*/ 2 w 2"/>
                <a:gd name="T5" fmla="*/ 1 h 1"/>
                <a:gd name="T6" fmla="*/ 2 w 2"/>
                <a:gd name="T7" fmla="*/ 1 h 1"/>
                <a:gd name="T8" fmla="*/ 1 w 2"/>
                <a:gd name="T9" fmla="*/ 0 h 1"/>
                <a:gd name="T10" fmla="*/ 1 w 2"/>
                <a:gd name="T11" fmla="*/ 0 h 1"/>
                <a:gd name="T12" fmla="*/ 0 w 2"/>
                <a:gd name="T13" fmla="*/ 1 h 1"/>
                <a:gd name="T14" fmla="*/ 1 w 2"/>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
                  <a:moveTo>
                    <a:pt x="1" y="1"/>
                  </a:moveTo>
                  <a:cubicBezTo>
                    <a:pt x="2" y="1"/>
                    <a:pt x="2" y="1"/>
                    <a:pt x="2" y="1"/>
                  </a:cubicBezTo>
                  <a:cubicBezTo>
                    <a:pt x="2" y="1"/>
                    <a:pt x="2" y="1"/>
                    <a:pt x="2" y="1"/>
                  </a:cubicBezTo>
                  <a:cubicBezTo>
                    <a:pt x="2" y="1"/>
                    <a:pt x="2" y="1"/>
                    <a:pt x="2" y="1"/>
                  </a:cubicBezTo>
                  <a:cubicBezTo>
                    <a:pt x="2" y="1"/>
                    <a:pt x="1" y="0"/>
                    <a:pt x="1" y="0"/>
                  </a:cubicBezTo>
                  <a:cubicBezTo>
                    <a:pt x="1" y="0"/>
                    <a:pt x="1" y="0"/>
                    <a:pt x="1" y="0"/>
                  </a:cubicBezTo>
                  <a:cubicBezTo>
                    <a:pt x="0" y="1"/>
                    <a:pt x="0" y="1"/>
                    <a:pt x="0" y="1"/>
                  </a:cubicBezTo>
                  <a:cubicBezTo>
                    <a:pt x="1" y="1"/>
                    <a:pt x="1" y="1"/>
                    <a:pt x="1" y="1"/>
                  </a:cubicBezTo>
                  <a:close/>
                </a:path>
              </a:pathLst>
            </a:custGeom>
            <a:solidFill>
              <a:srgbClr val="B1B1B0"/>
            </a:solidFill>
            <a:ln w="635"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1044" name="Freeform 51">
              <a:extLst>
                <a:ext uri="{FF2B5EF4-FFF2-40B4-BE49-F238E27FC236}">
                  <a16:creationId xmlns:a16="http://schemas.microsoft.com/office/drawing/2014/main" id="{F7B09775-5A20-D77C-D25D-D4D40D2E4E0F}"/>
                </a:ext>
              </a:extLst>
            </p:cNvPr>
            <p:cNvSpPr>
              <a:spLocks/>
            </p:cNvSpPr>
            <p:nvPr/>
          </p:nvSpPr>
          <p:spPr bwMode="gray">
            <a:xfrm>
              <a:off x="4567238" y="2116138"/>
              <a:ext cx="20638" cy="26988"/>
            </a:xfrm>
            <a:custGeom>
              <a:avLst/>
              <a:gdLst>
                <a:gd name="T0" fmla="*/ 3 w 13"/>
                <a:gd name="T1" fmla="*/ 3 h 17"/>
                <a:gd name="T2" fmla="*/ 0 w 13"/>
                <a:gd name="T3" fmla="*/ 3 h 17"/>
                <a:gd name="T4" fmla="*/ 0 w 13"/>
                <a:gd name="T5" fmla="*/ 3 h 17"/>
                <a:gd name="T6" fmla="*/ 0 w 13"/>
                <a:gd name="T7" fmla="*/ 7 h 17"/>
                <a:gd name="T8" fmla="*/ 3 w 13"/>
                <a:gd name="T9" fmla="*/ 7 h 17"/>
                <a:gd name="T10" fmla="*/ 3 w 13"/>
                <a:gd name="T11" fmla="*/ 7 h 17"/>
                <a:gd name="T12" fmla="*/ 3 w 13"/>
                <a:gd name="T13" fmla="*/ 7 h 17"/>
                <a:gd name="T14" fmla="*/ 3 w 13"/>
                <a:gd name="T15" fmla="*/ 10 h 17"/>
                <a:gd name="T16" fmla="*/ 3 w 13"/>
                <a:gd name="T17" fmla="*/ 10 h 17"/>
                <a:gd name="T18" fmla="*/ 3 w 13"/>
                <a:gd name="T19" fmla="*/ 10 h 17"/>
                <a:gd name="T20" fmla="*/ 3 w 13"/>
                <a:gd name="T21" fmla="*/ 10 h 17"/>
                <a:gd name="T22" fmla="*/ 3 w 13"/>
                <a:gd name="T23" fmla="*/ 10 h 17"/>
                <a:gd name="T24" fmla="*/ 3 w 13"/>
                <a:gd name="T25" fmla="*/ 13 h 17"/>
                <a:gd name="T26" fmla="*/ 3 w 13"/>
                <a:gd name="T27" fmla="*/ 13 h 17"/>
                <a:gd name="T28" fmla="*/ 3 w 13"/>
                <a:gd name="T29" fmla="*/ 13 h 17"/>
                <a:gd name="T30" fmla="*/ 3 w 13"/>
                <a:gd name="T31" fmla="*/ 17 h 17"/>
                <a:gd name="T32" fmla="*/ 3 w 13"/>
                <a:gd name="T33" fmla="*/ 17 h 17"/>
                <a:gd name="T34" fmla="*/ 3 w 13"/>
                <a:gd name="T35" fmla="*/ 17 h 17"/>
                <a:gd name="T36" fmla="*/ 6 w 13"/>
                <a:gd name="T37" fmla="*/ 17 h 17"/>
                <a:gd name="T38" fmla="*/ 6 w 13"/>
                <a:gd name="T39" fmla="*/ 17 h 17"/>
                <a:gd name="T40" fmla="*/ 6 w 13"/>
                <a:gd name="T41" fmla="*/ 13 h 17"/>
                <a:gd name="T42" fmla="*/ 6 w 13"/>
                <a:gd name="T43" fmla="*/ 17 h 17"/>
                <a:gd name="T44" fmla="*/ 10 w 13"/>
                <a:gd name="T45" fmla="*/ 17 h 17"/>
                <a:gd name="T46" fmla="*/ 10 w 13"/>
                <a:gd name="T47" fmla="*/ 13 h 17"/>
                <a:gd name="T48" fmla="*/ 6 w 13"/>
                <a:gd name="T49" fmla="*/ 13 h 17"/>
                <a:gd name="T50" fmla="*/ 10 w 13"/>
                <a:gd name="T51" fmla="*/ 13 h 17"/>
                <a:gd name="T52" fmla="*/ 10 w 13"/>
                <a:gd name="T53" fmla="*/ 10 h 17"/>
                <a:gd name="T54" fmla="*/ 10 w 13"/>
                <a:gd name="T55" fmla="*/ 10 h 17"/>
                <a:gd name="T56" fmla="*/ 10 w 13"/>
                <a:gd name="T57" fmla="*/ 10 h 17"/>
                <a:gd name="T58" fmla="*/ 10 w 13"/>
                <a:gd name="T59" fmla="*/ 10 h 17"/>
                <a:gd name="T60" fmla="*/ 10 w 13"/>
                <a:gd name="T61" fmla="*/ 7 h 17"/>
                <a:gd name="T62" fmla="*/ 13 w 13"/>
                <a:gd name="T63" fmla="*/ 7 h 17"/>
                <a:gd name="T64" fmla="*/ 10 w 13"/>
                <a:gd name="T65" fmla="*/ 7 h 17"/>
                <a:gd name="T66" fmla="*/ 13 w 13"/>
                <a:gd name="T67" fmla="*/ 7 h 17"/>
                <a:gd name="T68" fmla="*/ 13 w 13"/>
                <a:gd name="T69" fmla="*/ 3 h 17"/>
                <a:gd name="T70" fmla="*/ 10 w 13"/>
                <a:gd name="T71" fmla="*/ 3 h 17"/>
                <a:gd name="T72" fmla="*/ 10 w 13"/>
                <a:gd name="T73" fmla="*/ 0 h 17"/>
                <a:gd name="T74" fmla="*/ 10 w 13"/>
                <a:gd name="T75" fmla="*/ 0 h 17"/>
                <a:gd name="T76" fmla="*/ 6 w 13"/>
                <a:gd name="T77" fmla="*/ 3 h 17"/>
                <a:gd name="T78" fmla="*/ 6 w 13"/>
                <a:gd name="T79" fmla="*/ 0 h 17"/>
                <a:gd name="T80" fmla="*/ 6 w 13"/>
                <a:gd name="T81" fmla="*/ 0 h 17"/>
                <a:gd name="T82" fmla="*/ 3 w 13"/>
                <a:gd name="T83" fmla="*/ 0 h 17"/>
                <a:gd name="T84" fmla="*/ 3 w 13"/>
                <a:gd name="T85" fmla="*/ 3 h 17"/>
                <a:gd name="T86" fmla="*/ 3 w 13"/>
                <a:gd name="T87"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 h="17">
                  <a:moveTo>
                    <a:pt x="3" y="3"/>
                  </a:moveTo>
                  <a:lnTo>
                    <a:pt x="0" y="3"/>
                  </a:lnTo>
                  <a:lnTo>
                    <a:pt x="0" y="3"/>
                  </a:lnTo>
                  <a:lnTo>
                    <a:pt x="0" y="7"/>
                  </a:lnTo>
                  <a:lnTo>
                    <a:pt x="3" y="7"/>
                  </a:lnTo>
                  <a:lnTo>
                    <a:pt x="3" y="7"/>
                  </a:lnTo>
                  <a:lnTo>
                    <a:pt x="3" y="7"/>
                  </a:lnTo>
                  <a:lnTo>
                    <a:pt x="3" y="10"/>
                  </a:lnTo>
                  <a:lnTo>
                    <a:pt x="3" y="10"/>
                  </a:lnTo>
                  <a:lnTo>
                    <a:pt x="3" y="10"/>
                  </a:lnTo>
                  <a:lnTo>
                    <a:pt x="3" y="10"/>
                  </a:lnTo>
                  <a:lnTo>
                    <a:pt x="3" y="10"/>
                  </a:lnTo>
                  <a:lnTo>
                    <a:pt x="3" y="13"/>
                  </a:lnTo>
                  <a:lnTo>
                    <a:pt x="3" y="13"/>
                  </a:lnTo>
                  <a:lnTo>
                    <a:pt x="3" y="13"/>
                  </a:lnTo>
                  <a:lnTo>
                    <a:pt x="3" y="17"/>
                  </a:lnTo>
                  <a:lnTo>
                    <a:pt x="3" y="17"/>
                  </a:lnTo>
                  <a:lnTo>
                    <a:pt x="3" y="17"/>
                  </a:lnTo>
                  <a:lnTo>
                    <a:pt x="6" y="17"/>
                  </a:lnTo>
                  <a:lnTo>
                    <a:pt x="6" y="17"/>
                  </a:lnTo>
                  <a:lnTo>
                    <a:pt x="6" y="13"/>
                  </a:lnTo>
                  <a:lnTo>
                    <a:pt x="6" y="17"/>
                  </a:lnTo>
                  <a:lnTo>
                    <a:pt x="10" y="17"/>
                  </a:lnTo>
                  <a:lnTo>
                    <a:pt x="10" y="13"/>
                  </a:lnTo>
                  <a:lnTo>
                    <a:pt x="6" y="13"/>
                  </a:lnTo>
                  <a:lnTo>
                    <a:pt x="10" y="13"/>
                  </a:lnTo>
                  <a:lnTo>
                    <a:pt x="10" y="10"/>
                  </a:lnTo>
                  <a:lnTo>
                    <a:pt x="10" y="10"/>
                  </a:lnTo>
                  <a:lnTo>
                    <a:pt x="10" y="10"/>
                  </a:lnTo>
                  <a:lnTo>
                    <a:pt x="10" y="10"/>
                  </a:lnTo>
                  <a:lnTo>
                    <a:pt x="10" y="7"/>
                  </a:lnTo>
                  <a:lnTo>
                    <a:pt x="13" y="7"/>
                  </a:lnTo>
                  <a:lnTo>
                    <a:pt x="10" y="7"/>
                  </a:lnTo>
                  <a:lnTo>
                    <a:pt x="13" y="7"/>
                  </a:lnTo>
                  <a:lnTo>
                    <a:pt x="13" y="3"/>
                  </a:lnTo>
                  <a:lnTo>
                    <a:pt x="10" y="3"/>
                  </a:lnTo>
                  <a:lnTo>
                    <a:pt x="10" y="0"/>
                  </a:lnTo>
                  <a:lnTo>
                    <a:pt x="10" y="0"/>
                  </a:lnTo>
                  <a:lnTo>
                    <a:pt x="6" y="3"/>
                  </a:lnTo>
                  <a:lnTo>
                    <a:pt x="6" y="0"/>
                  </a:lnTo>
                  <a:lnTo>
                    <a:pt x="6" y="0"/>
                  </a:lnTo>
                  <a:lnTo>
                    <a:pt x="3" y="0"/>
                  </a:lnTo>
                  <a:lnTo>
                    <a:pt x="3" y="3"/>
                  </a:lnTo>
                  <a:lnTo>
                    <a:pt x="3" y="3"/>
                  </a:lnTo>
                  <a:close/>
                </a:path>
              </a:pathLst>
            </a:custGeom>
            <a:solidFill>
              <a:srgbClr val="B1B1B0"/>
            </a:solidFill>
            <a:ln w="635"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1045" name="Freeform 52">
              <a:extLst>
                <a:ext uri="{FF2B5EF4-FFF2-40B4-BE49-F238E27FC236}">
                  <a16:creationId xmlns:a16="http://schemas.microsoft.com/office/drawing/2014/main" id="{9F86D953-6337-6FEC-17D4-6680DE0AE37E}"/>
                </a:ext>
              </a:extLst>
            </p:cNvPr>
            <p:cNvSpPr>
              <a:spLocks/>
            </p:cNvSpPr>
            <p:nvPr/>
          </p:nvSpPr>
          <p:spPr bwMode="gray">
            <a:xfrm>
              <a:off x="4641850" y="3705225"/>
              <a:ext cx="15875" cy="11113"/>
            </a:xfrm>
            <a:custGeom>
              <a:avLst/>
              <a:gdLst>
                <a:gd name="T0" fmla="*/ 2 w 3"/>
                <a:gd name="T1" fmla="*/ 0 h 2"/>
                <a:gd name="T2" fmla="*/ 2 w 3"/>
                <a:gd name="T3" fmla="*/ 0 h 2"/>
                <a:gd name="T4" fmla="*/ 2 w 3"/>
                <a:gd name="T5" fmla="*/ 1 h 2"/>
                <a:gd name="T6" fmla="*/ 2 w 3"/>
                <a:gd name="T7" fmla="*/ 1 h 2"/>
                <a:gd name="T8" fmla="*/ 1 w 3"/>
                <a:gd name="T9" fmla="*/ 1 h 2"/>
                <a:gd name="T10" fmla="*/ 1 w 3"/>
                <a:gd name="T11" fmla="*/ 1 h 2"/>
                <a:gd name="T12" fmla="*/ 0 w 3"/>
                <a:gd name="T13" fmla="*/ 1 h 2"/>
                <a:gd name="T14" fmla="*/ 0 w 3"/>
                <a:gd name="T15" fmla="*/ 1 h 2"/>
                <a:gd name="T16" fmla="*/ 0 w 3"/>
                <a:gd name="T17" fmla="*/ 2 h 2"/>
                <a:gd name="T18" fmla="*/ 0 w 3"/>
                <a:gd name="T19" fmla="*/ 2 h 2"/>
                <a:gd name="T20" fmla="*/ 0 w 3"/>
                <a:gd name="T21" fmla="*/ 2 h 2"/>
                <a:gd name="T22" fmla="*/ 0 w 3"/>
                <a:gd name="T23" fmla="*/ 2 h 2"/>
                <a:gd name="T24" fmla="*/ 1 w 3"/>
                <a:gd name="T25" fmla="*/ 2 h 2"/>
                <a:gd name="T26" fmla="*/ 1 w 3"/>
                <a:gd name="T27" fmla="*/ 2 h 2"/>
                <a:gd name="T28" fmla="*/ 1 w 3"/>
                <a:gd name="T29" fmla="*/ 2 h 2"/>
                <a:gd name="T30" fmla="*/ 2 w 3"/>
                <a:gd name="T31" fmla="*/ 2 h 2"/>
                <a:gd name="T32" fmla="*/ 2 w 3"/>
                <a:gd name="T33" fmla="*/ 2 h 2"/>
                <a:gd name="T34" fmla="*/ 2 w 3"/>
                <a:gd name="T35" fmla="*/ 2 h 2"/>
                <a:gd name="T36" fmla="*/ 3 w 3"/>
                <a:gd name="T37" fmla="*/ 1 h 2"/>
                <a:gd name="T38" fmla="*/ 3 w 3"/>
                <a:gd name="T39" fmla="*/ 1 h 2"/>
                <a:gd name="T40" fmla="*/ 3 w 3"/>
                <a:gd name="T41" fmla="*/ 1 h 2"/>
                <a:gd name="T42" fmla="*/ 3 w 3"/>
                <a:gd name="T43" fmla="*/ 1 h 2"/>
                <a:gd name="T44" fmla="*/ 3 w 3"/>
                <a:gd name="T45" fmla="*/ 1 h 2"/>
                <a:gd name="T46" fmla="*/ 3 w 3"/>
                <a:gd name="T47" fmla="*/ 0 h 2"/>
                <a:gd name="T48" fmla="*/ 3 w 3"/>
                <a:gd name="T49" fmla="*/ 0 h 2"/>
                <a:gd name="T50" fmla="*/ 3 w 3"/>
                <a:gd name="T51" fmla="*/ 0 h 2"/>
                <a:gd name="T52" fmla="*/ 3 w 3"/>
                <a:gd name="T53" fmla="*/ 0 h 2"/>
                <a:gd name="T54" fmla="*/ 3 w 3"/>
                <a:gd name="T55" fmla="*/ 0 h 2"/>
                <a:gd name="T56" fmla="*/ 3 w 3"/>
                <a:gd name="T57" fmla="*/ 0 h 2"/>
                <a:gd name="T58" fmla="*/ 3 w 3"/>
                <a:gd name="T59" fmla="*/ 0 h 2"/>
                <a:gd name="T60" fmla="*/ 2 w 3"/>
                <a:gd name="T6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 h="2">
                  <a:moveTo>
                    <a:pt x="2" y="0"/>
                  </a:moveTo>
                  <a:cubicBezTo>
                    <a:pt x="2" y="0"/>
                    <a:pt x="2" y="0"/>
                    <a:pt x="2" y="0"/>
                  </a:cubicBezTo>
                  <a:cubicBezTo>
                    <a:pt x="2" y="1"/>
                    <a:pt x="2" y="1"/>
                    <a:pt x="2" y="1"/>
                  </a:cubicBezTo>
                  <a:cubicBezTo>
                    <a:pt x="2" y="1"/>
                    <a:pt x="2" y="1"/>
                    <a:pt x="2" y="1"/>
                  </a:cubicBezTo>
                  <a:cubicBezTo>
                    <a:pt x="1" y="1"/>
                    <a:pt x="1" y="1"/>
                    <a:pt x="1" y="1"/>
                  </a:cubicBezTo>
                  <a:cubicBezTo>
                    <a:pt x="1" y="1"/>
                    <a:pt x="1" y="1"/>
                    <a:pt x="1"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1" y="2"/>
                    <a:pt x="1" y="2"/>
                    <a:pt x="1" y="2"/>
                  </a:cubicBezTo>
                  <a:cubicBezTo>
                    <a:pt x="1" y="2"/>
                    <a:pt x="1" y="2"/>
                    <a:pt x="1" y="2"/>
                  </a:cubicBezTo>
                  <a:cubicBezTo>
                    <a:pt x="1" y="2"/>
                    <a:pt x="1" y="2"/>
                    <a:pt x="1" y="2"/>
                  </a:cubicBezTo>
                  <a:cubicBezTo>
                    <a:pt x="2" y="2"/>
                    <a:pt x="2" y="2"/>
                    <a:pt x="2" y="2"/>
                  </a:cubicBezTo>
                  <a:cubicBezTo>
                    <a:pt x="2" y="2"/>
                    <a:pt x="2" y="2"/>
                    <a:pt x="2" y="2"/>
                  </a:cubicBezTo>
                  <a:cubicBezTo>
                    <a:pt x="2" y="2"/>
                    <a:pt x="2" y="2"/>
                    <a:pt x="2" y="2"/>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cubicBezTo>
                    <a:pt x="3" y="0"/>
                    <a:pt x="3" y="0"/>
                    <a:pt x="3" y="0"/>
                  </a:cubicBezTo>
                  <a:cubicBezTo>
                    <a:pt x="3" y="0"/>
                    <a:pt x="3" y="0"/>
                    <a:pt x="3" y="0"/>
                  </a:cubicBezTo>
                  <a:cubicBezTo>
                    <a:pt x="3" y="0"/>
                    <a:pt x="3" y="0"/>
                    <a:pt x="3" y="0"/>
                  </a:cubicBezTo>
                  <a:cubicBezTo>
                    <a:pt x="3" y="0"/>
                    <a:pt x="3" y="0"/>
                    <a:pt x="3" y="0"/>
                  </a:cubicBezTo>
                  <a:cubicBezTo>
                    <a:pt x="3" y="0"/>
                    <a:pt x="3" y="0"/>
                    <a:pt x="3" y="0"/>
                  </a:cubicBezTo>
                  <a:lnTo>
                    <a:pt x="2" y="0"/>
                  </a:lnTo>
                  <a:close/>
                </a:path>
              </a:pathLst>
            </a:custGeom>
            <a:solidFill>
              <a:srgbClr val="B1B1B0"/>
            </a:solidFill>
            <a:ln w="635"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1046" name="Freeform 53">
              <a:extLst>
                <a:ext uri="{FF2B5EF4-FFF2-40B4-BE49-F238E27FC236}">
                  <a16:creationId xmlns:a16="http://schemas.microsoft.com/office/drawing/2014/main" id="{5F92E644-214E-F0A3-4FD4-9BFF1B2E73ED}"/>
                </a:ext>
              </a:extLst>
            </p:cNvPr>
            <p:cNvSpPr>
              <a:spLocks/>
            </p:cNvSpPr>
            <p:nvPr/>
          </p:nvSpPr>
          <p:spPr bwMode="gray">
            <a:xfrm>
              <a:off x="4822825" y="3470275"/>
              <a:ext cx="15875" cy="20638"/>
            </a:xfrm>
            <a:custGeom>
              <a:avLst/>
              <a:gdLst>
                <a:gd name="T0" fmla="*/ 3 w 10"/>
                <a:gd name="T1" fmla="*/ 13 h 13"/>
                <a:gd name="T2" fmla="*/ 6 w 10"/>
                <a:gd name="T3" fmla="*/ 10 h 13"/>
                <a:gd name="T4" fmla="*/ 10 w 10"/>
                <a:gd name="T5" fmla="*/ 7 h 13"/>
                <a:gd name="T6" fmla="*/ 10 w 10"/>
                <a:gd name="T7" fmla="*/ 7 h 13"/>
                <a:gd name="T8" fmla="*/ 10 w 10"/>
                <a:gd name="T9" fmla="*/ 7 h 13"/>
                <a:gd name="T10" fmla="*/ 10 w 10"/>
                <a:gd name="T11" fmla="*/ 3 h 13"/>
                <a:gd name="T12" fmla="*/ 10 w 10"/>
                <a:gd name="T13" fmla="*/ 0 h 13"/>
                <a:gd name="T14" fmla="*/ 10 w 10"/>
                <a:gd name="T15" fmla="*/ 0 h 13"/>
                <a:gd name="T16" fmla="*/ 10 w 10"/>
                <a:gd name="T17" fmla="*/ 0 h 13"/>
                <a:gd name="T18" fmla="*/ 10 w 10"/>
                <a:gd name="T19" fmla="*/ 0 h 13"/>
                <a:gd name="T20" fmla="*/ 10 w 10"/>
                <a:gd name="T21" fmla="*/ 0 h 13"/>
                <a:gd name="T22" fmla="*/ 6 w 10"/>
                <a:gd name="T23" fmla="*/ 0 h 13"/>
                <a:gd name="T24" fmla="*/ 6 w 10"/>
                <a:gd name="T25" fmla="*/ 3 h 13"/>
                <a:gd name="T26" fmla="*/ 3 w 10"/>
                <a:gd name="T27" fmla="*/ 7 h 13"/>
                <a:gd name="T28" fmla="*/ 0 w 10"/>
                <a:gd name="T29" fmla="*/ 10 h 13"/>
                <a:gd name="T30" fmla="*/ 0 w 10"/>
                <a:gd name="T31" fmla="*/ 13 h 13"/>
                <a:gd name="T32" fmla="*/ 0 w 10"/>
                <a:gd name="T33" fmla="*/ 13 h 13"/>
                <a:gd name="T34" fmla="*/ 3 w 10"/>
                <a:gd name="T35" fmla="*/ 13 h 13"/>
                <a:gd name="T36" fmla="*/ 3 w 10"/>
                <a:gd name="T3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 h="13">
                  <a:moveTo>
                    <a:pt x="3" y="13"/>
                  </a:moveTo>
                  <a:lnTo>
                    <a:pt x="6" y="10"/>
                  </a:lnTo>
                  <a:lnTo>
                    <a:pt x="10" y="7"/>
                  </a:lnTo>
                  <a:lnTo>
                    <a:pt x="10" y="7"/>
                  </a:lnTo>
                  <a:lnTo>
                    <a:pt x="10" y="7"/>
                  </a:lnTo>
                  <a:lnTo>
                    <a:pt x="10" y="3"/>
                  </a:lnTo>
                  <a:lnTo>
                    <a:pt x="10" y="0"/>
                  </a:lnTo>
                  <a:lnTo>
                    <a:pt x="10" y="0"/>
                  </a:lnTo>
                  <a:lnTo>
                    <a:pt x="10" y="0"/>
                  </a:lnTo>
                  <a:lnTo>
                    <a:pt x="10" y="0"/>
                  </a:lnTo>
                  <a:lnTo>
                    <a:pt x="10" y="0"/>
                  </a:lnTo>
                  <a:lnTo>
                    <a:pt x="6" y="0"/>
                  </a:lnTo>
                  <a:lnTo>
                    <a:pt x="6" y="3"/>
                  </a:lnTo>
                  <a:lnTo>
                    <a:pt x="3" y="7"/>
                  </a:lnTo>
                  <a:lnTo>
                    <a:pt x="0" y="10"/>
                  </a:lnTo>
                  <a:lnTo>
                    <a:pt x="0" y="13"/>
                  </a:lnTo>
                  <a:lnTo>
                    <a:pt x="0" y="13"/>
                  </a:lnTo>
                  <a:lnTo>
                    <a:pt x="3" y="13"/>
                  </a:lnTo>
                  <a:lnTo>
                    <a:pt x="3" y="13"/>
                  </a:lnTo>
                  <a:close/>
                </a:path>
              </a:pathLst>
            </a:custGeom>
            <a:solidFill>
              <a:srgbClr val="B1B1B0"/>
            </a:solidFill>
            <a:ln w="635"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1047" name="Freeform 54">
              <a:extLst>
                <a:ext uri="{FF2B5EF4-FFF2-40B4-BE49-F238E27FC236}">
                  <a16:creationId xmlns:a16="http://schemas.microsoft.com/office/drawing/2014/main" id="{8EED9A1D-492A-9BCA-47F9-41C97C559376}"/>
                </a:ext>
              </a:extLst>
            </p:cNvPr>
            <p:cNvSpPr>
              <a:spLocks/>
            </p:cNvSpPr>
            <p:nvPr/>
          </p:nvSpPr>
          <p:spPr bwMode="gray">
            <a:xfrm>
              <a:off x="4933950" y="3282950"/>
              <a:ext cx="6350" cy="6350"/>
            </a:xfrm>
            <a:custGeom>
              <a:avLst/>
              <a:gdLst>
                <a:gd name="T0" fmla="*/ 4 w 4"/>
                <a:gd name="T1" fmla="*/ 0 h 4"/>
                <a:gd name="T2" fmla="*/ 0 w 4"/>
                <a:gd name="T3" fmla="*/ 0 h 4"/>
                <a:gd name="T4" fmla="*/ 0 w 4"/>
                <a:gd name="T5" fmla="*/ 4 h 4"/>
                <a:gd name="T6" fmla="*/ 0 w 4"/>
                <a:gd name="T7" fmla="*/ 4 h 4"/>
                <a:gd name="T8" fmla="*/ 0 w 4"/>
                <a:gd name="T9" fmla="*/ 4 h 4"/>
                <a:gd name="T10" fmla="*/ 0 w 4"/>
                <a:gd name="T11" fmla="*/ 4 h 4"/>
                <a:gd name="T12" fmla="*/ 0 w 4"/>
                <a:gd name="T13" fmla="*/ 4 h 4"/>
                <a:gd name="T14" fmla="*/ 0 w 4"/>
                <a:gd name="T15" fmla="*/ 4 h 4"/>
                <a:gd name="T16" fmla="*/ 0 w 4"/>
                <a:gd name="T17" fmla="*/ 4 h 4"/>
                <a:gd name="T18" fmla="*/ 4 w 4"/>
                <a:gd name="T19" fmla="*/ 4 h 4"/>
                <a:gd name="T20" fmla="*/ 4 w 4"/>
                <a:gd name="T21" fmla="*/ 4 h 4"/>
                <a:gd name="T22" fmla="*/ 4 w 4"/>
                <a:gd name="T23" fmla="*/ 0 h 4"/>
                <a:gd name="T24" fmla="*/ 4 w 4"/>
                <a:gd name="T25" fmla="*/ 0 h 4"/>
                <a:gd name="T26" fmla="*/ 4 w 4"/>
                <a:gd name="T2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4">
                  <a:moveTo>
                    <a:pt x="4" y="0"/>
                  </a:moveTo>
                  <a:lnTo>
                    <a:pt x="0" y="0"/>
                  </a:lnTo>
                  <a:lnTo>
                    <a:pt x="0" y="4"/>
                  </a:lnTo>
                  <a:lnTo>
                    <a:pt x="0" y="4"/>
                  </a:lnTo>
                  <a:lnTo>
                    <a:pt x="0" y="4"/>
                  </a:lnTo>
                  <a:lnTo>
                    <a:pt x="0" y="4"/>
                  </a:lnTo>
                  <a:lnTo>
                    <a:pt x="0" y="4"/>
                  </a:lnTo>
                  <a:lnTo>
                    <a:pt x="0" y="4"/>
                  </a:lnTo>
                  <a:lnTo>
                    <a:pt x="0" y="4"/>
                  </a:lnTo>
                  <a:lnTo>
                    <a:pt x="4" y="4"/>
                  </a:lnTo>
                  <a:lnTo>
                    <a:pt x="4" y="4"/>
                  </a:lnTo>
                  <a:lnTo>
                    <a:pt x="4" y="0"/>
                  </a:lnTo>
                  <a:lnTo>
                    <a:pt x="4" y="0"/>
                  </a:lnTo>
                  <a:lnTo>
                    <a:pt x="4" y="0"/>
                  </a:lnTo>
                  <a:close/>
                </a:path>
              </a:pathLst>
            </a:custGeom>
            <a:solidFill>
              <a:srgbClr val="B1B1B0"/>
            </a:solidFill>
            <a:ln w="635"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1048" name="Freeform 55">
              <a:extLst>
                <a:ext uri="{FF2B5EF4-FFF2-40B4-BE49-F238E27FC236}">
                  <a16:creationId xmlns:a16="http://schemas.microsoft.com/office/drawing/2014/main" id="{7F90306E-C7BA-CBFD-902F-019D29E82108}"/>
                </a:ext>
              </a:extLst>
            </p:cNvPr>
            <p:cNvSpPr>
              <a:spLocks/>
            </p:cNvSpPr>
            <p:nvPr/>
          </p:nvSpPr>
          <p:spPr bwMode="gray">
            <a:xfrm>
              <a:off x="4854575" y="3416300"/>
              <a:ext cx="11113" cy="11113"/>
            </a:xfrm>
            <a:custGeom>
              <a:avLst/>
              <a:gdLst>
                <a:gd name="T0" fmla="*/ 0 w 7"/>
                <a:gd name="T1" fmla="*/ 7 h 7"/>
                <a:gd name="T2" fmla="*/ 3 w 7"/>
                <a:gd name="T3" fmla="*/ 7 h 7"/>
                <a:gd name="T4" fmla="*/ 3 w 7"/>
                <a:gd name="T5" fmla="*/ 7 h 7"/>
                <a:gd name="T6" fmla="*/ 3 w 7"/>
                <a:gd name="T7" fmla="*/ 4 h 7"/>
                <a:gd name="T8" fmla="*/ 3 w 7"/>
                <a:gd name="T9" fmla="*/ 0 h 7"/>
                <a:gd name="T10" fmla="*/ 7 w 7"/>
                <a:gd name="T11" fmla="*/ 0 h 7"/>
                <a:gd name="T12" fmla="*/ 3 w 7"/>
                <a:gd name="T13" fmla="*/ 0 h 7"/>
                <a:gd name="T14" fmla="*/ 3 w 7"/>
                <a:gd name="T15" fmla="*/ 0 h 7"/>
                <a:gd name="T16" fmla="*/ 3 w 7"/>
                <a:gd name="T17" fmla="*/ 4 h 7"/>
                <a:gd name="T18" fmla="*/ 0 w 7"/>
                <a:gd name="T19" fmla="*/ 4 h 7"/>
                <a:gd name="T20" fmla="*/ 0 w 7"/>
                <a:gd name="T21" fmla="*/ 4 h 7"/>
                <a:gd name="T22" fmla="*/ 0 w 7"/>
                <a:gd name="T23" fmla="*/ 4 h 7"/>
                <a:gd name="T24" fmla="*/ 0 w 7"/>
                <a:gd name="T25" fmla="*/ 4 h 7"/>
                <a:gd name="T26" fmla="*/ 0 w 7"/>
                <a:gd name="T27" fmla="*/ 7 h 7"/>
                <a:gd name="T28" fmla="*/ 0 w 7"/>
                <a:gd name="T2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7">
                  <a:moveTo>
                    <a:pt x="0" y="7"/>
                  </a:moveTo>
                  <a:lnTo>
                    <a:pt x="3" y="7"/>
                  </a:lnTo>
                  <a:lnTo>
                    <a:pt x="3" y="7"/>
                  </a:lnTo>
                  <a:lnTo>
                    <a:pt x="3" y="4"/>
                  </a:lnTo>
                  <a:lnTo>
                    <a:pt x="3" y="0"/>
                  </a:lnTo>
                  <a:lnTo>
                    <a:pt x="7" y="0"/>
                  </a:lnTo>
                  <a:lnTo>
                    <a:pt x="3" y="0"/>
                  </a:lnTo>
                  <a:lnTo>
                    <a:pt x="3" y="0"/>
                  </a:lnTo>
                  <a:lnTo>
                    <a:pt x="3" y="4"/>
                  </a:lnTo>
                  <a:lnTo>
                    <a:pt x="0" y="4"/>
                  </a:lnTo>
                  <a:lnTo>
                    <a:pt x="0" y="4"/>
                  </a:lnTo>
                  <a:lnTo>
                    <a:pt x="0" y="4"/>
                  </a:lnTo>
                  <a:lnTo>
                    <a:pt x="0" y="4"/>
                  </a:lnTo>
                  <a:lnTo>
                    <a:pt x="0" y="7"/>
                  </a:lnTo>
                  <a:lnTo>
                    <a:pt x="0" y="7"/>
                  </a:lnTo>
                  <a:close/>
                </a:path>
              </a:pathLst>
            </a:custGeom>
            <a:solidFill>
              <a:srgbClr val="B1B1B0"/>
            </a:solidFill>
            <a:ln w="635"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1049" name="Freeform 56">
              <a:extLst>
                <a:ext uri="{FF2B5EF4-FFF2-40B4-BE49-F238E27FC236}">
                  <a16:creationId xmlns:a16="http://schemas.microsoft.com/office/drawing/2014/main" id="{0E14FD31-ECAB-33AA-C054-09896F01CCFE}"/>
                </a:ext>
              </a:extLst>
            </p:cNvPr>
            <p:cNvSpPr>
              <a:spLocks/>
            </p:cNvSpPr>
            <p:nvPr/>
          </p:nvSpPr>
          <p:spPr bwMode="gray">
            <a:xfrm>
              <a:off x="5184775" y="3017838"/>
              <a:ext cx="219075" cy="57150"/>
            </a:xfrm>
            <a:custGeom>
              <a:avLst/>
              <a:gdLst>
                <a:gd name="T0" fmla="*/ 134 w 138"/>
                <a:gd name="T1" fmla="*/ 16 h 36"/>
                <a:gd name="T2" fmla="*/ 131 w 138"/>
                <a:gd name="T3" fmla="*/ 13 h 36"/>
                <a:gd name="T4" fmla="*/ 128 w 138"/>
                <a:gd name="T5" fmla="*/ 13 h 36"/>
                <a:gd name="T6" fmla="*/ 128 w 138"/>
                <a:gd name="T7" fmla="*/ 10 h 36"/>
                <a:gd name="T8" fmla="*/ 124 w 138"/>
                <a:gd name="T9" fmla="*/ 10 h 36"/>
                <a:gd name="T10" fmla="*/ 117 w 138"/>
                <a:gd name="T11" fmla="*/ 10 h 36"/>
                <a:gd name="T12" fmla="*/ 111 w 138"/>
                <a:gd name="T13" fmla="*/ 10 h 36"/>
                <a:gd name="T14" fmla="*/ 111 w 138"/>
                <a:gd name="T15" fmla="*/ 10 h 36"/>
                <a:gd name="T16" fmla="*/ 107 w 138"/>
                <a:gd name="T17" fmla="*/ 10 h 36"/>
                <a:gd name="T18" fmla="*/ 104 w 138"/>
                <a:gd name="T19" fmla="*/ 10 h 36"/>
                <a:gd name="T20" fmla="*/ 101 w 138"/>
                <a:gd name="T21" fmla="*/ 6 h 36"/>
                <a:gd name="T22" fmla="*/ 101 w 138"/>
                <a:gd name="T23" fmla="*/ 6 h 36"/>
                <a:gd name="T24" fmla="*/ 97 w 138"/>
                <a:gd name="T25" fmla="*/ 6 h 36"/>
                <a:gd name="T26" fmla="*/ 94 w 138"/>
                <a:gd name="T27" fmla="*/ 6 h 36"/>
                <a:gd name="T28" fmla="*/ 91 w 138"/>
                <a:gd name="T29" fmla="*/ 3 h 36"/>
                <a:gd name="T30" fmla="*/ 84 w 138"/>
                <a:gd name="T31" fmla="*/ 3 h 36"/>
                <a:gd name="T32" fmla="*/ 81 w 138"/>
                <a:gd name="T33" fmla="*/ 3 h 36"/>
                <a:gd name="T34" fmla="*/ 74 w 138"/>
                <a:gd name="T35" fmla="*/ 3 h 36"/>
                <a:gd name="T36" fmla="*/ 70 w 138"/>
                <a:gd name="T37" fmla="*/ 0 h 36"/>
                <a:gd name="T38" fmla="*/ 57 w 138"/>
                <a:gd name="T39" fmla="*/ 0 h 36"/>
                <a:gd name="T40" fmla="*/ 40 w 138"/>
                <a:gd name="T41" fmla="*/ 3 h 36"/>
                <a:gd name="T42" fmla="*/ 23 w 138"/>
                <a:gd name="T43" fmla="*/ 3 h 36"/>
                <a:gd name="T44" fmla="*/ 17 w 138"/>
                <a:gd name="T45" fmla="*/ 3 h 36"/>
                <a:gd name="T46" fmla="*/ 10 w 138"/>
                <a:gd name="T47" fmla="*/ 6 h 36"/>
                <a:gd name="T48" fmla="*/ 10 w 138"/>
                <a:gd name="T49" fmla="*/ 6 h 36"/>
                <a:gd name="T50" fmla="*/ 3 w 138"/>
                <a:gd name="T51" fmla="*/ 10 h 36"/>
                <a:gd name="T52" fmla="*/ 3 w 138"/>
                <a:gd name="T53" fmla="*/ 16 h 36"/>
                <a:gd name="T54" fmla="*/ 7 w 138"/>
                <a:gd name="T55" fmla="*/ 16 h 36"/>
                <a:gd name="T56" fmla="*/ 10 w 138"/>
                <a:gd name="T57" fmla="*/ 16 h 36"/>
                <a:gd name="T58" fmla="*/ 10 w 138"/>
                <a:gd name="T59" fmla="*/ 16 h 36"/>
                <a:gd name="T60" fmla="*/ 20 w 138"/>
                <a:gd name="T61" fmla="*/ 20 h 36"/>
                <a:gd name="T62" fmla="*/ 40 w 138"/>
                <a:gd name="T63" fmla="*/ 20 h 36"/>
                <a:gd name="T64" fmla="*/ 47 w 138"/>
                <a:gd name="T65" fmla="*/ 26 h 36"/>
                <a:gd name="T66" fmla="*/ 50 w 138"/>
                <a:gd name="T67" fmla="*/ 30 h 36"/>
                <a:gd name="T68" fmla="*/ 50 w 138"/>
                <a:gd name="T69" fmla="*/ 30 h 36"/>
                <a:gd name="T70" fmla="*/ 60 w 138"/>
                <a:gd name="T71" fmla="*/ 33 h 36"/>
                <a:gd name="T72" fmla="*/ 64 w 138"/>
                <a:gd name="T73" fmla="*/ 33 h 36"/>
                <a:gd name="T74" fmla="*/ 74 w 138"/>
                <a:gd name="T75" fmla="*/ 33 h 36"/>
                <a:gd name="T76" fmla="*/ 94 w 138"/>
                <a:gd name="T77" fmla="*/ 36 h 36"/>
                <a:gd name="T78" fmla="*/ 111 w 138"/>
                <a:gd name="T79" fmla="*/ 33 h 36"/>
                <a:gd name="T80" fmla="*/ 114 w 138"/>
                <a:gd name="T81" fmla="*/ 33 h 36"/>
                <a:gd name="T82" fmla="*/ 124 w 138"/>
                <a:gd name="T83" fmla="*/ 30 h 36"/>
                <a:gd name="T84" fmla="*/ 134 w 138"/>
                <a:gd name="T85" fmla="*/ 26 h 36"/>
                <a:gd name="T86" fmla="*/ 138 w 138"/>
                <a:gd name="T87" fmla="*/ 23 h 36"/>
                <a:gd name="T88" fmla="*/ 138 w 138"/>
                <a:gd name="T89" fmla="*/ 23 h 36"/>
                <a:gd name="T90" fmla="*/ 138 w 138"/>
                <a:gd name="T91" fmla="*/ 20 h 36"/>
                <a:gd name="T92" fmla="*/ 138 w 138"/>
                <a:gd name="T93"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8" h="36">
                  <a:moveTo>
                    <a:pt x="138" y="16"/>
                  </a:moveTo>
                  <a:lnTo>
                    <a:pt x="134" y="16"/>
                  </a:lnTo>
                  <a:lnTo>
                    <a:pt x="134" y="16"/>
                  </a:lnTo>
                  <a:lnTo>
                    <a:pt x="131" y="16"/>
                  </a:lnTo>
                  <a:lnTo>
                    <a:pt x="131" y="16"/>
                  </a:lnTo>
                  <a:lnTo>
                    <a:pt x="131" y="13"/>
                  </a:lnTo>
                  <a:lnTo>
                    <a:pt x="131" y="13"/>
                  </a:lnTo>
                  <a:lnTo>
                    <a:pt x="131" y="13"/>
                  </a:lnTo>
                  <a:lnTo>
                    <a:pt x="128" y="13"/>
                  </a:lnTo>
                  <a:lnTo>
                    <a:pt x="128" y="13"/>
                  </a:lnTo>
                  <a:lnTo>
                    <a:pt x="128" y="13"/>
                  </a:lnTo>
                  <a:lnTo>
                    <a:pt x="128" y="10"/>
                  </a:lnTo>
                  <a:lnTo>
                    <a:pt x="124" y="10"/>
                  </a:lnTo>
                  <a:lnTo>
                    <a:pt x="124" y="10"/>
                  </a:lnTo>
                  <a:lnTo>
                    <a:pt x="124" y="10"/>
                  </a:lnTo>
                  <a:lnTo>
                    <a:pt x="121" y="10"/>
                  </a:lnTo>
                  <a:lnTo>
                    <a:pt x="121" y="10"/>
                  </a:lnTo>
                  <a:lnTo>
                    <a:pt x="117" y="10"/>
                  </a:lnTo>
                  <a:lnTo>
                    <a:pt x="117" y="10"/>
                  </a:lnTo>
                  <a:lnTo>
                    <a:pt x="114" y="10"/>
                  </a:lnTo>
                  <a:lnTo>
                    <a:pt x="111" y="10"/>
                  </a:lnTo>
                  <a:lnTo>
                    <a:pt x="111" y="10"/>
                  </a:lnTo>
                  <a:lnTo>
                    <a:pt x="111" y="10"/>
                  </a:lnTo>
                  <a:lnTo>
                    <a:pt x="111" y="10"/>
                  </a:lnTo>
                  <a:lnTo>
                    <a:pt x="107" y="10"/>
                  </a:lnTo>
                  <a:lnTo>
                    <a:pt x="107" y="10"/>
                  </a:lnTo>
                  <a:lnTo>
                    <a:pt x="107" y="10"/>
                  </a:lnTo>
                  <a:lnTo>
                    <a:pt x="107" y="6"/>
                  </a:lnTo>
                  <a:lnTo>
                    <a:pt x="104" y="6"/>
                  </a:lnTo>
                  <a:lnTo>
                    <a:pt x="104" y="10"/>
                  </a:lnTo>
                  <a:lnTo>
                    <a:pt x="104" y="10"/>
                  </a:lnTo>
                  <a:lnTo>
                    <a:pt x="101" y="6"/>
                  </a:lnTo>
                  <a:lnTo>
                    <a:pt x="101" y="6"/>
                  </a:lnTo>
                  <a:lnTo>
                    <a:pt x="101" y="10"/>
                  </a:lnTo>
                  <a:lnTo>
                    <a:pt x="101" y="10"/>
                  </a:lnTo>
                  <a:lnTo>
                    <a:pt x="101" y="6"/>
                  </a:lnTo>
                  <a:lnTo>
                    <a:pt x="97" y="6"/>
                  </a:lnTo>
                  <a:lnTo>
                    <a:pt x="97" y="6"/>
                  </a:lnTo>
                  <a:lnTo>
                    <a:pt x="97" y="6"/>
                  </a:lnTo>
                  <a:lnTo>
                    <a:pt x="97" y="6"/>
                  </a:lnTo>
                  <a:lnTo>
                    <a:pt x="97" y="6"/>
                  </a:lnTo>
                  <a:lnTo>
                    <a:pt x="94" y="6"/>
                  </a:lnTo>
                  <a:lnTo>
                    <a:pt x="94" y="6"/>
                  </a:lnTo>
                  <a:lnTo>
                    <a:pt x="94" y="3"/>
                  </a:lnTo>
                  <a:lnTo>
                    <a:pt x="91" y="3"/>
                  </a:lnTo>
                  <a:lnTo>
                    <a:pt x="87" y="3"/>
                  </a:lnTo>
                  <a:lnTo>
                    <a:pt x="87" y="3"/>
                  </a:lnTo>
                  <a:lnTo>
                    <a:pt x="84" y="3"/>
                  </a:lnTo>
                  <a:lnTo>
                    <a:pt x="84" y="3"/>
                  </a:lnTo>
                  <a:lnTo>
                    <a:pt x="81" y="3"/>
                  </a:lnTo>
                  <a:lnTo>
                    <a:pt x="81" y="3"/>
                  </a:lnTo>
                  <a:lnTo>
                    <a:pt x="81" y="3"/>
                  </a:lnTo>
                  <a:lnTo>
                    <a:pt x="77" y="3"/>
                  </a:lnTo>
                  <a:lnTo>
                    <a:pt x="74" y="3"/>
                  </a:lnTo>
                  <a:lnTo>
                    <a:pt x="74" y="3"/>
                  </a:lnTo>
                  <a:lnTo>
                    <a:pt x="70" y="0"/>
                  </a:lnTo>
                  <a:lnTo>
                    <a:pt x="70" y="0"/>
                  </a:lnTo>
                  <a:lnTo>
                    <a:pt x="67" y="0"/>
                  </a:lnTo>
                  <a:lnTo>
                    <a:pt x="64" y="0"/>
                  </a:lnTo>
                  <a:lnTo>
                    <a:pt x="57" y="0"/>
                  </a:lnTo>
                  <a:lnTo>
                    <a:pt x="50" y="0"/>
                  </a:lnTo>
                  <a:lnTo>
                    <a:pt x="44" y="3"/>
                  </a:lnTo>
                  <a:lnTo>
                    <a:pt x="40" y="3"/>
                  </a:lnTo>
                  <a:lnTo>
                    <a:pt x="37" y="3"/>
                  </a:lnTo>
                  <a:lnTo>
                    <a:pt x="23" y="3"/>
                  </a:lnTo>
                  <a:lnTo>
                    <a:pt x="23" y="3"/>
                  </a:lnTo>
                  <a:lnTo>
                    <a:pt x="23" y="3"/>
                  </a:lnTo>
                  <a:lnTo>
                    <a:pt x="20" y="3"/>
                  </a:lnTo>
                  <a:lnTo>
                    <a:pt x="17" y="3"/>
                  </a:lnTo>
                  <a:lnTo>
                    <a:pt x="13" y="6"/>
                  </a:lnTo>
                  <a:lnTo>
                    <a:pt x="10" y="6"/>
                  </a:lnTo>
                  <a:lnTo>
                    <a:pt x="10" y="6"/>
                  </a:lnTo>
                  <a:lnTo>
                    <a:pt x="10" y="6"/>
                  </a:lnTo>
                  <a:lnTo>
                    <a:pt x="10" y="6"/>
                  </a:lnTo>
                  <a:lnTo>
                    <a:pt x="10" y="6"/>
                  </a:lnTo>
                  <a:lnTo>
                    <a:pt x="10" y="6"/>
                  </a:lnTo>
                  <a:lnTo>
                    <a:pt x="7" y="10"/>
                  </a:lnTo>
                  <a:lnTo>
                    <a:pt x="3" y="10"/>
                  </a:lnTo>
                  <a:lnTo>
                    <a:pt x="3" y="13"/>
                  </a:lnTo>
                  <a:lnTo>
                    <a:pt x="0" y="13"/>
                  </a:lnTo>
                  <a:lnTo>
                    <a:pt x="3" y="16"/>
                  </a:lnTo>
                  <a:lnTo>
                    <a:pt x="3" y="16"/>
                  </a:lnTo>
                  <a:lnTo>
                    <a:pt x="3" y="16"/>
                  </a:lnTo>
                  <a:lnTo>
                    <a:pt x="7" y="16"/>
                  </a:lnTo>
                  <a:lnTo>
                    <a:pt x="7" y="16"/>
                  </a:lnTo>
                  <a:lnTo>
                    <a:pt x="7" y="16"/>
                  </a:lnTo>
                  <a:lnTo>
                    <a:pt x="10" y="16"/>
                  </a:lnTo>
                  <a:lnTo>
                    <a:pt x="7" y="16"/>
                  </a:lnTo>
                  <a:lnTo>
                    <a:pt x="10" y="16"/>
                  </a:lnTo>
                  <a:lnTo>
                    <a:pt x="10" y="16"/>
                  </a:lnTo>
                  <a:lnTo>
                    <a:pt x="10" y="16"/>
                  </a:lnTo>
                  <a:lnTo>
                    <a:pt x="13" y="16"/>
                  </a:lnTo>
                  <a:lnTo>
                    <a:pt x="20" y="20"/>
                  </a:lnTo>
                  <a:lnTo>
                    <a:pt x="23" y="20"/>
                  </a:lnTo>
                  <a:lnTo>
                    <a:pt x="30" y="20"/>
                  </a:lnTo>
                  <a:lnTo>
                    <a:pt x="40" y="20"/>
                  </a:lnTo>
                  <a:lnTo>
                    <a:pt x="44" y="23"/>
                  </a:lnTo>
                  <a:lnTo>
                    <a:pt x="47" y="26"/>
                  </a:lnTo>
                  <a:lnTo>
                    <a:pt x="47" y="26"/>
                  </a:lnTo>
                  <a:lnTo>
                    <a:pt x="47" y="26"/>
                  </a:lnTo>
                  <a:lnTo>
                    <a:pt x="47" y="26"/>
                  </a:lnTo>
                  <a:lnTo>
                    <a:pt x="50" y="30"/>
                  </a:lnTo>
                  <a:lnTo>
                    <a:pt x="50" y="30"/>
                  </a:lnTo>
                  <a:lnTo>
                    <a:pt x="50" y="30"/>
                  </a:lnTo>
                  <a:lnTo>
                    <a:pt x="50" y="30"/>
                  </a:lnTo>
                  <a:lnTo>
                    <a:pt x="50" y="33"/>
                  </a:lnTo>
                  <a:lnTo>
                    <a:pt x="57" y="33"/>
                  </a:lnTo>
                  <a:lnTo>
                    <a:pt x="60" y="33"/>
                  </a:lnTo>
                  <a:lnTo>
                    <a:pt x="60" y="33"/>
                  </a:lnTo>
                  <a:lnTo>
                    <a:pt x="64" y="33"/>
                  </a:lnTo>
                  <a:lnTo>
                    <a:pt x="64" y="33"/>
                  </a:lnTo>
                  <a:lnTo>
                    <a:pt x="67" y="33"/>
                  </a:lnTo>
                  <a:lnTo>
                    <a:pt x="70" y="33"/>
                  </a:lnTo>
                  <a:lnTo>
                    <a:pt x="74" y="33"/>
                  </a:lnTo>
                  <a:lnTo>
                    <a:pt x="77" y="36"/>
                  </a:lnTo>
                  <a:lnTo>
                    <a:pt x="87" y="33"/>
                  </a:lnTo>
                  <a:lnTo>
                    <a:pt x="94" y="36"/>
                  </a:lnTo>
                  <a:lnTo>
                    <a:pt x="104" y="33"/>
                  </a:lnTo>
                  <a:lnTo>
                    <a:pt x="107" y="33"/>
                  </a:lnTo>
                  <a:lnTo>
                    <a:pt x="111" y="33"/>
                  </a:lnTo>
                  <a:lnTo>
                    <a:pt x="111" y="33"/>
                  </a:lnTo>
                  <a:lnTo>
                    <a:pt x="114" y="33"/>
                  </a:lnTo>
                  <a:lnTo>
                    <a:pt x="114" y="33"/>
                  </a:lnTo>
                  <a:lnTo>
                    <a:pt x="117" y="33"/>
                  </a:lnTo>
                  <a:lnTo>
                    <a:pt x="121" y="30"/>
                  </a:lnTo>
                  <a:lnTo>
                    <a:pt x="124" y="30"/>
                  </a:lnTo>
                  <a:lnTo>
                    <a:pt x="131" y="26"/>
                  </a:lnTo>
                  <a:lnTo>
                    <a:pt x="131" y="26"/>
                  </a:lnTo>
                  <a:lnTo>
                    <a:pt x="134" y="26"/>
                  </a:lnTo>
                  <a:lnTo>
                    <a:pt x="134" y="26"/>
                  </a:lnTo>
                  <a:lnTo>
                    <a:pt x="138" y="23"/>
                  </a:lnTo>
                  <a:lnTo>
                    <a:pt x="138" y="23"/>
                  </a:lnTo>
                  <a:lnTo>
                    <a:pt x="138" y="23"/>
                  </a:lnTo>
                  <a:lnTo>
                    <a:pt x="138" y="23"/>
                  </a:lnTo>
                  <a:lnTo>
                    <a:pt x="138" y="23"/>
                  </a:lnTo>
                  <a:lnTo>
                    <a:pt x="138" y="23"/>
                  </a:lnTo>
                  <a:lnTo>
                    <a:pt x="138" y="23"/>
                  </a:lnTo>
                  <a:lnTo>
                    <a:pt x="138" y="20"/>
                  </a:lnTo>
                  <a:lnTo>
                    <a:pt x="138" y="20"/>
                  </a:lnTo>
                  <a:lnTo>
                    <a:pt x="138" y="20"/>
                  </a:lnTo>
                  <a:lnTo>
                    <a:pt x="138" y="20"/>
                  </a:lnTo>
                  <a:lnTo>
                    <a:pt x="138" y="16"/>
                  </a:lnTo>
                  <a:close/>
                </a:path>
              </a:pathLst>
            </a:custGeom>
            <a:solidFill>
              <a:srgbClr val="B1B1B0"/>
            </a:solidFill>
            <a:ln w="635"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1050" name="Freeform 57">
              <a:extLst>
                <a:ext uri="{FF2B5EF4-FFF2-40B4-BE49-F238E27FC236}">
                  <a16:creationId xmlns:a16="http://schemas.microsoft.com/office/drawing/2014/main" id="{3F5A5059-25C0-F27D-2A65-C32E90C99E01}"/>
                </a:ext>
              </a:extLst>
            </p:cNvPr>
            <p:cNvSpPr>
              <a:spLocks/>
            </p:cNvSpPr>
            <p:nvPr/>
          </p:nvSpPr>
          <p:spPr bwMode="gray">
            <a:xfrm>
              <a:off x="5499100" y="2835275"/>
              <a:ext cx="11113" cy="11113"/>
            </a:xfrm>
            <a:custGeom>
              <a:avLst/>
              <a:gdLst>
                <a:gd name="T0" fmla="*/ 3 w 7"/>
                <a:gd name="T1" fmla="*/ 4 h 7"/>
                <a:gd name="T2" fmla="*/ 3 w 7"/>
                <a:gd name="T3" fmla="*/ 4 h 7"/>
                <a:gd name="T4" fmla="*/ 3 w 7"/>
                <a:gd name="T5" fmla="*/ 0 h 7"/>
                <a:gd name="T6" fmla="*/ 0 w 7"/>
                <a:gd name="T7" fmla="*/ 0 h 7"/>
                <a:gd name="T8" fmla="*/ 0 w 7"/>
                <a:gd name="T9" fmla="*/ 0 h 7"/>
                <a:gd name="T10" fmla="*/ 0 w 7"/>
                <a:gd name="T11" fmla="*/ 0 h 7"/>
                <a:gd name="T12" fmla="*/ 0 w 7"/>
                <a:gd name="T13" fmla="*/ 4 h 7"/>
                <a:gd name="T14" fmla="*/ 3 w 7"/>
                <a:gd name="T15" fmla="*/ 4 h 7"/>
                <a:gd name="T16" fmla="*/ 3 w 7"/>
                <a:gd name="T17" fmla="*/ 4 h 7"/>
                <a:gd name="T18" fmla="*/ 3 w 7"/>
                <a:gd name="T19" fmla="*/ 4 h 7"/>
                <a:gd name="T20" fmla="*/ 3 w 7"/>
                <a:gd name="T21" fmla="*/ 4 h 7"/>
                <a:gd name="T22" fmla="*/ 3 w 7"/>
                <a:gd name="T23" fmla="*/ 4 h 7"/>
                <a:gd name="T24" fmla="*/ 3 w 7"/>
                <a:gd name="T25" fmla="*/ 4 h 7"/>
                <a:gd name="T26" fmla="*/ 3 w 7"/>
                <a:gd name="T27" fmla="*/ 4 h 7"/>
                <a:gd name="T28" fmla="*/ 3 w 7"/>
                <a:gd name="T29" fmla="*/ 4 h 7"/>
                <a:gd name="T30" fmla="*/ 3 w 7"/>
                <a:gd name="T31" fmla="*/ 7 h 7"/>
                <a:gd name="T32" fmla="*/ 3 w 7"/>
                <a:gd name="T33" fmla="*/ 7 h 7"/>
                <a:gd name="T34" fmla="*/ 3 w 7"/>
                <a:gd name="T35" fmla="*/ 7 h 7"/>
                <a:gd name="T36" fmla="*/ 3 w 7"/>
                <a:gd name="T37" fmla="*/ 7 h 7"/>
                <a:gd name="T38" fmla="*/ 7 w 7"/>
                <a:gd name="T39" fmla="*/ 7 h 7"/>
                <a:gd name="T40" fmla="*/ 7 w 7"/>
                <a:gd name="T41" fmla="*/ 7 h 7"/>
                <a:gd name="T42" fmla="*/ 7 w 7"/>
                <a:gd name="T43" fmla="*/ 7 h 7"/>
                <a:gd name="T44" fmla="*/ 7 w 7"/>
                <a:gd name="T45" fmla="*/ 7 h 7"/>
                <a:gd name="T46" fmla="*/ 7 w 7"/>
                <a:gd name="T47" fmla="*/ 4 h 7"/>
                <a:gd name="T48" fmla="*/ 7 w 7"/>
                <a:gd name="T49" fmla="*/ 4 h 7"/>
                <a:gd name="T50" fmla="*/ 3 w 7"/>
                <a:gd name="T51"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 h="7">
                  <a:moveTo>
                    <a:pt x="3" y="4"/>
                  </a:moveTo>
                  <a:lnTo>
                    <a:pt x="3" y="4"/>
                  </a:lnTo>
                  <a:lnTo>
                    <a:pt x="3" y="0"/>
                  </a:lnTo>
                  <a:lnTo>
                    <a:pt x="0" y="0"/>
                  </a:lnTo>
                  <a:lnTo>
                    <a:pt x="0" y="0"/>
                  </a:lnTo>
                  <a:lnTo>
                    <a:pt x="0" y="0"/>
                  </a:lnTo>
                  <a:lnTo>
                    <a:pt x="0" y="4"/>
                  </a:lnTo>
                  <a:lnTo>
                    <a:pt x="3" y="4"/>
                  </a:lnTo>
                  <a:lnTo>
                    <a:pt x="3" y="4"/>
                  </a:lnTo>
                  <a:lnTo>
                    <a:pt x="3" y="4"/>
                  </a:lnTo>
                  <a:lnTo>
                    <a:pt x="3" y="4"/>
                  </a:lnTo>
                  <a:lnTo>
                    <a:pt x="3" y="4"/>
                  </a:lnTo>
                  <a:lnTo>
                    <a:pt x="3" y="4"/>
                  </a:lnTo>
                  <a:lnTo>
                    <a:pt x="3" y="4"/>
                  </a:lnTo>
                  <a:lnTo>
                    <a:pt x="3" y="4"/>
                  </a:lnTo>
                  <a:lnTo>
                    <a:pt x="3" y="7"/>
                  </a:lnTo>
                  <a:lnTo>
                    <a:pt x="3" y="7"/>
                  </a:lnTo>
                  <a:lnTo>
                    <a:pt x="3" y="7"/>
                  </a:lnTo>
                  <a:lnTo>
                    <a:pt x="3" y="7"/>
                  </a:lnTo>
                  <a:lnTo>
                    <a:pt x="7" y="7"/>
                  </a:lnTo>
                  <a:lnTo>
                    <a:pt x="7" y="7"/>
                  </a:lnTo>
                  <a:lnTo>
                    <a:pt x="7" y="7"/>
                  </a:lnTo>
                  <a:lnTo>
                    <a:pt x="7" y="7"/>
                  </a:lnTo>
                  <a:lnTo>
                    <a:pt x="7" y="4"/>
                  </a:lnTo>
                  <a:lnTo>
                    <a:pt x="7" y="4"/>
                  </a:lnTo>
                  <a:lnTo>
                    <a:pt x="3" y="4"/>
                  </a:lnTo>
                  <a:close/>
                </a:path>
              </a:pathLst>
            </a:custGeom>
            <a:solidFill>
              <a:srgbClr val="B1B1B0"/>
            </a:solidFill>
            <a:ln w="635"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1051" name="Freeform 58">
              <a:extLst>
                <a:ext uri="{FF2B5EF4-FFF2-40B4-BE49-F238E27FC236}">
                  <a16:creationId xmlns:a16="http://schemas.microsoft.com/office/drawing/2014/main" id="{7A2579F8-0DF2-FD3F-EB43-3F2DF5831D2B}"/>
                </a:ext>
              </a:extLst>
            </p:cNvPr>
            <p:cNvSpPr>
              <a:spLocks/>
            </p:cNvSpPr>
            <p:nvPr/>
          </p:nvSpPr>
          <p:spPr bwMode="gray">
            <a:xfrm>
              <a:off x="5451475" y="3198813"/>
              <a:ext cx="31750" cy="58738"/>
            </a:xfrm>
            <a:custGeom>
              <a:avLst/>
              <a:gdLst>
                <a:gd name="T0" fmla="*/ 4 w 6"/>
                <a:gd name="T1" fmla="*/ 0 h 11"/>
                <a:gd name="T2" fmla="*/ 1 w 6"/>
                <a:gd name="T3" fmla="*/ 6 h 11"/>
                <a:gd name="T4" fmla="*/ 1 w 6"/>
                <a:gd name="T5" fmla="*/ 6 h 11"/>
                <a:gd name="T6" fmla="*/ 0 w 6"/>
                <a:gd name="T7" fmla="*/ 7 h 11"/>
                <a:gd name="T8" fmla="*/ 0 w 6"/>
                <a:gd name="T9" fmla="*/ 7 h 11"/>
                <a:gd name="T10" fmla="*/ 0 w 6"/>
                <a:gd name="T11" fmla="*/ 8 h 11"/>
                <a:gd name="T12" fmla="*/ 0 w 6"/>
                <a:gd name="T13" fmla="*/ 9 h 11"/>
                <a:gd name="T14" fmla="*/ 0 w 6"/>
                <a:gd name="T15" fmla="*/ 11 h 11"/>
                <a:gd name="T16" fmla="*/ 1 w 6"/>
                <a:gd name="T17" fmla="*/ 10 h 11"/>
                <a:gd name="T18" fmla="*/ 2 w 6"/>
                <a:gd name="T19" fmla="*/ 10 h 11"/>
                <a:gd name="T20" fmla="*/ 2 w 6"/>
                <a:gd name="T21" fmla="*/ 10 h 11"/>
                <a:gd name="T22" fmla="*/ 3 w 6"/>
                <a:gd name="T23" fmla="*/ 9 h 11"/>
                <a:gd name="T24" fmla="*/ 3 w 6"/>
                <a:gd name="T25" fmla="*/ 9 h 11"/>
                <a:gd name="T26" fmla="*/ 3 w 6"/>
                <a:gd name="T27" fmla="*/ 9 h 11"/>
                <a:gd name="T28" fmla="*/ 2 w 6"/>
                <a:gd name="T29" fmla="*/ 9 h 11"/>
                <a:gd name="T30" fmla="*/ 1 w 6"/>
                <a:gd name="T31" fmla="*/ 9 h 11"/>
                <a:gd name="T32" fmla="*/ 1 w 6"/>
                <a:gd name="T33" fmla="*/ 9 h 11"/>
                <a:gd name="T34" fmla="*/ 0 w 6"/>
                <a:gd name="T35" fmla="*/ 9 h 11"/>
                <a:gd name="T36" fmla="*/ 1 w 6"/>
                <a:gd name="T37" fmla="*/ 8 h 11"/>
                <a:gd name="T38" fmla="*/ 1 w 6"/>
                <a:gd name="T39" fmla="*/ 8 h 11"/>
                <a:gd name="T40" fmla="*/ 1 w 6"/>
                <a:gd name="T41" fmla="*/ 7 h 11"/>
                <a:gd name="T42" fmla="*/ 1 w 6"/>
                <a:gd name="T43" fmla="*/ 7 h 11"/>
                <a:gd name="T44" fmla="*/ 1 w 6"/>
                <a:gd name="T45" fmla="*/ 6 h 11"/>
                <a:gd name="T46" fmla="*/ 2 w 6"/>
                <a:gd name="T47" fmla="*/ 6 h 11"/>
                <a:gd name="T48" fmla="*/ 3 w 6"/>
                <a:gd name="T49" fmla="*/ 3 h 11"/>
                <a:gd name="T50" fmla="*/ 3 w 6"/>
                <a:gd name="T51" fmla="*/ 2 h 11"/>
                <a:gd name="T52" fmla="*/ 3 w 6"/>
                <a:gd name="T53" fmla="*/ 3 h 11"/>
                <a:gd name="T54" fmla="*/ 1 w 6"/>
                <a:gd name="T55" fmla="*/ 6 h 11"/>
                <a:gd name="T56" fmla="*/ 1 w 6"/>
                <a:gd name="T57" fmla="*/ 6 h 11"/>
                <a:gd name="T58" fmla="*/ 2 w 6"/>
                <a:gd name="T59" fmla="*/ 5 h 11"/>
                <a:gd name="T60" fmla="*/ 2 w 6"/>
                <a:gd name="T61" fmla="*/ 3 h 11"/>
                <a:gd name="T62" fmla="*/ 2 w 6"/>
                <a:gd name="T63" fmla="*/ 3 h 11"/>
                <a:gd name="T64" fmla="*/ 3 w 6"/>
                <a:gd name="T65" fmla="*/ 2 h 11"/>
                <a:gd name="T66" fmla="*/ 4 w 6"/>
                <a:gd name="T67" fmla="*/ 1 h 11"/>
                <a:gd name="T68" fmla="*/ 4 w 6"/>
                <a:gd name="T69" fmla="*/ 0 h 11"/>
                <a:gd name="T70" fmla="*/ 5 w 6"/>
                <a:gd name="T71" fmla="*/ 1 h 11"/>
                <a:gd name="T72" fmla="*/ 4 w 6"/>
                <a:gd name="T73" fmla="*/ 2 h 11"/>
                <a:gd name="T74" fmla="*/ 4 w 6"/>
                <a:gd name="T75" fmla="*/ 2 h 11"/>
                <a:gd name="T76" fmla="*/ 5 w 6"/>
                <a:gd name="T77" fmla="*/ 1 h 11"/>
                <a:gd name="T78" fmla="*/ 5 w 6"/>
                <a:gd name="T79" fmla="*/ 1 h 11"/>
                <a:gd name="T80" fmla="*/ 6 w 6"/>
                <a:gd name="T81" fmla="*/ 0 h 11"/>
                <a:gd name="T82" fmla="*/ 6 w 6"/>
                <a:gd name="T83" fmla="*/ 0 h 11"/>
                <a:gd name="T84" fmla="*/ 4 w 6"/>
                <a:gd name="T85"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 h="11">
                  <a:moveTo>
                    <a:pt x="4" y="0"/>
                  </a:moveTo>
                  <a:cubicBezTo>
                    <a:pt x="4" y="0"/>
                    <a:pt x="4" y="0"/>
                    <a:pt x="4" y="0"/>
                  </a:cubicBezTo>
                  <a:cubicBezTo>
                    <a:pt x="3" y="1"/>
                    <a:pt x="3" y="1"/>
                    <a:pt x="3" y="1"/>
                  </a:cubicBezTo>
                  <a:cubicBezTo>
                    <a:pt x="3" y="2"/>
                    <a:pt x="2" y="4"/>
                    <a:pt x="1" y="6"/>
                  </a:cubicBezTo>
                  <a:cubicBezTo>
                    <a:pt x="1" y="6"/>
                    <a:pt x="1" y="6"/>
                    <a:pt x="1" y="6"/>
                  </a:cubicBezTo>
                  <a:cubicBezTo>
                    <a:pt x="1" y="6"/>
                    <a:pt x="1" y="6"/>
                    <a:pt x="1" y="6"/>
                  </a:cubicBezTo>
                  <a:cubicBezTo>
                    <a:pt x="0" y="6"/>
                    <a:pt x="0" y="6"/>
                    <a:pt x="0" y="6"/>
                  </a:cubicBezTo>
                  <a:cubicBezTo>
                    <a:pt x="0" y="7"/>
                    <a:pt x="0" y="7"/>
                    <a:pt x="0" y="7"/>
                  </a:cubicBezTo>
                  <a:cubicBezTo>
                    <a:pt x="0" y="7"/>
                    <a:pt x="0" y="7"/>
                    <a:pt x="0" y="7"/>
                  </a:cubicBezTo>
                  <a:cubicBezTo>
                    <a:pt x="0" y="7"/>
                    <a:pt x="0" y="7"/>
                    <a:pt x="0" y="7"/>
                  </a:cubicBezTo>
                  <a:cubicBezTo>
                    <a:pt x="0" y="8"/>
                    <a:pt x="0" y="8"/>
                    <a:pt x="0" y="8"/>
                  </a:cubicBezTo>
                  <a:cubicBezTo>
                    <a:pt x="0" y="8"/>
                    <a:pt x="0" y="8"/>
                    <a:pt x="0" y="8"/>
                  </a:cubicBezTo>
                  <a:cubicBezTo>
                    <a:pt x="0" y="9"/>
                    <a:pt x="0" y="9"/>
                    <a:pt x="0" y="9"/>
                  </a:cubicBezTo>
                  <a:cubicBezTo>
                    <a:pt x="0" y="9"/>
                    <a:pt x="0" y="9"/>
                    <a:pt x="0" y="9"/>
                  </a:cubicBezTo>
                  <a:cubicBezTo>
                    <a:pt x="0" y="10"/>
                    <a:pt x="0" y="10"/>
                    <a:pt x="0" y="10"/>
                  </a:cubicBezTo>
                  <a:cubicBezTo>
                    <a:pt x="0" y="11"/>
                    <a:pt x="0" y="11"/>
                    <a:pt x="0" y="11"/>
                  </a:cubicBezTo>
                  <a:cubicBezTo>
                    <a:pt x="1" y="11"/>
                    <a:pt x="1" y="11"/>
                    <a:pt x="1" y="11"/>
                  </a:cubicBezTo>
                  <a:cubicBezTo>
                    <a:pt x="1" y="10"/>
                    <a:pt x="1" y="10"/>
                    <a:pt x="1"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2" y="9"/>
                    <a:pt x="2" y="9"/>
                    <a:pt x="2" y="9"/>
                  </a:cubicBezTo>
                  <a:cubicBezTo>
                    <a:pt x="2" y="9"/>
                    <a:pt x="2" y="9"/>
                    <a:pt x="2" y="9"/>
                  </a:cubicBezTo>
                  <a:cubicBezTo>
                    <a:pt x="1" y="9"/>
                    <a:pt x="1" y="9"/>
                    <a:pt x="1" y="9"/>
                  </a:cubicBezTo>
                  <a:cubicBezTo>
                    <a:pt x="1" y="9"/>
                    <a:pt x="1" y="9"/>
                    <a:pt x="1" y="9"/>
                  </a:cubicBezTo>
                  <a:cubicBezTo>
                    <a:pt x="1" y="9"/>
                    <a:pt x="1" y="9"/>
                    <a:pt x="1" y="9"/>
                  </a:cubicBezTo>
                  <a:cubicBezTo>
                    <a:pt x="1" y="9"/>
                    <a:pt x="1" y="9"/>
                    <a:pt x="1" y="9"/>
                  </a:cubicBezTo>
                  <a:cubicBezTo>
                    <a:pt x="1" y="9"/>
                    <a:pt x="1" y="9"/>
                    <a:pt x="1" y="9"/>
                  </a:cubicBezTo>
                  <a:cubicBezTo>
                    <a:pt x="0" y="9"/>
                    <a:pt x="0" y="9"/>
                    <a:pt x="0" y="9"/>
                  </a:cubicBezTo>
                  <a:cubicBezTo>
                    <a:pt x="1" y="9"/>
                    <a:pt x="1" y="9"/>
                    <a:pt x="1" y="9"/>
                  </a:cubicBezTo>
                  <a:cubicBezTo>
                    <a:pt x="1" y="8"/>
                    <a:pt x="1" y="8"/>
                    <a:pt x="1" y="8"/>
                  </a:cubicBezTo>
                  <a:cubicBezTo>
                    <a:pt x="1" y="8"/>
                    <a:pt x="1" y="8"/>
                    <a:pt x="1" y="8"/>
                  </a:cubicBezTo>
                  <a:cubicBezTo>
                    <a:pt x="1" y="8"/>
                    <a:pt x="1" y="8"/>
                    <a:pt x="1" y="8"/>
                  </a:cubicBezTo>
                  <a:cubicBezTo>
                    <a:pt x="1" y="8"/>
                    <a:pt x="1" y="8"/>
                    <a:pt x="1" y="8"/>
                  </a:cubicBezTo>
                  <a:cubicBezTo>
                    <a:pt x="1" y="7"/>
                    <a:pt x="1" y="7"/>
                    <a:pt x="1" y="7"/>
                  </a:cubicBezTo>
                  <a:cubicBezTo>
                    <a:pt x="1" y="7"/>
                    <a:pt x="1" y="7"/>
                    <a:pt x="1" y="7"/>
                  </a:cubicBezTo>
                  <a:cubicBezTo>
                    <a:pt x="1" y="7"/>
                    <a:pt x="1" y="7"/>
                    <a:pt x="1" y="7"/>
                  </a:cubicBezTo>
                  <a:cubicBezTo>
                    <a:pt x="1" y="6"/>
                    <a:pt x="1" y="6"/>
                    <a:pt x="1" y="6"/>
                  </a:cubicBezTo>
                  <a:cubicBezTo>
                    <a:pt x="1" y="6"/>
                    <a:pt x="1" y="6"/>
                    <a:pt x="1" y="6"/>
                  </a:cubicBezTo>
                  <a:cubicBezTo>
                    <a:pt x="2" y="6"/>
                    <a:pt x="2" y="6"/>
                    <a:pt x="2" y="6"/>
                  </a:cubicBezTo>
                  <a:cubicBezTo>
                    <a:pt x="2" y="6"/>
                    <a:pt x="2" y="6"/>
                    <a:pt x="2" y="6"/>
                  </a:cubicBezTo>
                  <a:cubicBezTo>
                    <a:pt x="2" y="4"/>
                    <a:pt x="2" y="4"/>
                    <a:pt x="2" y="4"/>
                  </a:cubicBezTo>
                  <a:cubicBezTo>
                    <a:pt x="3" y="3"/>
                    <a:pt x="3" y="3"/>
                    <a:pt x="3" y="3"/>
                  </a:cubicBezTo>
                  <a:cubicBezTo>
                    <a:pt x="3" y="2"/>
                    <a:pt x="3" y="2"/>
                    <a:pt x="3" y="2"/>
                  </a:cubicBezTo>
                  <a:cubicBezTo>
                    <a:pt x="3" y="2"/>
                    <a:pt x="3" y="2"/>
                    <a:pt x="3" y="2"/>
                  </a:cubicBezTo>
                  <a:cubicBezTo>
                    <a:pt x="3" y="2"/>
                    <a:pt x="3" y="2"/>
                    <a:pt x="3" y="2"/>
                  </a:cubicBezTo>
                  <a:cubicBezTo>
                    <a:pt x="3" y="3"/>
                    <a:pt x="3" y="3"/>
                    <a:pt x="3" y="3"/>
                  </a:cubicBezTo>
                  <a:cubicBezTo>
                    <a:pt x="2" y="5"/>
                    <a:pt x="2" y="5"/>
                    <a:pt x="2" y="5"/>
                  </a:cubicBezTo>
                  <a:cubicBezTo>
                    <a:pt x="1" y="6"/>
                    <a:pt x="1" y="6"/>
                    <a:pt x="1" y="6"/>
                  </a:cubicBezTo>
                  <a:cubicBezTo>
                    <a:pt x="1" y="6"/>
                    <a:pt x="1" y="6"/>
                    <a:pt x="1" y="6"/>
                  </a:cubicBezTo>
                  <a:cubicBezTo>
                    <a:pt x="1" y="6"/>
                    <a:pt x="1" y="6"/>
                    <a:pt x="1" y="6"/>
                  </a:cubicBezTo>
                  <a:cubicBezTo>
                    <a:pt x="1" y="5"/>
                    <a:pt x="1" y="5"/>
                    <a:pt x="1" y="5"/>
                  </a:cubicBezTo>
                  <a:cubicBezTo>
                    <a:pt x="2" y="5"/>
                    <a:pt x="2" y="5"/>
                    <a:pt x="2" y="5"/>
                  </a:cubicBezTo>
                  <a:cubicBezTo>
                    <a:pt x="2" y="4"/>
                    <a:pt x="2" y="4"/>
                    <a:pt x="2" y="4"/>
                  </a:cubicBezTo>
                  <a:cubicBezTo>
                    <a:pt x="2" y="3"/>
                    <a:pt x="2" y="3"/>
                    <a:pt x="2" y="3"/>
                  </a:cubicBezTo>
                  <a:cubicBezTo>
                    <a:pt x="2" y="3"/>
                    <a:pt x="2" y="3"/>
                    <a:pt x="2" y="3"/>
                  </a:cubicBezTo>
                  <a:cubicBezTo>
                    <a:pt x="2" y="3"/>
                    <a:pt x="2" y="3"/>
                    <a:pt x="2" y="3"/>
                  </a:cubicBezTo>
                  <a:cubicBezTo>
                    <a:pt x="3" y="3"/>
                    <a:pt x="3" y="3"/>
                    <a:pt x="3" y="3"/>
                  </a:cubicBezTo>
                  <a:cubicBezTo>
                    <a:pt x="3" y="2"/>
                    <a:pt x="3" y="2"/>
                    <a:pt x="3" y="2"/>
                  </a:cubicBezTo>
                  <a:cubicBezTo>
                    <a:pt x="3" y="1"/>
                    <a:pt x="3" y="1"/>
                    <a:pt x="3" y="1"/>
                  </a:cubicBezTo>
                  <a:cubicBezTo>
                    <a:pt x="4" y="1"/>
                    <a:pt x="4" y="1"/>
                    <a:pt x="4" y="1"/>
                  </a:cubicBezTo>
                  <a:cubicBezTo>
                    <a:pt x="4" y="1"/>
                    <a:pt x="4" y="1"/>
                    <a:pt x="4" y="1"/>
                  </a:cubicBezTo>
                  <a:cubicBezTo>
                    <a:pt x="4" y="0"/>
                    <a:pt x="4" y="0"/>
                    <a:pt x="4" y="0"/>
                  </a:cubicBezTo>
                  <a:cubicBezTo>
                    <a:pt x="5" y="0"/>
                    <a:pt x="5" y="0"/>
                    <a:pt x="5" y="0"/>
                  </a:cubicBezTo>
                  <a:cubicBezTo>
                    <a:pt x="5" y="1"/>
                    <a:pt x="5" y="1"/>
                    <a:pt x="5" y="1"/>
                  </a:cubicBezTo>
                  <a:cubicBezTo>
                    <a:pt x="4" y="1"/>
                    <a:pt x="4" y="1"/>
                    <a:pt x="4" y="1"/>
                  </a:cubicBezTo>
                  <a:cubicBezTo>
                    <a:pt x="4" y="2"/>
                    <a:pt x="4" y="2"/>
                    <a:pt x="4" y="2"/>
                  </a:cubicBezTo>
                  <a:cubicBezTo>
                    <a:pt x="4" y="2"/>
                    <a:pt x="4" y="2"/>
                    <a:pt x="4" y="2"/>
                  </a:cubicBezTo>
                  <a:cubicBezTo>
                    <a:pt x="4" y="2"/>
                    <a:pt x="4" y="2"/>
                    <a:pt x="4" y="2"/>
                  </a:cubicBezTo>
                  <a:cubicBezTo>
                    <a:pt x="5" y="2"/>
                    <a:pt x="5" y="2"/>
                    <a:pt x="5" y="2"/>
                  </a:cubicBezTo>
                  <a:cubicBezTo>
                    <a:pt x="5" y="1"/>
                    <a:pt x="5" y="1"/>
                    <a:pt x="5" y="1"/>
                  </a:cubicBezTo>
                  <a:cubicBezTo>
                    <a:pt x="5" y="1"/>
                    <a:pt x="5" y="1"/>
                    <a:pt x="5" y="1"/>
                  </a:cubicBezTo>
                  <a:cubicBezTo>
                    <a:pt x="5" y="1"/>
                    <a:pt x="5" y="1"/>
                    <a:pt x="5" y="1"/>
                  </a:cubicBezTo>
                  <a:cubicBezTo>
                    <a:pt x="5" y="0"/>
                    <a:pt x="5" y="0"/>
                    <a:pt x="5" y="0"/>
                  </a:cubicBezTo>
                  <a:cubicBezTo>
                    <a:pt x="6" y="0"/>
                    <a:pt x="6" y="0"/>
                    <a:pt x="6" y="0"/>
                  </a:cubicBezTo>
                  <a:cubicBezTo>
                    <a:pt x="6" y="0"/>
                    <a:pt x="6" y="0"/>
                    <a:pt x="6" y="0"/>
                  </a:cubicBezTo>
                  <a:cubicBezTo>
                    <a:pt x="6" y="0"/>
                    <a:pt x="6" y="0"/>
                    <a:pt x="6" y="0"/>
                  </a:cubicBezTo>
                  <a:cubicBezTo>
                    <a:pt x="5" y="0"/>
                    <a:pt x="5" y="0"/>
                    <a:pt x="5" y="0"/>
                  </a:cubicBezTo>
                  <a:lnTo>
                    <a:pt x="4" y="0"/>
                  </a:lnTo>
                  <a:close/>
                </a:path>
              </a:pathLst>
            </a:custGeom>
            <a:solidFill>
              <a:srgbClr val="B1B1B0"/>
            </a:solidFill>
            <a:ln w="635"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1052" name="Freeform 59">
              <a:extLst>
                <a:ext uri="{FF2B5EF4-FFF2-40B4-BE49-F238E27FC236}">
                  <a16:creationId xmlns:a16="http://schemas.microsoft.com/office/drawing/2014/main" id="{33A300B0-24C3-F418-94A5-02402FA48736}"/>
                </a:ext>
              </a:extLst>
            </p:cNvPr>
            <p:cNvSpPr>
              <a:spLocks/>
            </p:cNvSpPr>
            <p:nvPr/>
          </p:nvSpPr>
          <p:spPr bwMode="gray">
            <a:xfrm>
              <a:off x="5211763" y="2984500"/>
              <a:ext cx="9525" cy="6350"/>
            </a:xfrm>
            <a:custGeom>
              <a:avLst/>
              <a:gdLst>
                <a:gd name="T0" fmla="*/ 3 w 6"/>
                <a:gd name="T1" fmla="*/ 4 h 4"/>
                <a:gd name="T2" fmla="*/ 6 w 6"/>
                <a:gd name="T3" fmla="*/ 4 h 4"/>
                <a:gd name="T4" fmla="*/ 3 w 6"/>
                <a:gd name="T5" fmla="*/ 4 h 4"/>
                <a:gd name="T6" fmla="*/ 3 w 6"/>
                <a:gd name="T7" fmla="*/ 0 h 4"/>
                <a:gd name="T8" fmla="*/ 3 w 6"/>
                <a:gd name="T9" fmla="*/ 0 h 4"/>
                <a:gd name="T10" fmla="*/ 3 w 6"/>
                <a:gd name="T11" fmla="*/ 0 h 4"/>
                <a:gd name="T12" fmla="*/ 3 w 6"/>
                <a:gd name="T13" fmla="*/ 0 h 4"/>
                <a:gd name="T14" fmla="*/ 0 w 6"/>
                <a:gd name="T15" fmla="*/ 4 h 4"/>
                <a:gd name="T16" fmla="*/ 3 w 6"/>
                <a:gd name="T17" fmla="*/ 4 h 4"/>
                <a:gd name="T18" fmla="*/ 3 w 6"/>
                <a:gd name="T19" fmla="*/ 4 h 4"/>
                <a:gd name="T20" fmla="*/ 3 w 6"/>
                <a:gd name="T2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3" y="4"/>
                  </a:moveTo>
                  <a:lnTo>
                    <a:pt x="6" y="4"/>
                  </a:lnTo>
                  <a:lnTo>
                    <a:pt x="3" y="4"/>
                  </a:lnTo>
                  <a:lnTo>
                    <a:pt x="3" y="0"/>
                  </a:lnTo>
                  <a:lnTo>
                    <a:pt x="3" y="0"/>
                  </a:lnTo>
                  <a:lnTo>
                    <a:pt x="3" y="0"/>
                  </a:lnTo>
                  <a:lnTo>
                    <a:pt x="3" y="0"/>
                  </a:lnTo>
                  <a:lnTo>
                    <a:pt x="0" y="4"/>
                  </a:lnTo>
                  <a:lnTo>
                    <a:pt x="3" y="4"/>
                  </a:lnTo>
                  <a:lnTo>
                    <a:pt x="3" y="4"/>
                  </a:lnTo>
                  <a:lnTo>
                    <a:pt x="3" y="4"/>
                  </a:lnTo>
                  <a:close/>
                </a:path>
              </a:pathLst>
            </a:custGeom>
            <a:solidFill>
              <a:srgbClr val="B1B1B0"/>
            </a:solidFill>
            <a:ln w="635"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1053" name="Freeform 60">
              <a:extLst>
                <a:ext uri="{FF2B5EF4-FFF2-40B4-BE49-F238E27FC236}">
                  <a16:creationId xmlns:a16="http://schemas.microsoft.com/office/drawing/2014/main" id="{034186DD-36D5-A94F-8B62-49C447EA694A}"/>
                </a:ext>
              </a:extLst>
            </p:cNvPr>
            <p:cNvSpPr>
              <a:spLocks/>
            </p:cNvSpPr>
            <p:nvPr/>
          </p:nvSpPr>
          <p:spPr bwMode="gray">
            <a:xfrm>
              <a:off x="4657725" y="3657600"/>
              <a:ext cx="20638" cy="20638"/>
            </a:xfrm>
            <a:custGeom>
              <a:avLst/>
              <a:gdLst>
                <a:gd name="T0" fmla="*/ 0 w 13"/>
                <a:gd name="T1" fmla="*/ 13 h 13"/>
                <a:gd name="T2" fmla="*/ 3 w 13"/>
                <a:gd name="T3" fmla="*/ 13 h 13"/>
                <a:gd name="T4" fmla="*/ 6 w 13"/>
                <a:gd name="T5" fmla="*/ 13 h 13"/>
                <a:gd name="T6" fmla="*/ 6 w 13"/>
                <a:gd name="T7" fmla="*/ 13 h 13"/>
                <a:gd name="T8" fmla="*/ 6 w 13"/>
                <a:gd name="T9" fmla="*/ 13 h 13"/>
                <a:gd name="T10" fmla="*/ 6 w 13"/>
                <a:gd name="T11" fmla="*/ 13 h 13"/>
                <a:gd name="T12" fmla="*/ 6 w 13"/>
                <a:gd name="T13" fmla="*/ 10 h 13"/>
                <a:gd name="T14" fmla="*/ 10 w 13"/>
                <a:gd name="T15" fmla="*/ 6 h 13"/>
                <a:gd name="T16" fmla="*/ 10 w 13"/>
                <a:gd name="T17" fmla="*/ 6 h 13"/>
                <a:gd name="T18" fmla="*/ 10 w 13"/>
                <a:gd name="T19" fmla="*/ 6 h 13"/>
                <a:gd name="T20" fmla="*/ 10 w 13"/>
                <a:gd name="T21" fmla="*/ 6 h 13"/>
                <a:gd name="T22" fmla="*/ 10 w 13"/>
                <a:gd name="T23" fmla="*/ 3 h 13"/>
                <a:gd name="T24" fmla="*/ 10 w 13"/>
                <a:gd name="T25" fmla="*/ 3 h 13"/>
                <a:gd name="T26" fmla="*/ 10 w 13"/>
                <a:gd name="T27" fmla="*/ 3 h 13"/>
                <a:gd name="T28" fmla="*/ 13 w 13"/>
                <a:gd name="T29" fmla="*/ 3 h 13"/>
                <a:gd name="T30" fmla="*/ 13 w 13"/>
                <a:gd name="T31" fmla="*/ 3 h 13"/>
                <a:gd name="T32" fmla="*/ 10 w 13"/>
                <a:gd name="T33" fmla="*/ 0 h 13"/>
                <a:gd name="T34" fmla="*/ 10 w 13"/>
                <a:gd name="T35" fmla="*/ 3 h 13"/>
                <a:gd name="T36" fmla="*/ 10 w 13"/>
                <a:gd name="T37" fmla="*/ 3 h 13"/>
                <a:gd name="T38" fmla="*/ 6 w 13"/>
                <a:gd name="T39" fmla="*/ 3 h 13"/>
                <a:gd name="T40" fmla="*/ 6 w 13"/>
                <a:gd name="T41" fmla="*/ 3 h 13"/>
                <a:gd name="T42" fmla="*/ 6 w 13"/>
                <a:gd name="T43" fmla="*/ 3 h 13"/>
                <a:gd name="T44" fmla="*/ 6 w 13"/>
                <a:gd name="T45" fmla="*/ 3 h 13"/>
                <a:gd name="T46" fmla="*/ 6 w 13"/>
                <a:gd name="T47" fmla="*/ 3 h 13"/>
                <a:gd name="T48" fmla="*/ 3 w 13"/>
                <a:gd name="T49" fmla="*/ 6 h 13"/>
                <a:gd name="T50" fmla="*/ 3 w 13"/>
                <a:gd name="T51" fmla="*/ 6 h 13"/>
                <a:gd name="T52" fmla="*/ 3 w 13"/>
                <a:gd name="T53" fmla="*/ 10 h 13"/>
                <a:gd name="T54" fmla="*/ 0 w 13"/>
                <a:gd name="T55" fmla="*/ 10 h 13"/>
                <a:gd name="T56" fmla="*/ 0 w 13"/>
                <a:gd name="T57" fmla="*/ 13 h 13"/>
                <a:gd name="T58" fmla="*/ 0 w 13"/>
                <a:gd name="T59" fmla="*/ 13 h 13"/>
                <a:gd name="T60" fmla="*/ 0 w 13"/>
                <a:gd name="T61" fmla="*/ 13 h 13"/>
                <a:gd name="T62" fmla="*/ 0 w 13"/>
                <a:gd name="T63" fmla="*/ 13 h 13"/>
                <a:gd name="T64" fmla="*/ 0 w 13"/>
                <a:gd name="T65" fmla="*/ 13 h 13"/>
                <a:gd name="T66" fmla="*/ 0 w 13"/>
                <a:gd name="T6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 h="13">
                  <a:moveTo>
                    <a:pt x="0" y="13"/>
                  </a:moveTo>
                  <a:lnTo>
                    <a:pt x="3" y="13"/>
                  </a:lnTo>
                  <a:lnTo>
                    <a:pt x="6" y="13"/>
                  </a:lnTo>
                  <a:lnTo>
                    <a:pt x="6" y="13"/>
                  </a:lnTo>
                  <a:lnTo>
                    <a:pt x="6" y="13"/>
                  </a:lnTo>
                  <a:lnTo>
                    <a:pt x="6" y="13"/>
                  </a:lnTo>
                  <a:lnTo>
                    <a:pt x="6" y="10"/>
                  </a:lnTo>
                  <a:lnTo>
                    <a:pt x="10" y="6"/>
                  </a:lnTo>
                  <a:lnTo>
                    <a:pt x="10" y="6"/>
                  </a:lnTo>
                  <a:lnTo>
                    <a:pt x="10" y="6"/>
                  </a:lnTo>
                  <a:lnTo>
                    <a:pt x="10" y="6"/>
                  </a:lnTo>
                  <a:lnTo>
                    <a:pt x="10" y="3"/>
                  </a:lnTo>
                  <a:lnTo>
                    <a:pt x="10" y="3"/>
                  </a:lnTo>
                  <a:lnTo>
                    <a:pt x="10" y="3"/>
                  </a:lnTo>
                  <a:lnTo>
                    <a:pt x="13" y="3"/>
                  </a:lnTo>
                  <a:lnTo>
                    <a:pt x="13" y="3"/>
                  </a:lnTo>
                  <a:lnTo>
                    <a:pt x="10" y="0"/>
                  </a:lnTo>
                  <a:lnTo>
                    <a:pt x="10" y="3"/>
                  </a:lnTo>
                  <a:lnTo>
                    <a:pt x="10" y="3"/>
                  </a:lnTo>
                  <a:lnTo>
                    <a:pt x="6" y="3"/>
                  </a:lnTo>
                  <a:lnTo>
                    <a:pt x="6" y="3"/>
                  </a:lnTo>
                  <a:lnTo>
                    <a:pt x="6" y="3"/>
                  </a:lnTo>
                  <a:lnTo>
                    <a:pt x="6" y="3"/>
                  </a:lnTo>
                  <a:lnTo>
                    <a:pt x="6" y="3"/>
                  </a:lnTo>
                  <a:lnTo>
                    <a:pt x="3" y="6"/>
                  </a:lnTo>
                  <a:lnTo>
                    <a:pt x="3" y="6"/>
                  </a:lnTo>
                  <a:lnTo>
                    <a:pt x="3" y="10"/>
                  </a:lnTo>
                  <a:lnTo>
                    <a:pt x="0" y="10"/>
                  </a:lnTo>
                  <a:lnTo>
                    <a:pt x="0" y="13"/>
                  </a:lnTo>
                  <a:lnTo>
                    <a:pt x="0" y="13"/>
                  </a:lnTo>
                  <a:lnTo>
                    <a:pt x="0" y="13"/>
                  </a:lnTo>
                  <a:lnTo>
                    <a:pt x="0" y="13"/>
                  </a:lnTo>
                  <a:lnTo>
                    <a:pt x="0" y="13"/>
                  </a:lnTo>
                  <a:lnTo>
                    <a:pt x="0" y="13"/>
                  </a:lnTo>
                  <a:close/>
                </a:path>
              </a:pathLst>
            </a:custGeom>
            <a:solidFill>
              <a:srgbClr val="B1B1B0"/>
            </a:solidFill>
            <a:ln w="635"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1054" name="Freeform 61">
              <a:extLst>
                <a:ext uri="{FF2B5EF4-FFF2-40B4-BE49-F238E27FC236}">
                  <a16:creationId xmlns:a16="http://schemas.microsoft.com/office/drawing/2014/main" id="{D72A2DA1-5107-E76F-B28C-6DF43FB7408B}"/>
                </a:ext>
              </a:extLst>
            </p:cNvPr>
            <p:cNvSpPr>
              <a:spLocks/>
            </p:cNvSpPr>
            <p:nvPr/>
          </p:nvSpPr>
          <p:spPr bwMode="gray">
            <a:xfrm>
              <a:off x="4651375" y="3683000"/>
              <a:ext cx="6350" cy="6350"/>
            </a:xfrm>
            <a:custGeom>
              <a:avLst/>
              <a:gdLst>
                <a:gd name="T0" fmla="*/ 0 w 4"/>
                <a:gd name="T1" fmla="*/ 4 h 4"/>
                <a:gd name="T2" fmla="*/ 0 w 4"/>
                <a:gd name="T3" fmla="*/ 4 h 4"/>
                <a:gd name="T4" fmla="*/ 0 w 4"/>
                <a:gd name="T5" fmla="*/ 4 h 4"/>
                <a:gd name="T6" fmla="*/ 4 w 4"/>
                <a:gd name="T7" fmla="*/ 4 h 4"/>
                <a:gd name="T8" fmla="*/ 4 w 4"/>
                <a:gd name="T9" fmla="*/ 0 h 4"/>
                <a:gd name="T10" fmla="*/ 4 w 4"/>
                <a:gd name="T11" fmla="*/ 0 h 4"/>
                <a:gd name="T12" fmla="*/ 4 w 4"/>
                <a:gd name="T13" fmla="*/ 0 h 4"/>
                <a:gd name="T14" fmla="*/ 4 w 4"/>
                <a:gd name="T15" fmla="*/ 0 h 4"/>
                <a:gd name="T16" fmla="*/ 4 w 4"/>
                <a:gd name="T17" fmla="*/ 0 h 4"/>
                <a:gd name="T18" fmla="*/ 0 w 4"/>
                <a:gd name="T19" fmla="*/ 0 h 4"/>
                <a:gd name="T20" fmla="*/ 0 w 4"/>
                <a:gd name="T21" fmla="*/ 0 h 4"/>
                <a:gd name="T22" fmla="*/ 0 w 4"/>
                <a:gd name="T23" fmla="*/ 4 h 4"/>
                <a:gd name="T24" fmla="*/ 0 w 4"/>
                <a:gd name="T25" fmla="*/ 4 h 4"/>
                <a:gd name="T26" fmla="*/ 0 w 4"/>
                <a:gd name="T27" fmla="*/ 4 h 4"/>
                <a:gd name="T28" fmla="*/ 0 w 4"/>
                <a:gd name="T29" fmla="*/ 4 h 4"/>
                <a:gd name="T30" fmla="*/ 0 w 4"/>
                <a:gd name="T3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0" y="4"/>
                  </a:moveTo>
                  <a:lnTo>
                    <a:pt x="0" y="4"/>
                  </a:lnTo>
                  <a:lnTo>
                    <a:pt x="0" y="4"/>
                  </a:lnTo>
                  <a:lnTo>
                    <a:pt x="4" y="4"/>
                  </a:lnTo>
                  <a:lnTo>
                    <a:pt x="4" y="0"/>
                  </a:lnTo>
                  <a:lnTo>
                    <a:pt x="4" y="0"/>
                  </a:lnTo>
                  <a:lnTo>
                    <a:pt x="4" y="0"/>
                  </a:lnTo>
                  <a:lnTo>
                    <a:pt x="4" y="0"/>
                  </a:lnTo>
                  <a:lnTo>
                    <a:pt x="4" y="0"/>
                  </a:lnTo>
                  <a:lnTo>
                    <a:pt x="0" y="0"/>
                  </a:lnTo>
                  <a:lnTo>
                    <a:pt x="0" y="0"/>
                  </a:lnTo>
                  <a:lnTo>
                    <a:pt x="0" y="4"/>
                  </a:lnTo>
                  <a:lnTo>
                    <a:pt x="0" y="4"/>
                  </a:lnTo>
                  <a:lnTo>
                    <a:pt x="0" y="4"/>
                  </a:lnTo>
                  <a:lnTo>
                    <a:pt x="0" y="4"/>
                  </a:lnTo>
                  <a:lnTo>
                    <a:pt x="0" y="4"/>
                  </a:lnTo>
                  <a:close/>
                </a:path>
              </a:pathLst>
            </a:custGeom>
            <a:solidFill>
              <a:srgbClr val="B1B1B0"/>
            </a:solidFill>
            <a:ln w="635"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1055" name="Freeform 62">
              <a:extLst>
                <a:ext uri="{FF2B5EF4-FFF2-40B4-BE49-F238E27FC236}">
                  <a16:creationId xmlns:a16="http://schemas.microsoft.com/office/drawing/2014/main" id="{C3515C77-0BB4-E545-1BB9-540E7FAF437C}"/>
                </a:ext>
              </a:extLst>
            </p:cNvPr>
            <p:cNvSpPr>
              <a:spLocks/>
            </p:cNvSpPr>
            <p:nvPr/>
          </p:nvSpPr>
          <p:spPr bwMode="gray">
            <a:xfrm>
              <a:off x="4651375" y="3657600"/>
              <a:ext cx="33338" cy="36513"/>
            </a:xfrm>
            <a:custGeom>
              <a:avLst/>
              <a:gdLst>
                <a:gd name="T0" fmla="*/ 0 w 21"/>
                <a:gd name="T1" fmla="*/ 23 h 23"/>
                <a:gd name="T2" fmla="*/ 0 w 21"/>
                <a:gd name="T3" fmla="*/ 23 h 23"/>
                <a:gd name="T4" fmla="*/ 0 w 21"/>
                <a:gd name="T5" fmla="*/ 23 h 23"/>
                <a:gd name="T6" fmla="*/ 4 w 21"/>
                <a:gd name="T7" fmla="*/ 23 h 23"/>
                <a:gd name="T8" fmla="*/ 7 w 21"/>
                <a:gd name="T9" fmla="*/ 20 h 23"/>
                <a:gd name="T10" fmla="*/ 7 w 21"/>
                <a:gd name="T11" fmla="*/ 20 h 23"/>
                <a:gd name="T12" fmla="*/ 17 w 21"/>
                <a:gd name="T13" fmla="*/ 20 h 23"/>
                <a:gd name="T14" fmla="*/ 17 w 21"/>
                <a:gd name="T15" fmla="*/ 20 h 23"/>
                <a:gd name="T16" fmla="*/ 17 w 21"/>
                <a:gd name="T17" fmla="*/ 16 h 23"/>
                <a:gd name="T18" fmla="*/ 21 w 21"/>
                <a:gd name="T19" fmla="*/ 16 h 23"/>
                <a:gd name="T20" fmla="*/ 21 w 21"/>
                <a:gd name="T21" fmla="*/ 16 h 23"/>
                <a:gd name="T22" fmla="*/ 21 w 21"/>
                <a:gd name="T23" fmla="*/ 16 h 23"/>
                <a:gd name="T24" fmla="*/ 21 w 21"/>
                <a:gd name="T25" fmla="*/ 13 h 23"/>
                <a:gd name="T26" fmla="*/ 21 w 21"/>
                <a:gd name="T27" fmla="*/ 13 h 23"/>
                <a:gd name="T28" fmla="*/ 21 w 21"/>
                <a:gd name="T29" fmla="*/ 10 h 23"/>
                <a:gd name="T30" fmla="*/ 21 w 21"/>
                <a:gd name="T31" fmla="*/ 10 h 23"/>
                <a:gd name="T32" fmla="*/ 21 w 21"/>
                <a:gd name="T33" fmla="*/ 6 h 23"/>
                <a:gd name="T34" fmla="*/ 21 w 21"/>
                <a:gd name="T35" fmla="*/ 6 h 23"/>
                <a:gd name="T36" fmla="*/ 21 w 21"/>
                <a:gd name="T37" fmla="*/ 0 h 23"/>
                <a:gd name="T38" fmla="*/ 21 w 21"/>
                <a:gd name="T39" fmla="*/ 0 h 23"/>
                <a:gd name="T40" fmla="*/ 17 w 21"/>
                <a:gd name="T41" fmla="*/ 0 h 23"/>
                <a:gd name="T42" fmla="*/ 17 w 21"/>
                <a:gd name="T43" fmla="*/ 0 h 23"/>
                <a:gd name="T44" fmla="*/ 17 w 21"/>
                <a:gd name="T45" fmla="*/ 3 h 23"/>
                <a:gd name="T46" fmla="*/ 14 w 21"/>
                <a:gd name="T47" fmla="*/ 6 h 23"/>
                <a:gd name="T48" fmla="*/ 14 w 21"/>
                <a:gd name="T49" fmla="*/ 10 h 23"/>
                <a:gd name="T50" fmla="*/ 14 w 21"/>
                <a:gd name="T51" fmla="*/ 10 h 23"/>
                <a:gd name="T52" fmla="*/ 10 w 21"/>
                <a:gd name="T53" fmla="*/ 13 h 23"/>
                <a:gd name="T54" fmla="*/ 7 w 21"/>
                <a:gd name="T55" fmla="*/ 16 h 23"/>
                <a:gd name="T56" fmla="*/ 7 w 21"/>
                <a:gd name="T57" fmla="*/ 16 h 23"/>
                <a:gd name="T58" fmla="*/ 7 w 21"/>
                <a:gd name="T59" fmla="*/ 16 h 23"/>
                <a:gd name="T60" fmla="*/ 4 w 21"/>
                <a:gd name="T61" fmla="*/ 16 h 23"/>
                <a:gd name="T62" fmla="*/ 4 w 21"/>
                <a:gd name="T63" fmla="*/ 16 h 23"/>
                <a:gd name="T64" fmla="*/ 4 w 21"/>
                <a:gd name="T65" fmla="*/ 20 h 23"/>
                <a:gd name="T66" fmla="*/ 0 w 21"/>
                <a:gd name="T6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 h="23">
                  <a:moveTo>
                    <a:pt x="0" y="23"/>
                  </a:moveTo>
                  <a:lnTo>
                    <a:pt x="0" y="23"/>
                  </a:lnTo>
                  <a:lnTo>
                    <a:pt x="0" y="23"/>
                  </a:lnTo>
                  <a:lnTo>
                    <a:pt x="0" y="23"/>
                  </a:lnTo>
                  <a:lnTo>
                    <a:pt x="0" y="23"/>
                  </a:lnTo>
                  <a:lnTo>
                    <a:pt x="0" y="23"/>
                  </a:lnTo>
                  <a:lnTo>
                    <a:pt x="4" y="23"/>
                  </a:lnTo>
                  <a:lnTo>
                    <a:pt x="4" y="23"/>
                  </a:lnTo>
                  <a:lnTo>
                    <a:pt x="7" y="20"/>
                  </a:lnTo>
                  <a:lnTo>
                    <a:pt x="7" y="20"/>
                  </a:lnTo>
                  <a:lnTo>
                    <a:pt x="7" y="20"/>
                  </a:lnTo>
                  <a:lnTo>
                    <a:pt x="7" y="20"/>
                  </a:lnTo>
                  <a:lnTo>
                    <a:pt x="14" y="20"/>
                  </a:lnTo>
                  <a:lnTo>
                    <a:pt x="17" y="20"/>
                  </a:lnTo>
                  <a:lnTo>
                    <a:pt x="17" y="20"/>
                  </a:lnTo>
                  <a:lnTo>
                    <a:pt x="17" y="20"/>
                  </a:lnTo>
                  <a:lnTo>
                    <a:pt x="17" y="16"/>
                  </a:lnTo>
                  <a:lnTo>
                    <a:pt x="17" y="16"/>
                  </a:lnTo>
                  <a:lnTo>
                    <a:pt x="17" y="16"/>
                  </a:lnTo>
                  <a:lnTo>
                    <a:pt x="21" y="16"/>
                  </a:lnTo>
                  <a:lnTo>
                    <a:pt x="21" y="16"/>
                  </a:lnTo>
                  <a:lnTo>
                    <a:pt x="21" y="16"/>
                  </a:lnTo>
                  <a:lnTo>
                    <a:pt x="21" y="16"/>
                  </a:lnTo>
                  <a:lnTo>
                    <a:pt x="21" y="16"/>
                  </a:lnTo>
                  <a:lnTo>
                    <a:pt x="21" y="16"/>
                  </a:lnTo>
                  <a:lnTo>
                    <a:pt x="21" y="13"/>
                  </a:lnTo>
                  <a:lnTo>
                    <a:pt x="21" y="13"/>
                  </a:lnTo>
                  <a:lnTo>
                    <a:pt x="21" y="13"/>
                  </a:lnTo>
                  <a:lnTo>
                    <a:pt x="21" y="10"/>
                  </a:lnTo>
                  <a:lnTo>
                    <a:pt x="21" y="10"/>
                  </a:lnTo>
                  <a:lnTo>
                    <a:pt x="21" y="10"/>
                  </a:lnTo>
                  <a:lnTo>
                    <a:pt x="21" y="10"/>
                  </a:lnTo>
                  <a:lnTo>
                    <a:pt x="21" y="6"/>
                  </a:lnTo>
                  <a:lnTo>
                    <a:pt x="21" y="6"/>
                  </a:lnTo>
                  <a:lnTo>
                    <a:pt x="21" y="6"/>
                  </a:lnTo>
                  <a:lnTo>
                    <a:pt x="21" y="6"/>
                  </a:lnTo>
                  <a:lnTo>
                    <a:pt x="21" y="3"/>
                  </a:lnTo>
                  <a:lnTo>
                    <a:pt x="21" y="0"/>
                  </a:lnTo>
                  <a:lnTo>
                    <a:pt x="21" y="0"/>
                  </a:lnTo>
                  <a:lnTo>
                    <a:pt x="21" y="0"/>
                  </a:lnTo>
                  <a:lnTo>
                    <a:pt x="21" y="0"/>
                  </a:lnTo>
                  <a:lnTo>
                    <a:pt x="17" y="0"/>
                  </a:lnTo>
                  <a:lnTo>
                    <a:pt x="17" y="0"/>
                  </a:lnTo>
                  <a:lnTo>
                    <a:pt x="17" y="0"/>
                  </a:lnTo>
                  <a:lnTo>
                    <a:pt x="17" y="0"/>
                  </a:lnTo>
                  <a:lnTo>
                    <a:pt x="17" y="3"/>
                  </a:lnTo>
                  <a:lnTo>
                    <a:pt x="14" y="6"/>
                  </a:lnTo>
                  <a:lnTo>
                    <a:pt x="14" y="6"/>
                  </a:lnTo>
                  <a:lnTo>
                    <a:pt x="14" y="6"/>
                  </a:lnTo>
                  <a:lnTo>
                    <a:pt x="14" y="10"/>
                  </a:lnTo>
                  <a:lnTo>
                    <a:pt x="14" y="10"/>
                  </a:lnTo>
                  <a:lnTo>
                    <a:pt x="14" y="10"/>
                  </a:lnTo>
                  <a:lnTo>
                    <a:pt x="10" y="13"/>
                  </a:lnTo>
                  <a:lnTo>
                    <a:pt x="10" y="13"/>
                  </a:lnTo>
                  <a:lnTo>
                    <a:pt x="10" y="16"/>
                  </a:lnTo>
                  <a:lnTo>
                    <a:pt x="7" y="16"/>
                  </a:lnTo>
                  <a:lnTo>
                    <a:pt x="7" y="16"/>
                  </a:lnTo>
                  <a:lnTo>
                    <a:pt x="7" y="16"/>
                  </a:lnTo>
                  <a:lnTo>
                    <a:pt x="7" y="16"/>
                  </a:lnTo>
                  <a:lnTo>
                    <a:pt x="7" y="16"/>
                  </a:lnTo>
                  <a:lnTo>
                    <a:pt x="7" y="16"/>
                  </a:lnTo>
                  <a:lnTo>
                    <a:pt x="4" y="16"/>
                  </a:lnTo>
                  <a:lnTo>
                    <a:pt x="4" y="16"/>
                  </a:lnTo>
                  <a:lnTo>
                    <a:pt x="4" y="16"/>
                  </a:lnTo>
                  <a:lnTo>
                    <a:pt x="4" y="20"/>
                  </a:lnTo>
                  <a:lnTo>
                    <a:pt x="4" y="20"/>
                  </a:lnTo>
                  <a:lnTo>
                    <a:pt x="0" y="23"/>
                  </a:lnTo>
                  <a:lnTo>
                    <a:pt x="0" y="23"/>
                  </a:lnTo>
                  <a:lnTo>
                    <a:pt x="0" y="23"/>
                  </a:lnTo>
                  <a:close/>
                </a:path>
              </a:pathLst>
            </a:custGeom>
            <a:solidFill>
              <a:srgbClr val="B1B1B0"/>
            </a:solidFill>
            <a:ln w="635"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1056" name="Freeform 63">
              <a:extLst>
                <a:ext uri="{FF2B5EF4-FFF2-40B4-BE49-F238E27FC236}">
                  <a16:creationId xmlns:a16="http://schemas.microsoft.com/office/drawing/2014/main" id="{578E5FFD-4D3D-0415-FD47-7AF5803FC353}"/>
                </a:ext>
              </a:extLst>
            </p:cNvPr>
            <p:cNvSpPr>
              <a:spLocks/>
            </p:cNvSpPr>
            <p:nvPr/>
          </p:nvSpPr>
          <p:spPr bwMode="gray">
            <a:xfrm>
              <a:off x="4651375" y="3694113"/>
              <a:ext cx="11113" cy="4763"/>
            </a:xfrm>
            <a:custGeom>
              <a:avLst/>
              <a:gdLst>
                <a:gd name="T0" fmla="*/ 0 w 7"/>
                <a:gd name="T1" fmla="*/ 3 h 3"/>
                <a:gd name="T2" fmla="*/ 4 w 7"/>
                <a:gd name="T3" fmla="*/ 3 h 3"/>
                <a:gd name="T4" fmla="*/ 4 w 7"/>
                <a:gd name="T5" fmla="*/ 3 h 3"/>
                <a:gd name="T6" fmla="*/ 4 w 7"/>
                <a:gd name="T7" fmla="*/ 3 h 3"/>
                <a:gd name="T8" fmla="*/ 4 w 7"/>
                <a:gd name="T9" fmla="*/ 3 h 3"/>
                <a:gd name="T10" fmla="*/ 4 w 7"/>
                <a:gd name="T11" fmla="*/ 3 h 3"/>
                <a:gd name="T12" fmla="*/ 4 w 7"/>
                <a:gd name="T13" fmla="*/ 3 h 3"/>
                <a:gd name="T14" fmla="*/ 4 w 7"/>
                <a:gd name="T15" fmla="*/ 3 h 3"/>
                <a:gd name="T16" fmla="*/ 4 w 7"/>
                <a:gd name="T17" fmla="*/ 3 h 3"/>
                <a:gd name="T18" fmla="*/ 7 w 7"/>
                <a:gd name="T19" fmla="*/ 3 h 3"/>
                <a:gd name="T20" fmla="*/ 7 w 7"/>
                <a:gd name="T21" fmla="*/ 3 h 3"/>
                <a:gd name="T22" fmla="*/ 7 w 7"/>
                <a:gd name="T23" fmla="*/ 3 h 3"/>
                <a:gd name="T24" fmla="*/ 7 w 7"/>
                <a:gd name="T25" fmla="*/ 3 h 3"/>
                <a:gd name="T26" fmla="*/ 7 w 7"/>
                <a:gd name="T27" fmla="*/ 3 h 3"/>
                <a:gd name="T28" fmla="*/ 7 w 7"/>
                <a:gd name="T29" fmla="*/ 3 h 3"/>
                <a:gd name="T30" fmla="*/ 7 w 7"/>
                <a:gd name="T31" fmla="*/ 3 h 3"/>
                <a:gd name="T32" fmla="*/ 4 w 7"/>
                <a:gd name="T33" fmla="*/ 0 h 3"/>
                <a:gd name="T34" fmla="*/ 4 w 7"/>
                <a:gd name="T35" fmla="*/ 0 h 3"/>
                <a:gd name="T36" fmla="*/ 4 w 7"/>
                <a:gd name="T37" fmla="*/ 0 h 3"/>
                <a:gd name="T38" fmla="*/ 4 w 7"/>
                <a:gd name="T39" fmla="*/ 0 h 3"/>
                <a:gd name="T40" fmla="*/ 4 w 7"/>
                <a:gd name="T41" fmla="*/ 0 h 3"/>
                <a:gd name="T42" fmla="*/ 0 w 7"/>
                <a:gd name="T43" fmla="*/ 0 h 3"/>
                <a:gd name="T44" fmla="*/ 0 w 7"/>
                <a:gd name="T45" fmla="*/ 0 h 3"/>
                <a:gd name="T46" fmla="*/ 0 w 7"/>
                <a:gd name="T47" fmla="*/ 0 h 3"/>
                <a:gd name="T48" fmla="*/ 0 w 7"/>
                <a:gd name="T49" fmla="*/ 0 h 3"/>
                <a:gd name="T50" fmla="*/ 0 w 7"/>
                <a:gd name="T51" fmla="*/ 3 h 3"/>
                <a:gd name="T52" fmla="*/ 0 w 7"/>
                <a:gd name="T53" fmla="*/ 3 h 3"/>
                <a:gd name="T54" fmla="*/ 0 w 7"/>
                <a:gd name="T55"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 h="3">
                  <a:moveTo>
                    <a:pt x="0" y="3"/>
                  </a:moveTo>
                  <a:lnTo>
                    <a:pt x="4" y="3"/>
                  </a:lnTo>
                  <a:lnTo>
                    <a:pt x="4" y="3"/>
                  </a:lnTo>
                  <a:lnTo>
                    <a:pt x="4" y="3"/>
                  </a:lnTo>
                  <a:lnTo>
                    <a:pt x="4" y="3"/>
                  </a:lnTo>
                  <a:lnTo>
                    <a:pt x="4" y="3"/>
                  </a:lnTo>
                  <a:lnTo>
                    <a:pt x="4" y="3"/>
                  </a:lnTo>
                  <a:lnTo>
                    <a:pt x="4" y="3"/>
                  </a:lnTo>
                  <a:lnTo>
                    <a:pt x="4" y="3"/>
                  </a:lnTo>
                  <a:lnTo>
                    <a:pt x="7" y="3"/>
                  </a:lnTo>
                  <a:lnTo>
                    <a:pt x="7" y="3"/>
                  </a:lnTo>
                  <a:lnTo>
                    <a:pt x="7" y="3"/>
                  </a:lnTo>
                  <a:lnTo>
                    <a:pt x="7" y="3"/>
                  </a:lnTo>
                  <a:lnTo>
                    <a:pt x="7" y="3"/>
                  </a:lnTo>
                  <a:lnTo>
                    <a:pt x="7" y="3"/>
                  </a:lnTo>
                  <a:lnTo>
                    <a:pt x="7" y="3"/>
                  </a:lnTo>
                  <a:lnTo>
                    <a:pt x="4" y="0"/>
                  </a:lnTo>
                  <a:lnTo>
                    <a:pt x="4" y="0"/>
                  </a:lnTo>
                  <a:lnTo>
                    <a:pt x="4" y="0"/>
                  </a:lnTo>
                  <a:lnTo>
                    <a:pt x="4" y="0"/>
                  </a:lnTo>
                  <a:lnTo>
                    <a:pt x="4" y="0"/>
                  </a:lnTo>
                  <a:lnTo>
                    <a:pt x="0" y="0"/>
                  </a:lnTo>
                  <a:lnTo>
                    <a:pt x="0" y="0"/>
                  </a:lnTo>
                  <a:lnTo>
                    <a:pt x="0" y="0"/>
                  </a:lnTo>
                  <a:lnTo>
                    <a:pt x="0" y="0"/>
                  </a:lnTo>
                  <a:lnTo>
                    <a:pt x="0" y="3"/>
                  </a:lnTo>
                  <a:lnTo>
                    <a:pt x="0" y="3"/>
                  </a:lnTo>
                  <a:lnTo>
                    <a:pt x="0" y="3"/>
                  </a:lnTo>
                  <a:close/>
                </a:path>
              </a:pathLst>
            </a:custGeom>
            <a:solidFill>
              <a:srgbClr val="B1B1B0"/>
            </a:solidFill>
            <a:ln w="635"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1057" name="Freeform 64">
              <a:extLst>
                <a:ext uri="{FF2B5EF4-FFF2-40B4-BE49-F238E27FC236}">
                  <a16:creationId xmlns:a16="http://schemas.microsoft.com/office/drawing/2014/main" id="{43C4930F-423B-11A2-DF26-EE4164C99B71}"/>
                </a:ext>
              </a:extLst>
            </p:cNvPr>
            <p:cNvSpPr>
              <a:spLocks/>
            </p:cNvSpPr>
            <p:nvPr/>
          </p:nvSpPr>
          <p:spPr bwMode="gray">
            <a:xfrm>
              <a:off x="5248275" y="3230563"/>
              <a:ext cx="6350" cy="15875"/>
            </a:xfrm>
            <a:custGeom>
              <a:avLst/>
              <a:gdLst>
                <a:gd name="T0" fmla="*/ 0 w 4"/>
                <a:gd name="T1" fmla="*/ 10 h 10"/>
                <a:gd name="T2" fmla="*/ 4 w 4"/>
                <a:gd name="T3" fmla="*/ 7 h 10"/>
                <a:gd name="T4" fmla="*/ 4 w 4"/>
                <a:gd name="T5" fmla="*/ 7 h 10"/>
                <a:gd name="T6" fmla="*/ 4 w 4"/>
                <a:gd name="T7" fmla="*/ 3 h 10"/>
                <a:gd name="T8" fmla="*/ 4 w 4"/>
                <a:gd name="T9" fmla="*/ 3 h 10"/>
                <a:gd name="T10" fmla="*/ 4 w 4"/>
                <a:gd name="T11" fmla="*/ 3 h 10"/>
                <a:gd name="T12" fmla="*/ 4 w 4"/>
                <a:gd name="T13" fmla="*/ 0 h 10"/>
                <a:gd name="T14" fmla="*/ 0 w 4"/>
                <a:gd name="T15" fmla="*/ 0 h 10"/>
                <a:gd name="T16" fmla="*/ 0 w 4"/>
                <a:gd name="T17" fmla="*/ 0 h 10"/>
                <a:gd name="T18" fmla="*/ 0 w 4"/>
                <a:gd name="T19" fmla="*/ 7 h 10"/>
                <a:gd name="T20" fmla="*/ 0 w 4"/>
                <a:gd name="T21" fmla="*/ 7 h 10"/>
                <a:gd name="T22" fmla="*/ 0 w 4"/>
                <a:gd name="T23" fmla="*/ 10 h 10"/>
                <a:gd name="T24" fmla="*/ 0 w 4"/>
                <a:gd name="T25" fmla="*/ 10 h 10"/>
                <a:gd name="T26" fmla="*/ 0 w 4"/>
                <a:gd name="T2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10">
                  <a:moveTo>
                    <a:pt x="0" y="10"/>
                  </a:moveTo>
                  <a:lnTo>
                    <a:pt x="4" y="7"/>
                  </a:lnTo>
                  <a:lnTo>
                    <a:pt x="4" y="7"/>
                  </a:lnTo>
                  <a:lnTo>
                    <a:pt x="4" y="3"/>
                  </a:lnTo>
                  <a:lnTo>
                    <a:pt x="4" y="3"/>
                  </a:lnTo>
                  <a:lnTo>
                    <a:pt x="4" y="3"/>
                  </a:lnTo>
                  <a:lnTo>
                    <a:pt x="4" y="0"/>
                  </a:lnTo>
                  <a:lnTo>
                    <a:pt x="0" y="0"/>
                  </a:lnTo>
                  <a:lnTo>
                    <a:pt x="0" y="0"/>
                  </a:lnTo>
                  <a:lnTo>
                    <a:pt x="0" y="7"/>
                  </a:lnTo>
                  <a:lnTo>
                    <a:pt x="0" y="7"/>
                  </a:lnTo>
                  <a:lnTo>
                    <a:pt x="0" y="10"/>
                  </a:lnTo>
                  <a:lnTo>
                    <a:pt x="0" y="10"/>
                  </a:lnTo>
                  <a:lnTo>
                    <a:pt x="0" y="10"/>
                  </a:lnTo>
                  <a:close/>
                </a:path>
              </a:pathLst>
            </a:custGeom>
            <a:solidFill>
              <a:srgbClr val="B1B1B0"/>
            </a:solidFill>
            <a:ln w="635"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1058" name="Freeform 65">
              <a:extLst>
                <a:ext uri="{FF2B5EF4-FFF2-40B4-BE49-F238E27FC236}">
                  <a16:creationId xmlns:a16="http://schemas.microsoft.com/office/drawing/2014/main" id="{2BCFC313-1002-6F21-AD75-4FB3F8359AD5}"/>
                </a:ext>
              </a:extLst>
            </p:cNvPr>
            <p:cNvSpPr>
              <a:spLocks/>
            </p:cNvSpPr>
            <p:nvPr/>
          </p:nvSpPr>
          <p:spPr bwMode="gray">
            <a:xfrm>
              <a:off x="5189538" y="3614738"/>
              <a:ext cx="15875" cy="20638"/>
            </a:xfrm>
            <a:custGeom>
              <a:avLst/>
              <a:gdLst>
                <a:gd name="T0" fmla="*/ 10 w 10"/>
                <a:gd name="T1" fmla="*/ 10 h 13"/>
                <a:gd name="T2" fmla="*/ 10 w 10"/>
                <a:gd name="T3" fmla="*/ 10 h 13"/>
                <a:gd name="T4" fmla="*/ 10 w 10"/>
                <a:gd name="T5" fmla="*/ 10 h 13"/>
                <a:gd name="T6" fmla="*/ 10 w 10"/>
                <a:gd name="T7" fmla="*/ 6 h 13"/>
                <a:gd name="T8" fmla="*/ 7 w 10"/>
                <a:gd name="T9" fmla="*/ 6 h 13"/>
                <a:gd name="T10" fmla="*/ 7 w 10"/>
                <a:gd name="T11" fmla="*/ 3 h 13"/>
                <a:gd name="T12" fmla="*/ 7 w 10"/>
                <a:gd name="T13" fmla="*/ 3 h 13"/>
                <a:gd name="T14" fmla="*/ 7 w 10"/>
                <a:gd name="T15" fmla="*/ 3 h 13"/>
                <a:gd name="T16" fmla="*/ 7 w 10"/>
                <a:gd name="T17" fmla="*/ 3 h 13"/>
                <a:gd name="T18" fmla="*/ 7 w 10"/>
                <a:gd name="T19" fmla="*/ 3 h 13"/>
                <a:gd name="T20" fmla="*/ 7 w 10"/>
                <a:gd name="T21" fmla="*/ 0 h 13"/>
                <a:gd name="T22" fmla="*/ 7 w 10"/>
                <a:gd name="T23" fmla="*/ 3 h 13"/>
                <a:gd name="T24" fmla="*/ 4 w 10"/>
                <a:gd name="T25" fmla="*/ 0 h 13"/>
                <a:gd name="T26" fmla="*/ 4 w 10"/>
                <a:gd name="T27" fmla="*/ 0 h 13"/>
                <a:gd name="T28" fmla="*/ 4 w 10"/>
                <a:gd name="T29" fmla="*/ 3 h 13"/>
                <a:gd name="T30" fmla="*/ 0 w 10"/>
                <a:gd name="T31" fmla="*/ 3 h 13"/>
                <a:gd name="T32" fmla="*/ 4 w 10"/>
                <a:gd name="T33" fmla="*/ 6 h 13"/>
                <a:gd name="T34" fmla="*/ 4 w 10"/>
                <a:gd name="T35" fmla="*/ 6 h 13"/>
                <a:gd name="T36" fmla="*/ 0 w 10"/>
                <a:gd name="T37" fmla="*/ 10 h 13"/>
                <a:gd name="T38" fmla="*/ 4 w 10"/>
                <a:gd name="T39" fmla="*/ 10 h 13"/>
                <a:gd name="T40" fmla="*/ 4 w 10"/>
                <a:gd name="T41" fmla="*/ 13 h 13"/>
                <a:gd name="T42" fmla="*/ 4 w 10"/>
                <a:gd name="T43" fmla="*/ 13 h 13"/>
                <a:gd name="T44" fmla="*/ 4 w 10"/>
                <a:gd name="T45" fmla="*/ 13 h 13"/>
                <a:gd name="T46" fmla="*/ 4 w 10"/>
                <a:gd name="T47" fmla="*/ 13 h 13"/>
                <a:gd name="T48" fmla="*/ 4 w 10"/>
                <a:gd name="T49" fmla="*/ 13 h 13"/>
                <a:gd name="T50" fmla="*/ 4 w 10"/>
                <a:gd name="T51" fmla="*/ 13 h 13"/>
                <a:gd name="T52" fmla="*/ 4 w 10"/>
                <a:gd name="T53" fmla="*/ 10 h 13"/>
                <a:gd name="T54" fmla="*/ 7 w 10"/>
                <a:gd name="T55" fmla="*/ 10 h 13"/>
                <a:gd name="T56" fmla="*/ 7 w 10"/>
                <a:gd name="T57" fmla="*/ 10 h 13"/>
                <a:gd name="T58" fmla="*/ 7 w 10"/>
                <a:gd name="T59" fmla="*/ 10 h 13"/>
                <a:gd name="T60" fmla="*/ 7 w 10"/>
                <a:gd name="T61" fmla="*/ 10 h 13"/>
                <a:gd name="T62" fmla="*/ 7 w 10"/>
                <a:gd name="T63" fmla="*/ 10 h 13"/>
                <a:gd name="T64" fmla="*/ 10 w 10"/>
                <a:gd name="T65" fmla="*/ 10 h 13"/>
                <a:gd name="T66" fmla="*/ 10 w 10"/>
                <a:gd name="T67" fmla="*/ 10 h 13"/>
                <a:gd name="T68" fmla="*/ 10 w 10"/>
                <a:gd name="T69" fmla="*/ 10 h 13"/>
                <a:gd name="T70" fmla="*/ 10 w 10"/>
                <a:gd name="T71" fmla="*/ 10 h 13"/>
                <a:gd name="T72" fmla="*/ 10 w 10"/>
                <a:gd name="T73" fmla="*/ 10 h 13"/>
                <a:gd name="T74" fmla="*/ 10 w 10"/>
                <a:gd name="T75" fmla="*/ 10 h 13"/>
                <a:gd name="T76" fmla="*/ 10 w 10"/>
                <a:gd name="T77"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 h="13">
                  <a:moveTo>
                    <a:pt x="10" y="10"/>
                  </a:moveTo>
                  <a:lnTo>
                    <a:pt x="10" y="10"/>
                  </a:lnTo>
                  <a:lnTo>
                    <a:pt x="10" y="10"/>
                  </a:lnTo>
                  <a:lnTo>
                    <a:pt x="10" y="6"/>
                  </a:lnTo>
                  <a:lnTo>
                    <a:pt x="7" y="6"/>
                  </a:lnTo>
                  <a:lnTo>
                    <a:pt x="7" y="3"/>
                  </a:lnTo>
                  <a:lnTo>
                    <a:pt x="7" y="3"/>
                  </a:lnTo>
                  <a:lnTo>
                    <a:pt x="7" y="3"/>
                  </a:lnTo>
                  <a:lnTo>
                    <a:pt x="7" y="3"/>
                  </a:lnTo>
                  <a:lnTo>
                    <a:pt x="7" y="3"/>
                  </a:lnTo>
                  <a:lnTo>
                    <a:pt x="7" y="0"/>
                  </a:lnTo>
                  <a:lnTo>
                    <a:pt x="7" y="3"/>
                  </a:lnTo>
                  <a:lnTo>
                    <a:pt x="4" y="0"/>
                  </a:lnTo>
                  <a:lnTo>
                    <a:pt x="4" y="0"/>
                  </a:lnTo>
                  <a:lnTo>
                    <a:pt x="4" y="3"/>
                  </a:lnTo>
                  <a:lnTo>
                    <a:pt x="0" y="3"/>
                  </a:lnTo>
                  <a:lnTo>
                    <a:pt x="4" y="6"/>
                  </a:lnTo>
                  <a:lnTo>
                    <a:pt x="4" y="6"/>
                  </a:lnTo>
                  <a:lnTo>
                    <a:pt x="0" y="10"/>
                  </a:lnTo>
                  <a:lnTo>
                    <a:pt x="4" y="10"/>
                  </a:lnTo>
                  <a:lnTo>
                    <a:pt x="4" y="13"/>
                  </a:lnTo>
                  <a:lnTo>
                    <a:pt x="4" y="13"/>
                  </a:lnTo>
                  <a:lnTo>
                    <a:pt x="4" y="13"/>
                  </a:lnTo>
                  <a:lnTo>
                    <a:pt x="4" y="13"/>
                  </a:lnTo>
                  <a:lnTo>
                    <a:pt x="4" y="13"/>
                  </a:lnTo>
                  <a:lnTo>
                    <a:pt x="4" y="13"/>
                  </a:lnTo>
                  <a:lnTo>
                    <a:pt x="4" y="10"/>
                  </a:lnTo>
                  <a:lnTo>
                    <a:pt x="7" y="10"/>
                  </a:lnTo>
                  <a:lnTo>
                    <a:pt x="7" y="10"/>
                  </a:lnTo>
                  <a:lnTo>
                    <a:pt x="7" y="10"/>
                  </a:lnTo>
                  <a:lnTo>
                    <a:pt x="7" y="10"/>
                  </a:lnTo>
                  <a:lnTo>
                    <a:pt x="7" y="10"/>
                  </a:lnTo>
                  <a:lnTo>
                    <a:pt x="10" y="10"/>
                  </a:lnTo>
                  <a:lnTo>
                    <a:pt x="10" y="10"/>
                  </a:lnTo>
                  <a:lnTo>
                    <a:pt x="10" y="10"/>
                  </a:lnTo>
                  <a:lnTo>
                    <a:pt x="10" y="10"/>
                  </a:lnTo>
                  <a:lnTo>
                    <a:pt x="10" y="10"/>
                  </a:lnTo>
                  <a:lnTo>
                    <a:pt x="10" y="10"/>
                  </a:lnTo>
                  <a:lnTo>
                    <a:pt x="10" y="10"/>
                  </a:lnTo>
                  <a:close/>
                </a:path>
              </a:pathLst>
            </a:custGeom>
            <a:solidFill>
              <a:srgbClr val="B1B1B0"/>
            </a:solidFill>
            <a:ln w="635"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1059" name="Freeform 66">
              <a:extLst>
                <a:ext uri="{FF2B5EF4-FFF2-40B4-BE49-F238E27FC236}">
                  <a16:creationId xmlns:a16="http://schemas.microsoft.com/office/drawing/2014/main" id="{EFBA4D5C-497C-5F85-1BF4-15990968DF02}"/>
                </a:ext>
              </a:extLst>
            </p:cNvPr>
            <p:cNvSpPr>
              <a:spLocks/>
            </p:cNvSpPr>
            <p:nvPr/>
          </p:nvSpPr>
          <p:spPr bwMode="gray">
            <a:xfrm>
              <a:off x="5243513" y="3241675"/>
              <a:ext cx="15875" cy="25400"/>
            </a:xfrm>
            <a:custGeom>
              <a:avLst/>
              <a:gdLst>
                <a:gd name="T0" fmla="*/ 0 w 10"/>
                <a:gd name="T1" fmla="*/ 10 h 16"/>
                <a:gd name="T2" fmla="*/ 0 w 10"/>
                <a:gd name="T3" fmla="*/ 10 h 16"/>
                <a:gd name="T4" fmla="*/ 3 w 10"/>
                <a:gd name="T5" fmla="*/ 10 h 16"/>
                <a:gd name="T6" fmla="*/ 3 w 10"/>
                <a:gd name="T7" fmla="*/ 10 h 16"/>
                <a:gd name="T8" fmla="*/ 3 w 10"/>
                <a:gd name="T9" fmla="*/ 10 h 16"/>
                <a:gd name="T10" fmla="*/ 3 w 10"/>
                <a:gd name="T11" fmla="*/ 10 h 16"/>
                <a:gd name="T12" fmla="*/ 3 w 10"/>
                <a:gd name="T13" fmla="*/ 13 h 16"/>
                <a:gd name="T14" fmla="*/ 3 w 10"/>
                <a:gd name="T15" fmla="*/ 10 h 16"/>
                <a:gd name="T16" fmla="*/ 3 w 10"/>
                <a:gd name="T17" fmla="*/ 10 h 16"/>
                <a:gd name="T18" fmla="*/ 3 w 10"/>
                <a:gd name="T19" fmla="*/ 10 h 16"/>
                <a:gd name="T20" fmla="*/ 3 w 10"/>
                <a:gd name="T21" fmla="*/ 10 h 16"/>
                <a:gd name="T22" fmla="*/ 3 w 10"/>
                <a:gd name="T23" fmla="*/ 13 h 16"/>
                <a:gd name="T24" fmla="*/ 3 w 10"/>
                <a:gd name="T25" fmla="*/ 13 h 16"/>
                <a:gd name="T26" fmla="*/ 3 w 10"/>
                <a:gd name="T27" fmla="*/ 13 h 16"/>
                <a:gd name="T28" fmla="*/ 3 w 10"/>
                <a:gd name="T29" fmla="*/ 13 h 16"/>
                <a:gd name="T30" fmla="*/ 3 w 10"/>
                <a:gd name="T31" fmla="*/ 13 h 16"/>
                <a:gd name="T32" fmla="*/ 7 w 10"/>
                <a:gd name="T33" fmla="*/ 16 h 16"/>
                <a:gd name="T34" fmla="*/ 7 w 10"/>
                <a:gd name="T35" fmla="*/ 13 h 16"/>
                <a:gd name="T36" fmla="*/ 7 w 10"/>
                <a:gd name="T37" fmla="*/ 10 h 16"/>
                <a:gd name="T38" fmla="*/ 10 w 10"/>
                <a:gd name="T39" fmla="*/ 6 h 16"/>
                <a:gd name="T40" fmla="*/ 10 w 10"/>
                <a:gd name="T41" fmla="*/ 6 h 16"/>
                <a:gd name="T42" fmla="*/ 10 w 10"/>
                <a:gd name="T43" fmla="*/ 6 h 16"/>
                <a:gd name="T44" fmla="*/ 10 w 10"/>
                <a:gd name="T45" fmla="*/ 3 h 16"/>
                <a:gd name="T46" fmla="*/ 7 w 10"/>
                <a:gd name="T47" fmla="*/ 3 h 16"/>
                <a:gd name="T48" fmla="*/ 7 w 10"/>
                <a:gd name="T49" fmla="*/ 0 h 16"/>
                <a:gd name="T50" fmla="*/ 7 w 10"/>
                <a:gd name="T51" fmla="*/ 0 h 16"/>
                <a:gd name="T52" fmla="*/ 7 w 10"/>
                <a:gd name="T53" fmla="*/ 0 h 16"/>
                <a:gd name="T54" fmla="*/ 7 w 10"/>
                <a:gd name="T55" fmla="*/ 0 h 16"/>
                <a:gd name="T56" fmla="*/ 7 w 10"/>
                <a:gd name="T57" fmla="*/ 0 h 16"/>
                <a:gd name="T58" fmla="*/ 7 w 10"/>
                <a:gd name="T59" fmla="*/ 3 h 16"/>
                <a:gd name="T60" fmla="*/ 7 w 10"/>
                <a:gd name="T61" fmla="*/ 3 h 16"/>
                <a:gd name="T62" fmla="*/ 7 w 10"/>
                <a:gd name="T63" fmla="*/ 3 h 16"/>
                <a:gd name="T64" fmla="*/ 7 w 10"/>
                <a:gd name="T65" fmla="*/ 3 h 16"/>
                <a:gd name="T66" fmla="*/ 7 w 10"/>
                <a:gd name="T67" fmla="*/ 6 h 16"/>
                <a:gd name="T68" fmla="*/ 7 w 10"/>
                <a:gd name="T69" fmla="*/ 6 h 16"/>
                <a:gd name="T70" fmla="*/ 7 w 10"/>
                <a:gd name="T71" fmla="*/ 3 h 16"/>
                <a:gd name="T72" fmla="*/ 3 w 10"/>
                <a:gd name="T73" fmla="*/ 3 h 16"/>
                <a:gd name="T74" fmla="*/ 0 w 10"/>
                <a:gd name="T75" fmla="*/ 6 h 16"/>
                <a:gd name="T76" fmla="*/ 0 w 10"/>
                <a:gd name="T77" fmla="*/ 6 h 16"/>
                <a:gd name="T78" fmla="*/ 0 w 10"/>
                <a:gd name="T79" fmla="*/ 6 h 16"/>
                <a:gd name="T80" fmla="*/ 0 w 10"/>
                <a:gd name="T81" fmla="*/ 10 h 16"/>
                <a:gd name="T82" fmla="*/ 0 w 10"/>
                <a:gd name="T83" fmla="*/ 10 h 16"/>
                <a:gd name="T84" fmla="*/ 0 w 10"/>
                <a:gd name="T85" fmla="*/ 10 h 16"/>
                <a:gd name="T86" fmla="*/ 0 w 10"/>
                <a:gd name="T87"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 h="16">
                  <a:moveTo>
                    <a:pt x="0" y="10"/>
                  </a:moveTo>
                  <a:lnTo>
                    <a:pt x="0" y="10"/>
                  </a:lnTo>
                  <a:lnTo>
                    <a:pt x="3" y="10"/>
                  </a:lnTo>
                  <a:lnTo>
                    <a:pt x="3" y="10"/>
                  </a:lnTo>
                  <a:lnTo>
                    <a:pt x="3" y="10"/>
                  </a:lnTo>
                  <a:lnTo>
                    <a:pt x="3" y="10"/>
                  </a:lnTo>
                  <a:lnTo>
                    <a:pt x="3" y="13"/>
                  </a:lnTo>
                  <a:lnTo>
                    <a:pt x="3" y="10"/>
                  </a:lnTo>
                  <a:lnTo>
                    <a:pt x="3" y="10"/>
                  </a:lnTo>
                  <a:lnTo>
                    <a:pt x="3" y="10"/>
                  </a:lnTo>
                  <a:lnTo>
                    <a:pt x="3" y="10"/>
                  </a:lnTo>
                  <a:lnTo>
                    <a:pt x="3" y="13"/>
                  </a:lnTo>
                  <a:lnTo>
                    <a:pt x="3" y="13"/>
                  </a:lnTo>
                  <a:lnTo>
                    <a:pt x="3" y="13"/>
                  </a:lnTo>
                  <a:lnTo>
                    <a:pt x="3" y="13"/>
                  </a:lnTo>
                  <a:lnTo>
                    <a:pt x="3" y="13"/>
                  </a:lnTo>
                  <a:lnTo>
                    <a:pt x="7" y="16"/>
                  </a:lnTo>
                  <a:lnTo>
                    <a:pt x="7" y="13"/>
                  </a:lnTo>
                  <a:lnTo>
                    <a:pt x="7" y="10"/>
                  </a:lnTo>
                  <a:lnTo>
                    <a:pt x="10" y="6"/>
                  </a:lnTo>
                  <a:lnTo>
                    <a:pt x="10" y="6"/>
                  </a:lnTo>
                  <a:lnTo>
                    <a:pt x="10" y="6"/>
                  </a:lnTo>
                  <a:lnTo>
                    <a:pt x="10" y="3"/>
                  </a:lnTo>
                  <a:lnTo>
                    <a:pt x="7" y="3"/>
                  </a:lnTo>
                  <a:lnTo>
                    <a:pt x="7" y="0"/>
                  </a:lnTo>
                  <a:lnTo>
                    <a:pt x="7" y="0"/>
                  </a:lnTo>
                  <a:lnTo>
                    <a:pt x="7" y="0"/>
                  </a:lnTo>
                  <a:lnTo>
                    <a:pt x="7" y="0"/>
                  </a:lnTo>
                  <a:lnTo>
                    <a:pt x="7" y="0"/>
                  </a:lnTo>
                  <a:lnTo>
                    <a:pt x="7" y="3"/>
                  </a:lnTo>
                  <a:lnTo>
                    <a:pt x="7" y="3"/>
                  </a:lnTo>
                  <a:lnTo>
                    <a:pt x="7" y="3"/>
                  </a:lnTo>
                  <a:lnTo>
                    <a:pt x="7" y="3"/>
                  </a:lnTo>
                  <a:lnTo>
                    <a:pt x="7" y="6"/>
                  </a:lnTo>
                  <a:lnTo>
                    <a:pt x="7" y="6"/>
                  </a:lnTo>
                  <a:lnTo>
                    <a:pt x="7" y="3"/>
                  </a:lnTo>
                  <a:lnTo>
                    <a:pt x="3" y="3"/>
                  </a:lnTo>
                  <a:lnTo>
                    <a:pt x="0" y="6"/>
                  </a:lnTo>
                  <a:lnTo>
                    <a:pt x="0" y="6"/>
                  </a:lnTo>
                  <a:lnTo>
                    <a:pt x="0" y="6"/>
                  </a:lnTo>
                  <a:lnTo>
                    <a:pt x="0" y="10"/>
                  </a:lnTo>
                  <a:lnTo>
                    <a:pt x="0" y="10"/>
                  </a:lnTo>
                  <a:lnTo>
                    <a:pt x="0" y="10"/>
                  </a:lnTo>
                  <a:lnTo>
                    <a:pt x="0" y="10"/>
                  </a:lnTo>
                  <a:close/>
                </a:path>
              </a:pathLst>
            </a:custGeom>
            <a:solidFill>
              <a:srgbClr val="B1B1B0"/>
            </a:solidFill>
            <a:ln w="635"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1060" name="Freeform 67">
              <a:extLst>
                <a:ext uri="{FF2B5EF4-FFF2-40B4-BE49-F238E27FC236}">
                  <a16:creationId xmlns:a16="http://schemas.microsoft.com/office/drawing/2014/main" id="{B07F8E49-4C42-F469-22A2-B6D77C982EBD}"/>
                </a:ext>
              </a:extLst>
            </p:cNvPr>
            <p:cNvSpPr>
              <a:spLocks/>
            </p:cNvSpPr>
            <p:nvPr/>
          </p:nvSpPr>
          <p:spPr bwMode="gray">
            <a:xfrm>
              <a:off x="3208338" y="4964113"/>
              <a:ext cx="4763" cy="9525"/>
            </a:xfrm>
            <a:custGeom>
              <a:avLst/>
              <a:gdLst>
                <a:gd name="T0" fmla="*/ 3 w 3"/>
                <a:gd name="T1" fmla="*/ 6 h 6"/>
                <a:gd name="T2" fmla="*/ 3 w 3"/>
                <a:gd name="T3" fmla="*/ 6 h 6"/>
                <a:gd name="T4" fmla="*/ 0 w 3"/>
                <a:gd name="T5" fmla="*/ 3 h 6"/>
                <a:gd name="T6" fmla="*/ 0 w 3"/>
                <a:gd name="T7" fmla="*/ 0 h 6"/>
                <a:gd name="T8" fmla="*/ 0 w 3"/>
                <a:gd name="T9" fmla="*/ 0 h 6"/>
                <a:gd name="T10" fmla="*/ 3 w 3"/>
                <a:gd name="T11" fmla="*/ 6 h 6"/>
              </a:gdLst>
              <a:ahLst/>
              <a:cxnLst>
                <a:cxn ang="0">
                  <a:pos x="T0" y="T1"/>
                </a:cxn>
                <a:cxn ang="0">
                  <a:pos x="T2" y="T3"/>
                </a:cxn>
                <a:cxn ang="0">
                  <a:pos x="T4" y="T5"/>
                </a:cxn>
                <a:cxn ang="0">
                  <a:pos x="T6" y="T7"/>
                </a:cxn>
                <a:cxn ang="0">
                  <a:pos x="T8" y="T9"/>
                </a:cxn>
                <a:cxn ang="0">
                  <a:pos x="T10" y="T11"/>
                </a:cxn>
              </a:cxnLst>
              <a:rect l="0" t="0" r="r" b="b"/>
              <a:pathLst>
                <a:path w="3" h="6">
                  <a:moveTo>
                    <a:pt x="3" y="6"/>
                  </a:moveTo>
                  <a:lnTo>
                    <a:pt x="3" y="6"/>
                  </a:lnTo>
                  <a:lnTo>
                    <a:pt x="0" y="3"/>
                  </a:lnTo>
                  <a:lnTo>
                    <a:pt x="0" y="0"/>
                  </a:lnTo>
                  <a:lnTo>
                    <a:pt x="0" y="0"/>
                  </a:lnTo>
                  <a:lnTo>
                    <a:pt x="3" y="6"/>
                  </a:lnTo>
                  <a:close/>
                </a:path>
              </a:pathLst>
            </a:custGeom>
            <a:solidFill>
              <a:srgbClr val="F59E00"/>
            </a:solidFill>
            <a:ln w="635">
              <a:solidFill>
                <a:schemeClr val="accent5"/>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1061" name="Rectangle 68">
              <a:extLst>
                <a:ext uri="{FF2B5EF4-FFF2-40B4-BE49-F238E27FC236}">
                  <a16:creationId xmlns:a16="http://schemas.microsoft.com/office/drawing/2014/main" id="{ED0D17F1-5AE3-C232-C870-8F4A4B37C47E}"/>
                </a:ext>
              </a:extLst>
            </p:cNvPr>
            <p:cNvSpPr>
              <a:spLocks/>
            </p:cNvSpPr>
            <p:nvPr/>
          </p:nvSpPr>
          <p:spPr bwMode="gray">
            <a:xfrm>
              <a:off x="3201988" y="4979988"/>
              <a:ext cx="1588" cy="1588"/>
            </a:xfrm>
            <a:prstGeom prst="rect">
              <a:avLst/>
            </a:prstGeom>
            <a:solidFill>
              <a:srgbClr val="F59E00"/>
            </a:solidFill>
            <a:ln w="635">
              <a:solidFill>
                <a:schemeClr val="accent5"/>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1062" name="Freeform 69">
              <a:extLst>
                <a:ext uri="{FF2B5EF4-FFF2-40B4-BE49-F238E27FC236}">
                  <a16:creationId xmlns:a16="http://schemas.microsoft.com/office/drawing/2014/main" id="{AD4F5D13-B26E-13CE-E069-7A550AFA1C6C}"/>
                </a:ext>
              </a:extLst>
            </p:cNvPr>
            <p:cNvSpPr>
              <a:spLocks/>
            </p:cNvSpPr>
            <p:nvPr/>
          </p:nvSpPr>
          <p:spPr bwMode="gray">
            <a:xfrm>
              <a:off x="2152650" y="3490913"/>
              <a:ext cx="2627313" cy="2513013"/>
            </a:xfrm>
            <a:custGeom>
              <a:avLst/>
              <a:gdLst>
                <a:gd name="T0" fmla="*/ 463 w 493"/>
                <a:gd name="T1" fmla="*/ 171 h 471"/>
                <a:gd name="T2" fmla="*/ 162 w 493"/>
                <a:gd name="T3" fmla="*/ 420 h 471"/>
                <a:gd name="T4" fmla="*/ 152 w 493"/>
                <a:gd name="T5" fmla="*/ 458 h 471"/>
                <a:gd name="T6" fmla="*/ 283 w 493"/>
                <a:gd name="T7" fmla="*/ 118 h 471"/>
                <a:gd name="T8" fmla="*/ 298 w 493"/>
                <a:gd name="T9" fmla="*/ 97 h 471"/>
                <a:gd name="T10" fmla="*/ 306 w 493"/>
                <a:gd name="T11" fmla="*/ 68 h 471"/>
                <a:gd name="T12" fmla="*/ 302 w 493"/>
                <a:gd name="T13" fmla="*/ 56 h 471"/>
                <a:gd name="T14" fmla="*/ 280 w 493"/>
                <a:gd name="T15" fmla="*/ 77 h 471"/>
                <a:gd name="T16" fmla="*/ 283 w 493"/>
                <a:gd name="T17" fmla="*/ 89 h 471"/>
                <a:gd name="T18" fmla="*/ 271 w 493"/>
                <a:gd name="T19" fmla="*/ 372 h 471"/>
                <a:gd name="T20" fmla="*/ 193 w 493"/>
                <a:gd name="T21" fmla="*/ 391 h 471"/>
                <a:gd name="T22" fmla="*/ 163 w 493"/>
                <a:gd name="T23" fmla="*/ 159 h 471"/>
                <a:gd name="T24" fmla="*/ 153 w 493"/>
                <a:gd name="T25" fmla="*/ 127 h 471"/>
                <a:gd name="T26" fmla="*/ 88 w 493"/>
                <a:gd name="T27" fmla="*/ 77 h 471"/>
                <a:gd name="T28" fmla="*/ 44 w 493"/>
                <a:gd name="T29" fmla="*/ 6 h 471"/>
                <a:gd name="T30" fmla="*/ 176 w 493"/>
                <a:gd name="T31" fmla="*/ 12 h 471"/>
                <a:gd name="T32" fmla="*/ 218 w 493"/>
                <a:gd name="T33" fmla="*/ 23 h 471"/>
                <a:gd name="T34" fmla="*/ 221 w 493"/>
                <a:gd name="T35" fmla="*/ 43 h 471"/>
                <a:gd name="T36" fmla="*/ 235 w 493"/>
                <a:gd name="T37" fmla="*/ 42 h 471"/>
                <a:gd name="T38" fmla="*/ 268 w 493"/>
                <a:gd name="T39" fmla="*/ 29 h 471"/>
                <a:gd name="T40" fmla="*/ 283 w 493"/>
                <a:gd name="T41" fmla="*/ 46 h 471"/>
                <a:gd name="T42" fmla="*/ 318 w 493"/>
                <a:gd name="T43" fmla="*/ 41 h 471"/>
                <a:gd name="T44" fmla="*/ 335 w 493"/>
                <a:gd name="T45" fmla="*/ 51 h 471"/>
                <a:gd name="T46" fmla="*/ 341 w 493"/>
                <a:gd name="T47" fmla="*/ 66 h 471"/>
                <a:gd name="T48" fmla="*/ 340 w 493"/>
                <a:gd name="T49" fmla="*/ 93 h 471"/>
                <a:gd name="T50" fmla="*/ 357 w 493"/>
                <a:gd name="T51" fmla="*/ 115 h 471"/>
                <a:gd name="T52" fmla="*/ 357 w 493"/>
                <a:gd name="T53" fmla="*/ 132 h 471"/>
                <a:gd name="T54" fmla="*/ 399 w 493"/>
                <a:gd name="T55" fmla="*/ 110 h 471"/>
                <a:gd name="T56" fmla="*/ 475 w 493"/>
                <a:gd name="T57" fmla="*/ 113 h 471"/>
                <a:gd name="T58" fmla="*/ 490 w 493"/>
                <a:gd name="T59" fmla="*/ 125 h 471"/>
                <a:gd name="T60" fmla="*/ 491 w 493"/>
                <a:gd name="T61" fmla="*/ 147 h 471"/>
                <a:gd name="T62" fmla="*/ 478 w 493"/>
                <a:gd name="T63" fmla="*/ 159 h 471"/>
                <a:gd name="T64" fmla="*/ 480 w 493"/>
                <a:gd name="T65" fmla="*/ 198 h 471"/>
                <a:gd name="T66" fmla="*/ 470 w 493"/>
                <a:gd name="T67" fmla="*/ 183 h 471"/>
                <a:gd name="T68" fmla="*/ 470 w 493"/>
                <a:gd name="T69" fmla="*/ 192 h 471"/>
                <a:gd name="T70" fmla="*/ 484 w 493"/>
                <a:gd name="T71" fmla="*/ 217 h 471"/>
                <a:gd name="T72" fmla="*/ 484 w 493"/>
                <a:gd name="T73" fmla="*/ 233 h 471"/>
                <a:gd name="T74" fmla="*/ 470 w 493"/>
                <a:gd name="T75" fmla="*/ 236 h 471"/>
                <a:gd name="T76" fmla="*/ 430 w 493"/>
                <a:gd name="T77" fmla="*/ 223 h 471"/>
                <a:gd name="T78" fmla="*/ 333 w 493"/>
                <a:gd name="T79" fmla="*/ 237 h 471"/>
                <a:gd name="T80" fmla="*/ 269 w 493"/>
                <a:gd name="T81" fmla="*/ 252 h 471"/>
                <a:gd name="T82" fmla="*/ 270 w 493"/>
                <a:gd name="T83" fmla="*/ 305 h 471"/>
                <a:gd name="T84" fmla="*/ 300 w 493"/>
                <a:gd name="T85" fmla="*/ 369 h 471"/>
                <a:gd name="T86" fmla="*/ 285 w 493"/>
                <a:gd name="T87" fmla="*/ 387 h 471"/>
                <a:gd name="T88" fmla="*/ 280 w 493"/>
                <a:gd name="T89" fmla="*/ 393 h 471"/>
                <a:gd name="T90" fmla="*/ 257 w 493"/>
                <a:gd name="T91" fmla="*/ 398 h 471"/>
                <a:gd name="T92" fmla="*/ 237 w 493"/>
                <a:gd name="T93" fmla="*/ 393 h 471"/>
                <a:gd name="T94" fmla="*/ 172 w 493"/>
                <a:gd name="T95" fmla="*/ 416 h 471"/>
                <a:gd name="T96" fmla="*/ 152 w 493"/>
                <a:gd name="T97" fmla="*/ 471 h 471"/>
                <a:gd name="T98" fmla="*/ 121 w 493"/>
                <a:gd name="T99" fmla="*/ 459 h 471"/>
                <a:gd name="T100" fmla="*/ 107 w 493"/>
                <a:gd name="T101" fmla="*/ 431 h 471"/>
                <a:gd name="T102" fmla="*/ 91 w 493"/>
                <a:gd name="T103" fmla="*/ 403 h 471"/>
                <a:gd name="T104" fmla="*/ 60 w 493"/>
                <a:gd name="T105" fmla="*/ 395 h 471"/>
                <a:gd name="T106" fmla="*/ 34 w 493"/>
                <a:gd name="T107" fmla="*/ 398 h 471"/>
                <a:gd name="T108" fmla="*/ 17 w 493"/>
                <a:gd name="T109" fmla="*/ 370 h 471"/>
                <a:gd name="T110" fmla="*/ 48 w 493"/>
                <a:gd name="T111" fmla="*/ 348 h 471"/>
                <a:gd name="T112" fmla="*/ 116 w 493"/>
                <a:gd name="T113" fmla="*/ 297 h 471"/>
                <a:gd name="T114" fmla="*/ 147 w 493"/>
                <a:gd name="T115" fmla="*/ 308 h 471"/>
                <a:gd name="T116" fmla="*/ 173 w 493"/>
                <a:gd name="T117" fmla="*/ 307 h 471"/>
                <a:gd name="T118" fmla="*/ 196 w 493"/>
                <a:gd name="T119" fmla="*/ 297 h 471"/>
                <a:gd name="T120" fmla="*/ 232 w 493"/>
                <a:gd name="T121" fmla="*/ 254 h 471"/>
                <a:gd name="T122" fmla="*/ 244 w 493"/>
                <a:gd name="T123" fmla="*/ 231 h 471"/>
                <a:gd name="T124" fmla="*/ 177 w 493"/>
                <a:gd name="T125" fmla="*/ 194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3" h="471">
                  <a:moveTo>
                    <a:pt x="478" y="220"/>
                  </a:moveTo>
                  <a:cubicBezTo>
                    <a:pt x="478" y="220"/>
                    <a:pt x="478" y="220"/>
                    <a:pt x="478" y="220"/>
                  </a:cubicBezTo>
                  <a:cubicBezTo>
                    <a:pt x="477" y="220"/>
                    <a:pt x="477" y="220"/>
                    <a:pt x="477" y="220"/>
                  </a:cubicBezTo>
                  <a:cubicBezTo>
                    <a:pt x="477" y="220"/>
                    <a:pt x="477" y="220"/>
                    <a:pt x="477" y="220"/>
                  </a:cubicBezTo>
                  <a:lnTo>
                    <a:pt x="478" y="220"/>
                  </a:lnTo>
                  <a:close/>
                  <a:moveTo>
                    <a:pt x="479" y="195"/>
                  </a:moveTo>
                  <a:cubicBezTo>
                    <a:pt x="479" y="195"/>
                    <a:pt x="479" y="195"/>
                    <a:pt x="479" y="195"/>
                  </a:cubicBezTo>
                  <a:cubicBezTo>
                    <a:pt x="479" y="195"/>
                    <a:pt x="479" y="195"/>
                    <a:pt x="479" y="195"/>
                  </a:cubicBezTo>
                  <a:close/>
                  <a:moveTo>
                    <a:pt x="480" y="220"/>
                  </a:moveTo>
                  <a:cubicBezTo>
                    <a:pt x="479" y="219"/>
                    <a:pt x="479" y="219"/>
                    <a:pt x="479" y="219"/>
                  </a:cubicBezTo>
                  <a:cubicBezTo>
                    <a:pt x="479" y="219"/>
                    <a:pt x="479" y="219"/>
                    <a:pt x="479" y="219"/>
                  </a:cubicBezTo>
                  <a:cubicBezTo>
                    <a:pt x="478" y="220"/>
                    <a:pt x="478" y="220"/>
                    <a:pt x="478" y="220"/>
                  </a:cubicBezTo>
                  <a:cubicBezTo>
                    <a:pt x="479" y="220"/>
                    <a:pt x="479" y="220"/>
                    <a:pt x="479" y="220"/>
                  </a:cubicBezTo>
                  <a:lnTo>
                    <a:pt x="480" y="220"/>
                  </a:lnTo>
                  <a:close/>
                  <a:moveTo>
                    <a:pt x="476" y="221"/>
                  </a:moveTo>
                  <a:cubicBezTo>
                    <a:pt x="475" y="221"/>
                    <a:pt x="475" y="221"/>
                    <a:pt x="475" y="221"/>
                  </a:cubicBezTo>
                  <a:cubicBezTo>
                    <a:pt x="475" y="221"/>
                    <a:pt x="475" y="221"/>
                    <a:pt x="475" y="221"/>
                  </a:cubicBezTo>
                  <a:cubicBezTo>
                    <a:pt x="476" y="221"/>
                    <a:pt x="476" y="221"/>
                    <a:pt x="476" y="221"/>
                  </a:cubicBezTo>
                  <a:cubicBezTo>
                    <a:pt x="476" y="221"/>
                    <a:pt x="476" y="221"/>
                    <a:pt x="476" y="221"/>
                  </a:cubicBezTo>
                  <a:cubicBezTo>
                    <a:pt x="476" y="221"/>
                    <a:pt x="476" y="221"/>
                    <a:pt x="476" y="221"/>
                  </a:cubicBezTo>
                  <a:close/>
                  <a:moveTo>
                    <a:pt x="475" y="221"/>
                  </a:moveTo>
                  <a:cubicBezTo>
                    <a:pt x="475" y="221"/>
                    <a:pt x="475" y="221"/>
                    <a:pt x="475" y="221"/>
                  </a:cubicBezTo>
                  <a:cubicBezTo>
                    <a:pt x="475" y="221"/>
                    <a:pt x="475" y="221"/>
                    <a:pt x="475" y="221"/>
                  </a:cubicBezTo>
                  <a:cubicBezTo>
                    <a:pt x="475" y="221"/>
                    <a:pt x="475" y="221"/>
                    <a:pt x="475" y="221"/>
                  </a:cubicBezTo>
                  <a:close/>
                  <a:moveTo>
                    <a:pt x="473" y="181"/>
                  </a:moveTo>
                  <a:cubicBezTo>
                    <a:pt x="473" y="181"/>
                    <a:pt x="473" y="181"/>
                    <a:pt x="473" y="181"/>
                  </a:cubicBezTo>
                  <a:cubicBezTo>
                    <a:pt x="472" y="181"/>
                    <a:pt x="472" y="181"/>
                    <a:pt x="472" y="181"/>
                  </a:cubicBezTo>
                  <a:cubicBezTo>
                    <a:pt x="472" y="181"/>
                    <a:pt x="472" y="181"/>
                    <a:pt x="472" y="181"/>
                  </a:cubicBezTo>
                  <a:cubicBezTo>
                    <a:pt x="472" y="181"/>
                    <a:pt x="472" y="181"/>
                    <a:pt x="472" y="181"/>
                  </a:cubicBezTo>
                  <a:cubicBezTo>
                    <a:pt x="473" y="182"/>
                    <a:pt x="473" y="182"/>
                    <a:pt x="473" y="182"/>
                  </a:cubicBezTo>
                  <a:cubicBezTo>
                    <a:pt x="473" y="182"/>
                    <a:pt x="473" y="182"/>
                    <a:pt x="473" y="182"/>
                  </a:cubicBezTo>
                  <a:cubicBezTo>
                    <a:pt x="473" y="182"/>
                    <a:pt x="473" y="181"/>
                    <a:pt x="473" y="181"/>
                  </a:cubicBezTo>
                  <a:cubicBezTo>
                    <a:pt x="473" y="181"/>
                    <a:pt x="473" y="181"/>
                    <a:pt x="473" y="181"/>
                  </a:cubicBezTo>
                  <a:close/>
                  <a:moveTo>
                    <a:pt x="462" y="163"/>
                  </a:moveTo>
                  <a:cubicBezTo>
                    <a:pt x="462" y="163"/>
                    <a:pt x="463" y="163"/>
                    <a:pt x="463" y="163"/>
                  </a:cubicBezTo>
                  <a:cubicBezTo>
                    <a:pt x="463" y="163"/>
                    <a:pt x="463" y="163"/>
                    <a:pt x="463" y="163"/>
                  </a:cubicBezTo>
                  <a:cubicBezTo>
                    <a:pt x="463" y="163"/>
                    <a:pt x="463" y="163"/>
                    <a:pt x="463" y="163"/>
                  </a:cubicBezTo>
                  <a:cubicBezTo>
                    <a:pt x="463" y="162"/>
                    <a:pt x="463" y="162"/>
                    <a:pt x="463" y="162"/>
                  </a:cubicBezTo>
                  <a:cubicBezTo>
                    <a:pt x="462" y="162"/>
                    <a:pt x="462" y="161"/>
                    <a:pt x="462" y="161"/>
                  </a:cubicBezTo>
                  <a:cubicBezTo>
                    <a:pt x="462" y="159"/>
                    <a:pt x="462" y="159"/>
                    <a:pt x="462" y="159"/>
                  </a:cubicBezTo>
                  <a:cubicBezTo>
                    <a:pt x="462" y="159"/>
                    <a:pt x="462" y="159"/>
                    <a:pt x="462" y="159"/>
                  </a:cubicBezTo>
                  <a:cubicBezTo>
                    <a:pt x="462" y="159"/>
                    <a:pt x="462" y="159"/>
                    <a:pt x="462" y="159"/>
                  </a:cubicBezTo>
                  <a:cubicBezTo>
                    <a:pt x="462" y="159"/>
                    <a:pt x="462" y="160"/>
                    <a:pt x="462" y="160"/>
                  </a:cubicBezTo>
                  <a:cubicBezTo>
                    <a:pt x="462" y="160"/>
                    <a:pt x="462" y="160"/>
                    <a:pt x="462" y="160"/>
                  </a:cubicBezTo>
                  <a:cubicBezTo>
                    <a:pt x="462" y="161"/>
                    <a:pt x="462" y="161"/>
                    <a:pt x="462" y="161"/>
                  </a:cubicBezTo>
                  <a:cubicBezTo>
                    <a:pt x="462" y="162"/>
                    <a:pt x="462" y="162"/>
                    <a:pt x="462" y="162"/>
                  </a:cubicBezTo>
                  <a:cubicBezTo>
                    <a:pt x="462" y="162"/>
                    <a:pt x="462" y="162"/>
                    <a:pt x="462" y="162"/>
                  </a:cubicBezTo>
                  <a:cubicBezTo>
                    <a:pt x="462" y="162"/>
                    <a:pt x="462" y="162"/>
                    <a:pt x="462" y="162"/>
                  </a:cubicBezTo>
                  <a:cubicBezTo>
                    <a:pt x="462" y="162"/>
                    <a:pt x="462" y="163"/>
                    <a:pt x="462" y="163"/>
                  </a:cubicBezTo>
                  <a:cubicBezTo>
                    <a:pt x="462" y="163"/>
                    <a:pt x="462" y="163"/>
                    <a:pt x="462" y="163"/>
                  </a:cubicBezTo>
                  <a:close/>
                  <a:moveTo>
                    <a:pt x="462" y="170"/>
                  </a:moveTo>
                  <a:cubicBezTo>
                    <a:pt x="462" y="170"/>
                    <a:pt x="463" y="171"/>
                    <a:pt x="463" y="171"/>
                  </a:cubicBezTo>
                  <a:cubicBezTo>
                    <a:pt x="463" y="171"/>
                    <a:pt x="463" y="171"/>
                    <a:pt x="463" y="171"/>
                  </a:cubicBezTo>
                  <a:cubicBezTo>
                    <a:pt x="463" y="171"/>
                    <a:pt x="463" y="171"/>
                    <a:pt x="463" y="171"/>
                  </a:cubicBezTo>
                  <a:cubicBezTo>
                    <a:pt x="463" y="172"/>
                    <a:pt x="463" y="172"/>
                    <a:pt x="463" y="172"/>
                  </a:cubicBezTo>
                  <a:cubicBezTo>
                    <a:pt x="463" y="173"/>
                    <a:pt x="463" y="173"/>
                    <a:pt x="463" y="173"/>
                  </a:cubicBezTo>
                  <a:cubicBezTo>
                    <a:pt x="463" y="174"/>
                    <a:pt x="463" y="174"/>
                    <a:pt x="463" y="174"/>
                  </a:cubicBezTo>
                  <a:cubicBezTo>
                    <a:pt x="464" y="175"/>
                    <a:pt x="464" y="175"/>
                    <a:pt x="464" y="175"/>
                  </a:cubicBezTo>
                  <a:cubicBezTo>
                    <a:pt x="464" y="174"/>
                    <a:pt x="464" y="174"/>
                    <a:pt x="464" y="174"/>
                  </a:cubicBezTo>
                  <a:cubicBezTo>
                    <a:pt x="464" y="174"/>
                    <a:pt x="464" y="174"/>
                    <a:pt x="464" y="173"/>
                  </a:cubicBezTo>
                  <a:cubicBezTo>
                    <a:pt x="464" y="173"/>
                    <a:pt x="464" y="173"/>
                    <a:pt x="464" y="173"/>
                  </a:cubicBezTo>
                  <a:cubicBezTo>
                    <a:pt x="464" y="173"/>
                    <a:pt x="464" y="173"/>
                    <a:pt x="464" y="173"/>
                  </a:cubicBezTo>
                  <a:cubicBezTo>
                    <a:pt x="464" y="172"/>
                    <a:pt x="464" y="172"/>
                    <a:pt x="464" y="172"/>
                  </a:cubicBezTo>
                  <a:cubicBezTo>
                    <a:pt x="464" y="172"/>
                    <a:pt x="464" y="172"/>
                    <a:pt x="464" y="172"/>
                  </a:cubicBezTo>
                  <a:cubicBezTo>
                    <a:pt x="464" y="172"/>
                    <a:pt x="464" y="172"/>
                    <a:pt x="464" y="172"/>
                  </a:cubicBezTo>
                  <a:cubicBezTo>
                    <a:pt x="464" y="172"/>
                    <a:pt x="464" y="172"/>
                    <a:pt x="464" y="172"/>
                  </a:cubicBezTo>
                  <a:cubicBezTo>
                    <a:pt x="463" y="172"/>
                    <a:pt x="463" y="172"/>
                    <a:pt x="463" y="171"/>
                  </a:cubicBezTo>
                  <a:cubicBezTo>
                    <a:pt x="463" y="171"/>
                    <a:pt x="463" y="171"/>
                    <a:pt x="463" y="171"/>
                  </a:cubicBezTo>
                  <a:cubicBezTo>
                    <a:pt x="463" y="171"/>
                    <a:pt x="463" y="171"/>
                    <a:pt x="463" y="171"/>
                  </a:cubicBezTo>
                  <a:cubicBezTo>
                    <a:pt x="463" y="169"/>
                    <a:pt x="463" y="169"/>
                    <a:pt x="463" y="169"/>
                  </a:cubicBezTo>
                  <a:cubicBezTo>
                    <a:pt x="463" y="169"/>
                    <a:pt x="463" y="169"/>
                    <a:pt x="463" y="169"/>
                  </a:cubicBezTo>
                  <a:cubicBezTo>
                    <a:pt x="463" y="168"/>
                    <a:pt x="463" y="168"/>
                    <a:pt x="463" y="168"/>
                  </a:cubicBezTo>
                  <a:cubicBezTo>
                    <a:pt x="463" y="168"/>
                    <a:pt x="463" y="168"/>
                    <a:pt x="463" y="168"/>
                  </a:cubicBezTo>
                  <a:cubicBezTo>
                    <a:pt x="463" y="168"/>
                    <a:pt x="462" y="168"/>
                    <a:pt x="462" y="168"/>
                  </a:cubicBezTo>
                  <a:cubicBezTo>
                    <a:pt x="462" y="168"/>
                    <a:pt x="462" y="168"/>
                    <a:pt x="462" y="168"/>
                  </a:cubicBezTo>
                  <a:cubicBezTo>
                    <a:pt x="462" y="168"/>
                    <a:pt x="462" y="168"/>
                    <a:pt x="462" y="168"/>
                  </a:cubicBezTo>
                  <a:cubicBezTo>
                    <a:pt x="462" y="169"/>
                    <a:pt x="462" y="169"/>
                    <a:pt x="462" y="169"/>
                  </a:cubicBezTo>
                  <a:cubicBezTo>
                    <a:pt x="462" y="169"/>
                    <a:pt x="462" y="169"/>
                    <a:pt x="462" y="169"/>
                  </a:cubicBezTo>
                  <a:cubicBezTo>
                    <a:pt x="462" y="169"/>
                    <a:pt x="462" y="169"/>
                    <a:pt x="462" y="169"/>
                  </a:cubicBezTo>
                  <a:cubicBezTo>
                    <a:pt x="462" y="170"/>
                    <a:pt x="462" y="170"/>
                    <a:pt x="462" y="170"/>
                  </a:cubicBezTo>
                  <a:cubicBezTo>
                    <a:pt x="462" y="170"/>
                    <a:pt x="462" y="170"/>
                    <a:pt x="462" y="170"/>
                  </a:cubicBezTo>
                  <a:cubicBezTo>
                    <a:pt x="462" y="170"/>
                    <a:pt x="462" y="170"/>
                    <a:pt x="462" y="170"/>
                  </a:cubicBezTo>
                  <a:close/>
                  <a:moveTo>
                    <a:pt x="459" y="182"/>
                  </a:moveTo>
                  <a:cubicBezTo>
                    <a:pt x="459" y="182"/>
                    <a:pt x="459" y="182"/>
                    <a:pt x="459" y="182"/>
                  </a:cubicBezTo>
                  <a:cubicBezTo>
                    <a:pt x="459" y="182"/>
                    <a:pt x="459" y="182"/>
                    <a:pt x="459" y="182"/>
                  </a:cubicBezTo>
                  <a:close/>
                  <a:moveTo>
                    <a:pt x="461" y="181"/>
                  </a:moveTo>
                  <a:cubicBezTo>
                    <a:pt x="460" y="182"/>
                    <a:pt x="460" y="182"/>
                    <a:pt x="460" y="182"/>
                  </a:cubicBezTo>
                  <a:cubicBezTo>
                    <a:pt x="461" y="182"/>
                    <a:pt x="461" y="182"/>
                    <a:pt x="461" y="182"/>
                  </a:cubicBezTo>
                  <a:cubicBezTo>
                    <a:pt x="461" y="182"/>
                    <a:pt x="461" y="182"/>
                    <a:pt x="461" y="182"/>
                  </a:cubicBezTo>
                  <a:cubicBezTo>
                    <a:pt x="462" y="182"/>
                    <a:pt x="462" y="182"/>
                    <a:pt x="462" y="182"/>
                  </a:cubicBezTo>
                  <a:cubicBezTo>
                    <a:pt x="461" y="182"/>
                    <a:pt x="461" y="181"/>
                    <a:pt x="461" y="181"/>
                  </a:cubicBezTo>
                  <a:close/>
                  <a:moveTo>
                    <a:pt x="328" y="59"/>
                  </a:moveTo>
                  <a:cubicBezTo>
                    <a:pt x="329" y="59"/>
                    <a:pt x="329" y="59"/>
                    <a:pt x="329" y="59"/>
                  </a:cubicBezTo>
                  <a:cubicBezTo>
                    <a:pt x="329" y="59"/>
                    <a:pt x="329" y="59"/>
                    <a:pt x="329" y="59"/>
                  </a:cubicBezTo>
                  <a:lnTo>
                    <a:pt x="328" y="59"/>
                  </a:lnTo>
                  <a:close/>
                  <a:moveTo>
                    <a:pt x="314" y="55"/>
                  </a:moveTo>
                  <a:cubicBezTo>
                    <a:pt x="315" y="56"/>
                    <a:pt x="315" y="56"/>
                    <a:pt x="315" y="56"/>
                  </a:cubicBezTo>
                  <a:cubicBezTo>
                    <a:pt x="315" y="56"/>
                    <a:pt x="315" y="56"/>
                    <a:pt x="315" y="56"/>
                  </a:cubicBezTo>
                  <a:lnTo>
                    <a:pt x="314" y="55"/>
                  </a:lnTo>
                  <a:close/>
                  <a:moveTo>
                    <a:pt x="313" y="57"/>
                  </a:moveTo>
                  <a:cubicBezTo>
                    <a:pt x="314" y="58"/>
                    <a:pt x="314" y="58"/>
                    <a:pt x="314" y="58"/>
                  </a:cubicBezTo>
                  <a:cubicBezTo>
                    <a:pt x="314" y="58"/>
                    <a:pt x="314" y="58"/>
                    <a:pt x="314" y="58"/>
                  </a:cubicBezTo>
                  <a:cubicBezTo>
                    <a:pt x="314" y="58"/>
                    <a:pt x="314" y="58"/>
                    <a:pt x="314" y="58"/>
                  </a:cubicBezTo>
                  <a:lnTo>
                    <a:pt x="313" y="57"/>
                  </a:lnTo>
                  <a:close/>
                  <a:moveTo>
                    <a:pt x="162" y="420"/>
                  </a:moveTo>
                  <a:cubicBezTo>
                    <a:pt x="162" y="420"/>
                    <a:pt x="162" y="420"/>
                    <a:pt x="162" y="420"/>
                  </a:cubicBezTo>
                  <a:cubicBezTo>
                    <a:pt x="162" y="420"/>
                    <a:pt x="162" y="420"/>
                    <a:pt x="162" y="420"/>
                  </a:cubicBezTo>
                  <a:cubicBezTo>
                    <a:pt x="162" y="420"/>
                    <a:pt x="162" y="420"/>
                    <a:pt x="162" y="420"/>
                  </a:cubicBezTo>
                  <a:cubicBezTo>
                    <a:pt x="162" y="420"/>
                    <a:pt x="162" y="421"/>
                    <a:pt x="161" y="421"/>
                  </a:cubicBezTo>
                  <a:cubicBezTo>
                    <a:pt x="161" y="421"/>
                    <a:pt x="161" y="421"/>
                    <a:pt x="161" y="421"/>
                  </a:cubicBezTo>
                  <a:cubicBezTo>
                    <a:pt x="162" y="421"/>
                    <a:pt x="162" y="421"/>
                    <a:pt x="162" y="421"/>
                  </a:cubicBezTo>
                  <a:cubicBezTo>
                    <a:pt x="162" y="421"/>
                    <a:pt x="162" y="421"/>
                    <a:pt x="162" y="421"/>
                  </a:cubicBezTo>
                  <a:cubicBezTo>
                    <a:pt x="162" y="420"/>
                    <a:pt x="162" y="420"/>
                    <a:pt x="162" y="420"/>
                  </a:cubicBezTo>
                  <a:close/>
                  <a:moveTo>
                    <a:pt x="167" y="416"/>
                  </a:moveTo>
                  <a:cubicBezTo>
                    <a:pt x="168" y="416"/>
                    <a:pt x="168" y="416"/>
                    <a:pt x="168" y="416"/>
                  </a:cubicBezTo>
                  <a:cubicBezTo>
                    <a:pt x="168" y="416"/>
                    <a:pt x="168" y="416"/>
                    <a:pt x="168" y="416"/>
                  </a:cubicBezTo>
                  <a:cubicBezTo>
                    <a:pt x="168" y="416"/>
                    <a:pt x="168" y="416"/>
                    <a:pt x="168" y="416"/>
                  </a:cubicBezTo>
                  <a:cubicBezTo>
                    <a:pt x="169" y="416"/>
                    <a:pt x="169" y="416"/>
                    <a:pt x="169" y="416"/>
                  </a:cubicBezTo>
                  <a:cubicBezTo>
                    <a:pt x="169" y="415"/>
                    <a:pt x="169" y="415"/>
                    <a:pt x="169" y="415"/>
                  </a:cubicBezTo>
                  <a:cubicBezTo>
                    <a:pt x="170" y="415"/>
                    <a:pt x="170" y="415"/>
                    <a:pt x="170" y="415"/>
                  </a:cubicBezTo>
                  <a:cubicBezTo>
                    <a:pt x="170" y="415"/>
                    <a:pt x="170" y="415"/>
                    <a:pt x="170" y="415"/>
                  </a:cubicBezTo>
                  <a:cubicBezTo>
                    <a:pt x="169" y="415"/>
                    <a:pt x="169" y="415"/>
                    <a:pt x="169" y="414"/>
                  </a:cubicBezTo>
                  <a:cubicBezTo>
                    <a:pt x="169" y="414"/>
                    <a:pt x="169" y="414"/>
                    <a:pt x="169" y="414"/>
                  </a:cubicBezTo>
                  <a:cubicBezTo>
                    <a:pt x="169" y="414"/>
                    <a:pt x="169" y="414"/>
                    <a:pt x="169" y="414"/>
                  </a:cubicBezTo>
                  <a:cubicBezTo>
                    <a:pt x="168" y="414"/>
                    <a:pt x="168" y="415"/>
                    <a:pt x="168" y="415"/>
                  </a:cubicBezTo>
                  <a:cubicBezTo>
                    <a:pt x="167" y="415"/>
                    <a:pt x="167" y="415"/>
                    <a:pt x="167" y="415"/>
                  </a:cubicBezTo>
                  <a:cubicBezTo>
                    <a:pt x="167" y="415"/>
                    <a:pt x="167" y="415"/>
                    <a:pt x="167" y="415"/>
                  </a:cubicBezTo>
                  <a:cubicBezTo>
                    <a:pt x="166" y="415"/>
                    <a:pt x="166" y="415"/>
                    <a:pt x="166" y="415"/>
                  </a:cubicBezTo>
                  <a:cubicBezTo>
                    <a:pt x="166" y="415"/>
                    <a:pt x="166" y="415"/>
                    <a:pt x="166" y="415"/>
                  </a:cubicBezTo>
                  <a:cubicBezTo>
                    <a:pt x="167" y="416"/>
                    <a:pt x="167" y="416"/>
                    <a:pt x="167" y="416"/>
                  </a:cubicBezTo>
                  <a:cubicBezTo>
                    <a:pt x="167" y="416"/>
                    <a:pt x="167" y="416"/>
                    <a:pt x="167" y="416"/>
                  </a:cubicBezTo>
                  <a:close/>
                  <a:moveTo>
                    <a:pt x="152" y="431"/>
                  </a:moveTo>
                  <a:cubicBezTo>
                    <a:pt x="153" y="431"/>
                    <a:pt x="153" y="431"/>
                    <a:pt x="153" y="431"/>
                  </a:cubicBezTo>
                  <a:cubicBezTo>
                    <a:pt x="153" y="431"/>
                    <a:pt x="153" y="432"/>
                    <a:pt x="153" y="432"/>
                  </a:cubicBezTo>
                  <a:cubicBezTo>
                    <a:pt x="154" y="431"/>
                    <a:pt x="154" y="431"/>
                    <a:pt x="154" y="431"/>
                  </a:cubicBezTo>
                  <a:cubicBezTo>
                    <a:pt x="153" y="431"/>
                    <a:pt x="153" y="431"/>
                    <a:pt x="153" y="431"/>
                  </a:cubicBezTo>
                  <a:cubicBezTo>
                    <a:pt x="153" y="431"/>
                    <a:pt x="152" y="431"/>
                    <a:pt x="152" y="430"/>
                  </a:cubicBezTo>
                  <a:cubicBezTo>
                    <a:pt x="152" y="430"/>
                    <a:pt x="152" y="431"/>
                    <a:pt x="152" y="431"/>
                  </a:cubicBezTo>
                  <a:close/>
                  <a:moveTo>
                    <a:pt x="150" y="448"/>
                  </a:moveTo>
                  <a:cubicBezTo>
                    <a:pt x="150" y="447"/>
                    <a:pt x="150" y="447"/>
                    <a:pt x="150" y="447"/>
                  </a:cubicBezTo>
                  <a:cubicBezTo>
                    <a:pt x="150" y="447"/>
                    <a:pt x="150" y="447"/>
                    <a:pt x="150" y="447"/>
                  </a:cubicBezTo>
                  <a:cubicBezTo>
                    <a:pt x="149" y="447"/>
                    <a:pt x="149" y="447"/>
                    <a:pt x="149" y="447"/>
                  </a:cubicBezTo>
                  <a:cubicBezTo>
                    <a:pt x="149" y="448"/>
                    <a:pt x="149" y="448"/>
                    <a:pt x="149" y="448"/>
                  </a:cubicBezTo>
                  <a:cubicBezTo>
                    <a:pt x="149" y="448"/>
                    <a:pt x="149" y="448"/>
                    <a:pt x="149" y="448"/>
                  </a:cubicBezTo>
                  <a:cubicBezTo>
                    <a:pt x="150" y="448"/>
                    <a:pt x="150" y="448"/>
                    <a:pt x="150" y="448"/>
                  </a:cubicBezTo>
                  <a:cubicBezTo>
                    <a:pt x="150" y="448"/>
                    <a:pt x="150" y="448"/>
                    <a:pt x="150" y="448"/>
                  </a:cubicBezTo>
                  <a:cubicBezTo>
                    <a:pt x="150" y="448"/>
                    <a:pt x="150" y="448"/>
                    <a:pt x="150" y="448"/>
                  </a:cubicBezTo>
                  <a:close/>
                  <a:moveTo>
                    <a:pt x="152" y="455"/>
                  </a:moveTo>
                  <a:cubicBezTo>
                    <a:pt x="151" y="455"/>
                    <a:pt x="151" y="455"/>
                    <a:pt x="151" y="455"/>
                  </a:cubicBezTo>
                  <a:cubicBezTo>
                    <a:pt x="152" y="456"/>
                    <a:pt x="152" y="456"/>
                    <a:pt x="152" y="456"/>
                  </a:cubicBezTo>
                  <a:cubicBezTo>
                    <a:pt x="152" y="457"/>
                    <a:pt x="152" y="457"/>
                    <a:pt x="152" y="457"/>
                  </a:cubicBezTo>
                  <a:cubicBezTo>
                    <a:pt x="152" y="457"/>
                    <a:pt x="152" y="457"/>
                    <a:pt x="152" y="457"/>
                  </a:cubicBezTo>
                  <a:cubicBezTo>
                    <a:pt x="152" y="457"/>
                    <a:pt x="152" y="457"/>
                    <a:pt x="151" y="457"/>
                  </a:cubicBezTo>
                  <a:cubicBezTo>
                    <a:pt x="151" y="457"/>
                    <a:pt x="151" y="457"/>
                    <a:pt x="151" y="457"/>
                  </a:cubicBezTo>
                  <a:cubicBezTo>
                    <a:pt x="152" y="458"/>
                    <a:pt x="152" y="458"/>
                    <a:pt x="152" y="458"/>
                  </a:cubicBezTo>
                  <a:cubicBezTo>
                    <a:pt x="152" y="458"/>
                    <a:pt x="152" y="458"/>
                    <a:pt x="152" y="458"/>
                  </a:cubicBezTo>
                  <a:cubicBezTo>
                    <a:pt x="152" y="458"/>
                    <a:pt x="152" y="458"/>
                    <a:pt x="152" y="458"/>
                  </a:cubicBezTo>
                  <a:cubicBezTo>
                    <a:pt x="153" y="458"/>
                    <a:pt x="153" y="459"/>
                    <a:pt x="153" y="459"/>
                  </a:cubicBezTo>
                  <a:cubicBezTo>
                    <a:pt x="152" y="458"/>
                    <a:pt x="152" y="458"/>
                    <a:pt x="152" y="458"/>
                  </a:cubicBezTo>
                  <a:cubicBezTo>
                    <a:pt x="152" y="458"/>
                    <a:pt x="152" y="457"/>
                    <a:pt x="152" y="457"/>
                  </a:cubicBezTo>
                  <a:cubicBezTo>
                    <a:pt x="152" y="457"/>
                    <a:pt x="152" y="457"/>
                    <a:pt x="152" y="457"/>
                  </a:cubicBezTo>
                  <a:cubicBezTo>
                    <a:pt x="152" y="456"/>
                    <a:pt x="152" y="456"/>
                    <a:pt x="152" y="456"/>
                  </a:cubicBezTo>
                  <a:cubicBezTo>
                    <a:pt x="152" y="456"/>
                    <a:pt x="152" y="456"/>
                    <a:pt x="152" y="456"/>
                  </a:cubicBezTo>
                  <a:lnTo>
                    <a:pt x="152" y="455"/>
                  </a:lnTo>
                  <a:close/>
                  <a:moveTo>
                    <a:pt x="295" y="371"/>
                  </a:moveTo>
                  <a:cubicBezTo>
                    <a:pt x="295" y="371"/>
                    <a:pt x="296" y="371"/>
                    <a:pt x="296" y="371"/>
                  </a:cubicBezTo>
                  <a:cubicBezTo>
                    <a:pt x="296" y="371"/>
                    <a:pt x="296" y="371"/>
                    <a:pt x="296" y="371"/>
                  </a:cubicBezTo>
                  <a:cubicBezTo>
                    <a:pt x="297" y="371"/>
                    <a:pt x="297" y="371"/>
                    <a:pt x="297" y="371"/>
                  </a:cubicBezTo>
                  <a:cubicBezTo>
                    <a:pt x="297" y="371"/>
                    <a:pt x="297" y="371"/>
                    <a:pt x="297" y="371"/>
                  </a:cubicBezTo>
                  <a:cubicBezTo>
                    <a:pt x="297" y="371"/>
                    <a:pt x="297" y="371"/>
                    <a:pt x="297" y="371"/>
                  </a:cubicBezTo>
                  <a:cubicBezTo>
                    <a:pt x="297" y="371"/>
                    <a:pt x="297" y="371"/>
                    <a:pt x="297" y="371"/>
                  </a:cubicBezTo>
                  <a:cubicBezTo>
                    <a:pt x="296" y="371"/>
                    <a:pt x="296" y="371"/>
                    <a:pt x="296" y="371"/>
                  </a:cubicBezTo>
                  <a:cubicBezTo>
                    <a:pt x="296" y="370"/>
                    <a:pt x="296" y="370"/>
                    <a:pt x="296" y="370"/>
                  </a:cubicBezTo>
                  <a:cubicBezTo>
                    <a:pt x="295" y="370"/>
                    <a:pt x="295" y="370"/>
                    <a:pt x="295" y="370"/>
                  </a:cubicBezTo>
                  <a:cubicBezTo>
                    <a:pt x="295" y="371"/>
                    <a:pt x="295" y="371"/>
                    <a:pt x="295" y="371"/>
                  </a:cubicBezTo>
                  <a:cubicBezTo>
                    <a:pt x="295" y="371"/>
                    <a:pt x="295" y="371"/>
                    <a:pt x="295" y="371"/>
                  </a:cubicBezTo>
                  <a:close/>
                  <a:moveTo>
                    <a:pt x="289" y="371"/>
                  </a:moveTo>
                  <a:cubicBezTo>
                    <a:pt x="289" y="371"/>
                    <a:pt x="289" y="372"/>
                    <a:pt x="289" y="372"/>
                  </a:cubicBezTo>
                  <a:cubicBezTo>
                    <a:pt x="289" y="372"/>
                    <a:pt x="290" y="372"/>
                    <a:pt x="290" y="372"/>
                  </a:cubicBezTo>
                  <a:cubicBezTo>
                    <a:pt x="290" y="372"/>
                    <a:pt x="290" y="372"/>
                    <a:pt x="290" y="372"/>
                  </a:cubicBezTo>
                  <a:cubicBezTo>
                    <a:pt x="291" y="372"/>
                    <a:pt x="291" y="372"/>
                    <a:pt x="291" y="372"/>
                  </a:cubicBezTo>
                  <a:cubicBezTo>
                    <a:pt x="291" y="371"/>
                    <a:pt x="292" y="371"/>
                    <a:pt x="292" y="372"/>
                  </a:cubicBezTo>
                  <a:cubicBezTo>
                    <a:pt x="292" y="372"/>
                    <a:pt x="292" y="372"/>
                    <a:pt x="292" y="372"/>
                  </a:cubicBezTo>
                  <a:cubicBezTo>
                    <a:pt x="292" y="372"/>
                    <a:pt x="292" y="372"/>
                    <a:pt x="292" y="372"/>
                  </a:cubicBezTo>
                  <a:cubicBezTo>
                    <a:pt x="292" y="372"/>
                    <a:pt x="293" y="371"/>
                    <a:pt x="293" y="371"/>
                  </a:cubicBezTo>
                  <a:cubicBezTo>
                    <a:pt x="293" y="371"/>
                    <a:pt x="293" y="371"/>
                    <a:pt x="293" y="371"/>
                  </a:cubicBezTo>
                  <a:cubicBezTo>
                    <a:pt x="291" y="370"/>
                    <a:pt x="291" y="370"/>
                    <a:pt x="291" y="370"/>
                  </a:cubicBezTo>
                  <a:cubicBezTo>
                    <a:pt x="291" y="370"/>
                    <a:pt x="291" y="370"/>
                    <a:pt x="291" y="370"/>
                  </a:cubicBezTo>
                  <a:cubicBezTo>
                    <a:pt x="291" y="370"/>
                    <a:pt x="291" y="370"/>
                    <a:pt x="291" y="370"/>
                  </a:cubicBezTo>
                  <a:cubicBezTo>
                    <a:pt x="291" y="370"/>
                    <a:pt x="291" y="370"/>
                    <a:pt x="291" y="370"/>
                  </a:cubicBezTo>
                  <a:cubicBezTo>
                    <a:pt x="291" y="371"/>
                    <a:pt x="291" y="371"/>
                    <a:pt x="290" y="371"/>
                  </a:cubicBezTo>
                  <a:cubicBezTo>
                    <a:pt x="290" y="371"/>
                    <a:pt x="290" y="371"/>
                    <a:pt x="290" y="371"/>
                  </a:cubicBezTo>
                  <a:cubicBezTo>
                    <a:pt x="290" y="371"/>
                    <a:pt x="289" y="371"/>
                    <a:pt x="289" y="371"/>
                  </a:cubicBezTo>
                  <a:close/>
                  <a:moveTo>
                    <a:pt x="284" y="374"/>
                  </a:moveTo>
                  <a:cubicBezTo>
                    <a:pt x="284" y="374"/>
                    <a:pt x="284" y="373"/>
                    <a:pt x="284" y="373"/>
                  </a:cubicBezTo>
                  <a:cubicBezTo>
                    <a:pt x="284" y="373"/>
                    <a:pt x="284" y="373"/>
                    <a:pt x="284" y="373"/>
                  </a:cubicBezTo>
                  <a:cubicBezTo>
                    <a:pt x="283" y="373"/>
                    <a:pt x="283" y="373"/>
                    <a:pt x="283" y="373"/>
                  </a:cubicBezTo>
                  <a:cubicBezTo>
                    <a:pt x="283" y="374"/>
                    <a:pt x="283" y="374"/>
                    <a:pt x="283" y="374"/>
                  </a:cubicBezTo>
                  <a:cubicBezTo>
                    <a:pt x="283" y="374"/>
                    <a:pt x="283" y="374"/>
                    <a:pt x="283" y="374"/>
                  </a:cubicBezTo>
                  <a:cubicBezTo>
                    <a:pt x="283" y="374"/>
                    <a:pt x="283" y="374"/>
                    <a:pt x="283" y="374"/>
                  </a:cubicBezTo>
                  <a:lnTo>
                    <a:pt x="284" y="374"/>
                  </a:lnTo>
                  <a:close/>
                  <a:moveTo>
                    <a:pt x="280" y="114"/>
                  </a:moveTo>
                  <a:cubicBezTo>
                    <a:pt x="281" y="114"/>
                    <a:pt x="281" y="114"/>
                    <a:pt x="281" y="114"/>
                  </a:cubicBezTo>
                  <a:cubicBezTo>
                    <a:pt x="281" y="115"/>
                    <a:pt x="281" y="115"/>
                    <a:pt x="281" y="115"/>
                  </a:cubicBezTo>
                  <a:cubicBezTo>
                    <a:pt x="281" y="115"/>
                    <a:pt x="281" y="115"/>
                    <a:pt x="281" y="115"/>
                  </a:cubicBezTo>
                  <a:cubicBezTo>
                    <a:pt x="281" y="115"/>
                    <a:pt x="281" y="115"/>
                    <a:pt x="281" y="115"/>
                  </a:cubicBezTo>
                  <a:cubicBezTo>
                    <a:pt x="282" y="117"/>
                    <a:pt x="282" y="117"/>
                    <a:pt x="282" y="117"/>
                  </a:cubicBezTo>
                  <a:cubicBezTo>
                    <a:pt x="282" y="117"/>
                    <a:pt x="282" y="117"/>
                    <a:pt x="282" y="117"/>
                  </a:cubicBezTo>
                  <a:cubicBezTo>
                    <a:pt x="282" y="117"/>
                    <a:pt x="282" y="117"/>
                    <a:pt x="282" y="117"/>
                  </a:cubicBezTo>
                  <a:cubicBezTo>
                    <a:pt x="282" y="118"/>
                    <a:pt x="282" y="118"/>
                    <a:pt x="282" y="118"/>
                  </a:cubicBezTo>
                  <a:cubicBezTo>
                    <a:pt x="282" y="118"/>
                    <a:pt x="282" y="118"/>
                    <a:pt x="282" y="118"/>
                  </a:cubicBezTo>
                  <a:cubicBezTo>
                    <a:pt x="283" y="118"/>
                    <a:pt x="283" y="118"/>
                    <a:pt x="283" y="118"/>
                  </a:cubicBezTo>
                  <a:cubicBezTo>
                    <a:pt x="283" y="119"/>
                    <a:pt x="283" y="119"/>
                    <a:pt x="283" y="119"/>
                  </a:cubicBezTo>
                  <a:cubicBezTo>
                    <a:pt x="283" y="120"/>
                    <a:pt x="283" y="120"/>
                    <a:pt x="283" y="120"/>
                  </a:cubicBezTo>
                  <a:cubicBezTo>
                    <a:pt x="283" y="121"/>
                    <a:pt x="283" y="121"/>
                    <a:pt x="283" y="121"/>
                  </a:cubicBezTo>
                  <a:cubicBezTo>
                    <a:pt x="283" y="122"/>
                    <a:pt x="283" y="122"/>
                    <a:pt x="283" y="122"/>
                  </a:cubicBezTo>
                  <a:cubicBezTo>
                    <a:pt x="283" y="122"/>
                    <a:pt x="283" y="122"/>
                    <a:pt x="283" y="122"/>
                  </a:cubicBezTo>
                  <a:cubicBezTo>
                    <a:pt x="283" y="122"/>
                    <a:pt x="283" y="122"/>
                    <a:pt x="283" y="123"/>
                  </a:cubicBezTo>
                  <a:cubicBezTo>
                    <a:pt x="283" y="123"/>
                    <a:pt x="283" y="123"/>
                    <a:pt x="283" y="123"/>
                  </a:cubicBezTo>
                  <a:cubicBezTo>
                    <a:pt x="284" y="123"/>
                    <a:pt x="284" y="123"/>
                    <a:pt x="284" y="124"/>
                  </a:cubicBezTo>
                  <a:cubicBezTo>
                    <a:pt x="285" y="126"/>
                    <a:pt x="285" y="126"/>
                    <a:pt x="285" y="126"/>
                  </a:cubicBezTo>
                  <a:cubicBezTo>
                    <a:pt x="285" y="128"/>
                    <a:pt x="285" y="128"/>
                    <a:pt x="285" y="128"/>
                  </a:cubicBezTo>
                  <a:cubicBezTo>
                    <a:pt x="286" y="128"/>
                    <a:pt x="286" y="128"/>
                    <a:pt x="286" y="129"/>
                  </a:cubicBezTo>
                  <a:cubicBezTo>
                    <a:pt x="286" y="129"/>
                    <a:pt x="286" y="129"/>
                    <a:pt x="286" y="129"/>
                  </a:cubicBezTo>
                  <a:cubicBezTo>
                    <a:pt x="286" y="129"/>
                    <a:pt x="287" y="130"/>
                    <a:pt x="287" y="130"/>
                  </a:cubicBezTo>
                  <a:cubicBezTo>
                    <a:pt x="287" y="130"/>
                    <a:pt x="287" y="130"/>
                    <a:pt x="287" y="130"/>
                  </a:cubicBezTo>
                  <a:cubicBezTo>
                    <a:pt x="287" y="130"/>
                    <a:pt x="287" y="131"/>
                    <a:pt x="287" y="131"/>
                  </a:cubicBezTo>
                  <a:cubicBezTo>
                    <a:pt x="289" y="136"/>
                    <a:pt x="289" y="136"/>
                    <a:pt x="289" y="136"/>
                  </a:cubicBezTo>
                  <a:cubicBezTo>
                    <a:pt x="289" y="136"/>
                    <a:pt x="289" y="136"/>
                    <a:pt x="289" y="136"/>
                  </a:cubicBezTo>
                  <a:cubicBezTo>
                    <a:pt x="289" y="136"/>
                    <a:pt x="289" y="137"/>
                    <a:pt x="290" y="137"/>
                  </a:cubicBezTo>
                  <a:cubicBezTo>
                    <a:pt x="290" y="137"/>
                    <a:pt x="290" y="137"/>
                    <a:pt x="290" y="137"/>
                  </a:cubicBezTo>
                  <a:cubicBezTo>
                    <a:pt x="290" y="137"/>
                    <a:pt x="290" y="137"/>
                    <a:pt x="291" y="137"/>
                  </a:cubicBezTo>
                  <a:cubicBezTo>
                    <a:pt x="292" y="138"/>
                    <a:pt x="292" y="138"/>
                    <a:pt x="292" y="138"/>
                  </a:cubicBezTo>
                  <a:cubicBezTo>
                    <a:pt x="292" y="137"/>
                    <a:pt x="292" y="137"/>
                    <a:pt x="292" y="137"/>
                  </a:cubicBezTo>
                  <a:cubicBezTo>
                    <a:pt x="293" y="136"/>
                    <a:pt x="293" y="136"/>
                    <a:pt x="293" y="136"/>
                  </a:cubicBezTo>
                  <a:cubicBezTo>
                    <a:pt x="295" y="136"/>
                    <a:pt x="295" y="136"/>
                    <a:pt x="295" y="136"/>
                  </a:cubicBezTo>
                  <a:cubicBezTo>
                    <a:pt x="298" y="136"/>
                    <a:pt x="298" y="136"/>
                    <a:pt x="298" y="136"/>
                  </a:cubicBezTo>
                  <a:cubicBezTo>
                    <a:pt x="297" y="136"/>
                    <a:pt x="297" y="136"/>
                    <a:pt x="297" y="136"/>
                  </a:cubicBezTo>
                  <a:cubicBezTo>
                    <a:pt x="299" y="133"/>
                    <a:pt x="299" y="133"/>
                    <a:pt x="299" y="133"/>
                  </a:cubicBezTo>
                  <a:cubicBezTo>
                    <a:pt x="299" y="132"/>
                    <a:pt x="299" y="132"/>
                    <a:pt x="299" y="132"/>
                  </a:cubicBezTo>
                  <a:cubicBezTo>
                    <a:pt x="301" y="127"/>
                    <a:pt x="301" y="127"/>
                    <a:pt x="301" y="127"/>
                  </a:cubicBezTo>
                  <a:cubicBezTo>
                    <a:pt x="302" y="126"/>
                    <a:pt x="302" y="126"/>
                    <a:pt x="302" y="126"/>
                  </a:cubicBezTo>
                  <a:cubicBezTo>
                    <a:pt x="302" y="125"/>
                    <a:pt x="302" y="125"/>
                    <a:pt x="302" y="125"/>
                  </a:cubicBezTo>
                  <a:cubicBezTo>
                    <a:pt x="304" y="123"/>
                    <a:pt x="304" y="123"/>
                    <a:pt x="304" y="123"/>
                  </a:cubicBezTo>
                  <a:cubicBezTo>
                    <a:pt x="304" y="122"/>
                    <a:pt x="304" y="122"/>
                    <a:pt x="304" y="122"/>
                  </a:cubicBezTo>
                  <a:cubicBezTo>
                    <a:pt x="304" y="119"/>
                    <a:pt x="304" y="119"/>
                    <a:pt x="304" y="119"/>
                  </a:cubicBezTo>
                  <a:cubicBezTo>
                    <a:pt x="304" y="115"/>
                    <a:pt x="304" y="115"/>
                    <a:pt x="304" y="115"/>
                  </a:cubicBezTo>
                  <a:cubicBezTo>
                    <a:pt x="303" y="114"/>
                    <a:pt x="303" y="114"/>
                    <a:pt x="303" y="114"/>
                  </a:cubicBezTo>
                  <a:cubicBezTo>
                    <a:pt x="303" y="114"/>
                    <a:pt x="303" y="114"/>
                    <a:pt x="303" y="114"/>
                  </a:cubicBezTo>
                  <a:cubicBezTo>
                    <a:pt x="303" y="113"/>
                    <a:pt x="303" y="113"/>
                    <a:pt x="303" y="113"/>
                  </a:cubicBezTo>
                  <a:cubicBezTo>
                    <a:pt x="303" y="113"/>
                    <a:pt x="303" y="113"/>
                    <a:pt x="303" y="113"/>
                  </a:cubicBezTo>
                  <a:cubicBezTo>
                    <a:pt x="302" y="113"/>
                    <a:pt x="302" y="113"/>
                    <a:pt x="302" y="112"/>
                  </a:cubicBezTo>
                  <a:cubicBezTo>
                    <a:pt x="302" y="112"/>
                    <a:pt x="302" y="112"/>
                    <a:pt x="302" y="112"/>
                  </a:cubicBezTo>
                  <a:cubicBezTo>
                    <a:pt x="301" y="110"/>
                    <a:pt x="301" y="110"/>
                    <a:pt x="301" y="110"/>
                  </a:cubicBezTo>
                  <a:cubicBezTo>
                    <a:pt x="301" y="110"/>
                    <a:pt x="301" y="110"/>
                    <a:pt x="301" y="110"/>
                  </a:cubicBezTo>
                  <a:cubicBezTo>
                    <a:pt x="301" y="110"/>
                    <a:pt x="301" y="110"/>
                    <a:pt x="301" y="110"/>
                  </a:cubicBezTo>
                  <a:cubicBezTo>
                    <a:pt x="301" y="110"/>
                    <a:pt x="301" y="110"/>
                    <a:pt x="301" y="110"/>
                  </a:cubicBezTo>
                  <a:cubicBezTo>
                    <a:pt x="301" y="109"/>
                    <a:pt x="301" y="109"/>
                    <a:pt x="301" y="109"/>
                  </a:cubicBezTo>
                  <a:cubicBezTo>
                    <a:pt x="297" y="103"/>
                    <a:pt x="297" y="103"/>
                    <a:pt x="297" y="103"/>
                  </a:cubicBezTo>
                  <a:cubicBezTo>
                    <a:pt x="297" y="102"/>
                    <a:pt x="297" y="102"/>
                    <a:pt x="297" y="102"/>
                  </a:cubicBezTo>
                  <a:cubicBezTo>
                    <a:pt x="297" y="100"/>
                    <a:pt x="297" y="100"/>
                    <a:pt x="297" y="100"/>
                  </a:cubicBezTo>
                  <a:cubicBezTo>
                    <a:pt x="297" y="100"/>
                    <a:pt x="297" y="100"/>
                    <a:pt x="297" y="99"/>
                  </a:cubicBezTo>
                  <a:cubicBezTo>
                    <a:pt x="298" y="98"/>
                    <a:pt x="298" y="98"/>
                    <a:pt x="298" y="98"/>
                  </a:cubicBezTo>
                  <a:cubicBezTo>
                    <a:pt x="298" y="98"/>
                    <a:pt x="298" y="98"/>
                    <a:pt x="298" y="98"/>
                  </a:cubicBezTo>
                  <a:cubicBezTo>
                    <a:pt x="298" y="97"/>
                    <a:pt x="298" y="97"/>
                    <a:pt x="298" y="97"/>
                  </a:cubicBezTo>
                  <a:cubicBezTo>
                    <a:pt x="298" y="97"/>
                    <a:pt x="298" y="97"/>
                    <a:pt x="298" y="97"/>
                  </a:cubicBezTo>
                  <a:cubicBezTo>
                    <a:pt x="298" y="96"/>
                    <a:pt x="298" y="96"/>
                    <a:pt x="298" y="96"/>
                  </a:cubicBezTo>
                  <a:cubicBezTo>
                    <a:pt x="298" y="96"/>
                    <a:pt x="298" y="96"/>
                    <a:pt x="298" y="96"/>
                  </a:cubicBezTo>
                  <a:cubicBezTo>
                    <a:pt x="297" y="95"/>
                    <a:pt x="297" y="95"/>
                    <a:pt x="297" y="95"/>
                  </a:cubicBezTo>
                  <a:cubicBezTo>
                    <a:pt x="297" y="94"/>
                    <a:pt x="297" y="94"/>
                    <a:pt x="297" y="94"/>
                  </a:cubicBezTo>
                  <a:cubicBezTo>
                    <a:pt x="297" y="94"/>
                    <a:pt x="297" y="94"/>
                    <a:pt x="297" y="94"/>
                  </a:cubicBezTo>
                  <a:cubicBezTo>
                    <a:pt x="297" y="94"/>
                    <a:pt x="296" y="94"/>
                    <a:pt x="296" y="94"/>
                  </a:cubicBezTo>
                  <a:cubicBezTo>
                    <a:pt x="296" y="93"/>
                    <a:pt x="296" y="93"/>
                    <a:pt x="296" y="93"/>
                  </a:cubicBezTo>
                  <a:cubicBezTo>
                    <a:pt x="296" y="93"/>
                    <a:pt x="297" y="93"/>
                    <a:pt x="297" y="93"/>
                  </a:cubicBezTo>
                  <a:cubicBezTo>
                    <a:pt x="297" y="92"/>
                    <a:pt x="297" y="92"/>
                    <a:pt x="297" y="92"/>
                  </a:cubicBezTo>
                  <a:cubicBezTo>
                    <a:pt x="297" y="92"/>
                    <a:pt x="297" y="91"/>
                    <a:pt x="297" y="91"/>
                  </a:cubicBezTo>
                  <a:cubicBezTo>
                    <a:pt x="298" y="91"/>
                    <a:pt x="298" y="91"/>
                    <a:pt x="298" y="91"/>
                  </a:cubicBezTo>
                  <a:cubicBezTo>
                    <a:pt x="298" y="90"/>
                    <a:pt x="298" y="90"/>
                    <a:pt x="298" y="90"/>
                  </a:cubicBezTo>
                  <a:cubicBezTo>
                    <a:pt x="298" y="90"/>
                    <a:pt x="298" y="90"/>
                    <a:pt x="298" y="90"/>
                  </a:cubicBezTo>
                  <a:cubicBezTo>
                    <a:pt x="299" y="86"/>
                    <a:pt x="299" y="86"/>
                    <a:pt x="299" y="86"/>
                  </a:cubicBezTo>
                  <a:cubicBezTo>
                    <a:pt x="299" y="86"/>
                    <a:pt x="299" y="86"/>
                    <a:pt x="299" y="86"/>
                  </a:cubicBezTo>
                  <a:cubicBezTo>
                    <a:pt x="299" y="85"/>
                    <a:pt x="299" y="85"/>
                    <a:pt x="299" y="85"/>
                  </a:cubicBezTo>
                  <a:cubicBezTo>
                    <a:pt x="299" y="85"/>
                    <a:pt x="299" y="85"/>
                    <a:pt x="299" y="85"/>
                  </a:cubicBezTo>
                  <a:cubicBezTo>
                    <a:pt x="299" y="84"/>
                    <a:pt x="299" y="84"/>
                    <a:pt x="299" y="84"/>
                  </a:cubicBezTo>
                  <a:cubicBezTo>
                    <a:pt x="299" y="82"/>
                    <a:pt x="299" y="82"/>
                    <a:pt x="299" y="82"/>
                  </a:cubicBezTo>
                  <a:cubicBezTo>
                    <a:pt x="299" y="82"/>
                    <a:pt x="299" y="82"/>
                    <a:pt x="299" y="82"/>
                  </a:cubicBezTo>
                  <a:cubicBezTo>
                    <a:pt x="299" y="82"/>
                    <a:pt x="298" y="81"/>
                    <a:pt x="298" y="81"/>
                  </a:cubicBezTo>
                  <a:cubicBezTo>
                    <a:pt x="298" y="80"/>
                    <a:pt x="298" y="80"/>
                    <a:pt x="298" y="80"/>
                  </a:cubicBezTo>
                  <a:cubicBezTo>
                    <a:pt x="298" y="80"/>
                    <a:pt x="299" y="80"/>
                    <a:pt x="299" y="79"/>
                  </a:cubicBezTo>
                  <a:cubicBezTo>
                    <a:pt x="299" y="79"/>
                    <a:pt x="299" y="79"/>
                    <a:pt x="299" y="79"/>
                  </a:cubicBezTo>
                  <a:cubicBezTo>
                    <a:pt x="299" y="79"/>
                    <a:pt x="299" y="79"/>
                    <a:pt x="299" y="78"/>
                  </a:cubicBezTo>
                  <a:cubicBezTo>
                    <a:pt x="299" y="78"/>
                    <a:pt x="299" y="77"/>
                    <a:pt x="299" y="77"/>
                  </a:cubicBezTo>
                  <a:cubicBezTo>
                    <a:pt x="299" y="77"/>
                    <a:pt x="299" y="77"/>
                    <a:pt x="299" y="77"/>
                  </a:cubicBezTo>
                  <a:cubicBezTo>
                    <a:pt x="299" y="77"/>
                    <a:pt x="299" y="77"/>
                    <a:pt x="299" y="77"/>
                  </a:cubicBezTo>
                  <a:cubicBezTo>
                    <a:pt x="300" y="76"/>
                    <a:pt x="300" y="76"/>
                    <a:pt x="300" y="76"/>
                  </a:cubicBezTo>
                  <a:cubicBezTo>
                    <a:pt x="300" y="76"/>
                    <a:pt x="300" y="76"/>
                    <a:pt x="300" y="76"/>
                  </a:cubicBezTo>
                  <a:cubicBezTo>
                    <a:pt x="300" y="76"/>
                    <a:pt x="300" y="76"/>
                    <a:pt x="300" y="76"/>
                  </a:cubicBezTo>
                  <a:cubicBezTo>
                    <a:pt x="300" y="75"/>
                    <a:pt x="300" y="75"/>
                    <a:pt x="300" y="75"/>
                  </a:cubicBezTo>
                  <a:cubicBezTo>
                    <a:pt x="300" y="75"/>
                    <a:pt x="300" y="75"/>
                    <a:pt x="300" y="75"/>
                  </a:cubicBezTo>
                  <a:cubicBezTo>
                    <a:pt x="299" y="75"/>
                    <a:pt x="299" y="74"/>
                    <a:pt x="299" y="74"/>
                  </a:cubicBezTo>
                  <a:cubicBezTo>
                    <a:pt x="299" y="73"/>
                    <a:pt x="299" y="73"/>
                    <a:pt x="299" y="73"/>
                  </a:cubicBezTo>
                  <a:cubicBezTo>
                    <a:pt x="299" y="73"/>
                    <a:pt x="299" y="73"/>
                    <a:pt x="300" y="72"/>
                  </a:cubicBezTo>
                  <a:cubicBezTo>
                    <a:pt x="300" y="72"/>
                    <a:pt x="300" y="72"/>
                    <a:pt x="300" y="72"/>
                  </a:cubicBezTo>
                  <a:cubicBezTo>
                    <a:pt x="300" y="72"/>
                    <a:pt x="300" y="72"/>
                    <a:pt x="300" y="72"/>
                  </a:cubicBezTo>
                  <a:cubicBezTo>
                    <a:pt x="300" y="72"/>
                    <a:pt x="300" y="72"/>
                    <a:pt x="300" y="72"/>
                  </a:cubicBezTo>
                  <a:cubicBezTo>
                    <a:pt x="300" y="72"/>
                    <a:pt x="300" y="72"/>
                    <a:pt x="300" y="72"/>
                  </a:cubicBezTo>
                  <a:cubicBezTo>
                    <a:pt x="300" y="72"/>
                    <a:pt x="300" y="71"/>
                    <a:pt x="300" y="71"/>
                  </a:cubicBezTo>
                  <a:cubicBezTo>
                    <a:pt x="300" y="71"/>
                    <a:pt x="300" y="71"/>
                    <a:pt x="300" y="71"/>
                  </a:cubicBezTo>
                  <a:cubicBezTo>
                    <a:pt x="300" y="71"/>
                    <a:pt x="300" y="70"/>
                    <a:pt x="301" y="70"/>
                  </a:cubicBezTo>
                  <a:cubicBezTo>
                    <a:pt x="301" y="70"/>
                    <a:pt x="301" y="70"/>
                    <a:pt x="301" y="70"/>
                  </a:cubicBezTo>
                  <a:cubicBezTo>
                    <a:pt x="301" y="70"/>
                    <a:pt x="302" y="69"/>
                    <a:pt x="302" y="69"/>
                  </a:cubicBezTo>
                  <a:cubicBezTo>
                    <a:pt x="302" y="69"/>
                    <a:pt x="302" y="70"/>
                    <a:pt x="302" y="70"/>
                  </a:cubicBezTo>
                  <a:cubicBezTo>
                    <a:pt x="302" y="70"/>
                    <a:pt x="302" y="69"/>
                    <a:pt x="302" y="69"/>
                  </a:cubicBezTo>
                  <a:cubicBezTo>
                    <a:pt x="303" y="69"/>
                    <a:pt x="303" y="69"/>
                    <a:pt x="303" y="69"/>
                  </a:cubicBezTo>
                  <a:cubicBezTo>
                    <a:pt x="303" y="69"/>
                    <a:pt x="303" y="69"/>
                    <a:pt x="303" y="69"/>
                  </a:cubicBezTo>
                  <a:cubicBezTo>
                    <a:pt x="303" y="69"/>
                    <a:pt x="303" y="68"/>
                    <a:pt x="304" y="68"/>
                  </a:cubicBezTo>
                  <a:cubicBezTo>
                    <a:pt x="304" y="68"/>
                    <a:pt x="304" y="68"/>
                    <a:pt x="304" y="68"/>
                  </a:cubicBezTo>
                  <a:cubicBezTo>
                    <a:pt x="305" y="68"/>
                    <a:pt x="305" y="68"/>
                    <a:pt x="306" y="68"/>
                  </a:cubicBezTo>
                  <a:cubicBezTo>
                    <a:pt x="306" y="68"/>
                    <a:pt x="306" y="68"/>
                    <a:pt x="306" y="69"/>
                  </a:cubicBezTo>
                  <a:cubicBezTo>
                    <a:pt x="306" y="69"/>
                    <a:pt x="306" y="69"/>
                    <a:pt x="306" y="69"/>
                  </a:cubicBezTo>
                  <a:cubicBezTo>
                    <a:pt x="307" y="69"/>
                    <a:pt x="307" y="69"/>
                    <a:pt x="307" y="69"/>
                  </a:cubicBezTo>
                  <a:cubicBezTo>
                    <a:pt x="307" y="68"/>
                    <a:pt x="307" y="68"/>
                    <a:pt x="307" y="68"/>
                  </a:cubicBezTo>
                  <a:cubicBezTo>
                    <a:pt x="307" y="68"/>
                    <a:pt x="308" y="68"/>
                    <a:pt x="308" y="68"/>
                  </a:cubicBezTo>
                  <a:cubicBezTo>
                    <a:pt x="308" y="68"/>
                    <a:pt x="308" y="68"/>
                    <a:pt x="308" y="68"/>
                  </a:cubicBezTo>
                  <a:cubicBezTo>
                    <a:pt x="309" y="68"/>
                    <a:pt x="309" y="68"/>
                    <a:pt x="309" y="69"/>
                  </a:cubicBezTo>
                  <a:cubicBezTo>
                    <a:pt x="309" y="70"/>
                    <a:pt x="309" y="70"/>
                    <a:pt x="309" y="70"/>
                  </a:cubicBezTo>
                  <a:cubicBezTo>
                    <a:pt x="309" y="70"/>
                    <a:pt x="309" y="70"/>
                    <a:pt x="309" y="70"/>
                  </a:cubicBezTo>
                  <a:cubicBezTo>
                    <a:pt x="309" y="70"/>
                    <a:pt x="309" y="70"/>
                    <a:pt x="309" y="70"/>
                  </a:cubicBezTo>
                  <a:cubicBezTo>
                    <a:pt x="309" y="70"/>
                    <a:pt x="309" y="70"/>
                    <a:pt x="309" y="70"/>
                  </a:cubicBezTo>
                  <a:cubicBezTo>
                    <a:pt x="309" y="69"/>
                    <a:pt x="309" y="69"/>
                    <a:pt x="309" y="69"/>
                  </a:cubicBezTo>
                  <a:cubicBezTo>
                    <a:pt x="310" y="68"/>
                    <a:pt x="310" y="68"/>
                    <a:pt x="310" y="68"/>
                  </a:cubicBezTo>
                  <a:cubicBezTo>
                    <a:pt x="309" y="67"/>
                    <a:pt x="309" y="67"/>
                    <a:pt x="309" y="67"/>
                  </a:cubicBezTo>
                  <a:cubicBezTo>
                    <a:pt x="309" y="67"/>
                    <a:pt x="310" y="66"/>
                    <a:pt x="310" y="66"/>
                  </a:cubicBezTo>
                  <a:cubicBezTo>
                    <a:pt x="310" y="66"/>
                    <a:pt x="310" y="66"/>
                    <a:pt x="310" y="66"/>
                  </a:cubicBezTo>
                  <a:cubicBezTo>
                    <a:pt x="310" y="64"/>
                    <a:pt x="310" y="64"/>
                    <a:pt x="310" y="64"/>
                  </a:cubicBezTo>
                  <a:cubicBezTo>
                    <a:pt x="311" y="63"/>
                    <a:pt x="311" y="63"/>
                    <a:pt x="311" y="63"/>
                  </a:cubicBezTo>
                  <a:cubicBezTo>
                    <a:pt x="311" y="63"/>
                    <a:pt x="311" y="63"/>
                    <a:pt x="311" y="62"/>
                  </a:cubicBezTo>
                  <a:cubicBezTo>
                    <a:pt x="312" y="61"/>
                    <a:pt x="312" y="61"/>
                    <a:pt x="312" y="61"/>
                  </a:cubicBezTo>
                  <a:cubicBezTo>
                    <a:pt x="311" y="61"/>
                    <a:pt x="311" y="61"/>
                    <a:pt x="311" y="61"/>
                  </a:cubicBezTo>
                  <a:cubicBezTo>
                    <a:pt x="311" y="61"/>
                    <a:pt x="311" y="61"/>
                    <a:pt x="311" y="61"/>
                  </a:cubicBezTo>
                  <a:cubicBezTo>
                    <a:pt x="311" y="60"/>
                    <a:pt x="311" y="60"/>
                    <a:pt x="311" y="60"/>
                  </a:cubicBezTo>
                  <a:cubicBezTo>
                    <a:pt x="311" y="59"/>
                    <a:pt x="310" y="59"/>
                    <a:pt x="310" y="59"/>
                  </a:cubicBezTo>
                  <a:cubicBezTo>
                    <a:pt x="310" y="59"/>
                    <a:pt x="310" y="59"/>
                    <a:pt x="310" y="59"/>
                  </a:cubicBezTo>
                  <a:cubicBezTo>
                    <a:pt x="310" y="58"/>
                    <a:pt x="311" y="58"/>
                    <a:pt x="311" y="58"/>
                  </a:cubicBezTo>
                  <a:cubicBezTo>
                    <a:pt x="311" y="58"/>
                    <a:pt x="311" y="58"/>
                    <a:pt x="311" y="58"/>
                  </a:cubicBezTo>
                  <a:cubicBezTo>
                    <a:pt x="311" y="57"/>
                    <a:pt x="311" y="57"/>
                    <a:pt x="311" y="57"/>
                  </a:cubicBezTo>
                  <a:cubicBezTo>
                    <a:pt x="311" y="57"/>
                    <a:pt x="311" y="57"/>
                    <a:pt x="311" y="56"/>
                  </a:cubicBezTo>
                  <a:cubicBezTo>
                    <a:pt x="311" y="56"/>
                    <a:pt x="311" y="56"/>
                    <a:pt x="311" y="56"/>
                  </a:cubicBezTo>
                  <a:cubicBezTo>
                    <a:pt x="311" y="56"/>
                    <a:pt x="312" y="55"/>
                    <a:pt x="312" y="55"/>
                  </a:cubicBezTo>
                  <a:cubicBezTo>
                    <a:pt x="312" y="55"/>
                    <a:pt x="312" y="55"/>
                    <a:pt x="312" y="55"/>
                  </a:cubicBezTo>
                  <a:cubicBezTo>
                    <a:pt x="312" y="54"/>
                    <a:pt x="313" y="54"/>
                    <a:pt x="313" y="54"/>
                  </a:cubicBezTo>
                  <a:cubicBezTo>
                    <a:pt x="313" y="54"/>
                    <a:pt x="313" y="54"/>
                    <a:pt x="313" y="54"/>
                  </a:cubicBezTo>
                  <a:cubicBezTo>
                    <a:pt x="313" y="54"/>
                    <a:pt x="313" y="54"/>
                    <a:pt x="313" y="53"/>
                  </a:cubicBezTo>
                  <a:cubicBezTo>
                    <a:pt x="313" y="53"/>
                    <a:pt x="314" y="53"/>
                    <a:pt x="314" y="53"/>
                  </a:cubicBezTo>
                  <a:cubicBezTo>
                    <a:pt x="313" y="53"/>
                    <a:pt x="313" y="53"/>
                    <a:pt x="313" y="53"/>
                  </a:cubicBezTo>
                  <a:cubicBezTo>
                    <a:pt x="312" y="53"/>
                    <a:pt x="312" y="53"/>
                    <a:pt x="312" y="53"/>
                  </a:cubicBezTo>
                  <a:cubicBezTo>
                    <a:pt x="312" y="53"/>
                    <a:pt x="312" y="53"/>
                    <a:pt x="312" y="53"/>
                  </a:cubicBezTo>
                  <a:cubicBezTo>
                    <a:pt x="311" y="53"/>
                    <a:pt x="311" y="53"/>
                    <a:pt x="311" y="53"/>
                  </a:cubicBezTo>
                  <a:cubicBezTo>
                    <a:pt x="310" y="53"/>
                    <a:pt x="310" y="53"/>
                    <a:pt x="310" y="53"/>
                  </a:cubicBezTo>
                  <a:cubicBezTo>
                    <a:pt x="309" y="53"/>
                    <a:pt x="309" y="53"/>
                    <a:pt x="309" y="52"/>
                  </a:cubicBezTo>
                  <a:cubicBezTo>
                    <a:pt x="308" y="52"/>
                    <a:pt x="308" y="52"/>
                    <a:pt x="308" y="52"/>
                  </a:cubicBezTo>
                  <a:cubicBezTo>
                    <a:pt x="307" y="53"/>
                    <a:pt x="307" y="53"/>
                    <a:pt x="307" y="53"/>
                  </a:cubicBezTo>
                  <a:cubicBezTo>
                    <a:pt x="307" y="53"/>
                    <a:pt x="307" y="53"/>
                    <a:pt x="307" y="53"/>
                  </a:cubicBezTo>
                  <a:cubicBezTo>
                    <a:pt x="306" y="53"/>
                    <a:pt x="306" y="53"/>
                    <a:pt x="306" y="53"/>
                  </a:cubicBezTo>
                  <a:cubicBezTo>
                    <a:pt x="306" y="53"/>
                    <a:pt x="306" y="53"/>
                    <a:pt x="306" y="53"/>
                  </a:cubicBezTo>
                  <a:cubicBezTo>
                    <a:pt x="306" y="54"/>
                    <a:pt x="306" y="54"/>
                    <a:pt x="306" y="54"/>
                  </a:cubicBezTo>
                  <a:cubicBezTo>
                    <a:pt x="306" y="54"/>
                    <a:pt x="306" y="54"/>
                    <a:pt x="306" y="54"/>
                  </a:cubicBezTo>
                  <a:cubicBezTo>
                    <a:pt x="306" y="55"/>
                    <a:pt x="306" y="55"/>
                    <a:pt x="305" y="55"/>
                  </a:cubicBezTo>
                  <a:cubicBezTo>
                    <a:pt x="303" y="55"/>
                    <a:pt x="303" y="55"/>
                    <a:pt x="303" y="55"/>
                  </a:cubicBezTo>
                  <a:cubicBezTo>
                    <a:pt x="302" y="56"/>
                    <a:pt x="302" y="56"/>
                    <a:pt x="302" y="56"/>
                  </a:cubicBezTo>
                  <a:cubicBezTo>
                    <a:pt x="302" y="56"/>
                    <a:pt x="302" y="56"/>
                    <a:pt x="302" y="56"/>
                  </a:cubicBezTo>
                  <a:cubicBezTo>
                    <a:pt x="302" y="56"/>
                    <a:pt x="301" y="56"/>
                    <a:pt x="301" y="56"/>
                  </a:cubicBezTo>
                  <a:cubicBezTo>
                    <a:pt x="300" y="56"/>
                    <a:pt x="300" y="56"/>
                    <a:pt x="300" y="56"/>
                  </a:cubicBezTo>
                  <a:cubicBezTo>
                    <a:pt x="299" y="56"/>
                    <a:pt x="299" y="56"/>
                    <a:pt x="299" y="56"/>
                  </a:cubicBezTo>
                  <a:cubicBezTo>
                    <a:pt x="297" y="57"/>
                    <a:pt x="297" y="57"/>
                    <a:pt x="297" y="57"/>
                  </a:cubicBezTo>
                  <a:cubicBezTo>
                    <a:pt x="297" y="58"/>
                    <a:pt x="297" y="58"/>
                    <a:pt x="297" y="58"/>
                  </a:cubicBezTo>
                  <a:cubicBezTo>
                    <a:pt x="297" y="58"/>
                    <a:pt x="297" y="58"/>
                    <a:pt x="297" y="58"/>
                  </a:cubicBezTo>
                  <a:cubicBezTo>
                    <a:pt x="296" y="59"/>
                    <a:pt x="296" y="59"/>
                    <a:pt x="296" y="59"/>
                  </a:cubicBezTo>
                  <a:cubicBezTo>
                    <a:pt x="296" y="59"/>
                    <a:pt x="296" y="60"/>
                    <a:pt x="296" y="60"/>
                  </a:cubicBezTo>
                  <a:cubicBezTo>
                    <a:pt x="296" y="60"/>
                    <a:pt x="295" y="60"/>
                    <a:pt x="295" y="60"/>
                  </a:cubicBezTo>
                  <a:cubicBezTo>
                    <a:pt x="295" y="61"/>
                    <a:pt x="295" y="61"/>
                    <a:pt x="294" y="61"/>
                  </a:cubicBezTo>
                  <a:cubicBezTo>
                    <a:pt x="294" y="61"/>
                    <a:pt x="294" y="61"/>
                    <a:pt x="294" y="61"/>
                  </a:cubicBezTo>
                  <a:cubicBezTo>
                    <a:pt x="294" y="61"/>
                    <a:pt x="294" y="62"/>
                    <a:pt x="294" y="62"/>
                  </a:cubicBezTo>
                  <a:cubicBezTo>
                    <a:pt x="294" y="62"/>
                    <a:pt x="294" y="62"/>
                    <a:pt x="294" y="62"/>
                  </a:cubicBezTo>
                  <a:cubicBezTo>
                    <a:pt x="294" y="62"/>
                    <a:pt x="293" y="62"/>
                    <a:pt x="293" y="63"/>
                  </a:cubicBezTo>
                  <a:cubicBezTo>
                    <a:pt x="293" y="63"/>
                    <a:pt x="294" y="63"/>
                    <a:pt x="294" y="63"/>
                  </a:cubicBezTo>
                  <a:cubicBezTo>
                    <a:pt x="294" y="63"/>
                    <a:pt x="294" y="63"/>
                    <a:pt x="294" y="63"/>
                  </a:cubicBezTo>
                  <a:cubicBezTo>
                    <a:pt x="294" y="64"/>
                    <a:pt x="293" y="64"/>
                    <a:pt x="292" y="64"/>
                  </a:cubicBezTo>
                  <a:cubicBezTo>
                    <a:pt x="292" y="64"/>
                    <a:pt x="292" y="64"/>
                    <a:pt x="292" y="64"/>
                  </a:cubicBezTo>
                  <a:cubicBezTo>
                    <a:pt x="291" y="64"/>
                    <a:pt x="291" y="64"/>
                    <a:pt x="291" y="64"/>
                  </a:cubicBezTo>
                  <a:cubicBezTo>
                    <a:pt x="291" y="64"/>
                    <a:pt x="291" y="64"/>
                    <a:pt x="291" y="63"/>
                  </a:cubicBezTo>
                  <a:cubicBezTo>
                    <a:pt x="291" y="63"/>
                    <a:pt x="290" y="63"/>
                    <a:pt x="290" y="63"/>
                  </a:cubicBezTo>
                  <a:cubicBezTo>
                    <a:pt x="290" y="63"/>
                    <a:pt x="290" y="63"/>
                    <a:pt x="290" y="62"/>
                  </a:cubicBezTo>
                  <a:cubicBezTo>
                    <a:pt x="290" y="62"/>
                    <a:pt x="290" y="62"/>
                    <a:pt x="290" y="62"/>
                  </a:cubicBezTo>
                  <a:cubicBezTo>
                    <a:pt x="290" y="61"/>
                    <a:pt x="290" y="61"/>
                    <a:pt x="290" y="61"/>
                  </a:cubicBezTo>
                  <a:cubicBezTo>
                    <a:pt x="290" y="61"/>
                    <a:pt x="290" y="61"/>
                    <a:pt x="290" y="61"/>
                  </a:cubicBezTo>
                  <a:cubicBezTo>
                    <a:pt x="290" y="60"/>
                    <a:pt x="290" y="60"/>
                    <a:pt x="291" y="60"/>
                  </a:cubicBezTo>
                  <a:cubicBezTo>
                    <a:pt x="291" y="60"/>
                    <a:pt x="290" y="60"/>
                    <a:pt x="290" y="60"/>
                  </a:cubicBezTo>
                  <a:cubicBezTo>
                    <a:pt x="290" y="61"/>
                    <a:pt x="290" y="61"/>
                    <a:pt x="290" y="61"/>
                  </a:cubicBezTo>
                  <a:cubicBezTo>
                    <a:pt x="290" y="61"/>
                    <a:pt x="290" y="61"/>
                    <a:pt x="290" y="61"/>
                  </a:cubicBezTo>
                  <a:cubicBezTo>
                    <a:pt x="290" y="62"/>
                    <a:pt x="290" y="62"/>
                    <a:pt x="289" y="62"/>
                  </a:cubicBezTo>
                  <a:cubicBezTo>
                    <a:pt x="289" y="63"/>
                    <a:pt x="289" y="63"/>
                    <a:pt x="288" y="63"/>
                  </a:cubicBezTo>
                  <a:cubicBezTo>
                    <a:pt x="288" y="63"/>
                    <a:pt x="288" y="63"/>
                    <a:pt x="288" y="63"/>
                  </a:cubicBezTo>
                  <a:cubicBezTo>
                    <a:pt x="288" y="63"/>
                    <a:pt x="288" y="63"/>
                    <a:pt x="288" y="63"/>
                  </a:cubicBezTo>
                  <a:cubicBezTo>
                    <a:pt x="288" y="63"/>
                    <a:pt x="288" y="63"/>
                    <a:pt x="287" y="63"/>
                  </a:cubicBezTo>
                  <a:cubicBezTo>
                    <a:pt x="287" y="63"/>
                    <a:pt x="287" y="63"/>
                    <a:pt x="287" y="63"/>
                  </a:cubicBezTo>
                  <a:cubicBezTo>
                    <a:pt x="287" y="63"/>
                    <a:pt x="286" y="63"/>
                    <a:pt x="286" y="63"/>
                  </a:cubicBezTo>
                  <a:cubicBezTo>
                    <a:pt x="286" y="63"/>
                    <a:pt x="286" y="63"/>
                    <a:pt x="286" y="63"/>
                  </a:cubicBezTo>
                  <a:cubicBezTo>
                    <a:pt x="286" y="64"/>
                    <a:pt x="286" y="64"/>
                    <a:pt x="286" y="64"/>
                  </a:cubicBezTo>
                  <a:cubicBezTo>
                    <a:pt x="285" y="64"/>
                    <a:pt x="285" y="64"/>
                    <a:pt x="285" y="64"/>
                  </a:cubicBezTo>
                  <a:cubicBezTo>
                    <a:pt x="285" y="65"/>
                    <a:pt x="285" y="65"/>
                    <a:pt x="285" y="65"/>
                  </a:cubicBezTo>
                  <a:cubicBezTo>
                    <a:pt x="284" y="66"/>
                    <a:pt x="284" y="66"/>
                    <a:pt x="284" y="66"/>
                  </a:cubicBezTo>
                  <a:cubicBezTo>
                    <a:pt x="284" y="67"/>
                    <a:pt x="284" y="67"/>
                    <a:pt x="284" y="67"/>
                  </a:cubicBezTo>
                  <a:cubicBezTo>
                    <a:pt x="284" y="67"/>
                    <a:pt x="284" y="67"/>
                    <a:pt x="284" y="67"/>
                  </a:cubicBezTo>
                  <a:cubicBezTo>
                    <a:pt x="284" y="68"/>
                    <a:pt x="284" y="68"/>
                    <a:pt x="284" y="68"/>
                  </a:cubicBezTo>
                  <a:cubicBezTo>
                    <a:pt x="284" y="69"/>
                    <a:pt x="284" y="69"/>
                    <a:pt x="284" y="69"/>
                  </a:cubicBezTo>
                  <a:cubicBezTo>
                    <a:pt x="281" y="73"/>
                    <a:pt x="281" y="73"/>
                    <a:pt x="281" y="73"/>
                  </a:cubicBezTo>
                  <a:cubicBezTo>
                    <a:pt x="281" y="74"/>
                    <a:pt x="281" y="74"/>
                    <a:pt x="281" y="74"/>
                  </a:cubicBezTo>
                  <a:cubicBezTo>
                    <a:pt x="281" y="74"/>
                    <a:pt x="281" y="74"/>
                    <a:pt x="281" y="74"/>
                  </a:cubicBezTo>
                  <a:cubicBezTo>
                    <a:pt x="281" y="74"/>
                    <a:pt x="281" y="74"/>
                    <a:pt x="281" y="74"/>
                  </a:cubicBezTo>
                  <a:cubicBezTo>
                    <a:pt x="281" y="75"/>
                    <a:pt x="281" y="75"/>
                    <a:pt x="281" y="75"/>
                  </a:cubicBezTo>
                  <a:cubicBezTo>
                    <a:pt x="281" y="75"/>
                    <a:pt x="281" y="76"/>
                    <a:pt x="281" y="76"/>
                  </a:cubicBezTo>
                  <a:cubicBezTo>
                    <a:pt x="280" y="76"/>
                    <a:pt x="280" y="76"/>
                    <a:pt x="280" y="76"/>
                  </a:cubicBezTo>
                  <a:cubicBezTo>
                    <a:pt x="280" y="76"/>
                    <a:pt x="280" y="77"/>
                    <a:pt x="280" y="77"/>
                  </a:cubicBezTo>
                  <a:cubicBezTo>
                    <a:pt x="280" y="77"/>
                    <a:pt x="280" y="77"/>
                    <a:pt x="280" y="77"/>
                  </a:cubicBezTo>
                  <a:cubicBezTo>
                    <a:pt x="280" y="77"/>
                    <a:pt x="281" y="77"/>
                    <a:pt x="281" y="77"/>
                  </a:cubicBezTo>
                  <a:cubicBezTo>
                    <a:pt x="281" y="76"/>
                    <a:pt x="281" y="76"/>
                    <a:pt x="281" y="76"/>
                  </a:cubicBezTo>
                  <a:cubicBezTo>
                    <a:pt x="281" y="75"/>
                    <a:pt x="281" y="75"/>
                    <a:pt x="281" y="75"/>
                  </a:cubicBezTo>
                  <a:cubicBezTo>
                    <a:pt x="281" y="75"/>
                    <a:pt x="281" y="75"/>
                    <a:pt x="281" y="75"/>
                  </a:cubicBezTo>
                  <a:cubicBezTo>
                    <a:pt x="282" y="73"/>
                    <a:pt x="282" y="73"/>
                    <a:pt x="282" y="73"/>
                  </a:cubicBezTo>
                  <a:cubicBezTo>
                    <a:pt x="282" y="73"/>
                    <a:pt x="282" y="73"/>
                    <a:pt x="283" y="73"/>
                  </a:cubicBezTo>
                  <a:cubicBezTo>
                    <a:pt x="283" y="72"/>
                    <a:pt x="283" y="72"/>
                    <a:pt x="283" y="72"/>
                  </a:cubicBezTo>
                  <a:cubicBezTo>
                    <a:pt x="283" y="71"/>
                    <a:pt x="283" y="71"/>
                    <a:pt x="283" y="71"/>
                  </a:cubicBezTo>
                  <a:cubicBezTo>
                    <a:pt x="283" y="71"/>
                    <a:pt x="283" y="70"/>
                    <a:pt x="284" y="70"/>
                  </a:cubicBezTo>
                  <a:cubicBezTo>
                    <a:pt x="284" y="70"/>
                    <a:pt x="284" y="70"/>
                    <a:pt x="284" y="70"/>
                  </a:cubicBezTo>
                  <a:cubicBezTo>
                    <a:pt x="284" y="70"/>
                    <a:pt x="284" y="70"/>
                    <a:pt x="284" y="70"/>
                  </a:cubicBezTo>
                  <a:cubicBezTo>
                    <a:pt x="285" y="70"/>
                    <a:pt x="285" y="70"/>
                    <a:pt x="285" y="70"/>
                  </a:cubicBezTo>
                  <a:cubicBezTo>
                    <a:pt x="285" y="69"/>
                    <a:pt x="285" y="69"/>
                    <a:pt x="285" y="69"/>
                  </a:cubicBezTo>
                  <a:cubicBezTo>
                    <a:pt x="285" y="69"/>
                    <a:pt x="285" y="69"/>
                    <a:pt x="285" y="68"/>
                  </a:cubicBezTo>
                  <a:cubicBezTo>
                    <a:pt x="285" y="68"/>
                    <a:pt x="285" y="68"/>
                    <a:pt x="285" y="68"/>
                  </a:cubicBezTo>
                  <a:cubicBezTo>
                    <a:pt x="285" y="68"/>
                    <a:pt x="285" y="67"/>
                    <a:pt x="286" y="67"/>
                  </a:cubicBezTo>
                  <a:cubicBezTo>
                    <a:pt x="286" y="67"/>
                    <a:pt x="286" y="67"/>
                    <a:pt x="286" y="67"/>
                  </a:cubicBezTo>
                  <a:cubicBezTo>
                    <a:pt x="286" y="66"/>
                    <a:pt x="286" y="66"/>
                    <a:pt x="286" y="66"/>
                  </a:cubicBezTo>
                  <a:cubicBezTo>
                    <a:pt x="286" y="65"/>
                    <a:pt x="287" y="65"/>
                    <a:pt x="287" y="65"/>
                  </a:cubicBezTo>
                  <a:cubicBezTo>
                    <a:pt x="288" y="64"/>
                    <a:pt x="288" y="65"/>
                    <a:pt x="288" y="65"/>
                  </a:cubicBezTo>
                  <a:cubicBezTo>
                    <a:pt x="289" y="65"/>
                    <a:pt x="289" y="65"/>
                    <a:pt x="289" y="65"/>
                  </a:cubicBezTo>
                  <a:cubicBezTo>
                    <a:pt x="290" y="65"/>
                    <a:pt x="290" y="66"/>
                    <a:pt x="290" y="66"/>
                  </a:cubicBezTo>
                  <a:cubicBezTo>
                    <a:pt x="290" y="67"/>
                    <a:pt x="290" y="67"/>
                    <a:pt x="290" y="67"/>
                  </a:cubicBezTo>
                  <a:cubicBezTo>
                    <a:pt x="290" y="68"/>
                    <a:pt x="290" y="68"/>
                    <a:pt x="289" y="68"/>
                  </a:cubicBezTo>
                  <a:cubicBezTo>
                    <a:pt x="289" y="68"/>
                    <a:pt x="289" y="68"/>
                    <a:pt x="289" y="68"/>
                  </a:cubicBezTo>
                  <a:cubicBezTo>
                    <a:pt x="289" y="69"/>
                    <a:pt x="289" y="69"/>
                    <a:pt x="289" y="69"/>
                  </a:cubicBezTo>
                  <a:cubicBezTo>
                    <a:pt x="289" y="70"/>
                    <a:pt x="289" y="70"/>
                    <a:pt x="289" y="70"/>
                  </a:cubicBezTo>
                  <a:cubicBezTo>
                    <a:pt x="289" y="70"/>
                    <a:pt x="288" y="70"/>
                    <a:pt x="288" y="71"/>
                  </a:cubicBezTo>
                  <a:cubicBezTo>
                    <a:pt x="288" y="71"/>
                    <a:pt x="288" y="71"/>
                    <a:pt x="288" y="71"/>
                  </a:cubicBezTo>
                  <a:cubicBezTo>
                    <a:pt x="288" y="71"/>
                    <a:pt x="288" y="71"/>
                    <a:pt x="288" y="71"/>
                  </a:cubicBezTo>
                  <a:cubicBezTo>
                    <a:pt x="288" y="72"/>
                    <a:pt x="288" y="72"/>
                    <a:pt x="288" y="72"/>
                  </a:cubicBezTo>
                  <a:cubicBezTo>
                    <a:pt x="288" y="72"/>
                    <a:pt x="288" y="73"/>
                    <a:pt x="288" y="73"/>
                  </a:cubicBezTo>
                  <a:cubicBezTo>
                    <a:pt x="288" y="73"/>
                    <a:pt x="288" y="73"/>
                    <a:pt x="288" y="73"/>
                  </a:cubicBezTo>
                  <a:cubicBezTo>
                    <a:pt x="288" y="74"/>
                    <a:pt x="287" y="74"/>
                    <a:pt x="287" y="74"/>
                  </a:cubicBezTo>
                  <a:cubicBezTo>
                    <a:pt x="286" y="75"/>
                    <a:pt x="286" y="75"/>
                    <a:pt x="286" y="75"/>
                  </a:cubicBezTo>
                  <a:cubicBezTo>
                    <a:pt x="286" y="75"/>
                    <a:pt x="286" y="75"/>
                    <a:pt x="286" y="75"/>
                  </a:cubicBezTo>
                  <a:cubicBezTo>
                    <a:pt x="286" y="76"/>
                    <a:pt x="286" y="76"/>
                    <a:pt x="286" y="76"/>
                  </a:cubicBezTo>
                  <a:cubicBezTo>
                    <a:pt x="286" y="76"/>
                    <a:pt x="286" y="76"/>
                    <a:pt x="286" y="77"/>
                  </a:cubicBezTo>
                  <a:cubicBezTo>
                    <a:pt x="286" y="77"/>
                    <a:pt x="286" y="77"/>
                    <a:pt x="286" y="77"/>
                  </a:cubicBezTo>
                  <a:cubicBezTo>
                    <a:pt x="286" y="77"/>
                    <a:pt x="286" y="78"/>
                    <a:pt x="286" y="78"/>
                  </a:cubicBezTo>
                  <a:cubicBezTo>
                    <a:pt x="285" y="79"/>
                    <a:pt x="285" y="79"/>
                    <a:pt x="285" y="79"/>
                  </a:cubicBezTo>
                  <a:cubicBezTo>
                    <a:pt x="285" y="79"/>
                    <a:pt x="285" y="79"/>
                    <a:pt x="284" y="79"/>
                  </a:cubicBezTo>
                  <a:cubicBezTo>
                    <a:pt x="284" y="81"/>
                    <a:pt x="284" y="81"/>
                    <a:pt x="284" y="81"/>
                  </a:cubicBezTo>
                  <a:cubicBezTo>
                    <a:pt x="284" y="81"/>
                    <a:pt x="284" y="81"/>
                    <a:pt x="284" y="82"/>
                  </a:cubicBezTo>
                  <a:cubicBezTo>
                    <a:pt x="284" y="82"/>
                    <a:pt x="284" y="82"/>
                    <a:pt x="284" y="82"/>
                  </a:cubicBezTo>
                  <a:cubicBezTo>
                    <a:pt x="284" y="82"/>
                    <a:pt x="284" y="82"/>
                    <a:pt x="284" y="82"/>
                  </a:cubicBezTo>
                  <a:cubicBezTo>
                    <a:pt x="283" y="83"/>
                    <a:pt x="283" y="83"/>
                    <a:pt x="283" y="83"/>
                  </a:cubicBezTo>
                  <a:cubicBezTo>
                    <a:pt x="283" y="83"/>
                    <a:pt x="283" y="83"/>
                    <a:pt x="283" y="83"/>
                  </a:cubicBezTo>
                  <a:cubicBezTo>
                    <a:pt x="283" y="84"/>
                    <a:pt x="283" y="84"/>
                    <a:pt x="283" y="84"/>
                  </a:cubicBezTo>
                  <a:cubicBezTo>
                    <a:pt x="283" y="87"/>
                    <a:pt x="283" y="87"/>
                    <a:pt x="283" y="87"/>
                  </a:cubicBezTo>
                  <a:cubicBezTo>
                    <a:pt x="283" y="87"/>
                    <a:pt x="283" y="87"/>
                    <a:pt x="283" y="87"/>
                  </a:cubicBezTo>
                  <a:cubicBezTo>
                    <a:pt x="283" y="89"/>
                    <a:pt x="283" y="89"/>
                    <a:pt x="283" y="89"/>
                  </a:cubicBezTo>
                  <a:cubicBezTo>
                    <a:pt x="283" y="90"/>
                    <a:pt x="283" y="90"/>
                    <a:pt x="283" y="90"/>
                  </a:cubicBezTo>
                  <a:cubicBezTo>
                    <a:pt x="283" y="90"/>
                    <a:pt x="283" y="90"/>
                    <a:pt x="283" y="90"/>
                  </a:cubicBezTo>
                  <a:cubicBezTo>
                    <a:pt x="283" y="91"/>
                    <a:pt x="283" y="91"/>
                    <a:pt x="283" y="91"/>
                  </a:cubicBezTo>
                  <a:cubicBezTo>
                    <a:pt x="283" y="92"/>
                    <a:pt x="283" y="92"/>
                    <a:pt x="283" y="92"/>
                  </a:cubicBezTo>
                  <a:cubicBezTo>
                    <a:pt x="283" y="92"/>
                    <a:pt x="283" y="92"/>
                    <a:pt x="283" y="92"/>
                  </a:cubicBezTo>
                  <a:cubicBezTo>
                    <a:pt x="283" y="92"/>
                    <a:pt x="283" y="92"/>
                    <a:pt x="283" y="92"/>
                  </a:cubicBezTo>
                  <a:cubicBezTo>
                    <a:pt x="282" y="93"/>
                    <a:pt x="282" y="93"/>
                    <a:pt x="282" y="93"/>
                  </a:cubicBezTo>
                  <a:cubicBezTo>
                    <a:pt x="282" y="93"/>
                    <a:pt x="282" y="93"/>
                    <a:pt x="282" y="93"/>
                  </a:cubicBezTo>
                  <a:cubicBezTo>
                    <a:pt x="281" y="95"/>
                    <a:pt x="281" y="95"/>
                    <a:pt x="281" y="95"/>
                  </a:cubicBezTo>
                  <a:cubicBezTo>
                    <a:pt x="281" y="96"/>
                    <a:pt x="281" y="96"/>
                    <a:pt x="281" y="96"/>
                  </a:cubicBezTo>
                  <a:cubicBezTo>
                    <a:pt x="281" y="96"/>
                    <a:pt x="281" y="96"/>
                    <a:pt x="281" y="96"/>
                  </a:cubicBezTo>
                  <a:cubicBezTo>
                    <a:pt x="281" y="97"/>
                    <a:pt x="281" y="97"/>
                    <a:pt x="281" y="97"/>
                  </a:cubicBezTo>
                  <a:cubicBezTo>
                    <a:pt x="281" y="98"/>
                    <a:pt x="281" y="98"/>
                    <a:pt x="281" y="98"/>
                  </a:cubicBezTo>
                  <a:cubicBezTo>
                    <a:pt x="281" y="98"/>
                    <a:pt x="281" y="98"/>
                    <a:pt x="281" y="98"/>
                  </a:cubicBezTo>
                  <a:cubicBezTo>
                    <a:pt x="282" y="99"/>
                    <a:pt x="282" y="99"/>
                    <a:pt x="282" y="99"/>
                  </a:cubicBezTo>
                  <a:cubicBezTo>
                    <a:pt x="282" y="99"/>
                    <a:pt x="282" y="99"/>
                    <a:pt x="282" y="99"/>
                  </a:cubicBezTo>
                  <a:cubicBezTo>
                    <a:pt x="282" y="100"/>
                    <a:pt x="282" y="100"/>
                    <a:pt x="282" y="100"/>
                  </a:cubicBezTo>
                  <a:cubicBezTo>
                    <a:pt x="282" y="101"/>
                    <a:pt x="282" y="101"/>
                    <a:pt x="282" y="101"/>
                  </a:cubicBezTo>
                  <a:cubicBezTo>
                    <a:pt x="281" y="102"/>
                    <a:pt x="281" y="102"/>
                    <a:pt x="281" y="102"/>
                  </a:cubicBezTo>
                  <a:cubicBezTo>
                    <a:pt x="281" y="103"/>
                    <a:pt x="281" y="103"/>
                    <a:pt x="281" y="103"/>
                  </a:cubicBezTo>
                  <a:cubicBezTo>
                    <a:pt x="281" y="103"/>
                    <a:pt x="281" y="103"/>
                    <a:pt x="281" y="104"/>
                  </a:cubicBezTo>
                  <a:cubicBezTo>
                    <a:pt x="281" y="104"/>
                    <a:pt x="281" y="104"/>
                    <a:pt x="281" y="104"/>
                  </a:cubicBezTo>
                  <a:cubicBezTo>
                    <a:pt x="281" y="104"/>
                    <a:pt x="281" y="104"/>
                    <a:pt x="281" y="104"/>
                  </a:cubicBezTo>
                  <a:cubicBezTo>
                    <a:pt x="281" y="105"/>
                    <a:pt x="281" y="105"/>
                    <a:pt x="281" y="105"/>
                  </a:cubicBezTo>
                  <a:cubicBezTo>
                    <a:pt x="281" y="106"/>
                    <a:pt x="281" y="106"/>
                    <a:pt x="281" y="106"/>
                  </a:cubicBezTo>
                  <a:cubicBezTo>
                    <a:pt x="280" y="108"/>
                    <a:pt x="280" y="108"/>
                    <a:pt x="280" y="108"/>
                  </a:cubicBezTo>
                  <a:cubicBezTo>
                    <a:pt x="280" y="110"/>
                    <a:pt x="280" y="110"/>
                    <a:pt x="280" y="110"/>
                  </a:cubicBezTo>
                  <a:cubicBezTo>
                    <a:pt x="280" y="110"/>
                    <a:pt x="280" y="110"/>
                    <a:pt x="280" y="110"/>
                  </a:cubicBezTo>
                  <a:cubicBezTo>
                    <a:pt x="280" y="111"/>
                    <a:pt x="280" y="111"/>
                    <a:pt x="280" y="111"/>
                  </a:cubicBezTo>
                  <a:cubicBezTo>
                    <a:pt x="280" y="112"/>
                    <a:pt x="280" y="112"/>
                    <a:pt x="280" y="112"/>
                  </a:cubicBezTo>
                  <a:cubicBezTo>
                    <a:pt x="280" y="112"/>
                    <a:pt x="280" y="112"/>
                    <a:pt x="280" y="112"/>
                  </a:cubicBezTo>
                  <a:cubicBezTo>
                    <a:pt x="281" y="112"/>
                    <a:pt x="281" y="112"/>
                    <a:pt x="281" y="113"/>
                  </a:cubicBezTo>
                  <a:cubicBezTo>
                    <a:pt x="281" y="113"/>
                    <a:pt x="281" y="113"/>
                    <a:pt x="281" y="113"/>
                  </a:cubicBezTo>
                  <a:cubicBezTo>
                    <a:pt x="281" y="113"/>
                    <a:pt x="281" y="113"/>
                    <a:pt x="281" y="114"/>
                  </a:cubicBezTo>
                  <a:lnTo>
                    <a:pt x="280" y="114"/>
                  </a:lnTo>
                  <a:close/>
                  <a:moveTo>
                    <a:pt x="281" y="376"/>
                  </a:moveTo>
                  <a:cubicBezTo>
                    <a:pt x="280" y="376"/>
                    <a:pt x="280" y="376"/>
                    <a:pt x="280" y="376"/>
                  </a:cubicBezTo>
                  <a:cubicBezTo>
                    <a:pt x="280" y="377"/>
                    <a:pt x="280" y="377"/>
                    <a:pt x="280" y="377"/>
                  </a:cubicBezTo>
                  <a:cubicBezTo>
                    <a:pt x="280" y="377"/>
                    <a:pt x="280" y="377"/>
                    <a:pt x="280" y="378"/>
                  </a:cubicBezTo>
                  <a:cubicBezTo>
                    <a:pt x="280" y="378"/>
                    <a:pt x="280" y="378"/>
                    <a:pt x="280" y="378"/>
                  </a:cubicBezTo>
                  <a:cubicBezTo>
                    <a:pt x="280" y="378"/>
                    <a:pt x="280" y="379"/>
                    <a:pt x="280" y="379"/>
                  </a:cubicBezTo>
                  <a:cubicBezTo>
                    <a:pt x="281" y="379"/>
                    <a:pt x="281" y="379"/>
                    <a:pt x="281" y="379"/>
                  </a:cubicBezTo>
                  <a:cubicBezTo>
                    <a:pt x="281" y="378"/>
                    <a:pt x="281" y="378"/>
                    <a:pt x="281" y="378"/>
                  </a:cubicBezTo>
                  <a:cubicBezTo>
                    <a:pt x="281" y="377"/>
                    <a:pt x="281" y="377"/>
                    <a:pt x="281" y="377"/>
                  </a:cubicBezTo>
                  <a:cubicBezTo>
                    <a:pt x="281" y="377"/>
                    <a:pt x="281" y="377"/>
                    <a:pt x="281" y="376"/>
                  </a:cubicBezTo>
                  <a:cubicBezTo>
                    <a:pt x="281" y="376"/>
                    <a:pt x="281" y="376"/>
                    <a:pt x="281" y="376"/>
                  </a:cubicBezTo>
                  <a:cubicBezTo>
                    <a:pt x="281" y="376"/>
                    <a:pt x="281" y="376"/>
                    <a:pt x="281" y="376"/>
                  </a:cubicBezTo>
                  <a:cubicBezTo>
                    <a:pt x="281" y="376"/>
                    <a:pt x="281" y="376"/>
                    <a:pt x="281" y="376"/>
                  </a:cubicBezTo>
                  <a:cubicBezTo>
                    <a:pt x="281" y="376"/>
                    <a:pt x="281" y="376"/>
                    <a:pt x="281" y="376"/>
                  </a:cubicBezTo>
                  <a:cubicBezTo>
                    <a:pt x="281" y="376"/>
                    <a:pt x="281" y="376"/>
                    <a:pt x="281" y="376"/>
                  </a:cubicBezTo>
                  <a:close/>
                  <a:moveTo>
                    <a:pt x="271" y="372"/>
                  </a:moveTo>
                  <a:cubicBezTo>
                    <a:pt x="271" y="372"/>
                    <a:pt x="271" y="372"/>
                    <a:pt x="271" y="372"/>
                  </a:cubicBezTo>
                  <a:cubicBezTo>
                    <a:pt x="271" y="372"/>
                    <a:pt x="271" y="372"/>
                    <a:pt x="271" y="372"/>
                  </a:cubicBezTo>
                  <a:cubicBezTo>
                    <a:pt x="271" y="372"/>
                    <a:pt x="271" y="372"/>
                    <a:pt x="271" y="372"/>
                  </a:cubicBezTo>
                  <a:close/>
                  <a:moveTo>
                    <a:pt x="270" y="376"/>
                  </a:moveTo>
                  <a:cubicBezTo>
                    <a:pt x="270" y="376"/>
                    <a:pt x="270" y="376"/>
                    <a:pt x="270" y="376"/>
                  </a:cubicBezTo>
                  <a:cubicBezTo>
                    <a:pt x="270" y="376"/>
                    <a:pt x="270" y="376"/>
                    <a:pt x="270" y="376"/>
                  </a:cubicBezTo>
                  <a:cubicBezTo>
                    <a:pt x="271" y="376"/>
                    <a:pt x="271" y="376"/>
                    <a:pt x="271" y="376"/>
                  </a:cubicBezTo>
                  <a:cubicBezTo>
                    <a:pt x="272" y="376"/>
                    <a:pt x="272" y="376"/>
                    <a:pt x="272" y="376"/>
                  </a:cubicBezTo>
                  <a:cubicBezTo>
                    <a:pt x="273" y="376"/>
                    <a:pt x="273" y="376"/>
                    <a:pt x="273" y="376"/>
                  </a:cubicBezTo>
                  <a:cubicBezTo>
                    <a:pt x="273" y="376"/>
                    <a:pt x="273" y="376"/>
                    <a:pt x="273" y="376"/>
                  </a:cubicBezTo>
                  <a:cubicBezTo>
                    <a:pt x="273" y="376"/>
                    <a:pt x="273" y="375"/>
                    <a:pt x="273" y="375"/>
                  </a:cubicBezTo>
                  <a:cubicBezTo>
                    <a:pt x="274" y="374"/>
                    <a:pt x="274" y="374"/>
                    <a:pt x="274" y="374"/>
                  </a:cubicBezTo>
                  <a:cubicBezTo>
                    <a:pt x="272" y="373"/>
                    <a:pt x="272" y="373"/>
                    <a:pt x="272" y="373"/>
                  </a:cubicBezTo>
                  <a:cubicBezTo>
                    <a:pt x="272" y="373"/>
                    <a:pt x="271" y="373"/>
                    <a:pt x="271" y="373"/>
                  </a:cubicBezTo>
                  <a:cubicBezTo>
                    <a:pt x="271" y="373"/>
                    <a:pt x="271" y="373"/>
                    <a:pt x="271" y="373"/>
                  </a:cubicBezTo>
                  <a:cubicBezTo>
                    <a:pt x="271" y="373"/>
                    <a:pt x="271" y="373"/>
                    <a:pt x="270" y="373"/>
                  </a:cubicBezTo>
                  <a:cubicBezTo>
                    <a:pt x="270" y="373"/>
                    <a:pt x="270" y="373"/>
                    <a:pt x="270" y="373"/>
                  </a:cubicBezTo>
                  <a:cubicBezTo>
                    <a:pt x="270" y="373"/>
                    <a:pt x="270" y="373"/>
                    <a:pt x="270" y="373"/>
                  </a:cubicBezTo>
                  <a:cubicBezTo>
                    <a:pt x="270" y="373"/>
                    <a:pt x="270" y="373"/>
                    <a:pt x="270" y="373"/>
                  </a:cubicBezTo>
                  <a:cubicBezTo>
                    <a:pt x="270" y="373"/>
                    <a:pt x="270" y="373"/>
                    <a:pt x="269" y="373"/>
                  </a:cubicBezTo>
                  <a:cubicBezTo>
                    <a:pt x="269" y="374"/>
                    <a:pt x="269" y="374"/>
                    <a:pt x="269" y="374"/>
                  </a:cubicBezTo>
                  <a:cubicBezTo>
                    <a:pt x="269" y="374"/>
                    <a:pt x="269" y="374"/>
                    <a:pt x="269" y="374"/>
                  </a:cubicBezTo>
                  <a:cubicBezTo>
                    <a:pt x="269" y="374"/>
                    <a:pt x="269" y="374"/>
                    <a:pt x="269" y="374"/>
                  </a:cubicBezTo>
                  <a:cubicBezTo>
                    <a:pt x="269" y="375"/>
                    <a:pt x="269" y="375"/>
                    <a:pt x="269" y="375"/>
                  </a:cubicBezTo>
                  <a:cubicBezTo>
                    <a:pt x="269" y="375"/>
                    <a:pt x="269" y="375"/>
                    <a:pt x="269" y="375"/>
                  </a:cubicBezTo>
                  <a:cubicBezTo>
                    <a:pt x="269" y="375"/>
                    <a:pt x="269" y="375"/>
                    <a:pt x="269" y="375"/>
                  </a:cubicBezTo>
                  <a:cubicBezTo>
                    <a:pt x="269" y="375"/>
                    <a:pt x="269" y="375"/>
                    <a:pt x="269" y="375"/>
                  </a:cubicBezTo>
                  <a:cubicBezTo>
                    <a:pt x="269" y="375"/>
                    <a:pt x="269" y="375"/>
                    <a:pt x="269" y="375"/>
                  </a:cubicBezTo>
                  <a:cubicBezTo>
                    <a:pt x="269" y="376"/>
                    <a:pt x="269" y="376"/>
                    <a:pt x="269" y="376"/>
                  </a:cubicBezTo>
                  <a:cubicBezTo>
                    <a:pt x="269" y="376"/>
                    <a:pt x="269" y="376"/>
                    <a:pt x="269" y="376"/>
                  </a:cubicBezTo>
                  <a:cubicBezTo>
                    <a:pt x="270" y="376"/>
                    <a:pt x="270" y="376"/>
                    <a:pt x="270" y="376"/>
                  </a:cubicBezTo>
                  <a:close/>
                  <a:moveTo>
                    <a:pt x="194" y="395"/>
                  </a:moveTo>
                  <a:cubicBezTo>
                    <a:pt x="193" y="395"/>
                    <a:pt x="193" y="395"/>
                    <a:pt x="193" y="395"/>
                  </a:cubicBezTo>
                  <a:cubicBezTo>
                    <a:pt x="193" y="395"/>
                    <a:pt x="192" y="395"/>
                    <a:pt x="192" y="395"/>
                  </a:cubicBezTo>
                  <a:cubicBezTo>
                    <a:pt x="192" y="395"/>
                    <a:pt x="192" y="395"/>
                    <a:pt x="192" y="395"/>
                  </a:cubicBezTo>
                  <a:cubicBezTo>
                    <a:pt x="192" y="395"/>
                    <a:pt x="192" y="395"/>
                    <a:pt x="192" y="395"/>
                  </a:cubicBezTo>
                  <a:cubicBezTo>
                    <a:pt x="192" y="395"/>
                    <a:pt x="192" y="395"/>
                    <a:pt x="192" y="396"/>
                  </a:cubicBezTo>
                  <a:cubicBezTo>
                    <a:pt x="193" y="396"/>
                    <a:pt x="193" y="396"/>
                    <a:pt x="193" y="396"/>
                  </a:cubicBezTo>
                  <a:cubicBezTo>
                    <a:pt x="193" y="396"/>
                    <a:pt x="193" y="396"/>
                    <a:pt x="193" y="396"/>
                  </a:cubicBezTo>
                  <a:lnTo>
                    <a:pt x="194" y="395"/>
                  </a:lnTo>
                  <a:close/>
                  <a:moveTo>
                    <a:pt x="192" y="392"/>
                  </a:moveTo>
                  <a:cubicBezTo>
                    <a:pt x="192" y="393"/>
                    <a:pt x="191" y="393"/>
                    <a:pt x="191" y="393"/>
                  </a:cubicBezTo>
                  <a:cubicBezTo>
                    <a:pt x="191" y="392"/>
                    <a:pt x="191" y="392"/>
                    <a:pt x="191" y="392"/>
                  </a:cubicBezTo>
                  <a:cubicBezTo>
                    <a:pt x="191" y="393"/>
                    <a:pt x="191" y="393"/>
                    <a:pt x="191" y="393"/>
                  </a:cubicBezTo>
                  <a:cubicBezTo>
                    <a:pt x="191" y="393"/>
                    <a:pt x="191" y="393"/>
                    <a:pt x="191" y="393"/>
                  </a:cubicBezTo>
                  <a:cubicBezTo>
                    <a:pt x="191" y="393"/>
                    <a:pt x="191" y="393"/>
                    <a:pt x="191" y="394"/>
                  </a:cubicBezTo>
                  <a:cubicBezTo>
                    <a:pt x="191" y="394"/>
                    <a:pt x="191" y="394"/>
                    <a:pt x="191" y="394"/>
                  </a:cubicBezTo>
                  <a:cubicBezTo>
                    <a:pt x="192" y="394"/>
                    <a:pt x="192" y="394"/>
                    <a:pt x="192" y="394"/>
                  </a:cubicBezTo>
                  <a:cubicBezTo>
                    <a:pt x="192" y="394"/>
                    <a:pt x="192" y="394"/>
                    <a:pt x="192" y="394"/>
                  </a:cubicBezTo>
                  <a:cubicBezTo>
                    <a:pt x="192" y="393"/>
                    <a:pt x="192" y="393"/>
                    <a:pt x="192" y="393"/>
                  </a:cubicBezTo>
                  <a:cubicBezTo>
                    <a:pt x="192" y="393"/>
                    <a:pt x="192" y="393"/>
                    <a:pt x="192" y="393"/>
                  </a:cubicBezTo>
                  <a:cubicBezTo>
                    <a:pt x="192" y="392"/>
                    <a:pt x="192" y="392"/>
                    <a:pt x="193" y="392"/>
                  </a:cubicBezTo>
                  <a:cubicBezTo>
                    <a:pt x="193" y="392"/>
                    <a:pt x="193" y="392"/>
                    <a:pt x="193" y="392"/>
                  </a:cubicBezTo>
                  <a:cubicBezTo>
                    <a:pt x="193" y="392"/>
                    <a:pt x="193" y="392"/>
                    <a:pt x="193" y="392"/>
                  </a:cubicBezTo>
                  <a:cubicBezTo>
                    <a:pt x="193" y="391"/>
                    <a:pt x="193" y="391"/>
                    <a:pt x="193" y="391"/>
                  </a:cubicBezTo>
                  <a:cubicBezTo>
                    <a:pt x="193" y="390"/>
                    <a:pt x="193" y="390"/>
                    <a:pt x="193" y="390"/>
                  </a:cubicBezTo>
                  <a:cubicBezTo>
                    <a:pt x="193" y="391"/>
                    <a:pt x="193" y="391"/>
                    <a:pt x="193" y="391"/>
                  </a:cubicBezTo>
                  <a:lnTo>
                    <a:pt x="192" y="392"/>
                  </a:lnTo>
                  <a:close/>
                  <a:moveTo>
                    <a:pt x="179" y="188"/>
                  </a:moveTo>
                  <a:cubicBezTo>
                    <a:pt x="179" y="188"/>
                    <a:pt x="178" y="188"/>
                    <a:pt x="178" y="188"/>
                  </a:cubicBezTo>
                  <a:cubicBezTo>
                    <a:pt x="177" y="188"/>
                    <a:pt x="177" y="188"/>
                    <a:pt x="177" y="188"/>
                  </a:cubicBezTo>
                  <a:cubicBezTo>
                    <a:pt x="177" y="188"/>
                    <a:pt x="176" y="188"/>
                    <a:pt x="176" y="187"/>
                  </a:cubicBezTo>
                  <a:cubicBezTo>
                    <a:pt x="176" y="187"/>
                    <a:pt x="176" y="187"/>
                    <a:pt x="176" y="187"/>
                  </a:cubicBezTo>
                  <a:cubicBezTo>
                    <a:pt x="176" y="187"/>
                    <a:pt x="176" y="187"/>
                    <a:pt x="176" y="187"/>
                  </a:cubicBezTo>
                  <a:cubicBezTo>
                    <a:pt x="175" y="187"/>
                    <a:pt x="175" y="187"/>
                    <a:pt x="175" y="187"/>
                  </a:cubicBezTo>
                  <a:cubicBezTo>
                    <a:pt x="175" y="187"/>
                    <a:pt x="175" y="186"/>
                    <a:pt x="175" y="186"/>
                  </a:cubicBezTo>
                  <a:cubicBezTo>
                    <a:pt x="175" y="186"/>
                    <a:pt x="175" y="186"/>
                    <a:pt x="175" y="186"/>
                  </a:cubicBezTo>
                  <a:cubicBezTo>
                    <a:pt x="174" y="186"/>
                    <a:pt x="174" y="186"/>
                    <a:pt x="174" y="186"/>
                  </a:cubicBezTo>
                  <a:cubicBezTo>
                    <a:pt x="174" y="185"/>
                    <a:pt x="174" y="185"/>
                    <a:pt x="174" y="185"/>
                  </a:cubicBezTo>
                  <a:cubicBezTo>
                    <a:pt x="173" y="185"/>
                    <a:pt x="173" y="185"/>
                    <a:pt x="173" y="185"/>
                  </a:cubicBezTo>
                  <a:cubicBezTo>
                    <a:pt x="172" y="184"/>
                    <a:pt x="172" y="184"/>
                    <a:pt x="172" y="184"/>
                  </a:cubicBezTo>
                  <a:cubicBezTo>
                    <a:pt x="172" y="183"/>
                    <a:pt x="172" y="183"/>
                    <a:pt x="172" y="182"/>
                  </a:cubicBezTo>
                  <a:cubicBezTo>
                    <a:pt x="172" y="182"/>
                    <a:pt x="172" y="182"/>
                    <a:pt x="172" y="182"/>
                  </a:cubicBezTo>
                  <a:cubicBezTo>
                    <a:pt x="172" y="182"/>
                    <a:pt x="172" y="182"/>
                    <a:pt x="172" y="182"/>
                  </a:cubicBezTo>
                  <a:cubicBezTo>
                    <a:pt x="171" y="182"/>
                    <a:pt x="171" y="182"/>
                    <a:pt x="171" y="181"/>
                  </a:cubicBezTo>
                  <a:cubicBezTo>
                    <a:pt x="171" y="181"/>
                    <a:pt x="171" y="181"/>
                    <a:pt x="171" y="181"/>
                  </a:cubicBezTo>
                  <a:cubicBezTo>
                    <a:pt x="171" y="181"/>
                    <a:pt x="171" y="181"/>
                    <a:pt x="171" y="180"/>
                  </a:cubicBezTo>
                  <a:cubicBezTo>
                    <a:pt x="171" y="180"/>
                    <a:pt x="171" y="180"/>
                    <a:pt x="171" y="180"/>
                  </a:cubicBezTo>
                  <a:cubicBezTo>
                    <a:pt x="171" y="180"/>
                    <a:pt x="170" y="180"/>
                    <a:pt x="170" y="180"/>
                  </a:cubicBezTo>
                  <a:cubicBezTo>
                    <a:pt x="170" y="180"/>
                    <a:pt x="170" y="180"/>
                    <a:pt x="170" y="180"/>
                  </a:cubicBezTo>
                  <a:cubicBezTo>
                    <a:pt x="169" y="179"/>
                    <a:pt x="169" y="179"/>
                    <a:pt x="169" y="179"/>
                  </a:cubicBezTo>
                  <a:cubicBezTo>
                    <a:pt x="169" y="179"/>
                    <a:pt x="169" y="179"/>
                    <a:pt x="169" y="179"/>
                  </a:cubicBezTo>
                  <a:cubicBezTo>
                    <a:pt x="168" y="179"/>
                    <a:pt x="168" y="179"/>
                    <a:pt x="168" y="178"/>
                  </a:cubicBezTo>
                  <a:cubicBezTo>
                    <a:pt x="168" y="178"/>
                    <a:pt x="168" y="178"/>
                    <a:pt x="168" y="177"/>
                  </a:cubicBezTo>
                  <a:cubicBezTo>
                    <a:pt x="168" y="177"/>
                    <a:pt x="168" y="177"/>
                    <a:pt x="168" y="177"/>
                  </a:cubicBezTo>
                  <a:cubicBezTo>
                    <a:pt x="168" y="176"/>
                    <a:pt x="168" y="176"/>
                    <a:pt x="168" y="176"/>
                  </a:cubicBezTo>
                  <a:cubicBezTo>
                    <a:pt x="168" y="176"/>
                    <a:pt x="168" y="176"/>
                    <a:pt x="167" y="176"/>
                  </a:cubicBezTo>
                  <a:cubicBezTo>
                    <a:pt x="167" y="176"/>
                    <a:pt x="167" y="175"/>
                    <a:pt x="167" y="175"/>
                  </a:cubicBezTo>
                  <a:cubicBezTo>
                    <a:pt x="167" y="175"/>
                    <a:pt x="167" y="175"/>
                    <a:pt x="167" y="175"/>
                  </a:cubicBezTo>
                  <a:cubicBezTo>
                    <a:pt x="167" y="175"/>
                    <a:pt x="167" y="175"/>
                    <a:pt x="167" y="175"/>
                  </a:cubicBezTo>
                  <a:cubicBezTo>
                    <a:pt x="166" y="174"/>
                    <a:pt x="166" y="174"/>
                    <a:pt x="166" y="174"/>
                  </a:cubicBezTo>
                  <a:cubicBezTo>
                    <a:pt x="166" y="174"/>
                    <a:pt x="166" y="174"/>
                    <a:pt x="166" y="173"/>
                  </a:cubicBezTo>
                  <a:cubicBezTo>
                    <a:pt x="166" y="173"/>
                    <a:pt x="166" y="173"/>
                    <a:pt x="166" y="173"/>
                  </a:cubicBezTo>
                  <a:cubicBezTo>
                    <a:pt x="166" y="173"/>
                    <a:pt x="166" y="173"/>
                    <a:pt x="166" y="173"/>
                  </a:cubicBezTo>
                  <a:cubicBezTo>
                    <a:pt x="166" y="172"/>
                    <a:pt x="166" y="172"/>
                    <a:pt x="166" y="172"/>
                  </a:cubicBezTo>
                  <a:cubicBezTo>
                    <a:pt x="166" y="172"/>
                    <a:pt x="166" y="172"/>
                    <a:pt x="166" y="172"/>
                  </a:cubicBezTo>
                  <a:cubicBezTo>
                    <a:pt x="165" y="171"/>
                    <a:pt x="165" y="171"/>
                    <a:pt x="165" y="171"/>
                  </a:cubicBezTo>
                  <a:cubicBezTo>
                    <a:pt x="165" y="171"/>
                    <a:pt x="164" y="170"/>
                    <a:pt x="164" y="170"/>
                  </a:cubicBezTo>
                  <a:cubicBezTo>
                    <a:pt x="164" y="169"/>
                    <a:pt x="164" y="169"/>
                    <a:pt x="164" y="169"/>
                  </a:cubicBezTo>
                  <a:cubicBezTo>
                    <a:pt x="164" y="169"/>
                    <a:pt x="165" y="168"/>
                    <a:pt x="165" y="168"/>
                  </a:cubicBezTo>
                  <a:cubicBezTo>
                    <a:pt x="165" y="166"/>
                    <a:pt x="165" y="166"/>
                    <a:pt x="165" y="166"/>
                  </a:cubicBezTo>
                  <a:cubicBezTo>
                    <a:pt x="165" y="165"/>
                    <a:pt x="165" y="165"/>
                    <a:pt x="165" y="165"/>
                  </a:cubicBezTo>
                  <a:cubicBezTo>
                    <a:pt x="164" y="165"/>
                    <a:pt x="164" y="165"/>
                    <a:pt x="164" y="165"/>
                  </a:cubicBezTo>
                  <a:cubicBezTo>
                    <a:pt x="164" y="165"/>
                    <a:pt x="164" y="164"/>
                    <a:pt x="164" y="164"/>
                  </a:cubicBezTo>
                  <a:cubicBezTo>
                    <a:pt x="164" y="161"/>
                    <a:pt x="164" y="161"/>
                    <a:pt x="164" y="161"/>
                  </a:cubicBezTo>
                  <a:cubicBezTo>
                    <a:pt x="164" y="161"/>
                    <a:pt x="164" y="161"/>
                    <a:pt x="163" y="161"/>
                  </a:cubicBezTo>
                  <a:cubicBezTo>
                    <a:pt x="163" y="161"/>
                    <a:pt x="163" y="161"/>
                    <a:pt x="163" y="160"/>
                  </a:cubicBezTo>
                  <a:cubicBezTo>
                    <a:pt x="163" y="159"/>
                    <a:pt x="163" y="159"/>
                    <a:pt x="163" y="159"/>
                  </a:cubicBezTo>
                  <a:cubicBezTo>
                    <a:pt x="163" y="159"/>
                    <a:pt x="163" y="159"/>
                    <a:pt x="163" y="158"/>
                  </a:cubicBezTo>
                  <a:cubicBezTo>
                    <a:pt x="163" y="158"/>
                    <a:pt x="163" y="158"/>
                    <a:pt x="163" y="158"/>
                  </a:cubicBezTo>
                  <a:cubicBezTo>
                    <a:pt x="162" y="158"/>
                    <a:pt x="162" y="158"/>
                    <a:pt x="162" y="157"/>
                  </a:cubicBezTo>
                  <a:cubicBezTo>
                    <a:pt x="163" y="156"/>
                    <a:pt x="163" y="156"/>
                    <a:pt x="163" y="156"/>
                  </a:cubicBezTo>
                  <a:cubicBezTo>
                    <a:pt x="163" y="156"/>
                    <a:pt x="162" y="156"/>
                    <a:pt x="162" y="156"/>
                  </a:cubicBezTo>
                  <a:cubicBezTo>
                    <a:pt x="162" y="155"/>
                    <a:pt x="162" y="155"/>
                    <a:pt x="162" y="155"/>
                  </a:cubicBezTo>
                  <a:cubicBezTo>
                    <a:pt x="162" y="155"/>
                    <a:pt x="162" y="155"/>
                    <a:pt x="162" y="155"/>
                  </a:cubicBezTo>
                  <a:cubicBezTo>
                    <a:pt x="162" y="154"/>
                    <a:pt x="162" y="154"/>
                    <a:pt x="162" y="154"/>
                  </a:cubicBezTo>
                  <a:cubicBezTo>
                    <a:pt x="162" y="154"/>
                    <a:pt x="162" y="154"/>
                    <a:pt x="162" y="154"/>
                  </a:cubicBezTo>
                  <a:cubicBezTo>
                    <a:pt x="161" y="154"/>
                    <a:pt x="161" y="154"/>
                    <a:pt x="161" y="153"/>
                  </a:cubicBezTo>
                  <a:cubicBezTo>
                    <a:pt x="161" y="153"/>
                    <a:pt x="161" y="153"/>
                    <a:pt x="161" y="153"/>
                  </a:cubicBezTo>
                  <a:cubicBezTo>
                    <a:pt x="160" y="153"/>
                    <a:pt x="160" y="153"/>
                    <a:pt x="160" y="152"/>
                  </a:cubicBezTo>
                  <a:cubicBezTo>
                    <a:pt x="160" y="149"/>
                    <a:pt x="160" y="149"/>
                    <a:pt x="160" y="149"/>
                  </a:cubicBezTo>
                  <a:cubicBezTo>
                    <a:pt x="160" y="149"/>
                    <a:pt x="160" y="149"/>
                    <a:pt x="160" y="149"/>
                  </a:cubicBezTo>
                  <a:cubicBezTo>
                    <a:pt x="160" y="149"/>
                    <a:pt x="160" y="149"/>
                    <a:pt x="160" y="149"/>
                  </a:cubicBezTo>
                  <a:cubicBezTo>
                    <a:pt x="160" y="148"/>
                    <a:pt x="160" y="148"/>
                    <a:pt x="160" y="148"/>
                  </a:cubicBezTo>
                  <a:cubicBezTo>
                    <a:pt x="159" y="147"/>
                    <a:pt x="159" y="147"/>
                    <a:pt x="159" y="147"/>
                  </a:cubicBezTo>
                  <a:cubicBezTo>
                    <a:pt x="159" y="147"/>
                    <a:pt x="159" y="147"/>
                    <a:pt x="159" y="147"/>
                  </a:cubicBezTo>
                  <a:cubicBezTo>
                    <a:pt x="159" y="146"/>
                    <a:pt x="159" y="146"/>
                    <a:pt x="159" y="146"/>
                  </a:cubicBezTo>
                  <a:cubicBezTo>
                    <a:pt x="159" y="146"/>
                    <a:pt x="159" y="146"/>
                    <a:pt x="159" y="145"/>
                  </a:cubicBezTo>
                  <a:cubicBezTo>
                    <a:pt x="159" y="145"/>
                    <a:pt x="159" y="145"/>
                    <a:pt x="159" y="145"/>
                  </a:cubicBezTo>
                  <a:cubicBezTo>
                    <a:pt x="158" y="145"/>
                    <a:pt x="158" y="145"/>
                    <a:pt x="158" y="145"/>
                  </a:cubicBezTo>
                  <a:cubicBezTo>
                    <a:pt x="158" y="145"/>
                    <a:pt x="158" y="145"/>
                    <a:pt x="158" y="144"/>
                  </a:cubicBezTo>
                  <a:cubicBezTo>
                    <a:pt x="158" y="144"/>
                    <a:pt x="158" y="144"/>
                    <a:pt x="158" y="144"/>
                  </a:cubicBezTo>
                  <a:cubicBezTo>
                    <a:pt x="158" y="144"/>
                    <a:pt x="158" y="144"/>
                    <a:pt x="158" y="144"/>
                  </a:cubicBezTo>
                  <a:cubicBezTo>
                    <a:pt x="157" y="144"/>
                    <a:pt x="157" y="144"/>
                    <a:pt x="157" y="143"/>
                  </a:cubicBezTo>
                  <a:cubicBezTo>
                    <a:pt x="157" y="142"/>
                    <a:pt x="157" y="142"/>
                    <a:pt x="157" y="142"/>
                  </a:cubicBezTo>
                  <a:cubicBezTo>
                    <a:pt x="156" y="141"/>
                    <a:pt x="156" y="141"/>
                    <a:pt x="156" y="141"/>
                  </a:cubicBezTo>
                  <a:cubicBezTo>
                    <a:pt x="156" y="141"/>
                    <a:pt x="156" y="141"/>
                    <a:pt x="156" y="141"/>
                  </a:cubicBezTo>
                  <a:cubicBezTo>
                    <a:pt x="156" y="139"/>
                    <a:pt x="156" y="139"/>
                    <a:pt x="156" y="139"/>
                  </a:cubicBezTo>
                  <a:cubicBezTo>
                    <a:pt x="156" y="139"/>
                    <a:pt x="156" y="139"/>
                    <a:pt x="156" y="139"/>
                  </a:cubicBezTo>
                  <a:cubicBezTo>
                    <a:pt x="156" y="138"/>
                    <a:pt x="156" y="138"/>
                    <a:pt x="156" y="138"/>
                  </a:cubicBezTo>
                  <a:cubicBezTo>
                    <a:pt x="155" y="138"/>
                    <a:pt x="155" y="138"/>
                    <a:pt x="155" y="138"/>
                  </a:cubicBezTo>
                  <a:cubicBezTo>
                    <a:pt x="155" y="138"/>
                    <a:pt x="155" y="137"/>
                    <a:pt x="155" y="137"/>
                  </a:cubicBezTo>
                  <a:cubicBezTo>
                    <a:pt x="155" y="136"/>
                    <a:pt x="155" y="136"/>
                    <a:pt x="155" y="136"/>
                  </a:cubicBezTo>
                  <a:cubicBezTo>
                    <a:pt x="155" y="135"/>
                    <a:pt x="155" y="135"/>
                    <a:pt x="155" y="135"/>
                  </a:cubicBezTo>
                  <a:cubicBezTo>
                    <a:pt x="155" y="135"/>
                    <a:pt x="155" y="135"/>
                    <a:pt x="155" y="135"/>
                  </a:cubicBezTo>
                  <a:cubicBezTo>
                    <a:pt x="155" y="135"/>
                    <a:pt x="154" y="135"/>
                    <a:pt x="154" y="135"/>
                  </a:cubicBezTo>
                  <a:cubicBezTo>
                    <a:pt x="154" y="135"/>
                    <a:pt x="154" y="135"/>
                    <a:pt x="154" y="134"/>
                  </a:cubicBezTo>
                  <a:cubicBezTo>
                    <a:pt x="154" y="134"/>
                    <a:pt x="153" y="134"/>
                    <a:pt x="153" y="133"/>
                  </a:cubicBezTo>
                  <a:cubicBezTo>
                    <a:pt x="153" y="133"/>
                    <a:pt x="153" y="133"/>
                    <a:pt x="153" y="133"/>
                  </a:cubicBezTo>
                  <a:cubicBezTo>
                    <a:pt x="153" y="133"/>
                    <a:pt x="153" y="133"/>
                    <a:pt x="153" y="133"/>
                  </a:cubicBezTo>
                  <a:cubicBezTo>
                    <a:pt x="153" y="132"/>
                    <a:pt x="153" y="132"/>
                    <a:pt x="153" y="132"/>
                  </a:cubicBezTo>
                  <a:cubicBezTo>
                    <a:pt x="152" y="131"/>
                    <a:pt x="152" y="131"/>
                    <a:pt x="152" y="131"/>
                  </a:cubicBezTo>
                  <a:cubicBezTo>
                    <a:pt x="152" y="131"/>
                    <a:pt x="152" y="131"/>
                    <a:pt x="152" y="131"/>
                  </a:cubicBezTo>
                  <a:cubicBezTo>
                    <a:pt x="152" y="130"/>
                    <a:pt x="152" y="130"/>
                    <a:pt x="152" y="130"/>
                  </a:cubicBezTo>
                  <a:cubicBezTo>
                    <a:pt x="151" y="130"/>
                    <a:pt x="151" y="130"/>
                    <a:pt x="151" y="129"/>
                  </a:cubicBezTo>
                  <a:cubicBezTo>
                    <a:pt x="151" y="129"/>
                    <a:pt x="152" y="129"/>
                    <a:pt x="152" y="129"/>
                  </a:cubicBezTo>
                  <a:cubicBezTo>
                    <a:pt x="152" y="129"/>
                    <a:pt x="152" y="129"/>
                    <a:pt x="152" y="129"/>
                  </a:cubicBezTo>
                  <a:cubicBezTo>
                    <a:pt x="152" y="129"/>
                    <a:pt x="152" y="128"/>
                    <a:pt x="152" y="128"/>
                  </a:cubicBezTo>
                  <a:cubicBezTo>
                    <a:pt x="152" y="128"/>
                    <a:pt x="152" y="128"/>
                    <a:pt x="152" y="128"/>
                  </a:cubicBezTo>
                  <a:cubicBezTo>
                    <a:pt x="152" y="128"/>
                    <a:pt x="152" y="127"/>
                    <a:pt x="152" y="127"/>
                  </a:cubicBezTo>
                  <a:cubicBezTo>
                    <a:pt x="152" y="127"/>
                    <a:pt x="152" y="127"/>
                    <a:pt x="153" y="127"/>
                  </a:cubicBezTo>
                  <a:cubicBezTo>
                    <a:pt x="153" y="126"/>
                    <a:pt x="153" y="126"/>
                    <a:pt x="153" y="126"/>
                  </a:cubicBezTo>
                  <a:cubicBezTo>
                    <a:pt x="153" y="126"/>
                    <a:pt x="153" y="125"/>
                    <a:pt x="153" y="125"/>
                  </a:cubicBezTo>
                  <a:cubicBezTo>
                    <a:pt x="153" y="124"/>
                    <a:pt x="153" y="124"/>
                    <a:pt x="153" y="124"/>
                  </a:cubicBezTo>
                  <a:cubicBezTo>
                    <a:pt x="153" y="124"/>
                    <a:pt x="153" y="124"/>
                    <a:pt x="153" y="124"/>
                  </a:cubicBezTo>
                  <a:cubicBezTo>
                    <a:pt x="153" y="123"/>
                    <a:pt x="153" y="123"/>
                    <a:pt x="153" y="123"/>
                  </a:cubicBezTo>
                  <a:cubicBezTo>
                    <a:pt x="154" y="123"/>
                    <a:pt x="154" y="123"/>
                    <a:pt x="154" y="123"/>
                  </a:cubicBezTo>
                  <a:cubicBezTo>
                    <a:pt x="154" y="122"/>
                    <a:pt x="154" y="122"/>
                    <a:pt x="154" y="122"/>
                  </a:cubicBezTo>
                  <a:cubicBezTo>
                    <a:pt x="154" y="122"/>
                    <a:pt x="154" y="122"/>
                    <a:pt x="154" y="122"/>
                  </a:cubicBezTo>
                  <a:cubicBezTo>
                    <a:pt x="153" y="122"/>
                    <a:pt x="153" y="122"/>
                    <a:pt x="153" y="122"/>
                  </a:cubicBezTo>
                  <a:cubicBezTo>
                    <a:pt x="153" y="122"/>
                    <a:pt x="152" y="121"/>
                    <a:pt x="152" y="121"/>
                  </a:cubicBezTo>
                  <a:cubicBezTo>
                    <a:pt x="152" y="121"/>
                    <a:pt x="152" y="121"/>
                    <a:pt x="152" y="121"/>
                  </a:cubicBezTo>
                  <a:cubicBezTo>
                    <a:pt x="152" y="119"/>
                    <a:pt x="152" y="119"/>
                    <a:pt x="152" y="119"/>
                  </a:cubicBezTo>
                  <a:cubicBezTo>
                    <a:pt x="152" y="119"/>
                    <a:pt x="152" y="118"/>
                    <a:pt x="153" y="118"/>
                  </a:cubicBezTo>
                  <a:cubicBezTo>
                    <a:pt x="153" y="118"/>
                    <a:pt x="153" y="118"/>
                    <a:pt x="153" y="118"/>
                  </a:cubicBezTo>
                  <a:cubicBezTo>
                    <a:pt x="152" y="118"/>
                    <a:pt x="152" y="118"/>
                    <a:pt x="152" y="117"/>
                  </a:cubicBezTo>
                  <a:cubicBezTo>
                    <a:pt x="152" y="117"/>
                    <a:pt x="152" y="117"/>
                    <a:pt x="152" y="117"/>
                  </a:cubicBezTo>
                  <a:cubicBezTo>
                    <a:pt x="152" y="117"/>
                    <a:pt x="152" y="117"/>
                    <a:pt x="152" y="117"/>
                  </a:cubicBezTo>
                  <a:cubicBezTo>
                    <a:pt x="152" y="117"/>
                    <a:pt x="152" y="117"/>
                    <a:pt x="152" y="116"/>
                  </a:cubicBezTo>
                  <a:cubicBezTo>
                    <a:pt x="152" y="115"/>
                    <a:pt x="152" y="115"/>
                    <a:pt x="152" y="115"/>
                  </a:cubicBezTo>
                  <a:cubicBezTo>
                    <a:pt x="152" y="115"/>
                    <a:pt x="152" y="114"/>
                    <a:pt x="153" y="114"/>
                  </a:cubicBezTo>
                  <a:cubicBezTo>
                    <a:pt x="155" y="114"/>
                    <a:pt x="155" y="114"/>
                    <a:pt x="155" y="114"/>
                  </a:cubicBezTo>
                  <a:cubicBezTo>
                    <a:pt x="155" y="112"/>
                    <a:pt x="155" y="112"/>
                    <a:pt x="155" y="112"/>
                  </a:cubicBezTo>
                  <a:cubicBezTo>
                    <a:pt x="155" y="108"/>
                    <a:pt x="155" y="108"/>
                    <a:pt x="155" y="108"/>
                  </a:cubicBezTo>
                  <a:cubicBezTo>
                    <a:pt x="154" y="104"/>
                    <a:pt x="154" y="104"/>
                    <a:pt x="154" y="104"/>
                  </a:cubicBezTo>
                  <a:cubicBezTo>
                    <a:pt x="154" y="95"/>
                    <a:pt x="154" y="95"/>
                    <a:pt x="154" y="95"/>
                  </a:cubicBezTo>
                  <a:cubicBezTo>
                    <a:pt x="154" y="91"/>
                    <a:pt x="154" y="91"/>
                    <a:pt x="154" y="91"/>
                  </a:cubicBezTo>
                  <a:cubicBezTo>
                    <a:pt x="154" y="82"/>
                    <a:pt x="154" y="82"/>
                    <a:pt x="154" y="82"/>
                  </a:cubicBezTo>
                  <a:cubicBezTo>
                    <a:pt x="153" y="81"/>
                    <a:pt x="153" y="81"/>
                    <a:pt x="153" y="81"/>
                  </a:cubicBezTo>
                  <a:cubicBezTo>
                    <a:pt x="153" y="81"/>
                    <a:pt x="153" y="81"/>
                    <a:pt x="153" y="81"/>
                  </a:cubicBezTo>
                  <a:cubicBezTo>
                    <a:pt x="152" y="81"/>
                    <a:pt x="152" y="81"/>
                    <a:pt x="152" y="81"/>
                  </a:cubicBezTo>
                  <a:cubicBezTo>
                    <a:pt x="152" y="80"/>
                    <a:pt x="152" y="80"/>
                    <a:pt x="152" y="80"/>
                  </a:cubicBezTo>
                  <a:cubicBezTo>
                    <a:pt x="151" y="80"/>
                    <a:pt x="151" y="80"/>
                    <a:pt x="151" y="80"/>
                  </a:cubicBezTo>
                  <a:cubicBezTo>
                    <a:pt x="151" y="80"/>
                    <a:pt x="151" y="80"/>
                    <a:pt x="150" y="80"/>
                  </a:cubicBezTo>
                  <a:cubicBezTo>
                    <a:pt x="149" y="80"/>
                    <a:pt x="149" y="80"/>
                    <a:pt x="149" y="80"/>
                  </a:cubicBezTo>
                  <a:cubicBezTo>
                    <a:pt x="149" y="80"/>
                    <a:pt x="148" y="80"/>
                    <a:pt x="148" y="80"/>
                  </a:cubicBezTo>
                  <a:cubicBezTo>
                    <a:pt x="124" y="80"/>
                    <a:pt x="124" y="80"/>
                    <a:pt x="124" y="80"/>
                  </a:cubicBezTo>
                  <a:cubicBezTo>
                    <a:pt x="120" y="82"/>
                    <a:pt x="120" y="82"/>
                    <a:pt x="120" y="82"/>
                  </a:cubicBezTo>
                  <a:cubicBezTo>
                    <a:pt x="119" y="82"/>
                    <a:pt x="119" y="82"/>
                    <a:pt x="118" y="82"/>
                  </a:cubicBezTo>
                  <a:cubicBezTo>
                    <a:pt x="116" y="82"/>
                    <a:pt x="116" y="82"/>
                    <a:pt x="116" y="82"/>
                  </a:cubicBezTo>
                  <a:cubicBezTo>
                    <a:pt x="116" y="82"/>
                    <a:pt x="115" y="82"/>
                    <a:pt x="115" y="82"/>
                  </a:cubicBezTo>
                  <a:cubicBezTo>
                    <a:pt x="114" y="82"/>
                    <a:pt x="114" y="82"/>
                    <a:pt x="114" y="82"/>
                  </a:cubicBezTo>
                  <a:cubicBezTo>
                    <a:pt x="108" y="82"/>
                    <a:pt x="108" y="82"/>
                    <a:pt x="108" y="82"/>
                  </a:cubicBezTo>
                  <a:cubicBezTo>
                    <a:pt x="108" y="82"/>
                    <a:pt x="108" y="82"/>
                    <a:pt x="108" y="82"/>
                  </a:cubicBezTo>
                  <a:cubicBezTo>
                    <a:pt x="107" y="82"/>
                    <a:pt x="107" y="82"/>
                    <a:pt x="107" y="82"/>
                  </a:cubicBezTo>
                  <a:cubicBezTo>
                    <a:pt x="105" y="82"/>
                    <a:pt x="105" y="82"/>
                    <a:pt x="105" y="82"/>
                  </a:cubicBezTo>
                  <a:cubicBezTo>
                    <a:pt x="105" y="82"/>
                    <a:pt x="104" y="82"/>
                    <a:pt x="104" y="82"/>
                  </a:cubicBezTo>
                  <a:cubicBezTo>
                    <a:pt x="104" y="82"/>
                    <a:pt x="104" y="82"/>
                    <a:pt x="104" y="82"/>
                  </a:cubicBezTo>
                  <a:cubicBezTo>
                    <a:pt x="103" y="82"/>
                    <a:pt x="103" y="82"/>
                    <a:pt x="103" y="81"/>
                  </a:cubicBezTo>
                  <a:cubicBezTo>
                    <a:pt x="101" y="81"/>
                    <a:pt x="101" y="81"/>
                    <a:pt x="101" y="81"/>
                  </a:cubicBezTo>
                  <a:cubicBezTo>
                    <a:pt x="101" y="81"/>
                    <a:pt x="100" y="80"/>
                    <a:pt x="99" y="80"/>
                  </a:cubicBezTo>
                  <a:cubicBezTo>
                    <a:pt x="97" y="79"/>
                    <a:pt x="97" y="79"/>
                    <a:pt x="97" y="79"/>
                  </a:cubicBezTo>
                  <a:cubicBezTo>
                    <a:pt x="91" y="77"/>
                    <a:pt x="91" y="77"/>
                    <a:pt x="91" y="77"/>
                  </a:cubicBezTo>
                  <a:cubicBezTo>
                    <a:pt x="88" y="77"/>
                    <a:pt x="88" y="77"/>
                    <a:pt x="88" y="77"/>
                  </a:cubicBezTo>
                  <a:cubicBezTo>
                    <a:pt x="87" y="77"/>
                    <a:pt x="87" y="77"/>
                    <a:pt x="87" y="77"/>
                  </a:cubicBezTo>
                  <a:cubicBezTo>
                    <a:pt x="85" y="77"/>
                    <a:pt x="85" y="77"/>
                    <a:pt x="85" y="77"/>
                  </a:cubicBezTo>
                  <a:cubicBezTo>
                    <a:pt x="84" y="77"/>
                    <a:pt x="84" y="77"/>
                    <a:pt x="84" y="77"/>
                  </a:cubicBezTo>
                  <a:cubicBezTo>
                    <a:pt x="84" y="77"/>
                    <a:pt x="84" y="77"/>
                    <a:pt x="84" y="77"/>
                  </a:cubicBezTo>
                  <a:cubicBezTo>
                    <a:pt x="76" y="76"/>
                    <a:pt x="76" y="76"/>
                    <a:pt x="76" y="76"/>
                  </a:cubicBezTo>
                  <a:cubicBezTo>
                    <a:pt x="76" y="76"/>
                    <a:pt x="76" y="76"/>
                    <a:pt x="75" y="76"/>
                  </a:cubicBezTo>
                  <a:cubicBezTo>
                    <a:pt x="74" y="76"/>
                    <a:pt x="74" y="76"/>
                    <a:pt x="74" y="76"/>
                  </a:cubicBezTo>
                  <a:cubicBezTo>
                    <a:pt x="74" y="76"/>
                    <a:pt x="74" y="76"/>
                    <a:pt x="74" y="76"/>
                  </a:cubicBezTo>
                  <a:cubicBezTo>
                    <a:pt x="71" y="75"/>
                    <a:pt x="71" y="75"/>
                    <a:pt x="71" y="75"/>
                  </a:cubicBezTo>
                  <a:cubicBezTo>
                    <a:pt x="71" y="75"/>
                    <a:pt x="71" y="75"/>
                    <a:pt x="70" y="75"/>
                  </a:cubicBezTo>
                  <a:cubicBezTo>
                    <a:pt x="69" y="74"/>
                    <a:pt x="69" y="74"/>
                    <a:pt x="69" y="74"/>
                  </a:cubicBezTo>
                  <a:cubicBezTo>
                    <a:pt x="69" y="74"/>
                    <a:pt x="68" y="74"/>
                    <a:pt x="68" y="74"/>
                  </a:cubicBezTo>
                  <a:cubicBezTo>
                    <a:pt x="66" y="73"/>
                    <a:pt x="66" y="73"/>
                    <a:pt x="66" y="73"/>
                  </a:cubicBezTo>
                  <a:cubicBezTo>
                    <a:pt x="66" y="73"/>
                    <a:pt x="66" y="73"/>
                    <a:pt x="65" y="73"/>
                  </a:cubicBezTo>
                  <a:cubicBezTo>
                    <a:pt x="63" y="72"/>
                    <a:pt x="63" y="72"/>
                    <a:pt x="63" y="72"/>
                  </a:cubicBezTo>
                  <a:cubicBezTo>
                    <a:pt x="63" y="72"/>
                    <a:pt x="63" y="71"/>
                    <a:pt x="62" y="71"/>
                  </a:cubicBezTo>
                  <a:cubicBezTo>
                    <a:pt x="62" y="71"/>
                    <a:pt x="61" y="70"/>
                    <a:pt x="61" y="70"/>
                  </a:cubicBezTo>
                  <a:cubicBezTo>
                    <a:pt x="60" y="69"/>
                    <a:pt x="60" y="69"/>
                    <a:pt x="60" y="69"/>
                  </a:cubicBezTo>
                  <a:cubicBezTo>
                    <a:pt x="59" y="68"/>
                    <a:pt x="59" y="68"/>
                    <a:pt x="59" y="68"/>
                  </a:cubicBezTo>
                  <a:cubicBezTo>
                    <a:pt x="59" y="67"/>
                    <a:pt x="58" y="67"/>
                    <a:pt x="58" y="66"/>
                  </a:cubicBezTo>
                  <a:cubicBezTo>
                    <a:pt x="58" y="66"/>
                    <a:pt x="58" y="65"/>
                    <a:pt x="58" y="65"/>
                  </a:cubicBezTo>
                  <a:cubicBezTo>
                    <a:pt x="58" y="65"/>
                    <a:pt x="57" y="64"/>
                    <a:pt x="57" y="64"/>
                  </a:cubicBezTo>
                  <a:cubicBezTo>
                    <a:pt x="57" y="64"/>
                    <a:pt x="57" y="64"/>
                    <a:pt x="57" y="64"/>
                  </a:cubicBezTo>
                  <a:cubicBezTo>
                    <a:pt x="57" y="63"/>
                    <a:pt x="57" y="63"/>
                    <a:pt x="57" y="63"/>
                  </a:cubicBezTo>
                  <a:cubicBezTo>
                    <a:pt x="56" y="60"/>
                    <a:pt x="56" y="60"/>
                    <a:pt x="56" y="60"/>
                  </a:cubicBezTo>
                  <a:cubicBezTo>
                    <a:pt x="56" y="60"/>
                    <a:pt x="56" y="59"/>
                    <a:pt x="56" y="59"/>
                  </a:cubicBezTo>
                  <a:cubicBezTo>
                    <a:pt x="56" y="57"/>
                    <a:pt x="56" y="57"/>
                    <a:pt x="56" y="57"/>
                  </a:cubicBezTo>
                  <a:cubicBezTo>
                    <a:pt x="53" y="48"/>
                    <a:pt x="53" y="48"/>
                    <a:pt x="53" y="48"/>
                  </a:cubicBezTo>
                  <a:cubicBezTo>
                    <a:pt x="53" y="47"/>
                    <a:pt x="53" y="47"/>
                    <a:pt x="53" y="47"/>
                  </a:cubicBezTo>
                  <a:cubicBezTo>
                    <a:pt x="47" y="38"/>
                    <a:pt x="47" y="38"/>
                    <a:pt x="47" y="38"/>
                  </a:cubicBezTo>
                  <a:cubicBezTo>
                    <a:pt x="47" y="38"/>
                    <a:pt x="46" y="37"/>
                    <a:pt x="46" y="37"/>
                  </a:cubicBezTo>
                  <a:cubicBezTo>
                    <a:pt x="46" y="36"/>
                    <a:pt x="46" y="36"/>
                    <a:pt x="46" y="36"/>
                  </a:cubicBezTo>
                  <a:cubicBezTo>
                    <a:pt x="45" y="35"/>
                    <a:pt x="45" y="35"/>
                    <a:pt x="45" y="34"/>
                  </a:cubicBezTo>
                  <a:cubicBezTo>
                    <a:pt x="45" y="34"/>
                    <a:pt x="45" y="34"/>
                    <a:pt x="45" y="34"/>
                  </a:cubicBezTo>
                  <a:cubicBezTo>
                    <a:pt x="44" y="33"/>
                    <a:pt x="44" y="33"/>
                    <a:pt x="44" y="32"/>
                  </a:cubicBezTo>
                  <a:cubicBezTo>
                    <a:pt x="44" y="31"/>
                    <a:pt x="44" y="31"/>
                    <a:pt x="44" y="31"/>
                  </a:cubicBezTo>
                  <a:cubicBezTo>
                    <a:pt x="44" y="31"/>
                    <a:pt x="44" y="30"/>
                    <a:pt x="43" y="30"/>
                  </a:cubicBezTo>
                  <a:cubicBezTo>
                    <a:pt x="43" y="28"/>
                    <a:pt x="43" y="28"/>
                    <a:pt x="43" y="28"/>
                  </a:cubicBezTo>
                  <a:cubicBezTo>
                    <a:pt x="43" y="27"/>
                    <a:pt x="43" y="27"/>
                    <a:pt x="42" y="27"/>
                  </a:cubicBezTo>
                  <a:cubicBezTo>
                    <a:pt x="42" y="27"/>
                    <a:pt x="42" y="27"/>
                    <a:pt x="42" y="26"/>
                  </a:cubicBezTo>
                  <a:cubicBezTo>
                    <a:pt x="41" y="26"/>
                    <a:pt x="40" y="25"/>
                    <a:pt x="40" y="24"/>
                  </a:cubicBezTo>
                  <a:cubicBezTo>
                    <a:pt x="40" y="24"/>
                    <a:pt x="40" y="23"/>
                    <a:pt x="39" y="23"/>
                  </a:cubicBezTo>
                  <a:cubicBezTo>
                    <a:pt x="39" y="22"/>
                    <a:pt x="39" y="21"/>
                    <a:pt x="38" y="20"/>
                  </a:cubicBezTo>
                  <a:cubicBezTo>
                    <a:pt x="38" y="19"/>
                    <a:pt x="38" y="19"/>
                    <a:pt x="38" y="18"/>
                  </a:cubicBezTo>
                  <a:cubicBezTo>
                    <a:pt x="38" y="18"/>
                    <a:pt x="38" y="18"/>
                    <a:pt x="38" y="17"/>
                  </a:cubicBezTo>
                  <a:cubicBezTo>
                    <a:pt x="38" y="17"/>
                    <a:pt x="38" y="17"/>
                    <a:pt x="38" y="16"/>
                  </a:cubicBezTo>
                  <a:cubicBezTo>
                    <a:pt x="38" y="16"/>
                    <a:pt x="38" y="16"/>
                    <a:pt x="38" y="16"/>
                  </a:cubicBezTo>
                  <a:cubicBezTo>
                    <a:pt x="38" y="16"/>
                    <a:pt x="38" y="16"/>
                    <a:pt x="38" y="16"/>
                  </a:cubicBezTo>
                  <a:cubicBezTo>
                    <a:pt x="38" y="14"/>
                    <a:pt x="39" y="13"/>
                    <a:pt x="39" y="12"/>
                  </a:cubicBezTo>
                  <a:cubicBezTo>
                    <a:pt x="40" y="11"/>
                    <a:pt x="40" y="10"/>
                    <a:pt x="41" y="9"/>
                  </a:cubicBezTo>
                  <a:cubicBezTo>
                    <a:pt x="41" y="8"/>
                    <a:pt x="41" y="8"/>
                    <a:pt x="42" y="7"/>
                  </a:cubicBezTo>
                  <a:cubicBezTo>
                    <a:pt x="42" y="7"/>
                    <a:pt x="43" y="7"/>
                    <a:pt x="43" y="6"/>
                  </a:cubicBezTo>
                  <a:cubicBezTo>
                    <a:pt x="43" y="6"/>
                    <a:pt x="43" y="6"/>
                    <a:pt x="44" y="6"/>
                  </a:cubicBezTo>
                  <a:cubicBezTo>
                    <a:pt x="45" y="5"/>
                    <a:pt x="46" y="5"/>
                    <a:pt x="48" y="4"/>
                  </a:cubicBezTo>
                  <a:cubicBezTo>
                    <a:pt x="48" y="4"/>
                    <a:pt x="48" y="4"/>
                    <a:pt x="49" y="4"/>
                  </a:cubicBezTo>
                  <a:cubicBezTo>
                    <a:pt x="50" y="4"/>
                    <a:pt x="51" y="4"/>
                    <a:pt x="52" y="5"/>
                  </a:cubicBezTo>
                  <a:cubicBezTo>
                    <a:pt x="52" y="5"/>
                    <a:pt x="52" y="5"/>
                    <a:pt x="52" y="5"/>
                  </a:cubicBezTo>
                  <a:cubicBezTo>
                    <a:pt x="53" y="5"/>
                    <a:pt x="54" y="5"/>
                    <a:pt x="54" y="5"/>
                  </a:cubicBezTo>
                  <a:cubicBezTo>
                    <a:pt x="54" y="6"/>
                    <a:pt x="54" y="6"/>
                    <a:pt x="54" y="6"/>
                  </a:cubicBezTo>
                  <a:cubicBezTo>
                    <a:pt x="59" y="6"/>
                    <a:pt x="59" y="6"/>
                    <a:pt x="59" y="6"/>
                  </a:cubicBezTo>
                  <a:cubicBezTo>
                    <a:pt x="60" y="6"/>
                    <a:pt x="60" y="6"/>
                    <a:pt x="60" y="6"/>
                  </a:cubicBezTo>
                  <a:cubicBezTo>
                    <a:pt x="62" y="6"/>
                    <a:pt x="62" y="6"/>
                    <a:pt x="62" y="6"/>
                  </a:cubicBezTo>
                  <a:cubicBezTo>
                    <a:pt x="62" y="6"/>
                    <a:pt x="62" y="6"/>
                    <a:pt x="63" y="6"/>
                  </a:cubicBezTo>
                  <a:cubicBezTo>
                    <a:pt x="73" y="7"/>
                    <a:pt x="73" y="7"/>
                    <a:pt x="73" y="7"/>
                  </a:cubicBezTo>
                  <a:cubicBezTo>
                    <a:pt x="77" y="7"/>
                    <a:pt x="77" y="7"/>
                    <a:pt x="77" y="7"/>
                  </a:cubicBezTo>
                  <a:cubicBezTo>
                    <a:pt x="85" y="7"/>
                    <a:pt x="85" y="7"/>
                    <a:pt x="85" y="7"/>
                  </a:cubicBezTo>
                  <a:cubicBezTo>
                    <a:pt x="92" y="6"/>
                    <a:pt x="92" y="6"/>
                    <a:pt x="92" y="6"/>
                  </a:cubicBezTo>
                  <a:cubicBezTo>
                    <a:pt x="92" y="6"/>
                    <a:pt x="92" y="6"/>
                    <a:pt x="92" y="6"/>
                  </a:cubicBezTo>
                  <a:cubicBezTo>
                    <a:pt x="93" y="6"/>
                    <a:pt x="93" y="6"/>
                    <a:pt x="93" y="6"/>
                  </a:cubicBezTo>
                  <a:cubicBezTo>
                    <a:pt x="93" y="6"/>
                    <a:pt x="93" y="6"/>
                    <a:pt x="94" y="6"/>
                  </a:cubicBezTo>
                  <a:cubicBezTo>
                    <a:pt x="94" y="6"/>
                    <a:pt x="94" y="6"/>
                    <a:pt x="94" y="6"/>
                  </a:cubicBezTo>
                  <a:cubicBezTo>
                    <a:pt x="95" y="6"/>
                    <a:pt x="95" y="6"/>
                    <a:pt x="95" y="6"/>
                  </a:cubicBezTo>
                  <a:cubicBezTo>
                    <a:pt x="97" y="6"/>
                    <a:pt x="97" y="6"/>
                    <a:pt x="97" y="6"/>
                  </a:cubicBezTo>
                  <a:cubicBezTo>
                    <a:pt x="98" y="6"/>
                    <a:pt x="98" y="7"/>
                    <a:pt x="98" y="7"/>
                  </a:cubicBezTo>
                  <a:cubicBezTo>
                    <a:pt x="101" y="7"/>
                    <a:pt x="101" y="7"/>
                    <a:pt x="101" y="7"/>
                  </a:cubicBezTo>
                  <a:cubicBezTo>
                    <a:pt x="101" y="7"/>
                    <a:pt x="101" y="7"/>
                    <a:pt x="101" y="7"/>
                  </a:cubicBezTo>
                  <a:cubicBezTo>
                    <a:pt x="101" y="7"/>
                    <a:pt x="101" y="7"/>
                    <a:pt x="101" y="7"/>
                  </a:cubicBezTo>
                  <a:cubicBezTo>
                    <a:pt x="106" y="7"/>
                    <a:pt x="106" y="7"/>
                    <a:pt x="106" y="7"/>
                  </a:cubicBezTo>
                  <a:cubicBezTo>
                    <a:pt x="118" y="7"/>
                    <a:pt x="118" y="7"/>
                    <a:pt x="118" y="7"/>
                  </a:cubicBezTo>
                  <a:cubicBezTo>
                    <a:pt x="144" y="7"/>
                    <a:pt x="144" y="7"/>
                    <a:pt x="144" y="7"/>
                  </a:cubicBezTo>
                  <a:cubicBezTo>
                    <a:pt x="144" y="7"/>
                    <a:pt x="144" y="7"/>
                    <a:pt x="144" y="7"/>
                  </a:cubicBezTo>
                  <a:cubicBezTo>
                    <a:pt x="153" y="7"/>
                    <a:pt x="153" y="7"/>
                    <a:pt x="153" y="7"/>
                  </a:cubicBezTo>
                  <a:cubicBezTo>
                    <a:pt x="153" y="7"/>
                    <a:pt x="153" y="7"/>
                    <a:pt x="154" y="7"/>
                  </a:cubicBezTo>
                  <a:cubicBezTo>
                    <a:pt x="157" y="8"/>
                    <a:pt x="157" y="8"/>
                    <a:pt x="157" y="8"/>
                  </a:cubicBezTo>
                  <a:cubicBezTo>
                    <a:pt x="157" y="8"/>
                    <a:pt x="157" y="8"/>
                    <a:pt x="157" y="8"/>
                  </a:cubicBezTo>
                  <a:cubicBezTo>
                    <a:pt x="158" y="8"/>
                    <a:pt x="160" y="7"/>
                    <a:pt x="161" y="8"/>
                  </a:cubicBezTo>
                  <a:cubicBezTo>
                    <a:pt x="163" y="8"/>
                    <a:pt x="163" y="8"/>
                    <a:pt x="163" y="8"/>
                  </a:cubicBezTo>
                  <a:cubicBezTo>
                    <a:pt x="169" y="8"/>
                    <a:pt x="169" y="8"/>
                    <a:pt x="169" y="8"/>
                  </a:cubicBezTo>
                  <a:cubicBezTo>
                    <a:pt x="168" y="5"/>
                    <a:pt x="168" y="5"/>
                    <a:pt x="168" y="5"/>
                  </a:cubicBezTo>
                  <a:cubicBezTo>
                    <a:pt x="168" y="4"/>
                    <a:pt x="168" y="4"/>
                    <a:pt x="168" y="4"/>
                  </a:cubicBezTo>
                  <a:cubicBezTo>
                    <a:pt x="168" y="4"/>
                    <a:pt x="168" y="4"/>
                    <a:pt x="168" y="4"/>
                  </a:cubicBezTo>
                  <a:cubicBezTo>
                    <a:pt x="168" y="3"/>
                    <a:pt x="168" y="3"/>
                    <a:pt x="168" y="3"/>
                  </a:cubicBezTo>
                  <a:cubicBezTo>
                    <a:pt x="168" y="2"/>
                    <a:pt x="168" y="2"/>
                    <a:pt x="168" y="2"/>
                  </a:cubicBezTo>
                  <a:cubicBezTo>
                    <a:pt x="169" y="2"/>
                    <a:pt x="168" y="0"/>
                    <a:pt x="169" y="0"/>
                  </a:cubicBezTo>
                  <a:cubicBezTo>
                    <a:pt x="170" y="0"/>
                    <a:pt x="170" y="0"/>
                    <a:pt x="170" y="0"/>
                  </a:cubicBezTo>
                  <a:cubicBezTo>
                    <a:pt x="171" y="0"/>
                    <a:pt x="171" y="0"/>
                    <a:pt x="171" y="0"/>
                  </a:cubicBezTo>
                  <a:cubicBezTo>
                    <a:pt x="171" y="0"/>
                    <a:pt x="171" y="0"/>
                    <a:pt x="171" y="0"/>
                  </a:cubicBezTo>
                  <a:cubicBezTo>
                    <a:pt x="172" y="0"/>
                    <a:pt x="172" y="0"/>
                    <a:pt x="172" y="0"/>
                  </a:cubicBezTo>
                  <a:cubicBezTo>
                    <a:pt x="173" y="1"/>
                    <a:pt x="173" y="1"/>
                    <a:pt x="173" y="1"/>
                  </a:cubicBezTo>
                  <a:cubicBezTo>
                    <a:pt x="173" y="1"/>
                    <a:pt x="173" y="1"/>
                    <a:pt x="173" y="2"/>
                  </a:cubicBezTo>
                  <a:cubicBezTo>
                    <a:pt x="174" y="3"/>
                    <a:pt x="174" y="3"/>
                    <a:pt x="174" y="3"/>
                  </a:cubicBezTo>
                  <a:cubicBezTo>
                    <a:pt x="174" y="4"/>
                    <a:pt x="174" y="4"/>
                    <a:pt x="174" y="4"/>
                  </a:cubicBezTo>
                  <a:cubicBezTo>
                    <a:pt x="174" y="4"/>
                    <a:pt x="174" y="5"/>
                    <a:pt x="174" y="5"/>
                  </a:cubicBezTo>
                  <a:cubicBezTo>
                    <a:pt x="174" y="6"/>
                    <a:pt x="174" y="6"/>
                    <a:pt x="174" y="6"/>
                  </a:cubicBezTo>
                  <a:cubicBezTo>
                    <a:pt x="175" y="9"/>
                    <a:pt x="175" y="9"/>
                    <a:pt x="175" y="9"/>
                  </a:cubicBezTo>
                  <a:cubicBezTo>
                    <a:pt x="175" y="9"/>
                    <a:pt x="176" y="12"/>
                    <a:pt x="176" y="12"/>
                  </a:cubicBezTo>
                  <a:cubicBezTo>
                    <a:pt x="177" y="12"/>
                    <a:pt x="177" y="12"/>
                    <a:pt x="177" y="12"/>
                  </a:cubicBezTo>
                  <a:cubicBezTo>
                    <a:pt x="178" y="13"/>
                    <a:pt x="178" y="13"/>
                    <a:pt x="178" y="13"/>
                  </a:cubicBezTo>
                  <a:cubicBezTo>
                    <a:pt x="178" y="13"/>
                    <a:pt x="178" y="13"/>
                    <a:pt x="178" y="13"/>
                  </a:cubicBezTo>
                  <a:cubicBezTo>
                    <a:pt x="179" y="13"/>
                    <a:pt x="179" y="13"/>
                    <a:pt x="179" y="13"/>
                  </a:cubicBezTo>
                  <a:cubicBezTo>
                    <a:pt x="182" y="13"/>
                    <a:pt x="182" y="13"/>
                    <a:pt x="182" y="13"/>
                  </a:cubicBezTo>
                  <a:cubicBezTo>
                    <a:pt x="182" y="13"/>
                    <a:pt x="182" y="13"/>
                    <a:pt x="182" y="14"/>
                  </a:cubicBezTo>
                  <a:cubicBezTo>
                    <a:pt x="183" y="14"/>
                    <a:pt x="183" y="14"/>
                    <a:pt x="183" y="14"/>
                  </a:cubicBezTo>
                  <a:cubicBezTo>
                    <a:pt x="183" y="14"/>
                    <a:pt x="183" y="14"/>
                    <a:pt x="183" y="14"/>
                  </a:cubicBezTo>
                  <a:cubicBezTo>
                    <a:pt x="187" y="14"/>
                    <a:pt x="187" y="14"/>
                    <a:pt x="187" y="14"/>
                  </a:cubicBezTo>
                  <a:cubicBezTo>
                    <a:pt x="187" y="14"/>
                    <a:pt x="187" y="14"/>
                    <a:pt x="188" y="14"/>
                  </a:cubicBezTo>
                  <a:cubicBezTo>
                    <a:pt x="188" y="15"/>
                    <a:pt x="188" y="15"/>
                    <a:pt x="188" y="15"/>
                  </a:cubicBezTo>
                  <a:cubicBezTo>
                    <a:pt x="188" y="15"/>
                    <a:pt x="189" y="15"/>
                    <a:pt x="189" y="15"/>
                  </a:cubicBezTo>
                  <a:cubicBezTo>
                    <a:pt x="189" y="17"/>
                    <a:pt x="189" y="17"/>
                    <a:pt x="189" y="17"/>
                  </a:cubicBezTo>
                  <a:cubicBezTo>
                    <a:pt x="191" y="16"/>
                    <a:pt x="191" y="16"/>
                    <a:pt x="191" y="16"/>
                  </a:cubicBezTo>
                  <a:cubicBezTo>
                    <a:pt x="191" y="16"/>
                    <a:pt x="191" y="16"/>
                    <a:pt x="191" y="16"/>
                  </a:cubicBezTo>
                  <a:cubicBezTo>
                    <a:pt x="191" y="16"/>
                    <a:pt x="191" y="16"/>
                    <a:pt x="191" y="16"/>
                  </a:cubicBezTo>
                  <a:cubicBezTo>
                    <a:pt x="192" y="16"/>
                    <a:pt x="192" y="16"/>
                    <a:pt x="192" y="16"/>
                  </a:cubicBezTo>
                  <a:cubicBezTo>
                    <a:pt x="192" y="15"/>
                    <a:pt x="192" y="15"/>
                    <a:pt x="193" y="15"/>
                  </a:cubicBezTo>
                  <a:cubicBezTo>
                    <a:pt x="193" y="15"/>
                    <a:pt x="193" y="15"/>
                    <a:pt x="193" y="15"/>
                  </a:cubicBezTo>
                  <a:cubicBezTo>
                    <a:pt x="193" y="14"/>
                    <a:pt x="193" y="14"/>
                    <a:pt x="193" y="14"/>
                  </a:cubicBezTo>
                  <a:cubicBezTo>
                    <a:pt x="195" y="14"/>
                    <a:pt x="195" y="14"/>
                    <a:pt x="195" y="14"/>
                  </a:cubicBezTo>
                  <a:cubicBezTo>
                    <a:pt x="199" y="14"/>
                    <a:pt x="199" y="14"/>
                    <a:pt x="199" y="14"/>
                  </a:cubicBezTo>
                  <a:cubicBezTo>
                    <a:pt x="200" y="14"/>
                    <a:pt x="200" y="14"/>
                    <a:pt x="200" y="14"/>
                  </a:cubicBezTo>
                  <a:cubicBezTo>
                    <a:pt x="201" y="15"/>
                    <a:pt x="201" y="15"/>
                    <a:pt x="201" y="15"/>
                  </a:cubicBezTo>
                  <a:cubicBezTo>
                    <a:pt x="203" y="15"/>
                    <a:pt x="203" y="15"/>
                    <a:pt x="203" y="15"/>
                  </a:cubicBezTo>
                  <a:cubicBezTo>
                    <a:pt x="204" y="15"/>
                    <a:pt x="204" y="15"/>
                    <a:pt x="204" y="15"/>
                  </a:cubicBezTo>
                  <a:cubicBezTo>
                    <a:pt x="204" y="15"/>
                    <a:pt x="205" y="15"/>
                    <a:pt x="205" y="16"/>
                  </a:cubicBezTo>
                  <a:cubicBezTo>
                    <a:pt x="205" y="16"/>
                    <a:pt x="205" y="16"/>
                    <a:pt x="205" y="16"/>
                  </a:cubicBezTo>
                  <a:cubicBezTo>
                    <a:pt x="205" y="16"/>
                    <a:pt x="205" y="16"/>
                    <a:pt x="205" y="17"/>
                  </a:cubicBezTo>
                  <a:cubicBezTo>
                    <a:pt x="205" y="17"/>
                    <a:pt x="205" y="17"/>
                    <a:pt x="205" y="17"/>
                  </a:cubicBezTo>
                  <a:cubicBezTo>
                    <a:pt x="206" y="17"/>
                    <a:pt x="206" y="17"/>
                    <a:pt x="206" y="17"/>
                  </a:cubicBezTo>
                  <a:cubicBezTo>
                    <a:pt x="206" y="17"/>
                    <a:pt x="206" y="17"/>
                    <a:pt x="206" y="17"/>
                  </a:cubicBezTo>
                  <a:cubicBezTo>
                    <a:pt x="207" y="18"/>
                    <a:pt x="207" y="18"/>
                    <a:pt x="207" y="18"/>
                  </a:cubicBezTo>
                  <a:cubicBezTo>
                    <a:pt x="207" y="18"/>
                    <a:pt x="207" y="18"/>
                    <a:pt x="207" y="18"/>
                  </a:cubicBezTo>
                  <a:cubicBezTo>
                    <a:pt x="207" y="20"/>
                    <a:pt x="207" y="20"/>
                    <a:pt x="207" y="20"/>
                  </a:cubicBezTo>
                  <a:cubicBezTo>
                    <a:pt x="208" y="20"/>
                    <a:pt x="208" y="20"/>
                    <a:pt x="208" y="20"/>
                  </a:cubicBezTo>
                  <a:cubicBezTo>
                    <a:pt x="208" y="19"/>
                    <a:pt x="208" y="19"/>
                    <a:pt x="208" y="19"/>
                  </a:cubicBezTo>
                  <a:cubicBezTo>
                    <a:pt x="208" y="19"/>
                    <a:pt x="209" y="18"/>
                    <a:pt x="209" y="18"/>
                  </a:cubicBezTo>
                  <a:cubicBezTo>
                    <a:pt x="211" y="18"/>
                    <a:pt x="211" y="18"/>
                    <a:pt x="211" y="18"/>
                  </a:cubicBezTo>
                  <a:cubicBezTo>
                    <a:pt x="212" y="18"/>
                    <a:pt x="212" y="18"/>
                    <a:pt x="212" y="18"/>
                  </a:cubicBezTo>
                  <a:cubicBezTo>
                    <a:pt x="212" y="18"/>
                    <a:pt x="212" y="18"/>
                    <a:pt x="212" y="18"/>
                  </a:cubicBezTo>
                  <a:cubicBezTo>
                    <a:pt x="213" y="19"/>
                    <a:pt x="213" y="19"/>
                    <a:pt x="213" y="19"/>
                  </a:cubicBezTo>
                  <a:cubicBezTo>
                    <a:pt x="213" y="19"/>
                    <a:pt x="213" y="19"/>
                    <a:pt x="213" y="19"/>
                  </a:cubicBezTo>
                  <a:cubicBezTo>
                    <a:pt x="214" y="20"/>
                    <a:pt x="214" y="20"/>
                    <a:pt x="214" y="20"/>
                  </a:cubicBezTo>
                  <a:cubicBezTo>
                    <a:pt x="214" y="20"/>
                    <a:pt x="214" y="20"/>
                    <a:pt x="214" y="20"/>
                  </a:cubicBezTo>
                  <a:cubicBezTo>
                    <a:pt x="214" y="20"/>
                    <a:pt x="214" y="20"/>
                    <a:pt x="214" y="21"/>
                  </a:cubicBezTo>
                  <a:cubicBezTo>
                    <a:pt x="215" y="21"/>
                    <a:pt x="215" y="21"/>
                    <a:pt x="215" y="21"/>
                  </a:cubicBezTo>
                  <a:cubicBezTo>
                    <a:pt x="216" y="21"/>
                    <a:pt x="216" y="21"/>
                    <a:pt x="216" y="21"/>
                  </a:cubicBezTo>
                  <a:cubicBezTo>
                    <a:pt x="216" y="21"/>
                    <a:pt x="216" y="21"/>
                    <a:pt x="217" y="21"/>
                  </a:cubicBezTo>
                  <a:cubicBezTo>
                    <a:pt x="217" y="21"/>
                    <a:pt x="217" y="21"/>
                    <a:pt x="217" y="21"/>
                  </a:cubicBezTo>
                  <a:cubicBezTo>
                    <a:pt x="217" y="21"/>
                    <a:pt x="218" y="22"/>
                    <a:pt x="218" y="22"/>
                  </a:cubicBezTo>
                  <a:cubicBezTo>
                    <a:pt x="218" y="23"/>
                    <a:pt x="218" y="23"/>
                    <a:pt x="218" y="23"/>
                  </a:cubicBezTo>
                  <a:cubicBezTo>
                    <a:pt x="218" y="23"/>
                    <a:pt x="218" y="23"/>
                    <a:pt x="218" y="23"/>
                  </a:cubicBezTo>
                  <a:cubicBezTo>
                    <a:pt x="219" y="23"/>
                    <a:pt x="219" y="23"/>
                    <a:pt x="219" y="23"/>
                  </a:cubicBezTo>
                  <a:cubicBezTo>
                    <a:pt x="219" y="23"/>
                    <a:pt x="219" y="23"/>
                    <a:pt x="220" y="23"/>
                  </a:cubicBezTo>
                  <a:cubicBezTo>
                    <a:pt x="220" y="23"/>
                    <a:pt x="220" y="23"/>
                    <a:pt x="220" y="23"/>
                  </a:cubicBezTo>
                  <a:cubicBezTo>
                    <a:pt x="220" y="23"/>
                    <a:pt x="221" y="23"/>
                    <a:pt x="221" y="23"/>
                  </a:cubicBezTo>
                  <a:cubicBezTo>
                    <a:pt x="221" y="23"/>
                    <a:pt x="221" y="23"/>
                    <a:pt x="221" y="23"/>
                  </a:cubicBezTo>
                  <a:cubicBezTo>
                    <a:pt x="221" y="23"/>
                    <a:pt x="221" y="23"/>
                    <a:pt x="222" y="23"/>
                  </a:cubicBezTo>
                  <a:cubicBezTo>
                    <a:pt x="222" y="23"/>
                    <a:pt x="222" y="23"/>
                    <a:pt x="222" y="23"/>
                  </a:cubicBezTo>
                  <a:cubicBezTo>
                    <a:pt x="223" y="22"/>
                    <a:pt x="223" y="22"/>
                    <a:pt x="223" y="22"/>
                  </a:cubicBezTo>
                  <a:cubicBezTo>
                    <a:pt x="225" y="21"/>
                    <a:pt x="225" y="21"/>
                    <a:pt x="225" y="21"/>
                  </a:cubicBezTo>
                  <a:cubicBezTo>
                    <a:pt x="225" y="20"/>
                    <a:pt x="225" y="20"/>
                    <a:pt x="225" y="20"/>
                  </a:cubicBezTo>
                  <a:cubicBezTo>
                    <a:pt x="226" y="20"/>
                    <a:pt x="226" y="20"/>
                    <a:pt x="226" y="20"/>
                  </a:cubicBezTo>
                  <a:cubicBezTo>
                    <a:pt x="226" y="20"/>
                    <a:pt x="226" y="20"/>
                    <a:pt x="226" y="20"/>
                  </a:cubicBezTo>
                  <a:cubicBezTo>
                    <a:pt x="227" y="19"/>
                    <a:pt x="227" y="19"/>
                    <a:pt x="227" y="19"/>
                  </a:cubicBezTo>
                  <a:cubicBezTo>
                    <a:pt x="227" y="19"/>
                    <a:pt x="227" y="19"/>
                    <a:pt x="227" y="19"/>
                  </a:cubicBezTo>
                  <a:cubicBezTo>
                    <a:pt x="228" y="19"/>
                    <a:pt x="228" y="19"/>
                    <a:pt x="228" y="19"/>
                  </a:cubicBezTo>
                  <a:cubicBezTo>
                    <a:pt x="228" y="19"/>
                    <a:pt x="229" y="19"/>
                    <a:pt x="229" y="19"/>
                  </a:cubicBezTo>
                  <a:cubicBezTo>
                    <a:pt x="229" y="19"/>
                    <a:pt x="229" y="19"/>
                    <a:pt x="229" y="19"/>
                  </a:cubicBezTo>
                  <a:cubicBezTo>
                    <a:pt x="230" y="20"/>
                    <a:pt x="230" y="20"/>
                    <a:pt x="230" y="20"/>
                  </a:cubicBezTo>
                  <a:cubicBezTo>
                    <a:pt x="230" y="21"/>
                    <a:pt x="230" y="21"/>
                    <a:pt x="230" y="21"/>
                  </a:cubicBezTo>
                  <a:cubicBezTo>
                    <a:pt x="230" y="21"/>
                    <a:pt x="230" y="21"/>
                    <a:pt x="230" y="21"/>
                  </a:cubicBezTo>
                  <a:cubicBezTo>
                    <a:pt x="231" y="21"/>
                    <a:pt x="231" y="21"/>
                    <a:pt x="231" y="21"/>
                  </a:cubicBezTo>
                  <a:cubicBezTo>
                    <a:pt x="232" y="21"/>
                    <a:pt x="232" y="21"/>
                    <a:pt x="232" y="21"/>
                  </a:cubicBezTo>
                  <a:cubicBezTo>
                    <a:pt x="233" y="21"/>
                    <a:pt x="233" y="21"/>
                    <a:pt x="233" y="21"/>
                  </a:cubicBezTo>
                  <a:cubicBezTo>
                    <a:pt x="233" y="21"/>
                    <a:pt x="233" y="21"/>
                    <a:pt x="233" y="21"/>
                  </a:cubicBezTo>
                  <a:cubicBezTo>
                    <a:pt x="234" y="21"/>
                    <a:pt x="234" y="21"/>
                    <a:pt x="234" y="21"/>
                  </a:cubicBezTo>
                  <a:cubicBezTo>
                    <a:pt x="237" y="20"/>
                    <a:pt x="237" y="20"/>
                    <a:pt x="237" y="20"/>
                  </a:cubicBezTo>
                  <a:cubicBezTo>
                    <a:pt x="239" y="20"/>
                    <a:pt x="239" y="20"/>
                    <a:pt x="239" y="20"/>
                  </a:cubicBezTo>
                  <a:cubicBezTo>
                    <a:pt x="240" y="20"/>
                    <a:pt x="240" y="21"/>
                    <a:pt x="240" y="21"/>
                  </a:cubicBezTo>
                  <a:cubicBezTo>
                    <a:pt x="240" y="21"/>
                    <a:pt x="240" y="21"/>
                    <a:pt x="240" y="21"/>
                  </a:cubicBezTo>
                  <a:cubicBezTo>
                    <a:pt x="241" y="22"/>
                    <a:pt x="241" y="22"/>
                    <a:pt x="241" y="22"/>
                  </a:cubicBezTo>
                  <a:cubicBezTo>
                    <a:pt x="241" y="22"/>
                    <a:pt x="241" y="22"/>
                    <a:pt x="241" y="22"/>
                  </a:cubicBezTo>
                  <a:cubicBezTo>
                    <a:pt x="242" y="22"/>
                    <a:pt x="242" y="22"/>
                    <a:pt x="242" y="22"/>
                  </a:cubicBezTo>
                  <a:cubicBezTo>
                    <a:pt x="242" y="22"/>
                    <a:pt x="242" y="22"/>
                    <a:pt x="242" y="22"/>
                  </a:cubicBezTo>
                  <a:cubicBezTo>
                    <a:pt x="242" y="22"/>
                    <a:pt x="243" y="22"/>
                    <a:pt x="243" y="22"/>
                  </a:cubicBezTo>
                  <a:cubicBezTo>
                    <a:pt x="244" y="22"/>
                    <a:pt x="244" y="22"/>
                    <a:pt x="244" y="22"/>
                  </a:cubicBezTo>
                  <a:cubicBezTo>
                    <a:pt x="246" y="22"/>
                    <a:pt x="246" y="22"/>
                    <a:pt x="246" y="22"/>
                  </a:cubicBezTo>
                  <a:cubicBezTo>
                    <a:pt x="246" y="22"/>
                    <a:pt x="247" y="22"/>
                    <a:pt x="247" y="23"/>
                  </a:cubicBezTo>
                  <a:cubicBezTo>
                    <a:pt x="247" y="23"/>
                    <a:pt x="246" y="24"/>
                    <a:pt x="246" y="24"/>
                  </a:cubicBezTo>
                  <a:cubicBezTo>
                    <a:pt x="246" y="24"/>
                    <a:pt x="246" y="24"/>
                    <a:pt x="246" y="24"/>
                  </a:cubicBezTo>
                  <a:cubicBezTo>
                    <a:pt x="245" y="24"/>
                    <a:pt x="245" y="24"/>
                    <a:pt x="245" y="24"/>
                  </a:cubicBezTo>
                  <a:cubicBezTo>
                    <a:pt x="245" y="25"/>
                    <a:pt x="245" y="25"/>
                    <a:pt x="245" y="25"/>
                  </a:cubicBezTo>
                  <a:cubicBezTo>
                    <a:pt x="240" y="28"/>
                    <a:pt x="240" y="28"/>
                    <a:pt x="240" y="28"/>
                  </a:cubicBezTo>
                  <a:cubicBezTo>
                    <a:pt x="237" y="29"/>
                    <a:pt x="237" y="29"/>
                    <a:pt x="237" y="29"/>
                  </a:cubicBezTo>
                  <a:cubicBezTo>
                    <a:pt x="237" y="29"/>
                    <a:pt x="237" y="29"/>
                    <a:pt x="236" y="29"/>
                  </a:cubicBezTo>
                  <a:cubicBezTo>
                    <a:pt x="235" y="29"/>
                    <a:pt x="235" y="29"/>
                    <a:pt x="235" y="29"/>
                  </a:cubicBezTo>
                  <a:cubicBezTo>
                    <a:pt x="234" y="30"/>
                    <a:pt x="234" y="30"/>
                    <a:pt x="234" y="30"/>
                  </a:cubicBezTo>
                  <a:cubicBezTo>
                    <a:pt x="231" y="32"/>
                    <a:pt x="231" y="32"/>
                    <a:pt x="231" y="32"/>
                  </a:cubicBezTo>
                  <a:cubicBezTo>
                    <a:pt x="229" y="34"/>
                    <a:pt x="229" y="34"/>
                    <a:pt x="229" y="34"/>
                  </a:cubicBezTo>
                  <a:cubicBezTo>
                    <a:pt x="229" y="35"/>
                    <a:pt x="229" y="35"/>
                    <a:pt x="229" y="35"/>
                  </a:cubicBezTo>
                  <a:cubicBezTo>
                    <a:pt x="228" y="35"/>
                    <a:pt x="228" y="35"/>
                    <a:pt x="228" y="35"/>
                  </a:cubicBezTo>
                  <a:cubicBezTo>
                    <a:pt x="222" y="42"/>
                    <a:pt x="222" y="42"/>
                    <a:pt x="222" y="42"/>
                  </a:cubicBezTo>
                  <a:cubicBezTo>
                    <a:pt x="222" y="43"/>
                    <a:pt x="222" y="43"/>
                    <a:pt x="222" y="43"/>
                  </a:cubicBezTo>
                  <a:cubicBezTo>
                    <a:pt x="221" y="43"/>
                    <a:pt x="221" y="43"/>
                    <a:pt x="221" y="43"/>
                  </a:cubicBezTo>
                  <a:cubicBezTo>
                    <a:pt x="221" y="43"/>
                    <a:pt x="221" y="44"/>
                    <a:pt x="221" y="44"/>
                  </a:cubicBezTo>
                  <a:cubicBezTo>
                    <a:pt x="221" y="44"/>
                    <a:pt x="221" y="44"/>
                    <a:pt x="220" y="44"/>
                  </a:cubicBezTo>
                  <a:cubicBezTo>
                    <a:pt x="219" y="45"/>
                    <a:pt x="219" y="45"/>
                    <a:pt x="219" y="45"/>
                  </a:cubicBezTo>
                  <a:cubicBezTo>
                    <a:pt x="219" y="45"/>
                    <a:pt x="219" y="46"/>
                    <a:pt x="219" y="46"/>
                  </a:cubicBezTo>
                  <a:cubicBezTo>
                    <a:pt x="218" y="46"/>
                    <a:pt x="218" y="46"/>
                    <a:pt x="218" y="46"/>
                  </a:cubicBezTo>
                  <a:cubicBezTo>
                    <a:pt x="218" y="47"/>
                    <a:pt x="218" y="47"/>
                    <a:pt x="218" y="47"/>
                  </a:cubicBezTo>
                  <a:cubicBezTo>
                    <a:pt x="217" y="47"/>
                    <a:pt x="217" y="47"/>
                    <a:pt x="217" y="47"/>
                  </a:cubicBezTo>
                  <a:cubicBezTo>
                    <a:pt x="217" y="47"/>
                    <a:pt x="217" y="47"/>
                    <a:pt x="217" y="47"/>
                  </a:cubicBezTo>
                  <a:cubicBezTo>
                    <a:pt x="217" y="48"/>
                    <a:pt x="217" y="48"/>
                    <a:pt x="217" y="48"/>
                  </a:cubicBezTo>
                  <a:cubicBezTo>
                    <a:pt x="217" y="48"/>
                    <a:pt x="217" y="48"/>
                    <a:pt x="217" y="48"/>
                  </a:cubicBezTo>
                  <a:cubicBezTo>
                    <a:pt x="219" y="46"/>
                    <a:pt x="219" y="46"/>
                    <a:pt x="219" y="46"/>
                  </a:cubicBezTo>
                  <a:cubicBezTo>
                    <a:pt x="220" y="46"/>
                    <a:pt x="220" y="46"/>
                    <a:pt x="220" y="46"/>
                  </a:cubicBezTo>
                  <a:cubicBezTo>
                    <a:pt x="221" y="46"/>
                    <a:pt x="221" y="46"/>
                    <a:pt x="221" y="46"/>
                  </a:cubicBezTo>
                  <a:cubicBezTo>
                    <a:pt x="222" y="45"/>
                    <a:pt x="222" y="45"/>
                    <a:pt x="222" y="45"/>
                  </a:cubicBezTo>
                  <a:cubicBezTo>
                    <a:pt x="222" y="45"/>
                    <a:pt x="222" y="45"/>
                    <a:pt x="222" y="45"/>
                  </a:cubicBezTo>
                  <a:cubicBezTo>
                    <a:pt x="223" y="44"/>
                    <a:pt x="223" y="44"/>
                    <a:pt x="223" y="44"/>
                  </a:cubicBezTo>
                  <a:cubicBezTo>
                    <a:pt x="224" y="43"/>
                    <a:pt x="224" y="43"/>
                    <a:pt x="224" y="43"/>
                  </a:cubicBezTo>
                  <a:cubicBezTo>
                    <a:pt x="224" y="43"/>
                    <a:pt x="225" y="43"/>
                    <a:pt x="225" y="43"/>
                  </a:cubicBezTo>
                  <a:cubicBezTo>
                    <a:pt x="225" y="43"/>
                    <a:pt x="225" y="43"/>
                    <a:pt x="225" y="43"/>
                  </a:cubicBezTo>
                  <a:cubicBezTo>
                    <a:pt x="225" y="43"/>
                    <a:pt x="225" y="43"/>
                    <a:pt x="226" y="43"/>
                  </a:cubicBezTo>
                  <a:cubicBezTo>
                    <a:pt x="226" y="43"/>
                    <a:pt x="226" y="43"/>
                    <a:pt x="226" y="43"/>
                  </a:cubicBezTo>
                  <a:cubicBezTo>
                    <a:pt x="226" y="43"/>
                    <a:pt x="226" y="43"/>
                    <a:pt x="226" y="43"/>
                  </a:cubicBezTo>
                  <a:cubicBezTo>
                    <a:pt x="226" y="43"/>
                    <a:pt x="227" y="42"/>
                    <a:pt x="227" y="42"/>
                  </a:cubicBezTo>
                  <a:cubicBezTo>
                    <a:pt x="227" y="42"/>
                    <a:pt x="227" y="41"/>
                    <a:pt x="227" y="41"/>
                  </a:cubicBezTo>
                  <a:cubicBezTo>
                    <a:pt x="227" y="41"/>
                    <a:pt x="227" y="40"/>
                    <a:pt x="227" y="40"/>
                  </a:cubicBezTo>
                  <a:cubicBezTo>
                    <a:pt x="227" y="39"/>
                    <a:pt x="228" y="39"/>
                    <a:pt x="229" y="39"/>
                  </a:cubicBezTo>
                  <a:cubicBezTo>
                    <a:pt x="229" y="39"/>
                    <a:pt x="229" y="39"/>
                    <a:pt x="230" y="39"/>
                  </a:cubicBezTo>
                  <a:cubicBezTo>
                    <a:pt x="230" y="39"/>
                    <a:pt x="230" y="39"/>
                    <a:pt x="230" y="39"/>
                  </a:cubicBezTo>
                  <a:cubicBezTo>
                    <a:pt x="230" y="39"/>
                    <a:pt x="230" y="39"/>
                    <a:pt x="230" y="39"/>
                  </a:cubicBezTo>
                  <a:cubicBezTo>
                    <a:pt x="230" y="39"/>
                    <a:pt x="230" y="39"/>
                    <a:pt x="231" y="39"/>
                  </a:cubicBezTo>
                  <a:cubicBezTo>
                    <a:pt x="231" y="39"/>
                    <a:pt x="231" y="39"/>
                    <a:pt x="231" y="39"/>
                  </a:cubicBezTo>
                  <a:cubicBezTo>
                    <a:pt x="231" y="40"/>
                    <a:pt x="231" y="40"/>
                    <a:pt x="231" y="40"/>
                  </a:cubicBezTo>
                  <a:cubicBezTo>
                    <a:pt x="231" y="40"/>
                    <a:pt x="231" y="40"/>
                    <a:pt x="231" y="40"/>
                  </a:cubicBezTo>
                  <a:cubicBezTo>
                    <a:pt x="231" y="40"/>
                    <a:pt x="231" y="40"/>
                    <a:pt x="231" y="40"/>
                  </a:cubicBezTo>
                  <a:cubicBezTo>
                    <a:pt x="232" y="40"/>
                    <a:pt x="232" y="40"/>
                    <a:pt x="232" y="40"/>
                  </a:cubicBezTo>
                  <a:cubicBezTo>
                    <a:pt x="232" y="41"/>
                    <a:pt x="232" y="41"/>
                    <a:pt x="232" y="41"/>
                  </a:cubicBezTo>
                  <a:cubicBezTo>
                    <a:pt x="232" y="41"/>
                    <a:pt x="232" y="41"/>
                    <a:pt x="233" y="41"/>
                  </a:cubicBezTo>
                  <a:cubicBezTo>
                    <a:pt x="233" y="41"/>
                    <a:pt x="233" y="41"/>
                    <a:pt x="233" y="41"/>
                  </a:cubicBezTo>
                  <a:cubicBezTo>
                    <a:pt x="233" y="41"/>
                    <a:pt x="233" y="41"/>
                    <a:pt x="233" y="41"/>
                  </a:cubicBezTo>
                  <a:cubicBezTo>
                    <a:pt x="233" y="41"/>
                    <a:pt x="233" y="41"/>
                    <a:pt x="234" y="41"/>
                  </a:cubicBezTo>
                  <a:cubicBezTo>
                    <a:pt x="234" y="41"/>
                    <a:pt x="234" y="41"/>
                    <a:pt x="234" y="41"/>
                  </a:cubicBezTo>
                  <a:cubicBezTo>
                    <a:pt x="234" y="40"/>
                    <a:pt x="234" y="40"/>
                    <a:pt x="234" y="40"/>
                  </a:cubicBezTo>
                  <a:cubicBezTo>
                    <a:pt x="234" y="40"/>
                    <a:pt x="234" y="39"/>
                    <a:pt x="234" y="39"/>
                  </a:cubicBezTo>
                  <a:cubicBezTo>
                    <a:pt x="235" y="39"/>
                    <a:pt x="235" y="39"/>
                    <a:pt x="235" y="39"/>
                  </a:cubicBezTo>
                  <a:cubicBezTo>
                    <a:pt x="235" y="39"/>
                    <a:pt x="235" y="39"/>
                    <a:pt x="235" y="39"/>
                  </a:cubicBezTo>
                  <a:cubicBezTo>
                    <a:pt x="236" y="39"/>
                    <a:pt x="236" y="39"/>
                    <a:pt x="236" y="39"/>
                  </a:cubicBezTo>
                  <a:cubicBezTo>
                    <a:pt x="236" y="39"/>
                    <a:pt x="237" y="39"/>
                    <a:pt x="237" y="39"/>
                  </a:cubicBezTo>
                  <a:cubicBezTo>
                    <a:pt x="237" y="39"/>
                    <a:pt x="237" y="39"/>
                    <a:pt x="237" y="40"/>
                  </a:cubicBezTo>
                  <a:cubicBezTo>
                    <a:pt x="237" y="40"/>
                    <a:pt x="237" y="40"/>
                    <a:pt x="237" y="40"/>
                  </a:cubicBezTo>
                  <a:cubicBezTo>
                    <a:pt x="237" y="41"/>
                    <a:pt x="237" y="41"/>
                    <a:pt x="236" y="41"/>
                  </a:cubicBezTo>
                  <a:cubicBezTo>
                    <a:pt x="236" y="41"/>
                    <a:pt x="236" y="41"/>
                    <a:pt x="236" y="41"/>
                  </a:cubicBezTo>
                  <a:cubicBezTo>
                    <a:pt x="236" y="42"/>
                    <a:pt x="236" y="42"/>
                    <a:pt x="236" y="42"/>
                  </a:cubicBezTo>
                  <a:cubicBezTo>
                    <a:pt x="236" y="42"/>
                    <a:pt x="236" y="42"/>
                    <a:pt x="235" y="42"/>
                  </a:cubicBezTo>
                  <a:cubicBezTo>
                    <a:pt x="235" y="42"/>
                    <a:pt x="235" y="42"/>
                    <a:pt x="235" y="42"/>
                  </a:cubicBezTo>
                  <a:cubicBezTo>
                    <a:pt x="235" y="42"/>
                    <a:pt x="235" y="43"/>
                    <a:pt x="235" y="43"/>
                  </a:cubicBezTo>
                  <a:cubicBezTo>
                    <a:pt x="235" y="43"/>
                    <a:pt x="235" y="43"/>
                    <a:pt x="235" y="43"/>
                  </a:cubicBezTo>
                  <a:cubicBezTo>
                    <a:pt x="235" y="43"/>
                    <a:pt x="235" y="44"/>
                    <a:pt x="235" y="44"/>
                  </a:cubicBezTo>
                  <a:cubicBezTo>
                    <a:pt x="235" y="44"/>
                    <a:pt x="235" y="44"/>
                    <a:pt x="235" y="44"/>
                  </a:cubicBezTo>
                  <a:cubicBezTo>
                    <a:pt x="235" y="44"/>
                    <a:pt x="235" y="45"/>
                    <a:pt x="234" y="45"/>
                  </a:cubicBezTo>
                  <a:cubicBezTo>
                    <a:pt x="234" y="45"/>
                    <a:pt x="234" y="45"/>
                    <a:pt x="234" y="45"/>
                  </a:cubicBezTo>
                  <a:cubicBezTo>
                    <a:pt x="234" y="45"/>
                    <a:pt x="234" y="45"/>
                    <a:pt x="234" y="45"/>
                  </a:cubicBezTo>
                  <a:cubicBezTo>
                    <a:pt x="235" y="45"/>
                    <a:pt x="235" y="46"/>
                    <a:pt x="235" y="46"/>
                  </a:cubicBezTo>
                  <a:cubicBezTo>
                    <a:pt x="236" y="47"/>
                    <a:pt x="236" y="47"/>
                    <a:pt x="236" y="47"/>
                  </a:cubicBezTo>
                  <a:cubicBezTo>
                    <a:pt x="236" y="47"/>
                    <a:pt x="236" y="47"/>
                    <a:pt x="236" y="47"/>
                  </a:cubicBezTo>
                  <a:cubicBezTo>
                    <a:pt x="236" y="47"/>
                    <a:pt x="236" y="47"/>
                    <a:pt x="236" y="47"/>
                  </a:cubicBezTo>
                  <a:cubicBezTo>
                    <a:pt x="237" y="48"/>
                    <a:pt x="237" y="48"/>
                    <a:pt x="237" y="48"/>
                  </a:cubicBezTo>
                  <a:cubicBezTo>
                    <a:pt x="237" y="48"/>
                    <a:pt x="237" y="48"/>
                    <a:pt x="237" y="48"/>
                  </a:cubicBezTo>
                  <a:cubicBezTo>
                    <a:pt x="237" y="48"/>
                    <a:pt x="237" y="48"/>
                    <a:pt x="238" y="48"/>
                  </a:cubicBezTo>
                  <a:cubicBezTo>
                    <a:pt x="239" y="48"/>
                    <a:pt x="239" y="48"/>
                    <a:pt x="239" y="48"/>
                  </a:cubicBezTo>
                  <a:cubicBezTo>
                    <a:pt x="239" y="48"/>
                    <a:pt x="239" y="48"/>
                    <a:pt x="239" y="48"/>
                  </a:cubicBezTo>
                  <a:cubicBezTo>
                    <a:pt x="239" y="48"/>
                    <a:pt x="239" y="48"/>
                    <a:pt x="240" y="48"/>
                  </a:cubicBezTo>
                  <a:cubicBezTo>
                    <a:pt x="242" y="47"/>
                    <a:pt x="242" y="47"/>
                    <a:pt x="242" y="47"/>
                  </a:cubicBezTo>
                  <a:cubicBezTo>
                    <a:pt x="242" y="47"/>
                    <a:pt x="242" y="47"/>
                    <a:pt x="242" y="47"/>
                  </a:cubicBezTo>
                  <a:cubicBezTo>
                    <a:pt x="244" y="45"/>
                    <a:pt x="244" y="45"/>
                    <a:pt x="244" y="45"/>
                  </a:cubicBezTo>
                  <a:cubicBezTo>
                    <a:pt x="244" y="44"/>
                    <a:pt x="244" y="44"/>
                    <a:pt x="244" y="44"/>
                  </a:cubicBezTo>
                  <a:cubicBezTo>
                    <a:pt x="245" y="44"/>
                    <a:pt x="245" y="44"/>
                    <a:pt x="245" y="44"/>
                  </a:cubicBezTo>
                  <a:cubicBezTo>
                    <a:pt x="245" y="44"/>
                    <a:pt x="245" y="44"/>
                    <a:pt x="246" y="44"/>
                  </a:cubicBezTo>
                  <a:cubicBezTo>
                    <a:pt x="251" y="43"/>
                    <a:pt x="251" y="43"/>
                    <a:pt x="251" y="43"/>
                  </a:cubicBezTo>
                  <a:cubicBezTo>
                    <a:pt x="253" y="41"/>
                    <a:pt x="253" y="41"/>
                    <a:pt x="253" y="41"/>
                  </a:cubicBezTo>
                  <a:cubicBezTo>
                    <a:pt x="254" y="40"/>
                    <a:pt x="254" y="40"/>
                    <a:pt x="254" y="40"/>
                  </a:cubicBezTo>
                  <a:cubicBezTo>
                    <a:pt x="254" y="40"/>
                    <a:pt x="254" y="39"/>
                    <a:pt x="255" y="39"/>
                  </a:cubicBezTo>
                  <a:cubicBezTo>
                    <a:pt x="255" y="39"/>
                    <a:pt x="255" y="39"/>
                    <a:pt x="255" y="39"/>
                  </a:cubicBezTo>
                  <a:cubicBezTo>
                    <a:pt x="256" y="39"/>
                    <a:pt x="256" y="39"/>
                    <a:pt x="256" y="39"/>
                  </a:cubicBezTo>
                  <a:cubicBezTo>
                    <a:pt x="256" y="39"/>
                    <a:pt x="256" y="39"/>
                    <a:pt x="256" y="39"/>
                  </a:cubicBezTo>
                  <a:cubicBezTo>
                    <a:pt x="256" y="39"/>
                    <a:pt x="256" y="39"/>
                    <a:pt x="256" y="39"/>
                  </a:cubicBezTo>
                  <a:cubicBezTo>
                    <a:pt x="257" y="39"/>
                    <a:pt x="257" y="39"/>
                    <a:pt x="257" y="39"/>
                  </a:cubicBezTo>
                  <a:cubicBezTo>
                    <a:pt x="257" y="38"/>
                    <a:pt x="257" y="38"/>
                    <a:pt x="257" y="38"/>
                  </a:cubicBezTo>
                  <a:cubicBezTo>
                    <a:pt x="257" y="38"/>
                    <a:pt x="257" y="38"/>
                    <a:pt x="257" y="38"/>
                  </a:cubicBezTo>
                  <a:cubicBezTo>
                    <a:pt x="257" y="38"/>
                    <a:pt x="257" y="38"/>
                    <a:pt x="257" y="38"/>
                  </a:cubicBezTo>
                  <a:cubicBezTo>
                    <a:pt x="257" y="37"/>
                    <a:pt x="257" y="37"/>
                    <a:pt x="258" y="37"/>
                  </a:cubicBezTo>
                  <a:cubicBezTo>
                    <a:pt x="260" y="35"/>
                    <a:pt x="260" y="35"/>
                    <a:pt x="260" y="35"/>
                  </a:cubicBezTo>
                  <a:cubicBezTo>
                    <a:pt x="260" y="34"/>
                    <a:pt x="260" y="34"/>
                    <a:pt x="260" y="34"/>
                  </a:cubicBezTo>
                  <a:cubicBezTo>
                    <a:pt x="261" y="34"/>
                    <a:pt x="261" y="34"/>
                    <a:pt x="261" y="34"/>
                  </a:cubicBezTo>
                  <a:cubicBezTo>
                    <a:pt x="261" y="34"/>
                    <a:pt x="261" y="34"/>
                    <a:pt x="261" y="34"/>
                  </a:cubicBezTo>
                  <a:cubicBezTo>
                    <a:pt x="261" y="34"/>
                    <a:pt x="261" y="34"/>
                    <a:pt x="261" y="34"/>
                  </a:cubicBezTo>
                  <a:cubicBezTo>
                    <a:pt x="262" y="32"/>
                    <a:pt x="262" y="32"/>
                    <a:pt x="262" y="32"/>
                  </a:cubicBezTo>
                  <a:cubicBezTo>
                    <a:pt x="262" y="32"/>
                    <a:pt x="263" y="31"/>
                    <a:pt x="263" y="31"/>
                  </a:cubicBezTo>
                  <a:cubicBezTo>
                    <a:pt x="263" y="31"/>
                    <a:pt x="263" y="31"/>
                    <a:pt x="263" y="31"/>
                  </a:cubicBezTo>
                  <a:cubicBezTo>
                    <a:pt x="264" y="30"/>
                    <a:pt x="264" y="30"/>
                    <a:pt x="264" y="30"/>
                  </a:cubicBezTo>
                  <a:cubicBezTo>
                    <a:pt x="265" y="30"/>
                    <a:pt x="265" y="30"/>
                    <a:pt x="265" y="30"/>
                  </a:cubicBezTo>
                  <a:cubicBezTo>
                    <a:pt x="265" y="30"/>
                    <a:pt x="265" y="30"/>
                    <a:pt x="265" y="30"/>
                  </a:cubicBezTo>
                  <a:cubicBezTo>
                    <a:pt x="265" y="30"/>
                    <a:pt x="265" y="30"/>
                    <a:pt x="265" y="30"/>
                  </a:cubicBezTo>
                  <a:cubicBezTo>
                    <a:pt x="266" y="30"/>
                    <a:pt x="266" y="30"/>
                    <a:pt x="266" y="30"/>
                  </a:cubicBezTo>
                  <a:cubicBezTo>
                    <a:pt x="266" y="29"/>
                    <a:pt x="266" y="29"/>
                    <a:pt x="266" y="29"/>
                  </a:cubicBezTo>
                  <a:cubicBezTo>
                    <a:pt x="267" y="29"/>
                    <a:pt x="267" y="29"/>
                    <a:pt x="267" y="29"/>
                  </a:cubicBezTo>
                  <a:cubicBezTo>
                    <a:pt x="268" y="29"/>
                    <a:pt x="268" y="29"/>
                    <a:pt x="268" y="29"/>
                  </a:cubicBezTo>
                  <a:cubicBezTo>
                    <a:pt x="268" y="28"/>
                    <a:pt x="268" y="28"/>
                    <a:pt x="268" y="28"/>
                  </a:cubicBezTo>
                  <a:cubicBezTo>
                    <a:pt x="272" y="28"/>
                    <a:pt x="272" y="28"/>
                    <a:pt x="272" y="28"/>
                  </a:cubicBezTo>
                  <a:cubicBezTo>
                    <a:pt x="272" y="28"/>
                    <a:pt x="272" y="28"/>
                    <a:pt x="272" y="28"/>
                  </a:cubicBezTo>
                  <a:cubicBezTo>
                    <a:pt x="273" y="28"/>
                    <a:pt x="273" y="28"/>
                    <a:pt x="273" y="28"/>
                  </a:cubicBezTo>
                  <a:cubicBezTo>
                    <a:pt x="273" y="29"/>
                    <a:pt x="273" y="29"/>
                    <a:pt x="273" y="29"/>
                  </a:cubicBezTo>
                  <a:cubicBezTo>
                    <a:pt x="273" y="29"/>
                    <a:pt x="273" y="29"/>
                    <a:pt x="273" y="29"/>
                  </a:cubicBezTo>
                  <a:cubicBezTo>
                    <a:pt x="274" y="29"/>
                    <a:pt x="274" y="29"/>
                    <a:pt x="274" y="30"/>
                  </a:cubicBezTo>
                  <a:cubicBezTo>
                    <a:pt x="274" y="30"/>
                    <a:pt x="274" y="30"/>
                    <a:pt x="274" y="30"/>
                  </a:cubicBezTo>
                  <a:cubicBezTo>
                    <a:pt x="274" y="31"/>
                    <a:pt x="274" y="31"/>
                    <a:pt x="273" y="31"/>
                  </a:cubicBezTo>
                  <a:cubicBezTo>
                    <a:pt x="273" y="31"/>
                    <a:pt x="273" y="31"/>
                    <a:pt x="273" y="31"/>
                  </a:cubicBezTo>
                  <a:cubicBezTo>
                    <a:pt x="273" y="32"/>
                    <a:pt x="273" y="32"/>
                    <a:pt x="273" y="32"/>
                  </a:cubicBezTo>
                  <a:cubicBezTo>
                    <a:pt x="271" y="32"/>
                    <a:pt x="271" y="32"/>
                    <a:pt x="271" y="32"/>
                  </a:cubicBezTo>
                  <a:cubicBezTo>
                    <a:pt x="271" y="32"/>
                    <a:pt x="271" y="32"/>
                    <a:pt x="271" y="33"/>
                  </a:cubicBezTo>
                  <a:cubicBezTo>
                    <a:pt x="270" y="34"/>
                    <a:pt x="270" y="34"/>
                    <a:pt x="270" y="34"/>
                  </a:cubicBezTo>
                  <a:cubicBezTo>
                    <a:pt x="270" y="34"/>
                    <a:pt x="269" y="34"/>
                    <a:pt x="269" y="34"/>
                  </a:cubicBezTo>
                  <a:cubicBezTo>
                    <a:pt x="269" y="34"/>
                    <a:pt x="269" y="34"/>
                    <a:pt x="269" y="34"/>
                  </a:cubicBezTo>
                  <a:cubicBezTo>
                    <a:pt x="269" y="34"/>
                    <a:pt x="269" y="34"/>
                    <a:pt x="269" y="34"/>
                  </a:cubicBezTo>
                  <a:cubicBezTo>
                    <a:pt x="269" y="35"/>
                    <a:pt x="269" y="35"/>
                    <a:pt x="268" y="35"/>
                  </a:cubicBezTo>
                  <a:cubicBezTo>
                    <a:pt x="268" y="36"/>
                    <a:pt x="268" y="36"/>
                    <a:pt x="268" y="36"/>
                  </a:cubicBezTo>
                  <a:cubicBezTo>
                    <a:pt x="268" y="36"/>
                    <a:pt x="268" y="36"/>
                    <a:pt x="268" y="36"/>
                  </a:cubicBezTo>
                  <a:cubicBezTo>
                    <a:pt x="268" y="36"/>
                    <a:pt x="268" y="36"/>
                    <a:pt x="267" y="37"/>
                  </a:cubicBezTo>
                  <a:cubicBezTo>
                    <a:pt x="267" y="37"/>
                    <a:pt x="267" y="37"/>
                    <a:pt x="267" y="37"/>
                  </a:cubicBezTo>
                  <a:cubicBezTo>
                    <a:pt x="267" y="38"/>
                    <a:pt x="267" y="38"/>
                    <a:pt x="266" y="38"/>
                  </a:cubicBezTo>
                  <a:cubicBezTo>
                    <a:pt x="266" y="38"/>
                    <a:pt x="266" y="38"/>
                    <a:pt x="266" y="38"/>
                  </a:cubicBezTo>
                  <a:cubicBezTo>
                    <a:pt x="266" y="39"/>
                    <a:pt x="266" y="39"/>
                    <a:pt x="266" y="39"/>
                  </a:cubicBezTo>
                  <a:cubicBezTo>
                    <a:pt x="266" y="39"/>
                    <a:pt x="266" y="39"/>
                    <a:pt x="266" y="40"/>
                  </a:cubicBezTo>
                  <a:cubicBezTo>
                    <a:pt x="266" y="40"/>
                    <a:pt x="266" y="40"/>
                    <a:pt x="266" y="40"/>
                  </a:cubicBezTo>
                  <a:cubicBezTo>
                    <a:pt x="267" y="39"/>
                    <a:pt x="267" y="39"/>
                    <a:pt x="267" y="39"/>
                  </a:cubicBezTo>
                  <a:cubicBezTo>
                    <a:pt x="268" y="39"/>
                    <a:pt x="269" y="39"/>
                    <a:pt x="269" y="39"/>
                  </a:cubicBezTo>
                  <a:cubicBezTo>
                    <a:pt x="269" y="39"/>
                    <a:pt x="269" y="39"/>
                    <a:pt x="269" y="39"/>
                  </a:cubicBezTo>
                  <a:cubicBezTo>
                    <a:pt x="271" y="39"/>
                    <a:pt x="271" y="39"/>
                    <a:pt x="271" y="39"/>
                  </a:cubicBezTo>
                  <a:cubicBezTo>
                    <a:pt x="272" y="39"/>
                    <a:pt x="272" y="39"/>
                    <a:pt x="272" y="39"/>
                  </a:cubicBezTo>
                  <a:cubicBezTo>
                    <a:pt x="273" y="39"/>
                    <a:pt x="273" y="39"/>
                    <a:pt x="273" y="39"/>
                  </a:cubicBezTo>
                  <a:cubicBezTo>
                    <a:pt x="274" y="39"/>
                    <a:pt x="274" y="39"/>
                    <a:pt x="274" y="40"/>
                  </a:cubicBezTo>
                  <a:cubicBezTo>
                    <a:pt x="274" y="40"/>
                    <a:pt x="275" y="40"/>
                    <a:pt x="275" y="40"/>
                  </a:cubicBezTo>
                  <a:cubicBezTo>
                    <a:pt x="275" y="40"/>
                    <a:pt x="275" y="40"/>
                    <a:pt x="275" y="40"/>
                  </a:cubicBezTo>
                  <a:cubicBezTo>
                    <a:pt x="275" y="40"/>
                    <a:pt x="276" y="40"/>
                    <a:pt x="276" y="41"/>
                  </a:cubicBezTo>
                  <a:cubicBezTo>
                    <a:pt x="276" y="41"/>
                    <a:pt x="276" y="41"/>
                    <a:pt x="276" y="41"/>
                  </a:cubicBezTo>
                  <a:cubicBezTo>
                    <a:pt x="276" y="41"/>
                    <a:pt x="276" y="41"/>
                    <a:pt x="276" y="41"/>
                  </a:cubicBezTo>
                  <a:cubicBezTo>
                    <a:pt x="276" y="41"/>
                    <a:pt x="276" y="41"/>
                    <a:pt x="276" y="41"/>
                  </a:cubicBezTo>
                  <a:cubicBezTo>
                    <a:pt x="277" y="41"/>
                    <a:pt x="277" y="41"/>
                    <a:pt x="277" y="41"/>
                  </a:cubicBezTo>
                  <a:cubicBezTo>
                    <a:pt x="277" y="42"/>
                    <a:pt x="277" y="42"/>
                    <a:pt x="277" y="42"/>
                  </a:cubicBezTo>
                  <a:cubicBezTo>
                    <a:pt x="277" y="42"/>
                    <a:pt x="277" y="42"/>
                    <a:pt x="277" y="42"/>
                  </a:cubicBezTo>
                  <a:cubicBezTo>
                    <a:pt x="278" y="43"/>
                    <a:pt x="278" y="43"/>
                    <a:pt x="278" y="43"/>
                  </a:cubicBezTo>
                  <a:cubicBezTo>
                    <a:pt x="278" y="43"/>
                    <a:pt x="278" y="43"/>
                    <a:pt x="278" y="43"/>
                  </a:cubicBezTo>
                  <a:cubicBezTo>
                    <a:pt x="279" y="44"/>
                    <a:pt x="279" y="44"/>
                    <a:pt x="279" y="44"/>
                  </a:cubicBezTo>
                  <a:cubicBezTo>
                    <a:pt x="279" y="44"/>
                    <a:pt x="279" y="44"/>
                    <a:pt x="279" y="44"/>
                  </a:cubicBezTo>
                  <a:cubicBezTo>
                    <a:pt x="280" y="44"/>
                    <a:pt x="280" y="44"/>
                    <a:pt x="280" y="44"/>
                  </a:cubicBezTo>
                  <a:cubicBezTo>
                    <a:pt x="280" y="44"/>
                    <a:pt x="280" y="45"/>
                    <a:pt x="280" y="45"/>
                  </a:cubicBezTo>
                  <a:cubicBezTo>
                    <a:pt x="281" y="46"/>
                    <a:pt x="281" y="46"/>
                    <a:pt x="281" y="46"/>
                  </a:cubicBezTo>
                  <a:cubicBezTo>
                    <a:pt x="282" y="46"/>
                    <a:pt x="282" y="46"/>
                    <a:pt x="282" y="46"/>
                  </a:cubicBezTo>
                  <a:cubicBezTo>
                    <a:pt x="282" y="46"/>
                    <a:pt x="282" y="46"/>
                    <a:pt x="282" y="46"/>
                  </a:cubicBezTo>
                  <a:cubicBezTo>
                    <a:pt x="282" y="46"/>
                    <a:pt x="283" y="46"/>
                    <a:pt x="283" y="46"/>
                  </a:cubicBezTo>
                  <a:cubicBezTo>
                    <a:pt x="283" y="46"/>
                    <a:pt x="283" y="46"/>
                    <a:pt x="283" y="46"/>
                  </a:cubicBezTo>
                  <a:cubicBezTo>
                    <a:pt x="283" y="46"/>
                    <a:pt x="283" y="45"/>
                    <a:pt x="283" y="45"/>
                  </a:cubicBezTo>
                  <a:cubicBezTo>
                    <a:pt x="283" y="45"/>
                    <a:pt x="283" y="45"/>
                    <a:pt x="284" y="45"/>
                  </a:cubicBezTo>
                  <a:cubicBezTo>
                    <a:pt x="284" y="45"/>
                    <a:pt x="284" y="45"/>
                    <a:pt x="284" y="45"/>
                  </a:cubicBezTo>
                  <a:cubicBezTo>
                    <a:pt x="284" y="45"/>
                    <a:pt x="284" y="44"/>
                    <a:pt x="285" y="44"/>
                  </a:cubicBezTo>
                  <a:cubicBezTo>
                    <a:pt x="285" y="44"/>
                    <a:pt x="285" y="44"/>
                    <a:pt x="285" y="44"/>
                  </a:cubicBezTo>
                  <a:cubicBezTo>
                    <a:pt x="285" y="44"/>
                    <a:pt x="285" y="44"/>
                    <a:pt x="285" y="44"/>
                  </a:cubicBezTo>
                  <a:cubicBezTo>
                    <a:pt x="286" y="44"/>
                    <a:pt x="286" y="45"/>
                    <a:pt x="286" y="45"/>
                  </a:cubicBezTo>
                  <a:cubicBezTo>
                    <a:pt x="286" y="46"/>
                    <a:pt x="286" y="46"/>
                    <a:pt x="286" y="46"/>
                  </a:cubicBezTo>
                  <a:cubicBezTo>
                    <a:pt x="286" y="46"/>
                    <a:pt x="286" y="46"/>
                    <a:pt x="286" y="46"/>
                  </a:cubicBezTo>
                  <a:cubicBezTo>
                    <a:pt x="286" y="46"/>
                    <a:pt x="286" y="46"/>
                    <a:pt x="286" y="46"/>
                  </a:cubicBezTo>
                  <a:cubicBezTo>
                    <a:pt x="287" y="46"/>
                    <a:pt x="287" y="46"/>
                    <a:pt x="287" y="46"/>
                  </a:cubicBezTo>
                  <a:cubicBezTo>
                    <a:pt x="287" y="46"/>
                    <a:pt x="287" y="46"/>
                    <a:pt x="287" y="46"/>
                  </a:cubicBezTo>
                  <a:cubicBezTo>
                    <a:pt x="287" y="46"/>
                    <a:pt x="288" y="45"/>
                    <a:pt x="288" y="45"/>
                  </a:cubicBezTo>
                  <a:cubicBezTo>
                    <a:pt x="288" y="45"/>
                    <a:pt x="288" y="45"/>
                    <a:pt x="288" y="45"/>
                  </a:cubicBezTo>
                  <a:cubicBezTo>
                    <a:pt x="288" y="44"/>
                    <a:pt x="288" y="44"/>
                    <a:pt x="289" y="44"/>
                  </a:cubicBezTo>
                  <a:cubicBezTo>
                    <a:pt x="290" y="44"/>
                    <a:pt x="290" y="44"/>
                    <a:pt x="290" y="44"/>
                  </a:cubicBezTo>
                  <a:cubicBezTo>
                    <a:pt x="290" y="44"/>
                    <a:pt x="290" y="44"/>
                    <a:pt x="290" y="44"/>
                  </a:cubicBezTo>
                  <a:cubicBezTo>
                    <a:pt x="291" y="44"/>
                    <a:pt x="291" y="44"/>
                    <a:pt x="291" y="44"/>
                  </a:cubicBezTo>
                  <a:cubicBezTo>
                    <a:pt x="291" y="44"/>
                    <a:pt x="291" y="44"/>
                    <a:pt x="291" y="44"/>
                  </a:cubicBezTo>
                  <a:cubicBezTo>
                    <a:pt x="291" y="44"/>
                    <a:pt x="291" y="44"/>
                    <a:pt x="291" y="44"/>
                  </a:cubicBezTo>
                  <a:cubicBezTo>
                    <a:pt x="291" y="44"/>
                    <a:pt x="291" y="44"/>
                    <a:pt x="291" y="44"/>
                  </a:cubicBezTo>
                  <a:cubicBezTo>
                    <a:pt x="291" y="44"/>
                    <a:pt x="292" y="43"/>
                    <a:pt x="292" y="43"/>
                  </a:cubicBezTo>
                  <a:cubicBezTo>
                    <a:pt x="292" y="43"/>
                    <a:pt x="292" y="43"/>
                    <a:pt x="292" y="43"/>
                  </a:cubicBezTo>
                  <a:cubicBezTo>
                    <a:pt x="294" y="42"/>
                    <a:pt x="294" y="42"/>
                    <a:pt x="294" y="42"/>
                  </a:cubicBezTo>
                  <a:cubicBezTo>
                    <a:pt x="296" y="41"/>
                    <a:pt x="296" y="41"/>
                    <a:pt x="296" y="41"/>
                  </a:cubicBezTo>
                  <a:cubicBezTo>
                    <a:pt x="296" y="40"/>
                    <a:pt x="297" y="40"/>
                    <a:pt x="297" y="41"/>
                  </a:cubicBezTo>
                  <a:cubicBezTo>
                    <a:pt x="299" y="40"/>
                    <a:pt x="299" y="40"/>
                    <a:pt x="299" y="40"/>
                  </a:cubicBezTo>
                  <a:cubicBezTo>
                    <a:pt x="299" y="40"/>
                    <a:pt x="300" y="40"/>
                    <a:pt x="300" y="40"/>
                  </a:cubicBezTo>
                  <a:cubicBezTo>
                    <a:pt x="305" y="40"/>
                    <a:pt x="305" y="40"/>
                    <a:pt x="305" y="40"/>
                  </a:cubicBezTo>
                  <a:cubicBezTo>
                    <a:pt x="305" y="39"/>
                    <a:pt x="305" y="39"/>
                    <a:pt x="305" y="39"/>
                  </a:cubicBezTo>
                  <a:cubicBezTo>
                    <a:pt x="305" y="39"/>
                    <a:pt x="305" y="39"/>
                    <a:pt x="305" y="39"/>
                  </a:cubicBezTo>
                  <a:cubicBezTo>
                    <a:pt x="309" y="37"/>
                    <a:pt x="309" y="37"/>
                    <a:pt x="309" y="37"/>
                  </a:cubicBezTo>
                  <a:cubicBezTo>
                    <a:pt x="309" y="37"/>
                    <a:pt x="309" y="37"/>
                    <a:pt x="309" y="37"/>
                  </a:cubicBezTo>
                  <a:cubicBezTo>
                    <a:pt x="310" y="37"/>
                    <a:pt x="310" y="37"/>
                    <a:pt x="310" y="37"/>
                  </a:cubicBezTo>
                  <a:cubicBezTo>
                    <a:pt x="311" y="37"/>
                    <a:pt x="311" y="37"/>
                    <a:pt x="311" y="37"/>
                  </a:cubicBezTo>
                  <a:cubicBezTo>
                    <a:pt x="311" y="36"/>
                    <a:pt x="311" y="36"/>
                    <a:pt x="311" y="36"/>
                  </a:cubicBezTo>
                  <a:cubicBezTo>
                    <a:pt x="313" y="36"/>
                    <a:pt x="313" y="36"/>
                    <a:pt x="313" y="36"/>
                  </a:cubicBezTo>
                  <a:cubicBezTo>
                    <a:pt x="313" y="36"/>
                    <a:pt x="313" y="37"/>
                    <a:pt x="314" y="37"/>
                  </a:cubicBezTo>
                  <a:cubicBezTo>
                    <a:pt x="314" y="37"/>
                    <a:pt x="314" y="38"/>
                    <a:pt x="313" y="38"/>
                  </a:cubicBezTo>
                  <a:cubicBezTo>
                    <a:pt x="313" y="38"/>
                    <a:pt x="313" y="38"/>
                    <a:pt x="313" y="38"/>
                  </a:cubicBezTo>
                  <a:cubicBezTo>
                    <a:pt x="313" y="38"/>
                    <a:pt x="313" y="39"/>
                    <a:pt x="313" y="39"/>
                  </a:cubicBezTo>
                  <a:cubicBezTo>
                    <a:pt x="313" y="41"/>
                    <a:pt x="313" y="41"/>
                    <a:pt x="313" y="41"/>
                  </a:cubicBezTo>
                  <a:cubicBezTo>
                    <a:pt x="313" y="41"/>
                    <a:pt x="313" y="41"/>
                    <a:pt x="313" y="41"/>
                  </a:cubicBezTo>
                  <a:cubicBezTo>
                    <a:pt x="313" y="41"/>
                    <a:pt x="313" y="41"/>
                    <a:pt x="313" y="42"/>
                  </a:cubicBezTo>
                  <a:cubicBezTo>
                    <a:pt x="313" y="42"/>
                    <a:pt x="313" y="42"/>
                    <a:pt x="313" y="42"/>
                  </a:cubicBezTo>
                  <a:cubicBezTo>
                    <a:pt x="314" y="42"/>
                    <a:pt x="314" y="42"/>
                    <a:pt x="314" y="42"/>
                  </a:cubicBezTo>
                  <a:cubicBezTo>
                    <a:pt x="314" y="42"/>
                    <a:pt x="314" y="42"/>
                    <a:pt x="314" y="42"/>
                  </a:cubicBezTo>
                  <a:cubicBezTo>
                    <a:pt x="315" y="42"/>
                    <a:pt x="315" y="42"/>
                    <a:pt x="315" y="42"/>
                  </a:cubicBezTo>
                  <a:cubicBezTo>
                    <a:pt x="316" y="42"/>
                    <a:pt x="316" y="42"/>
                    <a:pt x="316" y="42"/>
                  </a:cubicBezTo>
                  <a:cubicBezTo>
                    <a:pt x="316" y="42"/>
                    <a:pt x="316" y="42"/>
                    <a:pt x="316" y="42"/>
                  </a:cubicBezTo>
                  <a:cubicBezTo>
                    <a:pt x="317" y="41"/>
                    <a:pt x="317" y="41"/>
                    <a:pt x="317" y="41"/>
                  </a:cubicBezTo>
                  <a:cubicBezTo>
                    <a:pt x="317" y="41"/>
                    <a:pt x="318" y="41"/>
                    <a:pt x="318" y="41"/>
                  </a:cubicBezTo>
                  <a:cubicBezTo>
                    <a:pt x="318" y="42"/>
                    <a:pt x="318" y="42"/>
                    <a:pt x="318" y="42"/>
                  </a:cubicBezTo>
                  <a:cubicBezTo>
                    <a:pt x="319" y="42"/>
                    <a:pt x="319" y="42"/>
                    <a:pt x="319" y="42"/>
                  </a:cubicBezTo>
                  <a:cubicBezTo>
                    <a:pt x="319" y="42"/>
                    <a:pt x="319" y="42"/>
                    <a:pt x="319" y="42"/>
                  </a:cubicBezTo>
                  <a:cubicBezTo>
                    <a:pt x="319" y="42"/>
                    <a:pt x="319" y="42"/>
                    <a:pt x="319" y="42"/>
                  </a:cubicBezTo>
                  <a:cubicBezTo>
                    <a:pt x="320" y="41"/>
                    <a:pt x="320" y="41"/>
                    <a:pt x="320" y="41"/>
                  </a:cubicBezTo>
                  <a:cubicBezTo>
                    <a:pt x="320" y="41"/>
                    <a:pt x="320" y="41"/>
                    <a:pt x="320" y="41"/>
                  </a:cubicBezTo>
                  <a:cubicBezTo>
                    <a:pt x="320" y="40"/>
                    <a:pt x="320" y="40"/>
                    <a:pt x="321" y="40"/>
                  </a:cubicBezTo>
                  <a:cubicBezTo>
                    <a:pt x="322" y="40"/>
                    <a:pt x="322" y="40"/>
                    <a:pt x="322" y="40"/>
                  </a:cubicBezTo>
                  <a:cubicBezTo>
                    <a:pt x="322" y="40"/>
                    <a:pt x="322" y="40"/>
                    <a:pt x="322" y="40"/>
                  </a:cubicBezTo>
                  <a:cubicBezTo>
                    <a:pt x="323" y="40"/>
                    <a:pt x="323" y="40"/>
                    <a:pt x="323" y="40"/>
                  </a:cubicBezTo>
                  <a:cubicBezTo>
                    <a:pt x="323" y="39"/>
                    <a:pt x="323" y="39"/>
                    <a:pt x="323" y="39"/>
                  </a:cubicBezTo>
                  <a:cubicBezTo>
                    <a:pt x="325" y="39"/>
                    <a:pt x="325" y="39"/>
                    <a:pt x="325" y="39"/>
                  </a:cubicBezTo>
                  <a:cubicBezTo>
                    <a:pt x="325" y="39"/>
                    <a:pt x="326" y="40"/>
                    <a:pt x="326" y="40"/>
                  </a:cubicBezTo>
                  <a:cubicBezTo>
                    <a:pt x="326" y="41"/>
                    <a:pt x="326" y="41"/>
                    <a:pt x="325" y="41"/>
                  </a:cubicBezTo>
                  <a:cubicBezTo>
                    <a:pt x="325" y="41"/>
                    <a:pt x="325" y="42"/>
                    <a:pt x="325" y="42"/>
                  </a:cubicBezTo>
                  <a:cubicBezTo>
                    <a:pt x="325" y="42"/>
                    <a:pt x="325" y="42"/>
                    <a:pt x="325" y="42"/>
                  </a:cubicBezTo>
                  <a:cubicBezTo>
                    <a:pt x="325" y="42"/>
                    <a:pt x="325" y="42"/>
                    <a:pt x="325" y="42"/>
                  </a:cubicBezTo>
                  <a:cubicBezTo>
                    <a:pt x="326" y="43"/>
                    <a:pt x="326" y="43"/>
                    <a:pt x="326" y="43"/>
                  </a:cubicBezTo>
                  <a:cubicBezTo>
                    <a:pt x="326" y="44"/>
                    <a:pt x="326" y="44"/>
                    <a:pt x="326" y="44"/>
                  </a:cubicBezTo>
                  <a:cubicBezTo>
                    <a:pt x="326" y="44"/>
                    <a:pt x="326" y="44"/>
                    <a:pt x="326" y="44"/>
                  </a:cubicBezTo>
                  <a:cubicBezTo>
                    <a:pt x="326" y="44"/>
                    <a:pt x="326" y="44"/>
                    <a:pt x="326" y="44"/>
                  </a:cubicBezTo>
                  <a:cubicBezTo>
                    <a:pt x="326" y="45"/>
                    <a:pt x="326" y="45"/>
                    <a:pt x="326" y="45"/>
                  </a:cubicBezTo>
                  <a:cubicBezTo>
                    <a:pt x="326" y="45"/>
                    <a:pt x="326" y="45"/>
                    <a:pt x="326" y="45"/>
                  </a:cubicBezTo>
                  <a:cubicBezTo>
                    <a:pt x="326" y="46"/>
                    <a:pt x="326" y="46"/>
                    <a:pt x="326" y="46"/>
                  </a:cubicBezTo>
                  <a:cubicBezTo>
                    <a:pt x="326" y="46"/>
                    <a:pt x="326" y="46"/>
                    <a:pt x="326" y="46"/>
                  </a:cubicBezTo>
                  <a:cubicBezTo>
                    <a:pt x="327" y="46"/>
                    <a:pt x="327" y="46"/>
                    <a:pt x="327" y="46"/>
                  </a:cubicBezTo>
                  <a:cubicBezTo>
                    <a:pt x="327" y="47"/>
                    <a:pt x="327" y="47"/>
                    <a:pt x="327" y="47"/>
                  </a:cubicBezTo>
                  <a:cubicBezTo>
                    <a:pt x="327" y="47"/>
                    <a:pt x="328" y="47"/>
                    <a:pt x="328" y="47"/>
                  </a:cubicBezTo>
                  <a:cubicBezTo>
                    <a:pt x="328" y="48"/>
                    <a:pt x="328" y="48"/>
                    <a:pt x="328" y="48"/>
                  </a:cubicBezTo>
                  <a:cubicBezTo>
                    <a:pt x="328" y="49"/>
                    <a:pt x="328" y="49"/>
                    <a:pt x="328" y="49"/>
                  </a:cubicBezTo>
                  <a:cubicBezTo>
                    <a:pt x="329" y="49"/>
                    <a:pt x="329" y="49"/>
                    <a:pt x="329" y="49"/>
                  </a:cubicBezTo>
                  <a:cubicBezTo>
                    <a:pt x="329" y="49"/>
                    <a:pt x="329" y="49"/>
                    <a:pt x="329" y="49"/>
                  </a:cubicBezTo>
                  <a:cubicBezTo>
                    <a:pt x="329" y="49"/>
                    <a:pt x="329" y="49"/>
                    <a:pt x="329" y="49"/>
                  </a:cubicBezTo>
                  <a:cubicBezTo>
                    <a:pt x="330" y="49"/>
                    <a:pt x="330" y="49"/>
                    <a:pt x="330" y="49"/>
                  </a:cubicBezTo>
                  <a:cubicBezTo>
                    <a:pt x="330" y="49"/>
                    <a:pt x="330" y="49"/>
                    <a:pt x="330" y="49"/>
                  </a:cubicBezTo>
                  <a:cubicBezTo>
                    <a:pt x="330" y="48"/>
                    <a:pt x="330" y="48"/>
                    <a:pt x="330" y="48"/>
                  </a:cubicBezTo>
                  <a:cubicBezTo>
                    <a:pt x="330" y="48"/>
                    <a:pt x="330" y="48"/>
                    <a:pt x="330" y="48"/>
                  </a:cubicBezTo>
                  <a:cubicBezTo>
                    <a:pt x="330" y="48"/>
                    <a:pt x="330" y="48"/>
                    <a:pt x="330" y="48"/>
                  </a:cubicBezTo>
                  <a:cubicBezTo>
                    <a:pt x="330" y="47"/>
                    <a:pt x="331" y="47"/>
                    <a:pt x="331" y="47"/>
                  </a:cubicBezTo>
                  <a:cubicBezTo>
                    <a:pt x="332" y="47"/>
                    <a:pt x="332" y="47"/>
                    <a:pt x="332" y="47"/>
                  </a:cubicBezTo>
                  <a:cubicBezTo>
                    <a:pt x="332" y="46"/>
                    <a:pt x="332" y="46"/>
                    <a:pt x="332" y="46"/>
                  </a:cubicBezTo>
                  <a:cubicBezTo>
                    <a:pt x="333" y="46"/>
                    <a:pt x="333" y="46"/>
                    <a:pt x="333" y="46"/>
                  </a:cubicBezTo>
                  <a:cubicBezTo>
                    <a:pt x="333" y="46"/>
                    <a:pt x="334" y="46"/>
                    <a:pt x="334" y="47"/>
                  </a:cubicBezTo>
                  <a:cubicBezTo>
                    <a:pt x="334" y="47"/>
                    <a:pt x="334" y="47"/>
                    <a:pt x="334" y="47"/>
                  </a:cubicBezTo>
                  <a:cubicBezTo>
                    <a:pt x="334" y="47"/>
                    <a:pt x="334" y="47"/>
                    <a:pt x="334" y="47"/>
                  </a:cubicBezTo>
                  <a:cubicBezTo>
                    <a:pt x="334" y="47"/>
                    <a:pt x="334" y="47"/>
                    <a:pt x="334" y="48"/>
                  </a:cubicBezTo>
                  <a:cubicBezTo>
                    <a:pt x="335" y="48"/>
                    <a:pt x="335" y="48"/>
                    <a:pt x="335" y="48"/>
                  </a:cubicBezTo>
                  <a:cubicBezTo>
                    <a:pt x="335" y="48"/>
                    <a:pt x="335" y="48"/>
                    <a:pt x="335" y="48"/>
                  </a:cubicBezTo>
                  <a:cubicBezTo>
                    <a:pt x="336" y="49"/>
                    <a:pt x="336" y="49"/>
                    <a:pt x="336" y="49"/>
                  </a:cubicBezTo>
                  <a:cubicBezTo>
                    <a:pt x="336" y="49"/>
                    <a:pt x="336" y="50"/>
                    <a:pt x="336" y="50"/>
                  </a:cubicBezTo>
                  <a:cubicBezTo>
                    <a:pt x="336" y="50"/>
                    <a:pt x="336" y="50"/>
                    <a:pt x="336" y="50"/>
                  </a:cubicBezTo>
                  <a:cubicBezTo>
                    <a:pt x="336" y="51"/>
                    <a:pt x="336" y="51"/>
                    <a:pt x="335" y="51"/>
                  </a:cubicBezTo>
                  <a:cubicBezTo>
                    <a:pt x="335" y="51"/>
                    <a:pt x="335" y="51"/>
                    <a:pt x="335" y="51"/>
                  </a:cubicBezTo>
                  <a:cubicBezTo>
                    <a:pt x="335" y="52"/>
                    <a:pt x="335" y="52"/>
                    <a:pt x="334" y="52"/>
                  </a:cubicBezTo>
                  <a:cubicBezTo>
                    <a:pt x="333" y="52"/>
                    <a:pt x="333" y="52"/>
                    <a:pt x="333" y="52"/>
                  </a:cubicBezTo>
                  <a:cubicBezTo>
                    <a:pt x="333" y="52"/>
                    <a:pt x="333" y="52"/>
                    <a:pt x="332" y="52"/>
                  </a:cubicBezTo>
                  <a:cubicBezTo>
                    <a:pt x="332" y="52"/>
                    <a:pt x="332" y="52"/>
                    <a:pt x="331" y="52"/>
                  </a:cubicBezTo>
                  <a:cubicBezTo>
                    <a:pt x="331" y="52"/>
                    <a:pt x="331" y="52"/>
                    <a:pt x="331" y="52"/>
                  </a:cubicBezTo>
                  <a:cubicBezTo>
                    <a:pt x="331" y="52"/>
                    <a:pt x="330" y="52"/>
                    <a:pt x="330" y="52"/>
                  </a:cubicBezTo>
                  <a:cubicBezTo>
                    <a:pt x="330" y="52"/>
                    <a:pt x="330" y="52"/>
                    <a:pt x="330" y="52"/>
                  </a:cubicBezTo>
                  <a:cubicBezTo>
                    <a:pt x="329" y="52"/>
                    <a:pt x="329" y="52"/>
                    <a:pt x="329" y="52"/>
                  </a:cubicBezTo>
                  <a:cubicBezTo>
                    <a:pt x="329" y="52"/>
                    <a:pt x="329" y="52"/>
                    <a:pt x="329" y="52"/>
                  </a:cubicBezTo>
                  <a:cubicBezTo>
                    <a:pt x="329" y="52"/>
                    <a:pt x="328" y="52"/>
                    <a:pt x="328" y="52"/>
                  </a:cubicBezTo>
                  <a:cubicBezTo>
                    <a:pt x="324" y="52"/>
                    <a:pt x="324" y="52"/>
                    <a:pt x="324" y="52"/>
                  </a:cubicBezTo>
                  <a:cubicBezTo>
                    <a:pt x="324" y="52"/>
                    <a:pt x="324" y="52"/>
                    <a:pt x="324" y="52"/>
                  </a:cubicBezTo>
                  <a:cubicBezTo>
                    <a:pt x="324" y="53"/>
                    <a:pt x="324" y="53"/>
                    <a:pt x="323" y="53"/>
                  </a:cubicBezTo>
                  <a:cubicBezTo>
                    <a:pt x="322" y="53"/>
                    <a:pt x="322" y="53"/>
                    <a:pt x="322" y="53"/>
                  </a:cubicBezTo>
                  <a:cubicBezTo>
                    <a:pt x="321" y="53"/>
                    <a:pt x="321" y="53"/>
                    <a:pt x="321" y="53"/>
                  </a:cubicBezTo>
                  <a:cubicBezTo>
                    <a:pt x="320" y="53"/>
                    <a:pt x="320" y="53"/>
                    <a:pt x="320" y="53"/>
                  </a:cubicBezTo>
                  <a:cubicBezTo>
                    <a:pt x="320" y="53"/>
                    <a:pt x="320" y="52"/>
                    <a:pt x="319" y="52"/>
                  </a:cubicBezTo>
                  <a:cubicBezTo>
                    <a:pt x="319" y="52"/>
                    <a:pt x="319" y="52"/>
                    <a:pt x="319" y="52"/>
                  </a:cubicBezTo>
                  <a:cubicBezTo>
                    <a:pt x="319" y="52"/>
                    <a:pt x="320" y="53"/>
                    <a:pt x="320" y="53"/>
                  </a:cubicBezTo>
                  <a:cubicBezTo>
                    <a:pt x="320" y="53"/>
                    <a:pt x="320" y="53"/>
                    <a:pt x="319" y="53"/>
                  </a:cubicBezTo>
                  <a:cubicBezTo>
                    <a:pt x="320" y="53"/>
                    <a:pt x="320" y="53"/>
                    <a:pt x="320" y="53"/>
                  </a:cubicBezTo>
                  <a:cubicBezTo>
                    <a:pt x="322" y="54"/>
                    <a:pt x="322" y="54"/>
                    <a:pt x="322" y="54"/>
                  </a:cubicBezTo>
                  <a:cubicBezTo>
                    <a:pt x="322" y="54"/>
                    <a:pt x="323" y="54"/>
                    <a:pt x="323" y="54"/>
                  </a:cubicBezTo>
                  <a:cubicBezTo>
                    <a:pt x="324" y="54"/>
                    <a:pt x="324" y="54"/>
                    <a:pt x="324" y="55"/>
                  </a:cubicBezTo>
                  <a:cubicBezTo>
                    <a:pt x="325" y="55"/>
                    <a:pt x="325" y="55"/>
                    <a:pt x="325" y="55"/>
                  </a:cubicBezTo>
                  <a:cubicBezTo>
                    <a:pt x="325" y="55"/>
                    <a:pt x="325" y="55"/>
                    <a:pt x="325" y="55"/>
                  </a:cubicBezTo>
                  <a:cubicBezTo>
                    <a:pt x="325" y="55"/>
                    <a:pt x="326" y="55"/>
                    <a:pt x="326" y="55"/>
                  </a:cubicBezTo>
                  <a:cubicBezTo>
                    <a:pt x="326" y="55"/>
                    <a:pt x="326" y="55"/>
                    <a:pt x="326" y="55"/>
                  </a:cubicBezTo>
                  <a:cubicBezTo>
                    <a:pt x="326" y="55"/>
                    <a:pt x="327" y="55"/>
                    <a:pt x="327" y="55"/>
                  </a:cubicBezTo>
                  <a:cubicBezTo>
                    <a:pt x="327" y="55"/>
                    <a:pt x="327" y="55"/>
                    <a:pt x="327" y="55"/>
                  </a:cubicBezTo>
                  <a:cubicBezTo>
                    <a:pt x="328" y="56"/>
                    <a:pt x="328" y="56"/>
                    <a:pt x="328" y="56"/>
                  </a:cubicBezTo>
                  <a:cubicBezTo>
                    <a:pt x="328" y="56"/>
                    <a:pt x="329" y="56"/>
                    <a:pt x="329" y="56"/>
                  </a:cubicBezTo>
                  <a:cubicBezTo>
                    <a:pt x="329" y="56"/>
                    <a:pt x="330" y="57"/>
                    <a:pt x="330" y="57"/>
                  </a:cubicBezTo>
                  <a:cubicBezTo>
                    <a:pt x="330" y="57"/>
                    <a:pt x="330" y="57"/>
                    <a:pt x="330" y="57"/>
                  </a:cubicBezTo>
                  <a:cubicBezTo>
                    <a:pt x="333" y="60"/>
                    <a:pt x="333" y="60"/>
                    <a:pt x="333" y="60"/>
                  </a:cubicBezTo>
                  <a:cubicBezTo>
                    <a:pt x="333" y="60"/>
                    <a:pt x="333" y="60"/>
                    <a:pt x="333" y="60"/>
                  </a:cubicBezTo>
                  <a:cubicBezTo>
                    <a:pt x="333" y="60"/>
                    <a:pt x="334" y="60"/>
                    <a:pt x="334" y="60"/>
                  </a:cubicBezTo>
                  <a:cubicBezTo>
                    <a:pt x="334" y="60"/>
                    <a:pt x="334" y="60"/>
                    <a:pt x="334" y="60"/>
                  </a:cubicBezTo>
                  <a:cubicBezTo>
                    <a:pt x="335" y="60"/>
                    <a:pt x="335" y="60"/>
                    <a:pt x="335" y="61"/>
                  </a:cubicBezTo>
                  <a:cubicBezTo>
                    <a:pt x="335" y="61"/>
                    <a:pt x="335" y="61"/>
                    <a:pt x="335" y="61"/>
                  </a:cubicBezTo>
                  <a:cubicBezTo>
                    <a:pt x="335" y="60"/>
                    <a:pt x="335" y="60"/>
                    <a:pt x="336" y="60"/>
                  </a:cubicBezTo>
                  <a:cubicBezTo>
                    <a:pt x="336" y="60"/>
                    <a:pt x="336" y="60"/>
                    <a:pt x="336" y="60"/>
                  </a:cubicBezTo>
                  <a:cubicBezTo>
                    <a:pt x="336" y="60"/>
                    <a:pt x="337" y="60"/>
                    <a:pt x="337" y="61"/>
                  </a:cubicBezTo>
                  <a:cubicBezTo>
                    <a:pt x="338" y="61"/>
                    <a:pt x="338" y="61"/>
                    <a:pt x="338" y="61"/>
                  </a:cubicBezTo>
                  <a:cubicBezTo>
                    <a:pt x="338" y="61"/>
                    <a:pt x="338" y="61"/>
                    <a:pt x="338" y="61"/>
                  </a:cubicBezTo>
                  <a:cubicBezTo>
                    <a:pt x="339" y="62"/>
                    <a:pt x="339" y="62"/>
                    <a:pt x="339" y="62"/>
                  </a:cubicBezTo>
                  <a:cubicBezTo>
                    <a:pt x="339" y="63"/>
                    <a:pt x="339" y="63"/>
                    <a:pt x="339" y="64"/>
                  </a:cubicBezTo>
                  <a:cubicBezTo>
                    <a:pt x="339" y="64"/>
                    <a:pt x="339" y="64"/>
                    <a:pt x="339" y="64"/>
                  </a:cubicBezTo>
                  <a:cubicBezTo>
                    <a:pt x="340" y="64"/>
                    <a:pt x="340" y="64"/>
                    <a:pt x="340" y="64"/>
                  </a:cubicBezTo>
                  <a:cubicBezTo>
                    <a:pt x="340" y="64"/>
                    <a:pt x="340" y="64"/>
                    <a:pt x="340" y="64"/>
                  </a:cubicBezTo>
                  <a:cubicBezTo>
                    <a:pt x="340" y="64"/>
                    <a:pt x="341" y="65"/>
                    <a:pt x="341" y="65"/>
                  </a:cubicBezTo>
                  <a:cubicBezTo>
                    <a:pt x="341" y="65"/>
                    <a:pt x="341" y="65"/>
                    <a:pt x="341" y="65"/>
                  </a:cubicBezTo>
                  <a:cubicBezTo>
                    <a:pt x="341" y="65"/>
                    <a:pt x="341" y="65"/>
                    <a:pt x="341" y="66"/>
                  </a:cubicBezTo>
                  <a:cubicBezTo>
                    <a:pt x="341" y="66"/>
                    <a:pt x="341" y="66"/>
                    <a:pt x="341" y="66"/>
                  </a:cubicBezTo>
                  <a:cubicBezTo>
                    <a:pt x="341" y="66"/>
                    <a:pt x="342" y="66"/>
                    <a:pt x="342" y="67"/>
                  </a:cubicBezTo>
                  <a:cubicBezTo>
                    <a:pt x="342" y="67"/>
                    <a:pt x="342" y="67"/>
                    <a:pt x="342" y="67"/>
                  </a:cubicBezTo>
                  <a:cubicBezTo>
                    <a:pt x="342" y="68"/>
                    <a:pt x="342" y="68"/>
                    <a:pt x="341" y="68"/>
                  </a:cubicBezTo>
                  <a:cubicBezTo>
                    <a:pt x="341" y="68"/>
                    <a:pt x="341" y="68"/>
                    <a:pt x="341" y="68"/>
                  </a:cubicBezTo>
                  <a:cubicBezTo>
                    <a:pt x="340" y="68"/>
                    <a:pt x="340" y="68"/>
                    <a:pt x="340" y="68"/>
                  </a:cubicBezTo>
                  <a:cubicBezTo>
                    <a:pt x="339" y="68"/>
                    <a:pt x="339" y="68"/>
                    <a:pt x="339" y="68"/>
                  </a:cubicBezTo>
                  <a:cubicBezTo>
                    <a:pt x="339" y="68"/>
                    <a:pt x="339" y="68"/>
                    <a:pt x="339" y="68"/>
                  </a:cubicBezTo>
                  <a:cubicBezTo>
                    <a:pt x="339" y="69"/>
                    <a:pt x="339" y="69"/>
                    <a:pt x="339" y="69"/>
                  </a:cubicBezTo>
                  <a:cubicBezTo>
                    <a:pt x="340" y="69"/>
                    <a:pt x="340" y="69"/>
                    <a:pt x="340" y="69"/>
                  </a:cubicBezTo>
                  <a:cubicBezTo>
                    <a:pt x="340" y="69"/>
                    <a:pt x="340" y="69"/>
                    <a:pt x="340" y="69"/>
                  </a:cubicBezTo>
                  <a:cubicBezTo>
                    <a:pt x="341" y="69"/>
                    <a:pt x="341" y="70"/>
                    <a:pt x="341" y="70"/>
                  </a:cubicBezTo>
                  <a:cubicBezTo>
                    <a:pt x="341" y="70"/>
                    <a:pt x="342" y="71"/>
                    <a:pt x="342" y="71"/>
                  </a:cubicBezTo>
                  <a:cubicBezTo>
                    <a:pt x="342" y="71"/>
                    <a:pt x="342" y="71"/>
                    <a:pt x="342" y="71"/>
                  </a:cubicBezTo>
                  <a:cubicBezTo>
                    <a:pt x="342" y="72"/>
                    <a:pt x="342" y="72"/>
                    <a:pt x="342" y="72"/>
                  </a:cubicBezTo>
                  <a:cubicBezTo>
                    <a:pt x="342" y="72"/>
                    <a:pt x="342" y="72"/>
                    <a:pt x="342" y="72"/>
                  </a:cubicBezTo>
                  <a:cubicBezTo>
                    <a:pt x="342" y="73"/>
                    <a:pt x="342" y="73"/>
                    <a:pt x="342" y="73"/>
                  </a:cubicBezTo>
                  <a:cubicBezTo>
                    <a:pt x="342" y="73"/>
                    <a:pt x="342" y="73"/>
                    <a:pt x="342" y="73"/>
                  </a:cubicBezTo>
                  <a:cubicBezTo>
                    <a:pt x="342" y="75"/>
                    <a:pt x="342" y="75"/>
                    <a:pt x="342" y="75"/>
                  </a:cubicBezTo>
                  <a:cubicBezTo>
                    <a:pt x="343" y="81"/>
                    <a:pt x="343" y="81"/>
                    <a:pt x="343" y="81"/>
                  </a:cubicBezTo>
                  <a:cubicBezTo>
                    <a:pt x="343" y="81"/>
                    <a:pt x="343" y="81"/>
                    <a:pt x="343" y="81"/>
                  </a:cubicBezTo>
                  <a:cubicBezTo>
                    <a:pt x="342" y="82"/>
                    <a:pt x="342" y="82"/>
                    <a:pt x="342" y="82"/>
                  </a:cubicBezTo>
                  <a:cubicBezTo>
                    <a:pt x="342" y="82"/>
                    <a:pt x="342" y="83"/>
                    <a:pt x="341" y="83"/>
                  </a:cubicBezTo>
                  <a:cubicBezTo>
                    <a:pt x="341" y="83"/>
                    <a:pt x="341" y="83"/>
                    <a:pt x="341" y="83"/>
                  </a:cubicBezTo>
                  <a:cubicBezTo>
                    <a:pt x="341" y="83"/>
                    <a:pt x="341" y="83"/>
                    <a:pt x="341" y="83"/>
                  </a:cubicBezTo>
                  <a:cubicBezTo>
                    <a:pt x="341" y="83"/>
                    <a:pt x="341" y="84"/>
                    <a:pt x="341" y="84"/>
                  </a:cubicBezTo>
                  <a:cubicBezTo>
                    <a:pt x="341" y="84"/>
                    <a:pt x="341" y="84"/>
                    <a:pt x="341" y="84"/>
                  </a:cubicBezTo>
                  <a:cubicBezTo>
                    <a:pt x="341" y="84"/>
                    <a:pt x="341" y="85"/>
                    <a:pt x="341" y="85"/>
                  </a:cubicBezTo>
                  <a:cubicBezTo>
                    <a:pt x="341" y="85"/>
                    <a:pt x="341" y="85"/>
                    <a:pt x="340" y="85"/>
                  </a:cubicBezTo>
                  <a:cubicBezTo>
                    <a:pt x="340" y="85"/>
                    <a:pt x="340" y="85"/>
                    <a:pt x="340" y="85"/>
                  </a:cubicBezTo>
                  <a:cubicBezTo>
                    <a:pt x="340" y="85"/>
                    <a:pt x="340" y="86"/>
                    <a:pt x="340" y="86"/>
                  </a:cubicBezTo>
                  <a:cubicBezTo>
                    <a:pt x="340" y="86"/>
                    <a:pt x="340" y="86"/>
                    <a:pt x="340" y="86"/>
                  </a:cubicBezTo>
                  <a:cubicBezTo>
                    <a:pt x="340" y="86"/>
                    <a:pt x="340" y="86"/>
                    <a:pt x="340" y="86"/>
                  </a:cubicBezTo>
                  <a:cubicBezTo>
                    <a:pt x="340" y="86"/>
                    <a:pt x="340" y="87"/>
                    <a:pt x="340" y="87"/>
                  </a:cubicBezTo>
                  <a:cubicBezTo>
                    <a:pt x="340" y="87"/>
                    <a:pt x="340" y="87"/>
                    <a:pt x="340" y="87"/>
                  </a:cubicBezTo>
                  <a:cubicBezTo>
                    <a:pt x="340" y="87"/>
                    <a:pt x="340" y="88"/>
                    <a:pt x="340" y="88"/>
                  </a:cubicBezTo>
                  <a:cubicBezTo>
                    <a:pt x="339" y="88"/>
                    <a:pt x="339" y="88"/>
                    <a:pt x="339" y="88"/>
                  </a:cubicBezTo>
                  <a:cubicBezTo>
                    <a:pt x="339" y="88"/>
                    <a:pt x="339" y="88"/>
                    <a:pt x="339" y="88"/>
                  </a:cubicBezTo>
                  <a:cubicBezTo>
                    <a:pt x="339" y="89"/>
                    <a:pt x="338" y="89"/>
                    <a:pt x="338" y="89"/>
                  </a:cubicBezTo>
                  <a:cubicBezTo>
                    <a:pt x="338" y="89"/>
                    <a:pt x="338" y="89"/>
                    <a:pt x="338" y="89"/>
                  </a:cubicBezTo>
                  <a:cubicBezTo>
                    <a:pt x="337" y="90"/>
                    <a:pt x="337" y="90"/>
                    <a:pt x="337" y="90"/>
                  </a:cubicBezTo>
                  <a:cubicBezTo>
                    <a:pt x="337" y="90"/>
                    <a:pt x="337" y="90"/>
                    <a:pt x="337" y="90"/>
                  </a:cubicBezTo>
                  <a:cubicBezTo>
                    <a:pt x="336" y="90"/>
                    <a:pt x="336" y="90"/>
                    <a:pt x="336" y="90"/>
                  </a:cubicBezTo>
                  <a:cubicBezTo>
                    <a:pt x="336" y="90"/>
                    <a:pt x="336" y="90"/>
                    <a:pt x="336" y="90"/>
                  </a:cubicBezTo>
                  <a:cubicBezTo>
                    <a:pt x="336" y="94"/>
                    <a:pt x="336" y="94"/>
                    <a:pt x="336" y="94"/>
                  </a:cubicBezTo>
                  <a:cubicBezTo>
                    <a:pt x="336" y="94"/>
                    <a:pt x="336" y="94"/>
                    <a:pt x="336" y="94"/>
                  </a:cubicBezTo>
                  <a:cubicBezTo>
                    <a:pt x="336" y="94"/>
                    <a:pt x="336" y="94"/>
                    <a:pt x="336" y="94"/>
                  </a:cubicBezTo>
                  <a:cubicBezTo>
                    <a:pt x="337" y="95"/>
                    <a:pt x="337" y="95"/>
                    <a:pt x="337" y="95"/>
                  </a:cubicBezTo>
                  <a:cubicBezTo>
                    <a:pt x="338" y="95"/>
                    <a:pt x="338" y="95"/>
                    <a:pt x="338" y="95"/>
                  </a:cubicBezTo>
                  <a:cubicBezTo>
                    <a:pt x="338" y="95"/>
                    <a:pt x="338" y="95"/>
                    <a:pt x="338" y="95"/>
                  </a:cubicBezTo>
                  <a:cubicBezTo>
                    <a:pt x="339" y="95"/>
                    <a:pt x="339" y="95"/>
                    <a:pt x="339" y="95"/>
                  </a:cubicBezTo>
                  <a:cubicBezTo>
                    <a:pt x="339" y="95"/>
                    <a:pt x="339" y="95"/>
                    <a:pt x="339" y="95"/>
                  </a:cubicBezTo>
                  <a:cubicBezTo>
                    <a:pt x="340" y="93"/>
                    <a:pt x="340" y="93"/>
                    <a:pt x="340" y="93"/>
                  </a:cubicBezTo>
                  <a:cubicBezTo>
                    <a:pt x="340" y="93"/>
                    <a:pt x="340" y="92"/>
                    <a:pt x="341" y="92"/>
                  </a:cubicBezTo>
                  <a:cubicBezTo>
                    <a:pt x="341" y="92"/>
                    <a:pt x="341" y="92"/>
                    <a:pt x="341" y="92"/>
                  </a:cubicBezTo>
                  <a:cubicBezTo>
                    <a:pt x="341" y="91"/>
                    <a:pt x="341" y="91"/>
                    <a:pt x="341" y="91"/>
                  </a:cubicBezTo>
                  <a:cubicBezTo>
                    <a:pt x="341" y="91"/>
                    <a:pt x="341" y="91"/>
                    <a:pt x="341" y="91"/>
                  </a:cubicBezTo>
                  <a:cubicBezTo>
                    <a:pt x="341" y="91"/>
                    <a:pt x="341" y="91"/>
                    <a:pt x="341" y="91"/>
                  </a:cubicBezTo>
                  <a:cubicBezTo>
                    <a:pt x="341" y="90"/>
                    <a:pt x="341" y="90"/>
                    <a:pt x="341" y="90"/>
                  </a:cubicBezTo>
                  <a:cubicBezTo>
                    <a:pt x="341" y="89"/>
                    <a:pt x="341" y="89"/>
                    <a:pt x="341" y="89"/>
                  </a:cubicBezTo>
                  <a:cubicBezTo>
                    <a:pt x="342" y="88"/>
                    <a:pt x="342" y="88"/>
                    <a:pt x="342" y="88"/>
                  </a:cubicBezTo>
                  <a:cubicBezTo>
                    <a:pt x="343" y="88"/>
                    <a:pt x="343" y="88"/>
                    <a:pt x="343" y="88"/>
                  </a:cubicBezTo>
                  <a:cubicBezTo>
                    <a:pt x="343" y="87"/>
                    <a:pt x="343" y="87"/>
                    <a:pt x="343" y="87"/>
                  </a:cubicBezTo>
                  <a:cubicBezTo>
                    <a:pt x="343" y="87"/>
                    <a:pt x="343" y="87"/>
                    <a:pt x="343" y="87"/>
                  </a:cubicBezTo>
                  <a:cubicBezTo>
                    <a:pt x="344" y="87"/>
                    <a:pt x="344" y="86"/>
                    <a:pt x="344" y="86"/>
                  </a:cubicBezTo>
                  <a:cubicBezTo>
                    <a:pt x="345" y="86"/>
                    <a:pt x="345" y="86"/>
                    <a:pt x="345" y="86"/>
                  </a:cubicBezTo>
                  <a:cubicBezTo>
                    <a:pt x="345" y="86"/>
                    <a:pt x="345" y="86"/>
                    <a:pt x="345" y="86"/>
                  </a:cubicBezTo>
                  <a:cubicBezTo>
                    <a:pt x="345" y="86"/>
                    <a:pt x="345" y="86"/>
                    <a:pt x="345" y="86"/>
                  </a:cubicBezTo>
                  <a:cubicBezTo>
                    <a:pt x="345" y="86"/>
                    <a:pt x="346" y="86"/>
                    <a:pt x="346" y="86"/>
                  </a:cubicBezTo>
                  <a:cubicBezTo>
                    <a:pt x="346" y="86"/>
                    <a:pt x="346" y="86"/>
                    <a:pt x="346" y="86"/>
                  </a:cubicBezTo>
                  <a:cubicBezTo>
                    <a:pt x="346" y="85"/>
                    <a:pt x="346" y="85"/>
                    <a:pt x="347" y="85"/>
                  </a:cubicBezTo>
                  <a:cubicBezTo>
                    <a:pt x="347" y="84"/>
                    <a:pt x="347" y="84"/>
                    <a:pt x="347" y="84"/>
                  </a:cubicBezTo>
                  <a:cubicBezTo>
                    <a:pt x="347" y="84"/>
                    <a:pt x="348" y="84"/>
                    <a:pt x="348" y="84"/>
                  </a:cubicBezTo>
                  <a:cubicBezTo>
                    <a:pt x="348" y="84"/>
                    <a:pt x="348" y="84"/>
                    <a:pt x="348" y="84"/>
                  </a:cubicBezTo>
                  <a:cubicBezTo>
                    <a:pt x="349" y="84"/>
                    <a:pt x="349" y="84"/>
                    <a:pt x="349" y="84"/>
                  </a:cubicBezTo>
                  <a:cubicBezTo>
                    <a:pt x="351" y="85"/>
                    <a:pt x="351" y="85"/>
                    <a:pt x="351" y="85"/>
                  </a:cubicBezTo>
                  <a:cubicBezTo>
                    <a:pt x="351" y="85"/>
                    <a:pt x="351" y="85"/>
                    <a:pt x="351" y="85"/>
                  </a:cubicBezTo>
                  <a:cubicBezTo>
                    <a:pt x="351" y="86"/>
                    <a:pt x="351" y="86"/>
                    <a:pt x="351" y="86"/>
                  </a:cubicBezTo>
                  <a:cubicBezTo>
                    <a:pt x="353" y="87"/>
                    <a:pt x="353" y="87"/>
                    <a:pt x="353" y="87"/>
                  </a:cubicBezTo>
                  <a:cubicBezTo>
                    <a:pt x="353" y="87"/>
                    <a:pt x="353" y="87"/>
                    <a:pt x="353" y="87"/>
                  </a:cubicBezTo>
                  <a:cubicBezTo>
                    <a:pt x="353" y="87"/>
                    <a:pt x="354" y="88"/>
                    <a:pt x="354" y="88"/>
                  </a:cubicBezTo>
                  <a:cubicBezTo>
                    <a:pt x="354" y="89"/>
                    <a:pt x="354" y="89"/>
                    <a:pt x="354" y="89"/>
                  </a:cubicBezTo>
                  <a:cubicBezTo>
                    <a:pt x="354" y="89"/>
                    <a:pt x="354" y="89"/>
                    <a:pt x="354" y="89"/>
                  </a:cubicBezTo>
                  <a:cubicBezTo>
                    <a:pt x="356" y="95"/>
                    <a:pt x="356" y="95"/>
                    <a:pt x="356" y="95"/>
                  </a:cubicBezTo>
                  <a:cubicBezTo>
                    <a:pt x="356" y="96"/>
                    <a:pt x="356" y="96"/>
                    <a:pt x="356" y="96"/>
                  </a:cubicBezTo>
                  <a:cubicBezTo>
                    <a:pt x="357" y="99"/>
                    <a:pt x="357" y="99"/>
                    <a:pt x="357" y="99"/>
                  </a:cubicBezTo>
                  <a:cubicBezTo>
                    <a:pt x="358" y="99"/>
                    <a:pt x="358" y="99"/>
                    <a:pt x="359" y="99"/>
                  </a:cubicBezTo>
                  <a:cubicBezTo>
                    <a:pt x="359" y="99"/>
                    <a:pt x="359" y="99"/>
                    <a:pt x="359" y="99"/>
                  </a:cubicBezTo>
                  <a:cubicBezTo>
                    <a:pt x="360" y="99"/>
                    <a:pt x="360" y="99"/>
                    <a:pt x="360" y="99"/>
                  </a:cubicBezTo>
                  <a:cubicBezTo>
                    <a:pt x="360" y="99"/>
                    <a:pt x="360" y="99"/>
                    <a:pt x="360" y="99"/>
                  </a:cubicBezTo>
                  <a:cubicBezTo>
                    <a:pt x="360" y="100"/>
                    <a:pt x="360" y="100"/>
                    <a:pt x="361" y="100"/>
                  </a:cubicBezTo>
                  <a:cubicBezTo>
                    <a:pt x="361" y="100"/>
                    <a:pt x="361" y="101"/>
                    <a:pt x="361" y="101"/>
                  </a:cubicBezTo>
                  <a:cubicBezTo>
                    <a:pt x="361" y="101"/>
                    <a:pt x="361" y="101"/>
                    <a:pt x="361" y="102"/>
                  </a:cubicBezTo>
                  <a:cubicBezTo>
                    <a:pt x="361" y="108"/>
                    <a:pt x="361" y="108"/>
                    <a:pt x="361" y="108"/>
                  </a:cubicBezTo>
                  <a:cubicBezTo>
                    <a:pt x="361" y="108"/>
                    <a:pt x="361" y="109"/>
                    <a:pt x="361" y="109"/>
                  </a:cubicBezTo>
                  <a:cubicBezTo>
                    <a:pt x="361" y="109"/>
                    <a:pt x="361" y="109"/>
                    <a:pt x="361" y="109"/>
                  </a:cubicBezTo>
                  <a:cubicBezTo>
                    <a:pt x="361" y="109"/>
                    <a:pt x="360" y="110"/>
                    <a:pt x="360" y="110"/>
                  </a:cubicBezTo>
                  <a:cubicBezTo>
                    <a:pt x="360" y="110"/>
                    <a:pt x="360" y="110"/>
                    <a:pt x="360" y="111"/>
                  </a:cubicBezTo>
                  <a:cubicBezTo>
                    <a:pt x="360" y="111"/>
                    <a:pt x="360" y="111"/>
                    <a:pt x="360" y="111"/>
                  </a:cubicBezTo>
                  <a:cubicBezTo>
                    <a:pt x="360" y="111"/>
                    <a:pt x="360" y="111"/>
                    <a:pt x="360" y="111"/>
                  </a:cubicBezTo>
                  <a:cubicBezTo>
                    <a:pt x="359" y="112"/>
                    <a:pt x="359" y="112"/>
                    <a:pt x="359" y="112"/>
                  </a:cubicBezTo>
                  <a:cubicBezTo>
                    <a:pt x="359" y="113"/>
                    <a:pt x="359" y="113"/>
                    <a:pt x="359" y="113"/>
                  </a:cubicBezTo>
                  <a:cubicBezTo>
                    <a:pt x="359" y="113"/>
                    <a:pt x="359" y="113"/>
                    <a:pt x="359" y="114"/>
                  </a:cubicBezTo>
                  <a:cubicBezTo>
                    <a:pt x="358" y="115"/>
                    <a:pt x="358" y="115"/>
                    <a:pt x="358" y="115"/>
                  </a:cubicBezTo>
                  <a:cubicBezTo>
                    <a:pt x="358" y="115"/>
                    <a:pt x="358" y="115"/>
                    <a:pt x="357" y="115"/>
                  </a:cubicBezTo>
                  <a:cubicBezTo>
                    <a:pt x="357" y="115"/>
                    <a:pt x="357" y="115"/>
                    <a:pt x="357" y="115"/>
                  </a:cubicBezTo>
                  <a:cubicBezTo>
                    <a:pt x="357" y="115"/>
                    <a:pt x="356" y="115"/>
                    <a:pt x="356" y="114"/>
                  </a:cubicBezTo>
                  <a:cubicBezTo>
                    <a:pt x="356" y="114"/>
                    <a:pt x="356" y="114"/>
                    <a:pt x="356" y="114"/>
                  </a:cubicBezTo>
                  <a:cubicBezTo>
                    <a:pt x="356" y="114"/>
                    <a:pt x="356" y="114"/>
                    <a:pt x="356" y="114"/>
                  </a:cubicBezTo>
                  <a:cubicBezTo>
                    <a:pt x="356" y="114"/>
                    <a:pt x="356" y="114"/>
                    <a:pt x="356" y="114"/>
                  </a:cubicBezTo>
                  <a:cubicBezTo>
                    <a:pt x="356" y="114"/>
                    <a:pt x="356" y="114"/>
                    <a:pt x="356" y="114"/>
                  </a:cubicBezTo>
                  <a:cubicBezTo>
                    <a:pt x="356" y="115"/>
                    <a:pt x="355" y="115"/>
                    <a:pt x="355" y="115"/>
                  </a:cubicBezTo>
                  <a:cubicBezTo>
                    <a:pt x="355" y="115"/>
                    <a:pt x="355" y="115"/>
                    <a:pt x="355" y="115"/>
                  </a:cubicBezTo>
                  <a:cubicBezTo>
                    <a:pt x="355" y="116"/>
                    <a:pt x="355" y="116"/>
                    <a:pt x="355" y="116"/>
                  </a:cubicBezTo>
                  <a:cubicBezTo>
                    <a:pt x="355" y="116"/>
                    <a:pt x="355" y="116"/>
                    <a:pt x="355" y="116"/>
                  </a:cubicBezTo>
                  <a:cubicBezTo>
                    <a:pt x="355" y="118"/>
                    <a:pt x="355" y="118"/>
                    <a:pt x="355" y="118"/>
                  </a:cubicBezTo>
                  <a:cubicBezTo>
                    <a:pt x="355" y="118"/>
                    <a:pt x="355" y="118"/>
                    <a:pt x="355" y="118"/>
                  </a:cubicBezTo>
                  <a:cubicBezTo>
                    <a:pt x="355" y="118"/>
                    <a:pt x="355" y="118"/>
                    <a:pt x="355" y="118"/>
                  </a:cubicBezTo>
                  <a:cubicBezTo>
                    <a:pt x="355" y="119"/>
                    <a:pt x="355" y="119"/>
                    <a:pt x="354" y="119"/>
                  </a:cubicBezTo>
                  <a:cubicBezTo>
                    <a:pt x="354" y="119"/>
                    <a:pt x="354" y="119"/>
                    <a:pt x="354" y="119"/>
                  </a:cubicBezTo>
                  <a:cubicBezTo>
                    <a:pt x="354" y="119"/>
                    <a:pt x="354" y="120"/>
                    <a:pt x="354" y="120"/>
                  </a:cubicBezTo>
                  <a:cubicBezTo>
                    <a:pt x="354" y="120"/>
                    <a:pt x="354" y="120"/>
                    <a:pt x="354" y="120"/>
                  </a:cubicBezTo>
                  <a:cubicBezTo>
                    <a:pt x="354" y="120"/>
                    <a:pt x="353" y="120"/>
                    <a:pt x="353" y="120"/>
                  </a:cubicBezTo>
                  <a:cubicBezTo>
                    <a:pt x="352" y="120"/>
                    <a:pt x="352" y="120"/>
                    <a:pt x="352" y="120"/>
                  </a:cubicBezTo>
                  <a:cubicBezTo>
                    <a:pt x="352" y="120"/>
                    <a:pt x="352" y="121"/>
                    <a:pt x="352" y="121"/>
                  </a:cubicBezTo>
                  <a:cubicBezTo>
                    <a:pt x="352" y="121"/>
                    <a:pt x="352" y="121"/>
                    <a:pt x="352" y="121"/>
                  </a:cubicBezTo>
                  <a:cubicBezTo>
                    <a:pt x="352" y="121"/>
                    <a:pt x="352" y="121"/>
                    <a:pt x="352" y="121"/>
                  </a:cubicBezTo>
                  <a:cubicBezTo>
                    <a:pt x="352" y="121"/>
                    <a:pt x="352" y="121"/>
                    <a:pt x="352" y="121"/>
                  </a:cubicBezTo>
                  <a:cubicBezTo>
                    <a:pt x="352" y="121"/>
                    <a:pt x="352" y="122"/>
                    <a:pt x="352" y="122"/>
                  </a:cubicBezTo>
                  <a:cubicBezTo>
                    <a:pt x="352" y="123"/>
                    <a:pt x="352" y="123"/>
                    <a:pt x="352" y="123"/>
                  </a:cubicBezTo>
                  <a:cubicBezTo>
                    <a:pt x="352" y="123"/>
                    <a:pt x="352" y="123"/>
                    <a:pt x="352" y="123"/>
                  </a:cubicBezTo>
                  <a:cubicBezTo>
                    <a:pt x="352" y="124"/>
                    <a:pt x="352" y="124"/>
                    <a:pt x="352" y="124"/>
                  </a:cubicBezTo>
                  <a:cubicBezTo>
                    <a:pt x="352" y="124"/>
                    <a:pt x="352" y="124"/>
                    <a:pt x="352" y="124"/>
                  </a:cubicBezTo>
                  <a:cubicBezTo>
                    <a:pt x="352" y="124"/>
                    <a:pt x="352" y="125"/>
                    <a:pt x="352" y="125"/>
                  </a:cubicBezTo>
                  <a:cubicBezTo>
                    <a:pt x="352" y="127"/>
                    <a:pt x="352" y="127"/>
                    <a:pt x="352" y="127"/>
                  </a:cubicBezTo>
                  <a:cubicBezTo>
                    <a:pt x="352" y="127"/>
                    <a:pt x="352" y="127"/>
                    <a:pt x="352" y="127"/>
                  </a:cubicBezTo>
                  <a:cubicBezTo>
                    <a:pt x="352" y="128"/>
                    <a:pt x="352" y="128"/>
                    <a:pt x="352" y="128"/>
                  </a:cubicBezTo>
                  <a:cubicBezTo>
                    <a:pt x="352" y="128"/>
                    <a:pt x="352" y="128"/>
                    <a:pt x="352" y="128"/>
                  </a:cubicBezTo>
                  <a:cubicBezTo>
                    <a:pt x="352" y="128"/>
                    <a:pt x="352" y="129"/>
                    <a:pt x="352" y="129"/>
                  </a:cubicBezTo>
                  <a:cubicBezTo>
                    <a:pt x="351" y="129"/>
                    <a:pt x="351" y="129"/>
                    <a:pt x="351" y="129"/>
                  </a:cubicBezTo>
                  <a:cubicBezTo>
                    <a:pt x="351" y="129"/>
                    <a:pt x="351" y="129"/>
                    <a:pt x="351" y="130"/>
                  </a:cubicBezTo>
                  <a:cubicBezTo>
                    <a:pt x="351" y="130"/>
                    <a:pt x="351" y="130"/>
                    <a:pt x="351" y="130"/>
                  </a:cubicBezTo>
                  <a:cubicBezTo>
                    <a:pt x="351" y="130"/>
                    <a:pt x="351" y="130"/>
                    <a:pt x="351" y="130"/>
                  </a:cubicBezTo>
                  <a:cubicBezTo>
                    <a:pt x="351" y="130"/>
                    <a:pt x="350" y="130"/>
                    <a:pt x="350" y="130"/>
                  </a:cubicBezTo>
                  <a:cubicBezTo>
                    <a:pt x="350" y="131"/>
                    <a:pt x="350" y="131"/>
                    <a:pt x="350" y="131"/>
                  </a:cubicBezTo>
                  <a:cubicBezTo>
                    <a:pt x="350" y="131"/>
                    <a:pt x="350" y="131"/>
                    <a:pt x="350" y="131"/>
                  </a:cubicBezTo>
                  <a:cubicBezTo>
                    <a:pt x="350" y="131"/>
                    <a:pt x="350" y="131"/>
                    <a:pt x="350" y="131"/>
                  </a:cubicBezTo>
                  <a:cubicBezTo>
                    <a:pt x="351" y="131"/>
                    <a:pt x="351" y="131"/>
                    <a:pt x="351" y="131"/>
                  </a:cubicBezTo>
                  <a:cubicBezTo>
                    <a:pt x="352" y="132"/>
                    <a:pt x="352" y="132"/>
                    <a:pt x="352" y="132"/>
                  </a:cubicBezTo>
                  <a:cubicBezTo>
                    <a:pt x="353" y="132"/>
                    <a:pt x="353" y="132"/>
                    <a:pt x="353" y="132"/>
                  </a:cubicBezTo>
                  <a:cubicBezTo>
                    <a:pt x="353" y="132"/>
                    <a:pt x="353" y="132"/>
                    <a:pt x="354" y="132"/>
                  </a:cubicBezTo>
                  <a:cubicBezTo>
                    <a:pt x="354" y="132"/>
                    <a:pt x="354" y="132"/>
                    <a:pt x="354" y="132"/>
                  </a:cubicBezTo>
                  <a:cubicBezTo>
                    <a:pt x="354" y="132"/>
                    <a:pt x="355" y="133"/>
                    <a:pt x="355" y="133"/>
                  </a:cubicBezTo>
                  <a:cubicBezTo>
                    <a:pt x="355" y="133"/>
                    <a:pt x="355" y="133"/>
                    <a:pt x="355" y="133"/>
                  </a:cubicBezTo>
                  <a:cubicBezTo>
                    <a:pt x="355" y="133"/>
                    <a:pt x="355" y="133"/>
                    <a:pt x="355" y="133"/>
                  </a:cubicBezTo>
                  <a:cubicBezTo>
                    <a:pt x="356" y="133"/>
                    <a:pt x="356" y="133"/>
                    <a:pt x="356" y="133"/>
                  </a:cubicBezTo>
                  <a:cubicBezTo>
                    <a:pt x="356" y="133"/>
                    <a:pt x="356" y="133"/>
                    <a:pt x="356" y="133"/>
                  </a:cubicBezTo>
                  <a:cubicBezTo>
                    <a:pt x="356" y="133"/>
                    <a:pt x="356" y="133"/>
                    <a:pt x="356" y="133"/>
                  </a:cubicBezTo>
                  <a:cubicBezTo>
                    <a:pt x="356" y="133"/>
                    <a:pt x="357" y="132"/>
                    <a:pt x="357" y="132"/>
                  </a:cubicBezTo>
                  <a:cubicBezTo>
                    <a:pt x="357" y="132"/>
                    <a:pt x="358" y="132"/>
                    <a:pt x="358" y="132"/>
                  </a:cubicBezTo>
                  <a:cubicBezTo>
                    <a:pt x="358" y="133"/>
                    <a:pt x="358" y="133"/>
                    <a:pt x="358" y="133"/>
                  </a:cubicBezTo>
                  <a:cubicBezTo>
                    <a:pt x="358" y="133"/>
                    <a:pt x="358" y="133"/>
                    <a:pt x="358" y="133"/>
                  </a:cubicBezTo>
                  <a:cubicBezTo>
                    <a:pt x="359" y="133"/>
                    <a:pt x="359" y="133"/>
                    <a:pt x="359" y="133"/>
                  </a:cubicBezTo>
                  <a:cubicBezTo>
                    <a:pt x="359" y="133"/>
                    <a:pt x="359" y="133"/>
                    <a:pt x="359" y="133"/>
                  </a:cubicBezTo>
                  <a:cubicBezTo>
                    <a:pt x="360" y="133"/>
                    <a:pt x="360" y="133"/>
                    <a:pt x="360" y="134"/>
                  </a:cubicBezTo>
                  <a:cubicBezTo>
                    <a:pt x="361" y="134"/>
                    <a:pt x="361" y="134"/>
                    <a:pt x="361" y="134"/>
                  </a:cubicBezTo>
                  <a:cubicBezTo>
                    <a:pt x="363" y="135"/>
                    <a:pt x="363" y="135"/>
                    <a:pt x="363" y="135"/>
                  </a:cubicBezTo>
                  <a:cubicBezTo>
                    <a:pt x="363" y="135"/>
                    <a:pt x="363" y="135"/>
                    <a:pt x="363" y="135"/>
                  </a:cubicBezTo>
                  <a:cubicBezTo>
                    <a:pt x="363" y="135"/>
                    <a:pt x="363" y="135"/>
                    <a:pt x="363" y="135"/>
                  </a:cubicBezTo>
                  <a:cubicBezTo>
                    <a:pt x="363" y="134"/>
                    <a:pt x="364" y="134"/>
                    <a:pt x="364" y="134"/>
                  </a:cubicBezTo>
                  <a:cubicBezTo>
                    <a:pt x="365" y="134"/>
                    <a:pt x="365" y="134"/>
                    <a:pt x="365" y="134"/>
                  </a:cubicBezTo>
                  <a:cubicBezTo>
                    <a:pt x="365" y="133"/>
                    <a:pt x="365" y="133"/>
                    <a:pt x="366" y="133"/>
                  </a:cubicBezTo>
                  <a:cubicBezTo>
                    <a:pt x="366" y="133"/>
                    <a:pt x="366" y="133"/>
                    <a:pt x="366" y="133"/>
                  </a:cubicBezTo>
                  <a:cubicBezTo>
                    <a:pt x="366" y="133"/>
                    <a:pt x="366" y="133"/>
                    <a:pt x="366" y="133"/>
                  </a:cubicBezTo>
                  <a:cubicBezTo>
                    <a:pt x="366" y="133"/>
                    <a:pt x="366" y="132"/>
                    <a:pt x="367" y="132"/>
                  </a:cubicBezTo>
                  <a:cubicBezTo>
                    <a:pt x="368" y="132"/>
                    <a:pt x="368" y="132"/>
                    <a:pt x="368" y="132"/>
                  </a:cubicBezTo>
                  <a:cubicBezTo>
                    <a:pt x="369" y="132"/>
                    <a:pt x="369" y="132"/>
                    <a:pt x="369" y="132"/>
                  </a:cubicBezTo>
                  <a:cubicBezTo>
                    <a:pt x="371" y="132"/>
                    <a:pt x="371" y="132"/>
                    <a:pt x="371" y="132"/>
                  </a:cubicBezTo>
                  <a:cubicBezTo>
                    <a:pt x="372" y="131"/>
                    <a:pt x="372" y="131"/>
                    <a:pt x="372" y="131"/>
                  </a:cubicBezTo>
                  <a:cubicBezTo>
                    <a:pt x="373" y="131"/>
                    <a:pt x="373" y="131"/>
                    <a:pt x="373" y="131"/>
                  </a:cubicBezTo>
                  <a:cubicBezTo>
                    <a:pt x="373" y="131"/>
                    <a:pt x="373" y="131"/>
                    <a:pt x="373" y="131"/>
                  </a:cubicBezTo>
                  <a:cubicBezTo>
                    <a:pt x="373" y="131"/>
                    <a:pt x="373" y="131"/>
                    <a:pt x="373" y="131"/>
                  </a:cubicBezTo>
                  <a:cubicBezTo>
                    <a:pt x="374" y="131"/>
                    <a:pt x="374" y="131"/>
                    <a:pt x="374" y="131"/>
                  </a:cubicBezTo>
                  <a:cubicBezTo>
                    <a:pt x="377" y="126"/>
                    <a:pt x="377" y="126"/>
                    <a:pt x="377" y="126"/>
                  </a:cubicBezTo>
                  <a:cubicBezTo>
                    <a:pt x="378" y="126"/>
                    <a:pt x="378" y="126"/>
                    <a:pt x="378" y="126"/>
                  </a:cubicBezTo>
                  <a:cubicBezTo>
                    <a:pt x="382" y="123"/>
                    <a:pt x="382" y="123"/>
                    <a:pt x="382" y="123"/>
                  </a:cubicBezTo>
                  <a:cubicBezTo>
                    <a:pt x="382" y="123"/>
                    <a:pt x="382" y="122"/>
                    <a:pt x="382" y="122"/>
                  </a:cubicBezTo>
                  <a:cubicBezTo>
                    <a:pt x="383" y="122"/>
                    <a:pt x="383" y="122"/>
                    <a:pt x="383" y="122"/>
                  </a:cubicBezTo>
                  <a:cubicBezTo>
                    <a:pt x="383" y="122"/>
                    <a:pt x="383" y="122"/>
                    <a:pt x="383" y="122"/>
                  </a:cubicBezTo>
                  <a:cubicBezTo>
                    <a:pt x="383" y="122"/>
                    <a:pt x="384" y="122"/>
                    <a:pt x="384" y="122"/>
                  </a:cubicBezTo>
                  <a:cubicBezTo>
                    <a:pt x="384" y="121"/>
                    <a:pt x="384" y="121"/>
                    <a:pt x="384" y="121"/>
                  </a:cubicBezTo>
                  <a:cubicBezTo>
                    <a:pt x="384" y="121"/>
                    <a:pt x="385" y="121"/>
                    <a:pt x="385" y="121"/>
                  </a:cubicBezTo>
                  <a:cubicBezTo>
                    <a:pt x="385" y="121"/>
                    <a:pt x="385" y="121"/>
                    <a:pt x="385" y="121"/>
                  </a:cubicBezTo>
                  <a:cubicBezTo>
                    <a:pt x="386" y="121"/>
                    <a:pt x="386" y="121"/>
                    <a:pt x="386" y="121"/>
                  </a:cubicBezTo>
                  <a:cubicBezTo>
                    <a:pt x="389" y="119"/>
                    <a:pt x="389" y="119"/>
                    <a:pt x="389" y="119"/>
                  </a:cubicBezTo>
                  <a:cubicBezTo>
                    <a:pt x="389" y="119"/>
                    <a:pt x="389" y="118"/>
                    <a:pt x="389" y="118"/>
                  </a:cubicBezTo>
                  <a:cubicBezTo>
                    <a:pt x="390" y="118"/>
                    <a:pt x="390" y="118"/>
                    <a:pt x="390" y="118"/>
                  </a:cubicBezTo>
                  <a:cubicBezTo>
                    <a:pt x="390" y="118"/>
                    <a:pt x="390" y="117"/>
                    <a:pt x="390" y="117"/>
                  </a:cubicBezTo>
                  <a:cubicBezTo>
                    <a:pt x="391" y="117"/>
                    <a:pt x="391" y="117"/>
                    <a:pt x="391" y="117"/>
                  </a:cubicBezTo>
                  <a:cubicBezTo>
                    <a:pt x="393" y="115"/>
                    <a:pt x="393" y="115"/>
                    <a:pt x="393" y="115"/>
                  </a:cubicBezTo>
                  <a:cubicBezTo>
                    <a:pt x="393" y="115"/>
                    <a:pt x="393" y="115"/>
                    <a:pt x="393" y="115"/>
                  </a:cubicBezTo>
                  <a:cubicBezTo>
                    <a:pt x="393" y="115"/>
                    <a:pt x="394" y="114"/>
                    <a:pt x="394" y="114"/>
                  </a:cubicBezTo>
                  <a:cubicBezTo>
                    <a:pt x="394" y="113"/>
                    <a:pt x="394" y="113"/>
                    <a:pt x="394" y="113"/>
                  </a:cubicBezTo>
                  <a:cubicBezTo>
                    <a:pt x="395" y="113"/>
                    <a:pt x="395" y="113"/>
                    <a:pt x="395" y="113"/>
                  </a:cubicBezTo>
                  <a:cubicBezTo>
                    <a:pt x="396" y="113"/>
                    <a:pt x="396" y="113"/>
                    <a:pt x="396" y="113"/>
                  </a:cubicBezTo>
                  <a:cubicBezTo>
                    <a:pt x="396" y="113"/>
                    <a:pt x="396" y="113"/>
                    <a:pt x="396" y="113"/>
                  </a:cubicBezTo>
                  <a:cubicBezTo>
                    <a:pt x="397" y="112"/>
                    <a:pt x="397" y="112"/>
                    <a:pt x="397" y="112"/>
                  </a:cubicBezTo>
                  <a:cubicBezTo>
                    <a:pt x="397" y="112"/>
                    <a:pt x="397" y="112"/>
                    <a:pt x="397" y="112"/>
                  </a:cubicBezTo>
                  <a:cubicBezTo>
                    <a:pt x="398" y="112"/>
                    <a:pt x="398" y="112"/>
                    <a:pt x="398" y="112"/>
                  </a:cubicBezTo>
                  <a:cubicBezTo>
                    <a:pt x="399" y="111"/>
                    <a:pt x="399" y="111"/>
                    <a:pt x="399" y="111"/>
                  </a:cubicBezTo>
                  <a:cubicBezTo>
                    <a:pt x="399" y="111"/>
                    <a:pt x="399" y="111"/>
                    <a:pt x="399" y="110"/>
                  </a:cubicBezTo>
                  <a:cubicBezTo>
                    <a:pt x="399" y="110"/>
                    <a:pt x="399" y="110"/>
                    <a:pt x="399" y="110"/>
                  </a:cubicBezTo>
                  <a:cubicBezTo>
                    <a:pt x="399" y="110"/>
                    <a:pt x="399" y="110"/>
                    <a:pt x="400" y="110"/>
                  </a:cubicBezTo>
                  <a:cubicBezTo>
                    <a:pt x="401" y="109"/>
                    <a:pt x="401" y="109"/>
                    <a:pt x="401" y="109"/>
                  </a:cubicBezTo>
                  <a:cubicBezTo>
                    <a:pt x="401" y="109"/>
                    <a:pt x="401" y="108"/>
                    <a:pt x="401" y="108"/>
                  </a:cubicBezTo>
                  <a:cubicBezTo>
                    <a:pt x="402" y="108"/>
                    <a:pt x="402" y="108"/>
                    <a:pt x="402" y="108"/>
                  </a:cubicBezTo>
                  <a:cubicBezTo>
                    <a:pt x="402" y="108"/>
                    <a:pt x="402" y="108"/>
                    <a:pt x="402" y="108"/>
                  </a:cubicBezTo>
                  <a:cubicBezTo>
                    <a:pt x="401" y="109"/>
                    <a:pt x="401" y="109"/>
                    <a:pt x="401" y="109"/>
                  </a:cubicBezTo>
                  <a:cubicBezTo>
                    <a:pt x="401" y="109"/>
                    <a:pt x="401" y="109"/>
                    <a:pt x="401" y="109"/>
                  </a:cubicBezTo>
                  <a:cubicBezTo>
                    <a:pt x="400" y="110"/>
                    <a:pt x="400" y="110"/>
                    <a:pt x="400" y="110"/>
                  </a:cubicBezTo>
                  <a:cubicBezTo>
                    <a:pt x="399" y="110"/>
                    <a:pt x="399" y="110"/>
                    <a:pt x="399" y="110"/>
                  </a:cubicBezTo>
                  <a:cubicBezTo>
                    <a:pt x="398" y="111"/>
                    <a:pt x="398" y="111"/>
                    <a:pt x="398" y="111"/>
                  </a:cubicBezTo>
                  <a:cubicBezTo>
                    <a:pt x="398" y="112"/>
                    <a:pt x="398" y="112"/>
                    <a:pt x="398" y="112"/>
                  </a:cubicBezTo>
                  <a:cubicBezTo>
                    <a:pt x="398" y="112"/>
                    <a:pt x="398" y="112"/>
                    <a:pt x="398" y="112"/>
                  </a:cubicBezTo>
                  <a:cubicBezTo>
                    <a:pt x="398" y="112"/>
                    <a:pt x="398" y="112"/>
                    <a:pt x="398" y="112"/>
                  </a:cubicBezTo>
                  <a:cubicBezTo>
                    <a:pt x="398" y="114"/>
                    <a:pt x="398" y="116"/>
                    <a:pt x="399" y="117"/>
                  </a:cubicBezTo>
                  <a:cubicBezTo>
                    <a:pt x="421" y="113"/>
                    <a:pt x="443" y="109"/>
                    <a:pt x="465" y="104"/>
                  </a:cubicBezTo>
                  <a:cubicBezTo>
                    <a:pt x="465" y="104"/>
                    <a:pt x="465" y="104"/>
                    <a:pt x="465" y="104"/>
                  </a:cubicBezTo>
                  <a:cubicBezTo>
                    <a:pt x="465" y="104"/>
                    <a:pt x="465" y="104"/>
                    <a:pt x="465" y="104"/>
                  </a:cubicBezTo>
                  <a:cubicBezTo>
                    <a:pt x="466" y="104"/>
                    <a:pt x="466" y="104"/>
                    <a:pt x="466" y="104"/>
                  </a:cubicBezTo>
                  <a:cubicBezTo>
                    <a:pt x="466" y="104"/>
                    <a:pt x="466" y="104"/>
                    <a:pt x="466" y="104"/>
                  </a:cubicBezTo>
                  <a:cubicBezTo>
                    <a:pt x="466" y="105"/>
                    <a:pt x="466" y="105"/>
                    <a:pt x="466" y="105"/>
                  </a:cubicBezTo>
                  <a:cubicBezTo>
                    <a:pt x="466" y="105"/>
                    <a:pt x="466" y="105"/>
                    <a:pt x="466" y="105"/>
                  </a:cubicBezTo>
                  <a:cubicBezTo>
                    <a:pt x="467" y="106"/>
                    <a:pt x="467" y="106"/>
                    <a:pt x="467" y="106"/>
                  </a:cubicBezTo>
                  <a:cubicBezTo>
                    <a:pt x="467" y="106"/>
                    <a:pt x="467" y="106"/>
                    <a:pt x="467" y="106"/>
                  </a:cubicBezTo>
                  <a:cubicBezTo>
                    <a:pt x="468" y="106"/>
                    <a:pt x="468" y="106"/>
                    <a:pt x="468" y="106"/>
                  </a:cubicBezTo>
                  <a:cubicBezTo>
                    <a:pt x="468" y="106"/>
                    <a:pt x="468" y="106"/>
                    <a:pt x="468" y="106"/>
                  </a:cubicBezTo>
                  <a:cubicBezTo>
                    <a:pt x="468" y="106"/>
                    <a:pt x="468" y="106"/>
                    <a:pt x="468" y="106"/>
                  </a:cubicBezTo>
                  <a:cubicBezTo>
                    <a:pt x="469" y="106"/>
                    <a:pt x="469" y="106"/>
                    <a:pt x="469" y="106"/>
                  </a:cubicBezTo>
                  <a:cubicBezTo>
                    <a:pt x="469" y="106"/>
                    <a:pt x="469" y="106"/>
                    <a:pt x="469" y="106"/>
                  </a:cubicBezTo>
                  <a:cubicBezTo>
                    <a:pt x="469" y="106"/>
                    <a:pt x="469" y="106"/>
                    <a:pt x="469" y="106"/>
                  </a:cubicBezTo>
                  <a:cubicBezTo>
                    <a:pt x="469" y="106"/>
                    <a:pt x="469" y="106"/>
                    <a:pt x="469" y="106"/>
                  </a:cubicBezTo>
                  <a:cubicBezTo>
                    <a:pt x="469" y="106"/>
                    <a:pt x="469" y="106"/>
                    <a:pt x="469" y="106"/>
                  </a:cubicBezTo>
                  <a:cubicBezTo>
                    <a:pt x="469" y="107"/>
                    <a:pt x="469" y="107"/>
                    <a:pt x="469" y="107"/>
                  </a:cubicBezTo>
                  <a:cubicBezTo>
                    <a:pt x="469" y="107"/>
                    <a:pt x="469" y="107"/>
                    <a:pt x="469" y="107"/>
                  </a:cubicBezTo>
                  <a:cubicBezTo>
                    <a:pt x="470" y="107"/>
                    <a:pt x="470" y="107"/>
                    <a:pt x="470" y="107"/>
                  </a:cubicBezTo>
                  <a:cubicBezTo>
                    <a:pt x="470" y="107"/>
                    <a:pt x="470" y="107"/>
                    <a:pt x="470" y="107"/>
                  </a:cubicBezTo>
                  <a:cubicBezTo>
                    <a:pt x="470" y="108"/>
                    <a:pt x="470" y="108"/>
                    <a:pt x="470" y="108"/>
                  </a:cubicBezTo>
                  <a:cubicBezTo>
                    <a:pt x="470" y="108"/>
                    <a:pt x="470" y="108"/>
                    <a:pt x="470" y="108"/>
                  </a:cubicBezTo>
                  <a:cubicBezTo>
                    <a:pt x="470" y="108"/>
                    <a:pt x="470" y="108"/>
                    <a:pt x="470" y="108"/>
                  </a:cubicBezTo>
                  <a:cubicBezTo>
                    <a:pt x="470" y="108"/>
                    <a:pt x="470" y="108"/>
                    <a:pt x="470" y="108"/>
                  </a:cubicBezTo>
                  <a:cubicBezTo>
                    <a:pt x="470" y="109"/>
                    <a:pt x="470" y="109"/>
                    <a:pt x="470" y="109"/>
                  </a:cubicBezTo>
                  <a:cubicBezTo>
                    <a:pt x="470" y="109"/>
                    <a:pt x="470" y="109"/>
                    <a:pt x="470" y="109"/>
                  </a:cubicBezTo>
                  <a:cubicBezTo>
                    <a:pt x="471" y="111"/>
                    <a:pt x="471" y="111"/>
                    <a:pt x="471" y="111"/>
                  </a:cubicBezTo>
                  <a:cubicBezTo>
                    <a:pt x="471" y="111"/>
                    <a:pt x="471" y="111"/>
                    <a:pt x="471" y="111"/>
                  </a:cubicBezTo>
                  <a:cubicBezTo>
                    <a:pt x="471" y="111"/>
                    <a:pt x="471" y="111"/>
                    <a:pt x="471" y="111"/>
                  </a:cubicBezTo>
                  <a:cubicBezTo>
                    <a:pt x="472" y="112"/>
                    <a:pt x="472" y="112"/>
                    <a:pt x="472" y="112"/>
                  </a:cubicBezTo>
                  <a:cubicBezTo>
                    <a:pt x="472" y="113"/>
                    <a:pt x="472" y="113"/>
                    <a:pt x="472" y="113"/>
                  </a:cubicBezTo>
                  <a:cubicBezTo>
                    <a:pt x="473" y="113"/>
                    <a:pt x="473" y="113"/>
                    <a:pt x="473" y="113"/>
                  </a:cubicBezTo>
                  <a:cubicBezTo>
                    <a:pt x="473" y="113"/>
                    <a:pt x="473" y="113"/>
                    <a:pt x="473" y="113"/>
                  </a:cubicBezTo>
                  <a:cubicBezTo>
                    <a:pt x="474" y="113"/>
                    <a:pt x="474" y="113"/>
                    <a:pt x="474" y="113"/>
                  </a:cubicBezTo>
                  <a:cubicBezTo>
                    <a:pt x="474" y="113"/>
                    <a:pt x="474" y="113"/>
                    <a:pt x="474" y="113"/>
                  </a:cubicBezTo>
                  <a:cubicBezTo>
                    <a:pt x="474" y="113"/>
                    <a:pt x="474" y="113"/>
                    <a:pt x="474" y="113"/>
                  </a:cubicBezTo>
                  <a:cubicBezTo>
                    <a:pt x="474" y="113"/>
                    <a:pt x="474" y="113"/>
                    <a:pt x="474" y="113"/>
                  </a:cubicBezTo>
                  <a:cubicBezTo>
                    <a:pt x="475" y="113"/>
                    <a:pt x="475" y="113"/>
                    <a:pt x="475" y="113"/>
                  </a:cubicBezTo>
                  <a:cubicBezTo>
                    <a:pt x="475" y="113"/>
                    <a:pt x="475" y="113"/>
                    <a:pt x="475" y="113"/>
                  </a:cubicBezTo>
                  <a:cubicBezTo>
                    <a:pt x="476" y="113"/>
                    <a:pt x="476" y="113"/>
                    <a:pt x="476" y="113"/>
                  </a:cubicBezTo>
                  <a:cubicBezTo>
                    <a:pt x="476" y="113"/>
                    <a:pt x="476" y="113"/>
                    <a:pt x="476" y="113"/>
                  </a:cubicBezTo>
                  <a:cubicBezTo>
                    <a:pt x="476" y="113"/>
                    <a:pt x="476" y="113"/>
                    <a:pt x="476" y="113"/>
                  </a:cubicBezTo>
                  <a:cubicBezTo>
                    <a:pt x="476" y="113"/>
                    <a:pt x="476" y="113"/>
                    <a:pt x="476" y="113"/>
                  </a:cubicBezTo>
                  <a:cubicBezTo>
                    <a:pt x="476" y="113"/>
                    <a:pt x="476" y="113"/>
                    <a:pt x="476" y="113"/>
                  </a:cubicBezTo>
                  <a:cubicBezTo>
                    <a:pt x="476" y="113"/>
                    <a:pt x="476" y="113"/>
                    <a:pt x="476" y="113"/>
                  </a:cubicBezTo>
                  <a:cubicBezTo>
                    <a:pt x="477" y="114"/>
                    <a:pt x="477" y="114"/>
                    <a:pt x="477" y="114"/>
                  </a:cubicBezTo>
                  <a:cubicBezTo>
                    <a:pt x="477" y="114"/>
                    <a:pt x="477" y="114"/>
                    <a:pt x="477" y="114"/>
                  </a:cubicBezTo>
                  <a:cubicBezTo>
                    <a:pt x="477" y="114"/>
                    <a:pt x="477" y="114"/>
                    <a:pt x="477" y="114"/>
                  </a:cubicBezTo>
                  <a:cubicBezTo>
                    <a:pt x="477" y="114"/>
                    <a:pt x="477" y="114"/>
                    <a:pt x="477" y="114"/>
                  </a:cubicBezTo>
                  <a:cubicBezTo>
                    <a:pt x="482" y="116"/>
                    <a:pt x="486" y="117"/>
                    <a:pt x="491" y="119"/>
                  </a:cubicBezTo>
                  <a:cubicBezTo>
                    <a:pt x="491" y="118"/>
                    <a:pt x="491" y="118"/>
                    <a:pt x="491" y="118"/>
                  </a:cubicBezTo>
                  <a:cubicBezTo>
                    <a:pt x="490" y="117"/>
                    <a:pt x="490" y="117"/>
                    <a:pt x="490" y="117"/>
                  </a:cubicBezTo>
                  <a:cubicBezTo>
                    <a:pt x="490" y="116"/>
                    <a:pt x="490" y="116"/>
                    <a:pt x="490" y="116"/>
                  </a:cubicBezTo>
                  <a:cubicBezTo>
                    <a:pt x="490" y="116"/>
                    <a:pt x="490" y="116"/>
                    <a:pt x="490" y="116"/>
                  </a:cubicBezTo>
                  <a:cubicBezTo>
                    <a:pt x="489" y="115"/>
                    <a:pt x="489" y="115"/>
                    <a:pt x="489" y="115"/>
                  </a:cubicBezTo>
                  <a:cubicBezTo>
                    <a:pt x="489" y="115"/>
                    <a:pt x="489" y="115"/>
                    <a:pt x="489" y="115"/>
                  </a:cubicBezTo>
                  <a:cubicBezTo>
                    <a:pt x="489" y="115"/>
                    <a:pt x="489" y="115"/>
                    <a:pt x="489" y="115"/>
                  </a:cubicBezTo>
                  <a:cubicBezTo>
                    <a:pt x="489" y="115"/>
                    <a:pt x="489" y="115"/>
                    <a:pt x="489" y="115"/>
                  </a:cubicBezTo>
                  <a:cubicBezTo>
                    <a:pt x="488" y="114"/>
                    <a:pt x="488" y="114"/>
                    <a:pt x="488" y="114"/>
                  </a:cubicBezTo>
                  <a:cubicBezTo>
                    <a:pt x="488" y="114"/>
                    <a:pt x="488" y="114"/>
                    <a:pt x="488" y="114"/>
                  </a:cubicBezTo>
                  <a:cubicBezTo>
                    <a:pt x="488" y="114"/>
                    <a:pt x="488" y="114"/>
                    <a:pt x="488" y="114"/>
                  </a:cubicBezTo>
                  <a:cubicBezTo>
                    <a:pt x="488" y="113"/>
                    <a:pt x="488" y="113"/>
                    <a:pt x="488" y="113"/>
                  </a:cubicBezTo>
                  <a:cubicBezTo>
                    <a:pt x="488" y="113"/>
                    <a:pt x="488" y="113"/>
                    <a:pt x="488" y="113"/>
                  </a:cubicBezTo>
                  <a:cubicBezTo>
                    <a:pt x="488" y="113"/>
                    <a:pt x="488" y="113"/>
                    <a:pt x="488" y="113"/>
                  </a:cubicBezTo>
                  <a:cubicBezTo>
                    <a:pt x="489" y="113"/>
                    <a:pt x="489" y="113"/>
                    <a:pt x="489" y="113"/>
                  </a:cubicBezTo>
                  <a:cubicBezTo>
                    <a:pt x="489" y="113"/>
                    <a:pt x="489" y="113"/>
                    <a:pt x="489" y="113"/>
                  </a:cubicBezTo>
                  <a:cubicBezTo>
                    <a:pt x="489" y="113"/>
                    <a:pt x="489" y="113"/>
                    <a:pt x="489" y="113"/>
                  </a:cubicBezTo>
                  <a:cubicBezTo>
                    <a:pt x="489" y="114"/>
                    <a:pt x="489" y="114"/>
                    <a:pt x="489" y="114"/>
                  </a:cubicBezTo>
                  <a:cubicBezTo>
                    <a:pt x="489" y="114"/>
                    <a:pt x="489" y="114"/>
                    <a:pt x="489" y="114"/>
                  </a:cubicBezTo>
                  <a:cubicBezTo>
                    <a:pt x="490" y="114"/>
                    <a:pt x="490" y="114"/>
                    <a:pt x="490" y="114"/>
                  </a:cubicBezTo>
                  <a:cubicBezTo>
                    <a:pt x="490" y="115"/>
                    <a:pt x="490" y="115"/>
                    <a:pt x="490" y="115"/>
                  </a:cubicBezTo>
                  <a:cubicBezTo>
                    <a:pt x="490" y="115"/>
                    <a:pt x="490" y="115"/>
                    <a:pt x="490" y="115"/>
                  </a:cubicBezTo>
                  <a:cubicBezTo>
                    <a:pt x="490" y="116"/>
                    <a:pt x="490" y="116"/>
                    <a:pt x="490" y="116"/>
                  </a:cubicBezTo>
                  <a:cubicBezTo>
                    <a:pt x="491" y="116"/>
                    <a:pt x="491" y="116"/>
                    <a:pt x="491" y="116"/>
                  </a:cubicBezTo>
                  <a:cubicBezTo>
                    <a:pt x="491" y="118"/>
                    <a:pt x="491" y="118"/>
                    <a:pt x="491" y="118"/>
                  </a:cubicBezTo>
                  <a:cubicBezTo>
                    <a:pt x="491" y="118"/>
                    <a:pt x="491" y="118"/>
                    <a:pt x="491" y="118"/>
                  </a:cubicBezTo>
                  <a:cubicBezTo>
                    <a:pt x="491" y="119"/>
                    <a:pt x="491" y="119"/>
                    <a:pt x="491" y="119"/>
                  </a:cubicBezTo>
                  <a:cubicBezTo>
                    <a:pt x="491" y="120"/>
                    <a:pt x="491" y="120"/>
                    <a:pt x="491" y="120"/>
                  </a:cubicBezTo>
                  <a:cubicBezTo>
                    <a:pt x="491" y="121"/>
                    <a:pt x="491" y="121"/>
                    <a:pt x="491" y="121"/>
                  </a:cubicBezTo>
                  <a:cubicBezTo>
                    <a:pt x="491" y="121"/>
                    <a:pt x="491" y="121"/>
                    <a:pt x="491" y="121"/>
                  </a:cubicBezTo>
                  <a:cubicBezTo>
                    <a:pt x="491" y="121"/>
                    <a:pt x="491" y="121"/>
                    <a:pt x="491" y="121"/>
                  </a:cubicBezTo>
                  <a:cubicBezTo>
                    <a:pt x="491" y="122"/>
                    <a:pt x="491" y="122"/>
                    <a:pt x="491" y="122"/>
                  </a:cubicBezTo>
                  <a:cubicBezTo>
                    <a:pt x="491" y="122"/>
                    <a:pt x="491" y="122"/>
                    <a:pt x="491" y="122"/>
                  </a:cubicBezTo>
                  <a:cubicBezTo>
                    <a:pt x="491" y="121"/>
                    <a:pt x="491" y="121"/>
                    <a:pt x="491" y="121"/>
                  </a:cubicBezTo>
                  <a:cubicBezTo>
                    <a:pt x="491" y="121"/>
                    <a:pt x="491" y="121"/>
                    <a:pt x="491" y="121"/>
                  </a:cubicBezTo>
                  <a:cubicBezTo>
                    <a:pt x="491" y="121"/>
                    <a:pt x="491" y="121"/>
                    <a:pt x="491" y="121"/>
                  </a:cubicBezTo>
                  <a:cubicBezTo>
                    <a:pt x="491" y="122"/>
                    <a:pt x="491" y="122"/>
                    <a:pt x="491" y="122"/>
                  </a:cubicBezTo>
                  <a:cubicBezTo>
                    <a:pt x="491" y="123"/>
                    <a:pt x="491" y="123"/>
                    <a:pt x="491" y="123"/>
                  </a:cubicBezTo>
                  <a:cubicBezTo>
                    <a:pt x="490" y="124"/>
                    <a:pt x="490" y="124"/>
                    <a:pt x="490" y="124"/>
                  </a:cubicBezTo>
                  <a:cubicBezTo>
                    <a:pt x="490" y="125"/>
                    <a:pt x="490" y="125"/>
                    <a:pt x="490" y="125"/>
                  </a:cubicBezTo>
                  <a:cubicBezTo>
                    <a:pt x="490" y="125"/>
                    <a:pt x="490" y="125"/>
                    <a:pt x="490" y="125"/>
                  </a:cubicBezTo>
                  <a:cubicBezTo>
                    <a:pt x="491" y="125"/>
                    <a:pt x="491" y="125"/>
                    <a:pt x="491" y="125"/>
                  </a:cubicBezTo>
                  <a:cubicBezTo>
                    <a:pt x="491" y="125"/>
                    <a:pt x="491" y="125"/>
                    <a:pt x="491" y="125"/>
                  </a:cubicBezTo>
                  <a:cubicBezTo>
                    <a:pt x="491" y="125"/>
                    <a:pt x="491" y="125"/>
                    <a:pt x="491" y="125"/>
                  </a:cubicBezTo>
                  <a:cubicBezTo>
                    <a:pt x="491" y="125"/>
                    <a:pt x="491" y="125"/>
                    <a:pt x="491" y="125"/>
                  </a:cubicBezTo>
                  <a:cubicBezTo>
                    <a:pt x="491" y="125"/>
                    <a:pt x="491" y="125"/>
                    <a:pt x="491" y="125"/>
                  </a:cubicBezTo>
                  <a:cubicBezTo>
                    <a:pt x="491" y="125"/>
                    <a:pt x="491" y="125"/>
                    <a:pt x="491" y="125"/>
                  </a:cubicBezTo>
                  <a:cubicBezTo>
                    <a:pt x="491" y="126"/>
                    <a:pt x="491" y="126"/>
                    <a:pt x="491" y="126"/>
                  </a:cubicBezTo>
                  <a:cubicBezTo>
                    <a:pt x="491" y="126"/>
                    <a:pt x="491" y="126"/>
                    <a:pt x="491" y="126"/>
                  </a:cubicBezTo>
                  <a:cubicBezTo>
                    <a:pt x="491" y="126"/>
                    <a:pt x="491" y="126"/>
                    <a:pt x="491" y="126"/>
                  </a:cubicBezTo>
                  <a:cubicBezTo>
                    <a:pt x="491" y="126"/>
                    <a:pt x="491" y="126"/>
                    <a:pt x="490" y="126"/>
                  </a:cubicBezTo>
                  <a:cubicBezTo>
                    <a:pt x="490" y="126"/>
                    <a:pt x="490" y="126"/>
                    <a:pt x="490" y="126"/>
                  </a:cubicBezTo>
                  <a:cubicBezTo>
                    <a:pt x="490" y="126"/>
                    <a:pt x="490" y="126"/>
                    <a:pt x="490" y="126"/>
                  </a:cubicBezTo>
                  <a:cubicBezTo>
                    <a:pt x="490" y="126"/>
                    <a:pt x="490" y="126"/>
                    <a:pt x="490" y="126"/>
                  </a:cubicBezTo>
                  <a:cubicBezTo>
                    <a:pt x="489" y="127"/>
                    <a:pt x="489" y="127"/>
                    <a:pt x="489" y="127"/>
                  </a:cubicBezTo>
                  <a:cubicBezTo>
                    <a:pt x="489" y="127"/>
                    <a:pt x="489" y="127"/>
                    <a:pt x="489" y="127"/>
                  </a:cubicBezTo>
                  <a:cubicBezTo>
                    <a:pt x="488" y="127"/>
                    <a:pt x="488" y="127"/>
                    <a:pt x="488" y="127"/>
                  </a:cubicBezTo>
                  <a:cubicBezTo>
                    <a:pt x="489" y="128"/>
                    <a:pt x="489" y="128"/>
                    <a:pt x="489" y="128"/>
                  </a:cubicBezTo>
                  <a:cubicBezTo>
                    <a:pt x="489" y="127"/>
                    <a:pt x="489" y="127"/>
                    <a:pt x="490" y="127"/>
                  </a:cubicBezTo>
                  <a:cubicBezTo>
                    <a:pt x="490" y="127"/>
                    <a:pt x="490" y="127"/>
                    <a:pt x="490" y="127"/>
                  </a:cubicBezTo>
                  <a:cubicBezTo>
                    <a:pt x="490" y="127"/>
                    <a:pt x="490" y="127"/>
                    <a:pt x="491" y="127"/>
                  </a:cubicBezTo>
                  <a:cubicBezTo>
                    <a:pt x="491" y="127"/>
                    <a:pt x="491" y="127"/>
                    <a:pt x="491" y="127"/>
                  </a:cubicBezTo>
                  <a:cubicBezTo>
                    <a:pt x="491" y="127"/>
                    <a:pt x="491" y="127"/>
                    <a:pt x="491" y="127"/>
                  </a:cubicBezTo>
                  <a:cubicBezTo>
                    <a:pt x="491" y="127"/>
                    <a:pt x="491" y="127"/>
                    <a:pt x="491" y="127"/>
                  </a:cubicBezTo>
                  <a:cubicBezTo>
                    <a:pt x="491" y="127"/>
                    <a:pt x="491" y="127"/>
                    <a:pt x="491" y="127"/>
                  </a:cubicBezTo>
                  <a:cubicBezTo>
                    <a:pt x="491" y="127"/>
                    <a:pt x="491" y="127"/>
                    <a:pt x="491" y="127"/>
                  </a:cubicBezTo>
                  <a:cubicBezTo>
                    <a:pt x="491" y="128"/>
                    <a:pt x="491" y="128"/>
                    <a:pt x="491" y="128"/>
                  </a:cubicBezTo>
                  <a:cubicBezTo>
                    <a:pt x="491" y="128"/>
                    <a:pt x="491" y="128"/>
                    <a:pt x="491" y="128"/>
                  </a:cubicBezTo>
                  <a:cubicBezTo>
                    <a:pt x="492" y="128"/>
                    <a:pt x="492" y="128"/>
                    <a:pt x="492" y="128"/>
                  </a:cubicBezTo>
                  <a:cubicBezTo>
                    <a:pt x="492" y="128"/>
                    <a:pt x="492" y="128"/>
                    <a:pt x="492" y="128"/>
                  </a:cubicBezTo>
                  <a:cubicBezTo>
                    <a:pt x="492" y="128"/>
                    <a:pt x="492" y="128"/>
                    <a:pt x="492" y="128"/>
                  </a:cubicBezTo>
                  <a:cubicBezTo>
                    <a:pt x="493" y="130"/>
                    <a:pt x="493" y="130"/>
                    <a:pt x="493" y="130"/>
                  </a:cubicBezTo>
                  <a:cubicBezTo>
                    <a:pt x="493" y="130"/>
                    <a:pt x="493" y="130"/>
                    <a:pt x="493" y="131"/>
                  </a:cubicBezTo>
                  <a:cubicBezTo>
                    <a:pt x="493" y="131"/>
                    <a:pt x="493" y="131"/>
                    <a:pt x="493" y="131"/>
                  </a:cubicBezTo>
                  <a:cubicBezTo>
                    <a:pt x="493" y="132"/>
                    <a:pt x="492" y="132"/>
                    <a:pt x="492" y="132"/>
                  </a:cubicBezTo>
                  <a:cubicBezTo>
                    <a:pt x="492" y="135"/>
                    <a:pt x="492" y="135"/>
                    <a:pt x="492" y="135"/>
                  </a:cubicBezTo>
                  <a:cubicBezTo>
                    <a:pt x="492" y="135"/>
                    <a:pt x="492" y="135"/>
                    <a:pt x="492" y="135"/>
                  </a:cubicBezTo>
                  <a:cubicBezTo>
                    <a:pt x="493" y="135"/>
                    <a:pt x="493" y="135"/>
                    <a:pt x="493" y="136"/>
                  </a:cubicBezTo>
                  <a:cubicBezTo>
                    <a:pt x="493" y="136"/>
                    <a:pt x="493" y="136"/>
                    <a:pt x="493" y="136"/>
                  </a:cubicBezTo>
                  <a:cubicBezTo>
                    <a:pt x="493" y="136"/>
                    <a:pt x="493" y="136"/>
                    <a:pt x="493" y="136"/>
                  </a:cubicBezTo>
                  <a:cubicBezTo>
                    <a:pt x="493" y="137"/>
                    <a:pt x="493" y="137"/>
                    <a:pt x="493" y="137"/>
                  </a:cubicBezTo>
                  <a:cubicBezTo>
                    <a:pt x="493" y="137"/>
                    <a:pt x="493" y="138"/>
                    <a:pt x="493" y="138"/>
                  </a:cubicBezTo>
                  <a:cubicBezTo>
                    <a:pt x="493" y="139"/>
                    <a:pt x="493" y="139"/>
                    <a:pt x="493" y="139"/>
                  </a:cubicBezTo>
                  <a:cubicBezTo>
                    <a:pt x="493" y="141"/>
                    <a:pt x="493" y="141"/>
                    <a:pt x="493" y="141"/>
                  </a:cubicBezTo>
                  <a:cubicBezTo>
                    <a:pt x="493" y="141"/>
                    <a:pt x="493" y="141"/>
                    <a:pt x="493" y="141"/>
                  </a:cubicBezTo>
                  <a:cubicBezTo>
                    <a:pt x="493" y="141"/>
                    <a:pt x="493" y="141"/>
                    <a:pt x="493" y="141"/>
                  </a:cubicBezTo>
                  <a:cubicBezTo>
                    <a:pt x="493" y="142"/>
                    <a:pt x="493" y="142"/>
                    <a:pt x="493" y="142"/>
                  </a:cubicBezTo>
                  <a:cubicBezTo>
                    <a:pt x="493" y="143"/>
                    <a:pt x="493" y="143"/>
                    <a:pt x="493" y="143"/>
                  </a:cubicBezTo>
                  <a:cubicBezTo>
                    <a:pt x="493" y="143"/>
                    <a:pt x="493" y="143"/>
                    <a:pt x="493" y="143"/>
                  </a:cubicBezTo>
                  <a:cubicBezTo>
                    <a:pt x="493" y="144"/>
                    <a:pt x="493" y="144"/>
                    <a:pt x="493" y="144"/>
                  </a:cubicBezTo>
                  <a:cubicBezTo>
                    <a:pt x="493" y="144"/>
                    <a:pt x="493" y="144"/>
                    <a:pt x="493" y="144"/>
                  </a:cubicBezTo>
                  <a:cubicBezTo>
                    <a:pt x="492" y="145"/>
                    <a:pt x="492" y="145"/>
                    <a:pt x="492" y="145"/>
                  </a:cubicBezTo>
                  <a:cubicBezTo>
                    <a:pt x="492" y="146"/>
                    <a:pt x="492" y="146"/>
                    <a:pt x="492" y="146"/>
                  </a:cubicBezTo>
                  <a:cubicBezTo>
                    <a:pt x="492" y="147"/>
                    <a:pt x="492" y="147"/>
                    <a:pt x="491" y="147"/>
                  </a:cubicBezTo>
                  <a:cubicBezTo>
                    <a:pt x="491" y="147"/>
                    <a:pt x="491" y="147"/>
                    <a:pt x="491" y="147"/>
                  </a:cubicBezTo>
                  <a:cubicBezTo>
                    <a:pt x="491" y="147"/>
                    <a:pt x="491" y="147"/>
                    <a:pt x="491" y="147"/>
                  </a:cubicBezTo>
                  <a:cubicBezTo>
                    <a:pt x="491" y="148"/>
                    <a:pt x="491" y="148"/>
                    <a:pt x="491" y="148"/>
                  </a:cubicBezTo>
                  <a:cubicBezTo>
                    <a:pt x="491" y="148"/>
                    <a:pt x="491" y="149"/>
                    <a:pt x="491" y="149"/>
                  </a:cubicBezTo>
                  <a:cubicBezTo>
                    <a:pt x="491" y="149"/>
                    <a:pt x="491" y="149"/>
                    <a:pt x="490" y="150"/>
                  </a:cubicBezTo>
                  <a:cubicBezTo>
                    <a:pt x="490" y="150"/>
                    <a:pt x="490" y="150"/>
                    <a:pt x="490" y="150"/>
                  </a:cubicBezTo>
                  <a:cubicBezTo>
                    <a:pt x="490" y="150"/>
                    <a:pt x="490" y="150"/>
                    <a:pt x="490" y="150"/>
                  </a:cubicBezTo>
                  <a:cubicBezTo>
                    <a:pt x="490" y="150"/>
                    <a:pt x="490" y="151"/>
                    <a:pt x="490" y="151"/>
                  </a:cubicBezTo>
                  <a:cubicBezTo>
                    <a:pt x="488" y="153"/>
                    <a:pt x="488" y="153"/>
                    <a:pt x="488" y="153"/>
                  </a:cubicBezTo>
                  <a:cubicBezTo>
                    <a:pt x="488" y="153"/>
                    <a:pt x="488" y="153"/>
                    <a:pt x="488" y="153"/>
                  </a:cubicBezTo>
                  <a:cubicBezTo>
                    <a:pt x="488" y="153"/>
                    <a:pt x="488" y="153"/>
                    <a:pt x="488" y="153"/>
                  </a:cubicBezTo>
                  <a:cubicBezTo>
                    <a:pt x="488" y="154"/>
                    <a:pt x="488" y="154"/>
                    <a:pt x="488" y="154"/>
                  </a:cubicBezTo>
                  <a:cubicBezTo>
                    <a:pt x="488" y="154"/>
                    <a:pt x="488" y="154"/>
                    <a:pt x="487" y="154"/>
                  </a:cubicBezTo>
                  <a:cubicBezTo>
                    <a:pt x="487" y="155"/>
                    <a:pt x="487" y="155"/>
                    <a:pt x="487" y="155"/>
                  </a:cubicBezTo>
                  <a:cubicBezTo>
                    <a:pt x="487" y="156"/>
                    <a:pt x="487" y="156"/>
                    <a:pt x="487" y="156"/>
                  </a:cubicBezTo>
                  <a:cubicBezTo>
                    <a:pt x="487" y="157"/>
                    <a:pt x="487" y="157"/>
                    <a:pt x="487" y="157"/>
                  </a:cubicBezTo>
                  <a:cubicBezTo>
                    <a:pt x="487" y="157"/>
                    <a:pt x="487" y="158"/>
                    <a:pt x="486" y="158"/>
                  </a:cubicBezTo>
                  <a:cubicBezTo>
                    <a:pt x="486" y="158"/>
                    <a:pt x="486" y="158"/>
                    <a:pt x="486" y="158"/>
                  </a:cubicBezTo>
                  <a:cubicBezTo>
                    <a:pt x="486" y="158"/>
                    <a:pt x="486" y="158"/>
                    <a:pt x="486" y="158"/>
                  </a:cubicBezTo>
                  <a:cubicBezTo>
                    <a:pt x="486" y="158"/>
                    <a:pt x="486" y="159"/>
                    <a:pt x="486" y="159"/>
                  </a:cubicBezTo>
                  <a:cubicBezTo>
                    <a:pt x="485" y="161"/>
                    <a:pt x="485" y="161"/>
                    <a:pt x="485" y="161"/>
                  </a:cubicBezTo>
                  <a:cubicBezTo>
                    <a:pt x="485" y="161"/>
                    <a:pt x="485" y="161"/>
                    <a:pt x="485" y="161"/>
                  </a:cubicBezTo>
                  <a:cubicBezTo>
                    <a:pt x="484" y="162"/>
                    <a:pt x="484" y="162"/>
                    <a:pt x="484" y="162"/>
                  </a:cubicBezTo>
                  <a:cubicBezTo>
                    <a:pt x="484" y="162"/>
                    <a:pt x="484" y="162"/>
                    <a:pt x="483" y="162"/>
                  </a:cubicBezTo>
                  <a:cubicBezTo>
                    <a:pt x="483" y="162"/>
                    <a:pt x="483" y="162"/>
                    <a:pt x="483" y="162"/>
                  </a:cubicBezTo>
                  <a:cubicBezTo>
                    <a:pt x="482" y="162"/>
                    <a:pt x="482" y="161"/>
                    <a:pt x="482" y="161"/>
                  </a:cubicBezTo>
                  <a:cubicBezTo>
                    <a:pt x="482" y="160"/>
                    <a:pt x="482" y="160"/>
                    <a:pt x="482" y="160"/>
                  </a:cubicBezTo>
                  <a:cubicBezTo>
                    <a:pt x="482" y="160"/>
                    <a:pt x="482" y="160"/>
                    <a:pt x="482" y="160"/>
                  </a:cubicBezTo>
                  <a:cubicBezTo>
                    <a:pt x="482" y="160"/>
                    <a:pt x="482" y="160"/>
                    <a:pt x="482" y="160"/>
                  </a:cubicBezTo>
                  <a:cubicBezTo>
                    <a:pt x="482" y="159"/>
                    <a:pt x="482" y="159"/>
                    <a:pt x="482" y="159"/>
                  </a:cubicBezTo>
                  <a:cubicBezTo>
                    <a:pt x="482" y="157"/>
                    <a:pt x="482" y="157"/>
                    <a:pt x="482" y="157"/>
                  </a:cubicBezTo>
                  <a:cubicBezTo>
                    <a:pt x="482" y="157"/>
                    <a:pt x="482" y="157"/>
                    <a:pt x="482" y="157"/>
                  </a:cubicBezTo>
                  <a:cubicBezTo>
                    <a:pt x="481" y="157"/>
                    <a:pt x="481" y="157"/>
                    <a:pt x="481" y="157"/>
                  </a:cubicBezTo>
                  <a:cubicBezTo>
                    <a:pt x="481" y="157"/>
                    <a:pt x="481" y="157"/>
                    <a:pt x="481" y="157"/>
                  </a:cubicBezTo>
                  <a:cubicBezTo>
                    <a:pt x="481" y="157"/>
                    <a:pt x="480" y="157"/>
                    <a:pt x="480" y="157"/>
                  </a:cubicBezTo>
                  <a:cubicBezTo>
                    <a:pt x="480" y="157"/>
                    <a:pt x="480" y="157"/>
                    <a:pt x="480" y="157"/>
                  </a:cubicBezTo>
                  <a:cubicBezTo>
                    <a:pt x="480" y="157"/>
                    <a:pt x="479" y="158"/>
                    <a:pt x="479" y="157"/>
                  </a:cubicBezTo>
                  <a:cubicBezTo>
                    <a:pt x="479" y="157"/>
                    <a:pt x="479" y="157"/>
                    <a:pt x="478" y="157"/>
                  </a:cubicBezTo>
                  <a:cubicBezTo>
                    <a:pt x="478" y="157"/>
                    <a:pt x="478" y="157"/>
                    <a:pt x="478" y="157"/>
                  </a:cubicBezTo>
                  <a:cubicBezTo>
                    <a:pt x="478" y="157"/>
                    <a:pt x="478" y="156"/>
                    <a:pt x="478" y="156"/>
                  </a:cubicBezTo>
                  <a:cubicBezTo>
                    <a:pt x="478" y="156"/>
                    <a:pt x="478" y="156"/>
                    <a:pt x="478" y="156"/>
                  </a:cubicBezTo>
                  <a:cubicBezTo>
                    <a:pt x="477" y="156"/>
                    <a:pt x="477" y="156"/>
                    <a:pt x="477" y="156"/>
                  </a:cubicBezTo>
                  <a:cubicBezTo>
                    <a:pt x="477" y="156"/>
                    <a:pt x="477" y="156"/>
                    <a:pt x="477" y="156"/>
                  </a:cubicBezTo>
                  <a:cubicBezTo>
                    <a:pt x="476" y="156"/>
                    <a:pt x="476" y="156"/>
                    <a:pt x="476" y="156"/>
                  </a:cubicBezTo>
                  <a:cubicBezTo>
                    <a:pt x="476" y="156"/>
                    <a:pt x="476" y="156"/>
                    <a:pt x="476" y="156"/>
                  </a:cubicBezTo>
                  <a:cubicBezTo>
                    <a:pt x="476" y="156"/>
                    <a:pt x="476" y="156"/>
                    <a:pt x="476" y="156"/>
                  </a:cubicBezTo>
                  <a:cubicBezTo>
                    <a:pt x="476" y="157"/>
                    <a:pt x="476" y="157"/>
                    <a:pt x="476" y="157"/>
                  </a:cubicBezTo>
                  <a:cubicBezTo>
                    <a:pt x="477" y="157"/>
                    <a:pt x="477" y="157"/>
                    <a:pt x="477" y="157"/>
                  </a:cubicBezTo>
                  <a:cubicBezTo>
                    <a:pt x="477" y="158"/>
                    <a:pt x="477" y="158"/>
                    <a:pt x="477" y="158"/>
                  </a:cubicBezTo>
                  <a:cubicBezTo>
                    <a:pt x="477" y="158"/>
                    <a:pt x="477" y="158"/>
                    <a:pt x="477" y="158"/>
                  </a:cubicBezTo>
                  <a:cubicBezTo>
                    <a:pt x="477" y="159"/>
                    <a:pt x="477" y="159"/>
                    <a:pt x="477" y="159"/>
                  </a:cubicBezTo>
                  <a:cubicBezTo>
                    <a:pt x="477" y="159"/>
                    <a:pt x="477" y="159"/>
                    <a:pt x="477" y="159"/>
                  </a:cubicBezTo>
                  <a:cubicBezTo>
                    <a:pt x="478" y="159"/>
                    <a:pt x="478" y="159"/>
                    <a:pt x="478" y="159"/>
                  </a:cubicBezTo>
                  <a:cubicBezTo>
                    <a:pt x="479" y="161"/>
                    <a:pt x="479" y="161"/>
                    <a:pt x="479" y="161"/>
                  </a:cubicBezTo>
                  <a:cubicBezTo>
                    <a:pt x="479" y="161"/>
                    <a:pt x="479" y="161"/>
                    <a:pt x="479" y="161"/>
                  </a:cubicBezTo>
                  <a:cubicBezTo>
                    <a:pt x="479" y="161"/>
                    <a:pt x="479" y="162"/>
                    <a:pt x="479" y="162"/>
                  </a:cubicBezTo>
                  <a:cubicBezTo>
                    <a:pt x="479" y="162"/>
                    <a:pt x="479" y="162"/>
                    <a:pt x="479" y="162"/>
                  </a:cubicBezTo>
                  <a:cubicBezTo>
                    <a:pt x="480" y="162"/>
                    <a:pt x="480" y="162"/>
                    <a:pt x="480" y="162"/>
                  </a:cubicBezTo>
                  <a:cubicBezTo>
                    <a:pt x="481" y="163"/>
                    <a:pt x="481" y="163"/>
                    <a:pt x="481" y="163"/>
                  </a:cubicBezTo>
                  <a:cubicBezTo>
                    <a:pt x="482" y="163"/>
                    <a:pt x="482" y="163"/>
                    <a:pt x="482" y="163"/>
                  </a:cubicBezTo>
                  <a:cubicBezTo>
                    <a:pt x="482" y="163"/>
                    <a:pt x="483" y="163"/>
                    <a:pt x="483" y="163"/>
                  </a:cubicBezTo>
                  <a:cubicBezTo>
                    <a:pt x="484" y="166"/>
                    <a:pt x="484" y="166"/>
                    <a:pt x="484" y="166"/>
                  </a:cubicBezTo>
                  <a:cubicBezTo>
                    <a:pt x="484" y="166"/>
                    <a:pt x="484" y="166"/>
                    <a:pt x="484" y="166"/>
                  </a:cubicBezTo>
                  <a:cubicBezTo>
                    <a:pt x="484" y="167"/>
                    <a:pt x="484" y="167"/>
                    <a:pt x="484" y="167"/>
                  </a:cubicBezTo>
                  <a:cubicBezTo>
                    <a:pt x="484" y="168"/>
                    <a:pt x="484" y="168"/>
                    <a:pt x="484" y="168"/>
                  </a:cubicBezTo>
                  <a:cubicBezTo>
                    <a:pt x="484" y="168"/>
                    <a:pt x="484" y="168"/>
                    <a:pt x="484" y="168"/>
                  </a:cubicBezTo>
                  <a:cubicBezTo>
                    <a:pt x="484" y="168"/>
                    <a:pt x="484" y="168"/>
                    <a:pt x="484" y="168"/>
                  </a:cubicBezTo>
                  <a:cubicBezTo>
                    <a:pt x="484" y="169"/>
                    <a:pt x="484" y="169"/>
                    <a:pt x="484" y="169"/>
                  </a:cubicBezTo>
                  <a:cubicBezTo>
                    <a:pt x="485" y="169"/>
                    <a:pt x="485" y="169"/>
                    <a:pt x="485" y="169"/>
                  </a:cubicBezTo>
                  <a:cubicBezTo>
                    <a:pt x="485" y="170"/>
                    <a:pt x="485" y="170"/>
                    <a:pt x="485" y="170"/>
                  </a:cubicBezTo>
                  <a:cubicBezTo>
                    <a:pt x="485" y="170"/>
                    <a:pt x="485" y="170"/>
                    <a:pt x="485" y="170"/>
                  </a:cubicBezTo>
                  <a:cubicBezTo>
                    <a:pt x="485" y="173"/>
                    <a:pt x="485" y="173"/>
                    <a:pt x="485" y="173"/>
                  </a:cubicBezTo>
                  <a:cubicBezTo>
                    <a:pt x="485" y="173"/>
                    <a:pt x="485" y="173"/>
                    <a:pt x="485" y="173"/>
                  </a:cubicBezTo>
                  <a:cubicBezTo>
                    <a:pt x="485" y="173"/>
                    <a:pt x="485" y="173"/>
                    <a:pt x="485" y="174"/>
                  </a:cubicBezTo>
                  <a:cubicBezTo>
                    <a:pt x="485" y="174"/>
                    <a:pt x="485" y="174"/>
                    <a:pt x="485" y="174"/>
                  </a:cubicBezTo>
                  <a:cubicBezTo>
                    <a:pt x="485" y="176"/>
                    <a:pt x="485" y="176"/>
                    <a:pt x="485" y="176"/>
                  </a:cubicBezTo>
                  <a:cubicBezTo>
                    <a:pt x="485" y="177"/>
                    <a:pt x="485" y="177"/>
                    <a:pt x="485" y="177"/>
                  </a:cubicBezTo>
                  <a:cubicBezTo>
                    <a:pt x="484" y="179"/>
                    <a:pt x="484" y="179"/>
                    <a:pt x="484" y="179"/>
                  </a:cubicBezTo>
                  <a:cubicBezTo>
                    <a:pt x="484" y="179"/>
                    <a:pt x="485" y="179"/>
                    <a:pt x="485" y="179"/>
                  </a:cubicBezTo>
                  <a:cubicBezTo>
                    <a:pt x="485" y="179"/>
                    <a:pt x="485" y="180"/>
                    <a:pt x="485" y="180"/>
                  </a:cubicBezTo>
                  <a:cubicBezTo>
                    <a:pt x="484" y="183"/>
                    <a:pt x="484" y="183"/>
                    <a:pt x="484" y="183"/>
                  </a:cubicBezTo>
                  <a:cubicBezTo>
                    <a:pt x="484" y="183"/>
                    <a:pt x="484" y="183"/>
                    <a:pt x="484" y="183"/>
                  </a:cubicBezTo>
                  <a:cubicBezTo>
                    <a:pt x="484" y="184"/>
                    <a:pt x="484" y="184"/>
                    <a:pt x="484" y="184"/>
                  </a:cubicBezTo>
                  <a:cubicBezTo>
                    <a:pt x="484" y="185"/>
                    <a:pt x="483" y="185"/>
                    <a:pt x="483" y="185"/>
                  </a:cubicBezTo>
                  <a:cubicBezTo>
                    <a:pt x="482" y="185"/>
                    <a:pt x="482" y="185"/>
                    <a:pt x="482" y="185"/>
                  </a:cubicBezTo>
                  <a:cubicBezTo>
                    <a:pt x="482" y="185"/>
                    <a:pt x="482" y="185"/>
                    <a:pt x="482" y="185"/>
                  </a:cubicBezTo>
                  <a:cubicBezTo>
                    <a:pt x="482" y="185"/>
                    <a:pt x="482" y="185"/>
                    <a:pt x="482" y="185"/>
                  </a:cubicBezTo>
                  <a:cubicBezTo>
                    <a:pt x="482" y="188"/>
                    <a:pt x="482" y="188"/>
                    <a:pt x="482" y="188"/>
                  </a:cubicBezTo>
                  <a:cubicBezTo>
                    <a:pt x="482" y="188"/>
                    <a:pt x="482" y="188"/>
                    <a:pt x="482" y="188"/>
                  </a:cubicBezTo>
                  <a:cubicBezTo>
                    <a:pt x="482" y="189"/>
                    <a:pt x="482" y="189"/>
                    <a:pt x="482" y="189"/>
                  </a:cubicBezTo>
                  <a:cubicBezTo>
                    <a:pt x="481" y="190"/>
                    <a:pt x="481" y="190"/>
                    <a:pt x="481" y="190"/>
                  </a:cubicBezTo>
                  <a:cubicBezTo>
                    <a:pt x="482" y="190"/>
                    <a:pt x="482" y="190"/>
                    <a:pt x="482" y="190"/>
                  </a:cubicBezTo>
                  <a:cubicBezTo>
                    <a:pt x="482" y="191"/>
                    <a:pt x="482" y="191"/>
                    <a:pt x="482" y="191"/>
                  </a:cubicBezTo>
                  <a:cubicBezTo>
                    <a:pt x="482" y="191"/>
                    <a:pt x="482" y="191"/>
                    <a:pt x="482" y="191"/>
                  </a:cubicBezTo>
                  <a:cubicBezTo>
                    <a:pt x="481" y="192"/>
                    <a:pt x="481" y="192"/>
                    <a:pt x="481" y="192"/>
                  </a:cubicBezTo>
                  <a:cubicBezTo>
                    <a:pt x="481" y="192"/>
                    <a:pt x="481" y="192"/>
                    <a:pt x="481" y="192"/>
                  </a:cubicBezTo>
                  <a:cubicBezTo>
                    <a:pt x="481" y="192"/>
                    <a:pt x="481" y="192"/>
                    <a:pt x="481" y="192"/>
                  </a:cubicBezTo>
                  <a:cubicBezTo>
                    <a:pt x="481" y="194"/>
                    <a:pt x="481" y="194"/>
                    <a:pt x="481" y="194"/>
                  </a:cubicBezTo>
                  <a:cubicBezTo>
                    <a:pt x="481" y="194"/>
                    <a:pt x="481" y="194"/>
                    <a:pt x="481" y="194"/>
                  </a:cubicBezTo>
                  <a:cubicBezTo>
                    <a:pt x="481" y="195"/>
                    <a:pt x="481" y="195"/>
                    <a:pt x="481" y="195"/>
                  </a:cubicBezTo>
                  <a:cubicBezTo>
                    <a:pt x="480" y="195"/>
                    <a:pt x="480" y="196"/>
                    <a:pt x="479" y="196"/>
                  </a:cubicBezTo>
                  <a:cubicBezTo>
                    <a:pt x="479" y="196"/>
                    <a:pt x="479" y="196"/>
                    <a:pt x="479" y="196"/>
                  </a:cubicBezTo>
                  <a:cubicBezTo>
                    <a:pt x="480" y="196"/>
                    <a:pt x="480" y="196"/>
                    <a:pt x="480" y="196"/>
                  </a:cubicBezTo>
                  <a:cubicBezTo>
                    <a:pt x="480" y="197"/>
                    <a:pt x="480" y="197"/>
                    <a:pt x="480" y="197"/>
                  </a:cubicBezTo>
                  <a:cubicBezTo>
                    <a:pt x="480" y="197"/>
                    <a:pt x="480" y="197"/>
                    <a:pt x="480" y="197"/>
                  </a:cubicBezTo>
                  <a:cubicBezTo>
                    <a:pt x="480" y="198"/>
                    <a:pt x="480" y="198"/>
                    <a:pt x="480" y="198"/>
                  </a:cubicBezTo>
                  <a:cubicBezTo>
                    <a:pt x="480" y="198"/>
                    <a:pt x="480" y="199"/>
                    <a:pt x="480" y="199"/>
                  </a:cubicBezTo>
                  <a:cubicBezTo>
                    <a:pt x="479" y="199"/>
                    <a:pt x="479" y="199"/>
                    <a:pt x="479" y="199"/>
                  </a:cubicBezTo>
                  <a:cubicBezTo>
                    <a:pt x="479" y="199"/>
                    <a:pt x="479" y="199"/>
                    <a:pt x="479" y="199"/>
                  </a:cubicBezTo>
                  <a:cubicBezTo>
                    <a:pt x="479" y="199"/>
                    <a:pt x="479" y="200"/>
                    <a:pt x="479" y="200"/>
                  </a:cubicBezTo>
                  <a:cubicBezTo>
                    <a:pt x="479" y="200"/>
                    <a:pt x="478" y="200"/>
                    <a:pt x="478" y="200"/>
                  </a:cubicBezTo>
                  <a:cubicBezTo>
                    <a:pt x="478" y="200"/>
                    <a:pt x="478" y="201"/>
                    <a:pt x="478" y="201"/>
                  </a:cubicBezTo>
                  <a:cubicBezTo>
                    <a:pt x="478" y="201"/>
                    <a:pt x="478" y="201"/>
                    <a:pt x="478" y="201"/>
                  </a:cubicBezTo>
                  <a:cubicBezTo>
                    <a:pt x="478" y="201"/>
                    <a:pt x="477" y="201"/>
                    <a:pt x="477" y="201"/>
                  </a:cubicBezTo>
                  <a:cubicBezTo>
                    <a:pt x="477" y="201"/>
                    <a:pt x="477" y="201"/>
                    <a:pt x="477" y="201"/>
                  </a:cubicBezTo>
                  <a:cubicBezTo>
                    <a:pt x="476" y="201"/>
                    <a:pt x="476" y="201"/>
                    <a:pt x="476" y="201"/>
                  </a:cubicBezTo>
                  <a:cubicBezTo>
                    <a:pt x="476" y="201"/>
                    <a:pt x="475" y="200"/>
                    <a:pt x="475" y="200"/>
                  </a:cubicBezTo>
                  <a:cubicBezTo>
                    <a:pt x="475" y="200"/>
                    <a:pt x="475" y="200"/>
                    <a:pt x="475" y="200"/>
                  </a:cubicBezTo>
                  <a:cubicBezTo>
                    <a:pt x="475" y="200"/>
                    <a:pt x="475" y="200"/>
                    <a:pt x="475" y="200"/>
                  </a:cubicBezTo>
                  <a:cubicBezTo>
                    <a:pt x="475" y="199"/>
                    <a:pt x="475" y="199"/>
                    <a:pt x="475" y="199"/>
                  </a:cubicBezTo>
                  <a:cubicBezTo>
                    <a:pt x="475" y="199"/>
                    <a:pt x="475" y="199"/>
                    <a:pt x="475" y="199"/>
                  </a:cubicBezTo>
                  <a:cubicBezTo>
                    <a:pt x="475" y="199"/>
                    <a:pt x="475" y="199"/>
                    <a:pt x="475" y="199"/>
                  </a:cubicBezTo>
                  <a:cubicBezTo>
                    <a:pt x="475" y="199"/>
                    <a:pt x="474" y="198"/>
                    <a:pt x="474" y="198"/>
                  </a:cubicBezTo>
                  <a:cubicBezTo>
                    <a:pt x="474" y="197"/>
                    <a:pt x="474" y="197"/>
                    <a:pt x="474" y="197"/>
                  </a:cubicBezTo>
                  <a:cubicBezTo>
                    <a:pt x="474" y="197"/>
                    <a:pt x="474" y="197"/>
                    <a:pt x="474" y="197"/>
                  </a:cubicBezTo>
                  <a:cubicBezTo>
                    <a:pt x="474" y="197"/>
                    <a:pt x="474" y="197"/>
                    <a:pt x="474" y="196"/>
                  </a:cubicBezTo>
                  <a:cubicBezTo>
                    <a:pt x="474" y="195"/>
                    <a:pt x="474" y="195"/>
                    <a:pt x="474" y="195"/>
                  </a:cubicBezTo>
                  <a:cubicBezTo>
                    <a:pt x="474" y="195"/>
                    <a:pt x="474" y="195"/>
                    <a:pt x="474" y="195"/>
                  </a:cubicBezTo>
                  <a:cubicBezTo>
                    <a:pt x="474" y="194"/>
                    <a:pt x="474" y="194"/>
                    <a:pt x="474" y="194"/>
                  </a:cubicBezTo>
                  <a:cubicBezTo>
                    <a:pt x="474" y="194"/>
                    <a:pt x="474" y="194"/>
                    <a:pt x="474" y="194"/>
                  </a:cubicBezTo>
                  <a:cubicBezTo>
                    <a:pt x="474" y="193"/>
                    <a:pt x="474" y="193"/>
                    <a:pt x="474" y="193"/>
                  </a:cubicBezTo>
                  <a:cubicBezTo>
                    <a:pt x="474" y="192"/>
                    <a:pt x="474" y="192"/>
                    <a:pt x="474" y="192"/>
                  </a:cubicBezTo>
                  <a:cubicBezTo>
                    <a:pt x="474" y="192"/>
                    <a:pt x="474" y="192"/>
                    <a:pt x="474" y="192"/>
                  </a:cubicBezTo>
                  <a:cubicBezTo>
                    <a:pt x="474" y="192"/>
                    <a:pt x="474" y="192"/>
                    <a:pt x="474" y="191"/>
                  </a:cubicBezTo>
                  <a:cubicBezTo>
                    <a:pt x="474" y="191"/>
                    <a:pt x="474" y="191"/>
                    <a:pt x="474" y="191"/>
                  </a:cubicBezTo>
                  <a:cubicBezTo>
                    <a:pt x="474" y="190"/>
                    <a:pt x="475" y="190"/>
                    <a:pt x="475" y="190"/>
                  </a:cubicBezTo>
                  <a:cubicBezTo>
                    <a:pt x="475" y="190"/>
                    <a:pt x="475" y="190"/>
                    <a:pt x="475" y="190"/>
                  </a:cubicBezTo>
                  <a:cubicBezTo>
                    <a:pt x="475" y="189"/>
                    <a:pt x="475" y="189"/>
                    <a:pt x="475" y="189"/>
                  </a:cubicBezTo>
                  <a:cubicBezTo>
                    <a:pt x="475" y="189"/>
                    <a:pt x="475" y="189"/>
                    <a:pt x="475" y="189"/>
                  </a:cubicBezTo>
                  <a:cubicBezTo>
                    <a:pt x="475" y="188"/>
                    <a:pt x="475" y="188"/>
                    <a:pt x="476" y="188"/>
                  </a:cubicBezTo>
                  <a:cubicBezTo>
                    <a:pt x="475" y="188"/>
                    <a:pt x="475" y="188"/>
                    <a:pt x="475" y="188"/>
                  </a:cubicBezTo>
                  <a:cubicBezTo>
                    <a:pt x="475" y="188"/>
                    <a:pt x="475" y="188"/>
                    <a:pt x="476" y="187"/>
                  </a:cubicBezTo>
                  <a:cubicBezTo>
                    <a:pt x="475" y="187"/>
                    <a:pt x="475" y="187"/>
                    <a:pt x="475" y="187"/>
                  </a:cubicBezTo>
                  <a:cubicBezTo>
                    <a:pt x="475" y="187"/>
                    <a:pt x="475" y="187"/>
                    <a:pt x="475" y="187"/>
                  </a:cubicBezTo>
                  <a:cubicBezTo>
                    <a:pt x="475" y="186"/>
                    <a:pt x="476" y="186"/>
                    <a:pt x="476" y="186"/>
                  </a:cubicBezTo>
                  <a:cubicBezTo>
                    <a:pt x="476" y="185"/>
                    <a:pt x="476" y="185"/>
                    <a:pt x="476" y="185"/>
                  </a:cubicBezTo>
                  <a:cubicBezTo>
                    <a:pt x="476" y="184"/>
                    <a:pt x="476" y="184"/>
                    <a:pt x="476" y="184"/>
                  </a:cubicBezTo>
                  <a:cubicBezTo>
                    <a:pt x="476" y="184"/>
                    <a:pt x="476" y="184"/>
                    <a:pt x="476" y="184"/>
                  </a:cubicBezTo>
                  <a:cubicBezTo>
                    <a:pt x="475" y="184"/>
                    <a:pt x="475" y="184"/>
                    <a:pt x="475" y="184"/>
                  </a:cubicBezTo>
                  <a:cubicBezTo>
                    <a:pt x="475" y="184"/>
                    <a:pt x="475" y="184"/>
                    <a:pt x="475" y="184"/>
                  </a:cubicBezTo>
                  <a:cubicBezTo>
                    <a:pt x="475" y="184"/>
                    <a:pt x="475" y="185"/>
                    <a:pt x="474" y="185"/>
                  </a:cubicBezTo>
                  <a:cubicBezTo>
                    <a:pt x="474" y="185"/>
                    <a:pt x="474" y="185"/>
                    <a:pt x="474" y="185"/>
                  </a:cubicBezTo>
                  <a:cubicBezTo>
                    <a:pt x="473" y="185"/>
                    <a:pt x="473" y="184"/>
                    <a:pt x="473" y="184"/>
                  </a:cubicBezTo>
                  <a:cubicBezTo>
                    <a:pt x="473" y="184"/>
                    <a:pt x="472" y="185"/>
                    <a:pt x="472" y="185"/>
                  </a:cubicBezTo>
                  <a:cubicBezTo>
                    <a:pt x="472" y="185"/>
                    <a:pt x="471" y="185"/>
                    <a:pt x="471" y="184"/>
                  </a:cubicBezTo>
                  <a:cubicBezTo>
                    <a:pt x="471" y="184"/>
                    <a:pt x="471" y="184"/>
                    <a:pt x="471" y="184"/>
                  </a:cubicBezTo>
                  <a:cubicBezTo>
                    <a:pt x="471" y="184"/>
                    <a:pt x="470" y="184"/>
                    <a:pt x="470" y="183"/>
                  </a:cubicBezTo>
                  <a:cubicBezTo>
                    <a:pt x="470" y="183"/>
                    <a:pt x="470" y="183"/>
                    <a:pt x="470" y="183"/>
                  </a:cubicBezTo>
                  <a:cubicBezTo>
                    <a:pt x="470" y="183"/>
                    <a:pt x="470" y="183"/>
                    <a:pt x="470" y="183"/>
                  </a:cubicBezTo>
                  <a:cubicBezTo>
                    <a:pt x="470" y="183"/>
                    <a:pt x="470" y="183"/>
                    <a:pt x="470" y="183"/>
                  </a:cubicBezTo>
                  <a:cubicBezTo>
                    <a:pt x="470" y="182"/>
                    <a:pt x="470" y="182"/>
                    <a:pt x="470" y="182"/>
                  </a:cubicBezTo>
                  <a:cubicBezTo>
                    <a:pt x="470" y="181"/>
                    <a:pt x="470" y="181"/>
                    <a:pt x="471" y="181"/>
                  </a:cubicBezTo>
                  <a:cubicBezTo>
                    <a:pt x="471" y="181"/>
                    <a:pt x="471" y="181"/>
                    <a:pt x="472" y="181"/>
                  </a:cubicBezTo>
                  <a:cubicBezTo>
                    <a:pt x="472" y="181"/>
                    <a:pt x="471" y="181"/>
                    <a:pt x="471" y="181"/>
                  </a:cubicBezTo>
                  <a:cubicBezTo>
                    <a:pt x="471" y="181"/>
                    <a:pt x="471" y="181"/>
                    <a:pt x="471" y="181"/>
                  </a:cubicBezTo>
                  <a:cubicBezTo>
                    <a:pt x="471" y="181"/>
                    <a:pt x="471" y="181"/>
                    <a:pt x="471" y="181"/>
                  </a:cubicBezTo>
                  <a:cubicBezTo>
                    <a:pt x="470" y="181"/>
                    <a:pt x="469" y="180"/>
                    <a:pt x="469" y="180"/>
                  </a:cubicBezTo>
                  <a:cubicBezTo>
                    <a:pt x="469" y="179"/>
                    <a:pt x="469" y="179"/>
                    <a:pt x="469" y="179"/>
                  </a:cubicBezTo>
                  <a:cubicBezTo>
                    <a:pt x="469" y="179"/>
                    <a:pt x="469" y="179"/>
                    <a:pt x="469" y="179"/>
                  </a:cubicBezTo>
                  <a:cubicBezTo>
                    <a:pt x="469" y="178"/>
                    <a:pt x="469" y="178"/>
                    <a:pt x="469" y="178"/>
                  </a:cubicBezTo>
                  <a:cubicBezTo>
                    <a:pt x="469" y="178"/>
                    <a:pt x="469" y="178"/>
                    <a:pt x="469" y="178"/>
                  </a:cubicBezTo>
                  <a:cubicBezTo>
                    <a:pt x="469" y="178"/>
                    <a:pt x="468" y="178"/>
                    <a:pt x="468" y="178"/>
                  </a:cubicBezTo>
                  <a:cubicBezTo>
                    <a:pt x="468" y="178"/>
                    <a:pt x="468" y="178"/>
                    <a:pt x="468" y="178"/>
                  </a:cubicBezTo>
                  <a:cubicBezTo>
                    <a:pt x="467" y="179"/>
                    <a:pt x="467" y="178"/>
                    <a:pt x="467" y="178"/>
                  </a:cubicBezTo>
                  <a:cubicBezTo>
                    <a:pt x="466" y="177"/>
                    <a:pt x="466" y="177"/>
                    <a:pt x="466" y="177"/>
                  </a:cubicBezTo>
                  <a:cubicBezTo>
                    <a:pt x="466" y="177"/>
                    <a:pt x="466" y="177"/>
                    <a:pt x="466" y="178"/>
                  </a:cubicBezTo>
                  <a:cubicBezTo>
                    <a:pt x="466" y="178"/>
                    <a:pt x="466" y="178"/>
                    <a:pt x="466" y="178"/>
                  </a:cubicBezTo>
                  <a:cubicBezTo>
                    <a:pt x="466" y="179"/>
                    <a:pt x="466" y="179"/>
                    <a:pt x="466" y="179"/>
                  </a:cubicBezTo>
                  <a:cubicBezTo>
                    <a:pt x="466" y="179"/>
                    <a:pt x="466" y="179"/>
                    <a:pt x="466" y="179"/>
                  </a:cubicBezTo>
                  <a:cubicBezTo>
                    <a:pt x="466" y="179"/>
                    <a:pt x="466" y="179"/>
                    <a:pt x="466" y="179"/>
                  </a:cubicBezTo>
                  <a:cubicBezTo>
                    <a:pt x="467" y="179"/>
                    <a:pt x="467" y="179"/>
                    <a:pt x="467" y="180"/>
                  </a:cubicBezTo>
                  <a:cubicBezTo>
                    <a:pt x="467" y="180"/>
                    <a:pt x="467" y="180"/>
                    <a:pt x="467" y="180"/>
                  </a:cubicBezTo>
                  <a:cubicBezTo>
                    <a:pt x="467" y="180"/>
                    <a:pt x="468" y="180"/>
                    <a:pt x="468" y="181"/>
                  </a:cubicBezTo>
                  <a:cubicBezTo>
                    <a:pt x="468" y="182"/>
                    <a:pt x="468" y="182"/>
                    <a:pt x="468" y="182"/>
                  </a:cubicBezTo>
                  <a:cubicBezTo>
                    <a:pt x="468" y="182"/>
                    <a:pt x="468" y="183"/>
                    <a:pt x="468" y="183"/>
                  </a:cubicBezTo>
                  <a:cubicBezTo>
                    <a:pt x="468" y="184"/>
                    <a:pt x="467" y="184"/>
                    <a:pt x="467" y="184"/>
                  </a:cubicBezTo>
                  <a:cubicBezTo>
                    <a:pt x="465" y="183"/>
                    <a:pt x="465" y="183"/>
                    <a:pt x="465" y="183"/>
                  </a:cubicBezTo>
                  <a:cubicBezTo>
                    <a:pt x="465" y="183"/>
                    <a:pt x="465" y="183"/>
                    <a:pt x="465" y="183"/>
                  </a:cubicBezTo>
                  <a:cubicBezTo>
                    <a:pt x="465" y="183"/>
                    <a:pt x="465" y="183"/>
                    <a:pt x="464" y="183"/>
                  </a:cubicBezTo>
                  <a:cubicBezTo>
                    <a:pt x="464" y="183"/>
                    <a:pt x="464" y="183"/>
                    <a:pt x="464" y="183"/>
                  </a:cubicBezTo>
                  <a:cubicBezTo>
                    <a:pt x="465" y="183"/>
                    <a:pt x="465" y="183"/>
                    <a:pt x="465" y="183"/>
                  </a:cubicBezTo>
                  <a:cubicBezTo>
                    <a:pt x="465" y="183"/>
                    <a:pt x="465" y="183"/>
                    <a:pt x="465" y="184"/>
                  </a:cubicBezTo>
                  <a:cubicBezTo>
                    <a:pt x="465" y="184"/>
                    <a:pt x="465" y="184"/>
                    <a:pt x="465" y="184"/>
                  </a:cubicBezTo>
                  <a:cubicBezTo>
                    <a:pt x="466" y="184"/>
                    <a:pt x="466" y="184"/>
                    <a:pt x="466" y="184"/>
                  </a:cubicBezTo>
                  <a:cubicBezTo>
                    <a:pt x="466" y="184"/>
                    <a:pt x="466" y="184"/>
                    <a:pt x="466" y="184"/>
                  </a:cubicBezTo>
                  <a:cubicBezTo>
                    <a:pt x="467" y="184"/>
                    <a:pt x="467" y="184"/>
                    <a:pt x="467" y="184"/>
                  </a:cubicBezTo>
                  <a:cubicBezTo>
                    <a:pt x="467" y="184"/>
                    <a:pt x="467" y="184"/>
                    <a:pt x="467" y="184"/>
                  </a:cubicBezTo>
                  <a:cubicBezTo>
                    <a:pt x="467" y="184"/>
                    <a:pt x="467" y="184"/>
                    <a:pt x="467" y="184"/>
                  </a:cubicBezTo>
                  <a:cubicBezTo>
                    <a:pt x="469" y="185"/>
                    <a:pt x="469" y="185"/>
                    <a:pt x="469" y="185"/>
                  </a:cubicBezTo>
                  <a:cubicBezTo>
                    <a:pt x="469" y="185"/>
                    <a:pt x="469" y="185"/>
                    <a:pt x="469" y="185"/>
                  </a:cubicBezTo>
                  <a:cubicBezTo>
                    <a:pt x="469" y="185"/>
                    <a:pt x="469" y="185"/>
                    <a:pt x="469" y="185"/>
                  </a:cubicBezTo>
                  <a:cubicBezTo>
                    <a:pt x="470" y="185"/>
                    <a:pt x="470" y="185"/>
                    <a:pt x="470" y="185"/>
                  </a:cubicBezTo>
                  <a:cubicBezTo>
                    <a:pt x="470" y="186"/>
                    <a:pt x="470" y="186"/>
                    <a:pt x="470" y="186"/>
                  </a:cubicBezTo>
                  <a:cubicBezTo>
                    <a:pt x="470" y="188"/>
                    <a:pt x="470" y="188"/>
                    <a:pt x="470" y="188"/>
                  </a:cubicBezTo>
                  <a:cubicBezTo>
                    <a:pt x="470" y="188"/>
                    <a:pt x="470" y="188"/>
                    <a:pt x="470" y="188"/>
                  </a:cubicBezTo>
                  <a:cubicBezTo>
                    <a:pt x="470" y="188"/>
                    <a:pt x="470" y="188"/>
                    <a:pt x="470" y="188"/>
                  </a:cubicBezTo>
                  <a:cubicBezTo>
                    <a:pt x="470" y="189"/>
                    <a:pt x="470" y="189"/>
                    <a:pt x="470" y="189"/>
                  </a:cubicBezTo>
                  <a:cubicBezTo>
                    <a:pt x="470" y="189"/>
                    <a:pt x="470" y="189"/>
                    <a:pt x="470" y="189"/>
                  </a:cubicBezTo>
                  <a:cubicBezTo>
                    <a:pt x="470" y="190"/>
                    <a:pt x="470" y="190"/>
                    <a:pt x="470" y="190"/>
                  </a:cubicBezTo>
                  <a:cubicBezTo>
                    <a:pt x="470" y="190"/>
                    <a:pt x="470" y="190"/>
                    <a:pt x="470" y="190"/>
                  </a:cubicBezTo>
                  <a:cubicBezTo>
                    <a:pt x="470" y="191"/>
                    <a:pt x="470" y="191"/>
                    <a:pt x="470" y="191"/>
                  </a:cubicBezTo>
                  <a:cubicBezTo>
                    <a:pt x="471" y="191"/>
                    <a:pt x="471" y="192"/>
                    <a:pt x="470" y="192"/>
                  </a:cubicBezTo>
                  <a:cubicBezTo>
                    <a:pt x="470" y="192"/>
                    <a:pt x="470" y="192"/>
                    <a:pt x="470" y="192"/>
                  </a:cubicBezTo>
                  <a:cubicBezTo>
                    <a:pt x="470" y="192"/>
                    <a:pt x="470" y="192"/>
                    <a:pt x="470" y="192"/>
                  </a:cubicBezTo>
                  <a:cubicBezTo>
                    <a:pt x="471" y="192"/>
                    <a:pt x="471" y="193"/>
                    <a:pt x="471" y="193"/>
                  </a:cubicBezTo>
                  <a:cubicBezTo>
                    <a:pt x="471" y="193"/>
                    <a:pt x="471" y="193"/>
                    <a:pt x="471" y="193"/>
                  </a:cubicBezTo>
                  <a:cubicBezTo>
                    <a:pt x="472" y="193"/>
                    <a:pt x="472" y="194"/>
                    <a:pt x="472" y="194"/>
                  </a:cubicBezTo>
                  <a:cubicBezTo>
                    <a:pt x="472" y="194"/>
                    <a:pt x="472" y="194"/>
                    <a:pt x="472" y="194"/>
                  </a:cubicBezTo>
                  <a:cubicBezTo>
                    <a:pt x="472" y="195"/>
                    <a:pt x="472" y="195"/>
                    <a:pt x="472" y="195"/>
                  </a:cubicBezTo>
                  <a:cubicBezTo>
                    <a:pt x="472" y="195"/>
                    <a:pt x="472" y="195"/>
                    <a:pt x="472" y="195"/>
                  </a:cubicBezTo>
                  <a:cubicBezTo>
                    <a:pt x="472" y="198"/>
                    <a:pt x="472" y="198"/>
                    <a:pt x="472" y="198"/>
                  </a:cubicBezTo>
                  <a:cubicBezTo>
                    <a:pt x="472" y="198"/>
                    <a:pt x="472" y="199"/>
                    <a:pt x="471" y="199"/>
                  </a:cubicBezTo>
                  <a:cubicBezTo>
                    <a:pt x="471" y="199"/>
                    <a:pt x="471" y="199"/>
                    <a:pt x="471" y="199"/>
                  </a:cubicBezTo>
                  <a:cubicBezTo>
                    <a:pt x="471" y="199"/>
                    <a:pt x="471" y="199"/>
                    <a:pt x="471" y="199"/>
                  </a:cubicBezTo>
                  <a:cubicBezTo>
                    <a:pt x="471" y="199"/>
                    <a:pt x="471" y="199"/>
                    <a:pt x="471" y="199"/>
                  </a:cubicBezTo>
                  <a:cubicBezTo>
                    <a:pt x="471" y="199"/>
                    <a:pt x="471" y="200"/>
                    <a:pt x="471" y="200"/>
                  </a:cubicBezTo>
                  <a:cubicBezTo>
                    <a:pt x="472" y="200"/>
                    <a:pt x="472" y="200"/>
                    <a:pt x="472" y="200"/>
                  </a:cubicBezTo>
                  <a:cubicBezTo>
                    <a:pt x="473" y="201"/>
                    <a:pt x="473" y="201"/>
                    <a:pt x="473" y="201"/>
                  </a:cubicBezTo>
                  <a:cubicBezTo>
                    <a:pt x="473" y="201"/>
                    <a:pt x="473" y="201"/>
                    <a:pt x="473" y="202"/>
                  </a:cubicBezTo>
                  <a:cubicBezTo>
                    <a:pt x="473" y="202"/>
                    <a:pt x="473" y="202"/>
                    <a:pt x="473" y="202"/>
                  </a:cubicBezTo>
                  <a:cubicBezTo>
                    <a:pt x="474" y="202"/>
                    <a:pt x="474" y="202"/>
                    <a:pt x="474" y="203"/>
                  </a:cubicBezTo>
                  <a:cubicBezTo>
                    <a:pt x="474" y="203"/>
                    <a:pt x="474" y="203"/>
                    <a:pt x="474" y="203"/>
                  </a:cubicBezTo>
                  <a:cubicBezTo>
                    <a:pt x="474" y="203"/>
                    <a:pt x="474" y="203"/>
                    <a:pt x="473" y="204"/>
                  </a:cubicBezTo>
                  <a:cubicBezTo>
                    <a:pt x="473" y="204"/>
                    <a:pt x="473" y="204"/>
                    <a:pt x="473" y="204"/>
                  </a:cubicBezTo>
                  <a:cubicBezTo>
                    <a:pt x="477" y="204"/>
                    <a:pt x="477" y="204"/>
                    <a:pt x="477" y="204"/>
                  </a:cubicBezTo>
                  <a:cubicBezTo>
                    <a:pt x="477" y="204"/>
                    <a:pt x="477" y="203"/>
                    <a:pt x="477" y="203"/>
                  </a:cubicBezTo>
                  <a:cubicBezTo>
                    <a:pt x="478" y="203"/>
                    <a:pt x="478" y="204"/>
                    <a:pt x="478" y="204"/>
                  </a:cubicBezTo>
                  <a:cubicBezTo>
                    <a:pt x="479" y="205"/>
                    <a:pt x="479" y="205"/>
                    <a:pt x="479" y="205"/>
                  </a:cubicBezTo>
                  <a:cubicBezTo>
                    <a:pt x="479" y="205"/>
                    <a:pt x="479" y="205"/>
                    <a:pt x="479" y="205"/>
                  </a:cubicBezTo>
                  <a:cubicBezTo>
                    <a:pt x="479" y="206"/>
                    <a:pt x="479" y="206"/>
                    <a:pt x="479" y="206"/>
                  </a:cubicBezTo>
                  <a:cubicBezTo>
                    <a:pt x="481" y="209"/>
                    <a:pt x="481" y="209"/>
                    <a:pt x="481" y="209"/>
                  </a:cubicBezTo>
                  <a:cubicBezTo>
                    <a:pt x="481" y="209"/>
                    <a:pt x="481" y="209"/>
                    <a:pt x="481" y="209"/>
                  </a:cubicBezTo>
                  <a:cubicBezTo>
                    <a:pt x="481" y="210"/>
                    <a:pt x="481" y="210"/>
                    <a:pt x="481" y="210"/>
                  </a:cubicBezTo>
                  <a:cubicBezTo>
                    <a:pt x="482" y="211"/>
                    <a:pt x="482" y="211"/>
                    <a:pt x="482" y="211"/>
                  </a:cubicBezTo>
                  <a:cubicBezTo>
                    <a:pt x="482" y="211"/>
                    <a:pt x="482" y="212"/>
                    <a:pt x="482" y="212"/>
                  </a:cubicBezTo>
                  <a:cubicBezTo>
                    <a:pt x="482" y="212"/>
                    <a:pt x="482" y="212"/>
                    <a:pt x="482" y="212"/>
                  </a:cubicBezTo>
                  <a:cubicBezTo>
                    <a:pt x="482" y="212"/>
                    <a:pt x="482" y="212"/>
                    <a:pt x="482" y="212"/>
                  </a:cubicBezTo>
                  <a:cubicBezTo>
                    <a:pt x="481" y="213"/>
                    <a:pt x="481" y="213"/>
                    <a:pt x="481" y="213"/>
                  </a:cubicBezTo>
                  <a:cubicBezTo>
                    <a:pt x="481" y="213"/>
                    <a:pt x="481" y="213"/>
                    <a:pt x="481" y="213"/>
                  </a:cubicBezTo>
                  <a:cubicBezTo>
                    <a:pt x="481" y="213"/>
                    <a:pt x="481" y="213"/>
                    <a:pt x="481" y="213"/>
                  </a:cubicBezTo>
                  <a:cubicBezTo>
                    <a:pt x="482" y="213"/>
                    <a:pt x="482" y="213"/>
                    <a:pt x="482" y="213"/>
                  </a:cubicBezTo>
                  <a:cubicBezTo>
                    <a:pt x="482" y="213"/>
                    <a:pt x="482" y="213"/>
                    <a:pt x="482" y="213"/>
                  </a:cubicBezTo>
                  <a:cubicBezTo>
                    <a:pt x="482" y="213"/>
                    <a:pt x="482" y="213"/>
                    <a:pt x="482" y="213"/>
                  </a:cubicBezTo>
                  <a:cubicBezTo>
                    <a:pt x="482" y="213"/>
                    <a:pt x="482" y="213"/>
                    <a:pt x="482" y="213"/>
                  </a:cubicBezTo>
                  <a:cubicBezTo>
                    <a:pt x="482" y="214"/>
                    <a:pt x="482" y="214"/>
                    <a:pt x="482" y="214"/>
                  </a:cubicBezTo>
                  <a:cubicBezTo>
                    <a:pt x="482" y="214"/>
                    <a:pt x="482" y="214"/>
                    <a:pt x="482" y="214"/>
                  </a:cubicBezTo>
                  <a:cubicBezTo>
                    <a:pt x="482" y="215"/>
                    <a:pt x="482" y="215"/>
                    <a:pt x="482" y="215"/>
                  </a:cubicBezTo>
                  <a:cubicBezTo>
                    <a:pt x="482" y="215"/>
                    <a:pt x="482" y="215"/>
                    <a:pt x="482" y="215"/>
                  </a:cubicBezTo>
                  <a:cubicBezTo>
                    <a:pt x="482" y="215"/>
                    <a:pt x="482" y="215"/>
                    <a:pt x="482" y="215"/>
                  </a:cubicBezTo>
                  <a:cubicBezTo>
                    <a:pt x="482" y="215"/>
                    <a:pt x="482" y="215"/>
                    <a:pt x="482" y="215"/>
                  </a:cubicBezTo>
                  <a:cubicBezTo>
                    <a:pt x="483" y="216"/>
                    <a:pt x="483" y="216"/>
                    <a:pt x="483" y="216"/>
                  </a:cubicBezTo>
                  <a:cubicBezTo>
                    <a:pt x="483" y="216"/>
                    <a:pt x="483" y="216"/>
                    <a:pt x="483" y="216"/>
                  </a:cubicBezTo>
                  <a:cubicBezTo>
                    <a:pt x="483" y="216"/>
                    <a:pt x="483" y="216"/>
                    <a:pt x="483" y="216"/>
                  </a:cubicBezTo>
                  <a:cubicBezTo>
                    <a:pt x="484" y="216"/>
                    <a:pt x="484" y="216"/>
                    <a:pt x="484" y="216"/>
                  </a:cubicBezTo>
                  <a:cubicBezTo>
                    <a:pt x="484" y="217"/>
                    <a:pt x="484" y="217"/>
                    <a:pt x="484" y="217"/>
                  </a:cubicBezTo>
                  <a:cubicBezTo>
                    <a:pt x="484" y="217"/>
                    <a:pt x="484" y="217"/>
                    <a:pt x="484" y="217"/>
                  </a:cubicBezTo>
                  <a:cubicBezTo>
                    <a:pt x="484" y="217"/>
                    <a:pt x="484" y="217"/>
                    <a:pt x="484" y="217"/>
                  </a:cubicBezTo>
                  <a:cubicBezTo>
                    <a:pt x="484" y="218"/>
                    <a:pt x="484" y="218"/>
                    <a:pt x="484" y="218"/>
                  </a:cubicBezTo>
                  <a:cubicBezTo>
                    <a:pt x="484" y="218"/>
                    <a:pt x="484" y="218"/>
                    <a:pt x="484" y="218"/>
                  </a:cubicBezTo>
                  <a:cubicBezTo>
                    <a:pt x="484" y="219"/>
                    <a:pt x="484" y="219"/>
                    <a:pt x="484" y="219"/>
                  </a:cubicBezTo>
                  <a:cubicBezTo>
                    <a:pt x="483" y="220"/>
                    <a:pt x="483" y="220"/>
                    <a:pt x="483" y="220"/>
                  </a:cubicBezTo>
                  <a:cubicBezTo>
                    <a:pt x="482" y="219"/>
                    <a:pt x="482" y="219"/>
                    <a:pt x="482" y="219"/>
                  </a:cubicBezTo>
                  <a:cubicBezTo>
                    <a:pt x="481" y="219"/>
                    <a:pt x="481" y="219"/>
                    <a:pt x="481" y="219"/>
                  </a:cubicBezTo>
                  <a:cubicBezTo>
                    <a:pt x="481" y="219"/>
                    <a:pt x="481" y="219"/>
                    <a:pt x="481" y="219"/>
                  </a:cubicBezTo>
                  <a:cubicBezTo>
                    <a:pt x="481" y="219"/>
                    <a:pt x="481" y="219"/>
                    <a:pt x="481" y="219"/>
                  </a:cubicBezTo>
                  <a:cubicBezTo>
                    <a:pt x="481" y="219"/>
                    <a:pt x="481" y="219"/>
                    <a:pt x="481" y="219"/>
                  </a:cubicBezTo>
                  <a:cubicBezTo>
                    <a:pt x="481" y="219"/>
                    <a:pt x="481" y="219"/>
                    <a:pt x="481" y="219"/>
                  </a:cubicBezTo>
                  <a:cubicBezTo>
                    <a:pt x="481" y="218"/>
                    <a:pt x="481" y="218"/>
                    <a:pt x="481" y="218"/>
                  </a:cubicBezTo>
                  <a:cubicBezTo>
                    <a:pt x="481" y="218"/>
                    <a:pt x="481" y="218"/>
                    <a:pt x="481" y="218"/>
                  </a:cubicBezTo>
                  <a:cubicBezTo>
                    <a:pt x="480" y="218"/>
                    <a:pt x="480" y="218"/>
                    <a:pt x="480" y="218"/>
                  </a:cubicBezTo>
                  <a:cubicBezTo>
                    <a:pt x="480" y="218"/>
                    <a:pt x="480" y="218"/>
                    <a:pt x="480" y="218"/>
                  </a:cubicBezTo>
                  <a:cubicBezTo>
                    <a:pt x="480" y="219"/>
                    <a:pt x="480" y="219"/>
                    <a:pt x="480" y="219"/>
                  </a:cubicBezTo>
                  <a:cubicBezTo>
                    <a:pt x="480" y="219"/>
                    <a:pt x="480" y="219"/>
                    <a:pt x="480" y="219"/>
                  </a:cubicBezTo>
                  <a:cubicBezTo>
                    <a:pt x="480" y="219"/>
                    <a:pt x="480" y="219"/>
                    <a:pt x="480" y="219"/>
                  </a:cubicBezTo>
                  <a:cubicBezTo>
                    <a:pt x="480" y="219"/>
                    <a:pt x="480" y="219"/>
                    <a:pt x="480" y="219"/>
                  </a:cubicBezTo>
                  <a:cubicBezTo>
                    <a:pt x="484" y="220"/>
                    <a:pt x="484" y="220"/>
                    <a:pt x="484" y="220"/>
                  </a:cubicBezTo>
                  <a:cubicBezTo>
                    <a:pt x="485" y="220"/>
                    <a:pt x="485" y="220"/>
                    <a:pt x="485" y="220"/>
                  </a:cubicBezTo>
                  <a:cubicBezTo>
                    <a:pt x="485" y="220"/>
                    <a:pt x="485" y="220"/>
                    <a:pt x="485" y="220"/>
                  </a:cubicBezTo>
                  <a:cubicBezTo>
                    <a:pt x="485" y="220"/>
                    <a:pt x="485" y="220"/>
                    <a:pt x="485" y="220"/>
                  </a:cubicBezTo>
                  <a:cubicBezTo>
                    <a:pt x="485" y="220"/>
                    <a:pt x="485" y="220"/>
                    <a:pt x="485" y="220"/>
                  </a:cubicBezTo>
                  <a:cubicBezTo>
                    <a:pt x="489" y="222"/>
                    <a:pt x="489" y="222"/>
                    <a:pt x="489" y="222"/>
                  </a:cubicBezTo>
                  <a:cubicBezTo>
                    <a:pt x="486" y="222"/>
                    <a:pt x="486" y="222"/>
                    <a:pt x="486" y="222"/>
                  </a:cubicBezTo>
                  <a:cubicBezTo>
                    <a:pt x="486" y="222"/>
                    <a:pt x="486" y="222"/>
                    <a:pt x="486" y="222"/>
                  </a:cubicBezTo>
                  <a:cubicBezTo>
                    <a:pt x="486" y="222"/>
                    <a:pt x="486" y="222"/>
                    <a:pt x="486" y="222"/>
                  </a:cubicBezTo>
                  <a:cubicBezTo>
                    <a:pt x="487" y="223"/>
                    <a:pt x="487" y="223"/>
                    <a:pt x="487" y="223"/>
                  </a:cubicBezTo>
                  <a:cubicBezTo>
                    <a:pt x="486" y="223"/>
                    <a:pt x="486" y="223"/>
                    <a:pt x="486" y="223"/>
                  </a:cubicBezTo>
                  <a:cubicBezTo>
                    <a:pt x="486" y="223"/>
                    <a:pt x="486" y="223"/>
                    <a:pt x="486" y="223"/>
                  </a:cubicBezTo>
                  <a:cubicBezTo>
                    <a:pt x="488" y="225"/>
                    <a:pt x="488" y="225"/>
                    <a:pt x="488" y="225"/>
                  </a:cubicBezTo>
                  <a:cubicBezTo>
                    <a:pt x="487" y="225"/>
                    <a:pt x="487" y="225"/>
                    <a:pt x="487" y="225"/>
                  </a:cubicBezTo>
                  <a:cubicBezTo>
                    <a:pt x="487" y="226"/>
                    <a:pt x="487" y="226"/>
                    <a:pt x="487" y="226"/>
                  </a:cubicBezTo>
                  <a:cubicBezTo>
                    <a:pt x="487" y="227"/>
                    <a:pt x="487" y="227"/>
                    <a:pt x="487" y="227"/>
                  </a:cubicBezTo>
                  <a:cubicBezTo>
                    <a:pt x="487" y="228"/>
                    <a:pt x="487" y="228"/>
                    <a:pt x="487" y="228"/>
                  </a:cubicBezTo>
                  <a:cubicBezTo>
                    <a:pt x="487" y="228"/>
                    <a:pt x="487" y="228"/>
                    <a:pt x="487" y="228"/>
                  </a:cubicBezTo>
                  <a:cubicBezTo>
                    <a:pt x="487" y="228"/>
                    <a:pt x="487" y="228"/>
                    <a:pt x="487" y="228"/>
                  </a:cubicBezTo>
                  <a:cubicBezTo>
                    <a:pt x="487" y="229"/>
                    <a:pt x="487" y="229"/>
                    <a:pt x="487" y="229"/>
                  </a:cubicBezTo>
                  <a:cubicBezTo>
                    <a:pt x="487" y="229"/>
                    <a:pt x="487" y="229"/>
                    <a:pt x="487" y="229"/>
                  </a:cubicBezTo>
                  <a:cubicBezTo>
                    <a:pt x="487" y="230"/>
                    <a:pt x="487" y="230"/>
                    <a:pt x="487" y="230"/>
                  </a:cubicBezTo>
                  <a:cubicBezTo>
                    <a:pt x="486" y="230"/>
                    <a:pt x="486" y="230"/>
                    <a:pt x="486" y="230"/>
                  </a:cubicBezTo>
                  <a:cubicBezTo>
                    <a:pt x="485" y="230"/>
                    <a:pt x="485" y="230"/>
                    <a:pt x="485" y="230"/>
                  </a:cubicBezTo>
                  <a:cubicBezTo>
                    <a:pt x="485" y="230"/>
                    <a:pt x="485" y="230"/>
                    <a:pt x="485" y="230"/>
                  </a:cubicBezTo>
                  <a:cubicBezTo>
                    <a:pt x="485" y="230"/>
                    <a:pt x="485" y="230"/>
                    <a:pt x="485" y="230"/>
                  </a:cubicBezTo>
                  <a:cubicBezTo>
                    <a:pt x="484" y="231"/>
                    <a:pt x="484" y="231"/>
                    <a:pt x="484" y="231"/>
                  </a:cubicBezTo>
                  <a:cubicBezTo>
                    <a:pt x="484" y="231"/>
                    <a:pt x="484" y="231"/>
                    <a:pt x="484" y="231"/>
                  </a:cubicBezTo>
                  <a:cubicBezTo>
                    <a:pt x="484" y="231"/>
                    <a:pt x="484" y="231"/>
                    <a:pt x="484" y="231"/>
                  </a:cubicBezTo>
                  <a:cubicBezTo>
                    <a:pt x="484" y="231"/>
                    <a:pt x="484" y="231"/>
                    <a:pt x="484" y="231"/>
                  </a:cubicBezTo>
                  <a:cubicBezTo>
                    <a:pt x="485" y="231"/>
                    <a:pt x="485" y="231"/>
                    <a:pt x="485" y="231"/>
                  </a:cubicBezTo>
                  <a:cubicBezTo>
                    <a:pt x="484" y="232"/>
                    <a:pt x="484" y="232"/>
                    <a:pt x="484" y="232"/>
                  </a:cubicBezTo>
                  <a:cubicBezTo>
                    <a:pt x="484" y="233"/>
                    <a:pt x="484" y="233"/>
                    <a:pt x="484" y="233"/>
                  </a:cubicBezTo>
                  <a:cubicBezTo>
                    <a:pt x="484" y="233"/>
                    <a:pt x="484" y="233"/>
                    <a:pt x="484" y="233"/>
                  </a:cubicBezTo>
                  <a:cubicBezTo>
                    <a:pt x="484" y="233"/>
                    <a:pt x="484" y="233"/>
                    <a:pt x="484" y="233"/>
                  </a:cubicBezTo>
                  <a:cubicBezTo>
                    <a:pt x="484" y="233"/>
                    <a:pt x="484" y="233"/>
                    <a:pt x="484" y="233"/>
                  </a:cubicBezTo>
                  <a:cubicBezTo>
                    <a:pt x="485" y="233"/>
                    <a:pt x="485" y="233"/>
                    <a:pt x="485" y="233"/>
                  </a:cubicBezTo>
                  <a:cubicBezTo>
                    <a:pt x="485" y="233"/>
                    <a:pt x="485" y="233"/>
                    <a:pt x="485" y="233"/>
                  </a:cubicBezTo>
                  <a:cubicBezTo>
                    <a:pt x="483" y="234"/>
                    <a:pt x="483" y="234"/>
                    <a:pt x="483" y="234"/>
                  </a:cubicBezTo>
                  <a:cubicBezTo>
                    <a:pt x="483" y="234"/>
                    <a:pt x="483" y="234"/>
                    <a:pt x="483" y="234"/>
                  </a:cubicBezTo>
                  <a:cubicBezTo>
                    <a:pt x="483" y="235"/>
                    <a:pt x="483" y="235"/>
                    <a:pt x="483" y="235"/>
                  </a:cubicBezTo>
                  <a:cubicBezTo>
                    <a:pt x="483" y="235"/>
                    <a:pt x="483" y="235"/>
                    <a:pt x="483" y="235"/>
                  </a:cubicBezTo>
                  <a:cubicBezTo>
                    <a:pt x="482" y="235"/>
                    <a:pt x="482" y="235"/>
                    <a:pt x="482" y="235"/>
                  </a:cubicBezTo>
                  <a:cubicBezTo>
                    <a:pt x="482" y="236"/>
                    <a:pt x="482" y="236"/>
                    <a:pt x="482" y="236"/>
                  </a:cubicBezTo>
                  <a:cubicBezTo>
                    <a:pt x="482" y="236"/>
                    <a:pt x="482" y="236"/>
                    <a:pt x="482" y="236"/>
                  </a:cubicBezTo>
                  <a:cubicBezTo>
                    <a:pt x="482" y="236"/>
                    <a:pt x="482" y="236"/>
                    <a:pt x="482" y="236"/>
                  </a:cubicBezTo>
                  <a:cubicBezTo>
                    <a:pt x="481" y="236"/>
                    <a:pt x="481" y="236"/>
                    <a:pt x="481" y="236"/>
                  </a:cubicBezTo>
                  <a:cubicBezTo>
                    <a:pt x="481" y="236"/>
                    <a:pt x="481" y="236"/>
                    <a:pt x="481" y="236"/>
                  </a:cubicBezTo>
                  <a:cubicBezTo>
                    <a:pt x="481" y="236"/>
                    <a:pt x="481" y="236"/>
                    <a:pt x="481" y="236"/>
                  </a:cubicBezTo>
                  <a:cubicBezTo>
                    <a:pt x="481" y="236"/>
                    <a:pt x="481" y="236"/>
                    <a:pt x="481" y="236"/>
                  </a:cubicBezTo>
                  <a:cubicBezTo>
                    <a:pt x="481" y="236"/>
                    <a:pt x="481" y="236"/>
                    <a:pt x="481" y="236"/>
                  </a:cubicBezTo>
                  <a:cubicBezTo>
                    <a:pt x="481" y="236"/>
                    <a:pt x="481" y="236"/>
                    <a:pt x="481" y="236"/>
                  </a:cubicBezTo>
                  <a:cubicBezTo>
                    <a:pt x="480" y="236"/>
                    <a:pt x="480" y="236"/>
                    <a:pt x="480" y="236"/>
                  </a:cubicBezTo>
                  <a:cubicBezTo>
                    <a:pt x="479" y="237"/>
                    <a:pt x="479" y="237"/>
                    <a:pt x="479" y="237"/>
                  </a:cubicBezTo>
                  <a:cubicBezTo>
                    <a:pt x="479" y="237"/>
                    <a:pt x="479" y="237"/>
                    <a:pt x="479" y="237"/>
                  </a:cubicBezTo>
                  <a:cubicBezTo>
                    <a:pt x="479" y="236"/>
                    <a:pt x="479" y="236"/>
                    <a:pt x="479" y="236"/>
                  </a:cubicBezTo>
                  <a:cubicBezTo>
                    <a:pt x="478" y="236"/>
                    <a:pt x="478" y="236"/>
                    <a:pt x="478" y="236"/>
                  </a:cubicBezTo>
                  <a:cubicBezTo>
                    <a:pt x="478" y="236"/>
                    <a:pt x="478" y="236"/>
                    <a:pt x="478" y="236"/>
                  </a:cubicBezTo>
                  <a:cubicBezTo>
                    <a:pt x="478" y="236"/>
                    <a:pt x="478" y="236"/>
                    <a:pt x="478" y="236"/>
                  </a:cubicBezTo>
                  <a:cubicBezTo>
                    <a:pt x="477" y="236"/>
                    <a:pt x="477" y="236"/>
                    <a:pt x="477" y="236"/>
                  </a:cubicBezTo>
                  <a:cubicBezTo>
                    <a:pt x="477" y="237"/>
                    <a:pt x="477" y="237"/>
                    <a:pt x="477" y="237"/>
                  </a:cubicBezTo>
                  <a:cubicBezTo>
                    <a:pt x="477" y="237"/>
                    <a:pt x="477" y="237"/>
                    <a:pt x="477" y="237"/>
                  </a:cubicBezTo>
                  <a:cubicBezTo>
                    <a:pt x="477" y="237"/>
                    <a:pt x="477" y="237"/>
                    <a:pt x="477" y="237"/>
                  </a:cubicBezTo>
                  <a:cubicBezTo>
                    <a:pt x="476" y="238"/>
                    <a:pt x="476" y="238"/>
                    <a:pt x="476" y="238"/>
                  </a:cubicBezTo>
                  <a:cubicBezTo>
                    <a:pt x="476" y="238"/>
                    <a:pt x="476" y="238"/>
                    <a:pt x="476" y="238"/>
                  </a:cubicBezTo>
                  <a:cubicBezTo>
                    <a:pt x="476" y="238"/>
                    <a:pt x="476" y="238"/>
                    <a:pt x="476" y="238"/>
                  </a:cubicBezTo>
                  <a:cubicBezTo>
                    <a:pt x="476" y="237"/>
                    <a:pt x="476" y="237"/>
                    <a:pt x="476" y="237"/>
                  </a:cubicBezTo>
                  <a:cubicBezTo>
                    <a:pt x="476" y="236"/>
                    <a:pt x="476" y="236"/>
                    <a:pt x="476" y="236"/>
                  </a:cubicBezTo>
                  <a:cubicBezTo>
                    <a:pt x="475" y="237"/>
                    <a:pt x="475" y="237"/>
                    <a:pt x="475" y="237"/>
                  </a:cubicBezTo>
                  <a:cubicBezTo>
                    <a:pt x="475" y="237"/>
                    <a:pt x="475" y="237"/>
                    <a:pt x="475" y="237"/>
                  </a:cubicBezTo>
                  <a:cubicBezTo>
                    <a:pt x="475" y="237"/>
                    <a:pt x="475" y="237"/>
                    <a:pt x="475" y="237"/>
                  </a:cubicBezTo>
                  <a:cubicBezTo>
                    <a:pt x="475" y="237"/>
                    <a:pt x="475" y="237"/>
                    <a:pt x="475" y="237"/>
                  </a:cubicBezTo>
                  <a:cubicBezTo>
                    <a:pt x="474" y="237"/>
                    <a:pt x="474" y="237"/>
                    <a:pt x="474" y="237"/>
                  </a:cubicBezTo>
                  <a:cubicBezTo>
                    <a:pt x="474" y="237"/>
                    <a:pt x="474" y="237"/>
                    <a:pt x="474" y="237"/>
                  </a:cubicBezTo>
                  <a:cubicBezTo>
                    <a:pt x="473" y="236"/>
                    <a:pt x="473" y="236"/>
                    <a:pt x="473" y="236"/>
                  </a:cubicBezTo>
                  <a:cubicBezTo>
                    <a:pt x="473" y="236"/>
                    <a:pt x="473" y="236"/>
                    <a:pt x="473" y="236"/>
                  </a:cubicBezTo>
                  <a:cubicBezTo>
                    <a:pt x="473" y="236"/>
                    <a:pt x="473" y="236"/>
                    <a:pt x="473" y="236"/>
                  </a:cubicBezTo>
                  <a:cubicBezTo>
                    <a:pt x="472" y="236"/>
                    <a:pt x="472" y="236"/>
                    <a:pt x="472" y="236"/>
                  </a:cubicBezTo>
                  <a:cubicBezTo>
                    <a:pt x="472" y="236"/>
                    <a:pt x="472" y="236"/>
                    <a:pt x="472" y="236"/>
                  </a:cubicBezTo>
                  <a:cubicBezTo>
                    <a:pt x="472" y="236"/>
                    <a:pt x="472" y="236"/>
                    <a:pt x="472" y="236"/>
                  </a:cubicBezTo>
                  <a:cubicBezTo>
                    <a:pt x="472" y="236"/>
                    <a:pt x="472" y="236"/>
                    <a:pt x="472" y="236"/>
                  </a:cubicBezTo>
                  <a:cubicBezTo>
                    <a:pt x="471" y="238"/>
                    <a:pt x="471" y="238"/>
                    <a:pt x="471" y="238"/>
                  </a:cubicBezTo>
                  <a:cubicBezTo>
                    <a:pt x="470" y="236"/>
                    <a:pt x="470" y="236"/>
                    <a:pt x="470" y="236"/>
                  </a:cubicBezTo>
                  <a:cubicBezTo>
                    <a:pt x="470" y="236"/>
                    <a:pt x="470" y="236"/>
                    <a:pt x="470" y="236"/>
                  </a:cubicBezTo>
                  <a:cubicBezTo>
                    <a:pt x="470" y="236"/>
                    <a:pt x="470" y="236"/>
                    <a:pt x="470" y="236"/>
                  </a:cubicBezTo>
                  <a:cubicBezTo>
                    <a:pt x="470" y="236"/>
                    <a:pt x="470" y="236"/>
                    <a:pt x="470" y="236"/>
                  </a:cubicBezTo>
                  <a:cubicBezTo>
                    <a:pt x="470" y="237"/>
                    <a:pt x="470" y="237"/>
                    <a:pt x="470" y="237"/>
                  </a:cubicBezTo>
                  <a:cubicBezTo>
                    <a:pt x="469" y="236"/>
                    <a:pt x="469" y="236"/>
                    <a:pt x="469" y="236"/>
                  </a:cubicBezTo>
                  <a:cubicBezTo>
                    <a:pt x="469" y="236"/>
                    <a:pt x="469" y="236"/>
                    <a:pt x="469" y="236"/>
                  </a:cubicBezTo>
                  <a:cubicBezTo>
                    <a:pt x="469" y="236"/>
                    <a:pt x="469" y="236"/>
                    <a:pt x="469" y="236"/>
                  </a:cubicBezTo>
                  <a:cubicBezTo>
                    <a:pt x="468" y="236"/>
                    <a:pt x="468" y="236"/>
                    <a:pt x="468" y="236"/>
                  </a:cubicBezTo>
                  <a:cubicBezTo>
                    <a:pt x="468" y="236"/>
                    <a:pt x="468" y="236"/>
                    <a:pt x="468" y="236"/>
                  </a:cubicBezTo>
                  <a:cubicBezTo>
                    <a:pt x="467" y="236"/>
                    <a:pt x="467" y="236"/>
                    <a:pt x="467" y="236"/>
                  </a:cubicBezTo>
                  <a:cubicBezTo>
                    <a:pt x="467" y="235"/>
                    <a:pt x="467" y="235"/>
                    <a:pt x="467" y="235"/>
                  </a:cubicBezTo>
                  <a:cubicBezTo>
                    <a:pt x="467" y="235"/>
                    <a:pt x="467" y="235"/>
                    <a:pt x="467" y="235"/>
                  </a:cubicBezTo>
                  <a:cubicBezTo>
                    <a:pt x="467" y="236"/>
                    <a:pt x="467" y="236"/>
                    <a:pt x="467" y="236"/>
                  </a:cubicBezTo>
                  <a:cubicBezTo>
                    <a:pt x="466" y="235"/>
                    <a:pt x="466" y="235"/>
                    <a:pt x="466" y="235"/>
                  </a:cubicBezTo>
                  <a:cubicBezTo>
                    <a:pt x="466" y="235"/>
                    <a:pt x="466" y="235"/>
                    <a:pt x="466" y="235"/>
                  </a:cubicBezTo>
                  <a:cubicBezTo>
                    <a:pt x="465" y="235"/>
                    <a:pt x="465" y="235"/>
                    <a:pt x="465" y="235"/>
                  </a:cubicBezTo>
                  <a:cubicBezTo>
                    <a:pt x="465" y="234"/>
                    <a:pt x="465" y="234"/>
                    <a:pt x="465" y="234"/>
                  </a:cubicBezTo>
                  <a:cubicBezTo>
                    <a:pt x="465" y="234"/>
                    <a:pt x="465" y="234"/>
                    <a:pt x="465" y="234"/>
                  </a:cubicBezTo>
                  <a:cubicBezTo>
                    <a:pt x="465" y="234"/>
                    <a:pt x="465" y="234"/>
                    <a:pt x="465" y="234"/>
                  </a:cubicBezTo>
                  <a:cubicBezTo>
                    <a:pt x="464" y="234"/>
                    <a:pt x="464" y="234"/>
                    <a:pt x="464" y="234"/>
                  </a:cubicBezTo>
                  <a:cubicBezTo>
                    <a:pt x="463" y="234"/>
                    <a:pt x="463" y="234"/>
                    <a:pt x="463" y="234"/>
                  </a:cubicBezTo>
                  <a:cubicBezTo>
                    <a:pt x="463" y="237"/>
                    <a:pt x="463" y="237"/>
                    <a:pt x="463" y="237"/>
                  </a:cubicBezTo>
                  <a:cubicBezTo>
                    <a:pt x="462" y="238"/>
                    <a:pt x="462" y="238"/>
                    <a:pt x="462" y="238"/>
                  </a:cubicBezTo>
                  <a:cubicBezTo>
                    <a:pt x="459" y="238"/>
                    <a:pt x="459" y="238"/>
                    <a:pt x="459" y="238"/>
                  </a:cubicBezTo>
                  <a:cubicBezTo>
                    <a:pt x="458" y="235"/>
                    <a:pt x="458" y="235"/>
                    <a:pt x="458" y="235"/>
                  </a:cubicBezTo>
                  <a:cubicBezTo>
                    <a:pt x="458" y="234"/>
                    <a:pt x="458" y="234"/>
                    <a:pt x="458" y="234"/>
                  </a:cubicBezTo>
                  <a:cubicBezTo>
                    <a:pt x="458" y="234"/>
                    <a:pt x="458" y="234"/>
                    <a:pt x="458" y="234"/>
                  </a:cubicBezTo>
                  <a:cubicBezTo>
                    <a:pt x="457" y="234"/>
                    <a:pt x="457" y="234"/>
                    <a:pt x="457" y="234"/>
                  </a:cubicBezTo>
                  <a:cubicBezTo>
                    <a:pt x="454" y="235"/>
                    <a:pt x="454" y="235"/>
                    <a:pt x="454" y="235"/>
                  </a:cubicBezTo>
                  <a:cubicBezTo>
                    <a:pt x="451" y="233"/>
                    <a:pt x="451" y="233"/>
                    <a:pt x="451" y="233"/>
                  </a:cubicBezTo>
                  <a:cubicBezTo>
                    <a:pt x="453" y="229"/>
                    <a:pt x="453" y="229"/>
                    <a:pt x="453" y="229"/>
                  </a:cubicBezTo>
                  <a:cubicBezTo>
                    <a:pt x="453" y="227"/>
                    <a:pt x="453" y="227"/>
                    <a:pt x="453" y="227"/>
                  </a:cubicBezTo>
                  <a:cubicBezTo>
                    <a:pt x="454" y="226"/>
                    <a:pt x="454" y="226"/>
                    <a:pt x="454" y="226"/>
                  </a:cubicBezTo>
                  <a:cubicBezTo>
                    <a:pt x="455" y="224"/>
                    <a:pt x="455" y="224"/>
                    <a:pt x="455" y="224"/>
                  </a:cubicBezTo>
                  <a:cubicBezTo>
                    <a:pt x="458" y="224"/>
                    <a:pt x="458" y="224"/>
                    <a:pt x="458" y="224"/>
                  </a:cubicBezTo>
                  <a:cubicBezTo>
                    <a:pt x="459" y="224"/>
                    <a:pt x="459" y="224"/>
                    <a:pt x="459" y="224"/>
                  </a:cubicBezTo>
                  <a:cubicBezTo>
                    <a:pt x="459" y="224"/>
                    <a:pt x="459" y="224"/>
                    <a:pt x="459" y="224"/>
                  </a:cubicBezTo>
                  <a:cubicBezTo>
                    <a:pt x="459" y="223"/>
                    <a:pt x="459" y="223"/>
                    <a:pt x="459" y="223"/>
                  </a:cubicBezTo>
                  <a:cubicBezTo>
                    <a:pt x="458" y="223"/>
                    <a:pt x="458" y="223"/>
                    <a:pt x="458" y="223"/>
                  </a:cubicBezTo>
                  <a:cubicBezTo>
                    <a:pt x="456" y="223"/>
                    <a:pt x="456" y="223"/>
                    <a:pt x="456" y="223"/>
                  </a:cubicBezTo>
                  <a:cubicBezTo>
                    <a:pt x="456" y="222"/>
                    <a:pt x="456" y="222"/>
                    <a:pt x="456" y="222"/>
                  </a:cubicBezTo>
                  <a:cubicBezTo>
                    <a:pt x="454" y="222"/>
                    <a:pt x="454" y="222"/>
                    <a:pt x="454" y="222"/>
                  </a:cubicBezTo>
                  <a:cubicBezTo>
                    <a:pt x="455" y="222"/>
                    <a:pt x="455" y="222"/>
                    <a:pt x="455" y="222"/>
                  </a:cubicBezTo>
                  <a:cubicBezTo>
                    <a:pt x="454" y="221"/>
                    <a:pt x="454" y="221"/>
                    <a:pt x="454" y="221"/>
                  </a:cubicBezTo>
                  <a:cubicBezTo>
                    <a:pt x="453" y="221"/>
                    <a:pt x="453" y="221"/>
                    <a:pt x="453" y="221"/>
                  </a:cubicBezTo>
                  <a:cubicBezTo>
                    <a:pt x="451" y="219"/>
                    <a:pt x="451" y="219"/>
                    <a:pt x="451" y="219"/>
                  </a:cubicBezTo>
                  <a:cubicBezTo>
                    <a:pt x="451" y="218"/>
                    <a:pt x="451" y="218"/>
                    <a:pt x="451" y="218"/>
                  </a:cubicBezTo>
                  <a:cubicBezTo>
                    <a:pt x="451" y="218"/>
                    <a:pt x="451" y="218"/>
                    <a:pt x="451" y="218"/>
                  </a:cubicBezTo>
                  <a:cubicBezTo>
                    <a:pt x="449" y="219"/>
                    <a:pt x="449" y="219"/>
                    <a:pt x="449" y="219"/>
                  </a:cubicBezTo>
                  <a:cubicBezTo>
                    <a:pt x="446" y="220"/>
                    <a:pt x="446" y="220"/>
                    <a:pt x="446" y="220"/>
                  </a:cubicBezTo>
                  <a:cubicBezTo>
                    <a:pt x="443" y="220"/>
                    <a:pt x="443" y="220"/>
                    <a:pt x="443" y="220"/>
                  </a:cubicBezTo>
                  <a:cubicBezTo>
                    <a:pt x="441" y="221"/>
                    <a:pt x="441" y="221"/>
                    <a:pt x="441" y="221"/>
                  </a:cubicBezTo>
                  <a:cubicBezTo>
                    <a:pt x="438" y="221"/>
                    <a:pt x="438" y="221"/>
                    <a:pt x="438" y="221"/>
                  </a:cubicBezTo>
                  <a:cubicBezTo>
                    <a:pt x="436" y="222"/>
                    <a:pt x="436" y="222"/>
                    <a:pt x="436" y="222"/>
                  </a:cubicBezTo>
                  <a:cubicBezTo>
                    <a:pt x="432" y="223"/>
                    <a:pt x="432" y="223"/>
                    <a:pt x="432" y="223"/>
                  </a:cubicBezTo>
                  <a:cubicBezTo>
                    <a:pt x="430" y="223"/>
                    <a:pt x="430" y="223"/>
                    <a:pt x="430" y="223"/>
                  </a:cubicBezTo>
                  <a:cubicBezTo>
                    <a:pt x="427" y="224"/>
                    <a:pt x="427" y="224"/>
                    <a:pt x="427" y="224"/>
                  </a:cubicBezTo>
                  <a:cubicBezTo>
                    <a:pt x="424" y="224"/>
                    <a:pt x="424" y="224"/>
                    <a:pt x="424" y="224"/>
                  </a:cubicBezTo>
                  <a:cubicBezTo>
                    <a:pt x="422" y="225"/>
                    <a:pt x="422" y="225"/>
                    <a:pt x="422" y="225"/>
                  </a:cubicBezTo>
                  <a:cubicBezTo>
                    <a:pt x="419" y="225"/>
                    <a:pt x="419" y="225"/>
                    <a:pt x="419" y="225"/>
                  </a:cubicBezTo>
                  <a:cubicBezTo>
                    <a:pt x="416" y="226"/>
                    <a:pt x="416" y="226"/>
                    <a:pt x="416" y="226"/>
                  </a:cubicBezTo>
                  <a:cubicBezTo>
                    <a:pt x="413" y="226"/>
                    <a:pt x="413" y="226"/>
                    <a:pt x="413" y="226"/>
                  </a:cubicBezTo>
                  <a:cubicBezTo>
                    <a:pt x="411" y="226"/>
                    <a:pt x="411" y="226"/>
                    <a:pt x="411" y="226"/>
                  </a:cubicBezTo>
                  <a:cubicBezTo>
                    <a:pt x="408" y="227"/>
                    <a:pt x="408" y="227"/>
                    <a:pt x="408" y="227"/>
                  </a:cubicBezTo>
                  <a:cubicBezTo>
                    <a:pt x="405" y="228"/>
                    <a:pt x="405" y="228"/>
                    <a:pt x="405" y="228"/>
                  </a:cubicBezTo>
                  <a:cubicBezTo>
                    <a:pt x="403" y="228"/>
                    <a:pt x="403" y="228"/>
                    <a:pt x="403" y="228"/>
                  </a:cubicBezTo>
                  <a:cubicBezTo>
                    <a:pt x="397" y="229"/>
                    <a:pt x="397" y="229"/>
                    <a:pt x="397" y="229"/>
                  </a:cubicBezTo>
                  <a:cubicBezTo>
                    <a:pt x="395" y="229"/>
                    <a:pt x="395" y="229"/>
                    <a:pt x="395" y="229"/>
                  </a:cubicBezTo>
                  <a:cubicBezTo>
                    <a:pt x="391" y="230"/>
                    <a:pt x="391" y="230"/>
                    <a:pt x="391" y="230"/>
                  </a:cubicBezTo>
                  <a:cubicBezTo>
                    <a:pt x="391" y="230"/>
                    <a:pt x="391" y="230"/>
                    <a:pt x="391" y="230"/>
                  </a:cubicBezTo>
                  <a:cubicBezTo>
                    <a:pt x="391" y="230"/>
                    <a:pt x="391" y="230"/>
                    <a:pt x="391" y="230"/>
                  </a:cubicBezTo>
                  <a:cubicBezTo>
                    <a:pt x="391" y="230"/>
                    <a:pt x="390" y="230"/>
                    <a:pt x="390" y="230"/>
                  </a:cubicBezTo>
                  <a:cubicBezTo>
                    <a:pt x="390" y="230"/>
                    <a:pt x="390" y="230"/>
                    <a:pt x="390" y="230"/>
                  </a:cubicBezTo>
                  <a:cubicBezTo>
                    <a:pt x="389" y="230"/>
                    <a:pt x="389" y="230"/>
                    <a:pt x="389" y="230"/>
                  </a:cubicBezTo>
                  <a:cubicBezTo>
                    <a:pt x="388" y="230"/>
                    <a:pt x="388" y="230"/>
                    <a:pt x="388" y="230"/>
                  </a:cubicBezTo>
                  <a:cubicBezTo>
                    <a:pt x="388" y="230"/>
                    <a:pt x="388" y="230"/>
                    <a:pt x="388" y="230"/>
                  </a:cubicBezTo>
                  <a:cubicBezTo>
                    <a:pt x="387" y="230"/>
                    <a:pt x="387" y="230"/>
                    <a:pt x="387" y="230"/>
                  </a:cubicBezTo>
                  <a:cubicBezTo>
                    <a:pt x="387" y="231"/>
                    <a:pt x="387" y="231"/>
                    <a:pt x="387" y="231"/>
                  </a:cubicBezTo>
                  <a:cubicBezTo>
                    <a:pt x="387" y="231"/>
                    <a:pt x="386" y="231"/>
                    <a:pt x="386" y="231"/>
                  </a:cubicBezTo>
                  <a:cubicBezTo>
                    <a:pt x="386" y="231"/>
                    <a:pt x="386" y="231"/>
                    <a:pt x="386" y="231"/>
                  </a:cubicBezTo>
                  <a:cubicBezTo>
                    <a:pt x="384" y="231"/>
                    <a:pt x="384" y="231"/>
                    <a:pt x="384" y="231"/>
                  </a:cubicBezTo>
                  <a:cubicBezTo>
                    <a:pt x="382" y="231"/>
                    <a:pt x="382" y="231"/>
                    <a:pt x="382" y="231"/>
                  </a:cubicBezTo>
                  <a:cubicBezTo>
                    <a:pt x="381" y="231"/>
                    <a:pt x="381" y="231"/>
                    <a:pt x="381" y="231"/>
                  </a:cubicBezTo>
                  <a:cubicBezTo>
                    <a:pt x="379" y="232"/>
                    <a:pt x="379" y="232"/>
                    <a:pt x="379" y="232"/>
                  </a:cubicBezTo>
                  <a:cubicBezTo>
                    <a:pt x="379" y="232"/>
                    <a:pt x="379" y="232"/>
                    <a:pt x="379" y="232"/>
                  </a:cubicBezTo>
                  <a:cubicBezTo>
                    <a:pt x="378" y="232"/>
                    <a:pt x="378" y="232"/>
                    <a:pt x="378" y="232"/>
                  </a:cubicBezTo>
                  <a:cubicBezTo>
                    <a:pt x="376" y="232"/>
                    <a:pt x="376" y="232"/>
                    <a:pt x="376" y="232"/>
                  </a:cubicBezTo>
                  <a:cubicBezTo>
                    <a:pt x="375" y="233"/>
                    <a:pt x="375" y="233"/>
                    <a:pt x="375" y="233"/>
                  </a:cubicBezTo>
                  <a:cubicBezTo>
                    <a:pt x="375" y="233"/>
                    <a:pt x="374" y="233"/>
                    <a:pt x="374" y="233"/>
                  </a:cubicBezTo>
                  <a:cubicBezTo>
                    <a:pt x="373" y="233"/>
                    <a:pt x="373" y="233"/>
                    <a:pt x="373" y="233"/>
                  </a:cubicBezTo>
                  <a:cubicBezTo>
                    <a:pt x="371" y="233"/>
                    <a:pt x="371" y="233"/>
                    <a:pt x="371" y="233"/>
                  </a:cubicBezTo>
                  <a:cubicBezTo>
                    <a:pt x="370" y="234"/>
                    <a:pt x="370" y="234"/>
                    <a:pt x="370" y="234"/>
                  </a:cubicBezTo>
                  <a:cubicBezTo>
                    <a:pt x="370" y="234"/>
                    <a:pt x="369" y="234"/>
                    <a:pt x="369" y="234"/>
                  </a:cubicBezTo>
                  <a:cubicBezTo>
                    <a:pt x="368" y="234"/>
                    <a:pt x="368" y="234"/>
                    <a:pt x="368" y="234"/>
                  </a:cubicBezTo>
                  <a:cubicBezTo>
                    <a:pt x="366" y="234"/>
                    <a:pt x="366" y="234"/>
                    <a:pt x="366" y="234"/>
                  </a:cubicBezTo>
                  <a:cubicBezTo>
                    <a:pt x="363" y="234"/>
                    <a:pt x="363" y="234"/>
                    <a:pt x="363" y="234"/>
                  </a:cubicBezTo>
                  <a:cubicBezTo>
                    <a:pt x="362" y="235"/>
                    <a:pt x="362" y="235"/>
                    <a:pt x="362" y="235"/>
                  </a:cubicBezTo>
                  <a:cubicBezTo>
                    <a:pt x="360" y="235"/>
                    <a:pt x="360" y="235"/>
                    <a:pt x="360" y="235"/>
                  </a:cubicBezTo>
                  <a:cubicBezTo>
                    <a:pt x="359" y="235"/>
                    <a:pt x="359" y="235"/>
                    <a:pt x="359" y="235"/>
                  </a:cubicBezTo>
                  <a:cubicBezTo>
                    <a:pt x="359" y="235"/>
                    <a:pt x="359" y="235"/>
                    <a:pt x="359" y="234"/>
                  </a:cubicBezTo>
                  <a:cubicBezTo>
                    <a:pt x="358" y="234"/>
                    <a:pt x="358" y="234"/>
                    <a:pt x="358" y="234"/>
                  </a:cubicBezTo>
                  <a:cubicBezTo>
                    <a:pt x="357" y="235"/>
                    <a:pt x="357" y="235"/>
                    <a:pt x="357" y="235"/>
                  </a:cubicBezTo>
                  <a:cubicBezTo>
                    <a:pt x="357" y="235"/>
                    <a:pt x="357" y="235"/>
                    <a:pt x="357" y="235"/>
                  </a:cubicBezTo>
                  <a:cubicBezTo>
                    <a:pt x="354" y="235"/>
                    <a:pt x="354" y="235"/>
                    <a:pt x="354" y="235"/>
                  </a:cubicBezTo>
                  <a:cubicBezTo>
                    <a:pt x="352" y="235"/>
                    <a:pt x="352" y="235"/>
                    <a:pt x="352" y="235"/>
                  </a:cubicBezTo>
                  <a:cubicBezTo>
                    <a:pt x="345" y="236"/>
                    <a:pt x="345" y="236"/>
                    <a:pt x="345" y="236"/>
                  </a:cubicBezTo>
                  <a:cubicBezTo>
                    <a:pt x="342" y="236"/>
                    <a:pt x="342" y="236"/>
                    <a:pt x="342" y="236"/>
                  </a:cubicBezTo>
                  <a:cubicBezTo>
                    <a:pt x="338" y="237"/>
                    <a:pt x="338" y="237"/>
                    <a:pt x="338" y="237"/>
                  </a:cubicBezTo>
                  <a:cubicBezTo>
                    <a:pt x="333" y="237"/>
                    <a:pt x="333" y="237"/>
                    <a:pt x="333" y="237"/>
                  </a:cubicBezTo>
                  <a:cubicBezTo>
                    <a:pt x="330" y="238"/>
                    <a:pt x="330" y="238"/>
                    <a:pt x="330" y="238"/>
                  </a:cubicBezTo>
                  <a:cubicBezTo>
                    <a:pt x="326" y="238"/>
                    <a:pt x="326" y="238"/>
                    <a:pt x="326" y="238"/>
                  </a:cubicBezTo>
                  <a:cubicBezTo>
                    <a:pt x="320" y="239"/>
                    <a:pt x="320" y="239"/>
                    <a:pt x="320" y="239"/>
                  </a:cubicBezTo>
                  <a:cubicBezTo>
                    <a:pt x="317" y="239"/>
                    <a:pt x="317" y="239"/>
                    <a:pt x="317" y="239"/>
                  </a:cubicBezTo>
                  <a:cubicBezTo>
                    <a:pt x="317" y="239"/>
                    <a:pt x="317" y="239"/>
                    <a:pt x="316" y="239"/>
                  </a:cubicBezTo>
                  <a:cubicBezTo>
                    <a:pt x="315" y="239"/>
                    <a:pt x="315" y="239"/>
                    <a:pt x="315" y="239"/>
                  </a:cubicBezTo>
                  <a:cubicBezTo>
                    <a:pt x="315" y="239"/>
                    <a:pt x="315" y="239"/>
                    <a:pt x="315" y="239"/>
                  </a:cubicBezTo>
                  <a:cubicBezTo>
                    <a:pt x="315" y="240"/>
                    <a:pt x="314" y="240"/>
                    <a:pt x="314" y="240"/>
                  </a:cubicBezTo>
                  <a:cubicBezTo>
                    <a:pt x="314" y="240"/>
                    <a:pt x="314" y="240"/>
                    <a:pt x="314" y="240"/>
                  </a:cubicBezTo>
                  <a:cubicBezTo>
                    <a:pt x="314" y="240"/>
                    <a:pt x="314" y="240"/>
                    <a:pt x="314" y="240"/>
                  </a:cubicBezTo>
                  <a:cubicBezTo>
                    <a:pt x="314" y="240"/>
                    <a:pt x="314" y="240"/>
                    <a:pt x="314" y="240"/>
                  </a:cubicBezTo>
                  <a:cubicBezTo>
                    <a:pt x="313" y="240"/>
                    <a:pt x="313" y="240"/>
                    <a:pt x="313" y="240"/>
                  </a:cubicBezTo>
                  <a:cubicBezTo>
                    <a:pt x="312" y="240"/>
                    <a:pt x="312" y="240"/>
                    <a:pt x="312" y="240"/>
                  </a:cubicBezTo>
                  <a:cubicBezTo>
                    <a:pt x="312" y="240"/>
                    <a:pt x="312" y="240"/>
                    <a:pt x="311" y="240"/>
                  </a:cubicBezTo>
                  <a:cubicBezTo>
                    <a:pt x="310" y="240"/>
                    <a:pt x="310" y="240"/>
                    <a:pt x="310" y="240"/>
                  </a:cubicBezTo>
                  <a:cubicBezTo>
                    <a:pt x="309" y="240"/>
                    <a:pt x="309" y="240"/>
                    <a:pt x="309" y="240"/>
                  </a:cubicBezTo>
                  <a:cubicBezTo>
                    <a:pt x="307" y="240"/>
                    <a:pt x="307" y="240"/>
                    <a:pt x="307" y="240"/>
                  </a:cubicBezTo>
                  <a:cubicBezTo>
                    <a:pt x="305" y="241"/>
                    <a:pt x="305" y="241"/>
                    <a:pt x="305" y="241"/>
                  </a:cubicBezTo>
                  <a:cubicBezTo>
                    <a:pt x="305" y="241"/>
                    <a:pt x="305" y="241"/>
                    <a:pt x="305" y="241"/>
                  </a:cubicBezTo>
                  <a:cubicBezTo>
                    <a:pt x="303" y="241"/>
                    <a:pt x="303" y="241"/>
                    <a:pt x="303" y="241"/>
                  </a:cubicBezTo>
                  <a:cubicBezTo>
                    <a:pt x="300" y="242"/>
                    <a:pt x="300" y="242"/>
                    <a:pt x="300" y="242"/>
                  </a:cubicBezTo>
                  <a:cubicBezTo>
                    <a:pt x="297" y="242"/>
                    <a:pt x="297" y="242"/>
                    <a:pt x="297" y="242"/>
                  </a:cubicBezTo>
                  <a:cubicBezTo>
                    <a:pt x="296" y="242"/>
                    <a:pt x="296" y="242"/>
                    <a:pt x="296" y="242"/>
                  </a:cubicBezTo>
                  <a:cubicBezTo>
                    <a:pt x="296" y="242"/>
                    <a:pt x="296" y="242"/>
                    <a:pt x="296" y="242"/>
                  </a:cubicBezTo>
                  <a:cubicBezTo>
                    <a:pt x="295" y="242"/>
                    <a:pt x="295" y="242"/>
                    <a:pt x="295" y="242"/>
                  </a:cubicBezTo>
                  <a:cubicBezTo>
                    <a:pt x="294" y="242"/>
                    <a:pt x="294" y="242"/>
                    <a:pt x="294" y="242"/>
                  </a:cubicBezTo>
                  <a:cubicBezTo>
                    <a:pt x="294" y="242"/>
                    <a:pt x="294" y="242"/>
                    <a:pt x="294" y="242"/>
                  </a:cubicBezTo>
                  <a:cubicBezTo>
                    <a:pt x="293" y="242"/>
                    <a:pt x="293" y="242"/>
                    <a:pt x="293" y="242"/>
                  </a:cubicBezTo>
                  <a:cubicBezTo>
                    <a:pt x="293" y="242"/>
                    <a:pt x="293" y="242"/>
                    <a:pt x="293" y="242"/>
                  </a:cubicBezTo>
                  <a:cubicBezTo>
                    <a:pt x="292" y="242"/>
                    <a:pt x="292" y="242"/>
                    <a:pt x="292" y="242"/>
                  </a:cubicBezTo>
                  <a:cubicBezTo>
                    <a:pt x="293" y="243"/>
                    <a:pt x="293" y="243"/>
                    <a:pt x="293" y="243"/>
                  </a:cubicBezTo>
                  <a:cubicBezTo>
                    <a:pt x="293" y="245"/>
                    <a:pt x="293" y="245"/>
                    <a:pt x="293" y="245"/>
                  </a:cubicBezTo>
                  <a:cubicBezTo>
                    <a:pt x="293" y="245"/>
                    <a:pt x="292" y="246"/>
                    <a:pt x="292" y="246"/>
                  </a:cubicBezTo>
                  <a:cubicBezTo>
                    <a:pt x="289" y="246"/>
                    <a:pt x="289" y="246"/>
                    <a:pt x="289" y="246"/>
                  </a:cubicBezTo>
                  <a:cubicBezTo>
                    <a:pt x="286" y="246"/>
                    <a:pt x="286" y="246"/>
                    <a:pt x="286" y="246"/>
                  </a:cubicBezTo>
                  <a:cubicBezTo>
                    <a:pt x="284" y="246"/>
                    <a:pt x="284" y="246"/>
                    <a:pt x="284" y="246"/>
                  </a:cubicBezTo>
                  <a:cubicBezTo>
                    <a:pt x="278" y="247"/>
                    <a:pt x="278" y="247"/>
                    <a:pt x="278" y="247"/>
                  </a:cubicBezTo>
                  <a:cubicBezTo>
                    <a:pt x="275" y="247"/>
                    <a:pt x="275" y="247"/>
                    <a:pt x="275" y="247"/>
                  </a:cubicBezTo>
                  <a:cubicBezTo>
                    <a:pt x="273" y="248"/>
                    <a:pt x="273" y="248"/>
                    <a:pt x="273" y="248"/>
                  </a:cubicBezTo>
                  <a:cubicBezTo>
                    <a:pt x="272" y="248"/>
                    <a:pt x="272" y="248"/>
                    <a:pt x="272" y="248"/>
                  </a:cubicBezTo>
                  <a:cubicBezTo>
                    <a:pt x="272" y="248"/>
                    <a:pt x="272" y="248"/>
                    <a:pt x="272" y="248"/>
                  </a:cubicBezTo>
                  <a:cubicBezTo>
                    <a:pt x="272" y="248"/>
                    <a:pt x="272" y="248"/>
                    <a:pt x="272" y="248"/>
                  </a:cubicBezTo>
                  <a:cubicBezTo>
                    <a:pt x="271" y="248"/>
                    <a:pt x="271" y="248"/>
                    <a:pt x="271" y="248"/>
                  </a:cubicBezTo>
                  <a:cubicBezTo>
                    <a:pt x="271" y="248"/>
                    <a:pt x="271" y="248"/>
                    <a:pt x="271" y="248"/>
                  </a:cubicBezTo>
                  <a:cubicBezTo>
                    <a:pt x="271" y="248"/>
                    <a:pt x="271" y="248"/>
                    <a:pt x="271" y="248"/>
                  </a:cubicBezTo>
                  <a:cubicBezTo>
                    <a:pt x="270" y="249"/>
                    <a:pt x="270" y="249"/>
                    <a:pt x="270" y="249"/>
                  </a:cubicBezTo>
                  <a:cubicBezTo>
                    <a:pt x="270" y="249"/>
                    <a:pt x="269" y="250"/>
                    <a:pt x="269" y="250"/>
                  </a:cubicBezTo>
                  <a:cubicBezTo>
                    <a:pt x="269" y="250"/>
                    <a:pt x="269" y="250"/>
                    <a:pt x="269" y="250"/>
                  </a:cubicBezTo>
                  <a:cubicBezTo>
                    <a:pt x="269" y="250"/>
                    <a:pt x="269" y="250"/>
                    <a:pt x="269" y="250"/>
                  </a:cubicBezTo>
                  <a:cubicBezTo>
                    <a:pt x="269" y="251"/>
                    <a:pt x="269" y="251"/>
                    <a:pt x="269" y="251"/>
                  </a:cubicBezTo>
                  <a:cubicBezTo>
                    <a:pt x="269" y="251"/>
                    <a:pt x="269" y="251"/>
                    <a:pt x="269" y="251"/>
                  </a:cubicBezTo>
                  <a:cubicBezTo>
                    <a:pt x="269" y="252"/>
                    <a:pt x="269" y="252"/>
                    <a:pt x="269" y="252"/>
                  </a:cubicBezTo>
                  <a:cubicBezTo>
                    <a:pt x="269" y="252"/>
                    <a:pt x="269" y="252"/>
                    <a:pt x="269" y="252"/>
                  </a:cubicBezTo>
                  <a:cubicBezTo>
                    <a:pt x="269" y="253"/>
                    <a:pt x="269" y="253"/>
                    <a:pt x="269" y="253"/>
                  </a:cubicBezTo>
                  <a:cubicBezTo>
                    <a:pt x="269" y="253"/>
                    <a:pt x="269" y="253"/>
                    <a:pt x="269" y="254"/>
                  </a:cubicBezTo>
                  <a:cubicBezTo>
                    <a:pt x="269" y="254"/>
                    <a:pt x="268" y="254"/>
                    <a:pt x="268" y="254"/>
                  </a:cubicBezTo>
                  <a:cubicBezTo>
                    <a:pt x="268" y="254"/>
                    <a:pt x="268" y="254"/>
                    <a:pt x="268" y="254"/>
                  </a:cubicBezTo>
                  <a:cubicBezTo>
                    <a:pt x="268" y="254"/>
                    <a:pt x="268" y="254"/>
                    <a:pt x="268" y="254"/>
                  </a:cubicBezTo>
                  <a:cubicBezTo>
                    <a:pt x="268" y="254"/>
                    <a:pt x="269" y="255"/>
                    <a:pt x="268" y="255"/>
                  </a:cubicBezTo>
                  <a:cubicBezTo>
                    <a:pt x="268" y="256"/>
                    <a:pt x="268" y="256"/>
                    <a:pt x="268" y="256"/>
                  </a:cubicBezTo>
                  <a:cubicBezTo>
                    <a:pt x="268" y="256"/>
                    <a:pt x="268" y="256"/>
                    <a:pt x="268" y="256"/>
                  </a:cubicBezTo>
                  <a:cubicBezTo>
                    <a:pt x="268" y="257"/>
                    <a:pt x="268" y="257"/>
                    <a:pt x="268" y="257"/>
                  </a:cubicBezTo>
                  <a:cubicBezTo>
                    <a:pt x="268" y="257"/>
                    <a:pt x="267" y="257"/>
                    <a:pt x="267" y="257"/>
                  </a:cubicBezTo>
                  <a:cubicBezTo>
                    <a:pt x="267" y="257"/>
                    <a:pt x="267" y="257"/>
                    <a:pt x="267" y="257"/>
                  </a:cubicBezTo>
                  <a:cubicBezTo>
                    <a:pt x="268" y="257"/>
                    <a:pt x="268" y="258"/>
                    <a:pt x="268" y="258"/>
                  </a:cubicBezTo>
                  <a:cubicBezTo>
                    <a:pt x="268" y="258"/>
                    <a:pt x="268" y="258"/>
                    <a:pt x="268" y="258"/>
                  </a:cubicBezTo>
                  <a:cubicBezTo>
                    <a:pt x="268" y="258"/>
                    <a:pt x="269" y="259"/>
                    <a:pt x="269" y="259"/>
                  </a:cubicBezTo>
                  <a:cubicBezTo>
                    <a:pt x="269" y="260"/>
                    <a:pt x="269" y="260"/>
                    <a:pt x="269" y="260"/>
                  </a:cubicBezTo>
                  <a:cubicBezTo>
                    <a:pt x="269" y="260"/>
                    <a:pt x="268" y="261"/>
                    <a:pt x="268" y="261"/>
                  </a:cubicBezTo>
                  <a:cubicBezTo>
                    <a:pt x="268" y="261"/>
                    <a:pt x="268" y="261"/>
                    <a:pt x="268" y="261"/>
                  </a:cubicBezTo>
                  <a:cubicBezTo>
                    <a:pt x="268" y="261"/>
                    <a:pt x="268" y="261"/>
                    <a:pt x="268" y="261"/>
                  </a:cubicBezTo>
                  <a:cubicBezTo>
                    <a:pt x="268" y="262"/>
                    <a:pt x="268" y="262"/>
                    <a:pt x="268" y="262"/>
                  </a:cubicBezTo>
                  <a:cubicBezTo>
                    <a:pt x="268" y="262"/>
                    <a:pt x="268" y="262"/>
                    <a:pt x="268" y="262"/>
                  </a:cubicBezTo>
                  <a:cubicBezTo>
                    <a:pt x="267" y="263"/>
                    <a:pt x="267" y="263"/>
                    <a:pt x="267" y="263"/>
                  </a:cubicBezTo>
                  <a:cubicBezTo>
                    <a:pt x="267" y="263"/>
                    <a:pt x="267" y="263"/>
                    <a:pt x="267" y="263"/>
                  </a:cubicBezTo>
                  <a:cubicBezTo>
                    <a:pt x="265" y="264"/>
                    <a:pt x="265" y="264"/>
                    <a:pt x="265" y="264"/>
                  </a:cubicBezTo>
                  <a:cubicBezTo>
                    <a:pt x="265" y="265"/>
                    <a:pt x="265" y="265"/>
                    <a:pt x="265" y="265"/>
                  </a:cubicBezTo>
                  <a:cubicBezTo>
                    <a:pt x="265" y="265"/>
                    <a:pt x="265" y="265"/>
                    <a:pt x="265" y="265"/>
                  </a:cubicBezTo>
                  <a:cubicBezTo>
                    <a:pt x="265" y="266"/>
                    <a:pt x="265" y="266"/>
                    <a:pt x="265" y="266"/>
                  </a:cubicBezTo>
                  <a:cubicBezTo>
                    <a:pt x="265" y="266"/>
                    <a:pt x="265" y="266"/>
                    <a:pt x="265" y="267"/>
                  </a:cubicBezTo>
                  <a:cubicBezTo>
                    <a:pt x="265" y="267"/>
                    <a:pt x="265" y="267"/>
                    <a:pt x="265" y="267"/>
                  </a:cubicBezTo>
                  <a:cubicBezTo>
                    <a:pt x="265" y="268"/>
                    <a:pt x="265" y="268"/>
                    <a:pt x="265" y="268"/>
                  </a:cubicBezTo>
                  <a:cubicBezTo>
                    <a:pt x="265" y="268"/>
                    <a:pt x="265" y="268"/>
                    <a:pt x="265" y="269"/>
                  </a:cubicBezTo>
                  <a:cubicBezTo>
                    <a:pt x="265" y="269"/>
                    <a:pt x="265" y="269"/>
                    <a:pt x="265" y="269"/>
                  </a:cubicBezTo>
                  <a:cubicBezTo>
                    <a:pt x="265" y="269"/>
                    <a:pt x="264" y="269"/>
                    <a:pt x="264" y="269"/>
                  </a:cubicBezTo>
                  <a:cubicBezTo>
                    <a:pt x="264" y="269"/>
                    <a:pt x="264" y="269"/>
                    <a:pt x="264" y="270"/>
                  </a:cubicBezTo>
                  <a:cubicBezTo>
                    <a:pt x="264" y="270"/>
                    <a:pt x="264" y="270"/>
                    <a:pt x="264" y="270"/>
                  </a:cubicBezTo>
                  <a:cubicBezTo>
                    <a:pt x="264" y="270"/>
                    <a:pt x="264" y="270"/>
                    <a:pt x="264" y="271"/>
                  </a:cubicBezTo>
                  <a:cubicBezTo>
                    <a:pt x="263" y="272"/>
                    <a:pt x="263" y="272"/>
                    <a:pt x="263" y="272"/>
                  </a:cubicBezTo>
                  <a:cubicBezTo>
                    <a:pt x="263" y="273"/>
                    <a:pt x="263" y="273"/>
                    <a:pt x="263" y="273"/>
                  </a:cubicBezTo>
                  <a:cubicBezTo>
                    <a:pt x="264" y="275"/>
                    <a:pt x="264" y="275"/>
                    <a:pt x="264" y="275"/>
                  </a:cubicBezTo>
                  <a:cubicBezTo>
                    <a:pt x="264" y="275"/>
                    <a:pt x="264" y="275"/>
                    <a:pt x="264" y="275"/>
                  </a:cubicBezTo>
                  <a:cubicBezTo>
                    <a:pt x="264" y="276"/>
                    <a:pt x="264" y="276"/>
                    <a:pt x="264" y="276"/>
                  </a:cubicBezTo>
                  <a:cubicBezTo>
                    <a:pt x="264" y="276"/>
                    <a:pt x="263" y="276"/>
                    <a:pt x="263" y="277"/>
                  </a:cubicBezTo>
                  <a:cubicBezTo>
                    <a:pt x="263" y="277"/>
                    <a:pt x="263" y="277"/>
                    <a:pt x="263" y="277"/>
                  </a:cubicBezTo>
                  <a:cubicBezTo>
                    <a:pt x="263" y="277"/>
                    <a:pt x="263" y="277"/>
                    <a:pt x="262" y="277"/>
                  </a:cubicBezTo>
                  <a:cubicBezTo>
                    <a:pt x="262" y="277"/>
                    <a:pt x="262" y="277"/>
                    <a:pt x="262" y="277"/>
                  </a:cubicBezTo>
                  <a:cubicBezTo>
                    <a:pt x="262" y="278"/>
                    <a:pt x="262" y="278"/>
                    <a:pt x="262" y="278"/>
                  </a:cubicBezTo>
                  <a:cubicBezTo>
                    <a:pt x="263" y="278"/>
                    <a:pt x="263" y="278"/>
                    <a:pt x="263" y="278"/>
                  </a:cubicBezTo>
                  <a:cubicBezTo>
                    <a:pt x="265" y="278"/>
                    <a:pt x="265" y="278"/>
                    <a:pt x="265" y="278"/>
                  </a:cubicBezTo>
                  <a:cubicBezTo>
                    <a:pt x="267" y="278"/>
                    <a:pt x="267" y="278"/>
                    <a:pt x="267" y="278"/>
                  </a:cubicBezTo>
                  <a:cubicBezTo>
                    <a:pt x="266" y="279"/>
                    <a:pt x="266" y="279"/>
                    <a:pt x="266" y="279"/>
                  </a:cubicBezTo>
                  <a:cubicBezTo>
                    <a:pt x="267" y="294"/>
                    <a:pt x="267" y="294"/>
                    <a:pt x="267" y="294"/>
                  </a:cubicBezTo>
                  <a:cubicBezTo>
                    <a:pt x="268" y="300"/>
                    <a:pt x="268" y="300"/>
                    <a:pt x="268" y="300"/>
                  </a:cubicBezTo>
                  <a:cubicBezTo>
                    <a:pt x="268" y="300"/>
                    <a:pt x="268" y="300"/>
                    <a:pt x="268" y="300"/>
                  </a:cubicBezTo>
                  <a:cubicBezTo>
                    <a:pt x="270" y="305"/>
                    <a:pt x="270" y="305"/>
                    <a:pt x="270" y="305"/>
                  </a:cubicBezTo>
                  <a:cubicBezTo>
                    <a:pt x="275" y="320"/>
                    <a:pt x="275" y="320"/>
                    <a:pt x="275" y="320"/>
                  </a:cubicBezTo>
                  <a:cubicBezTo>
                    <a:pt x="275" y="320"/>
                    <a:pt x="275" y="320"/>
                    <a:pt x="275" y="320"/>
                  </a:cubicBezTo>
                  <a:cubicBezTo>
                    <a:pt x="278" y="326"/>
                    <a:pt x="278" y="326"/>
                    <a:pt x="278" y="326"/>
                  </a:cubicBezTo>
                  <a:cubicBezTo>
                    <a:pt x="279" y="328"/>
                    <a:pt x="279" y="328"/>
                    <a:pt x="279" y="328"/>
                  </a:cubicBezTo>
                  <a:cubicBezTo>
                    <a:pt x="281" y="332"/>
                    <a:pt x="281" y="332"/>
                    <a:pt x="281" y="332"/>
                  </a:cubicBezTo>
                  <a:cubicBezTo>
                    <a:pt x="281" y="334"/>
                    <a:pt x="281" y="334"/>
                    <a:pt x="281" y="334"/>
                  </a:cubicBezTo>
                  <a:cubicBezTo>
                    <a:pt x="282" y="334"/>
                    <a:pt x="282" y="334"/>
                    <a:pt x="282" y="334"/>
                  </a:cubicBezTo>
                  <a:cubicBezTo>
                    <a:pt x="282" y="334"/>
                    <a:pt x="282" y="334"/>
                    <a:pt x="282" y="334"/>
                  </a:cubicBezTo>
                  <a:cubicBezTo>
                    <a:pt x="280" y="340"/>
                    <a:pt x="280" y="340"/>
                    <a:pt x="280" y="340"/>
                  </a:cubicBezTo>
                  <a:cubicBezTo>
                    <a:pt x="280" y="341"/>
                    <a:pt x="280" y="341"/>
                    <a:pt x="280" y="341"/>
                  </a:cubicBezTo>
                  <a:cubicBezTo>
                    <a:pt x="280" y="341"/>
                    <a:pt x="280" y="341"/>
                    <a:pt x="280" y="341"/>
                  </a:cubicBezTo>
                  <a:cubicBezTo>
                    <a:pt x="280" y="342"/>
                    <a:pt x="280" y="342"/>
                    <a:pt x="280" y="342"/>
                  </a:cubicBezTo>
                  <a:cubicBezTo>
                    <a:pt x="280" y="342"/>
                    <a:pt x="280" y="342"/>
                    <a:pt x="280" y="342"/>
                  </a:cubicBezTo>
                  <a:cubicBezTo>
                    <a:pt x="278" y="343"/>
                    <a:pt x="278" y="345"/>
                    <a:pt x="278" y="347"/>
                  </a:cubicBezTo>
                  <a:cubicBezTo>
                    <a:pt x="278" y="348"/>
                    <a:pt x="278" y="348"/>
                    <a:pt x="278" y="348"/>
                  </a:cubicBezTo>
                  <a:cubicBezTo>
                    <a:pt x="278" y="348"/>
                    <a:pt x="278" y="348"/>
                    <a:pt x="278" y="349"/>
                  </a:cubicBezTo>
                  <a:cubicBezTo>
                    <a:pt x="278" y="349"/>
                    <a:pt x="278" y="350"/>
                    <a:pt x="279" y="350"/>
                  </a:cubicBezTo>
                  <a:cubicBezTo>
                    <a:pt x="279" y="350"/>
                    <a:pt x="279" y="350"/>
                    <a:pt x="279" y="350"/>
                  </a:cubicBezTo>
                  <a:cubicBezTo>
                    <a:pt x="279" y="353"/>
                    <a:pt x="279" y="353"/>
                    <a:pt x="279" y="353"/>
                  </a:cubicBezTo>
                  <a:cubicBezTo>
                    <a:pt x="279" y="356"/>
                    <a:pt x="279" y="356"/>
                    <a:pt x="279" y="356"/>
                  </a:cubicBezTo>
                  <a:cubicBezTo>
                    <a:pt x="279" y="361"/>
                    <a:pt x="279" y="361"/>
                    <a:pt x="279" y="361"/>
                  </a:cubicBezTo>
                  <a:cubicBezTo>
                    <a:pt x="279" y="361"/>
                    <a:pt x="279" y="361"/>
                    <a:pt x="279" y="361"/>
                  </a:cubicBezTo>
                  <a:cubicBezTo>
                    <a:pt x="279" y="362"/>
                    <a:pt x="279" y="362"/>
                    <a:pt x="279" y="363"/>
                  </a:cubicBezTo>
                  <a:cubicBezTo>
                    <a:pt x="279" y="363"/>
                    <a:pt x="279" y="363"/>
                    <a:pt x="279" y="363"/>
                  </a:cubicBezTo>
                  <a:cubicBezTo>
                    <a:pt x="279" y="363"/>
                    <a:pt x="279" y="364"/>
                    <a:pt x="279" y="364"/>
                  </a:cubicBezTo>
                  <a:cubicBezTo>
                    <a:pt x="279" y="364"/>
                    <a:pt x="280" y="364"/>
                    <a:pt x="280" y="364"/>
                  </a:cubicBezTo>
                  <a:cubicBezTo>
                    <a:pt x="280" y="365"/>
                    <a:pt x="280" y="365"/>
                    <a:pt x="280" y="365"/>
                  </a:cubicBezTo>
                  <a:cubicBezTo>
                    <a:pt x="280" y="365"/>
                    <a:pt x="280" y="365"/>
                    <a:pt x="281" y="366"/>
                  </a:cubicBezTo>
                  <a:cubicBezTo>
                    <a:pt x="281" y="366"/>
                    <a:pt x="281" y="366"/>
                    <a:pt x="281" y="366"/>
                  </a:cubicBezTo>
                  <a:cubicBezTo>
                    <a:pt x="281" y="366"/>
                    <a:pt x="281" y="366"/>
                    <a:pt x="281" y="366"/>
                  </a:cubicBezTo>
                  <a:cubicBezTo>
                    <a:pt x="282" y="366"/>
                    <a:pt x="282" y="367"/>
                    <a:pt x="282" y="367"/>
                  </a:cubicBezTo>
                  <a:cubicBezTo>
                    <a:pt x="282" y="367"/>
                    <a:pt x="283" y="367"/>
                    <a:pt x="283" y="367"/>
                  </a:cubicBezTo>
                  <a:cubicBezTo>
                    <a:pt x="283" y="367"/>
                    <a:pt x="283" y="367"/>
                    <a:pt x="284" y="367"/>
                  </a:cubicBezTo>
                  <a:cubicBezTo>
                    <a:pt x="284" y="367"/>
                    <a:pt x="284" y="368"/>
                    <a:pt x="285" y="368"/>
                  </a:cubicBezTo>
                  <a:cubicBezTo>
                    <a:pt x="290" y="368"/>
                    <a:pt x="290" y="368"/>
                    <a:pt x="290" y="368"/>
                  </a:cubicBezTo>
                  <a:cubicBezTo>
                    <a:pt x="290" y="368"/>
                    <a:pt x="290" y="368"/>
                    <a:pt x="291" y="368"/>
                  </a:cubicBezTo>
                  <a:cubicBezTo>
                    <a:pt x="291" y="368"/>
                    <a:pt x="291" y="369"/>
                    <a:pt x="291" y="369"/>
                  </a:cubicBezTo>
                  <a:cubicBezTo>
                    <a:pt x="291" y="369"/>
                    <a:pt x="291" y="369"/>
                    <a:pt x="291" y="369"/>
                  </a:cubicBezTo>
                  <a:cubicBezTo>
                    <a:pt x="292" y="369"/>
                    <a:pt x="292" y="369"/>
                    <a:pt x="292" y="369"/>
                  </a:cubicBezTo>
                  <a:cubicBezTo>
                    <a:pt x="292" y="369"/>
                    <a:pt x="292" y="369"/>
                    <a:pt x="292" y="369"/>
                  </a:cubicBezTo>
                  <a:cubicBezTo>
                    <a:pt x="293" y="369"/>
                    <a:pt x="293" y="369"/>
                    <a:pt x="293" y="369"/>
                  </a:cubicBezTo>
                  <a:cubicBezTo>
                    <a:pt x="293" y="369"/>
                    <a:pt x="293" y="369"/>
                    <a:pt x="293" y="369"/>
                  </a:cubicBezTo>
                  <a:cubicBezTo>
                    <a:pt x="294" y="369"/>
                    <a:pt x="294" y="369"/>
                    <a:pt x="294" y="369"/>
                  </a:cubicBezTo>
                  <a:cubicBezTo>
                    <a:pt x="294" y="369"/>
                    <a:pt x="294" y="369"/>
                    <a:pt x="294" y="369"/>
                  </a:cubicBezTo>
                  <a:cubicBezTo>
                    <a:pt x="295" y="369"/>
                    <a:pt x="295" y="369"/>
                    <a:pt x="295" y="369"/>
                  </a:cubicBezTo>
                  <a:cubicBezTo>
                    <a:pt x="295" y="369"/>
                    <a:pt x="295" y="369"/>
                    <a:pt x="296" y="369"/>
                  </a:cubicBezTo>
                  <a:cubicBezTo>
                    <a:pt x="296" y="369"/>
                    <a:pt x="296" y="369"/>
                    <a:pt x="296" y="369"/>
                  </a:cubicBezTo>
                  <a:cubicBezTo>
                    <a:pt x="296" y="369"/>
                    <a:pt x="297" y="369"/>
                    <a:pt x="297" y="369"/>
                  </a:cubicBezTo>
                  <a:cubicBezTo>
                    <a:pt x="297" y="369"/>
                    <a:pt x="297" y="369"/>
                    <a:pt x="297" y="369"/>
                  </a:cubicBezTo>
                  <a:cubicBezTo>
                    <a:pt x="298" y="369"/>
                    <a:pt x="298" y="369"/>
                    <a:pt x="298" y="369"/>
                  </a:cubicBezTo>
                  <a:cubicBezTo>
                    <a:pt x="298" y="369"/>
                    <a:pt x="299" y="369"/>
                    <a:pt x="299" y="369"/>
                  </a:cubicBezTo>
                  <a:cubicBezTo>
                    <a:pt x="299" y="369"/>
                    <a:pt x="299" y="369"/>
                    <a:pt x="299" y="369"/>
                  </a:cubicBezTo>
                  <a:cubicBezTo>
                    <a:pt x="300" y="369"/>
                    <a:pt x="300" y="369"/>
                    <a:pt x="300" y="369"/>
                  </a:cubicBezTo>
                  <a:cubicBezTo>
                    <a:pt x="300" y="369"/>
                    <a:pt x="300" y="369"/>
                    <a:pt x="300" y="369"/>
                  </a:cubicBezTo>
                  <a:cubicBezTo>
                    <a:pt x="300" y="370"/>
                    <a:pt x="300" y="370"/>
                    <a:pt x="300" y="370"/>
                  </a:cubicBezTo>
                  <a:cubicBezTo>
                    <a:pt x="299" y="370"/>
                    <a:pt x="299" y="370"/>
                    <a:pt x="299" y="370"/>
                  </a:cubicBezTo>
                  <a:cubicBezTo>
                    <a:pt x="299" y="370"/>
                    <a:pt x="299" y="371"/>
                    <a:pt x="299" y="371"/>
                  </a:cubicBezTo>
                  <a:cubicBezTo>
                    <a:pt x="299" y="371"/>
                    <a:pt x="299" y="371"/>
                    <a:pt x="298" y="371"/>
                  </a:cubicBezTo>
                  <a:cubicBezTo>
                    <a:pt x="299" y="371"/>
                    <a:pt x="299" y="371"/>
                    <a:pt x="299" y="371"/>
                  </a:cubicBezTo>
                  <a:cubicBezTo>
                    <a:pt x="300" y="371"/>
                    <a:pt x="300" y="372"/>
                    <a:pt x="300" y="372"/>
                  </a:cubicBezTo>
                  <a:cubicBezTo>
                    <a:pt x="300" y="373"/>
                    <a:pt x="299" y="373"/>
                    <a:pt x="299" y="373"/>
                  </a:cubicBezTo>
                  <a:cubicBezTo>
                    <a:pt x="298" y="373"/>
                    <a:pt x="298" y="373"/>
                    <a:pt x="298" y="373"/>
                  </a:cubicBezTo>
                  <a:cubicBezTo>
                    <a:pt x="297" y="373"/>
                    <a:pt x="297" y="373"/>
                    <a:pt x="297" y="373"/>
                  </a:cubicBezTo>
                  <a:cubicBezTo>
                    <a:pt x="297" y="373"/>
                    <a:pt x="297" y="373"/>
                    <a:pt x="297" y="373"/>
                  </a:cubicBezTo>
                  <a:cubicBezTo>
                    <a:pt x="293" y="373"/>
                    <a:pt x="293" y="373"/>
                    <a:pt x="293" y="373"/>
                  </a:cubicBezTo>
                  <a:cubicBezTo>
                    <a:pt x="293" y="373"/>
                    <a:pt x="293" y="373"/>
                    <a:pt x="293" y="373"/>
                  </a:cubicBezTo>
                  <a:cubicBezTo>
                    <a:pt x="293" y="373"/>
                    <a:pt x="292" y="373"/>
                    <a:pt x="292" y="372"/>
                  </a:cubicBezTo>
                  <a:cubicBezTo>
                    <a:pt x="292" y="373"/>
                    <a:pt x="292" y="373"/>
                    <a:pt x="292" y="373"/>
                  </a:cubicBezTo>
                  <a:cubicBezTo>
                    <a:pt x="292" y="373"/>
                    <a:pt x="292" y="373"/>
                    <a:pt x="292" y="373"/>
                  </a:cubicBezTo>
                  <a:cubicBezTo>
                    <a:pt x="292" y="374"/>
                    <a:pt x="292" y="374"/>
                    <a:pt x="291" y="374"/>
                  </a:cubicBezTo>
                  <a:cubicBezTo>
                    <a:pt x="291" y="374"/>
                    <a:pt x="291" y="374"/>
                    <a:pt x="291" y="374"/>
                  </a:cubicBezTo>
                  <a:cubicBezTo>
                    <a:pt x="290" y="374"/>
                    <a:pt x="290" y="374"/>
                    <a:pt x="290" y="374"/>
                  </a:cubicBezTo>
                  <a:cubicBezTo>
                    <a:pt x="290" y="374"/>
                    <a:pt x="289" y="374"/>
                    <a:pt x="289" y="374"/>
                  </a:cubicBezTo>
                  <a:cubicBezTo>
                    <a:pt x="289" y="374"/>
                    <a:pt x="289" y="374"/>
                    <a:pt x="289" y="374"/>
                  </a:cubicBezTo>
                  <a:cubicBezTo>
                    <a:pt x="289" y="374"/>
                    <a:pt x="289" y="374"/>
                    <a:pt x="289" y="374"/>
                  </a:cubicBezTo>
                  <a:cubicBezTo>
                    <a:pt x="289" y="374"/>
                    <a:pt x="289" y="374"/>
                    <a:pt x="289" y="374"/>
                  </a:cubicBezTo>
                  <a:cubicBezTo>
                    <a:pt x="289" y="375"/>
                    <a:pt x="289" y="375"/>
                    <a:pt x="289" y="375"/>
                  </a:cubicBezTo>
                  <a:cubicBezTo>
                    <a:pt x="289" y="375"/>
                    <a:pt x="289" y="375"/>
                    <a:pt x="289" y="375"/>
                  </a:cubicBezTo>
                  <a:cubicBezTo>
                    <a:pt x="289" y="375"/>
                    <a:pt x="289" y="375"/>
                    <a:pt x="289" y="375"/>
                  </a:cubicBezTo>
                  <a:cubicBezTo>
                    <a:pt x="289" y="376"/>
                    <a:pt x="289" y="376"/>
                    <a:pt x="289" y="376"/>
                  </a:cubicBezTo>
                  <a:cubicBezTo>
                    <a:pt x="289" y="376"/>
                    <a:pt x="289" y="376"/>
                    <a:pt x="289" y="376"/>
                  </a:cubicBezTo>
                  <a:cubicBezTo>
                    <a:pt x="289" y="377"/>
                    <a:pt x="289" y="377"/>
                    <a:pt x="289" y="377"/>
                  </a:cubicBezTo>
                  <a:cubicBezTo>
                    <a:pt x="289" y="377"/>
                    <a:pt x="289" y="377"/>
                    <a:pt x="289" y="377"/>
                  </a:cubicBezTo>
                  <a:cubicBezTo>
                    <a:pt x="289" y="377"/>
                    <a:pt x="289" y="378"/>
                    <a:pt x="288" y="378"/>
                  </a:cubicBezTo>
                  <a:cubicBezTo>
                    <a:pt x="288" y="378"/>
                    <a:pt x="288" y="378"/>
                    <a:pt x="288" y="378"/>
                  </a:cubicBezTo>
                  <a:cubicBezTo>
                    <a:pt x="288" y="379"/>
                    <a:pt x="288" y="379"/>
                    <a:pt x="288" y="379"/>
                  </a:cubicBezTo>
                  <a:cubicBezTo>
                    <a:pt x="288" y="379"/>
                    <a:pt x="288" y="379"/>
                    <a:pt x="287" y="379"/>
                  </a:cubicBezTo>
                  <a:cubicBezTo>
                    <a:pt x="288" y="380"/>
                    <a:pt x="288" y="380"/>
                    <a:pt x="288" y="380"/>
                  </a:cubicBezTo>
                  <a:cubicBezTo>
                    <a:pt x="288" y="380"/>
                    <a:pt x="288" y="380"/>
                    <a:pt x="288" y="381"/>
                  </a:cubicBezTo>
                  <a:cubicBezTo>
                    <a:pt x="288" y="381"/>
                    <a:pt x="288" y="381"/>
                    <a:pt x="288" y="381"/>
                  </a:cubicBezTo>
                  <a:cubicBezTo>
                    <a:pt x="288" y="382"/>
                    <a:pt x="288" y="382"/>
                    <a:pt x="288" y="382"/>
                  </a:cubicBezTo>
                  <a:cubicBezTo>
                    <a:pt x="288" y="382"/>
                    <a:pt x="288" y="382"/>
                    <a:pt x="288" y="382"/>
                  </a:cubicBezTo>
                  <a:cubicBezTo>
                    <a:pt x="287" y="382"/>
                    <a:pt x="287" y="383"/>
                    <a:pt x="287" y="383"/>
                  </a:cubicBezTo>
                  <a:cubicBezTo>
                    <a:pt x="287" y="383"/>
                    <a:pt x="287" y="383"/>
                    <a:pt x="286" y="383"/>
                  </a:cubicBezTo>
                  <a:cubicBezTo>
                    <a:pt x="286" y="383"/>
                    <a:pt x="286" y="383"/>
                    <a:pt x="286" y="383"/>
                  </a:cubicBezTo>
                  <a:cubicBezTo>
                    <a:pt x="285" y="384"/>
                    <a:pt x="285" y="384"/>
                    <a:pt x="285" y="384"/>
                  </a:cubicBezTo>
                  <a:cubicBezTo>
                    <a:pt x="285" y="384"/>
                    <a:pt x="285" y="384"/>
                    <a:pt x="285" y="384"/>
                  </a:cubicBezTo>
                  <a:cubicBezTo>
                    <a:pt x="285" y="384"/>
                    <a:pt x="285" y="384"/>
                    <a:pt x="285" y="384"/>
                  </a:cubicBezTo>
                  <a:cubicBezTo>
                    <a:pt x="285" y="385"/>
                    <a:pt x="284" y="385"/>
                    <a:pt x="284" y="385"/>
                  </a:cubicBezTo>
                  <a:cubicBezTo>
                    <a:pt x="284" y="385"/>
                    <a:pt x="284" y="385"/>
                    <a:pt x="284" y="385"/>
                  </a:cubicBezTo>
                  <a:cubicBezTo>
                    <a:pt x="284" y="385"/>
                    <a:pt x="284" y="386"/>
                    <a:pt x="284" y="386"/>
                  </a:cubicBezTo>
                  <a:cubicBezTo>
                    <a:pt x="284" y="386"/>
                    <a:pt x="284" y="386"/>
                    <a:pt x="284" y="386"/>
                  </a:cubicBezTo>
                  <a:cubicBezTo>
                    <a:pt x="284" y="386"/>
                    <a:pt x="284" y="386"/>
                    <a:pt x="284" y="386"/>
                  </a:cubicBezTo>
                  <a:cubicBezTo>
                    <a:pt x="284" y="386"/>
                    <a:pt x="284" y="386"/>
                    <a:pt x="284" y="386"/>
                  </a:cubicBezTo>
                  <a:cubicBezTo>
                    <a:pt x="284" y="386"/>
                    <a:pt x="285" y="387"/>
                    <a:pt x="285" y="387"/>
                  </a:cubicBezTo>
                  <a:cubicBezTo>
                    <a:pt x="285" y="387"/>
                    <a:pt x="285" y="387"/>
                    <a:pt x="285" y="387"/>
                  </a:cubicBezTo>
                  <a:cubicBezTo>
                    <a:pt x="286" y="388"/>
                    <a:pt x="286" y="388"/>
                    <a:pt x="286" y="388"/>
                  </a:cubicBezTo>
                  <a:cubicBezTo>
                    <a:pt x="287" y="388"/>
                    <a:pt x="287" y="388"/>
                    <a:pt x="287" y="388"/>
                  </a:cubicBezTo>
                  <a:cubicBezTo>
                    <a:pt x="287" y="388"/>
                    <a:pt x="288" y="388"/>
                    <a:pt x="288" y="388"/>
                  </a:cubicBezTo>
                  <a:cubicBezTo>
                    <a:pt x="288" y="388"/>
                    <a:pt x="288" y="388"/>
                    <a:pt x="288" y="388"/>
                  </a:cubicBezTo>
                  <a:cubicBezTo>
                    <a:pt x="289" y="388"/>
                    <a:pt x="289" y="388"/>
                    <a:pt x="289" y="388"/>
                  </a:cubicBezTo>
                  <a:cubicBezTo>
                    <a:pt x="289" y="388"/>
                    <a:pt x="290" y="388"/>
                    <a:pt x="290" y="389"/>
                  </a:cubicBezTo>
                  <a:cubicBezTo>
                    <a:pt x="290" y="389"/>
                    <a:pt x="290" y="389"/>
                    <a:pt x="290" y="389"/>
                  </a:cubicBezTo>
                  <a:cubicBezTo>
                    <a:pt x="290" y="389"/>
                    <a:pt x="291" y="389"/>
                    <a:pt x="291" y="389"/>
                  </a:cubicBezTo>
                  <a:cubicBezTo>
                    <a:pt x="291" y="389"/>
                    <a:pt x="291" y="389"/>
                    <a:pt x="291" y="389"/>
                  </a:cubicBezTo>
                  <a:cubicBezTo>
                    <a:pt x="291" y="389"/>
                    <a:pt x="292" y="390"/>
                    <a:pt x="292" y="390"/>
                  </a:cubicBezTo>
                  <a:cubicBezTo>
                    <a:pt x="292" y="391"/>
                    <a:pt x="292" y="391"/>
                    <a:pt x="292" y="391"/>
                  </a:cubicBezTo>
                  <a:cubicBezTo>
                    <a:pt x="292" y="391"/>
                    <a:pt x="292" y="391"/>
                    <a:pt x="292" y="391"/>
                  </a:cubicBezTo>
                  <a:cubicBezTo>
                    <a:pt x="293" y="391"/>
                    <a:pt x="293" y="391"/>
                    <a:pt x="293" y="391"/>
                  </a:cubicBezTo>
                  <a:cubicBezTo>
                    <a:pt x="293" y="391"/>
                    <a:pt x="293" y="391"/>
                    <a:pt x="294" y="392"/>
                  </a:cubicBezTo>
                  <a:cubicBezTo>
                    <a:pt x="294" y="392"/>
                    <a:pt x="294" y="392"/>
                    <a:pt x="294" y="392"/>
                  </a:cubicBezTo>
                  <a:cubicBezTo>
                    <a:pt x="294" y="392"/>
                    <a:pt x="294" y="393"/>
                    <a:pt x="294" y="393"/>
                  </a:cubicBezTo>
                  <a:cubicBezTo>
                    <a:pt x="294" y="393"/>
                    <a:pt x="294" y="393"/>
                    <a:pt x="294" y="393"/>
                  </a:cubicBezTo>
                  <a:cubicBezTo>
                    <a:pt x="294" y="393"/>
                    <a:pt x="294" y="394"/>
                    <a:pt x="294" y="394"/>
                  </a:cubicBezTo>
                  <a:cubicBezTo>
                    <a:pt x="294" y="394"/>
                    <a:pt x="294" y="395"/>
                    <a:pt x="294" y="395"/>
                  </a:cubicBezTo>
                  <a:cubicBezTo>
                    <a:pt x="294" y="395"/>
                    <a:pt x="294" y="395"/>
                    <a:pt x="294" y="395"/>
                  </a:cubicBezTo>
                  <a:cubicBezTo>
                    <a:pt x="294" y="395"/>
                    <a:pt x="294" y="395"/>
                    <a:pt x="294" y="395"/>
                  </a:cubicBezTo>
                  <a:cubicBezTo>
                    <a:pt x="293" y="395"/>
                    <a:pt x="293" y="396"/>
                    <a:pt x="293" y="396"/>
                  </a:cubicBezTo>
                  <a:cubicBezTo>
                    <a:pt x="293" y="396"/>
                    <a:pt x="293" y="396"/>
                    <a:pt x="293" y="396"/>
                  </a:cubicBezTo>
                  <a:cubicBezTo>
                    <a:pt x="292" y="396"/>
                    <a:pt x="292" y="396"/>
                    <a:pt x="292" y="396"/>
                  </a:cubicBezTo>
                  <a:cubicBezTo>
                    <a:pt x="292" y="397"/>
                    <a:pt x="292" y="397"/>
                    <a:pt x="292" y="397"/>
                  </a:cubicBezTo>
                  <a:cubicBezTo>
                    <a:pt x="292" y="397"/>
                    <a:pt x="291" y="397"/>
                    <a:pt x="291" y="397"/>
                  </a:cubicBezTo>
                  <a:cubicBezTo>
                    <a:pt x="291" y="397"/>
                    <a:pt x="291" y="397"/>
                    <a:pt x="291" y="397"/>
                  </a:cubicBezTo>
                  <a:cubicBezTo>
                    <a:pt x="290" y="397"/>
                    <a:pt x="290" y="397"/>
                    <a:pt x="290" y="397"/>
                  </a:cubicBezTo>
                  <a:cubicBezTo>
                    <a:pt x="290" y="397"/>
                    <a:pt x="290" y="397"/>
                    <a:pt x="290" y="397"/>
                  </a:cubicBezTo>
                  <a:cubicBezTo>
                    <a:pt x="290" y="397"/>
                    <a:pt x="290" y="397"/>
                    <a:pt x="290" y="397"/>
                  </a:cubicBezTo>
                  <a:cubicBezTo>
                    <a:pt x="290" y="397"/>
                    <a:pt x="290" y="397"/>
                    <a:pt x="289" y="397"/>
                  </a:cubicBezTo>
                  <a:cubicBezTo>
                    <a:pt x="289" y="398"/>
                    <a:pt x="289" y="398"/>
                    <a:pt x="289" y="398"/>
                  </a:cubicBezTo>
                  <a:cubicBezTo>
                    <a:pt x="289" y="398"/>
                    <a:pt x="289" y="398"/>
                    <a:pt x="289" y="398"/>
                  </a:cubicBezTo>
                  <a:cubicBezTo>
                    <a:pt x="288" y="400"/>
                    <a:pt x="288" y="400"/>
                    <a:pt x="288" y="400"/>
                  </a:cubicBezTo>
                  <a:cubicBezTo>
                    <a:pt x="288" y="400"/>
                    <a:pt x="288" y="400"/>
                    <a:pt x="288" y="400"/>
                  </a:cubicBezTo>
                  <a:cubicBezTo>
                    <a:pt x="287" y="400"/>
                    <a:pt x="287" y="400"/>
                    <a:pt x="287" y="400"/>
                  </a:cubicBezTo>
                  <a:cubicBezTo>
                    <a:pt x="286" y="401"/>
                    <a:pt x="286" y="401"/>
                    <a:pt x="286" y="401"/>
                  </a:cubicBezTo>
                  <a:cubicBezTo>
                    <a:pt x="285" y="401"/>
                    <a:pt x="285" y="401"/>
                    <a:pt x="285" y="401"/>
                  </a:cubicBezTo>
                  <a:cubicBezTo>
                    <a:pt x="285" y="401"/>
                    <a:pt x="284" y="400"/>
                    <a:pt x="284" y="400"/>
                  </a:cubicBezTo>
                  <a:cubicBezTo>
                    <a:pt x="284" y="400"/>
                    <a:pt x="284" y="400"/>
                    <a:pt x="284" y="400"/>
                  </a:cubicBezTo>
                  <a:cubicBezTo>
                    <a:pt x="283" y="400"/>
                    <a:pt x="283" y="400"/>
                    <a:pt x="283" y="399"/>
                  </a:cubicBezTo>
                  <a:cubicBezTo>
                    <a:pt x="283" y="399"/>
                    <a:pt x="283" y="399"/>
                    <a:pt x="283" y="399"/>
                  </a:cubicBezTo>
                  <a:cubicBezTo>
                    <a:pt x="283" y="399"/>
                    <a:pt x="283" y="398"/>
                    <a:pt x="283" y="398"/>
                  </a:cubicBezTo>
                  <a:cubicBezTo>
                    <a:pt x="283" y="398"/>
                    <a:pt x="283" y="398"/>
                    <a:pt x="283" y="398"/>
                  </a:cubicBezTo>
                  <a:cubicBezTo>
                    <a:pt x="283" y="397"/>
                    <a:pt x="283" y="397"/>
                    <a:pt x="283" y="397"/>
                  </a:cubicBezTo>
                  <a:cubicBezTo>
                    <a:pt x="283" y="397"/>
                    <a:pt x="283" y="396"/>
                    <a:pt x="283" y="396"/>
                  </a:cubicBezTo>
                  <a:cubicBezTo>
                    <a:pt x="283" y="396"/>
                    <a:pt x="283" y="396"/>
                    <a:pt x="283" y="396"/>
                  </a:cubicBezTo>
                  <a:cubicBezTo>
                    <a:pt x="283" y="396"/>
                    <a:pt x="283" y="396"/>
                    <a:pt x="284" y="396"/>
                  </a:cubicBezTo>
                  <a:cubicBezTo>
                    <a:pt x="283" y="396"/>
                    <a:pt x="283" y="395"/>
                    <a:pt x="283" y="395"/>
                  </a:cubicBezTo>
                  <a:cubicBezTo>
                    <a:pt x="283" y="395"/>
                    <a:pt x="283" y="395"/>
                    <a:pt x="283" y="395"/>
                  </a:cubicBezTo>
                  <a:cubicBezTo>
                    <a:pt x="282" y="394"/>
                    <a:pt x="282" y="394"/>
                    <a:pt x="282" y="394"/>
                  </a:cubicBezTo>
                  <a:cubicBezTo>
                    <a:pt x="281" y="394"/>
                    <a:pt x="281" y="394"/>
                    <a:pt x="281" y="393"/>
                  </a:cubicBezTo>
                  <a:cubicBezTo>
                    <a:pt x="280" y="393"/>
                    <a:pt x="280" y="393"/>
                    <a:pt x="280" y="393"/>
                  </a:cubicBezTo>
                  <a:cubicBezTo>
                    <a:pt x="280" y="393"/>
                    <a:pt x="280" y="393"/>
                    <a:pt x="280" y="393"/>
                  </a:cubicBezTo>
                  <a:cubicBezTo>
                    <a:pt x="280" y="393"/>
                    <a:pt x="280" y="393"/>
                    <a:pt x="280" y="393"/>
                  </a:cubicBezTo>
                  <a:cubicBezTo>
                    <a:pt x="280" y="393"/>
                    <a:pt x="279" y="393"/>
                    <a:pt x="279" y="393"/>
                  </a:cubicBezTo>
                  <a:cubicBezTo>
                    <a:pt x="279" y="392"/>
                    <a:pt x="279" y="392"/>
                    <a:pt x="279" y="392"/>
                  </a:cubicBezTo>
                  <a:cubicBezTo>
                    <a:pt x="279" y="392"/>
                    <a:pt x="279" y="392"/>
                    <a:pt x="279" y="392"/>
                  </a:cubicBezTo>
                  <a:cubicBezTo>
                    <a:pt x="279" y="392"/>
                    <a:pt x="279" y="392"/>
                    <a:pt x="279" y="392"/>
                  </a:cubicBezTo>
                  <a:cubicBezTo>
                    <a:pt x="279" y="393"/>
                    <a:pt x="279" y="393"/>
                    <a:pt x="279" y="393"/>
                  </a:cubicBezTo>
                  <a:cubicBezTo>
                    <a:pt x="279" y="393"/>
                    <a:pt x="279" y="393"/>
                    <a:pt x="278" y="394"/>
                  </a:cubicBezTo>
                  <a:cubicBezTo>
                    <a:pt x="278" y="394"/>
                    <a:pt x="278" y="394"/>
                    <a:pt x="278" y="394"/>
                  </a:cubicBezTo>
                  <a:cubicBezTo>
                    <a:pt x="277" y="394"/>
                    <a:pt x="277" y="394"/>
                    <a:pt x="277" y="394"/>
                  </a:cubicBezTo>
                  <a:cubicBezTo>
                    <a:pt x="277" y="394"/>
                    <a:pt x="277" y="394"/>
                    <a:pt x="276" y="394"/>
                  </a:cubicBezTo>
                  <a:cubicBezTo>
                    <a:pt x="276" y="394"/>
                    <a:pt x="276" y="394"/>
                    <a:pt x="276" y="394"/>
                  </a:cubicBezTo>
                  <a:cubicBezTo>
                    <a:pt x="276" y="395"/>
                    <a:pt x="276" y="395"/>
                    <a:pt x="276" y="395"/>
                  </a:cubicBezTo>
                  <a:cubicBezTo>
                    <a:pt x="276" y="395"/>
                    <a:pt x="276" y="395"/>
                    <a:pt x="276" y="395"/>
                  </a:cubicBezTo>
                  <a:cubicBezTo>
                    <a:pt x="276" y="395"/>
                    <a:pt x="276" y="396"/>
                    <a:pt x="276" y="396"/>
                  </a:cubicBezTo>
                  <a:cubicBezTo>
                    <a:pt x="275" y="396"/>
                    <a:pt x="275" y="396"/>
                    <a:pt x="275" y="397"/>
                  </a:cubicBezTo>
                  <a:cubicBezTo>
                    <a:pt x="275" y="397"/>
                    <a:pt x="275" y="397"/>
                    <a:pt x="275" y="397"/>
                  </a:cubicBezTo>
                  <a:cubicBezTo>
                    <a:pt x="275" y="397"/>
                    <a:pt x="275" y="397"/>
                    <a:pt x="274" y="397"/>
                  </a:cubicBezTo>
                  <a:cubicBezTo>
                    <a:pt x="274" y="397"/>
                    <a:pt x="274" y="398"/>
                    <a:pt x="274" y="398"/>
                  </a:cubicBezTo>
                  <a:cubicBezTo>
                    <a:pt x="274" y="398"/>
                    <a:pt x="274" y="398"/>
                    <a:pt x="274" y="398"/>
                  </a:cubicBezTo>
                  <a:cubicBezTo>
                    <a:pt x="274" y="398"/>
                    <a:pt x="273" y="398"/>
                    <a:pt x="273" y="398"/>
                  </a:cubicBezTo>
                  <a:cubicBezTo>
                    <a:pt x="273" y="398"/>
                    <a:pt x="273" y="398"/>
                    <a:pt x="273" y="398"/>
                  </a:cubicBezTo>
                  <a:cubicBezTo>
                    <a:pt x="273" y="398"/>
                    <a:pt x="272" y="398"/>
                    <a:pt x="272" y="398"/>
                  </a:cubicBezTo>
                  <a:cubicBezTo>
                    <a:pt x="272" y="398"/>
                    <a:pt x="272" y="398"/>
                    <a:pt x="272" y="398"/>
                  </a:cubicBezTo>
                  <a:cubicBezTo>
                    <a:pt x="272" y="398"/>
                    <a:pt x="272" y="398"/>
                    <a:pt x="272" y="398"/>
                  </a:cubicBezTo>
                  <a:cubicBezTo>
                    <a:pt x="272" y="398"/>
                    <a:pt x="272" y="398"/>
                    <a:pt x="272" y="398"/>
                  </a:cubicBezTo>
                  <a:cubicBezTo>
                    <a:pt x="272" y="399"/>
                    <a:pt x="272" y="399"/>
                    <a:pt x="272" y="399"/>
                  </a:cubicBezTo>
                  <a:cubicBezTo>
                    <a:pt x="272" y="399"/>
                    <a:pt x="272" y="399"/>
                    <a:pt x="272" y="399"/>
                  </a:cubicBezTo>
                  <a:cubicBezTo>
                    <a:pt x="272" y="399"/>
                    <a:pt x="272" y="399"/>
                    <a:pt x="272" y="399"/>
                  </a:cubicBezTo>
                  <a:cubicBezTo>
                    <a:pt x="272" y="399"/>
                    <a:pt x="272" y="399"/>
                    <a:pt x="272" y="399"/>
                  </a:cubicBezTo>
                  <a:cubicBezTo>
                    <a:pt x="272" y="399"/>
                    <a:pt x="271" y="399"/>
                    <a:pt x="271" y="399"/>
                  </a:cubicBezTo>
                  <a:cubicBezTo>
                    <a:pt x="271" y="399"/>
                    <a:pt x="271" y="400"/>
                    <a:pt x="271" y="400"/>
                  </a:cubicBezTo>
                  <a:cubicBezTo>
                    <a:pt x="271" y="400"/>
                    <a:pt x="271" y="400"/>
                    <a:pt x="271" y="400"/>
                  </a:cubicBezTo>
                  <a:cubicBezTo>
                    <a:pt x="270" y="400"/>
                    <a:pt x="270" y="400"/>
                    <a:pt x="270" y="400"/>
                  </a:cubicBezTo>
                  <a:cubicBezTo>
                    <a:pt x="269" y="400"/>
                    <a:pt x="269" y="400"/>
                    <a:pt x="269" y="400"/>
                  </a:cubicBezTo>
                  <a:cubicBezTo>
                    <a:pt x="269" y="400"/>
                    <a:pt x="268" y="400"/>
                    <a:pt x="268" y="400"/>
                  </a:cubicBezTo>
                  <a:cubicBezTo>
                    <a:pt x="268" y="400"/>
                    <a:pt x="268" y="400"/>
                    <a:pt x="268" y="399"/>
                  </a:cubicBezTo>
                  <a:cubicBezTo>
                    <a:pt x="267" y="399"/>
                    <a:pt x="267" y="399"/>
                    <a:pt x="266" y="398"/>
                  </a:cubicBezTo>
                  <a:cubicBezTo>
                    <a:pt x="266" y="398"/>
                    <a:pt x="266" y="398"/>
                    <a:pt x="266" y="398"/>
                  </a:cubicBezTo>
                  <a:cubicBezTo>
                    <a:pt x="266" y="398"/>
                    <a:pt x="266" y="398"/>
                    <a:pt x="266" y="398"/>
                  </a:cubicBezTo>
                  <a:cubicBezTo>
                    <a:pt x="266" y="399"/>
                    <a:pt x="265" y="399"/>
                    <a:pt x="265" y="399"/>
                  </a:cubicBezTo>
                  <a:cubicBezTo>
                    <a:pt x="265" y="399"/>
                    <a:pt x="265" y="399"/>
                    <a:pt x="265" y="399"/>
                  </a:cubicBezTo>
                  <a:cubicBezTo>
                    <a:pt x="263" y="399"/>
                    <a:pt x="263" y="399"/>
                    <a:pt x="263" y="399"/>
                  </a:cubicBezTo>
                  <a:cubicBezTo>
                    <a:pt x="263" y="399"/>
                    <a:pt x="263" y="399"/>
                    <a:pt x="263" y="399"/>
                  </a:cubicBezTo>
                  <a:cubicBezTo>
                    <a:pt x="263" y="399"/>
                    <a:pt x="263" y="399"/>
                    <a:pt x="263" y="399"/>
                  </a:cubicBezTo>
                  <a:cubicBezTo>
                    <a:pt x="263" y="399"/>
                    <a:pt x="263" y="399"/>
                    <a:pt x="262" y="399"/>
                  </a:cubicBezTo>
                  <a:cubicBezTo>
                    <a:pt x="262" y="399"/>
                    <a:pt x="262" y="399"/>
                    <a:pt x="262" y="399"/>
                  </a:cubicBezTo>
                  <a:cubicBezTo>
                    <a:pt x="262" y="399"/>
                    <a:pt x="261" y="399"/>
                    <a:pt x="261" y="399"/>
                  </a:cubicBezTo>
                  <a:cubicBezTo>
                    <a:pt x="261" y="399"/>
                    <a:pt x="261" y="399"/>
                    <a:pt x="261" y="399"/>
                  </a:cubicBezTo>
                  <a:cubicBezTo>
                    <a:pt x="260" y="399"/>
                    <a:pt x="260" y="399"/>
                    <a:pt x="260" y="399"/>
                  </a:cubicBezTo>
                  <a:cubicBezTo>
                    <a:pt x="260" y="399"/>
                    <a:pt x="260" y="399"/>
                    <a:pt x="260" y="399"/>
                  </a:cubicBezTo>
                  <a:cubicBezTo>
                    <a:pt x="259" y="399"/>
                    <a:pt x="259" y="399"/>
                    <a:pt x="259" y="398"/>
                  </a:cubicBezTo>
                  <a:cubicBezTo>
                    <a:pt x="257" y="398"/>
                    <a:pt x="257" y="398"/>
                    <a:pt x="257" y="398"/>
                  </a:cubicBezTo>
                  <a:cubicBezTo>
                    <a:pt x="257" y="398"/>
                    <a:pt x="256" y="398"/>
                    <a:pt x="256" y="398"/>
                  </a:cubicBezTo>
                  <a:cubicBezTo>
                    <a:pt x="256" y="398"/>
                    <a:pt x="256" y="398"/>
                    <a:pt x="255" y="398"/>
                  </a:cubicBezTo>
                  <a:cubicBezTo>
                    <a:pt x="255" y="398"/>
                    <a:pt x="255" y="398"/>
                    <a:pt x="255" y="398"/>
                  </a:cubicBezTo>
                  <a:cubicBezTo>
                    <a:pt x="255" y="398"/>
                    <a:pt x="255" y="398"/>
                    <a:pt x="254" y="398"/>
                  </a:cubicBezTo>
                  <a:cubicBezTo>
                    <a:pt x="254" y="398"/>
                    <a:pt x="254" y="397"/>
                    <a:pt x="254" y="397"/>
                  </a:cubicBezTo>
                  <a:cubicBezTo>
                    <a:pt x="254" y="397"/>
                    <a:pt x="254" y="397"/>
                    <a:pt x="254" y="397"/>
                  </a:cubicBezTo>
                  <a:cubicBezTo>
                    <a:pt x="253" y="397"/>
                    <a:pt x="253" y="397"/>
                    <a:pt x="253" y="397"/>
                  </a:cubicBezTo>
                  <a:cubicBezTo>
                    <a:pt x="253" y="397"/>
                    <a:pt x="253" y="396"/>
                    <a:pt x="253" y="396"/>
                  </a:cubicBezTo>
                  <a:cubicBezTo>
                    <a:pt x="253" y="396"/>
                    <a:pt x="253" y="396"/>
                    <a:pt x="253" y="396"/>
                  </a:cubicBezTo>
                  <a:cubicBezTo>
                    <a:pt x="253" y="395"/>
                    <a:pt x="253" y="395"/>
                    <a:pt x="253" y="395"/>
                  </a:cubicBezTo>
                  <a:cubicBezTo>
                    <a:pt x="253" y="395"/>
                    <a:pt x="253" y="395"/>
                    <a:pt x="253" y="395"/>
                  </a:cubicBezTo>
                  <a:cubicBezTo>
                    <a:pt x="252" y="395"/>
                    <a:pt x="252" y="395"/>
                    <a:pt x="252" y="395"/>
                  </a:cubicBezTo>
                  <a:cubicBezTo>
                    <a:pt x="252" y="395"/>
                    <a:pt x="252" y="394"/>
                    <a:pt x="252" y="394"/>
                  </a:cubicBezTo>
                  <a:cubicBezTo>
                    <a:pt x="252" y="394"/>
                    <a:pt x="252" y="394"/>
                    <a:pt x="252" y="394"/>
                  </a:cubicBezTo>
                  <a:cubicBezTo>
                    <a:pt x="252" y="393"/>
                    <a:pt x="252" y="393"/>
                    <a:pt x="252" y="393"/>
                  </a:cubicBezTo>
                  <a:cubicBezTo>
                    <a:pt x="252" y="392"/>
                    <a:pt x="253" y="392"/>
                    <a:pt x="253" y="392"/>
                  </a:cubicBezTo>
                  <a:cubicBezTo>
                    <a:pt x="253" y="392"/>
                    <a:pt x="253" y="392"/>
                    <a:pt x="253" y="392"/>
                  </a:cubicBezTo>
                  <a:cubicBezTo>
                    <a:pt x="253" y="392"/>
                    <a:pt x="253" y="392"/>
                    <a:pt x="253" y="392"/>
                  </a:cubicBezTo>
                  <a:cubicBezTo>
                    <a:pt x="253" y="392"/>
                    <a:pt x="253" y="392"/>
                    <a:pt x="253" y="392"/>
                  </a:cubicBezTo>
                  <a:cubicBezTo>
                    <a:pt x="253" y="392"/>
                    <a:pt x="253" y="392"/>
                    <a:pt x="253" y="392"/>
                  </a:cubicBezTo>
                  <a:cubicBezTo>
                    <a:pt x="253" y="392"/>
                    <a:pt x="252" y="392"/>
                    <a:pt x="252" y="392"/>
                  </a:cubicBezTo>
                  <a:cubicBezTo>
                    <a:pt x="252" y="392"/>
                    <a:pt x="252" y="392"/>
                    <a:pt x="252" y="392"/>
                  </a:cubicBezTo>
                  <a:cubicBezTo>
                    <a:pt x="251" y="392"/>
                    <a:pt x="251" y="392"/>
                    <a:pt x="251" y="392"/>
                  </a:cubicBezTo>
                  <a:cubicBezTo>
                    <a:pt x="251" y="392"/>
                    <a:pt x="250" y="392"/>
                    <a:pt x="250" y="392"/>
                  </a:cubicBezTo>
                  <a:cubicBezTo>
                    <a:pt x="250" y="392"/>
                    <a:pt x="250" y="392"/>
                    <a:pt x="250" y="391"/>
                  </a:cubicBezTo>
                  <a:cubicBezTo>
                    <a:pt x="250" y="391"/>
                    <a:pt x="250" y="391"/>
                    <a:pt x="249" y="391"/>
                  </a:cubicBezTo>
                  <a:cubicBezTo>
                    <a:pt x="249" y="391"/>
                    <a:pt x="249" y="391"/>
                    <a:pt x="249" y="391"/>
                  </a:cubicBezTo>
                  <a:cubicBezTo>
                    <a:pt x="249" y="391"/>
                    <a:pt x="249" y="391"/>
                    <a:pt x="249" y="391"/>
                  </a:cubicBezTo>
                  <a:cubicBezTo>
                    <a:pt x="249" y="391"/>
                    <a:pt x="249" y="391"/>
                    <a:pt x="249" y="391"/>
                  </a:cubicBezTo>
                  <a:cubicBezTo>
                    <a:pt x="249" y="391"/>
                    <a:pt x="249" y="391"/>
                    <a:pt x="249" y="391"/>
                  </a:cubicBezTo>
                  <a:cubicBezTo>
                    <a:pt x="248" y="391"/>
                    <a:pt x="248" y="390"/>
                    <a:pt x="248" y="390"/>
                  </a:cubicBezTo>
                  <a:cubicBezTo>
                    <a:pt x="248" y="390"/>
                    <a:pt x="248" y="389"/>
                    <a:pt x="248" y="389"/>
                  </a:cubicBezTo>
                  <a:cubicBezTo>
                    <a:pt x="247" y="389"/>
                    <a:pt x="247" y="389"/>
                    <a:pt x="247" y="389"/>
                  </a:cubicBezTo>
                  <a:cubicBezTo>
                    <a:pt x="247" y="389"/>
                    <a:pt x="247" y="389"/>
                    <a:pt x="247" y="389"/>
                  </a:cubicBezTo>
                  <a:cubicBezTo>
                    <a:pt x="247" y="390"/>
                    <a:pt x="247" y="390"/>
                    <a:pt x="247" y="390"/>
                  </a:cubicBezTo>
                  <a:cubicBezTo>
                    <a:pt x="246" y="391"/>
                    <a:pt x="246" y="391"/>
                    <a:pt x="246" y="391"/>
                  </a:cubicBezTo>
                  <a:cubicBezTo>
                    <a:pt x="246" y="391"/>
                    <a:pt x="246" y="392"/>
                    <a:pt x="245" y="392"/>
                  </a:cubicBezTo>
                  <a:cubicBezTo>
                    <a:pt x="245" y="392"/>
                    <a:pt x="245" y="392"/>
                    <a:pt x="245" y="392"/>
                  </a:cubicBezTo>
                  <a:cubicBezTo>
                    <a:pt x="244" y="392"/>
                    <a:pt x="244" y="392"/>
                    <a:pt x="244" y="392"/>
                  </a:cubicBezTo>
                  <a:cubicBezTo>
                    <a:pt x="243" y="391"/>
                    <a:pt x="243" y="391"/>
                    <a:pt x="243" y="391"/>
                  </a:cubicBezTo>
                  <a:cubicBezTo>
                    <a:pt x="243" y="391"/>
                    <a:pt x="242" y="391"/>
                    <a:pt x="242" y="391"/>
                  </a:cubicBezTo>
                  <a:cubicBezTo>
                    <a:pt x="241" y="391"/>
                    <a:pt x="241" y="391"/>
                    <a:pt x="241" y="391"/>
                  </a:cubicBezTo>
                  <a:cubicBezTo>
                    <a:pt x="241" y="391"/>
                    <a:pt x="241" y="391"/>
                    <a:pt x="241" y="391"/>
                  </a:cubicBezTo>
                  <a:cubicBezTo>
                    <a:pt x="241" y="391"/>
                    <a:pt x="241" y="391"/>
                    <a:pt x="241" y="391"/>
                  </a:cubicBezTo>
                  <a:cubicBezTo>
                    <a:pt x="240" y="391"/>
                    <a:pt x="240" y="391"/>
                    <a:pt x="240" y="391"/>
                  </a:cubicBezTo>
                  <a:cubicBezTo>
                    <a:pt x="240" y="392"/>
                    <a:pt x="240" y="392"/>
                    <a:pt x="240" y="392"/>
                  </a:cubicBezTo>
                  <a:cubicBezTo>
                    <a:pt x="239" y="392"/>
                    <a:pt x="239" y="392"/>
                    <a:pt x="239" y="392"/>
                  </a:cubicBezTo>
                  <a:cubicBezTo>
                    <a:pt x="239" y="392"/>
                    <a:pt x="239" y="392"/>
                    <a:pt x="239" y="392"/>
                  </a:cubicBezTo>
                  <a:cubicBezTo>
                    <a:pt x="239" y="392"/>
                    <a:pt x="239" y="392"/>
                    <a:pt x="238" y="393"/>
                  </a:cubicBezTo>
                  <a:cubicBezTo>
                    <a:pt x="238" y="391"/>
                    <a:pt x="238" y="391"/>
                    <a:pt x="238" y="391"/>
                  </a:cubicBezTo>
                  <a:cubicBezTo>
                    <a:pt x="238" y="391"/>
                    <a:pt x="238" y="391"/>
                    <a:pt x="238" y="391"/>
                  </a:cubicBezTo>
                  <a:cubicBezTo>
                    <a:pt x="238" y="393"/>
                    <a:pt x="238" y="393"/>
                    <a:pt x="238" y="393"/>
                  </a:cubicBezTo>
                  <a:cubicBezTo>
                    <a:pt x="238" y="393"/>
                    <a:pt x="237" y="393"/>
                    <a:pt x="237" y="393"/>
                  </a:cubicBezTo>
                  <a:cubicBezTo>
                    <a:pt x="231" y="392"/>
                    <a:pt x="231" y="392"/>
                    <a:pt x="231" y="392"/>
                  </a:cubicBezTo>
                  <a:cubicBezTo>
                    <a:pt x="229" y="391"/>
                    <a:pt x="229" y="391"/>
                    <a:pt x="229" y="391"/>
                  </a:cubicBezTo>
                  <a:cubicBezTo>
                    <a:pt x="229" y="391"/>
                    <a:pt x="228" y="391"/>
                    <a:pt x="228" y="391"/>
                  </a:cubicBezTo>
                  <a:cubicBezTo>
                    <a:pt x="228" y="391"/>
                    <a:pt x="228" y="391"/>
                    <a:pt x="228" y="391"/>
                  </a:cubicBezTo>
                  <a:cubicBezTo>
                    <a:pt x="228" y="391"/>
                    <a:pt x="227" y="391"/>
                    <a:pt x="227" y="391"/>
                  </a:cubicBezTo>
                  <a:cubicBezTo>
                    <a:pt x="227" y="391"/>
                    <a:pt x="227" y="391"/>
                    <a:pt x="227" y="391"/>
                  </a:cubicBezTo>
                  <a:cubicBezTo>
                    <a:pt x="226" y="390"/>
                    <a:pt x="226" y="390"/>
                    <a:pt x="226" y="390"/>
                  </a:cubicBezTo>
                  <a:cubicBezTo>
                    <a:pt x="226" y="390"/>
                    <a:pt x="226" y="390"/>
                    <a:pt x="226" y="390"/>
                  </a:cubicBezTo>
                  <a:cubicBezTo>
                    <a:pt x="226" y="390"/>
                    <a:pt x="226" y="390"/>
                    <a:pt x="226" y="390"/>
                  </a:cubicBezTo>
                  <a:cubicBezTo>
                    <a:pt x="226" y="390"/>
                    <a:pt x="226" y="390"/>
                    <a:pt x="226" y="390"/>
                  </a:cubicBezTo>
                  <a:cubicBezTo>
                    <a:pt x="225" y="390"/>
                    <a:pt x="225" y="390"/>
                    <a:pt x="225" y="390"/>
                  </a:cubicBezTo>
                  <a:cubicBezTo>
                    <a:pt x="213" y="389"/>
                    <a:pt x="213" y="389"/>
                    <a:pt x="213" y="389"/>
                  </a:cubicBezTo>
                  <a:cubicBezTo>
                    <a:pt x="213" y="389"/>
                    <a:pt x="213" y="389"/>
                    <a:pt x="213" y="389"/>
                  </a:cubicBezTo>
                  <a:cubicBezTo>
                    <a:pt x="213" y="390"/>
                    <a:pt x="213" y="390"/>
                    <a:pt x="212" y="390"/>
                  </a:cubicBezTo>
                  <a:cubicBezTo>
                    <a:pt x="212" y="390"/>
                    <a:pt x="212" y="390"/>
                    <a:pt x="212" y="391"/>
                  </a:cubicBezTo>
                  <a:cubicBezTo>
                    <a:pt x="212" y="391"/>
                    <a:pt x="212" y="391"/>
                    <a:pt x="212" y="391"/>
                  </a:cubicBezTo>
                  <a:cubicBezTo>
                    <a:pt x="211" y="392"/>
                    <a:pt x="210" y="392"/>
                    <a:pt x="209" y="391"/>
                  </a:cubicBezTo>
                  <a:cubicBezTo>
                    <a:pt x="209" y="391"/>
                    <a:pt x="209" y="391"/>
                    <a:pt x="209" y="391"/>
                  </a:cubicBezTo>
                  <a:cubicBezTo>
                    <a:pt x="205" y="391"/>
                    <a:pt x="205" y="391"/>
                    <a:pt x="205" y="391"/>
                  </a:cubicBezTo>
                  <a:cubicBezTo>
                    <a:pt x="205" y="392"/>
                    <a:pt x="205" y="392"/>
                    <a:pt x="205" y="392"/>
                  </a:cubicBezTo>
                  <a:cubicBezTo>
                    <a:pt x="205" y="392"/>
                    <a:pt x="205" y="392"/>
                    <a:pt x="205" y="392"/>
                  </a:cubicBezTo>
                  <a:cubicBezTo>
                    <a:pt x="203" y="393"/>
                    <a:pt x="203" y="393"/>
                    <a:pt x="203" y="393"/>
                  </a:cubicBezTo>
                  <a:cubicBezTo>
                    <a:pt x="203" y="393"/>
                    <a:pt x="203" y="393"/>
                    <a:pt x="203" y="393"/>
                  </a:cubicBezTo>
                  <a:cubicBezTo>
                    <a:pt x="196" y="396"/>
                    <a:pt x="196" y="396"/>
                    <a:pt x="196" y="396"/>
                  </a:cubicBezTo>
                  <a:cubicBezTo>
                    <a:pt x="196" y="397"/>
                    <a:pt x="196" y="397"/>
                    <a:pt x="196" y="397"/>
                  </a:cubicBezTo>
                  <a:cubicBezTo>
                    <a:pt x="195" y="398"/>
                    <a:pt x="195" y="398"/>
                    <a:pt x="195" y="398"/>
                  </a:cubicBezTo>
                  <a:cubicBezTo>
                    <a:pt x="195" y="398"/>
                    <a:pt x="195" y="398"/>
                    <a:pt x="195" y="398"/>
                  </a:cubicBezTo>
                  <a:cubicBezTo>
                    <a:pt x="195" y="398"/>
                    <a:pt x="195" y="398"/>
                    <a:pt x="195" y="399"/>
                  </a:cubicBezTo>
                  <a:cubicBezTo>
                    <a:pt x="192" y="401"/>
                    <a:pt x="192" y="401"/>
                    <a:pt x="192" y="401"/>
                  </a:cubicBezTo>
                  <a:cubicBezTo>
                    <a:pt x="192" y="401"/>
                    <a:pt x="192" y="401"/>
                    <a:pt x="192" y="401"/>
                  </a:cubicBezTo>
                  <a:cubicBezTo>
                    <a:pt x="191" y="402"/>
                    <a:pt x="191" y="402"/>
                    <a:pt x="191" y="402"/>
                  </a:cubicBezTo>
                  <a:cubicBezTo>
                    <a:pt x="189" y="403"/>
                    <a:pt x="189" y="403"/>
                    <a:pt x="189" y="403"/>
                  </a:cubicBezTo>
                  <a:cubicBezTo>
                    <a:pt x="189" y="404"/>
                    <a:pt x="189" y="404"/>
                    <a:pt x="189" y="404"/>
                  </a:cubicBezTo>
                  <a:cubicBezTo>
                    <a:pt x="189" y="404"/>
                    <a:pt x="189" y="404"/>
                    <a:pt x="188" y="405"/>
                  </a:cubicBezTo>
                  <a:cubicBezTo>
                    <a:pt x="188" y="405"/>
                    <a:pt x="188" y="405"/>
                    <a:pt x="188" y="405"/>
                  </a:cubicBezTo>
                  <a:cubicBezTo>
                    <a:pt x="187" y="406"/>
                    <a:pt x="187" y="406"/>
                    <a:pt x="187" y="406"/>
                  </a:cubicBezTo>
                  <a:cubicBezTo>
                    <a:pt x="187" y="406"/>
                    <a:pt x="187" y="406"/>
                    <a:pt x="186" y="406"/>
                  </a:cubicBezTo>
                  <a:cubicBezTo>
                    <a:pt x="186" y="407"/>
                    <a:pt x="186" y="407"/>
                    <a:pt x="186" y="407"/>
                  </a:cubicBezTo>
                  <a:cubicBezTo>
                    <a:pt x="185" y="408"/>
                    <a:pt x="185" y="408"/>
                    <a:pt x="185" y="408"/>
                  </a:cubicBezTo>
                  <a:cubicBezTo>
                    <a:pt x="185" y="408"/>
                    <a:pt x="184" y="409"/>
                    <a:pt x="184" y="409"/>
                  </a:cubicBezTo>
                  <a:cubicBezTo>
                    <a:pt x="184" y="409"/>
                    <a:pt x="184" y="409"/>
                    <a:pt x="184" y="409"/>
                  </a:cubicBezTo>
                  <a:cubicBezTo>
                    <a:pt x="184" y="409"/>
                    <a:pt x="184" y="409"/>
                    <a:pt x="184" y="409"/>
                  </a:cubicBezTo>
                  <a:cubicBezTo>
                    <a:pt x="183" y="409"/>
                    <a:pt x="183" y="409"/>
                    <a:pt x="183" y="409"/>
                  </a:cubicBezTo>
                  <a:cubicBezTo>
                    <a:pt x="181" y="411"/>
                    <a:pt x="181" y="411"/>
                    <a:pt x="181" y="411"/>
                  </a:cubicBezTo>
                  <a:cubicBezTo>
                    <a:pt x="180" y="412"/>
                    <a:pt x="180" y="412"/>
                    <a:pt x="180" y="412"/>
                  </a:cubicBezTo>
                  <a:cubicBezTo>
                    <a:pt x="180" y="412"/>
                    <a:pt x="180" y="412"/>
                    <a:pt x="180" y="412"/>
                  </a:cubicBezTo>
                  <a:cubicBezTo>
                    <a:pt x="179" y="412"/>
                    <a:pt x="179" y="412"/>
                    <a:pt x="179" y="412"/>
                  </a:cubicBezTo>
                  <a:cubicBezTo>
                    <a:pt x="176" y="414"/>
                    <a:pt x="176" y="414"/>
                    <a:pt x="176" y="414"/>
                  </a:cubicBezTo>
                  <a:cubicBezTo>
                    <a:pt x="176" y="414"/>
                    <a:pt x="176" y="414"/>
                    <a:pt x="176" y="415"/>
                  </a:cubicBezTo>
                  <a:cubicBezTo>
                    <a:pt x="174" y="415"/>
                    <a:pt x="174" y="415"/>
                    <a:pt x="174" y="415"/>
                  </a:cubicBezTo>
                  <a:cubicBezTo>
                    <a:pt x="174" y="415"/>
                    <a:pt x="174" y="415"/>
                    <a:pt x="174" y="415"/>
                  </a:cubicBezTo>
                  <a:cubicBezTo>
                    <a:pt x="173" y="415"/>
                    <a:pt x="173" y="416"/>
                    <a:pt x="173" y="416"/>
                  </a:cubicBezTo>
                  <a:cubicBezTo>
                    <a:pt x="172" y="416"/>
                    <a:pt x="172" y="416"/>
                    <a:pt x="172" y="416"/>
                  </a:cubicBezTo>
                  <a:cubicBezTo>
                    <a:pt x="171" y="416"/>
                    <a:pt x="171" y="416"/>
                    <a:pt x="171" y="416"/>
                  </a:cubicBezTo>
                  <a:cubicBezTo>
                    <a:pt x="171" y="417"/>
                    <a:pt x="171" y="417"/>
                    <a:pt x="171" y="417"/>
                  </a:cubicBezTo>
                  <a:cubicBezTo>
                    <a:pt x="171" y="417"/>
                    <a:pt x="171" y="417"/>
                    <a:pt x="170" y="417"/>
                  </a:cubicBezTo>
                  <a:cubicBezTo>
                    <a:pt x="169" y="418"/>
                    <a:pt x="169" y="418"/>
                    <a:pt x="169" y="418"/>
                  </a:cubicBezTo>
                  <a:cubicBezTo>
                    <a:pt x="169" y="418"/>
                    <a:pt x="169" y="418"/>
                    <a:pt x="169" y="418"/>
                  </a:cubicBezTo>
                  <a:cubicBezTo>
                    <a:pt x="169" y="419"/>
                    <a:pt x="169" y="419"/>
                    <a:pt x="169" y="419"/>
                  </a:cubicBezTo>
                  <a:cubicBezTo>
                    <a:pt x="168" y="419"/>
                    <a:pt x="168" y="419"/>
                    <a:pt x="168" y="419"/>
                  </a:cubicBezTo>
                  <a:cubicBezTo>
                    <a:pt x="168" y="419"/>
                    <a:pt x="168" y="419"/>
                    <a:pt x="168" y="419"/>
                  </a:cubicBezTo>
                  <a:cubicBezTo>
                    <a:pt x="168" y="420"/>
                    <a:pt x="168" y="420"/>
                    <a:pt x="167" y="420"/>
                  </a:cubicBezTo>
                  <a:cubicBezTo>
                    <a:pt x="166" y="421"/>
                    <a:pt x="166" y="421"/>
                    <a:pt x="166" y="421"/>
                  </a:cubicBezTo>
                  <a:cubicBezTo>
                    <a:pt x="165" y="422"/>
                    <a:pt x="165" y="422"/>
                    <a:pt x="165" y="422"/>
                  </a:cubicBezTo>
                  <a:cubicBezTo>
                    <a:pt x="164" y="422"/>
                    <a:pt x="164" y="422"/>
                    <a:pt x="164" y="422"/>
                  </a:cubicBezTo>
                  <a:cubicBezTo>
                    <a:pt x="163" y="423"/>
                    <a:pt x="163" y="423"/>
                    <a:pt x="163" y="423"/>
                  </a:cubicBezTo>
                  <a:cubicBezTo>
                    <a:pt x="162" y="424"/>
                    <a:pt x="162" y="424"/>
                    <a:pt x="162" y="424"/>
                  </a:cubicBezTo>
                  <a:cubicBezTo>
                    <a:pt x="161" y="425"/>
                    <a:pt x="161" y="425"/>
                    <a:pt x="161" y="425"/>
                  </a:cubicBezTo>
                  <a:cubicBezTo>
                    <a:pt x="161" y="425"/>
                    <a:pt x="161" y="426"/>
                    <a:pt x="160" y="426"/>
                  </a:cubicBezTo>
                  <a:cubicBezTo>
                    <a:pt x="158" y="428"/>
                    <a:pt x="158" y="428"/>
                    <a:pt x="158" y="428"/>
                  </a:cubicBezTo>
                  <a:cubicBezTo>
                    <a:pt x="158" y="429"/>
                    <a:pt x="158" y="429"/>
                    <a:pt x="158" y="429"/>
                  </a:cubicBezTo>
                  <a:cubicBezTo>
                    <a:pt x="158" y="429"/>
                    <a:pt x="158" y="430"/>
                    <a:pt x="158" y="430"/>
                  </a:cubicBezTo>
                  <a:cubicBezTo>
                    <a:pt x="158" y="430"/>
                    <a:pt x="157" y="430"/>
                    <a:pt x="157" y="430"/>
                  </a:cubicBezTo>
                  <a:cubicBezTo>
                    <a:pt x="155" y="434"/>
                    <a:pt x="155" y="434"/>
                    <a:pt x="155" y="434"/>
                  </a:cubicBezTo>
                  <a:cubicBezTo>
                    <a:pt x="153" y="437"/>
                    <a:pt x="153" y="437"/>
                    <a:pt x="153" y="437"/>
                  </a:cubicBezTo>
                  <a:cubicBezTo>
                    <a:pt x="153" y="440"/>
                    <a:pt x="153" y="440"/>
                    <a:pt x="153" y="440"/>
                  </a:cubicBezTo>
                  <a:cubicBezTo>
                    <a:pt x="152" y="441"/>
                    <a:pt x="152" y="441"/>
                    <a:pt x="152" y="441"/>
                  </a:cubicBezTo>
                  <a:cubicBezTo>
                    <a:pt x="152" y="442"/>
                    <a:pt x="152" y="442"/>
                    <a:pt x="152" y="442"/>
                  </a:cubicBezTo>
                  <a:cubicBezTo>
                    <a:pt x="152" y="442"/>
                    <a:pt x="152" y="442"/>
                    <a:pt x="152" y="442"/>
                  </a:cubicBezTo>
                  <a:cubicBezTo>
                    <a:pt x="152" y="443"/>
                    <a:pt x="152" y="443"/>
                    <a:pt x="152" y="443"/>
                  </a:cubicBezTo>
                  <a:cubicBezTo>
                    <a:pt x="152" y="443"/>
                    <a:pt x="152" y="443"/>
                    <a:pt x="152" y="443"/>
                  </a:cubicBezTo>
                  <a:cubicBezTo>
                    <a:pt x="152" y="448"/>
                    <a:pt x="152" y="448"/>
                    <a:pt x="152" y="448"/>
                  </a:cubicBezTo>
                  <a:cubicBezTo>
                    <a:pt x="153" y="451"/>
                    <a:pt x="153" y="451"/>
                    <a:pt x="153" y="451"/>
                  </a:cubicBezTo>
                  <a:cubicBezTo>
                    <a:pt x="155" y="457"/>
                    <a:pt x="155" y="457"/>
                    <a:pt x="155" y="457"/>
                  </a:cubicBezTo>
                  <a:cubicBezTo>
                    <a:pt x="155" y="457"/>
                    <a:pt x="155" y="457"/>
                    <a:pt x="155" y="458"/>
                  </a:cubicBezTo>
                  <a:cubicBezTo>
                    <a:pt x="155" y="458"/>
                    <a:pt x="155" y="458"/>
                    <a:pt x="155" y="458"/>
                  </a:cubicBezTo>
                  <a:cubicBezTo>
                    <a:pt x="155" y="458"/>
                    <a:pt x="155" y="458"/>
                    <a:pt x="155" y="458"/>
                  </a:cubicBezTo>
                  <a:cubicBezTo>
                    <a:pt x="155" y="459"/>
                    <a:pt x="155" y="459"/>
                    <a:pt x="155" y="459"/>
                  </a:cubicBezTo>
                  <a:cubicBezTo>
                    <a:pt x="156" y="460"/>
                    <a:pt x="156" y="460"/>
                    <a:pt x="156" y="460"/>
                  </a:cubicBezTo>
                  <a:cubicBezTo>
                    <a:pt x="156" y="460"/>
                    <a:pt x="156" y="460"/>
                    <a:pt x="156" y="460"/>
                  </a:cubicBezTo>
                  <a:cubicBezTo>
                    <a:pt x="156" y="462"/>
                    <a:pt x="156" y="462"/>
                    <a:pt x="156" y="462"/>
                  </a:cubicBezTo>
                  <a:cubicBezTo>
                    <a:pt x="156" y="462"/>
                    <a:pt x="156" y="462"/>
                    <a:pt x="156" y="462"/>
                  </a:cubicBezTo>
                  <a:cubicBezTo>
                    <a:pt x="156" y="464"/>
                    <a:pt x="156" y="464"/>
                    <a:pt x="156" y="464"/>
                  </a:cubicBezTo>
                  <a:cubicBezTo>
                    <a:pt x="156" y="464"/>
                    <a:pt x="156" y="464"/>
                    <a:pt x="157" y="464"/>
                  </a:cubicBezTo>
                  <a:cubicBezTo>
                    <a:pt x="157" y="464"/>
                    <a:pt x="157" y="464"/>
                    <a:pt x="157" y="465"/>
                  </a:cubicBezTo>
                  <a:cubicBezTo>
                    <a:pt x="157" y="467"/>
                    <a:pt x="157" y="467"/>
                    <a:pt x="157" y="467"/>
                  </a:cubicBezTo>
                  <a:cubicBezTo>
                    <a:pt x="157" y="467"/>
                    <a:pt x="157" y="468"/>
                    <a:pt x="157" y="468"/>
                  </a:cubicBezTo>
                  <a:cubicBezTo>
                    <a:pt x="156" y="468"/>
                    <a:pt x="156" y="468"/>
                    <a:pt x="156" y="468"/>
                  </a:cubicBezTo>
                  <a:cubicBezTo>
                    <a:pt x="155" y="468"/>
                    <a:pt x="155" y="468"/>
                    <a:pt x="155" y="468"/>
                  </a:cubicBezTo>
                  <a:cubicBezTo>
                    <a:pt x="154" y="468"/>
                    <a:pt x="154" y="469"/>
                    <a:pt x="154" y="469"/>
                  </a:cubicBezTo>
                  <a:cubicBezTo>
                    <a:pt x="154" y="469"/>
                    <a:pt x="154" y="469"/>
                    <a:pt x="154" y="469"/>
                  </a:cubicBezTo>
                  <a:cubicBezTo>
                    <a:pt x="154" y="469"/>
                    <a:pt x="154" y="469"/>
                    <a:pt x="154" y="469"/>
                  </a:cubicBezTo>
                  <a:cubicBezTo>
                    <a:pt x="154" y="470"/>
                    <a:pt x="154" y="470"/>
                    <a:pt x="154" y="470"/>
                  </a:cubicBezTo>
                  <a:cubicBezTo>
                    <a:pt x="154" y="470"/>
                    <a:pt x="153" y="470"/>
                    <a:pt x="153" y="470"/>
                  </a:cubicBezTo>
                  <a:cubicBezTo>
                    <a:pt x="153" y="471"/>
                    <a:pt x="153" y="471"/>
                    <a:pt x="152" y="471"/>
                  </a:cubicBezTo>
                  <a:cubicBezTo>
                    <a:pt x="152" y="471"/>
                    <a:pt x="152" y="471"/>
                    <a:pt x="152" y="471"/>
                  </a:cubicBezTo>
                  <a:cubicBezTo>
                    <a:pt x="152" y="471"/>
                    <a:pt x="152" y="471"/>
                    <a:pt x="152" y="471"/>
                  </a:cubicBezTo>
                  <a:cubicBezTo>
                    <a:pt x="151" y="471"/>
                    <a:pt x="151" y="471"/>
                    <a:pt x="151" y="471"/>
                  </a:cubicBezTo>
                  <a:cubicBezTo>
                    <a:pt x="151" y="471"/>
                    <a:pt x="150" y="470"/>
                    <a:pt x="150" y="470"/>
                  </a:cubicBezTo>
                  <a:cubicBezTo>
                    <a:pt x="150" y="470"/>
                    <a:pt x="150" y="470"/>
                    <a:pt x="150" y="470"/>
                  </a:cubicBezTo>
                  <a:cubicBezTo>
                    <a:pt x="150" y="470"/>
                    <a:pt x="149" y="470"/>
                    <a:pt x="149" y="470"/>
                  </a:cubicBezTo>
                  <a:cubicBezTo>
                    <a:pt x="148" y="468"/>
                    <a:pt x="148" y="468"/>
                    <a:pt x="148" y="468"/>
                  </a:cubicBezTo>
                  <a:cubicBezTo>
                    <a:pt x="147" y="468"/>
                    <a:pt x="147" y="468"/>
                    <a:pt x="147" y="467"/>
                  </a:cubicBezTo>
                  <a:cubicBezTo>
                    <a:pt x="147" y="467"/>
                    <a:pt x="147" y="467"/>
                    <a:pt x="147" y="467"/>
                  </a:cubicBezTo>
                  <a:cubicBezTo>
                    <a:pt x="145" y="467"/>
                    <a:pt x="145" y="467"/>
                    <a:pt x="145" y="467"/>
                  </a:cubicBezTo>
                  <a:cubicBezTo>
                    <a:pt x="144" y="467"/>
                    <a:pt x="144" y="467"/>
                    <a:pt x="144" y="466"/>
                  </a:cubicBezTo>
                  <a:cubicBezTo>
                    <a:pt x="143" y="466"/>
                    <a:pt x="143" y="466"/>
                    <a:pt x="143" y="466"/>
                  </a:cubicBezTo>
                  <a:cubicBezTo>
                    <a:pt x="142" y="467"/>
                    <a:pt x="142" y="467"/>
                    <a:pt x="142" y="467"/>
                  </a:cubicBezTo>
                  <a:cubicBezTo>
                    <a:pt x="142" y="467"/>
                    <a:pt x="142" y="467"/>
                    <a:pt x="142" y="467"/>
                  </a:cubicBezTo>
                  <a:cubicBezTo>
                    <a:pt x="141" y="467"/>
                    <a:pt x="141" y="467"/>
                    <a:pt x="141" y="467"/>
                  </a:cubicBezTo>
                  <a:cubicBezTo>
                    <a:pt x="141" y="467"/>
                    <a:pt x="141" y="467"/>
                    <a:pt x="141" y="467"/>
                  </a:cubicBezTo>
                  <a:cubicBezTo>
                    <a:pt x="141" y="467"/>
                    <a:pt x="141" y="467"/>
                    <a:pt x="141" y="467"/>
                  </a:cubicBezTo>
                  <a:cubicBezTo>
                    <a:pt x="140" y="467"/>
                    <a:pt x="140" y="467"/>
                    <a:pt x="140" y="467"/>
                  </a:cubicBezTo>
                  <a:cubicBezTo>
                    <a:pt x="140" y="467"/>
                    <a:pt x="140" y="467"/>
                    <a:pt x="139" y="467"/>
                  </a:cubicBezTo>
                  <a:cubicBezTo>
                    <a:pt x="139" y="467"/>
                    <a:pt x="139" y="467"/>
                    <a:pt x="139" y="467"/>
                  </a:cubicBezTo>
                  <a:cubicBezTo>
                    <a:pt x="138" y="467"/>
                    <a:pt x="138" y="467"/>
                    <a:pt x="138" y="467"/>
                  </a:cubicBezTo>
                  <a:cubicBezTo>
                    <a:pt x="138" y="467"/>
                    <a:pt x="138" y="467"/>
                    <a:pt x="138" y="467"/>
                  </a:cubicBezTo>
                  <a:cubicBezTo>
                    <a:pt x="138" y="467"/>
                    <a:pt x="138" y="467"/>
                    <a:pt x="138" y="467"/>
                  </a:cubicBezTo>
                  <a:cubicBezTo>
                    <a:pt x="137" y="467"/>
                    <a:pt x="137" y="467"/>
                    <a:pt x="137" y="467"/>
                  </a:cubicBezTo>
                  <a:cubicBezTo>
                    <a:pt x="135" y="466"/>
                    <a:pt x="135" y="466"/>
                    <a:pt x="135" y="466"/>
                  </a:cubicBezTo>
                  <a:cubicBezTo>
                    <a:pt x="135" y="466"/>
                    <a:pt x="134" y="465"/>
                    <a:pt x="134" y="465"/>
                  </a:cubicBezTo>
                  <a:cubicBezTo>
                    <a:pt x="134" y="465"/>
                    <a:pt x="134" y="465"/>
                    <a:pt x="134" y="465"/>
                  </a:cubicBezTo>
                  <a:cubicBezTo>
                    <a:pt x="134" y="465"/>
                    <a:pt x="133" y="464"/>
                    <a:pt x="133" y="464"/>
                  </a:cubicBezTo>
                  <a:cubicBezTo>
                    <a:pt x="133" y="464"/>
                    <a:pt x="133" y="464"/>
                    <a:pt x="133" y="464"/>
                  </a:cubicBezTo>
                  <a:cubicBezTo>
                    <a:pt x="133" y="464"/>
                    <a:pt x="133" y="464"/>
                    <a:pt x="133" y="464"/>
                  </a:cubicBezTo>
                  <a:cubicBezTo>
                    <a:pt x="132" y="464"/>
                    <a:pt x="132" y="464"/>
                    <a:pt x="132" y="463"/>
                  </a:cubicBezTo>
                  <a:cubicBezTo>
                    <a:pt x="132" y="463"/>
                    <a:pt x="132" y="463"/>
                    <a:pt x="132" y="463"/>
                  </a:cubicBezTo>
                  <a:cubicBezTo>
                    <a:pt x="131" y="463"/>
                    <a:pt x="131" y="463"/>
                    <a:pt x="131" y="463"/>
                  </a:cubicBezTo>
                  <a:cubicBezTo>
                    <a:pt x="131" y="463"/>
                    <a:pt x="131" y="463"/>
                    <a:pt x="131" y="463"/>
                  </a:cubicBezTo>
                  <a:cubicBezTo>
                    <a:pt x="130" y="463"/>
                    <a:pt x="130" y="463"/>
                    <a:pt x="130" y="463"/>
                  </a:cubicBezTo>
                  <a:cubicBezTo>
                    <a:pt x="130" y="463"/>
                    <a:pt x="130" y="463"/>
                    <a:pt x="130" y="463"/>
                  </a:cubicBezTo>
                  <a:cubicBezTo>
                    <a:pt x="129" y="463"/>
                    <a:pt x="129" y="463"/>
                    <a:pt x="129" y="463"/>
                  </a:cubicBezTo>
                  <a:cubicBezTo>
                    <a:pt x="129" y="463"/>
                    <a:pt x="129" y="463"/>
                    <a:pt x="129" y="463"/>
                  </a:cubicBezTo>
                  <a:cubicBezTo>
                    <a:pt x="129" y="463"/>
                    <a:pt x="128" y="463"/>
                    <a:pt x="128" y="463"/>
                  </a:cubicBezTo>
                  <a:cubicBezTo>
                    <a:pt x="128" y="463"/>
                    <a:pt x="128" y="463"/>
                    <a:pt x="128" y="462"/>
                  </a:cubicBezTo>
                  <a:cubicBezTo>
                    <a:pt x="128" y="462"/>
                    <a:pt x="128" y="462"/>
                    <a:pt x="128" y="462"/>
                  </a:cubicBezTo>
                  <a:cubicBezTo>
                    <a:pt x="127" y="462"/>
                    <a:pt x="127" y="461"/>
                    <a:pt x="127" y="461"/>
                  </a:cubicBezTo>
                  <a:cubicBezTo>
                    <a:pt x="127" y="461"/>
                    <a:pt x="127" y="461"/>
                    <a:pt x="127" y="461"/>
                  </a:cubicBezTo>
                  <a:cubicBezTo>
                    <a:pt x="127" y="461"/>
                    <a:pt x="127" y="461"/>
                    <a:pt x="126" y="461"/>
                  </a:cubicBezTo>
                  <a:cubicBezTo>
                    <a:pt x="126" y="461"/>
                    <a:pt x="126" y="461"/>
                    <a:pt x="126" y="461"/>
                  </a:cubicBezTo>
                  <a:cubicBezTo>
                    <a:pt x="125" y="461"/>
                    <a:pt x="125" y="461"/>
                    <a:pt x="125" y="461"/>
                  </a:cubicBezTo>
                  <a:cubicBezTo>
                    <a:pt x="125" y="461"/>
                    <a:pt x="125" y="461"/>
                    <a:pt x="125" y="461"/>
                  </a:cubicBezTo>
                  <a:cubicBezTo>
                    <a:pt x="125" y="460"/>
                    <a:pt x="125" y="460"/>
                    <a:pt x="125" y="460"/>
                  </a:cubicBezTo>
                  <a:cubicBezTo>
                    <a:pt x="125" y="461"/>
                    <a:pt x="125" y="461"/>
                    <a:pt x="125" y="461"/>
                  </a:cubicBezTo>
                  <a:cubicBezTo>
                    <a:pt x="124" y="461"/>
                    <a:pt x="124" y="461"/>
                    <a:pt x="124" y="460"/>
                  </a:cubicBezTo>
                  <a:cubicBezTo>
                    <a:pt x="124" y="460"/>
                    <a:pt x="123" y="460"/>
                    <a:pt x="123" y="460"/>
                  </a:cubicBezTo>
                  <a:cubicBezTo>
                    <a:pt x="123" y="460"/>
                    <a:pt x="123" y="460"/>
                    <a:pt x="122" y="460"/>
                  </a:cubicBezTo>
                  <a:cubicBezTo>
                    <a:pt x="122" y="460"/>
                    <a:pt x="122" y="460"/>
                    <a:pt x="122" y="460"/>
                  </a:cubicBezTo>
                  <a:cubicBezTo>
                    <a:pt x="121" y="460"/>
                    <a:pt x="121" y="460"/>
                    <a:pt x="121" y="459"/>
                  </a:cubicBezTo>
                  <a:cubicBezTo>
                    <a:pt x="121" y="459"/>
                    <a:pt x="121" y="459"/>
                    <a:pt x="121" y="459"/>
                  </a:cubicBezTo>
                  <a:cubicBezTo>
                    <a:pt x="121" y="459"/>
                    <a:pt x="121" y="459"/>
                    <a:pt x="120" y="459"/>
                  </a:cubicBezTo>
                  <a:cubicBezTo>
                    <a:pt x="120" y="459"/>
                    <a:pt x="120" y="458"/>
                    <a:pt x="121" y="458"/>
                  </a:cubicBezTo>
                  <a:cubicBezTo>
                    <a:pt x="121" y="458"/>
                    <a:pt x="121" y="458"/>
                    <a:pt x="121" y="458"/>
                  </a:cubicBezTo>
                  <a:cubicBezTo>
                    <a:pt x="120" y="458"/>
                    <a:pt x="120" y="458"/>
                    <a:pt x="120" y="457"/>
                  </a:cubicBezTo>
                  <a:cubicBezTo>
                    <a:pt x="120" y="457"/>
                    <a:pt x="120" y="457"/>
                    <a:pt x="120" y="457"/>
                  </a:cubicBezTo>
                  <a:cubicBezTo>
                    <a:pt x="120" y="457"/>
                    <a:pt x="120" y="457"/>
                    <a:pt x="120" y="457"/>
                  </a:cubicBezTo>
                  <a:cubicBezTo>
                    <a:pt x="119" y="456"/>
                    <a:pt x="119" y="456"/>
                    <a:pt x="119" y="456"/>
                  </a:cubicBezTo>
                  <a:cubicBezTo>
                    <a:pt x="119" y="456"/>
                    <a:pt x="119" y="456"/>
                    <a:pt x="119" y="456"/>
                  </a:cubicBezTo>
                  <a:cubicBezTo>
                    <a:pt x="119" y="455"/>
                    <a:pt x="119" y="455"/>
                    <a:pt x="119" y="455"/>
                  </a:cubicBezTo>
                  <a:cubicBezTo>
                    <a:pt x="118" y="453"/>
                    <a:pt x="118" y="453"/>
                    <a:pt x="118" y="453"/>
                  </a:cubicBezTo>
                  <a:cubicBezTo>
                    <a:pt x="118" y="452"/>
                    <a:pt x="118" y="452"/>
                    <a:pt x="118" y="452"/>
                  </a:cubicBezTo>
                  <a:cubicBezTo>
                    <a:pt x="118" y="452"/>
                    <a:pt x="118" y="452"/>
                    <a:pt x="118" y="451"/>
                  </a:cubicBezTo>
                  <a:cubicBezTo>
                    <a:pt x="118" y="451"/>
                    <a:pt x="118" y="451"/>
                    <a:pt x="118" y="451"/>
                  </a:cubicBezTo>
                  <a:cubicBezTo>
                    <a:pt x="118" y="451"/>
                    <a:pt x="118" y="451"/>
                    <a:pt x="118" y="451"/>
                  </a:cubicBezTo>
                  <a:cubicBezTo>
                    <a:pt x="117" y="451"/>
                    <a:pt x="117" y="450"/>
                    <a:pt x="117" y="450"/>
                  </a:cubicBezTo>
                  <a:cubicBezTo>
                    <a:pt x="117" y="450"/>
                    <a:pt x="117" y="450"/>
                    <a:pt x="117" y="450"/>
                  </a:cubicBezTo>
                  <a:cubicBezTo>
                    <a:pt x="117" y="450"/>
                    <a:pt x="116" y="450"/>
                    <a:pt x="116" y="449"/>
                  </a:cubicBezTo>
                  <a:cubicBezTo>
                    <a:pt x="116" y="449"/>
                    <a:pt x="116" y="449"/>
                    <a:pt x="116" y="449"/>
                  </a:cubicBezTo>
                  <a:cubicBezTo>
                    <a:pt x="115" y="448"/>
                    <a:pt x="115" y="448"/>
                    <a:pt x="115" y="448"/>
                  </a:cubicBezTo>
                  <a:cubicBezTo>
                    <a:pt x="115" y="448"/>
                    <a:pt x="115" y="448"/>
                    <a:pt x="115" y="448"/>
                  </a:cubicBezTo>
                  <a:cubicBezTo>
                    <a:pt x="115" y="448"/>
                    <a:pt x="115" y="448"/>
                    <a:pt x="115" y="447"/>
                  </a:cubicBezTo>
                  <a:cubicBezTo>
                    <a:pt x="114" y="447"/>
                    <a:pt x="114" y="447"/>
                    <a:pt x="114" y="447"/>
                  </a:cubicBezTo>
                  <a:cubicBezTo>
                    <a:pt x="114" y="447"/>
                    <a:pt x="114" y="446"/>
                    <a:pt x="114" y="446"/>
                  </a:cubicBezTo>
                  <a:cubicBezTo>
                    <a:pt x="114" y="445"/>
                    <a:pt x="114" y="445"/>
                    <a:pt x="114" y="445"/>
                  </a:cubicBezTo>
                  <a:cubicBezTo>
                    <a:pt x="114" y="444"/>
                    <a:pt x="114" y="444"/>
                    <a:pt x="114" y="444"/>
                  </a:cubicBezTo>
                  <a:cubicBezTo>
                    <a:pt x="115" y="443"/>
                    <a:pt x="115" y="443"/>
                    <a:pt x="115" y="443"/>
                  </a:cubicBezTo>
                  <a:cubicBezTo>
                    <a:pt x="115" y="443"/>
                    <a:pt x="115" y="443"/>
                    <a:pt x="115" y="443"/>
                  </a:cubicBezTo>
                  <a:cubicBezTo>
                    <a:pt x="114" y="443"/>
                    <a:pt x="114" y="443"/>
                    <a:pt x="114" y="443"/>
                  </a:cubicBezTo>
                  <a:cubicBezTo>
                    <a:pt x="114" y="442"/>
                    <a:pt x="114" y="442"/>
                    <a:pt x="114" y="442"/>
                  </a:cubicBezTo>
                  <a:cubicBezTo>
                    <a:pt x="113" y="441"/>
                    <a:pt x="113" y="441"/>
                    <a:pt x="113" y="441"/>
                  </a:cubicBezTo>
                  <a:cubicBezTo>
                    <a:pt x="113" y="441"/>
                    <a:pt x="113" y="441"/>
                    <a:pt x="113" y="441"/>
                  </a:cubicBezTo>
                  <a:cubicBezTo>
                    <a:pt x="113" y="441"/>
                    <a:pt x="113" y="440"/>
                    <a:pt x="113" y="440"/>
                  </a:cubicBezTo>
                  <a:cubicBezTo>
                    <a:pt x="113" y="440"/>
                    <a:pt x="113" y="440"/>
                    <a:pt x="113" y="440"/>
                  </a:cubicBezTo>
                  <a:cubicBezTo>
                    <a:pt x="113" y="439"/>
                    <a:pt x="114" y="439"/>
                    <a:pt x="114" y="439"/>
                  </a:cubicBezTo>
                  <a:cubicBezTo>
                    <a:pt x="114" y="439"/>
                    <a:pt x="114" y="439"/>
                    <a:pt x="114" y="439"/>
                  </a:cubicBezTo>
                  <a:cubicBezTo>
                    <a:pt x="114" y="438"/>
                    <a:pt x="114" y="438"/>
                    <a:pt x="114" y="438"/>
                  </a:cubicBezTo>
                  <a:cubicBezTo>
                    <a:pt x="114" y="438"/>
                    <a:pt x="113" y="438"/>
                    <a:pt x="113" y="437"/>
                  </a:cubicBezTo>
                  <a:cubicBezTo>
                    <a:pt x="113" y="436"/>
                    <a:pt x="113" y="436"/>
                    <a:pt x="113" y="436"/>
                  </a:cubicBezTo>
                  <a:cubicBezTo>
                    <a:pt x="113" y="436"/>
                    <a:pt x="113" y="436"/>
                    <a:pt x="113" y="436"/>
                  </a:cubicBezTo>
                  <a:cubicBezTo>
                    <a:pt x="113" y="436"/>
                    <a:pt x="112" y="436"/>
                    <a:pt x="112" y="436"/>
                  </a:cubicBezTo>
                  <a:cubicBezTo>
                    <a:pt x="112" y="436"/>
                    <a:pt x="112" y="436"/>
                    <a:pt x="112" y="436"/>
                  </a:cubicBezTo>
                  <a:cubicBezTo>
                    <a:pt x="112" y="436"/>
                    <a:pt x="111" y="436"/>
                    <a:pt x="111" y="435"/>
                  </a:cubicBezTo>
                  <a:cubicBezTo>
                    <a:pt x="111" y="435"/>
                    <a:pt x="111" y="435"/>
                    <a:pt x="111" y="435"/>
                  </a:cubicBezTo>
                  <a:cubicBezTo>
                    <a:pt x="110" y="435"/>
                    <a:pt x="110" y="435"/>
                    <a:pt x="110" y="434"/>
                  </a:cubicBezTo>
                  <a:cubicBezTo>
                    <a:pt x="110" y="434"/>
                    <a:pt x="110" y="434"/>
                    <a:pt x="110" y="434"/>
                  </a:cubicBezTo>
                  <a:cubicBezTo>
                    <a:pt x="110" y="434"/>
                    <a:pt x="110" y="434"/>
                    <a:pt x="110" y="434"/>
                  </a:cubicBezTo>
                  <a:cubicBezTo>
                    <a:pt x="110" y="434"/>
                    <a:pt x="109" y="434"/>
                    <a:pt x="109" y="434"/>
                  </a:cubicBezTo>
                  <a:cubicBezTo>
                    <a:pt x="109" y="433"/>
                    <a:pt x="109" y="433"/>
                    <a:pt x="109" y="433"/>
                  </a:cubicBezTo>
                  <a:cubicBezTo>
                    <a:pt x="109" y="433"/>
                    <a:pt x="108" y="433"/>
                    <a:pt x="108" y="433"/>
                  </a:cubicBezTo>
                  <a:cubicBezTo>
                    <a:pt x="108" y="433"/>
                    <a:pt x="108" y="433"/>
                    <a:pt x="108" y="433"/>
                  </a:cubicBezTo>
                  <a:cubicBezTo>
                    <a:pt x="108" y="433"/>
                    <a:pt x="107" y="432"/>
                    <a:pt x="107" y="432"/>
                  </a:cubicBezTo>
                  <a:cubicBezTo>
                    <a:pt x="107" y="431"/>
                    <a:pt x="107" y="431"/>
                    <a:pt x="107" y="431"/>
                  </a:cubicBezTo>
                  <a:cubicBezTo>
                    <a:pt x="107" y="431"/>
                    <a:pt x="107" y="431"/>
                    <a:pt x="107" y="431"/>
                  </a:cubicBezTo>
                  <a:cubicBezTo>
                    <a:pt x="107" y="431"/>
                    <a:pt x="107" y="430"/>
                    <a:pt x="107" y="430"/>
                  </a:cubicBezTo>
                  <a:cubicBezTo>
                    <a:pt x="107" y="430"/>
                    <a:pt x="107" y="430"/>
                    <a:pt x="107" y="430"/>
                  </a:cubicBezTo>
                  <a:cubicBezTo>
                    <a:pt x="107" y="430"/>
                    <a:pt x="107" y="430"/>
                    <a:pt x="107" y="429"/>
                  </a:cubicBezTo>
                  <a:cubicBezTo>
                    <a:pt x="106" y="429"/>
                    <a:pt x="106" y="429"/>
                    <a:pt x="106" y="429"/>
                  </a:cubicBezTo>
                  <a:cubicBezTo>
                    <a:pt x="106" y="429"/>
                    <a:pt x="106" y="429"/>
                    <a:pt x="106" y="429"/>
                  </a:cubicBezTo>
                  <a:cubicBezTo>
                    <a:pt x="106" y="429"/>
                    <a:pt x="106" y="429"/>
                    <a:pt x="106" y="428"/>
                  </a:cubicBezTo>
                  <a:cubicBezTo>
                    <a:pt x="105" y="428"/>
                    <a:pt x="105" y="428"/>
                    <a:pt x="105" y="428"/>
                  </a:cubicBezTo>
                  <a:cubicBezTo>
                    <a:pt x="105" y="428"/>
                    <a:pt x="105" y="427"/>
                    <a:pt x="105" y="427"/>
                  </a:cubicBezTo>
                  <a:cubicBezTo>
                    <a:pt x="105" y="427"/>
                    <a:pt x="105" y="427"/>
                    <a:pt x="105" y="427"/>
                  </a:cubicBezTo>
                  <a:cubicBezTo>
                    <a:pt x="104" y="426"/>
                    <a:pt x="104" y="426"/>
                    <a:pt x="104" y="426"/>
                  </a:cubicBezTo>
                  <a:cubicBezTo>
                    <a:pt x="104" y="425"/>
                    <a:pt x="104" y="425"/>
                    <a:pt x="104" y="425"/>
                  </a:cubicBezTo>
                  <a:cubicBezTo>
                    <a:pt x="102" y="424"/>
                    <a:pt x="102" y="424"/>
                    <a:pt x="102" y="424"/>
                  </a:cubicBezTo>
                  <a:cubicBezTo>
                    <a:pt x="102" y="424"/>
                    <a:pt x="102" y="424"/>
                    <a:pt x="102" y="424"/>
                  </a:cubicBezTo>
                  <a:cubicBezTo>
                    <a:pt x="101" y="424"/>
                    <a:pt x="101" y="424"/>
                    <a:pt x="101" y="423"/>
                  </a:cubicBezTo>
                  <a:cubicBezTo>
                    <a:pt x="101" y="423"/>
                    <a:pt x="101" y="423"/>
                    <a:pt x="101" y="423"/>
                  </a:cubicBezTo>
                  <a:cubicBezTo>
                    <a:pt x="101" y="423"/>
                    <a:pt x="101" y="423"/>
                    <a:pt x="101" y="423"/>
                  </a:cubicBezTo>
                  <a:cubicBezTo>
                    <a:pt x="100" y="423"/>
                    <a:pt x="100" y="423"/>
                    <a:pt x="100" y="423"/>
                  </a:cubicBezTo>
                  <a:cubicBezTo>
                    <a:pt x="100" y="423"/>
                    <a:pt x="100" y="422"/>
                    <a:pt x="100" y="422"/>
                  </a:cubicBezTo>
                  <a:cubicBezTo>
                    <a:pt x="100" y="421"/>
                    <a:pt x="100" y="421"/>
                    <a:pt x="100" y="421"/>
                  </a:cubicBezTo>
                  <a:cubicBezTo>
                    <a:pt x="99" y="420"/>
                    <a:pt x="99" y="420"/>
                    <a:pt x="99" y="420"/>
                  </a:cubicBezTo>
                  <a:cubicBezTo>
                    <a:pt x="99" y="420"/>
                    <a:pt x="99" y="420"/>
                    <a:pt x="99" y="420"/>
                  </a:cubicBezTo>
                  <a:cubicBezTo>
                    <a:pt x="99" y="419"/>
                    <a:pt x="99" y="419"/>
                    <a:pt x="99" y="419"/>
                  </a:cubicBezTo>
                  <a:cubicBezTo>
                    <a:pt x="99" y="419"/>
                    <a:pt x="99" y="419"/>
                    <a:pt x="99" y="419"/>
                  </a:cubicBezTo>
                  <a:cubicBezTo>
                    <a:pt x="99" y="418"/>
                    <a:pt x="99" y="418"/>
                    <a:pt x="99" y="418"/>
                  </a:cubicBezTo>
                  <a:cubicBezTo>
                    <a:pt x="99" y="418"/>
                    <a:pt x="99" y="418"/>
                    <a:pt x="99" y="418"/>
                  </a:cubicBezTo>
                  <a:cubicBezTo>
                    <a:pt x="99" y="417"/>
                    <a:pt x="99" y="417"/>
                    <a:pt x="99" y="417"/>
                  </a:cubicBezTo>
                  <a:cubicBezTo>
                    <a:pt x="98" y="417"/>
                    <a:pt x="98" y="417"/>
                    <a:pt x="98" y="417"/>
                  </a:cubicBezTo>
                  <a:cubicBezTo>
                    <a:pt x="98" y="416"/>
                    <a:pt x="98" y="416"/>
                    <a:pt x="98" y="416"/>
                  </a:cubicBezTo>
                  <a:cubicBezTo>
                    <a:pt x="98" y="416"/>
                    <a:pt x="98" y="416"/>
                    <a:pt x="98" y="416"/>
                  </a:cubicBezTo>
                  <a:cubicBezTo>
                    <a:pt x="97" y="416"/>
                    <a:pt x="97" y="415"/>
                    <a:pt x="97" y="415"/>
                  </a:cubicBezTo>
                  <a:cubicBezTo>
                    <a:pt x="97" y="415"/>
                    <a:pt x="97" y="415"/>
                    <a:pt x="97" y="415"/>
                  </a:cubicBezTo>
                  <a:cubicBezTo>
                    <a:pt x="97" y="415"/>
                    <a:pt x="97" y="415"/>
                    <a:pt x="97" y="415"/>
                  </a:cubicBezTo>
                  <a:cubicBezTo>
                    <a:pt x="96" y="414"/>
                    <a:pt x="96" y="414"/>
                    <a:pt x="96" y="414"/>
                  </a:cubicBezTo>
                  <a:cubicBezTo>
                    <a:pt x="96" y="414"/>
                    <a:pt x="96" y="413"/>
                    <a:pt x="96" y="413"/>
                  </a:cubicBezTo>
                  <a:cubicBezTo>
                    <a:pt x="96" y="412"/>
                    <a:pt x="96" y="412"/>
                    <a:pt x="96" y="412"/>
                  </a:cubicBezTo>
                  <a:cubicBezTo>
                    <a:pt x="96" y="411"/>
                    <a:pt x="96" y="411"/>
                    <a:pt x="96" y="411"/>
                  </a:cubicBezTo>
                  <a:cubicBezTo>
                    <a:pt x="96" y="411"/>
                    <a:pt x="95" y="411"/>
                    <a:pt x="95" y="411"/>
                  </a:cubicBezTo>
                  <a:cubicBezTo>
                    <a:pt x="95" y="411"/>
                    <a:pt x="95" y="411"/>
                    <a:pt x="95" y="411"/>
                  </a:cubicBezTo>
                  <a:cubicBezTo>
                    <a:pt x="95" y="410"/>
                    <a:pt x="95" y="410"/>
                    <a:pt x="95" y="410"/>
                  </a:cubicBezTo>
                  <a:cubicBezTo>
                    <a:pt x="95" y="410"/>
                    <a:pt x="95" y="410"/>
                    <a:pt x="94" y="410"/>
                  </a:cubicBezTo>
                  <a:cubicBezTo>
                    <a:pt x="94" y="410"/>
                    <a:pt x="94" y="410"/>
                    <a:pt x="94" y="410"/>
                  </a:cubicBezTo>
                  <a:cubicBezTo>
                    <a:pt x="94" y="409"/>
                    <a:pt x="94" y="409"/>
                    <a:pt x="94" y="409"/>
                  </a:cubicBezTo>
                  <a:cubicBezTo>
                    <a:pt x="94" y="408"/>
                    <a:pt x="94" y="408"/>
                    <a:pt x="94" y="408"/>
                  </a:cubicBezTo>
                  <a:cubicBezTo>
                    <a:pt x="94" y="407"/>
                    <a:pt x="94" y="407"/>
                    <a:pt x="94" y="407"/>
                  </a:cubicBezTo>
                  <a:cubicBezTo>
                    <a:pt x="94" y="407"/>
                    <a:pt x="94" y="407"/>
                    <a:pt x="94" y="406"/>
                  </a:cubicBezTo>
                  <a:cubicBezTo>
                    <a:pt x="94" y="406"/>
                    <a:pt x="94" y="406"/>
                    <a:pt x="94" y="406"/>
                  </a:cubicBezTo>
                  <a:cubicBezTo>
                    <a:pt x="93" y="406"/>
                    <a:pt x="93" y="406"/>
                    <a:pt x="93" y="405"/>
                  </a:cubicBezTo>
                  <a:cubicBezTo>
                    <a:pt x="92" y="405"/>
                    <a:pt x="92" y="405"/>
                    <a:pt x="92" y="405"/>
                  </a:cubicBezTo>
                  <a:cubicBezTo>
                    <a:pt x="92" y="404"/>
                    <a:pt x="92" y="404"/>
                    <a:pt x="92" y="404"/>
                  </a:cubicBezTo>
                  <a:cubicBezTo>
                    <a:pt x="92" y="403"/>
                    <a:pt x="92" y="403"/>
                    <a:pt x="92" y="403"/>
                  </a:cubicBezTo>
                  <a:cubicBezTo>
                    <a:pt x="92" y="403"/>
                    <a:pt x="92" y="403"/>
                    <a:pt x="92" y="403"/>
                  </a:cubicBezTo>
                  <a:cubicBezTo>
                    <a:pt x="91" y="403"/>
                    <a:pt x="91" y="403"/>
                    <a:pt x="91" y="403"/>
                  </a:cubicBezTo>
                  <a:cubicBezTo>
                    <a:pt x="90" y="403"/>
                    <a:pt x="90" y="402"/>
                    <a:pt x="90" y="402"/>
                  </a:cubicBezTo>
                  <a:cubicBezTo>
                    <a:pt x="90" y="402"/>
                    <a:pt x="90" y="402"/>
                    <a:pt x="90" y="402"/>
                  </a:cubicBezTo>
                  <a:cubicBezTo>
                    <a:pt x="90" y="401"/>
                    <a:pt x="90" y="401"/>
                    <a:pt x="90" y="401"/>
                  </a:cubicBezTo>
                  <a:cubicBezTo>
                    <a:pt x="88" y="401"/>
                    <a:pt x="88" y="401"/>
                    <a:pt x="88" y="401"/>
                  </a:cubicBezTo>
                  <a:cubicBezTo>
                    <a:pt x="88" y="401"/>
                    <a:pt x="88" y="400"/>
                    <a:pt x="88" y="400"/>
                  </a:cubicBezTo>
                  <a:cubicBezTo>
                    <a:pt x="87" y="400"/>
                    <a:pt x="87" y="400"/>
                    <a:pt x="87" y="400"/>
                  </a:cubicBezTo>
                  <a:cubicBezTo>
                    <a:pt x="87" y="400"/>
                    <a:pt x="87" y="399"/>
                    <a:pt x="87" y="399"/>
                  </a:cubicBezTo>
                  <a:cubicBezTo>
                    <a:pt x="87" y="399"/>
                    <a:pt x="87" y="399"/>
                    <a:pt x="87" y="399"/>
                  </a:cubicBezTo>
                  <a:cubicBezTo>
                    <a:pt x="86" y="398"/>
                    <a:pt x="86" y="398"/>
                    <a:pt x="86" y="398"/>
                  </a:cubicBezTo>
                  <a:cubicBezTo>
                    <a:pt x="85" y="398"/>
                    <a:pt x="85" y="398"/>
                    <a:pt x="85" y="398"/>
                  </a:cubicBezTo>
                  <a:cubicBezTo>
                    <a:pt x="85" y="398"/>
                    <a:pt x="85" y="398"/>
                    <a:pt x="85" y="398"/>
                  </a:cubicBezTo>
                  <a:cubicBezTo>
                    <a:pt x="85" y="398"/>
                    <a:pt x="85" y="398"/>
                    <a:pt x="85" y="398"/>
                  </a:cubicBezTo>
                  <a:cubicBezTo>
                    <a:pt x="85" y="397"/>
                    <a:pt x="85" y="397"/>
                    <a:pt x="85" y="397"/>
                  </a:cubicBezTo>
                  <a:cubicBezTo>
                    <a:pt x="84" y="397"/>
                    <a:pt x="84" y="397"/>
                    <a:pt x="84" y="396"/>
                  </a:cubicBezTo>
                  <a:cubicBezTo>
                    <a:pt x="84" y="396"/>
                    <a:pt x="84" y="396"/>
                    <a:pt x="84" y="396"/>
                  </a:cubicBezTo>
                  <a:cubicBezTo>
                    <a:pt x="83" y="396"/>
                    <a:pt x="83" y="396"/>
                    <a:pt x="83" y="396"/>
                  </a:cubicBezTo>
                  <a:cubicBezTo>
                    <a:pt x="83" y="396"/>
                    <a:pt x="83" y="396"/>
                    <a:pt x="83" y="396"/>
                  </a:cubicBezTo>
                  <a:cubicBezTo>
                    <a:pt x="83" y="396"/>
                    <a:pt x="82" y="396"/>
                    <a:pt x="82" y="395"/>
                  </a:cubicBezTo>
                  <a:cubicBezTo>
                    <a:pt x="82" y="395"/>
                    <a:pt x="82" y="395"/>
                    <a:pt x="82" y="395"/>
                  </a:cubicBezTo>
                  <a:cubicBezTo>
                    <a:pt x="82" y="395"/>
                    <a:pt x="82" y="395"/>
                    <a:pt x="82" y="394"/>
                  </a:cubicBezTo>
                  <a:cubicBezTo>
                    <a:pt x="82" y="394"/>
                    <a:pt x="82" y="394"/>
                    <a:pt x="82" y="394"/>
                  </a:cubicBezTo>
                  <a:cubicBezTo>
                    <a:pt x="82" y="394"/>
                    <a:pt x="81" y="394"/>
                    <a:pt x="81" y="393"/>
                  </a:cubicBezTo>
                  <a:cubicBezTo>
                    <a:pt x="81" y="393"/>
                    <a:pt x="81" y="393"/>
                    <a:pt x="81" y="393"/>
                  </a:cubicBezTo>
                  <a:cubicBezTo>
                    <a:pt x="81" y="393"/>
                    <a:pt x="81" y="393"/>
                    <a:pt x="81" y="393"/>
                  </a:cubicBezTo>
                  <a:cubicBezTo>
                    <a:pt x="81" y="393"/>
                    <a:pt x="81" y="393"/>
                    <a:pt x="81" y="393"/>
                  </a:cubicBezTo>
                  <a:cubicBezTo>
                    <a:pt x="81" y="393"/>
                    <a:pt x="81" y="393"/>
                    <a:pt x="80" y="393"/>
                  </a:cubicBezTo>
                  <a:cubicBezTo>
                    <a:pt x="80" y="393"/>
                    <a:pt x="80" y="393"/>
                    <a:pt x="80" y="393"/>
                  </a:cubicBezTo>
                  <a:cubicBezTo>
                    <a:pt x="80" y="393"/>
                    <a:pt x="79" y="393"/>
                    <a:pt x="79" y="393"/>
                  </a:cubicBezTo>
                  <a:cubicBezTo>
                    <a:pt x="79" y="393"/>
                    <a:pt x="79" y="393"/>
                    <a:pt x="79" y="393"/>
                  </a:cubicBezTo>
                  <a:cubicBezTo>
                    <a:pt x="78" y="393"/>
                    <a:pt x="78" y="393"/>
                    <a:pt x="78" y="393"/>
                  </a:cubicBezTo>
                  <a:cubicBezTo>
                    <a:pt x="78" y="393"/>
                    <a:pt x="78" y="393"/>
                    <a:pt x="78" y="393"/>
                  </a:cubicBezTo>
                  <a:cubicBezTo>
                    <a:pt x="75" y="392"/>
                    <a:pt x="75" y="392"/>
                    <a:pt x="75" y="392"/>
                  </a:cubicBezTo>
                  <a:cubicBezTo>
                    <a:pt x="75" y="392"/>
                    <a:pt x="75" y="392"/>
                    <a:pt x="75" y="392"/>
                  </a:cubicBezTo>
                  <a:cubicBezTo>
                    <a:pt x="73" y="392"/>
                    <a:pt x="73" y="392"/>
                    <a:pt x="73" y="392"/>
                  </a:cubicBezTo>
                  <a:cubicBezTo>
                    <a:pt x="73" y="392"/>
                    <a:pt x="73" y="392"/>
                    <a:pt x="72" y="392"/>
                  </a:cubicBezTo>
                  <a:cubicBezTo>
                    <a:pt x="72" y="392"/>
                    <a:pt x="72" y="392"/>
                    <a:pt x="72" y="392"/>
                  </a:cubicBezTo>
                  <a:cubicBezTo>
                    <a:pt x="70" y="392"/>
                    <a:pt x="70" y="392"/>
                    <a:pt x="70" y="392"/>
                  </a:cubicBezTo>
                  <a:cubicBezTo>
                    <a:pt x="70" y="392"/>
                    <a:pt x="70" y="392"/>
                    <a:pt x="70" y="392"/>
                  </a:cubicBezTo>
                  <a:cubicBezTo>
                    <a:pt x="69" y="392"/>
                    <a:pt x="69" y="392"/>
                    <a:pt x="69" y="392"/>
                  </a:cubicBezTo>
                  <a:cubicBezTo>
                    <a:pt x="69" y="392"/>
                    <a:pt x="69" y="392"/>
                    <a:pt x="69" y="392"/>
                  </a:cubicBezTo>
                  <a:cubicBezTo>
                    <a:pt x="68" y="391"/>
                    <a:pt x="68" y="391"/>
                    <a:pt x="68" y="391"/>
                  </a:cubicBezTo>
                  <a:cubicBezTo>
                    <a:pt x="67" y="391"/>
                    <a:pt x="67" y="391"/>
                    <a:pt x="67" y="391"/>
                  </a:cubicBezTo>
                  <a:cubicBezTo>
                    <a:pt x="67" y="391"/>
                    <a:pt x="67" y="391"/>
                    <a:pt x="67" y="391"/>
                  </a:cubicBezTo>
                  <a:cubicBezTo>
                    <a:pt x="67" y="391"/>
                    <a:pt x="67" y="391"/>
                    <a:pt x="66" y="392"/>
                  </a:cubicBezTo>
                  <a:cubicBezTo>
                    <a:pt x="66" y="392"/>
                    <a:pt x="66" y="392"/>
                    <a:pt x="66" y="392"/>
                  </a:cubicBezTo>
                  <a:cubicBezTo>
                    <a:pt x="66" y="392"/>
                    <a:pt x="65" y="392"/>
                    <a:pt x="65" y="392"/>
                  </a:cubicBezTo>
                  <a:cubicBezTo>
                    <a:pt x="64" y="392"/>
                    <a:pt x="64" y="392"/>
                    <a:pt x="64" y="392"/>
                  </a:cubicBezTo>
                  <a:cubicBezTo>
                    <a:pt x="64" y="393"/>
                    <a:pt x="64" y="393"/>
                    <a:pt x="63" y="393"/>
                  </a:cubicBezTo>
                  <a:cubicBezTo>
                    <a:pt x="63" y="393"/>
                    <a:pt x="63" y="393"/>
                    <a:pt x="63" y="393"/>
                  </a:cubicBezTo>
                  <a:cubicBezTo>
                    <a:pt x="62" y="393"/>
                    <a:pt x="62" y="393"/>
                    <a:pt x="62" y="393"/>
                  </a:cubicBezTo>
                  <a:cubicBezTo>
                    <a:pt x="62" y="393"/>
                    <a:pt x="62" y="393"/>
                    <a:pt x="62" y="393"/>
                  </a:cubicBezTo>
                  <a:cubicBezTo>
                    <a:pt x="62" y="393"/>
                    <a:pt x="61" y="393"/>
                    <a:pt x="61" y="393"/>
                  </a:cubicBezTo>
                  <a:cubicBezTo>
                    <a:pt x="60" y="395"/>
                    <a:pt x="60" y="395"/>
                    <a:pt x="60" y="395"/>
                  </a:cubicBezTo>
                  <a:cubicBezTo>
                    <a:pt x="60" y="395"/>
                    <a:pt x="60" y="395"/>
                    <a:pt x="60" y="396"/>
                  </a:cubicBezTo>
                  <a:cubicBezTo>
                    <a:pt x="60" y="396"/>
                    <a:pt x="60" y="396"/>
                    <a:pt x="60" y="396"/>
                  </a:cubicBezTo>
                  <a:cubicBezTo>
                    <a:pt x="60" y="396"/>
                    <a:pt x="60" y="397"/>
                    <a:pt x="59" y="397"/>
                  </a:cubicBezTo>
                  <a:cubicBezTo>
                    <a:pt x="59" y="398"/>
                    <a:pt x="59" y="398"/>
                    <a:pt x="59" y="398"/>
                  </a:cubicBezTo>
                  <a:cubicBezTo>
                    <a:pt x="59" y="399"/>
                    <a:pt x="59" y="399"/>
                    <a:pt x="59" y="399"/>
                  </a:cubicBezTo>
                  <a:cubicBezTo>
                    <a:pt x="59" y="399"/>
                    <a:pt x="59" y="399"/>
                    <a:pt x="59" y="399"/>
                  </a:cubicBezTo>
                  <a:cubicBezTo>
                    <a:pt x="59" y="399"/>
                    <a:pt x="59" y="399"/>
                    <a:pt x="59" y="400"/>
                  </a:cubicBezTo>
                  <a:cubicBezTo>
                    <a:pt x="59" y="400"/>
                    <a:pt x="59" y="400"/>
                    <a:pt x="58" y="400"/>
                  </a:cubicBezTo>
                  <a:cubicBezTo>
                    <a:pt x="58" y="401"/>
                    <a:pt x="58" y="401"/>
                    <a:pt x="58" y="401"/>
                  </a:cubicBezTo>
                  <a:cubicBezTo>
                    <a:pt x="58" y="401"/>
                    <a:pt x="58" y="401"/>
                    <a:pt x="58" y="401"/>
                  </a:cubicBezTo>
                  <a:cubicBezTo>
                    <a:pt x="58" y="401"/>
                    <a:pt x="58" y="401"/>
                    <a:pt x="58" y="402"/>
                  </a:cubicBezTo>
                  <a:cubicBezTo>
                    <a:pt x="58" y="402"/>
                    <a:pt x="59" y="402"/>
                    <a:pt x="58" y="403"/>
                  </a:cubicBezTo>
                  <a:cubicBezTo>
                    <a:pt x="58" y="403"/>
                    <a:pt x="58" y="403"/>
                    <a:pt x="58" y="403"/>
                  </a:cubicBezTo>
                  <a:cubicBezTo>
                    <a:pt x="58" y="403"/>
                    <a:pt x="58" y="404"/>
                    <a:pt x="57" y="404"/>
                  </a:cubicBezTo>
                  <a:cubicBezTo>
                    <a:pt x="57" y="404"/>
                    <a:pt x="57" y="404"/>
                    <a:pt x="57" y="404"/>
                  </a:cubicBezTo>
                  <a:cubicBezTo>
                    <a:pt x="57" y="404"/>
                    <a:pt x="57" y="404"/>
                    <a:pt x="57" y="404"/>
                  </a:cubicBezTo>
                  <a:cubicBezTo>
                    <a:pt x="57" y="404"/>
                    <a:pt x="56" y="404"/>
                    <a:pt x="56" y="404"/>
                  </a:cubicBezTo>
                  <a:cubicBezTo>
                    <a:pt x="56" y="405"/>
                    <a:pt x="56" y="405"/>
                    <a:pt x="56" y="405"/>
                  </a:cubicBezTo>
                  <a:cubicBezTo>
                    <a:pt x="55" y="405"/>
                    <a:pt x="55" y="406"/>
                    <a:pt x="55" y="406"/>
                  </a:cubicBezTo>
                  <a:cubicBezTo>
                    <a:pt x="55" y="406"/>
                    <a:pt x="55" y="406"/>
                    <a:pt x="55" y="406"/>
                  </a:cubicBezTo>
                  <a:cubicBezTo>
                    <a:pt x="54" y="406"/>
                    <a:pt x="54" y="406"/>
                    <a:pt x="54" y="406"/>
                  </a:cubicBezTo>
                  <a:cubicBezTo>
                    <a:pt x="54" y="406"/>
                    <a:pt x="54" y="406"/>
                    <a:pt x="54" y="406"/>
                  </a:cubicBezTo>
                  <a:cubicBezTo>
                    <a:pt x="54" y="406"/>
                    <a:pt x="54" y="406"/>
                    <a:pt x="54" y="406"/>
                  </a:cubicBezTo>
                  <a:cubicBezTo>
                    <a:pt x="54" y="407"/>
                    <a:pt x="54" y="407"/>
                    <a:pt x="54" y="407"/>
                  </a:cubicBezTo>
                  <a:cubicBezTo>
                    <a:pt x="53" y="408"/>
                    <a:pt x="53" y="408"/>
                    <a:pt x="53" y="408"/>
                  </a:cubicBezTo>
                  <a:cubicBezTo>
                    <a:pt x="53" y="408"/>
                    <a:pt x="52" y="408"/>
                    <a:pt x="52" y="408"/>
                  </a:cubicBezTo>
                  <a:cubicBezTo>
                    <a:pt x="51" y="408"/>
                    <a:pt x="51" y="408"/>
                    <a:pt x="51" y="408"/>
                  </a:cubicBezTo>
                  <a:cubicBezTo>
                    <a:pt x="50" y="408"/>
                    <a:pt x="50" y="408"/>
                    <a:pt x="50" y="408"/>
                  </a:cubicBezTo>
                  <a:cubicBezTo>
                    <a:pt x="50" y="408"/>
                    <a:pt x="49" y="408"/>
                    <a:pt x="49" y="407"/>
                  </a:cubicBezTo>
                  <a:cubicBezTo>
                    <a:pt x="49" y="407"/>
                    <a:pt x="49" y="407"/>
                    <a:pt x="49" y="407"/>
                  </a:cubicBezTo>
                  <a:cubicBezTo>
                    <a:pt x="48" y="407"/>
                    <a:pt x="48" y="407"/>
                    <a:pt x="48" y="407"/>
                  </a:cubicBezTo>
                  <a:cubicBezTo>
                    <a:pt x="47" y="407"/>
                    <a:pt x="47" y="407"/>
                    <a:pt x="47" y="407"/>
                  </a:cubicBezTo>
                  <a:cubicBezTo>
                    <a:pt x="47" y="406"/>
                    <a:pt x="47" y="406"/>
                    <a:pt x="47" y="406"/>
                  </a:cubicBezTo>
                  <a:cubicBezTo>
                    <a:pt x="46" y="406"/>
                    <a:pt x="46" y="406"/>
                    <a:pt x="46" y="406"/>
                  </a:cubicBezTo>
                  <a:cubicBezTo>
                    <a:pt x="45" y="405"/>
                    <a:pt x="45" y="405"/>
                    <a:pt x="45" y="405"/>
                  </a:cubicBezTo>
                  <a:cubicBezTo>
                    <a:pt x="45" y="405"/>
                    <a:pt x="45" y="405"/>
                    <a:pt x="45" y="405"/>
                  </a:cubicBezTo>
                  <a:cubicBezTo>
                    <a:pt x="43" y="404"/>
                    <a:pt x="43" y="404"/>
                    <a:pt x="43" y="404"/>
                  </a:cubicBezTo>
                  <a:cubicBezTo>
                    <a:pt x="43" y="404"/>
                    <a:pt x="43" y="404"/>
                    <a:pt x="43" y="404"/>
                  </a:cubicBezTo>
                  <a:cubicBezTo>
                    <a:pt x="42" y="403"/>
                    <a:pt x="42" y="403"/>
                    <a:pt x="42" y="403"/>
                  </a:cubicBezTo>
                  <a:cubicBezTo>
                    <a:pt x="42" y="403"/>
                    <a:pt x="41" y="403"/>
                    <a:pt x="41" y="402"/>
                  </a:cubicBezTo>
                  <a:cubicBezTo>
                    <a:pt x="41" y="402"/>
                    <a:pt x="41" y="402"/>
                    <a:pt x="41" y="402"/>
                  </a:cubicBezTo>
                  <a:cubicBezTo>
                    <a:pt x="40" y="402"/>
                    <a:pt x="40" y="402"/>
                    <a:pt x="40" y="402"/>
                  </a:cubicBezTo>
                  <a:cubicBezTo>
                    <a:pt x="40" y="402"/>
                    <a:pt x="40" y="402"/>
                    <a:pt x="40" y="402"/>
                  </a:cubicBezTo>
                  <a:cubicBezTo>
                    <a:pt x="40" y="402"/>
                    <a:pt x="40" y="402"/>
                    <a:pt x="40" y="402"/>
                  </a:cubicBezTo>
                  <a:cubicBezTo>
                    <a:pt x="39" y="401"/>
                    <a:pt x="39" y="401"/>
                    <a:pt x="39" y="401"/>
                  </a:cubicBezTo>
                  <a:cubicBezTo>
                    <a:pt x="38" y="401"/>
                    <a:pt x="38" y="401"/>
                    <a:pt x="38" y="401"/>
                  </a:cubicBezTo>
                  <a:cubicBezTo>
                    <a:pt x="37" y="401"/>
                    <a:pt x="37" y="401"/>
                    <a:pt x="37" y="401"/>
                  </a:cubicBezTo>
                  <a:cubicBezTo>
                    <a:pt x="36" y="400"/>
                    <a:pt x="36" y="400"/>
                    <a:pt x="36" y="400"/>
                  </a:cubicBezTo>
                  <a:cubicBezTo>
                    <a:pt x="36" y="399"/>
                    <a:pt x="36" y="399"/>
                    <a:pt x="36" y="399"/>
                  </a:cubicBezTo>
                  <a:cubicBezTo>
                    <a:pt x="36" y="399"/>
                    <a:pt x="36" y="399"/>
                    <a:pt x="36" y="399"/>
                  </a:cubicBezTo>
                  <a:cubicBezTo>
                    <a:pt x="35" y="399"/>
                    <a:pt x="35" y="399"/>
                    <a:pt x="35" y="399"/>
                  </a:cubicBezTo>
                  <a:cubicBezTo>
                    <a:pt x="34" y="398"/>
                    <a:pt x="34" y="398"/>
                    <a:pt x="34" y="398"/>
                  </a:cubicBezTo>
                  <a:cubicBezTo>
                    <a:pt x="34" y="398"/>
                    <a:pt x="34" y="398"/>
                    <a:pt x="34" y="398"/>
                  </a:cubicBezTo>
                  <a:cubicBezTo>
                    <a:pt x="34" y="397"/>
                    <a:pt x="34" y="397"/>
                    <a:pt x="34" y="397"/>
                  </a:cubicBezTo>
                  <a:cubicBezTo>
                    <a:pt x="34" y="397"/>
                    <a:pt x="34" y="397"/>
                    <a:pt x="34" y="397"/>
                  </a:cubicBezTo>
                  <a:cubicBezTo>
                    <a:pt x="33" y="397"/>
                    <a:pt x="33" y="397"/>
                    <a:pt x="33" y="397"/>
                  </a:cubicBezTo>
                  <a:cubicBezTo>
                    <a:pt x="33" y="397"/>
                    <a:pt x="33" y="397"/>
                    <a:pt x="33" y="397"/>
                  </a:cubicBezTo>
                  <a:cubicBezTo>
                    <a:pt x="33" y="397"/>
                    <a:pt x="33" y="397"/>
                    <a:pt x="33" y="397"/>
                  </a:cubicBezTo>
                  <a:cubicBezTo>
                    <a:pt x="33" y="397"/>
                    <a:pt x="32" y="397"/>
                    <a:pt x="32" y="397"/>
                  </a:cubicBezTo>
                  <a:cubicBezTo>
                    <a:pt x="32" y="397"/>
                    <a:pt x="32" y="396"/>
                    <a:pt x="32" y="396"/>
                  </a:cubicBezTo>
                  <a:cubicBezTo>
                    <a:pt x="30" y="395"/>
                    <a:pt x="30" y="395"/>
                    <a:pt x="30" y="395"/>
                  </a:cubicBezTo>
                  <a:cubicBezTo>
                    <a:pt x="30" y="395"/>
                    <a:pt x="30" y="395"/>
                    <a:pt x="30" y="394"/>
                  </a:cubicBezTo>
                  <a:cubicBezTo>
                    <a:pt x="28" y="393"/>
                    <a:pt x="28" y="393"/>
                    <a:pt x="28" y="393"/>
                  </a:cubicBezTo>
                  <a:cubicBezTo>
                    <a:pt x="28" y="393"/>
                    <a:pt x="28" y="393"/>
                    <a:pt x="28" y="392"/>
                  </a:cubicBezTo>
                  <a:cubicBezTo>
                    <a:pt x="28" y="392"/>
                    <a:pt x="28" y="392"/>
                    <a:pt x="28" y="392"/>
                  </a:cubicBezTo>
                  <a:cubicBezTo>
                    <a:pt x="28" y="392"/>
                    <a:pt x="28" y="392"/>
                    <a:pt x="28" y="391"/>
                  </a:cubicBezTo>
                  <a:cubicBezTo>
                    <a:pt x="28" y="391"/>
                    <a:pt x="28" y="391"/>
                    <a:pt x="28" y="391"/>
                  </a:cubicBezTo>
                  <a:cubicBezTo>
                    <a:pt x="28" y="391"/>
                    <a:pt x="28" y="391"/>
                    <a:pt x="28" y="391"/>
                  </a:cubicBezTo>
                  <a:cubicBezTo>
                    <a:pt x="27" y="391"/>
                    <a:pt x="27" y="391"/>
                    <a:pt x="27" y="390"/>
                  </a:cubicBezTo>
                  <a:cubicBezTo>
                    <a:pt x="27" y="390"/>
                    <a:pt x="27" y="390"/>
                    <a:pt x="27" y="390"/>
                  </a:cubicBezTo>
                  <a:cubicBezTo>
                    <a:pt x="27" y="390"/>
                    <a:pt x="27" y="390"/>
                    <a:pt x="27" y="390"/>
                  </a:cubicBezTo>
                  <a:cubicBezTo>
                    <a:pt x="27" y="389"/>
                    <a:pt x="27" y="389"/>
                    <a:pt x="27" y="389"/>
                  </a:cubicBezTo>
                  <a:cubicBezTo>
                    <a:pt x="27" y="389"/>
                    <a:pt x="27" y="389"/>
                    <a:pt x="27" y="389"/>
                  </a:cubicBezTo>
                  <a:cubicBezTo>
                    <a:pt x="26" y="388"/>
                    <a:pt x="26" y="388"/>
                    <a:pt x="26" y="388"/>
                  </a:cubicBezTo>
                  <a:cubicBezTo>
                    <a:pt x="26" y="388"/>
                    <a:pt x="26" y="388"/>
                    <a:pt x="26" y="388"/>
                  </a:cubicBezTo>
                  <a:cubicBezTo>
                    <a:pt x="26" y="388"/>
                    <a:pt x="26" y="387"/>
                    <a:pt x="26" y="387"/>
                  </a:cubicBezTo>
                  <a:cubicBezTo>
                    <a:pt x="26" y="384"/>
                    <a:pt x="26" y="384"/>
                    <a:pt x="26" y="384"/>
                  </a:cubicBezTo>
                  <a:cubicBezTo>
                    <a:pt x="26" y="384"/>
                    <a:pt x="26" y="384"/>
                    <a:pt x="26" y="384"/>
                  </a:cubicBezTo>
                  <a:cubicBezTo>
                    <a:pt x="26" y="383"/>
                    <a:pt x="26" y="383"/>
                    <a:pt x="26" y="383"/>
                  </a:cubicBezTo>
                  <a:cubicBezTo>
                    <a:pt x="26" y="383"/>
                    <a:pt x="26" y="383"/>
                    <a:pt x="26" y="383"/>
                  </a:cubicBezTo>
                  <a:cubicBezTo>
                    <a:pt x="25" y="381"/>
                    <a:pt x="25" y="381"/>
                    <a:pt x="25" y="381"/>
                  </a:cubicBezTo>
                  <a:cubicBezTo>
                    <a:pt x="25" y="381"/>
                    <a:pt x="25" y="381"/>
                    <a:pt x="25" y="380"/>
                  </a:cubicBezTo>
                  <a:cubicBezTo>
                    <a:pt x="25" y="380"/>
                    <a:pt x="25" y="380"/>
                    <a:pt x="25" y="380"/>
                  </a:cubicBezTo>
                  <a:cubicBezTo>
                    <a:pt x="24" y="380"/>
                    <a:pt x="24" y="380"/>
                    <a:pt x="24" y="380"/>
                  </a:cubicBezTo>
                  <a:cubicBezTo>
                    <a:pt x="24" y="379"/>
                    <a:pt x="24" y="379"/>
                    <a:pt x="24" y="379"/>
                  </a:cubicBezTo>
                  <a:cubicBezTo>
                    <a:pt x="24" y="379"/>
                    <a:pt x="24" y="379"/>
                    <a:pt x="24" y="379"/>
                  </a:cubicBezTo>
                  <a:cubicBezTo>
                    <a:pt x="24" y="379"/>
                    <a:pt x="24" y="379"/>
                    <a:pt x="24" y="378"/>
                  </a:cubicBezTo>
                  <a:cubicBezTo>
                    <a:pt x="24" y="378"/>
                    <a:pt x="24" y="378"/>
                    <a:pt x="24" y="378"/>
                  </a:cubicBezTo>
                  <a:cubicBezTo>
                    <a:pt x="24" y="378"/>
                    <a:pt x="23" y="378"/>
                    <a:pt x="24" y="377"/>
                  </a:cubicBezTo>
                  <a:cubicBezTo>
                    <a:pt x="24" y="377"/>
                    <a:pt x="24" y="377"/>
                    <a:pt x="24" y="377"/>
                  </a:cubicBezTo>
                  <a:cubicBezTo>
                    <a:pt x="24" y="377"/>
                    <a:pt x="24" y="377"/>
                    <a:pt x="24" y="377"/>
                  </a:cubicBezTo>
                  <a:cubicBezTo>
                    <a:pt x="23" y="377"/>
                    <a:pt x="23" y="377"/>
                    <a:pt x="23" y="376"/>
                  </a:cubicBezTo>
                  <a:cubicBezTo>
                    <a:pt x="23" y="376"/>
                    <a:pt x="23" y="376"/>
                    <a:pt x="23" y="376"/>
                  </a:cubicBezTo>
                  <a:cubicBezTo>
                    <a:pt x="23" y="376"/>
                    <a:pt x="23" y="376"/>
                    <a:pt x="23" y="375"/>
                  </a:cubicBezTo>
                  <a:cubicBezTo>
                    <a:pt x="23" y="375"/>
                    <a:pt x="23" y="375"/>
                    <a:pt x="23" y="375"/>
                  </a:cubicBezTo>
                  <a:cubicBezTo>
                    <a:pt x="22" y="375"/>
                    <a:pt x="22" y="374"/>
                    <a:pt x="22" y="374"/>
                  </a:cubicBezTo>
                  <a:cubicBezTo>
                    <a:pt x="22" y="373"/>
                    <a:pt x="22" y="373"/>
                    <a:pt x="22" y="373"/>
                  </a:cubicBezTo>
                  <a:cubicBezTo>
                    <a:pt x="21" y="373"/>
                    <a:pt x="21" y="373"/>
                    <a:pt x="21" y="373"/>
                  </a:cubicBezTo>
                  <a:cubicBezTo>
                    <a:pt x="21" y="373"/>
                    <a:pt x="21" y="373"/>
                    <a:pt x="21" y="373"/>
                  </a:cubicBezTo>
                  <a:cubicBezTo>
                    <a:pt x="21" y="373"/>
                    <a:pt x="20" y="372"/>
                    <a:pt x="20" y="372"/>
                  </a:cubicBezTo>
                  <a:cubicBezTo>
                    <a:pt x="20" y="371"/>
                    <a:pt x="20" y="371"/>
                    <a:pt x="20" y="371"/>
                  </a:cubicBezTo>
                  <a:cubicBezTo>
                    <a:pt x="20" y="371"/>
                    <a:pt x="20" y="371"/>
                    <a:pt x="20" y="371"/>
                  </a:cubicBezTo>
                  <a:cubicBezTo>
                    <a:pt x="19" y="371"/>
                    <a:pt x="19" y="371"/>
                    <a:pt x="19" y="371"/>
                  </a:cubicBezTo>
                  <a:cubicBezTo>
                    <a:pt x="19" y="371"/>
                    <a:pt x="19" y="371"/>
                    <a:pt x="19" y="371"/>
                  </a:cubicBezTo>
                  <a:cubicBezTo>
                    <a:pt x="18" y="371"/>
                    <a:pt x="18" y="371"/>
                    <a:pt x="18" y="370"/>
                  </a:cubicBezTo>
                  <a:cubicBezTo>
                    <a:pt x="17" y="370"/>
                    <a:pt x="17" y="370"/>
                    <a:pt x="17" y="370"/>
                  </a:cubicBezTo>
                  <a:cubicBezTo>
                    <a:pt x="17" y="370"/>
                    <a:pt x="17" y="370"/>
                    <a:pt x="17" y="370"/>
                  </a:cubicBezTo>
                  <a:cubicBezTo>
                    <a:pt x="16" y="370"/>
                    <a:pt x="16" y="370"/>
                    <a:pt x="16" y="370"/>
                  </a:cubicBezTo>
                  <a:cubicBezTo>
                    <a:pt x="16" y="370"/>
                    <a:pt x="16" y="370"/>
                    <a:pt x="16" y="370"/>
                  </a:cubicBezTo>
                  <a:cubicBezTo>
                    <a:pt x="16" y="370"/>
                    <a:pt x="15" y="369"/>
                    <a:pt x="15" y="369"/>
                  </a:cubicBezTo>
                  <a:cubicBezTo>
                    <a:pt x="15" y="368"/>
                    <a:pt x="15" y="368"/>
                    <a:pt x="15" y="368"/>
                  </a:cubicBezTo>
                  <a:cubicBezTo>
                    <a:pt x="13" y="366"/>
                    <a:pt x="13" y="366"/>
                    <a:pt x="13" y="366"/>
                  </a:cubicBezTo>
                  <a:cubicBezTo>
                    <a:pt x="13" y="366"/>
                    <a:pt x="13" y="366"/>
                    <a:pt x="13" y="366"/>
                  </a:cubicBezTo>
                  <a:cubicBezTo>
                    <a:pt x="12" y="365"/>
                    <a:pt x="12" y="365"/>
                    <a:pt x="12" y="365"/>
                  </a:cubicBezTo>
                  <a:cubicBezTo>
                    <a:pt x="12" y="365"/>
                    <a:pt x="12" y="365"/>
                    <a:pt x="12" y="365"/>
                  </a:cubicBezTo>
                  <a:cubicBezTo>
                    <a:pt x="12" y="364"/>
                    <a:pt x="11" y="364"/>
                    <a:pt x="11" y="364"/>
                  </a:cubicBezTo>
                  <a:cubicBezTo>
                    <a:pt x="11" y="364"/>
                    <a:pt x="11" y="364"/>
                    <a:pt x="11" y="364"/>
                  </a:cubicBezTo>
                  <a:cubicBezTo>
                    <a:pt x="11" y="363"/>
                    <a:pt x="11" y="363"/>
                    <a:pt x="11" y="363"/>
                  </a:cubicBezTo>
                  <a:cubicBezTo>
                    <a:pt x="11" y="363"/>
                    <a:pt x="10" y="363"/>
                    <a:pt x="10" y="363"/>
                  </a:cubicBezTo>
                  <a:cubicBezTo>
                    <a:pt x="9" y="362"/>
                    <a:pt x="9" y="362"/>
                    <a:pt x="9" y="362"/>
                  </a:cubicBezTo>
                  <a:cubicBezTo>
                    <a:pt x="7" y="360"/>
                    <a:pt x="7" y="360"/>
                    <a:pt x="7" y="360"/>
                  </a:cubicBezTo>
                  <a:cubicBezTo>
                    <a:pt x="7" y="360"/>
                    <a:pt x="7" y="360"/>
                    <a:pt x="7" y="359"/>
                  </a:cubicBezTo>
                  <a:cubicBezTo>
                    <a:pt x="7" y="359"/>
                    <a:pt x="7" y="359"/>
                    <a:pt x="7" y="359"/>
                  </a:cubicBezTo>
                  <a:cubicBezTo>
                    <a:pt x="7" y="359"/>
                    <a:pt x="6" y="359"/>
                    <a:pt x="6" y="358"/>
                  </a:cubicBezTo>
                  <a:cubicBezTo>
                    <a:pt x="6" y="358"/>
                    <a:pt x="6" y="358"/>
                    <a:pt x="6" y="358"/>
                  </a:cubicBezTo>
                  <a:cubicBezTo>
                    <a:pt x="6" y="358"/>
                    <a:pt x="6" y="358"/>
                    <a:pt x="6" y="358"/>
                  </a:cubicBezTo>
                  <a:cubicBezTo>
                    <a:pt x="5" y="358"/>
                    <a:pt x="5" y="358"/>
                    <a:pt x="5" y="358"/>
                  </a:cubicBezTo>
                  <a:cubicBezTo>
                    <a:pt x="5" y="358"/>
                    <a:pt x="5" y="358"/>
                    <a:pt x="5" y="358"/>
                  </a:cubicBezTo>
                  <a:cubicBezTo>
                    <a:pt x="4" y="357"/>
                    <a:pt x="4" y="357"/>
                    <a:pt x="4" y="357"/>
                  </a:cubicBezTo>
                  <a:cubicBezTo>
                    <a:pt x="2" y="356"/>
                    <a:pt x="2" y="356"/>
                    <a:pt x="2" y="356"/>
                  </a:cubicBezTo>
                  <a:cubicBezTo>
                    <a:pt x="2" y="356"/>
                    <a:pt x="2" y="356"/>
                    <a:pt x="2" y="355"/>
                  </a:cubicBezTo>
                  <a:cubicBezTo>
                    <a:pt x="2" y="355"/>
                    <a:pt x="2" y="355"/>
                    <a:pt x="2" y="355"/>
                  </a:cubicBezTo>
                  <a:cubicBezTo>
                    <a:pt x="1" y="354"/>
                    <a:pt x="1" y="354"/>
                    <a:pt x="1" y="354"/>
                  </a:cubicBezTo>
                  <a:cubicBezTo>
                    <a:pt x="1" y="354"/>
                    <a:pt x="1" y="354"/>
                    <a:pt x="1" y="353"/>
                  </a:cubicBezTo>
                  <a:cubicBezTo>
                    <a:pt x="1" y="353"/>
                    <a:pt x="1" y="353"/>
                    <a:pt x="1" y="353"/>
                  </a:cubicBezTo>
                  <a:cubicBezTo>
                    <a:pt x="0" y="352"/>
                    <a:pt x="0" y="352"/>
                    <a:pt x="0" y="352"/>
                  </a:cubicBezTo>
                  <a:cubicBezTo>
                    <a:pt x="0" y="352"/>
                    <a:pt x="0" y="352"/>
                    <a:pt x="0" y="352"/>
                  </a:cubicBezTo>
                  <a:cubicBezTo>
                    <a:pt x="0" y="351"/>
                    <a:pt x="0" y="351"/>
                    <a:pt x="0" y="351"/>
                  </a:cubicBezTo>
                  <a:cubicBezTo>
                    <a:pt x="0" y="351"/>
                    <a:pt x="0" y="351"/>
                    <a:pt x="1" y="351"/>
                  </a:cubicBezTo>
                  <a:cubicBezTo>
                    <a:pt x="3" y="351"/>
                    <a:pt x="3" y="351"/>
                    <a:pt x="3" y="351"/>
                  </a:cubicBezTo>
                  <a:cubicBezTo>
                    <a:pt x="3" y="350"/>
                    <a:pt x="3" y="350"/>
                    <a:pt x="3" y="350"/>
                  </a:cubicBezTo>
                  <a:cubicBezTo>
                    <a:pt x="5" y="350"/>
                    <a:pt x="5" y="350"/>
                    <a:pt x="5" y="350"/>
                  </a:cubicBezTo>
                  <a:cubicBezTo>
                    <a:pt x="6" y="350"/>
                    <a:pt x="6" y="350"/>
                    <a:pt x="6" y="350"/>
                  </a:cubicBezTo>
                  <a:cubicBezTo>
                    <a:pt x="16" y="351"/>
                    <a:pt x="16" y="351"/>
                    <a:pt x="16" y="351"/>
                  </a:cubicBezTo>
                  <a:cubicBezTo>
                    <a:pt x="17" y="351"/>
                    <a:pt x="18" y="351"/>
                    <a:pt x="18" y="351"/>
                  </a:cubicBezTo>
                  <a:cubicBezTo>
                    <a:pt x="19" y="351"/>
                    <a:pt x="19" y="351"/>
                    <a:pt x="19" y="351"/>
                  </a:cubicBezTo>
                  <a:cubicBezTo>
                    <a:pt x="21" y="351"/>
                    <a:pt x="22" y="350"/>
                    <a:pt x="23" y="350"/>
                  </a:cubicBezTo>
                  <a:cubicBezTo>
                    <a:pt x="24" y="350"/>
                    <a:pt x="24" y="350"/>
                    <a:pt x="24" y="350"/>
                  </a:cubicBezTo>
                  <a:cubicBezTo>
                    <a:pt x="24" y="350"/>
                    <a:pt x="24" y="350"/>
                    <a:pt x="24" y="350"/>
                  </a:cubicBezTo>
                  <a:cubicBezTo>
                    <a:pt x="25" y="350"/>
                    <a:pt x="25" y="350"/>
                    <a:pt x="25" y="350"/>
                  </a:cubicBezTo>
                  <a:cubicBezTo>
                    <a:pt x="26" y="350"/>
                    <a:pt x="26" y="349"/>
                    <a:pt x="27" y="349"/>
                  </a:cubicBezTo>
                  <a:cubicBezTo>
                    <a:pt x="28" y="349"/>
                    <a:pt x="28" y="349"/>
                    <a:pt x="28" y="349"/>
                  </a:cubicBezTo>
                  <a:cubicBezTo>
                    <a:pt x="28" y="349"/>
                    <a:pt x="28" y="349"/>
                    <a:pt x="29" y="348"/>
                  </a:cubicBezTo>
                  <a:cubicBezTo>
                    <a:pt x="29" y="348"/>
                    <a:pt x="30" y="348"/>
                    <a:pt x="31" y="347"/>
                  </a:cubicBezTo>
                  <a:cubicBezTo>
                    <a:pt x="31" y="347"/>
                    <a:pt x="31" y="347"/>
                    <a:pt x="31" y="347"/>
                  </a:cubicBezTo>
                  <a:cubicBezTo>
                    <a:pt x="37" y="347"/>
                    <a:pt x="37" y="347"/>
                    <a:pt x="37" y="347"/>
                  </a:cubicBezTo>
                  <a:cubicBezTo>
                    <a:pt x="41" y="347"/>
                    <a:pt x="41" y="347"/>
                    <a:pt x="41" y="347"/>
                  </a:cubicBezTo>
                  <a:cubicBezTo>
                    <a:pt x="44" y="347"/>
                    <a:pt x="44" y="347"/>
                    <a:pt x="44" y="347"/>
                  </a:cubicBezTo>
                  <a:cubicBezTo>
                    <a:pt x="48" y="348"/>
                    <a:pt x="48" y="348"/>
                    <a:pt x="48" y="348"/>
                  </a:cubicBezTo>
                  <a:cubicBezTo>
                    <a:pt x="56" y="348"/>
                    <a:pt x="56" y="348"/>
                    <a:pt x="56" y="348"/>
                  </a:cubicBezTo>
                  <a:cubicBezTo>
                    <a:pt x="56" y="348"/>
                    <a:pt x="56" y="348"/>
                    <a:pt x="56" y="347"/>
                  </a:cubicBezTo>
                  <a:cubicBezTo>
                    <a:pt x="57" y="347"/>
                    <a:pt x="57" y="347"/>
                    <a:pt x="57" y="347"/>
                  </a:cubicBezTo>
                  <a:cubicBezTo>
                    <a:pt x="57" y="344"/>
                    <a:pt x="57" y="344"/>
                    <a:pt x="57" y="344"/>
                  </a:cubicBezTo>
                  <a:cubicBezTo>
                    <a:pt x="57" y="341"/>
                    <a:pt x="57" y="341"/>
                    <a:pt x="57" y="341"/>
                  </a:cubicBezTo>
                  <a:cubicBezTo>
                    <a:pt x="57" y="333"/>
                    <a:pt x="57" y="333"/>
                    <a:pt x="57" y="333"/>
                  </a:cubicBezTo>
                  <a:cubicBezTo>
                    <a:pt x="57" y="330"/>
                    <a:pt x="57" y="330"/>
                    <a:pt x="57" y="330"/>
                  </a:cubicBezTo>
                  <a:cubicBezTo>
                    <a:pt x="57" y="319"/>
                    <a:pt x="57" y="319"/>
                    <a:pt x="57" y="319"/>
                  </a:cubicBezTo>
                  <a:cubicBezTo>
                    <a:pt x="58" y="316"/>
                    <a:pt x="58" y="316"/>
                    <a:pt x="58" y="316"/>
                  </a:cubicBezTo>
                  <a:cubicBezTo>
                    <a:pt x="58" y="307"/>
                    <a:pt x="58" y="307"/>
                    <a:pt x="58" y="307"/>
                  </a:cubicBezTo>
                  <a:cubicBezTo>
                    <a:pt x="58" y="304"/>
                    <a:pt x="58" y="304"/>
                    <a:pt x="58" y="304"/>
                  </a:cubicBezTo>
                  <a:cubicBezTo>
                    <a:pt x="58" y="296"/>
                    <a:pt x="58" y="296"/>
                    <a:pt x="58" y="296"/>
                  </a:cubicBezTo>
                  <a:cubicBezTo>
                    <a:pt x="58" y="293"/>
                    <a:pt x="58" y="293"/>
                    <a:pt x="58" y="293"/>
                  </a:cubicBezTo>
                  <a:cubicBezTo>
                    <a:pt x="58" y="285"/>
                    <a:pt x="58" y="285"/>
                    <a:pt x="58" y="285"/>
                  </a:cubicBezTo>
                  <a:cubicBezTo>
                    <a:pt x="59" y="282"/>
                    <a:pt x="59" y="282"/>
                    <a:pt x="59" y="282"/>
                  </a:cubicBezTo>
                  <a:cubicBezTo>
                    <a:pt x="59" y="278"/>
                    <a:pt x="59" y="278"/>
                    <a:pt x="59" y="278"/>
                  </a:cubicBezTo>
                  <a:cubicBezTo>
                    <a:pt x="59" y="277"/>
                    <a:pt x="59" y="277"/>
                    <a:pt x="59" y="277"/>
                  </a:cubicBezTo>
                  <a:cubicBezTo>
                    <a:pt x="59" y="276"/>
                    <a:pt x="59" y="276"/>
                    <a:pt x="59" y="276"/>
                  </a:cubicBezTo>
                  <a:cubicBezTo>
                    <a:pt x="60" y="276"/>
                    <a:pt x="60" y="275"/>
                    <a:pt x="60" y="275"/>
                  </a:cubicBezTo>
                  <a:cubicBezTo>
                    <a:pt x="60" y="274"/>
                    <a:pt x="60" y="274"/>
                    <a:pt x="60" y="274"/>
                  </a:cubicBezTo>
                  <a:cubicBezTo>
                    <a:pt x="60" y="274"/>
                    <a:pt x="61" y="273"/>
                    <a:pt x="61" y="272"/>
                  </a:cubicBezTo>
                  <a:cubicBezTo>
                    <a:pt x="61" y="271"/>
                    <a:pt x="61" y="270"/>
                    <a:pt x="61" y="270"/>
                  </a:cubicBezTo>
                  <a:cubicBezTo>
                    <a:pt x="61" y="269"/>
                    <a:pt x="61" y="269"/>
                    <a:pt x="61" y="269"/>
                  </a:cubicBezTo>
                  <a:cubicBezTo>
                    <a:pt x="62" y="267"/>
                    <a:pt x="62" y="267"/>
                    <a:pt x="62" y="267"/>
                  </a:cubicBezTo>
                  <a:cubicBezTo>
                    <a:pt x="62" y="266"/>
                    <a:pt x="62" y="266"/>
                    <a:pt x="62" y="266"/>
                  </a:cubicBezTo>
                  <a:cubicBezTo>
                    <a:pt x="62" y="265"/>
                    <a:pt x="62" y="265"/>
                    <a:pt x="62" y="265"/>
                  </a:cubicBezTo>
                  <a:cubicBezTo>
                    <a:pt x="62" y="265"/>
                    <a:pt x="62" y="264"/>
                    <a:pt x="62" y="264"/>
                  </a:cubicBezTo>
                  <a:cubicBezTo>
                    <a:pt x="62" y="263"/>
                    <a:pt x="62" y="263"/>
                    <a:pt x="62" y="263"/>
                  </a:cubicBezTo>
                  <a:cubicBezTo>
                    <a:pt x="62" y="262"/>
                    <a:pt x="63" y="262"/>
                    <a:pt x="63" y="261"/>
                  </a:cubicBezTo>
                  <a:cubicBezTo>
                    <a:pt x="63" y="259"/>
                    <a:pt x="63" y="259"/>
                    <a:pt x="63" y="259"/>
                  </a:cubicBezTo>
                  <a:cubicBezTo>
                    <a:pt x="62" y="259"/>
                    <a:pt x="62" y="258"/>
                    <a:pt x="62" y="258"/>
                  </a:cubicBezTo>
                  <a:cubicBezTo>
                    <a:pt x="62" y="257"/>
                    <a:pt x="62" y="257"/>
                    <a:pt x="62" y="257"/>
                  </a:cubicBezTo>
                  <a:cubicBezTo>
                    <a:pt x="63" y="257"/>
                    <a:pt x="63" y="257"/>
                    <a:pt x="63" y="257"/>
                  </a:cubicBezTo>
                  <a:cubicBezTo>
                    <a:pt x="63" y="257"/>
                    <a:pt x="63" y="256"/>
                    <a:pt x="63" y="256"/>
                  </a:cubicBezTo>
                  <a:cubicBezTo>
                    <a:pt x="72" y="256"/>
                    <a:pt x="72" y="256"/>
                    <a:pt x="72" y="256"/>
                  </a:cubicBezTo>
                  <a:cubicBezTo>
                    <a:pt x="77" y="256"/>
                    <a:pt x="77" y="256"/>
                    <a:pt x="77" y="256"/>
                  </a:cubicBezTo>
                  <a:cubicBezTo>
                    <a:pt x="105" y="256"/>
                    <a:pt x="105" y="256"/>
                    <a:pt x="105" y="256"/>
                  </a:cubicBezTo>
                  <a:cubicBezTo>
                    <a:pt x="105" y="256"/>
                    <a:pt x="106" y="256"/>
                    <a:pt x="106" y="257"/>
                  </a:cubicBezTo>
                  <a:cubicBezTo>
                    <a:pt x="106" y="294"/>
                    <a:pt x="106" y="294"/>
                    <a:pt x="106" y="294"/>
                  </a:cubicBezTo>
                  <a:cubicBezTo>
                    <a:pt x="107" y="294"/>
                    <a:pt x="107" y="294"/>
                    <a:pt x="107" y="294"/>
                  </a:cubicBezTo>
                  <a:cubicBezTo>
                    <a:pt x="107" y="294"/>
                    <a:pt x="107" y="295"/>
                    <a:pt x="107" y="295"/>
                  </a:cubicBezTo>
                  <a:cubicBezTo>
                    <a:pt x="108" y="295"/>
                    <a:pt x="108" y="295"/>
                    <a:pt x="108" y="295"/>
                  </a:cubicBezTo>
                  <a:cubicBezTo>
                    <a:pt x="111" y="298"/>
                    <a:pt x="111" y="298"/>
                    <a:pt x="111" y="298"/>
                  </a:cubicBezTo>
                  <a:cubicBezTo>
                    <a:pt x="111" y="298"/>
                    <a:pt x="111" y="298"/>
                    <a:pt x="111" y="298"/>
                  </a:cubicBezTo>
                  <a:cubicBezTo>
                    <a:pt x="111" y="298"/>
                    <a:pt x="111" y="298"/>
                    <a:pt x="111" y="298"/>
                  </a:cubicBezTo>
                  <a:cubicBezTo>
                    <a:pt x="111" y="298"/>
                    <a:pt x="112" y="298"/>
                    <a:pt x="112" y="298"/>
                  </a:cubicBezTo>
                  <a:cubicBezTo>
                    <a:pt x="113" y="298"/>
                    <a:pt x="113" y="298"/>
                    <a:pt x="113" y="298"/>
                  </a:cubicBezTo>
                  <a:cubicBezTo>
                    <a:pt x="113" y="298"/>
                    <a:pt x="113" y="298"/>
                    <a:pt x="114" y="298"/>
                  </a:cubicBezTo>
                  <a:cubicBezTo>
                    <a:pt x="114" y="298"/>
                    <a:pt x="114" y="298"/>
                    <a:pt x="114" y="298"/>
                  </a:cubicBezTo>
                  <a:cubicBezTo>
                    <a:pt x="114" y="298"/>
                    <a:pt x="114" y="298"/>
                    <a:pt x="114" y="298"/>
                  </a:cubicBezTo>
                  <a:cubicBezTo>
                    <a:pt x="114" y="297"/>
                    <a:pt x="114" y="297"/>
                    <a:pt x="115" y="297"/>
                  </a:cubicBezTo>
                  <a:cubicBezTo>
                    <a:pt x="115" y="297"/>
                    <a:pt x="115" y="297"/>
                    <a:pt x="115" y="297"/>
                  </a:cubicBezTo>
                  <a:cubicBezTo>
                    <a:pt x="116" y="297"/>
                    <a:pt x="116" y="297"/>
                    <a:pt x="116" y="297"/>
                  </a:cubicBezTo>
                  <a:cubicBezTo>
                    <a:pt x="116" y="297"/>
                    <a:pt x="116" y="297"/>
                    <a:pt x="116" y="297"/>
                  </a:cubicBezTo>
                  <a:cubicBezTo>
                    <a:pt x="117" y="297"/>
                    <a:pt x="117" y="298"/>
                    <a:pt x="117" y="298"/>
                  </a:cubicBezTo>
                  <a:cubicBezTo>
                    <a:pt x="117" y="298"/>
                    <a:pt x="117" y="298"/>
                    <a:pt x="117" y="298"/>
                  </a:cubicBezTo>
                  <a:cubicBezTo>
                    <a:pt x="117" y="298"/>
                    <a:pt x="118" y="298"/>
                    <a:pt x="118" y="298"/>
                  </a:cubicBezTo>
                  <a:cubicBezTo>
                    <a:pt x="118" y="299"/>
                    <a:pt x="118" y="299"/>
                    <a:pt x="118" y="299"/>
                  </a:cubicBezTo>
                  <a:cubicBezTo>
                    <a:pt x="118" y="299"/>
                    <a:pt x="118" y="299"/>
                    <a:pt x="118" y="299"/>
                  </a:cubicBezTo>
                  <a:cubicBezTo>
                    <a:pt x="119" y="300"/>
                    <a:pt x="119" y="300"/>
                    <a:pt x="119" y="300"/>
                  </a:cubicBezTo>
                  <a:cubicBezTo>
                    <a:pt x="119" y="300"/>
                    <a:pt x="119" y="300"/>
                    <a:pt x="119" y="300"/>
                  </a:cubicBezTo>
                  <a:cubicBezTo>
                    <a:pt x="119" y="302"/>
                    <a:pt x="119" y="302"/>
                    <a:pt x="119" y="302"/>
                  </a:cubicBezTo>
                  <a:cubicBezTo>
                    <a:pt x="120" y="302"/>
                    <a:pt x="120" y="302"/>
                    <a:pt x="120" y="302"/>
                  </a:cubicBezTo>
                  <a:cubicBezTo>
                    <a:pt x="120" y="302"/>
                    <a:pt x="120" y="302"/>
                    <a:pt x="120" y="302"/>
                  </a:cubicBezTo>
                  <a:cubicBezTo>
                    <a:pt x="121" y="302"/>
                    <a:pt x="121" y="302"/>
                    <a:pt x="121" y="302"/>
                  </a:cubicBezTo>
                  <a:cubicBezTo>
                    <a:pt x="121" y="302"/>
                    <a:pt x="121" y="302"/>
                    <a:pt x="121" y="302"/>
                  </a:cubicBezTo>
                  <a:cubicBezTo>
                    <a:pt x="122" y="302"/>
                    <a:pt x="122" y="302"/>
                    <a:pt x="122" y="302"/>
                  </a:cubicBezTo>
                  <a:cubicBezTo>
                    <a:pt x="122" y="302"/>
                    <a:pt x="122" y="302"/>
                    <a:pt x="123" y="302"/>
                  </a:cubicBezTo>
                  <a:cubicBezTo>
                    <a:pt x="124" y="303"/>
                    <a:pt x="124" y="303"/>
                    <a:pt x="124" y="303"/>
                  </a:cubicBezTo>
                  <a:cubicBezTo>
                    <a:pt x="126" y="303"/>
                    <a:pt x="126" y="303"/>
                    <a:pt x="126" y="303"/>
                  </a:cubicBezTo>
                  <a:cubicBezTo>
                    <a:pt x="126" y="303"/>
                    <a:pt x="126" y="303"/>
                    <a:pt x="126" y="303"/>
                  </a:cubicBezTo>
                  <a:cubicBezTo>
                    <a:pt x="127" y="303"/>
                    <a:pt x="127" y="303"/>
                    <a:pt x="127" y="303"/>
                  </a:cubicBezTo>
                  <a:cubicBezTo>
                    <a:pt x="128" y="303"/>
                    <a:pt x="128" y="303"/>
                    <a:pt x="128" y="303"/>
                  </a:cubicBezTo>
                  <a:cubicBezTo>
                    <a:pt x="128" y="303"/>
                    <a:pt x="128" y="303"/>
                    <a:pt x="129" y="303"/>
                  </a:cubicBezTo>
                  <a:cubicBezTo>
                    <a:pt x="129" y="303"/>
                    <a:pt x="129" y="303"/>
                    <a:pt x="129" y="303"/>
                  </a:cubicBezTo>
                  <a:cubicBezTo>
                    <a:pt x="129" y="304"/>
                    <a:pt x="129" y="304"/>
                    <a:pt x="129" y="304"/>
                  </a:cubicBezTo>
                  <a:cubicBezTo>
                    <a:pt x="130" y="304"/>
                    <a:pt x="130" y="304"/>
                    <a:pt x="130" y="304"/>
                  </a:cubicBezTo>
                  <a:cubicBezTo>
                    <a:pt x="130" y="304"/>
                    <a:pt x="130" y="304"/>
                    <a:pt x="130" y="304"/>
                  </a:cubicBezTo>
                  <a:cubicBezTo>
                    <a:pt x="130" y="304"/>
                    <a:pt x="130" y="304"/>
                    <a:pt x="130" y="304"/>
                  </a:cubicBezTo>
                  <a:cubicBezTo>
                    <a:pt x="131" y="303"/>
                    <a:pt x="131" y="303"/>
                    <a:pt x="131" y="303"/>
                  </a:cubicBezTo>
                  <a:cubicBezTo>
                    <a:pt x="131" y="303"/>
                    <a:pt x="131" y="303"/>
                    <a:pt x="132" y="303"/>
                  </a:cubicBezTo>
                  <a:cubicBezTo>
                    <a:pt x="134" y="303"/>
                    <a:pt x="134" y="303"/>
                    <a:pt x="134" y="303"/>
                  </a:cubicBezTo>
                  <a:cubicBezTo>
                    <a:pt x="135" y="303"/>
                    <a:pt x="135" y="303"/>
                    <a:pt x="135" y="303"/>
                  </a:cubicBezTo>
                  <a:cubicBezTo>
                    <a:pt x="135" y="303"/>
                    <a:pt x="135" y="303"/>
                    <a:pt x="135" y="303"/>
                  </a:cubicBezTo>
                  <a:cubicBezTo>
                    <a:pt x="135" y="303"/>
                    <a:pt x="135" y="303"/>
                    <a:pt x="135" y="303"/>
                  </a:cubicBezTo>
                  <a:cubicBezTo>
                    <a:pt x="136" y="303"/>
                    <a:pt x="136" y="303"/>
                    <a:pt x="136" y="303"/>
                  </a:cubicBezTo>
                  <a:cubicBezTo>
                    <a:pt x="136" y="303"/>
                    <a:pt x="136" y="303"/>
                    <a:pt x="136" y="303"/>
                  </a:cubicBezTo>
                  <a:cubicBezTo>
                    <a:pt x="137" y="303"/>
                    <a:pt x="137" y="304"/>
                    <a:pt x="137" y="304"/>
                  </a:cubicBezTo>
                  <a:cubicBezTo>
                    <a:pt x="137" y="304"/>
                    <a:pt x="137" y="304"/>
                    <a:pt x="137" y="304"/>
                  </a:cubicBezTo>
                  <a:cubicBezTo>
                    <a:pt x="137" y="305"/>
                    <a:pt x="137" y="305"/>
                    <a:pt x="137" y="305"/>
                  </a:cubicBezTo>
                  <a:cubicBezTo>
                    <a:pt x="137" y="305"/>
                    <a:pt x="137" y="305"/>
                    <a:pt x="137" y="305"/>
                  </a:cubicBezTo>
                  <a:cubicBezTo>
                    <a:pt x="137" y="305"/>
                    <a:pt x="137" y="305"/>
                    <a:pt x="137" y="305"/>
                  </a:cubicBezTo>
                  <a:cubicBezTo>
                    <a:pt x="138" y="306"/>
                    <a:pt x="138" y="306"/>
                    <a:pt x="138" y="306"/>
                  </a:cubicBezTo>
                  <a:cubicBezTo>
                    <a:pt x="139" y="306"/>
                    <a:pt x="139" y="306"/>
                    <a:pt x="139" y="307"/>
                  </a:cubicBezTo>
                  <a:cubicBezTo>
                    <a:pt x="139" y="308"/>
                    <a:pt x="139" y="308"/>
                    <a:pt x="139" y="308"/>
                  </a:cubicBezTo>
                  <a:cubicBezTo>
                    <a:pt x="140" y="308"/>
                    <a:pt x="140" y="308"/>
                    <a:pt x="140" y="308"/>
                  </a:cubicBezTo>
                  <a:cubicBezTo>
                    <a:pt x="141" y="307"/>
                    <a:pt x="141" y="307"/>
                    <a:pt x="141" y="307"/>
                  </a:cubicBezTo>
                  <a:cubicBezTo>
                    <a:pt x="141" y="307"/>
                    <a:pt x="141" y="306"/>
                    <a:pt x="141" y="306"/>
                  </a:cubicBezTo>
                  <a:cubicBezTo>
                    <a:pt x="142" y="306"/>
                    <a:pt x="142" y="306"/>
                    <a:pt x="142" y="306"/>
                  </a:cubicBezTo>
                  <a:cubicBezTo>
                    <a:pt x="142" y="306"/>
                    <a:pt x="142" y="306"/>
                    <a:pt x="142" y="306"/>
                  </a:cubicBezTo>
                  <a:cubicBezTo>
                    <a:pt x="143" y="305"/>
                    <a:pt x="143" y="305"/>
                    <a:pt x="143" y="306"/>
                  </a:cubicBezTo>
                  <a:cubicBezTo>
                    <a:pt x="145" y="307"/>
                    <a:pt x="145" y="307"/>
                    <a:pt x="145" y="307"/>
                  </a:cubicBezTo>
                  <a:cubicBezTo>
                    <a:pt x="145" y="307"/>
                    <a:pt x="145" y="307"/>
                    <a:pt x="145" y="307"/>
                  </a:cubicBezTo>
                  <a:cubicBezTo>
                    <a:pt x="145" y="307"/>
                    <a:pt x="145" y="307"/>
                    <a:pt x="145" y="307"/>
                  </a:cubicBezTo>
                  <a:cubicBezTo>
                    <a:pt x="146" y="307"/>
                    <a:pt x="146" y="307"/>
                    <a:pt x="146" y="307"/>
                  </a:cubicBezTo>
                  <a:cubicBezTo>
                    <a:pt x="146" y="307"/>
                    <a:pt x="147" y="308"/>
                    <a:pt x="147" y="308"/>
                  </a:cubicBezTo>
                  <a:cubicBezTo>
                    <a:pt x="147" y="308"/>
                    <a:pt x="147" y="308"/>
                    <a:pt x="147" y="309"/>
                  </a:cubicBezTo>
                  <a:cubicBezTo>
                    <a:pt x="147" y="308"/>
                    <a:pt x="148" y="308"/>
                    <a:pt x="148" y="308"/>
                  </a:cubicBezTo>
                  <a:cubicBezTo>
                    <a:pt x="149" y="308"/>
                    <a:pt x="149" y="308"/>
                    <a:pt x="149" y="308"/>
                  </a:cubicBezTo>
                  <a:cubicBezTo>
                    <a:pt x="149" y="307"/>
                    <a:pt x="149" y="307"/>
                    <a:pt x="149" y="307"/>
                  </a:cubicBezTo>
                  <a:cubicBezTo>
                    <a:pt x="149" y="307"/>
                    <a:pt x="150" y="307"/>
                    <a:pt x="150" y="307"/>
                  </a:cubicBezTo>
                  <a:cubicBezTo>
                    <a:pt x="150" y="307"/>
                    <a:pt x="150" y="307"/>
                    <a:pt x="150" y="307"/>
                  </a:cubicBezTo>
                  <a:cubicBezTo>
                    <a:pt x="150" y="307"/>
                    <a:pt x="151" y="307"/>
                    <a:pt x="151" y="307"/>
                  </a:cubicBezTo>
                  <a:cubicBezTo>
                    <a:pt x="151" y="307"/>
                    <a:pt x="151" y="307"/>
                    <a:pt x="151" y="308"/>
                  </a:cubicBezTo>
                  <a:cubicBezTo>
                    <a:pt x="151" y="308"/>
                    <a:pt x="152" y="308"/>
                    <a:pt x="152" y="308"/>
                  </a:cubicBezTo>
                  <a:cubicBezTo>
                    <a:pt x="152" y="308"/>
                    <a:pt x="152" y="308"/>
                    <a:pt x="152" y="308"/>
                  </a:cubicBezTo>
                  <a:cubicBezTo>
                    <a:pt x="152" y="308"/>
                    <a:pt x="152" y="308"/>
                    <a:pt x="152" y="308"/>
                  </a:cubicBezTo>
                  <a:cubicBezTo>
                    <a:pt x="152" y="307"/>
                    <a:pt x="152" y="307"/>
                    <a:pt x="152" y="307"/>
                  </a:cubicBezTo>
                  <a:cubicBezTo>
                    <a:pt x="152" y="307"/>
                    <a:pt x="153" y="306"/>
                    <a:pt x="153" y="306"/>
                  </a:cubicBezTo>
                  <a:cubicBezTo>
                    <a:pt x="153" y="306"/>
                    <a:pt x="154" y="306"/>
                    <a:pt x="154" y="306"/>
                  </a:cubicBezTo>
                  <a:cubicBezTo>
                    <a:pt x="155" y="306"/>
                    <a:pt x="155" y="306"/>
                    <a:pt x="155" y="306"/>
                  </a:cubicBezTo>
                  <a:cubicBezTo>
                    <a:pt x="155" y="306"/>
                    <a:pt x="156" y="306"/>
                    <a:pt x="156" y="307"/>
                  </a:cubicBezTo>
                  <a:cubicBezTo>
                    <a:pt x="156" y="307"/>
                    <a:pt x="156" y="307"/>
                    <a:pt x="156" y="307"/>
                  </a:cubicBezTo>
                  <a:cubicBezTo>
                    <a:pt x="156" y="307"/>
                    <a:pt x="156" y="307"/>
                    <a:pt x="156" y="307"/>
                  </a:cubicBezTo>
                  <a:cubicBezTo>
                    <a:pt x="157" y="307"/>
                    <a:pt x="157" y="307"/>
                    <a:pt x="157" y="307"/>
                  </a:cubicBezTo>
                  <a:cubicBezTo>
                    <a:pt x="157" y="307"/>
                    <a:pt x="158" y="308"/>
                    <a:pt x="158" y="308"/>
                  </a:cubicBezTo>
                  <a:cubicBezTo>
                    <a:pt x="158" y="307"/>
                    <a:pt x="158" y="307"/>
                    <a:pt x="158" y="307"/>
                  </a:cubicBezTo>
                  <a:cubicBezTo>
                    <a:pt x="159" y="307"/>
                    <a:pt x="159" y="307"/>
                    <a:pt x="159" y="307"/>
                  </a:cubicBezTo>
                  <a:cubicBezTo>
                    <a:pt x="159" y="307"/>
                    <a:pt x="159" y="307"/>
                    <a:pt x="159" y="307"/>
                  </a:cubicBezTo>
                  <a:cubicBezTo>
                    <a:pt x="160" y="307"/>
                    <a:pt x="160" y="307"/>
                    <a:pt x="160" y="307"/>
                  </a:cubicBezTo>
                  <a:cubicBezTo>
                    <a:pt x="160" y="307"/>
                    <a:pt x="160" y="307"/>
                    <a:pt x="160" y="307"/>
                  </a:cubicBezTo>
                  <a:cubicBezTo>
                    <a:pt x="161" y="307"/>
                    <a:pt x="161" y="307"/>
                    <a:pt x="161" y="307"/>
                  </a:cubicBezTo>
                  <a:cubicBezTo>
                    <a:pt x="161" y="307"/>
                    <a:pt x="161" y="308"/>
                    <a:pt x="161" y="308"/>
                  </a:cubicBezTo>
                  <a:cubicBezTo>
                    <a:pt x="161" y="308"/>
                    <a:pt x="161" y="308"/>
                    <a:pt x="161" y="308"/>
                  </a:cubicBezTo>
                  <a:cubicBezTo>
                    <a:pt x="161" y="308"/>
                    <a:pt x="162" y="308"/>
                    <a:pt x="162" y="309"/>
                  </a:cubicBezTo>
                  <a:cubicBezTo>
                    <a:pt x="162" y="309"/>
                    <a:pt x="162" y="309"/>
                    <a:pt x="162" y="309"/>
                  </a:cubicBezTo>
                  <a:cubicBezTo>
                    <a:pt x="162" y="309"/>
                    <a:pt x="162" y="309"/>
                    <a:pt x="162" y="309"/>
                  </a:cubicBezTo>
                  <a:cubicBezTo>
                    <a:pt x="162" y="309"/>
                    <a:pt x="162" y="309"/>
                    <a:pt x="162" y="309"/>
                  </a:cubicBezTo>
                  <a:cubicBezTo>
                    <a:pt x="162" y="309"/>
                    <a:pt x="163" y="309"/>
                    <a:pt x="163" y="309"/>
                  </a:cubicBezTo>
                  <a:cubicBezTo>
                    <a:pt x="163" y="309"/>
                    <a:pt x="163" y="309"/>
                    <a:pt x="163" y="309"/>
                  </a:cubicBezTo>
                  <a:cubicBezTo>
                    <a:pt x="163" y="309"/>
                    <a:pt x="164" y="309"/>
                    <a:pt x="164" y="309"/>
                  </a:cubicBezTo>
                  <a:cubicBezTo>
                    <a:pt x="164" y="310"/>
                    <a:pt x="164" y="310"/>
                    <a:pt x="164" y="310"/>
                  </a:cubicBezTo>
                  <a:cubicBezTo>
                    <a:pt x="164" y="309"/>
                    <a:pt x="165" y="309"/>
                    <a:pt x="165" y="309"/>
                  </a:cubicBezTo>
                  <a:cubicBezTo>
                    <a:pt x="166" y="309"/>
                    <a:pt x="166" y="309"/>
                    <a:pt x="166" y="309"/>
                  </a:cubicBezTo>
                  <a:cubicBezTo>
                    <a:pt x="166" y="309"/>
                    <a:pt x="166" y="309"/>
                    <a:pt x="166" y="309"/>
                  </a:cubicBezTo>
                  <a:cubicBezTo>
                    <a:pt x="166" y="309"/>
                    <a:pt x="166" y="308"/>
                    <a:pt x="166" y="308"/>
                  </a:cubicBezTo>
                  <a:cubicBezTo>
                    <a:pt x="167" y="308"/>
                    <a:pt x="167" y="308"/>
                    <a:pt x="167" y="308"/>
                  </a:cubicBezTo>
                  <a:cubicBezTo>
                    <a:pt x="168" y="308"/>
                    <a:pt x="168" y="308"/>
                    <a:pt x="168" y="308"/>
                  </a:cubicBezTo>
                  <a:cubicBezTo>
                    <a:pt x="169" y="308"/>
                    <a:pt x="169" y="308"/>
                    <a:pt x="169" y="308"/>
                  </a:cubicBezTo>
                  <a:cubicBezTo>
                    <a:pt x="169" y="307"/>
                    <a:pt x="169" y="307"/>
                    <a:pt x="169" y="307"/>
                  </a:cubicBezTo>
                  <a:cubicBezTo>
                    <a:pt x="169" y="307"/>
                    <a:pt x="169" y="307"/>
                    <a:pt x="169" y="307"/>
                  </a:cubicBezTo>
                  <a:cubicBezTo>
                    <a:pt x="170" y="307"/>
                    <a:pt x="170" y="307"/>
                    <a:pt x="170" y="307"/>
                  </a:cubicBezTo>
                  <a:cubicBezTo>
                    <a:pt x="170" y="307"/>
                    <a:pt x="170" y="307"/>
                    <a:pt x="170" y="307"/>
                  </a:cubicBezTo>
                  <a:cubicBezTo>
                    <a:pt x="171" y="307"/>
                    <a:pt x="171" y="307"/>
                    <a:pt x="171" y="307"/>
                  </a:cubicBezTo>
                  <a:cubicBezTo>
                    <a:pt x="171" y="307"/>
                    <a:pt x="171" y="307"/>
                    <a:pt x="172" y="307"/>
                  </a:cubicBezTo>
                  <a:cubicBezTo>
                    <a:pt x="172" y="307"/>
                    <a:pt x="172" y="307"/>
                    <a:pt x="172" y="307"/>
                  </a:cubicBezTo>
                  <a:cubicBezTo>
                    <a:pt x="172" y="307"/>
                    <a:pt x="172" y="307"/>
                    <a:pt x="172" y="307"/>
                  </a:cubicBezTo>
                  <a:cubicBezTo>
                    <a:pt x="172" y="307"/>
                    <a:pt x="172" y="307"/>
                    <a:pt x="172" y="307"/>
                  </a:cubicBezTo>
                  <a:cubicBezTo>
                    <a:pt x="172" y="307"/>
                    <a:pt x="173" y="307"/>
                    <a:pt x="173" y="307"/>
                  </a:cubicBezTo>
                  <a:cubicBezTo>
                    <a:pt x="173" y="307"/>
                    <a:pt x="173" y="307"/>
                    <a:pt x="173" y="307"/>
                  </a:cubicBezTo>
                  <a:cubicBezTo>
                    <a:pt x="173" y="307"/>
                    <a:pt x="173" y="306"/>
                    <a:pt x="173" y="306"/>
                  </a:cubicBezTo>
                  <a:cubicBezTo>
                    <a:pt x="174" y="306"/>
                    <a:pt x="174" y="306"/>
                    <a:pt x="174" y="306"/>
                  </a:cubicBezTo>
                  <a:cubicBezTo>
                    <a:pt x="174" y="306"/>
                    <a:pt x="174" y="306"/>
                    <a:pt x="174" y="306"/>
                  </a:cubicBezTo>
                  <a:cubicBezTo>
                    <a:pt x="175" y="306"/>
                    <a:pt x="175" y="306"/>
                    <a:pt x="175" y="306"/>
                  </a:cubicBezTo>
                  <a:cubicBezTo>
                    <a:pt x="175" y="306"/>
                    <a:pt x="175" y="306"/>
                    <a:pt x="175" y="306"/>
                  </a:cubicBezTo>
                  <a:cubicBezTo>
                    <a:pt x="175" y="305"/>
                    <a:pt x="175" y="305"/>
                    <a:pt x="175" y="305"/>
                  </a:cubicBezTo>
                  <a:cubicBezTo>
                    <a:pt x="175" y="305"/>
                    <a:pt x="176" y="305"/>
                    <a:pt x="176" y="305"/>
                  </a:cubicBezTo>
                  <a:cubicBezTo>
                    <a:pt x="176" y="305"/>
                    <a:pt x="176" y="305"/>
                    <a:pt x="177" y="305"/>
                  </a:cubicBezTo>
                  <a:cubicBezTo>
                    <a:pt x="177" y="305"/>
                    <a:pt x="177" y="305"/>
                    <a:pt x="177" y="306"/>
                  </a:cubicBezTo>
                  <a:cubicBezTo>
                    <a:pt x="177" y="306"/>
                    <a:pt x="178" y="306"/>
                    <a:pt x="178" y="306"/>
                  </a:cubicBezTo>
                  <a:cubicBezTo>
                    <a:pt x="178" y="306"/>
                    <a:pt x="178" y="306"/>
                    <a:pt x="178" y="306"/>
                  </a:cubicBezTo>
                  <a:cubicBezTo>
                    <a:pt x="178" y="307"/>
                    <a:pt x="178" y="307"/>
                    <a:pt x="178" y="307"/>
                  </a:cubicBezTo>
                  <a:cubicBezTo>
                    <a:pt x="179" y="307"/>
                    <a:pt x="179" y="307"/>
                    <a:pt x="179" y="307"/>
                  </a:cubicBezTo>
                  <a:cubicBezTo>
                    <a:pt x="179" y="307"/>
                    <a:pt x="179" y="306"/>
                    <a:pt x="179" y="306"/>
                  </a:cubicBezTo>
                  <a:cubicBezTo>
                    <a:pt x="180" y="306"/>
                    <a:pt x="180" y="306"/>
                    <a:pt x="180" y="306"/>
                  </a:cubicBezTo>
                  <a:cubicBezTo>
                    <a:pt x="180" y="306"/>
                    <a:pt x="180" y="306"/>
                    <a:pt x="180" y="306"/>
                  </a:cubicBezTo>
                  <a:cubicBezTo>
                    <a:pt x="180" y="306"/>
                    <a:pt x="180" y="306"/>
                    <a:pt x="180" y="306"/>
                  </a:cubicBezTo>
                  <a:cubicBezTo>
                    <a:pt x="180" y="306"/>
                    <a:pt x="181" y="306"/>
                    <a:pt x="181" y="305"/>
                  </a:cubicBezTo>
                  <a:cubicBezTo>
                    <a:pt x="181" y="305"/>
                    <a:pt x="181" y="305"/>
                    <a:pt x="181" y="305"/>
                  </a:cubicBezTo>
                  <a:cubicBezTo>
                    <a:pt x="181" y="305"/>
                    <a:pt x="182" y="305"/>
                    <a:pt x="182" y="305"/>
                  </a:cubicBezTo>
                  <a:cubicBezTo>
                    <a:pt x="183" y="305"/>
                    <a:pt x="183" y="305"/>
                    <a:pt x="183" y="305"/>
                  </a:cubicBezTo>
                  <a:cubicBezTo>
                    <a:pt x="184" y="305"/>
                    <a:pt x="184" y="305"/>
                    <a:pt x="184" y="306"/>
                  </a:cubicBezTo>
                  <a:cubicBezTo>
                    <a:pt x="184" y="306"/>
                    <a:pt x="184" y="306"/>
                    <a:pt x="184" y="306"/>
                  </a:cubicBezTo>
                  <a:cubicBezTo>
                    <a:pt x="185" y="306"/>
                    <a:pt x="185" y="306"/>
                    <a:pt x="185" y="306"/>
                  </a:cubicBezTo>
                  <a:cubicBezTo>
                    <a:pt x="185" y="306"/>
                    <a:pt x="185" y="306"/>
                    <a:pt x="185" y="306"/>
                  </a:cubicBezTo>
                  <a:cubicBezTo>
                    <a:pt x="186" y="307"/>
                    <a:pt x="186" y="307"/>
                    <a:pt x="186" y="307"/>
                  </a:cubicBezTo>
                  <a:cubicBezTo>
                    <a:pt x="186" y="307"/>
                    <a:pt x="186" y="307"/>
                    <a:pt x="186" y="307"/>
                  </a:cubicBezTo>
                  <a:cubicBezTo>
                    <a:pt x="187" y="307"/>
                    <a:pt x="187" y="307"/>
                    <a:pt x="187" y="307"/>
                  </a:cubicBezTo>
                  <a:cubicBezTo>
                    <a:pt x="187" y="307"/>
                    <a:pt x="187" y="307"/>
                    <a:pt x="188" y="308"/>
                  </a:cubicBezTo>
                  <a:cubicBezTo>
                    <a:pt x="188" y="308"/>
                    <a:pt x="188" y="308"/>
                    <a:pt x="188" y="308"/>
                  </a:cubicBezTo>
                  <a:cubicBezTo>
                    <a:pt x="188" y="308"/>
                    <a:pt x="188" y="308"/>
                    <a:pt x="188" y="308"/>
                  </a:cubicBezTo>
                  <a:cubicBezTo>
                    <a:pt x="188" y="309"/>
                    <a:pt x="188" y="309"/>
                    <a:pt x="188" y="309"/>
                  </a:cubicBezTo>
                  <a:cubicBezTo>
                    <a:pt x="189" y="309"/>
                    <a:pt x="189" y="309"/>
                    <a:pt x="189" y="309"/>
                  </a:cubicBezTo>
                  <a:cubicBezTo>
                    <a:pt x="189" y="309"/>
                    <a:pt x="189" y="309"/>
                    <a:pt x="189" y="309"/>
                  </a:cubicBezTo>
                  <a:cubicBezTo>
                    <a:pt x="190" y="309"/>
                    <a:pt x="190" y="309"/>
                    <a:pt x="190" y="309"/>
                  </a:cubicBezTo>
                  <a:cubicBezTo>
                    <a:pt x="191" y="310"/>
                    <a:pt x="191" y="310"/>
                    <a:pt x="191" y="310"/>
                  </a:cubicBezTo>
                  <a:cubicBezTo>
                    <a:pt x="191" y="310"/>
                    <a:pt x="191" y="310"/>
                    <a:pt x="191" y="310"/>
                  </a:cubicBezTo>
                  <a:cubicBezTo>
                    <a:pt x="191" y="310"/>
                    <a:pt x="191" y="310"/>
                    <a:pt x="191" y="310"/>
                  </a:cubicBezTo>
                  <a:cubicBezTo>
                    <a:pt x="192" y="310"/>
                    <a:pt x="192" y="310"/>
                    <a:pt x="192" y="310"/>
                  </a:cubicBezTo>
                  <a:cubicBezTo>
                    <a:pt x="192" y="310"/>
                    <a:pt x="192" y="310"/>
                    <a:pt x="192" y="310"/>
                  </a:cubicBezTo>
                  <a:cubicBezTo>
                    <a:pt x="193" y="310"/>
                    <a:pt x="193" y="310"/>
                    <a:pt x="193" y="310"/>
                  </a:cubicBezTo>
                  <a:cubicBezTo>
                    <a:pt x="194" y="310"/>
                    <a:pt x="194" y="310"/>
                    <a:pt x="194" y="310"/>
                  </a:cubicBezTo>
                  <a:cubicBezTo>
                    <a:pt x="194" y="308"/>
                    <a:pt x="194" y="308"/>
                    <a:pt x="194" y="308"/>
                  </a:cubicBezTo>
                  <a:cubicBezTo>
                    <a:pt x="194" y="308"/>
                    <a:pt x="195" y="308"/>
                    <a:pt x="195" y="308"/>
                  </a:cubicBezTo>
                  <a:cubicBezTo>
                    <a:pt x="196" y="308"/>
                    <a:pt x="197" y="308"/>
                    <a:pt x="198" y="307"/>
                  </a:cubicBezTo>
                  <a:cubicBezTo>
                    <a:pt x="199" y="306"/>
                    <a:pt x="200" y="304"/>
                    <a:pt x="199" y="302"/>
                  </a:cubicBezTo>
                  <a:cubicBezTo>
                    <a:pt x="197" y="299"/>
                    <a:pt x="197" y="299"/>
                    <a:pt x="197" y="299"/>
                  </a:cubicBezTo>
                  <a:cubicBezTo>
                    <a:pt x="197" y="299"/>
                    <a:pt x="197" y="299"/>
                    <a:pt x="197" y="299"/>
                  </a:cubicBezTo>
                  <a:cubicBezTo>
                    <a:pt x="197" y="298"/>
                    <a:pt x="197" y="298"/>
                    <a:pt x="197" y="298"/>
                  </a:cubicBezTo>
                  <a:cubicBezTo>
                    <a:pt x="197" y="298"/>
                    <a:pt x="197" y="298"/>
                    <a:pt x="197" y="298"/>
                  </a:cubicBezTo>
                  <a:cubicBezTo>
                    <a:pt x="196" y="297"/>
                    <a:pt x="196" y="297"/>
                    <a:pt x="196" y="297"/>
                  </a:cubicBezTo>
                  <a:cubicBezTo>
                    <a:pt x="196" y="297"/>
                    <a:pt x="196" y="297"/>
                    <a:pt x="196" y="297"/>
                  </a:cubicBezTo>
                  <a:cubicBezTo>
                    <a:pt x="196" y="296"/>
                    <a:pt x="196" y="296"/>
                    <a:pt x="196" y="296"/>
                  </a:cubicBezTo>
                  <a:cubicBezTo>
                    <a:pt x="196" y="296"/>
                    <a:pt x="196" y="296"/>
                    <a:pt x="196" y="296"/>
                  </a:cubicBezTo>
                  <a:cubicBezTo>
                    <a:pt x="197" y="290"/>
                    <a:pt x="197" y="290"/>
                    <a:pt x="197" y="290"/>
                  </a:cubicBezTo>
                  <a:cubicBezTo>
                    <a:pt x="197" y="290"/>
                    <a:pt x="197" y="290"/>
                    <a:pt x="197" y="289"/>
                  </a:cubicBezTo>
                  <a:cubicBezTo>
                    <a:pt x="197" y="284"/>
                    <a:pt x="197" y="284"/>
                    <a:pt x="197" y="284"/>
                  </a:cubicBezTo>
                  <a:cubicBezTo>
                    <a:pt x="198" y="281"/>
                    <a:pt x="198" y="281"/>
                    <a:pt x="198" y="281"/>
                  </a:cubicBezTo>
                  <a:cubicBezTo>
                    <a:pt x="198" y="281"/>
                    <a:pt x="198" y="281"/>
                    <a:pt x="198" y="281"/>
                  </a:cubicBezTo>
                  <a:cubicBezTo>
                    <a:pt x="198" y="281"/>
                    <a:pt x="198" y="281"/>
                    <a:pt x="198" y="281"/>
                  </a:cubicBezTo>
                  <a:cubicBezTo>
                    <a:pt x="198" y="281"/>
                    <a:pt x="198" y="281"/>
                    <a:pt x="198" y="281"/>
                  </a:cubicBezTo>
                  <a:cubicBezTo>
                    <a:pt x="198" y="281"/>
                    <a:pt x="198" y="280"/>
                    <a:pt x="199" y="280"/>
                  </a:cubicBezTo>
                  <a:cubicBezTo>
                    <a:pt x="199" y="280"/>
                    <a:pt x="199" y="280"/>
                    <a:pt x="199" y="280"/>
                  </a:cubicBezTo>
                  <a:cubicBezTo>
                    <a:pt x="199" y="280"/>
                    <a:pt x="199" y="280"/>
                    <a:pt x="199" y="280"/>
                  </a:cubicBezTo>
                  <a:cubicBezTo>
                    <a:pt x="199" y="280"/>
                    <a:pt x="199" y="280"/>
                    <a:pt x="199" y="280"/>
                  </a:cubicBezTo>
                  <a:cubicBezTo>
                    <a:pt x="199" y="280"/>
                    <a:pt x="199" y="280"/>
                    <a:pt x="199" y="280"/>
                  </a:cubicBezTo>
                  <a:cubicBezTo>
                    <a:pt x="201" y="280"/>
                    <a:pt x="201" y="280"/>
                    <a:pt x="201" y="280"/>
                  </a:cubicBezTo>
                  <a:cubicBezTo>
                    <a:pt x="205" y="280"/>
                    <a:pt x="205" y="280"/>
                    <a:pt x="205" y="280"/>
                  </a:cubicBezTo>
                  <a:cubicBezTo>
                    <a:pt x="206" y="280"/>
                    <a:pt x="206" y="280"/>
                    <a:pt x="206" y="280"/>
                  </a:cubicBezTo>
                  <a:cubicBezTo>
                    <a:pt x="208" y="280"/>
                    <a:pt x="208" y="280"/>
                    <a:pt x="208" y="280"/>
                  </a:cubicBezTo>
                  <a:cubicBezTo>
                    <a:pt x="208" y="280"/>
                    <a:pt x="208" y="280"/>
                    <a:pt x="208" y="280"/>
                  </a:cubicBezTo>
                  <a:cubicBezTo>
                    <a:pt x="210" y="280"/>
                    <a:pt x="210" y="280"/>
                    <a:pt x="210" y="280"/>
                  </a:cubicBezTo>
                  <a:cubicBezTo>
                    <a:pt x="210" y="280"/>
                    <a:pt x="210" y="280"/>
                    <a:pt x="211" y="280"/>
                  </a:cubicBezTo>
                  <a:cubicBezTo>
                    <a:pt x="211" y="280"/>
                    <a:pt x="211" y="280"/>
                    <a:pt x="211" y="280"/>
                  </a:cubicBezTo>
                  <a:cubicBezTo>
                    <a:pt x="211" y="280"/>
                    <a:pt x="212" y="280"/>
                    <a:pt x="212" y="280"/>
                  </a:cubicBezTo>
                  <a:cubicBezTo>
                    <a:pt x="212" y="280"/>
                    <a:pt x="212" y="280"/>
                    <a:pt x="212" y="280"/>
                  </a:cubicBezTo>
                  <a:cubicBezTo>
                    <a:pt x="213" y="280"/>
                    <a:pt x="213" y="279"/>
                    <a:pt x="214" y="279"/>
                  </a:cubicBezTo>
                  <a:cubicBezTo>
                    <a:pt x="214" y="279"/>
                    <a:pt x="214" y="279"/>
                    <a:pt x="214" y="278"/>
                  </a:cubicBezTo>
                  <a:cubicBezTo>
                    <a:pt x="215" y="278"/>
                    <a:pt x="215" y="278"/>
                    <a:pt x="215" y="277"/>
                  </a:cubicBezTo>
                  <a:cubicBezTo>
                    <a:pt x="215" y="277"/>
                    <a:pt x="216" y="276"/>
                    <a:pt x="216" y="276"/>
                  </a:cubicBezTo>
                  <a:cubicBezTo>
                    <a:pt x="216" y="276"/>
                    <a:pt x="216" y="275"/>
                    <a:pt x="216" y="275"/>
                  </a:cubicBezTo>
                  <a:cubicBezTo>
                    <a:pt x="216" y="274"/>
                    <a:pt x="215" y="272"/>
                    <a:pt x="214" y="272"/>
                  </a:cubicBezTo>
                  <a:cubicBezTo>
                    <a:pt x="213" y="271"/>
                    <a:pt x="213" y="271"/>
                    <a:pt x="213" y="271"/>
                  </a:cubicBezTo>
                  <a:cubicBezTo>
                    <a:pt x="213" y="271"/>
                    <a:pt x="212" y="270"/>
                    <a:pt x="212" y="270"/>
                  </a:cubicBezTo>
                  <a:cubicBezTo>
                    <a:pt x="209" y="270"/>
                    <a:pt x="209" y="270"/>
                    <a:pt x="209" y="270"/>
                  </a:cubicBezTo>
                  <a:cubicBezTo>
                    <a:pt x="209" y="270"/>
                    <a:pt x="209" y="270"/>
                    <a:pt x="209" y="270"/>
                  </a:cubicBezTo>
                  <a:cubicBezTo>
                    <a:pt x="207" y="270"/>
                    <a:pt x="207" y="270"/>
                    <a:pt x="207" y="270"/>
                  </a:cubicBezTo>
                  <a:cubicBezTo>
                    <a:pt x="202" y="268"/>
                    <a:pt x="202" y="268"/>
                    <a:pt x="202" y="268"/>
                  </a:cubicBezTo>
                  <a:cubicBezTo>
                    <a:pt x="202" y="268"/>
                    <a:pt x="202" y="268"/>
                    <a:pt x="202" y="268"/>
                  </a:cubicBezTo>
                  <a:cubicBezTo>
                    <a:pt x="201" y="268"/>
                    <a:pt x="201" y="267"/>
                    <a:pt x="201" y="267"/>
                  </a:cubicBezTo>
                  <a:cubicBezTo>
                    <a:pt x="201" y="267"/>
                    <a:pt x="201" y="267"/>
                    <a:pt x="201" y="267"/>
                  </a:cubicBezTo>
                  <a:cubicBezTo>
                    <a:pt x="201" y="267"/>
                    <a:pt x="201" y="267"/>
                    <a:pt x="200" y="267"/>
                  </a:cubicBezTo>
                  <a:cubicBezTo>
                    <a:pt x="200" y="267"/>
                    <a:pt x="200" y="267"/>
                    <a:pt x="200" y="267"/>
                  </a:cubicBezTo>
                  <a:cubicBezTo>
                    <a:pt x="200" y="266"/>
                    <a:pt x="200" y="266"/>
                    <a:pt x="200" y="266"/>
                  </a:cubicBezTo>
                  <a:cubicBezTo>
                    <a:pt x="197" y="263"/>
                    <a:pt x="197" y="263"/>
                    <a:pt x="197" y="263"/>
                  </a:cubicBezTo>
                  <a:cubicBezTo>
                    <a:pt x="197" y="263"/>
                    <a:pt x="197" y="263"/>
                    <a:pt x="197" y="263"/>
                  </a:cubicBezTo>
                  <a:cubicBezTo>
                    <a:pt x="200" y="261"/>
                    <a:pt x="200" y="261"/>
                    <a:pt x="200" y="261"/>
                  </a:cubicBezTo>
                  <a:cubicBezTo>
                    <a:pt x="200" y="261"/>
                    <a:pt x="200" y="260"/>
                    <a:pt x="201" y="260"/>
                  </a:cubicBezTo>
                  <a:cubicBezTo>
                    <a:pt x="201" y="260"/>
                    <a:pt x="201" y="260"/>
                    <a:pt x="201" y="260"/>
                  </a:cubicBezTo>
                  <a:cubicBezTo>
                    <a:pt x="202" y="259"/>
                    <a:pt x="202" y="259"/>
                    <a:pt x="202" y="259"/>
                  </a:cubicBezTo>
                  <a:cubicBezTo>
                    <a:pt x="203" y="259"/>
                    <a:pt x="203" y="259"/>
                    <a:pt x="203" y="259"/>
                  </a:cubicBezTo>
                  <a:cubicBezTo>
                    <a:pt x="207" y="258"/>
                    <a:pt x="207" y="258"/>
                    <a:pt x="207" y="258"/>
                  </a:cubicBezTo>
                  <a:cubicBezTo>
                    <a:pt x="220" y="256"/>
                    <a:pt x="220" y="256"/>
                    <a:pt x="220" y="256"/>
                  </a:cubicBezTo>
                  <a:cubicBezTo>
                    <a:pt x="226" y="254"/>
                    <a:pt x="226" y="254"/>
                    <a:pt x="226" y="254"/>
                  </a:cubicBezTo>
                  <a:cubicBezTo>
                    <a:pt x="232" y="254"/>
                    <a:pt x="232" y="254"/>
                    <a:pt x="232" y="254"/>
                  </a:cubicBezTo>
                  <a:cubicBezTo>
                    <a:pt x="239" y="253"/>
                    <a:pt x="239" y="253"/>
                    <a:pt x="239" y="253"/>
                  </a:cubicBezTo>
                  <a:cubicBezTo>
                    <a:pt x="240" y="253"/>
                    <a:pt x="240" y="253"/>
                    <a:pt x="240" y="253"/>
                  </a:cubicBezTo>
                  <a:cubicBezTo>
                    <a:pt x="242" y="252"/>
                    <a:pt x="242" y="252"/>
                    <a:pt x="242" y="252"/>
                  </a:cubicBezTo>
                  <a:cubicBezTo>
                    <a:pt x="245" y="251"/>
                    <a:pt x="245" y="251"/>
                    <a:pt x="245" y="251"/>
                  </a:cubicBezTo>
                  <a:cubicBezTo>
                    <a:pt x="254" y="244"/>
                    <a:pt x="254" y="244"/>
                    <a:pt x="254" y="244"/>
                  </a:cubicBezTo>
                  <a:cubicBezTo>
                    <a:pt x="257" y="243"/>
                    <a:pt x="257" y="243"/>
                    <a:pt x="257" y="243"/>
                  </a:cubicBezTo>
                  <a:cubicBezTo>
                    <a:pt x="261" y="240"/>
                    <a:pt x="261" y="240"/>
                    <a:pt x="261" y="240"/>
                  </a:cubicBezTo>
                  <a:cubicBezTo>
                    <a:pt x="261" y="240"/>
                    <a:pt x="262" y="240"/>
                    <a:pt x="262" y="239"/>
                  </a:cubicBezTo>
                  <a:cubicBezTo>
                    <a:pt x="262" y="239"/>
                    <a:pt x="262" y="239"/>
                    <a:pt x="262" y="239"/>
                  </a:cubicBezTo>
                  <a:cubicBezTo>
                    <a:pt x="262" y="239"/>
                    <a:pt x="263" y="239"/>
                    <a:pt x="263" y="238"/>
                  </a:cubicBezTo>
                  <a:cubicBezTo>
                    <a:pt x="263" y="238"/>
                    <a:pt x="263" y="238"/>
                    <a:pt x="263" y="238"/>
                  </a:cubicBezTo>
                  <a:cubicBezTo>
                    <a:pt x="263" y="238"/>
                    <a:pt x="264" y="237"/>
                    <a:pt x="264" y="237"/>
                  </a:cubicBezTo>
                  <a:cubicBezTo>
                    <a:pt x="264" y="237"/>
                    <a:pt x="264" y="237"/>
                    <a:pt x="264" y="237"/>
                  </a:cubicBezTo>
                  <a:cubicBezTo>
                    <a:pt x="264" y="237"/>
                    <a:pt x="264" y="236"/>
                    <a:pt x="264" y="236"/>
                  </a:cubicBezTo>
                  <a:cubicBezTo>
                    <a:pt x="264" y="236"/>
                    <a:pt x="264" y="236"/>
                    <a:pt x="264" y="236"/>
                  </a:cubicBezTo>
                  <a:cubicBezTo>
                    <a:pt x="264" y="236"/>
                    <a:pt x="265" y="235"/>
                    <a:pt x="265" y="235"/>
                  </a:cubicBezTo>
                  <a:cubicBezTo>
                    <a:pt x="265" y="235"/>
                    <a:pt x="265" y="235"/>
                    <a:pt x="265" y="235"/>
                  </a:cubicBezTo>
                  <a:cubicBezTo>
                    <a:pt x="265" y="235"/>
                    <a:pt x="265" y="234"/>
                    <a:pt x="265" y="234"/>
                  </a:cubicBezTo>
                  <a:cubicBezTo>
                    <a:pt x="265" y="234"/>
                    <a:pt x="265" y="233"/>
                    <a:pt x="265" y="233"/>
                  </a:cubicBezTo>
                  <a:cubicBezTo>
                    <a:pt x="265" y="232"/>
                    <a:pt x="265" y="232"/>
                    <a:pt x="265" y="232"/>
                  </a:cubicBezTo>
                  <a:cubicBezTo>
                    <a:pt x="265" y="232"/>
                    <a:pt x="265" y="231"/>
                    <a:pt x="264" y="231"/>
                  </a:cubicBezTo>
                  <a:cubicBezTo>
                    <a:pt x="264" y="231"/>
                    <a:pt x="264" y="230"/>
                    <a:pt x="264" y="230"/>
                  </a:cubicBezTo>
                  <a:cubicBezTo>
                    <a:pt x="264" y="230"/>
                    <a:pt x="264" y="230"/>
                    <a:pt x="264" y="230"/>
                  </a:cubicBezTo>
                  <a:cubicBezTo>
                    <a:pt x="264" y="230"/>
                    <a:pt x="264" y="229"/>
                    <a:pt x="264" y="229"/>
                  </a:cubicBezTo>
                  <a:cubicBezTo>
                    <a:pt x="264" y="229"/>
                    <a:pt x="263" y="229"/>
                    <a:pt x="263" y="229"/>
                  </a:cubicBezTo>
                  <a:cubicBezTo>
                    <a:pt x="263" y="229"/>
                    <a:pt x="263" y="229"/>
                    <a:pt x="263" y="228"/>
                  </a:cubicBezTo>
                  <a:cubicBezTo>
                    <a:pt x="263" y="228"/>
                    <a:pt x="263" y="228"/>
                    <a:pt x="262" y="228"/>
                  </a:cubicBezTo>
                  <a:cubicBezTo>
                    <a:pt x="262" y="228"/>
                    <a:pt x="262" y="228"/>
                    <a:pt x="262" y="227"/>
                  </a:cubicBezTo>
                  <a:cubicBezTo>
                    <a:pt x="261" y="227"/>
                    <a:pt x="261" y="227"/>
                    <a:pt x="261" y="227"/>
                  </a:cubicBezTo>
                  <a:cubicBezTo>
                    <a:pt x="261" y="227"/>
                    <a:pt x="261" y="227"/>
                    <a:pt x="261" y="227"/>
                  </a:cubicBezTo>
                  <a:cubicBezTo>
                    <a:pt x="261" y="227"/>
                    <a:pt x="261" y="227"/>
                    <a:pt x="260" y="227"/>
                  </a:cubicBezTo>
                  <a:cubicBezTo>
                    <a:pt x="260" y="227"/>
                    <a:pt x="260" y="227"/>
                    <a:pt x="260" y="227"/>
                  </a:cubicBezTo>
                  <a:cubicBezTo>
                    <a:pt x="259" y="227"/>
                    <a:pt x="259" y="227"/>
                    <a:pt x="259" y="227"/>
                  </a:cubicBezTo>
                  <a:cubicBezTo>
                    <a:pt x="258" y="227"/>
                    <a:pt x="258" y="227"/>
                    <a:pt x="258" y="227"/>
                  </a:cubicBezTo>
                  <a:cubicBezTo>
                    <a:pt x="255" y="227"/>
                    <a:pt x="255" y="227"/>
                    <a:pt x="255" y="227"/>
                  </a:cubicBezTo>
                  <a:cubicBezTo>
                    <a:pt x="251" y="228"/>
                    <a:pt x="251" y="228"/>
                    <a:pt x="251" y="228"/>
                  </a:cubicBezTo>
                  <a:cubicBezTo>
                    <a:pt x="250" y="228"/>
                    <a:pt x="250" y="228"/>
                    <a:pt x="250" y="228"/>
                  </a:cubicBezTo>
                  <a:cubicBezTo>
                    <a:pt x="250" y="228"/>
                    <a:pt x="250" y="228"/>
                    <a:pt x="249" y="229"/>
                  </a:cubicBezTo>
                  <a:cubicBezTo>
                    <a:pt x="249" y="229"/>
                    <a:pt x="248" y="229"/>
                    <a:pt x="247" y="229"/>
                  </a:cubicBezTo>
                  <a:cubicBezTo>
                    <a:pt x="247" y="230"/>
                    <a:pt x="247" y="230"/>
                    <a:pt x="247" y="230"/>
                  </a:cubicBezTo>
                  <a:cubicBezTo>
                    <a:pt x="247" y="230"/>
                    <a:pt x="247" y="230"/>
                    <a:pt x="247" y="230"/>
                  </a:cubicBezTo>
                  <a:cubicBezTo>
                    <a:pt x="247" y="230"/>
                    <a:pt x="246" y="230"/>
                    <a:pt x="246" y="230"/>
                  </a:cubicBezTo>
                  <a:cubicBezTo>
                    <a:pt x="246" y="230"/>
                    <a:pt x="246" y="231"/>
                    <a:pt x="246" y="231"/>
                  </a:cubicBezTo>
                  <a:cubicBezTo>
                    <a:pt x="246" y="231"/>
                    <a:pt x="246" y="231"/>
                    <a:pt x="246" y="231"/>
                  </a:cubicBezTo>
                  <a:cubicBezTo>
                    <a:pt x="246" y="231"/>
                    <a:pt x="246" y="231"/>
                    <a:pt x="246" y="231"/>
                  </a:cubicBezTo>
                  <a:cubicBezTo>
                    <a:pt x="246" y="231"/>
                    <a:pt x="246" y="231"/>
                    <a:pt x="246" y="231"/>
                  </a:cubicBezTo>
                  <a:cubicBezTo>
                    <a:pt x="246" y="231"/>
                    <a:pt x="246" y="231"/>
                    <a:pt x="246" y="231"/>
                  </a:cubicBezTo>
                  <a:cubicBezTo>
                    <a:pt x="246" y="231"/>
                    <a:pt x="246" y="231"/>
                    <a:pt x="246" y="231"/>
                  </a:cubicBezTo>
                  <a:cubicBezTo>
                    <a:pt x="246" y="231"/>
                    <a:pt x="246" y="231"/>
                    <a:pt x="246" y="231"/>
                  </a:cubicBezTo>
                  <a:cubicBezTo>
                    <a:pt x="246" y="231"/>
                    <a:pt x="245" y="231"/>
                    <a:pt x="245" y="231"/>
                  </a:cubicBezTo>
                  <a:cubicBezTo>
                    <a:pt x="245" y="231"/>
                    <a:pt x="245" y="231"/>
                    <a:pt x="245" y="231"/>
                  </a:cubicBezTo>
                  <a:cubicBezTo>
                    <a:pt x="244" y="231"/>
                    <a:pt x="244" y="231"/>
                    <a:pt x="244" y="231"/>
                  </a:cubicBezTo>
                  <a:cubicBezTo>
                    <a:pt x="244" y="231"/>
                    <a:pt x="244" y="231"/>
                    <a:pt x="244" y="231"/>
                  </a:cubicBezTo>
                  <a:cubicBezTo>
                    <a:pt x="241" y="233"/>
                    <a:pt x="241" y="233"/>
                    <a:pt x="241" y="233"/>
                  </a:cubicBezTo>
                  <a:cubicBezTo>
                    <a:pt x="241" y="233"/>
                    <a:pt x="241" y="233"/>
                    <a:pt x="241" y="233"/>
                  </a:cubicBezTo>
                  <a:cubicBezTo>
                    <a:pt x="241" y="233"/>
                    <a:pt x="241" y="233"/>
                    <a:pt x="241" y="233"/>
                  </a:cubicBezTo>
                  <a:cubicBezTo>
                    <a:pt x="240" y="232"/>
                    <a:pt x="240" y="232"/>
                    <a:pt x="240" y="232"/>
                  </a:cubicBezTo>
                  <a:cubicBezTo>
                    <a:pt x="240" y="232"/>
                    <a:pt x="240" y="232"/>
                    <a:pt x="240" y="232"/>
                  </a:cubicBezTo>
                  <a:cubicBezTo>
                    <a:pt x="240" y="231"/>
                    <a:pt x="240" y="231"/>
                    <a:pt x="239" y="230"/>
                  </a:cubicBezTo>
                  <a:cubicBezTo>
                    <a:pt x="239" y="230"/>
                    <a:pt x="239" y="230"/>
                    <a:pt x="239" y="230"/>
                  </a:cubicBezTo>
                  <a:cubicBezTo>
                    <a:pt x="239" y="230"/>
                    <a:pt x="239" y="229"/>
                    <a:pt x="238" y="229"/>
                  </a:cubicBezTo>
                  <a:cubicBezTo>
                    <a:pt x="238" y="229"/>
                    <a:pt x="238" y="229"/>
                    <a:pt x="238" y="229"/>
                  </a:cubicBezTo>
                  <a:cubicBezTo>
                    <a:pt x="238" y="229"/>
                    <a:pt x="237" y="228"/>
                    <a:pt x="237" y="228"/>
                  </a:cubicBezTo>
                  <a:cubicBezTo>
                    <a:pt x="237" y="228"/>
                    <a:pt x="237" y="228"/>
                    <a:pt x="237" y="228"/>
                  </a:cubicBezTo>
                  <a:cubicBezTo>
                    <a:pt x="237" y="228"/>
                    <a:pt x="236" y="228"/>
                    <a:pt x="236" y="228"/>
                  </a:cubicBezTo>
                  <a:cubicBezTo>
                    <a:pt x="236" y="228"/>
                    <a:pt x="236" y="227"/>
                    <a:pt x="235" y="227"/>
                  </a:cubicBezTo>
                  <a:cubicBezTo>
                    <a:pt x="235" y="227"/>
                    <a:pt x="235" y="227"/>
                    <a:pt x="235" y="227"/>
                  </a:cubicBezTo>
                  <a:cubicBezTo>
                    <a:pt x="235" y="227"/>
                    <a:pt x="234" y="227"/>
                    <a:pt x="234" y="227"/>
                  </a:cubicBezTo>
                  <a:cubicBezTo>
                    <a:pt x="230" y="227"/>
                    <a:pt x="230" y="227"/>
                    <a:pt x="230" y="227"/>
                  </a:cubicBezTo>
                  <a:cubicBezTo>
                    <a:pt x="221" y="228"/>
                    <a:pt x="221" y="228"/>
                    <a:pt x="221" y="228"/>
                  </a:cubicBezTo>
                  <a:cubicBezTo>
                    <a:pt x="219" y="228"/>
                    <a:pt x="219" y="228"/>
                    <a:pt x="219" y="228"/>
                  </a:cubicBezTo>
                  <a:cubicBezTo>
                    <a:pt x="208" y="228"/>
                    <a:pt x="208" y="228"/>
                    <a:pt x="208" y="228"/>
                  </a:cubicBezTo>
                  <a:cubicBezTo>
                    <a:pt x="203" y="228"/>
                    <a:pt x="203" y="228"/>
                    <a:pt x="203" y="228"/>
                  </a:cubicBezTo>
                  <a:cubicBezTo>
                    <a:pt x="192" y="226"/>
                    <a:pt x="192" y="226"/>
                    <a:pt x="192" y="226"/>
                  </a:cubicBezTo>
                  <a:cubicBezTo>
                    <a:pt x="187" y="226"/>
                    <a:pt x="187" y="226"/>
                    <a:pt x="187" y="226"/>
                  </a:cubicBezTo>
                  <a:cubicBezTo>
                    <a:pt x="187" y="226"/>
                    <a:pt x="187" y="226"/>
                    <a:pt x="186" y="226"/>
                  </a:cubicBezTo>
                  <a:cubicBezTo>
                    <a:pt x="186" y="226"/>
                    <a:pt x="186" y="226"/>
                    <a:pt x="186" y="226"/>
                  </a:cubicBezTo>
                  <a:cubicBezTo>
                    <a:pt x="186" y="224"/>
                    <a:pt x="186" y="224"/>
                    <a:pt x="186" y="224"/>
                  </a:cubicBezTo>
                  <a:cubicBezTo>
                    <a:pt x="186" y="218"/>
                    <a:pt x="186" y="218"/>
                    <a:pt x="186" y="218"/>
                  </a:cubicBezTo>
                  <a:cubicBezTo>
                    <a:pt x="185" y="216"/>
                    <a:pt x="185" y="216"/>
                    <a:pt x="185" y="216"/>
                  </a:cubicBezTo>
                  <a:cubicBezTo>
                    <a:pt x="185" y="211"/>
                    <a:pt x="185" y="211"/>
                    <a:pt x="185" y="211"/>
                  </a:cubicBezTo>
                  <a:cubicBezTo>
                    <a:pt x="185" y="208"/>
                    <a:pt x="185" y="208"/>
                    <a:pt x="185" y="208"/>
                  </a:cubicBezTo>
                  <a:cubicBezTo>
                    <a:pt x="185" y="202"/>
                    <a:pt x="185" y="202"/>
                    <a:pt x="185" y="202"/>
                  </a:cubicBezTo>
                  <a:cubicBezTo>
                    <a:pt x="185" y="202"/>
                    <a:pt x="184" y="202"/>
                    <a:pt x="184" y="201"/>
                  </a:cubicBezTo>
                  <a:cubicBezTo>
                    <a:pt x="184" y="201"/>
                    <a:pt x="184" y="201"/>
                    <a:pt x="184" y="201"/>
                  </a:cubicBezTo>
                  <a:cubicBezTo>
                    <a:pt x="183" y="201"/>
                    <a:pt x="183" y="201"/>
                    <a:pt x="183" y="201"/>
                  </a:cubicBezTo>
                  <a:cubicBezTo>
                    <a:pt x="183" y="201"/>
                    <a:pt x="183" y="201"/>
                    <a:pt x="183" y="201"/>
                  </a:cubicBezTo>
                  <a:cubicBezTo>
                    <a:pt x="182" y="201"/>
                    <a:pt x="182" y="201"/>
                    <a:pt x="182" y="201"/>
                  </a:cubicBezTo>
                  <a:cubicBezTo>
                    <a:pt x="182" y="200"/>
                    <a:pt x="182" y="200"/>
                    <a:pt x="182" y="200"/>
                  </a:cubicBezTo>
                  <a:cubicBezTo>
                    <a:pt x="181" y="200"/>
                    <a:pt x="181" y="200"/>
                    <a:pt x="181" y="199"/>
                  </a:cubicBezTo>
                  <a:cubicBezTo>
                    <a:pt x="181" y="199"/>
                    <a:pt x="181" y="199"/>
                    <a:pt x="181" y="199"/>
                  </a:cubicBezTo>
                  <a:cubicBezTo>
                    <a:pt x="181" y="199"/>
                    <a:pt x="181" y="199"/>
                    <a:pt x="181" y="199"/>
                  </a:cubicBezTo>
                  <a:cubicBezTo>
                    <a:pt x="180" y="198"/>
                    <a:pt x="180" y="198"/>
                    <a:pt x="180" y="198"/>
                  </a:cubicBezTo>
                  <a:cubicBezTo>
                    <a:pt x="180" y="198"/>
                    <a:pt x="180" y="198"/>
                    <a:pt x="180" y="197"/>
                  </a:cubicBezTo>
                  <a:cubicBezTo>
                    <a:pt x="180" y="197"/>
                    <a:pt x="180" y="197"/>
                    <a:pt x="180" y="197"/>
                  </a:cubicBezTo>
                  <a:cubicBezTo>
                    <a:pt x="180" y="197"/>
                    <a:pt x="180" y="197"/>
                    <a:pt x="180" y="197"/>
                  </a:cubicBezTo>
                  <a:cubicBezTo>
                    <a:pt x="180" y="197"/>
                    <a:pt x="179" y="197"/>
                    <a:pt x="179" y="196"/>
                  </a:cubicBezTo>
                  <a:cubicBezTo>
                    <a:pt x="179" y="196"/>
                    <a:pt x="179" y="196"/>
                    <a:pt x="179" y="196"/>
                  </a:cubicBezTo>
                  <a:cubicBezTo>
                    <a:pt x="179" y="196"/>
                    <a:pt x="179" y="196"/>
                    <a:pt x="179" y="196"/>
                  </a:cubicBezTo>
                  <a:cubicBezTo>
                    <a:pt x="179" y="196"/>
                    <a:pt x="178" y="196"/>
                    <a:pt x="178" y="195"/>
                  </a:cubicBezTo>
                  <a:cubicBezTo>
                    <a:pt x="178" y="195"/>
                    <a:pt x="178" y="195"/>
                    <a:pt x="178" y="195"/>
                  </a:cubicBezTo>
                  <a:cubicBezTo>
                    <a:pt x="178" y="195"/>
                    <a:pt x="178" y="195"/>
                    <a:pt x="178" y="195"/>
                  </a:cubicBezTo>
                  <a:cubicBezTo>
                    <a:pt x="178" y="195"/>
                    <a:pt x="178" y="195"/>
                    <a:pt x="178" y="195"/>
                  </a:cubicBezTo>
                  <a:cubicBezTo>
                    <a:pt x="177" y="194"/>
                    <a:pt x="177" y="194"/>
                    <a:pt x="177" y="194"/>
                  </a:cubicBezTo>
                  <a:cubicBezTo>
                    <a:pt x="177" y="194"/>
                    <a:pt x="177" y="194"/>
                    <a:pt x="177" y="194"/>
                  </a:cubicBezTo>
                  <a:cubicBezTo>
                    <a:pt x="177" y="194"/>
                    <a:pt x="177" y="194"/>
                    <a:pt x="177" y="194"/>
                  </a:cubicBezTo>
                  <a:cubicBezTo>
                    <a:pt x="177" y="193"/>
                    <a:pt x="177" y="193"/>
                    <a:pt x="177" y="193"/>
                  </a:cubicBezTo>
                  <a:cubicBezTo>
                    <a:pt x="177" y="193"/>
                    <a:pt x="177" y="193"/>
                    <a:pt x="177" y="193"/>
                  </a:cubicBezTo>
                  <a:cubicBezTo>
                    <a:pt x="177" y="193"/>
                    <a:pt x="177" y="192"/>
                    <a:pt x="177" y="192"/>
                  </a:cubicBezTo>
                  <a:cubicBezTo>
                    <a:pt x="177" y="192"/>
                    <a:pt x="177" y="192"/>
                    <a:pt x="177" y="192"/>
                  </a:cubicBezTo>
                  <a:cubicBezTo>
                    <a:pt x="177" y="191"/>
                    <a:pt x="177" y="191"/>
                    <a:pt x="177" y="191"/>
                  </a:cubicBezTo>
                  <a:cubicBezTo>
                    <a:pt x="177" y="191"/>
                    <a:pt x="178" y="190"/>
                    <a:pt x="178" y="190"/>
                  </a:cubicBezTo>
                  <a:cubicBezTo>
                    <a:pt x="178" y="190"/>
                    <a:pt x="178" y="190"/>
                    <a:pt x="178" y="190"/>
                  </a:cubicBezTo>
                  <a:cubicBezTo>
                    <a:pt x="178" y="190"/>
                    <a:pt x="178" y="190"/>
                    <a:pt x="178" y="190"/>
                  </a:cubicBezTo>
                  <a:cubicBezTo>
                    <a:pt x="178" y="190"/>
                    <a:pt x="178" y="190"/>
                    <a:pt x="179" y="190"/>
                  </a:cubicBezTo>
                  <a:cubicBezTo>
                    <a:pt x="179" y="189"/>
                    <a:pt x="179" y="189"/>
                    <a:pt x="179" y="189"/>
                  </a:cubicBezTo>
                  <a:cubicBezTo>
                    <a:pt x="179" y="189"/>
                    <a:pt x="179" y="188"/>
                    <a:pt x="180" y="188"/>
                  </a:cubicBezTo>
                  <a:cubicBezTo>
                    <a:pt x="180" y="188"/>
                    <a:pt x="180" y="188"/>
                    <a:pt x="180" y="188"/>
                  </a:cubicBezTo>
                  <a:cubicBezTo>
                    <a:pt x="180" y="188"/>
                    <a:pt x="180" y="188"/>
                    <a:pt x="180" y="188"/>
                  </a:cubicBezTo>
                  <a:cubicBezTo>
                    <a:pt x="179" y="188"/>
                    <a:pt x="179" y="188"/>
                    <a:pt x="179" y="188"/>
                  </a:cubicBezTo>
                  <a:cubicBezTo>
                    <a:pt x="179" y="187"/>
                    <a:pt x="179" y="187"/>
                    <a:pt x="179" y="187"/>
                  </a:cubicBezTo>
                  <a:lnTo>
                    <a:pt x="179" y="188"/>
                  </a:lnTo>
                  <a:close/>
                </a:path>
              </a:pathLst>
            </a:custGeom>
            <a:solidFill>
              <a:srgbClr val="F59E00"/>
            </a:solidFill>
            <a:ln w="63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1063" name="Freeform 70">
              <a:extLst>
                <a:ext uri="{FF2B5EF4-FFF2-40B4-BE49-F238E27FC236}">
                  <a16:creationId xmlns:a16="http://schemas.microsoft.com/office/drawing/2014/main" id="{ADB87F1D-9AF1-3645-2A82-98D2776C2F6B}"/>
                </a:ext>
              </a:extLst>
            </p:cNvPr>
            <p:cNvSpPr>
              <a:spLocks/>
            </p:cNvSpPr>
            <p:nvPr/>
          </p:nvSpPr>
          <p:spPr bwMode="gray">
            <a:xfrm>
              <a:off x="4757738" y="4164013"/>
              <a:ext cx="11113" cy="4763"/>
            </a:xfrm>
            <a:custGeom>
              <a:avLst/>
              <a:gdLst>
                <a:gd name="T0" fmla="*/ 1 w 2"/>
                <a:gd name="T1" fmla="*/ 0 h 1"/>
                <a:gd name="T2" fmla="*/ 1 w 2"/>
                <a:gd name="T3" fmla="*/ 0 h 1"/>
                <a:gd name="T4" fmla="*/ 1 w 2"/>
                <a:gd name="T5" fmla="*/ 0 h 1"/>
                <a:gd name="T6" fmla="*/ 1 w 2"/>
                <a:gd name="T7" fmla="*/ 0 h 1"/>
                <a:gd name="T8" fmla="*/ 0 w 2"/>
                <a:gd name="T9" fmla="*/ 1 h 1"/>
                <a:gd name="T10" fmla="*/ 0 w 2"/>
                <a:gd name="T11" fmla="*/ 1 h 1"/>
                <a:gd name="T12" fmla="*/ 0 w 2"/>
                <a:gd name="T13" fmla="*/ 1 h 1"/>
                <a:gd name="T14" fmla="*/ 0 w 2"/>
                <a:gd name="T15" fmla="*/ 1 h 1"/>
                <a:gd name="T16" fmla="*/ 1 w 2"/>
                <a:gd name="T17" fmla="*/ 0 h 1"/>
                <a:gd name="T18" fmla="*/ 1 w 2"/>
                <a:gd name="T19" fmla="*/ 0 h 1"/>
                <a:gd name="T20" fmla="*/ 1 w 2"/>
                <a:gd name="T21" fmla="*/ 0 h 1"/>
                <a:gd name="T22" fmla="*/ 1 w 2"/>
                <a:gd name="T23" fmla="*/ 1 h 1"/>
                <a:gd name="T24" fmla="*/ 1 w 2"/>
                <a:gd name="T25" fmla="*/ 1 h 1"/>
                <a:gd name="T26" fmla="*/ 1 w 2"/>
                <a:gd name="T27" fmla="*/ 1 h 1"/>
                <a:gd name="T28" fmla="*/ 2 w 2"/>
                <a:gd name="T29" fmla="*/ 1 h 1"/>
                <a:gd name="T30" fmla="*/ 2 w 2"/>
                <a:gd name="T31" fmla="*/ 0 h 1"/>
                <a:gd name="T32" fmla="*/ 2 w 2"/>
                <a:gd name="T33" fmla="*/ 0 h 1"/>
                <a:gd name="T34" fmla="*/ 2 w 2"/>
                <a:gd name="T35" fmla="*/ 0 h 1"/>
                <a:gd name="T36" fmla="*/ 1 w 2"/>
                <a:gd name="T3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 h="1">
                  <a:moveTo>
                    <a:pt x="1" y="0"/>
                  </a:move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0" y="1"/>
                    <a:pt x="0" y="1"/>
                    <a:pt x="0" y="1"/>
                  </a:cubicBezTo>
                  <a:cubicBezTo>
                    <a:pt x="1" y="1"/>
                    <a:pt x="1" y="1"/>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2" y="1"/>
                  </a:cubicBezTo>
                  <a:cubicBezTo>
                    <a:pt x="2" y="0"/>
                    <a:pt x="2" y="0"/>
                    <a:pt x="2" y="0"/>
                  </a:cubicBezTo>
                  <a:cubicBezTo>
                    <a:pt x="2" y="0"/>
                    <a:pt x="2" y="0"/>
                    <a:pt x="2" y="0"/>
                  </a:cubicBezTo>
                  <a:cubicBezTo>
                    <a:pt x="2" y="0"/>
                    <a:pt x="2" y="0"/>
                    <a:pt x="2" y="0"/>
                  </a:cubicBezTo>
                  <a:cubicBezTo>
                    <a:pt x="2" y="0"/>
                    <a:pt x="2" y="0"/>
                    <a:pt x="1" y="0"/>
                  </a:cubicBezTo>
                  <a:close/>
                </a:path>
              </a:pathLst>
            </a:custGeom>
            <a:solidFill>
              <a:srgbClr val="F59E00"/>
            </a:solidFill>
            <a:ln w="635">
              <a:solidFill>
                <a:schemeClr val="accent6"/>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1064" name="Freeform 71">
              <a:extLst>
                <a:ext uri="{FF2B5EF4-FFF2-40B4-BE49-F238E27FC236}">
                  <a16:creationId xmlns:a16="http://schemas.microsoft.com/office/drawing/2014/main" id="{E5A9C39B-C0D2-1DAE-031B-77578FEC4513}"/>
                </a:ext>
              </a:extLst>
            </p:cNvPr>
            <p:cNvSpPr>
              <a:spLocks/>
            </p:cNvSpPr>
            <p:nvPr/>
          </p:nvSpPr>
          <p:spPr bwMode="gray">
            <a:xfrm>
              <a:off x="4875213" y="4094163"/>
              <a:ext cx="15875" cy="15875"/>
            </a:xfrm>
            <a:custGeom>
              <a:avLst/>
              <a:gdLst>
                <a:gd name="T0" fmla="*/ 1 w 3"/>
                <a:gd name="T1" fmla="*/ 2 h 3"/>
                <a:gd name="T2" fmla="*/ 0 w 3"/>
                <a:gd name="T3" fmla="*/ 2 h 3"/>
                <a:gd name="T4" fmla="*/ 0 w 3"/>
                <a:gd name="T5" fmla="*/ 2 h 3"/>
                <a:gd name="T6" fmla="*/ 0 w 3"/>
                <a:gd name="T7" fmla="*/ 3 h 3"/>
                <a:gd name="T8" fmla="*/ 0 w 3"/>
                <a:gd name="T9" fmla="*/ 3 h 3"/>
                <a:gd name="T10" fmla="*/ 0 w 3"/>
                <a:gd name="T11" fmla="*/ 3 h 3"/>
                <a:gd name="T12" fmla="*/ 0 w 3"/>
                <a:gd name="T13" fmla="*/ 3 h 3"/>
                <a:gd name="T14" fmla="*/ 0 w 3"/>
                <a:gd name="T15" fmla="*/ 3 h 3"/>
                <a:gd name="T16" fmla="*/ 0 w 3"/>
                <a:gd name="T17" fmla="*/ 2 h 3"/>
                <a:gd name="T18" fmla="*/ 1 w 3"/>
                <a:gd name="T19" fmla="*/ 2 h 3"/>
                <a:gd name="T20" fmla="*/ 1 w 3"/>
                <a:gd name="T21" fmla="*/ 2 h 3"/>
                <a:gd name="T22" fmla="*/ 1 w 3"/>
                <a:gd name="T23" fmla="*/ 3 h 3"/>
                <a:gd name="T24" fmla="*/ 2 w 3"/>
                <a:gd name="T25" fmla="*/ 2 h 3"/>
                <a:gd name="T26" fmla="*/ 2 w 3"/>
                <a:gd name="T27" fmla="*/ 2 h 3"/>
                <a:gd name="T28" fmla="*/ 2 w 3"/>
                <a:gd name="T29" fmla="*/ 2 h 3"/>
                <a:gd name="T30" fmla="*/ 2 w 3"/>
                <a:gd name="T31" fmla="*/ 2 h 3"/>
                <a:gd name="T32" fmla="*/ 2 w 3"/>
                <a:gd name="T33" fmla="*/ 1 h 3"/>
                <a:gd name="T34" fmla="*/ 2 w 3"/>
                <a:gd name="T35" fmla="*/ 1 h 3"/>
                <a:gd name="T36" fmla="*/ 2 w 3"/>
                <a:gd name="T37" fmla="*/ 1 h 3"/>
                <a:gd name="T38" fmla="*/ 3 w 3"/>
                <a:gd name="T39" fmla="*/ 1 h 3"/>
                <a:gd name="T40" fmla="*/ 3 w 3"/>
                <a:gd name="T41" fmla="*/ 0 h 3"/>
                <a:gd name="T42" fmla="*/ 3 w 3"/>
                <a:gd name="T43" fmla="*/ 0 h 3"/>
                <a:gd name="T44" fmla="*/ 1 w 3"/>
                <a:gd name="T45"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 h="3">
                  <a:moveTo>
                    <a:pt x="1" y="2"/>
                  </a:moveTo>
                  <a:cubicBezTo>
                    <a:pt x="1" y="2"/>
                    <a:pt x="1"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0" y="2"/>
                    <a:pt x="0" y="2"/>
                    <a:pt x="0" y="2"/>
                  </a:cubicBezTo>
                  <a:cubicBezTo>
                    <a:pt x="1" y="2"/>
                    <a:pt x="1" y="2"/>
                    <a:pt x="1" y="2"/>
                  </a:cubicBezTo>
                  <a:cubicBezTo>
                    <a:pt x="1" y="2"/>
                    <a:pt x="1" y="2"/>
                    <a:pt x="1" y="2"/>
                  </a:cubicBezTo>
                  <a:cubicBezTo>
                    <a:pt x="1" y="3"/>
                    <a:pt x="1" y="3"/>
                    <a:pt x="1" y="3"/>
                  </a:cubicBezTo>
                  <a:cubicBezTo>
                    <a:pt x="2" y="2"/>
                    <a:pt x="2" y="2"/>
                    <a:pt x="2" y="2"/>
                  </a:cubicBezTo>
                  <a:cubicBezTo>
                    <a:pt x="2" y="2"/>
                    <a:pt x="2" y="2"/>
                    <a:pt x="2" y="2"/>
                  </a:cubicBezTo>
                  <a:cubicBezTo>
                    <a:pt x="2" y="2"/>
                    <a:pt x="2" y="2"/>
                    <a:pt x="2" y="2"/>
                  </a:cubicBezTo>
                  <a:cubicBezTo>
                    <a:pt x="2" y="2"/>
                    <a:pt x="2" y="2"/>
                    <a:pt x="2" y="2"/>
                  </a:cubicBezTo>
                  <a:cubicBezTo>
                    <a:pt x="2" y="1"/>
                    <a:pt x="2" y="1"/>
                    <a:pt x="2" y="1"/>
                  </a:cubicBezTo>
                  <a:cubicBezTo>
                    <a:pt x="2" y="1"/>
                    <a:pt x="2" y="1"/>
                    <a:pt x="2" y="1"/>
                  </a:cubicBezTo>
                  <a:cubicBezTo>
                    <a:pt x="2" y="1"/>
                    <a:pt x="2" y="1"/>
                    <a:pt x="2" y="1"/>
                  </a:cubicBezTo>
                  <a:cubicBezTo>
                    <a:pt x="3" y="1"/>
                    <a:pt x="3" y="1"/>
                    <a:pt x="3" y="1"/>
                  </a:cubicBezTo>
                  <a:cubicBezTo>
                    <a:pt x="3" y="0"/>
                    <a:pt x="3" y="0"/>
                    <a:pt x="3" y="0"/>
                  </a:cubicBezTo>
                  <a:cubicBezTo>
                    <a:pt x="3" y="0"/>
                    <a:pt x="3" y="0"/>
                    <a:pt x="3" y="0"/>
                  </a:cubicBezTo>
                  <a:lnTo>
                    <a:pt x="1" y="2"/>
                  </a:lnTo>
                  <a:close/>
                </a:path>
              </a:pathLst>
            </a:custGeom>
            <a:solidFill>
              <a:srgbClr val="B1B1B0"/>
            </a:solidFill>
            <a:ln w="635">
              <a:solidFill>
                <a:schemeClr val="accent6"/>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1065" name="Freeform 72">
              <a:extLst>
                <a:ext uri="{FF2B5EF4-FFF2-40B4-BE49-F238E27FC236}">
                  <a16:creationId xmlns:a16="http://schemas.microsoft.com/office/drawing/2014/main" id="{8F6BC5DC-585B-7FDD-C4EA-CEFE897461EC}"/>
                </a:ext>
              </a:extLst>
            </p:cNvPr>
            <p:cNvSpPr>
              <a:spLocks/>
            </p:cNvSpPr>
            <p:nvPr/>
          </p:nvSpPr>
          <p:spPr bwMode="gray">
            <a:xfrm>
              <a:off x="4891088" y="4094163"/>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B1B1B0"/>
            </a:solidFill>
            <a:ln w="635">
              <a:solidFill>
                <a:schemeClr val="accent6"/>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1066" name="Freeform 73">
              <a:extLst>
                <a:ext uri="{FF2B5EF4-FFF2-40B4-BE49-F238E27FC236}">
                  <a16:creationId xmlns:a16="http://schemas.microsoft.com/office/drawing/2014/main" id="{66F1724A-9D1E-3C7B-9B27-8707F10D7248}"/>
                </a:ext>
              </a:extLst>
            </p:cNvPr>
            <p:cNvSpPr>
              <a:spLocks/>
            </p:cNvSpPr>
            <p:nvPr/>
          </p:nvSpPr>
          <p:spPr bwMode="gray">
            <a:xfrm>
              <a:off x="4784725" y="4110038"/>
              <a:ext cx="6350" cy="0"/>
            </a:xfrm>
            <a:custGeom>
              <a:avLst/>
              <a:gdLst>
                <a:gd name="T0" fmla="*/ 0 w 1"/>
                <a:gd name="T1" fmla="*/ 0 w 1"/>
                <a:gd name="T2" fmla="*/ 1 w 1"/>
                <a:gd name="T3" fmla="*/ 1 w 1"/>
                <a:gd name="T4" fmla="*/ 1 w 1"/>
                <a:gd name="T5" fmla="*/ 0 w 1"/>
              </a:gdLst>
              <a:ahLst/>
              <a:cxnLst>
                <a:cxn ang="0">
                  <a:pos x="T0" y="0"/>
                </a:cxn>
                <a:cxn ang="0">
                  <a:pos x="T1" y="0"/>
                </a:cxn>
                <a:cxn ang="0">
                  <a:pos x="T2" y="0"/>
                </a:cxn>
                <a:cxn ang="0">
                  <a:pos x="T3" y="0"/>
                </a:cxn>
                <a:cxn ang="0">
                  <a:pos x="T4" y="0"/>
                </a:cxn>
                <a:cxn ang="0">
                  <a:pos x="T5" y="0"/>
                </a:cxn>
              </a:cxnLst>
              <a:rect l="0" t="0" r="r" b="b"/>
              <a:pathLst>
                <a:path w="1">
                  <a:moveTo>
                    <a:pt x="0" y="0"/>
                  </a:moveTo>
                  <a:cubicBezTo>
                    <a:pt x="0" y="0"/>
                    <a:pt x="0" y="0"/>
                    <a:pt x="0" y="0"/>
                  </a:cubicBezTo>
                  <a:cubicBezTo>
                    <a:pt x="1" y="0"/>
                    <a:pt x="1" y="0"/>
                    <a:pt x="1" y="0"/>
                  </a:cubicBezTo>
                  <a:cubicBezTo>
                    <a:pt x="1" y="0"/>
                    <a:pt x="1" y="0"/>
                    <a:pt x="1" y="0"/>
                  </a:cubicBezTo>
                  <a:cubicBezTo>
                    <a:pt x="1" y="0"/>
                    <a:pt x="1" y="0"/>
                    <a:pt x="1" y="0"/>
                  </a:cubicBezTo>
                  <a:cubicBezTo>
                    <a:pt x="1" y="0"/>
                    <a:pt x="0" y="0"/>
                    <a:pt x="0" y="0"/>
                  </a:cubicBezTo>
                  <a:close/>
                </a:path>
              </a:pathLst>
            </a:custGeom>
            <a:solidFill>
              <a:srgbClr val="F59E00"/>
            </a:solidFill>
            <a:ln w="635">
              <a:solidFill>
                <a:schemeClr val="accent6"/>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1067" name="Freeform 74">
              <a:extLst>
                <a:ext uri="{FF2B5EF4-FFF2-40B4-BE49-F238E27FC236}">
                  <a16:creationId xmlns:a16="http://schemas.microsoft.com/office/drawing/2014/main" id="{E3A8F0DF-94ED-FB3F-A7FE-91E701AA7BAC}"/>
                </a:ext>
              </a:extLst>
            </p:cNvPr>
            <p:cNvSpPr>
              <a:spLocks/>
            </p:cNvSpPr>
            <p:nvPr/>
          </p:nvSpPr>
          <p:spPr bwMode="gray">
            <a:xfrm>
              <a:off x="4886325" y="4083050"/>
              <a:ext cx="11113" cy="6350"/>
            </a:xfrm>
            <a:custGeom>
              <a:avLst/>
              <a:gdLst>
                <a:gd name="T0" fmla="*/ 7 w 7"/>
                <a:gd name="T1" fmla="*/ 4 h 4"/>
                <a:gd name="T2" fmla="*/ 7 w 7"/>
                <a:gd name="T3" fmla="*/ 0 h 4"/>
                <a:gd name="T4" fmla="*/ 7 w 7"/>
                <a:gd name="T5" fmla="*/ 0 h 4"/>
                <a:gd name="T6" fmla="*/ 7 w 7"/>
                <a:gd name="T7" fmla="*/ 0 h 4"/>
                <a:gd name="T8" fmla="*/ 3 w 7"/>
                <a:gd name="T9" fmla="*/ 0 h 4"/>
                <a:gd name="T10" fmla="*/ 3 w 7"/>
                <a:gd name="T11" fmla="*/ 0 h 4"/>
                <a:gd name="T12" fmla="*/ 3 w 7"/>
                <a:gd name="T13" fmla="*/ 0 h 4"/>
                <a:gd name="T14" fmla="*/ 3 w 7"/>
                <a:gd name="T15" fmla="*/ 0 h 4"/>
                <a:gd name="T16" fmla="*/ 3 w 7"/>
                <a:gd name="T17" fmla="*/ 0 h 4"/>
                <a:gd name="T18" fmla="*/ 3 w 7"/>
                <a:gd name="T19" fmla="*/ 0 h 4"/>
                <a:gd name="T20" fmla="*/ 0 w 7"/>
                <a:gd name="T21" fmla="*/ 0 h 4"/>
                <a:gd name="T22" fmla="*/ 0 w 7"/>
                <a:gd name="T23" fmla="*/ 4 h 4"/>
                <a:gd name="T24" fmla="*/ 0 w 7"/>
                <a:gd name="T25" fmla="*/ 4 h 4"/>
                <a:gd name="T26" fmla="*/ 3 w 7"/>
                <a:gd name="T27" fmla="*/ 4 h 4"/>
                <a:gd name="T28" fmla="*/ 3 w 7"/>
                <a:gd name="T29" fmla="*/ 4 h 4"/>
                <a:gd name="T30" fmla="*/ 3 w 7"/>
                <a:gd name="T31" fmla="*/ 4 h 4"/>
                <a:gd name="T32" fmla="*/ 7 w 7"/>
                <a:gd name="T33" fmla="*/ 4 h 4"/>
                <a:gd name="T34" fmla="*/ 7 w 7"/>
                <a:gd name="T35" fmla="*/ 4 h 4"/>
                <a:gd name="T36" fmla="*/ 7 w 7"/>
                <a:gd name="T37" fmla="*/ 4 h 4"/>
                <a:gd name="T38" fmla="*/ 7 w 7"/>
                <a:gd name="T39" fmla="*/ 4 h 4"/>
                <a:gd name="T40" fmla="*/ 7 w 7"/>
                <a:gd name="T4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 h="4">
                  <a:moveTo>
                    <a:pt x="7" y="4"/>
                  </a:moveTo>
                  <a:lnTo>
                    <a:pt x="7" y="0"/>
                  </a:lnTo>
                  <a:lnTo>
                    <a:pt x="7" y="0"/>
                  </a:lnTo>
                  <a:lnTo>
                    <a:pt x="7" y="0"/>
                  </a:lnTo>
                  <a:lnTo>
                    <a:pt x="3" y="0"/>
                  </a:lnTo>
                  <a:lnTo>
                    <a:pt x="3" y="0"/>
                  </a:lnTo>
                  <a:lnTo>
                    <a:pt x="3" y="0"/>
                  </a:lnTo>
                  <a:lnTo>
                    <a:pt x="3" y="0"/>
                  </a:lnTo>
                  <a:lnTo>
                    <a:pt x="3" y="0"/>
                  </a:lnTo>
                  <a:lnTo>
                    <a:pt x="3" y="0"/>
                  </a:lnTo>
                  <a:lnTo>
                    <a:pt x="0" y="0"/>
                  </a:lnTo>
                  <a:lnTo>
                    <a:pt x="0" y="4"/>
                  </a:lnTo>
                  <a:lnTo>
                    <a:pt x="0" y="4"/>
                  </a:lnTo>
                  <a:lnTo>
                    <a:pt x="3" y="4"/>
                  </a:lnTo>
                  <a:lnTo>
                    <a:pt x="3" y="4"/>
                  </a:lnTo>
                  <a:lnTo>
                    <a:pt x="3" y="4"/>
                  </a:lnTo>
                  <a:lnTo>
                    <a:pt x="7" y="4"/>
                  </a:lnTo>
                  <a:lnTo>
                    <a:pt x="7" y="4"/>
                  </a:lnTo>
                  <a:lnTo>
                    <a:pt x="7" y="4"/>
                  </a:lnTo>
                  <a:lnTo>
                    <a:pt x="7" y="4"/>
                  </a:lnTo>
                  <a:lnTo>
                    <a:pt x="7" y="4"/>
                  </a:lnTo>
                  <a:close/>
                </a:path>
              </a:pathLst>
            </a:custGeom>
            <a:solidFill>
              <a:srgbClr val="B1B1B0"/>
            </a:solidFill>
            <a:ln w="635">
              <a:solidFill>
                <a:schemeClr val="accent6"/>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1068" name="Freeform 75">
              <a:extLst>
                <a:ext uri="{FF2B5EF4-FFF2-40B4-BE49-F238E27FC236}">
                  <a16:creationId xmlns:a16="http://schemas.microsoft.com/office/drawing/2014/main" id="{0CFB8088-C1DC-0807-5B44-9B9D8BB4556F}"/>
                </a:ext>
              </a:extLst>
            </p:cNvPr>
            <p:cNvSpPr>
              <a:spLocks/>
            </p:cNvSpPr>
            <p:nvPr/>
          </p:nvSpPr>
          <p:spPr bwMode="gray">
            <a:xfrm>
              <a:off x="4906963" y="4057650"/>
              <a:ext cx="6350" cy="4763"/>
            </a:xfrm>
            <a:custGeom>
              <a:avLst/>
              <a:gdLst>
                <a:gd name="T0" fmla="*/ 1 w 1"/>
                <a:gd name="T1" fmla="*/ 0 h 1"/>
                <a:gd name="T2" fmla="*/ 0 w 1"/>
                <a:gd name="T3" fmla="*/ 0 h 1"/>
                <a:gd name="T4" fmla="*/ 0 w 1"/>
                <a:gd name="T5" fmla="*/ 1 h 1"/>
                <a:gd name="T6" fmla="*/ 1 w 1"/>
                <a:gd name="T7" fmla="*/ 1 h 1"/>
                <a:gd name="T8" fmla="*/ 1 w 1"/>
                <a:gd name="T9" fmla="*/ 0 h 1"/>
                <a:gd name="T10" fmla="*/ 1 w 1"/>
                <a:gd name="T11" fmla="*/ 0 h 1"/>
                <a:gd name="T12" fmla="*/ 1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0"/>
                  </a:moveTo>
                  <a:cubicBezTo>
                    <a:pt x="1" y="0"/>
                    <a:pt x="1" y="0"/>
                    <a:pt x="0" y="0"/>
                  </a:cubicBezTo>
                  <a:cubicBezTo>
                    <a:pt x="0" y="1"/>
                    <a:pt x="0" y="1"/>
                    <a:pt x="0" y="1"/>
                  </a:cubicBezTo>
                  <a:cubicBezTo>
                    <a:pt x="1" y="1"/>
                    <a:pt x="1" y="1"/>
                    <a:pt x="1" y="1"/>
                  </a:cubicBezTo>
                  <a:cubicBezTo>
                    <a:pt x="1" y="0"/>
                    <a:pt x="1" y="0"/>
                    <a:pt x="1" y="0"/>
                  </a:cubicBezTo>
                  <a:cubicBezTo>
                    <a:pt x="1" y="0"/>
                    <a:pt x="1" y="0"/>
                    <a:pt x="1" y="0"/>
                  </a:cubicBezTo>
                  <a:cubicBezTo>
                    <a:pt x="1" y="0"/>
                    <a:pt x="1" y="0"/>
                    <a:pt x="1" y="0"/>
                  </a:cubicBezTo>
                  <a:close/>
                </a:path>
              </a:pathLst>
            </a:custGeom>
            <a:solidFill>
              <a:schemeClr val="accent2"/>
            </a:solidFill>
            <a:ln w="63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1069" name="Freeform 76">
              <a:extLst>
                <a:ext uri="{FF2B5EF4-FFF2-40B4-BE49-F238E27FC236}">
                  <a16:creationId xmlns:a16="http://schemas.microsoft.com/office/drawing/2014/main" id="{47A22CE1-47F9-EDA2-7B19-E691E271C9CF}"/>
                </a:ext>
              </a:extLst>
            </p:cNvPr>
            <p:cNvSpPr>
              <a:spLocks/>
            </p:cNvSpPr>
            <p:nvPr/>
          </p:nvSpPr>
          <p:spPr bwMode="gray">
            <a:xfrm>
              <a:off x="4906963" y="4078288"/>
              <a:ext cx="6350" cy="0"/>
            </a:xfrm>
            <a:custGeom>
              <a:avLst/>
              <a:gdLst>
                <a:gd name="T0" fmla="*/ 1 w 1"/>
                <a:gd name="T1" fmla="*/ 0 w 1"/>
                <a:gd name="T2" fmla="*/ 0 w 1"/>
                <a:gd name="T3" fmla="*/ 0 w 1"/>
                <a:gd name="T4" fmla="*/ 0 w 1"/>
                <a:gd name="T5" fmla="*/ 0 w 1"/>
                <a:gd name="T6" fmla="*/ 0 w 1"/>
                <a:gd name="T7" fmla="*/ 0 w 1"/>
                <a:gd name="T8" fmla="*/ 0 w 1"/>
                <a:gd name="T9" fmla="*/ 0 w 1"/>
                <a:gd name="T10" fmla="*/ 0 w 1"/>
                <a:gd name="T11" fmla="*/ 0 w 1"/>
                <a:gd name="T12" fmla="*/ 0 w 1"/>
                <a:gd name="T13" fmla="*/ 1 w 1"/>
                <a:gd name="T14" fmla="*/ 1 w 1"/>
                <a:gd name="T15"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Lst>
              <a:rect l="0" t="0" r="r" b="b"/>
              <a:pathLst>
                <a:path w="1">
                  <a:moveTo>
                    <a:pt x="1"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1" y="0"/>
                    <a:pt x="1" y="0"/>
                    <a:pt x="1" y="0"/>
                  </a:cubicBezTo>
                  <a:cubicBezTo>
                    <a:pt x="1" y="0"/>
                    <a:pt x="1" y="0"/>
                    <a:pt x="1" y="0"/>
                  </a:cubicBezTo>
                  <a:cubicBezTo>
                    <a:pt x="1" y="0"/>
                    <a:pt x="1" y="0"/>
                    <a:pt x="1" y="0"/>
                  </a:cubicBezTo>
                  <a:close/>
                </a:path>
              </a:pathLst>
            </a:custGeom>
            <a:solidFill>
              <a:srgbClr val="B1B1B0"/>
            </a:solidFill>
            <a:ln w="635">
              <a:solidFill>
                <a:schemeClr val="accent6"/>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1070" name="Freeform 77">
              <a:extLst>
                <a:ext uri="{FF2B5EF4-FFF2-40B4-BE49-F238E27FC236}">
                  <a16:creationId xmlns:a16="http://schemas.microsoft.com/office/drawing/2014/main" id="{B51FA16F-CC96-E398-7EC2-F91DB818FAA2}"/>
                </a:ext>
              </a:extLst>
            </p:cNvPr>
            <p:cNvSpPr>
              <a:spLocks/>
            </p:cNvSpPr>
            <p:nvPr/>
          </p:nvSpPr>
          <p:spPr bwMode="gray">
            <a:xfrm>
              <a:off x="4273550" y="3689350"/>
              <a:ext cx="522288" cy="458788"/>
            </a:xfrm>
            <a:custGeom>
              <a:avLst/>
              <a:gdLst>
                <a:gd name="T0" fmla="*/ 94 w 98"/>
                <a:gd name="T1" fmla="*/ 45 h 86"/>
                <a:gd name="T2" fmla="*/ 90 w 98"/>
                <a:gd name="T3" fmla="*/ 28 h 86"/>
                <a:gd name="T4" fmla="*/ 89 w 98"/>
                <a:gd name="T5" fmla="*/ 27 h 86"/>
                <a:gd name="T6" fmla="*/ 88 w 98"/>
                <a:gd name="T7" fmla="*/ 27 h 86"/>
                <a:gd name="T8" fmla="*/ 88 w 98"/>
                <a:gd name="T9" fmla="*/ 28 h 86"/>
                <a:gd name="T10" fmla="*/ 87 w 98"/>
                <a:gd name="T11" fmla="*/ 28 h 86"/>
                <a:gd name="T12" fmla="*/ 87 w 98"/>
                <a:gd name="T13" fmla="*/ 24 h 86"/>
                <a:gd name="T14" fmla="*/ 87 w 98"/>
                <a:gd name="T15" fmla="*/ 22 h 86"/>
                <a:gd name="T16" fmla="*/ 86 w 98"/>
                <a:gd name="T17" fmla="*/ 21 h 86"/>
                <a:gd name="T18" fmla="*/ 85 w 98"/>
                <a:gd name="T19" fmla="*/ 19 h 86"/>
                <a:gd name="T20" fmla="*/ 85 w 98"/>
                <a:gd name="T21" fmla="*/ 16 h 86"/>
                <a:gd name="T22" fmla="*/ 85 w 98"/>
                <a:gd name="T23" fmla="*/ 15 h 86"/>
                <a:gd name="T24" fmla="*/ 85 w 98"/>
                <a:gd name="T25" fmla="*/ 12 h 86"/>
                <a:gd name="T26" fmla="*/ 85 w 98"/>
                <a:gd name="T27" fmla="*/ 10 h 86"/>
                <a:gd name="T28" fmla="*/ 84 w 98"/>
                <a:gd name="T29" fmla="*/ 8 h 86"/>
                <a:gd name="T30" fmla="*/ 83 w 98"/>
                <a:gd name="T31" fmla="*/ 6 h 86"/>
                <a:gd name="T32" fmla="*/ 83 w 98"/>
                <a:gd name="T33" fmla="*/ 5 h 86"/>
                <a:gd name="T34" fmla="*/ 83 w 98"/>
                <a:gd name="T35" fmla="*/ 3 h 86"/>
                <a:gd name="T36" fmla="*/ 83 w 98"/>
                <a:gd name="T37" fmla="*/ 3 h 86"/>
                <a:gd name="T38" fmla="*/ 82 w 98"/>
                <a:gd name="T39" fmla="*/ 2 h 86"/>
                <a:gd name="T40" fmla="*/ 82 w 98"/>
                <a:gd name="T41" fmla="*/ 1 h 86"/>
                <a:gd name="T42" fmla="*/ 79 w 98"/>
                <a:gd name="T43" fmla="*/ 1 h 86"/>
                <a:gd name="T44" fmla="*/ 68 w 98"/>
                <a:gd name="T45" fmla="*/ 3 h 86"/>
                <a:gd name="T46" fmla="*/ 57 w 98"/>
                <a:gd name="T47" fmla="*/ 7 h 86"/>
                <a:gd name="T48" fmla="*/ 49 w 98"/>
                <a:gd name="T49" fmla="*/ 16 h 86"/>
                <a:gd name="T50" fmla="*/ 48 w 98"/>
                <a:gd name="T51" fmla="*/ 19 h 86"/>
                <a:gd name="T52" fmla="*/ 47 w 98"/>
                <a:gd name="T53" fmla="*/ 21 h 86"/>
                <a:gd name="T54" fmla="*/ 46 w 98"/>
                <a:gd name="T55" fmla="*/ 22 h 86"/>
                <a:gd name="T56" fmla="*/ 44 w 98"/>
                <a:gd name="T57" fmla="*/ 24 h 86"/>
                <a:gd name="T58" fmla="*/ 42 w 98"/>
                <a:gd name="T59" fmla="*/ 29 h 86"/>
                <a:gd name="T60" fmla="*/ 44 w 98"/>
                <a:gd name="T61" fmla="*/ 31 h 86"/>
                <a:gd name="T62" fmla="*/ 44 w 98"/>
                <a:gd name="T63" fmla="*/ 33 h 86"/>
                <a:gd name="T64" fmla="*/ 46 w 98"/>
                <a:gd name="T65" fmla="*/ 37 h 86"/>
                <a:gd name="T66" fmla="*/ 44 w 98"/>
                <a:gd name="T67" fmla="*/ 39 h 86"/>
                <a:gd name="T68" fmla="*/ 40 w 98"/>
                <a:gd name="T69" fmla="*/ 44 h 86"/>
                <a:gd name="T70" fmla="*/ 29 w 98"/>
                <a:gd name="T71" fmla="*/ 48 h 86"/>
                <a:gd name="T72" fmla="*/ 17 w 98"/>
                <a:gd name="T73" fmla="*/ 47 h 86"/>
                <a:gd name="T74" fmla="*/ 8 w 98"/>
                <a:gd name="T75" fmla="*/ 52 h 86"/>
                <a:gd name="T76" fmla="*/ 8 w 98"/>
                <a:gd name="T77" fmla="*/ 56 h 86"/>
                <a:gd name="T78" fmla="*/ 9 w 98"/>
                <a:gd name="T79" fmla="*/ 59 h 86"/>
                <a:gd name="T80" fmla="*/ 11 w 98"/>
                <a:gd name="T81" fmla="*/ 61 h 86"/>
                <a:gd name="T82" fmla="*/ 9 w 98"/>
                <a:gd name="T83" fmla="*/ 64 h 86"/>
                <a:gd name="T84" fmla="*/ 7 w 98"/>
                <a:gd name="T85" fmla="*/ 67 h 86"/>
                <a:gd name="T86" fmla="*/ 4 w 98"/>
                <a:gd name="T87" fmla="*/ 71 h 86"/>
                <a:gd name="T88" fmla="*/ 1 w 98"/>
                <a:gd name="T89" fmla="*/ 73 h 86"/>
                <a:gd name="T90" fmla="*/ 67 w 98"/>
                <a:gd name="T91" fmla="*/ 67 h 86"/>
                <a:gd name="T92" fmla="*/ 69 w 98"/>
                <a:gd name="T93" fmla="*/ 69 h 86"/>
                <a:gd name="T94" fmla="*/ 71 w 98"/>
                <a:gd name="T95" fmla="*/ 69 h 86"/>
                <a:gd name="T96" fmla="*/ 72 w 98"/>
                <a:gd name="T97" fmla="*/ 71 h 86"/>
                <a:gd name="T98" fmla="*/ 73 w 98"/>
                <a:gd name="T99" fmla="*/ 74 h 86"/>
                <a:gd name="T100" fmla="*/ 76 w 98"/>
                <a:gd name="T101" fmla="*/ 76 h 86"/>
                <a:gd name="T102" fmla="*/ 78 w 98"/>
                <a:gd name="T103" fmla="*/ 76 h 86"/>
                <a:gd name="T104" fmla="*/ 93 w 98"/>
                <a:gd name="T105" fmla="*/ 82 h 86"/>
                <a:gd name="T106" fmla="*/ 91 w 98"/>
                <a:gd name="T107" fmla="*/ 78 h 86"/>
                <a:gd name="T108" fmla="*/ 90 w 98"/>
                <a:gd name="T109" fmla="*/ 76 h 86"/>
                <a:gd name="T110" fmla="*/ 92 w 98"/>
                <a:gd name="T111" fmla="*/ 78 h 86"/>
                <a:gd name="T112" fmla="*/ 93 w 98"/>
                <a:gd name="T113" fmla="*/ 83 h 86"/>
                <a:gd name="T114" fmla="*/ 93 w 98"/>
                <a:gd name="T115" fmla="*/ 85 h 86"/>
                <a:gd name="T116" fmla="*/ 95 w 98"/>
                <a:gd name="T117" fmla="*/ 85 h 86"/>
                <a:gd name="T118" fmla="*/ 95 w 98"/>
                <a:gd name="T119" fmla="*/ 83 h 86"/>
                <a:gd name="T120" fmla="*/ 97 w 98"/>
                <a:gd name="T121" fmla="*/ 81 h 86"/>
                <a:gd name="T122" fmla="*/ 96 w 98"/>
                <a:gd name="T12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8" h="86">
                  <a:moveTo>
                    <a:pt x="98" y="76"/>
                  </a:moveTo>
                  <a:cubicBezTo>
                    <a:pt x="98" y="76"/>
                    <a:pt x="98" y="76"/>
                    <a:pt x="98" y="76"/>
                  </a:cubicBezTo>
                  <a:cubicBezTo>
                    <a:pt x="98" y="76"/>
                    <a:pt x="98" y="76"/>
                    <a:pt x="98" y="76"/>
                  </a:cubicBezTo>
                  <a:cubicBezTo>
                    <a:pt x="97" y="75"/>
                    <a:pt x="97" y="75"/>
                    <a:pt x="97" y="75"/>
                  </a:cubicBezTo>
                  <a:cubicBezTo>
                    <a:pt x="96" y="69"/>
                    <a:pt x="95" y="64"/>
                    <a:pt x="94" y="59"/>
                  </a:cubicBezTo>
                  <a:cubicBezTo>
                    <a:pt x="93" y="59"/>
                    <a:pt x="93" y="59"/>
                    <a:pt x="93" y="59"/>
                  </a:cubicBezTo>
                  <a:cubicBezTo>
                    <a:pt x="94" y="54"/>
                    <a:pt x="94" y="49"/>
                    <a:pt x="94" y="45"/>
                  </a:cubicBezTo>
                  <a:cubicBezTo>
                    <a:pt x="94" y="44"/>
                    <a:pt x="94" y="44"/>
                    <a:pt x="94" y="44"/>
                  </a:cubicBezTo>
                  <a:cubicBezTo>
                    <a:pt x="94" y="44"/>
                    <a:pt x="94" y="44"/>
                    <a:pt x="94" y="44"/>
                  </a:cubicBezTo>
                  <a:cubicBezTo>
                    <a:pt x="93" y="43"/>
                    <a:pt x="93" y="43"/>
                    <a:pt x="93" y="43"/>
                  </a:cubicBezTo>
                  <a:cubicBezTo>
                    <a:pt x="93" y="43"/>
                    <a:pt x="93" y="43"/>
                    <a:pt x="93" y="43"/>
                  </a:cubicBezTo>
                  <a:cubicBezTo>
                    <a:pt x="93" y="42"/>
                    <a:pt x="93" y="42"/>
                    <a:pt x="93" y="42"/>
                  </a:cubicBezTo>
                  <a:cubicBezTo>
                    <a:pt x="93" y="42"/>
                    <a:pt x="93" y="42"/>
                    <a:pt x="93" y="42"/>
                  </a:cubicBezTo>
                  <a:cubicBezTo>
                    <a:pt x="92" y="37"/>
                    <a:pt x="91" y="33"/>
                    <a:pt x="90" y="28"/>
                  </a:cubicBezTo>
                  <a:cubicBezTo>
                    <a:pt x="90" y="28"/>
                    <a:pt x="90" y="28"/>
                    <a:pt x="90" y="28"/>
                  </a:cubicBezTo>
                  <a:cubicBezTo>
                    <a:pt x="90" y="28"/>
                    <a:pt x="90" y="28"/>
                    <a:pt x="90" y="28"/>
                  </a:cubicBezTo>
                  <a:cubicBezTo>
                    <a:pt x="90" y="28"/>
                    <a:pt x="90" y="28"/>
                    <a:pt x="90" y="28"/>
                  </a:cubicBezTo>
                  <a:cubicBezTo>
                    <a:pt x="90" y="28"/>
                    <a:pt x="90" y="28"/>
                    <a:pt x="90" y="28"/>
                  </a:cubicBezTo>
                  <a:cubicBezTo>
                    <a:pt x="89" y="27"/>
                    <a:pt x="89" y="27"/>
                    <a:pt x="89" y="27"/>
                  </a:cubicBezTo>
                  <a:cubicBezTo>
                    <a:pt x="89" y="27"/>
                    <a:pt x="89" y="27"/>
                    <a:pt x="89" y="27"/>
                  </a:cubicBezTo>
                  <a:cubicBezTo>
                    <a:pt x="89" y="27"/>
                    <a:pt x="89" y="27"/>
                    <a:pt x="89" y="27"/>
                  </a:cubicBezTo>
                  <a:cubicBezTo>
                    <a:pt x="89" y="27"/>
                    <a:pt x="89" y="27"/>
                    <a:pt x="89" y="27"/>
                  </a:cubicBezTo>
                  <a:cubicBezTo>
                    <a:pt x="89" y="27"/>
                    <a:pt x="89" y="27"/>
                    <a:pt x="89" y="27"/>
                  </a:cubicBezTo>
                  <a:cubicBezTo>
                    <a:pt x="88" y="27"/>
                    <a:pt x="88" y="27"/>
                    <a:pt x="88" y="27"/>
                  </a:cubicBezTo>
                  <a:cubicBezTo>
                    <a:pt x="88" y="27"/>
                    <a:pt x="88" y="27"/>
                    <a:pt x="88" y="27"/>
                  </a:cubicBezTo>
                  <a:cubicBezTo>
                    <a:pt x="88" y="27"/>
                    <a:pt x="88" y="27"/>
                    <a:pt x="88" y="27"/>
                  </a:cubicBezTo>
                  <a:cubicBezTo>
                    <a:pt x="88" y="27"/>
                    <a:pt x="88" y="27"/>
                    <a:pt x="88" y="27"/>
                  </a:cubicBezTo>
                  <a:cubicBezTo>
                    <a:pt x="88" y="27"/>
                    <a:pt x="88" y="27"/>
                    <a:pt x="88" y="27"/>
                  </a:cubicBezTo>
                  <a:cubicBezTo>
                    <a:pt x="88" y="27"/>
                    <a:pt x="88" y="27"/>
                    <a:pt x="88" y="27"/>
                  </a:cubicBezTo>
                  <a:cubicBezTo>
                    <a:pt x="88" y="27"/>
                    <a:pt x="88" y="27"/>
                    <a:pt x="88" y="27"/>
                  </a:cubicBezTo>
                  <a:cubicBezTo>
                    <a:pt x="88" y="28"/>
                    <a:pt x="88" y="28"/>
                    <a:pt x="88" y="28"/>
                  </a:cubicBezTo>
                  <a:cubicBezTo>
                    <a:pt x="88" y="28"/>
                    <a:pt x="88" y="28"/>
                    <a:pt x="88" y="28"/>
                  </a:cubicBezTo>
                  <a:cubicBezTo>
                    <a:pt x="88" y="28"/>
                    <a:pt x="88" y="28"/>
                    <a:pt x="88" y="28"/>
                  </a:cubicBezTo>
                  <a:cubicBezTo>
                    <a:pt x="88" y="28"/>
                    <a:pt x="88" y="28"/>
                    <a:pt x="88" y="28"/>
                  </a:cubicBezTo>
                  <a:cubicBezTo>
                    <a:pt x="88" y="28"/>
                    <a:pt x="88" y="28"/>
                    <a:pt x="88" y="28"/>
                  </a:cubicBezTo>
                  <a:cubicBezTo>
                    <a:pt x="88" y="28"/>
                    <a:pt x="88" y="28"/>
                    <a:pt x="88" y="28"/>
                  </a:cubicBezTo>
                  <a:cubicBezTo>
                    <a:pt x="88" y="28"/>
                    <a:pt x="88" y="28"/>
                    <a:pt x="88" y="28"/>
                  </a:cubicBezTo>
                  <a:cubicBezTo>
                    <a:pt x="88" y="28"/>
                    <a:pt x="88" y="28"/>
                    <a:pt x="88" y="28"/>
                  </a:cubicBezTo>
                  <a:cubicBezTo>
                    <a:pt x="88" y="28"/>
                    <a:pt x="88" y="28"/>
                    <a:pt x="88" y="28"/>
                  </a:cubicBezTo>
                  <a:cubicBezTo>
                    <a:pt x="87" y="28"/>
                    <a:pt x="87" y="28"/>
                    <a:pt x="87" y="28"/>
                  </a:cubicBezTo>
                  <a:cubicBezTo>
                    <a:pt x="87" y="28"/>
                    <a:pt x="87" y="28"/>
                    <a:pt x="87" y="28"/>
                  </a:cubicBezTo>
                  <a:cubicBezTo>
                    <a:pt x="87" y="28"/>
                    <a:pt x="87" y="28"/>
                    <a:pt x="87" y="28"/>
                  </a:cubicBezTo>
                  <a:cubicBezTo>
                    <a:pt x="87" y="27"/>
                    <a:pt x="87" y="27"/>
                    <a:pt x="87" y="27"/>
                  </a:cubicBezTo>
                  <a:cubicBezTo>
                    <a:pt x="87" y="27"/>
                    <a:pt x="87" y="27"/>
                    <a:pt x="87" y="27"/>
                  </a:cubicBezTo>
                  <a:cubicBezTo>
                    <a:pt x="87" y="27"/>
                    <a:pt x="87" y="27"/>
                    <a:pt x="87" y="27"/>
                  </a:cubicBezTo>
                  <a:cubicBezTo>
                    <a:pt x="87" y="24"/>
                    <a:pt x="87" y="24"/>
                    <a:pt x="87" y="24"/>
                  </a:cubicBezTo>
                  <a:cubicBezTo>
                    <a:pt x="87" y="24"/>
                    <a:pt x="87" y="24"/>
                    <a:pt x="87" y="24"/>
                  </a:cubicBezTo>
                  <a:cubicBezTo>
                    <a:pt x="87" y="24"/>
                    <a:pt x="87" y="24"/>
                    <a:pt x="87" y="24"/>
                  </a:cubicBezTo>
                  <a:cubicBezTo>
                    <a:pt x="87" y="24"/>
                    <a:pt x="87" y="24"/>
                    <a:pt x="87" y="24"/>
                  </a:cubicBezTo>
                  <a:cubicBezTo>
                    <a:pt x="87" y="23"/>
                    <a:pt x="87" y="23"/>
                    <a:pt x="87" y="23"/>
                  </a:cubicBezTo>
                  <a:cubicBezTo>
                    <a:pt x="87" y="23"/>
                    <a:pt x="87" y="23"/>
                    <a:pt x="87" y="23"/>
                  </a:cubicBezTo>
                  <a:cubicBezTo>
                    <a:pt x="87" y="23"/>
                    <a:pt x="87" y="23"/>
                    <a:pt x="87" y="23"/>
                  </a:cubicBezTo>
                  <a:cubicBezTo>
                    <a:pt x="87" y="23"/>
                    <a:pt x="87" y="23"/>
                    <a:pt x="87" y="23"/>
                  </a:cubicBezTo>
                  <a:cubicBezTo>
                    <a:pt x="87" y="23"/>
                    <a:pt x="87" y="23"/>
                    <a:pt x="87" y="23"/>
                  </a:cubicBezTo>
                  <a:cubicBezTo>
                    <a:pt x="87" y="22"/>
                    <a:pt x="87" y="22"/>
                    <a:pt x="87" y="22"/>
                  </a:cubicBezTo>
                  <a:cubicBezTo>
                    <a:pt x="87" y="22"/>
                    <a:pt x="87" y="22"/>
                    <a:pt x="87" y="22"/>
                  </a:cubicBezTo>
                  <a:cubicBezTo>
                    <a:pt x="87" y="22"/>
                    <a:pt x="87" y="22"/>
                    <a:pt x="87" y="22"/>
                  </a:cubicBezTo>
                  <a:cubicBezTo>
                    <a:pt x="87" y="22"/>
                    <a:pt x="87" y="22"/>
                    <a:pt x="87" y="22"/>
                  </a:cubicBezTo>
                  <a:cubicBezTo>
                    <a:pt x="86" y="22"/>
                    <a:pt x="86" y="22"/>
                    <a:pt x="86" y="22"/>
                  </a:cubicBezTo>
                  <a:cubicBezTo>
                    <a:pt x="86" y="22"/>
                    <a:pt x="86" y="22"/>
                    <a:pt x="86" y="22"/>
                  </a:cubicBezTo>
                  <a:cubicBezTo>
                    <a:pt x="86" y="21"/>
                    <a:pt x="86" y="21"/>
                    <a:pt x="86" y="21"/>
                  </a:cubicBezTo>
                  <a:cubicBezTo>
                    <a:pt x="86" y="21"/>
                    <a:pt x="86" y="21"/>
                    <a:pt x="86" y="21"/>
                  </a:cubicBezTo>
                  <a:cubicBezTo>
                    <a:pt x="86" y="21"/>
                    <a:pt x="86" y="21"/>
                    <a:pt x="86" y="21"/>
                  </a:cubicBezTo>
                  <a:cubicBezTo>
                    <a:pt x="86" y="20"/>
                    <a:pt x="86" y="20"/>
                    <a:pt x="86" y="20"/>
                  </a:cubicBezTo>
                  <a:cubicBezTo>
                    <a:pt x="86" y="20"/>
                    <a:pt x="86" y="20"/>
                    <a:pt x="86" y="20"/>
                  </a:cubicBezTo>
                  <a:cubicBezTo>
                    <a:pt x="85" y="19"/>
                    <a:pt x="85" y="19"/>
                    <a:pt x="85" y="19"/>
                  </a:cubicBezTo>
                  <a:cubicBezTo>
                    <a:pt x="85" y="19"/>
                    <a:pt x="85" y="19"/>
                    <a:pt x="85" y="19"/>
                  </a:cubicBezTo>
                  <a:cubicBezTo>
                    <a:pt x="85" y="19"/>
                    <a:pt x="85" y="19"/>
                    <a:pt x="85" y="19"/>
                  </a:cubicBezTo>
                  <a:cubicBezTo>
                    <a:pt x="85" y="19"/>
                    <a:pt x="85" y="19"/>
                    <a:pt x="85" y="19"/>
                  </a:cubicBezTo>
                  <a:cubicBezTo>
                    <a:pt x="85" y="19"/>
                    <a:pt x="85" y="19"/>
                    <a:pt x="85" y="19"/>
                  </a:cubicBezTo>
                  <a:cubicBezTo>
                    <a:pt x="85" y="19"/>
                    <a:pt x="85" y="19"/>
                    <a:pt x="85" y="19"/>
                  </a:cubicBezTo>
                  <a:cubicBezTo>
                    <a:pt x="85" y="19"/>
                    <a:pt x="85" y="19"/>
                    <a:pt x="85" y="19"/>
                  </a:cubicBezTo>
                  <a:cubicBezTo>
                    <a:pt x="85" y="18"/>
                    <a:pt x="85" y="18"/>
                    <a:pt x="85" y="18"/>
                  </a:cubicBezTo>
                  <a:cubicBezTo>
                    <a:pt x="85" y="18"/>
                    <a:pt x="85" y="18"/>
                    <a:pt x="85" y="18"/>
                  </a:cubicBezTo>
                  <a:cubicBezTo>
                    <a:pt x="85" y="18"/>
                    <a:pt x="85" y="18"/>
                    <a:pt x="85" y="18"/>
                  </a:cubicBezTo>
                  <a:cubicBezTo>
                    <a:pt x="85" y="16"/>
                    <a:pt x="85" y="16"/>
                    <a:pt x="85" y="16"/>
                  </a:cubicBezTo>
                  <a:cubicBezTo>
                    <a:pt x="85" y="16"/>
                    <a:pt x="85" y="16"/>
                    <a:pt x="85" y="16"/>
                  </a:cubicBezTo>
                  <a:cubicBezTo>
                    <a:pt x="85" y="15"/>
                    <a:pt x="85" y="15"/>
                    <a:pt x="85" y="15"/>
                  </a:cubicBezTo>
                  <a:cubicBezTo>
                    <a:pt x="85" y="15"/>
                    <a:pt x="85" y="15"/>
                    <a:pt x="85" y="15"/>
                  </a:cubicBezTo>
                  <a:cubicBezTo>
                    <a:pt x="85" y="15"/>
                    <a:pt x="85" y="15"/>
                    <a:pt x="85" y="15"/>
                  </a:cubicBezTo>
                  <a:cubicBezTo>
                    <a:pt x="85" y="15"/>
                    <a:pt x="85" y="15"/>
                    <a:pt x="85" y="15"/>
                  </a:cubicBezTo>
                  <a:cubicBezTo>
                    <a:pt x="85" y="15"/>
                    <a:pt x="85" y="15"/>
                    <a:pt x="85" y="15"/>
                  </a:cubicBezTo>
                  <a:cubicBezTo>
                    <a:pt x="85" y="15"/>
                    <a:pt x="85" y="15"/>
                    <a:pt x="85" y="15"/>
                  </a:cubicBezTo>
                  <a:cubicBezTo>
                    <a:pt x="85" y="15"/>
                    <a:pt x="85" y="15"/>
                    <a:pt x="85" y="15"/>
                  </a:cubicBezTo>
                  <a:cubicBezTo>
                    <a:pt x="86" y="14"/>
                    <a:pt x="86" y="14"/>
                    <a:pt x="86" y="14"/>
                  </a:cubicBezTo>
                  <a:cubicBezTo>
                    <a:pt x="86" y="14"/>
                    <a:pt x="86" y="14"/>
                    <a:pt x="86" y="14"/>
                  </a:cubicBezTo>
                  <a:cubicBezTo>
                    <a:pt x="86" y="14"/>
                    <a:pt x="86" y="14"/>
                    <a:pt x="86" y="14"/>
                  </a:cubicBezTo>
                  <a:cubicBezTo>
                    <a:pt x="86" y="14"/>
                    <a:pt x="86" y="14"/>
                    <a:pt x="86" y="14"/>
                  </a:cubicBezTo>
                  <a:cubicBezTo>
                    <a:pt x="85" y="13"/>
                    <a:pt x="85" y="13"/>
                    <a:pt x="85" y="13"/>
                  </a:cubicBezTo>
                  <a:cubicBezTo>
                    <a:pt x="85" y="13"/>
                    <a:pt x="85" y="13"/>
                    <a:pt x="85" y="13"/>
                  </a:cubicBezTo>
                  <a:cubicBezTo>
                    <a:pt x="85" y="12"/>
                    <a:pt x="85" y="12"/>
                    <a:pt x="85" y="12"/>
                  </a:cubicBezTo>
                  <a:cubicBezTo>
                    <a:pt x="85" y="12"/>
                    <a:pt x="85" y="12"/>
                    <a:pt x="85" y="12"/>
                  </a:cubicBezTo>
                  <a:cubicBezTo>
                    <a:pt x="85" y="12"/>
                    <a:pt x="85" y="12"/>
                    <a:pt x="85" y="12"/>
                  </a:cubicBezTo>
                  <a:cubicBezTo>
                    <a:pt x="85" y="12"/>
                    <a:pt x="85" y="12"/>
                    <a:pt x="85" y="12"/>
                  </a:cubicBezTo>
                  <a:cubicBezTo>
                    <a:pt x="85" y="12"/>
                    <a:pt x="85" y="12"/>
                    <a:pt x="85" y="12"/>
                  </a:cubicBezTo>
                  <a:cubicBezTo>
                    <a:pt x="85" y="11"/>
                    <a:pt x="85" y="11"/>
                    <a:pt x="85" y="11"/>
                  </a:cubicBezTo>
                  <a:cubicBezTo>
                    <a:pt x="85" y="11"/>
                    <a:pt x="85" y="11"/>
                    <a:pt x="85" y="11"/>
                  </a:cubicBezTo>
                  <a:cubicBezTo>
                    <a:pt x="85" y="10"/>
                    <a:pt x="85" y="10"/>
                    <a:pt x="85" y="10"/>
                  </a:cubicBezTo>
                  <a:cubicBezTo>
                    <a:pt x="85" y="10"/>
                    <a:pt x="85" y="10"/>
                    <a:pt x="85" y="10"/>
                  </a:cubicBezTo>
                  <a:cubicBezTo>
                    <a:pt x="85" y="10"/>
                    <a:pt x="85" y="10"/>
                    <a:pt x="85" y="10"/>
                  </a:cubicBezTo>
                  <a:cubicBezTo>
                    <a:pt x="85" y="10"/>
                    <a:pt x="85" y="10"/>
                    <a:pt x="85" y="10"/>
                  </a:cubicBezTo>
                  <a:cubicBezTo>
                    <a:pt x="85" y="10"/>
                    <a:pt x="85" y="10"/>
                    <a:pt x="85" y="10"/>
                  </a:cubicBezTo>
                  <a:cubicBezTo>
                    <a:pt x="85" y="9"/>
                    <a:pt x="85" y="9"/>
                    <a:pt x="85" y="9"/>
                  </a:cubicBezTo>
                  <a:cubicBezTo>
                    <a:pt x="84" y="9"/>
                    <a:pt x="84" y="9"/>
                    <a:pt x="84" y="9"/>
                  </a:cubicBezTo>
                  <a:cubicBezTo>
                    <a:pt x="84" y="8"/>
                    <a:pt x="84" y="8"/>
                    <a:pt x="84" y="8"/>
                  </a:cubicBezTo>
                  <a:cubicBezTo>
                    <a:pt x="83" y="8"/>
                    <a:pt x="83" y="8"/>
                    <a:pt x="83" y="8"/>
                  </a:cubicBezTo>
                  <a:cubicBezTo>
                    <a:pt x="83" y="8"/>
                    <a:pt x="83" y="8"/>
                    <a:pt x="83" y="8"/>
                  </a:cubicBezTo>
                  <a:cubicBezTo>
                    <a:pt x="83" y="7"/>
                    <a:pt x="83" y="7"/>
                    <a:pt x="83" y="7"/>
                  </a:cubicBezTo>
                  <a:cubicBezTo>
                    <a:pt x="83" y="7"/>
                    <a:pt x="83" y="7"/>
                    <a:pt x="83" y="7"/>
                  </a:cubicBezTo>
                  <a:cubicBezTo>
                    <a:pt x="83" y="7"/>
                    <a:pt x="83" y="7"/>
                    <a:pt x="83" y="7"/>
                  </a:cubicBezTo>
                  <a:cubicBezTo>
                    <a:pt x="83" y="7"/>
                    <a:pt x="83" y="7"/>
                    <a:pt x="83" y="7"/>
                  </a:cubicBezTo>
                  <a:cubicBezTo>
                    <a:pt x="83" y="6"/>
                    <a:pt x="83" y="6"/>
                    <a:pt x="83" y="6"/>
                  </a:cubicBezTo>
                  <a:cubicBezTo>
                    <a:pt x="83" y="6"/>
                    <a:pt x="83" y="6"/>
                    <a:pt x="83" y="6"/>
                  </a:cubicBezTo>
                  <a:cubicBezTo>
                    <a:pt x="83" y="6"/>
                    <a:pt x="83" y="6"/>
                    <a:pt x="83" y="6"/>
                  </a:cubicBezTo>
                  <a:cubicBezTo>
                    <a:pt x="83" y="5"/>
                    <a:pt x="83" y="5"/>
                    <a:pt x="83" y="5"/>
                  </a:cubicBezTo>
                  <a:cubicBezTo>
                    <a:pt x="83" y="5"/>
                    <a:pt x="83" y="5"/>
                    <a:pt x="83" y="5"/>
                  </a:cubicBezTo>
                  <a:cubicBezTo>
                    <a:pt x="83" y="5"/>
                    <a:pt x="83" y="5"/>
                    <a:pt x="83" y="5"/>
                  </a:cubicBezTo>
                  <a:cubicBezTo>
                    <a:pt x="83" y="5"/>
                    <a:pt x="83" y="5"/>
                    <a:pt x="83" y="5"/>
                  </a:cubicBezTo>
                  <a:cubicBezTo>
                    <a:pt x="83" y="5"/>
                    <a:pt x="83" y="5"/>
                    <a:pt x="83" y="5"/>
                  </a:cubicBezTo>
                  <a:cubicBezTo>
                    <a:pt x="83" y="5"/>
                    <a:pt x="83" y="5"/>
                    <a:pt x="83" y="5"/>
                  </a:cubicBezTo>
                  <a:cubicBezTo>
                    <a:pt x="83" y="5"/>
                    <a:pt x="83" y="5"/>
                    <a:pt x="83" y="5"/>
                  </a:cubicBezTo>
                  <a:cubicBezTo>
                    <a:pt x="83" y="4"/>
                    <a:pt x="83" y="4"/>
                    <a:pt x="83" y="4"/>
                  </a:cubicBezTo>
                  <a:cubicBezTo>
                    <a:pt x="83" y="4"/>
                    <a:pt x="83" y="4"/>
                    <a:pt x="83" y="4"/>
                  </a:cubicBezTo>
                  <a:cubicBezTo>
                    <a:pt x="83" y="4"/>
                    <a:pt x="83" y="4"/>
                    <a:pt x="83" y="4"/>
                  </a:cubicBezTo>
                  <a:cubicBezTo>
                    <a:pt x="83" y="3"/>
                    <a:pt x="83" y="3"/>
                    <a:pt x="83" y="3"/>
                  </a:cubicBezTo>
                  <a:cubicBezTo>
                    <a:pt x="83" y="3"/>
                    <a:pt x="83" y="3"/>
                    <a:pt x="83" y="3"/>
                  </a:cubicBezTo>
                  <a:cubicBezTo>
                    <a:pt x="83" y="3"/>
                    <a:pt x="83" y="3"/>
                    <a:pt x="83" y="3"/>
                  </a:cubicBezTo>
                  <a:cubicBezTo>
                    <a:pt x="83" y="3"/>
                    <a:pt x="83" y="3"/>
                    <a:pt x="83" y="3"/>
                  </a:cubicBezTo>
                  <a:cubicBezTo>
                    <a:pt x="83" y="3"/>
                    <a:pt x="83" y="3"/>
                    <a:pt x="83" y="3"/>
                  </a:cubicBezTo>
                  <a:cubicBezTo>
                    <a:pt x="83" y="3"/>
                    <a:pt x="83" y="3"/>
                    <a:pt x="83" y="3"/>
                  </a:cubicBezTo>
                  <a:cubicBezTo>
                    <a:pt x="83" y="3"/>
                    <a:pt x="83" y="3"/>
                    <a:pt x="83" y="3"/>
                  </a:cubicBezTo>
                  <a:cubicBezTo>
                    <a:pt x="83" y="3"/>
                    <a:pt x="83" y="3"/>
                    <a:pt x="83" y="3"/>
                  </a:cubicBezTo>
                  <a:cubicBezTo>
                    <a:pt x="83" y="3"/>
                    <a:pt x="83" y="3"/>
                    <a:pt x="83" y="3"/>
                  </a:cubicBezTo>
                  <a:cubicBezTo>
                    <a:pt x="82" y="3"/>
                    <a:pt x="82" y="3"/>
                    <a:pt x="82" y="3"/>
                  </a:cubicBezTo>
                  <a:cubicBezTo>
                    <a:pt x="82" y="3"/>
                    <a:pt x="82" y="3"/>
                    <a:pt x="82" y="3"/>
                  </a:cubicBezTo>
                  <a:cubicBezTo>
                    <a:pt x="82" y="3"/>
                    <a:pt x="82" y="3"/>
                    <a:pt x="82" y="3"/>
                  </a:cubicBezTo>
                  <a:cubicBezTo>
                    <a:pt x="82" y="3"/>
                    <a:pt x="82" y="3"/>
                    <a:pt x="82" y="3"/>
                  </a:cubicBezTo>
                  <a:cubicBezTo>
                    <a:pt x="82" y="3"/>
                    <a:pt x="82" y="3"/>
                    <a:pt x="82" y="3"/>
                  </a:cubicBezTo>
                  <a:cubicBezTo>
                    <a:pt x="82" y="2"/>
                    <a:pt x="82" y="2"/>
                    <a:pt x="82" y="2"/>
                  </a:cubicBezTo>
                  <a:cubicBezTo>
                    <a:pt x="82" y="2"/>
                    <a:pt x="82" y="2"/>
                    <a:pt x="82" y="2"/>
                  </a:cubicBezTo>
                  <a:cubicBezTo>
                    <a:pt x="82" y="2"/>
                    <a:pt x="82" y="2"/>
                    <a:pt x="82" y="2"/>
                  </a:cubicBezTo>
                  <a:cubicBezTo>
                    <a:pt x="82" y="2"/>
                    <a:pt x="82" y="2"/>
                    <a:pt x="82" y="2"/>
                  </a:cubicBezTo>
                  <a:cubicBezTo>
                    <a:pt x="82" y="2"/>
                    <a:pt x="82" y="2"/>
                    <a:pt x="82" y="2"/>
                  </a:cubicBezTo>
                  <a:cubicBezTo>
                    <a:pt x="82" y="2"/>
                    <a:pt x="82" y="2"/>
                    <a:pt x="82" y="2"/>
                  </a:cubicBezTo>
                  <a:cubicBezTo>
                    <a:pt x="82" y="2"/>
                    <a:pt x="82" y="2"/>
                    <a:pt x="82" y="2"/>
                  </a:cubicBezTo>
                  <a:cubicBezTo>
                    <a:pt x="82" y="1"/>
                    <a:pt x="82" y="1"/>
                    <a:pt x="82" y="1"/>
                  </a:cubicBezTo>
                  <a:cubicBezTo>
                    <a:pt x="82" y="1"/>
                    <a:pt x="82" y="1"/>
                    <a:pt x="82" y="1"/>
                  </a:cubicBezTo>
                  <a:cubicBezTo>
                    <a:pt x="82" y="1"/>
                    <a:pt x="82" y="1"/>
                    <a:pt x="82" y="1"/>
                  </a:cubicBezTo>
                  <a:cubicBezTo>
                    <a:pt x="82" y="1"/>
                    <a:pt x="82" y="1"/>
                    <a:pt x="82" y="1"/>
                  </a:cubicBezTo>
                  <a:cubicBezTo>
                    <a:pt x="82" y="1"/>
                    <a:pt x="82" y="1"/>
                    <a:pt x="82" y="1"/>
                  </a:cubicBezTo>
                  <a:cubicBezTo>
                    <a:pt x="82" y="1"/>
                    <a:pt x="82" y="1"/>
                    <a:pt x="82" y="1"/>
                  </a:cubicBezTo>
                  <a:cubicBezTo>
                    <a:pt x="81" y="0"/>
                    <a:pt x="81" y="0"/>
                    <a:pt x="81" y="0"/>
                  </a:cubicBezTo>
                  <a:cubicBezTo>
                    <a:pt x="80" y="0"/>
                    <a:pt x="80" y="0"/>
                    <a:pt x="80" y="0"/>
                  </a:cubicBezTo>
                  <a:cubicBezTo>
                    <a:pt x="79" y="1"/>
                    <a:pt x="79" y="1"/>
                    <a:pt x="79" y="1"/>
                  </a:cubicBezTo>
                  <a:cubicBezTo>
                    <a:pt x="75" y="2"/>
                    <a:pt x="75" y="2"/>
                    <a:pt x="75" y="2"/>
                  </a:cubicBezTo>
                  <a:cubicBezTo>
                    <a:pt x="73" y="2"/>
                    <a:pt x="73" y="2"/>
                    <a:pt x="73" y="2"/>
                  </a:cubicBezTo>
                  <a:cubicBezTo>
                    <a:pt x="73" y="2"/>
                    <a:pt x="73" y="2"/>
                    <a:pt x="73" y="2"/>
                  </a:cubicBezTo>
                  <a:cubicBezTo>
                    <a:pt x="72" y="2"/>
                    <a:pt x="72" y="2"/>
                    <a:pt x="72" y="2"/>
                  </a:cubicBezTo>
                  <a:cubicBezTo>
                    <a:pt x="72" y="2"/>
                    <a:pt x="71" y="2"/>
                    <a:pt x="71" y="2"/>
                  </a:cubicBezTo>
                  <a:cubicBezTo>
                    <a:pt x="70" y="3"/>
                    <a:pt x="70" y="3"/>
                    <a:pt x="70" y="3"/>
                  </a:cubicBezTo>
                  <a:cubicBezTo>
                    <a:pt x="68" y="3"/>
                    <a:pt x="68" y="3"/>
                    <a:pt x="68" y="3"/>
                  </a:cubicBezTo>
                  <a:cubicBezTo>
                    <a:pt x="64" y="5"/>
                    <a:pt x="64" y="5"/>
                    <a:pt x="64" y="5"/>
                  </a:cubicBezTo>
                  <a:cubicBezTo>
                    <a:pt x="62" y="5"/>
                    <a:pt x="62" y="5"/>
                    <a:pt x="62" y="5"/>
                  </a:cubicBezTo>
                  <a:cubicBezTo>
                    <a:pt x="62" y="5"/>
                    <a:pt x="62" y="5"/>
                    <a:pt x="62" y="5"/>
                  </a:cubicBezTo>
                  <a:cubicBezTo>
                    <a:pt x="60" y="5"/>
                    <a:pt x="60" y="5"/>
                    <a:pt x="60" y="5"/>
                  </a:cubicBezTo>
                  <a:cubicBezTo>
                    <a:pt x="59" y="5"/>
                    <a:pt x="59" y="5"/>
                    <a:pt x="59" y="5"/>
                  </a:cubicBezTo>
                  <a:cubicBezTo>
                    <a:pt x="59" y="5"/>
                    <a:pt x="59" y="6"/>
                    <a:pt x="59" y="6"/>
                  </a:cubicBezTo>
                  <a:cubicBezTo>
                    <a:pt x="57" y="7"/>
                    <a:pt x="57" y="7"/>
                    <a:pt x="57" y="7"/>
                  </a:cubicBezTo>
                  <a:cubicBezTo>
                    <a:pt x="57" y="8"/>
                    <a:pt x="57" y="8"/>
                    <a:pt x="57" y="8"/>
                  </a:cubicBezTo>
                  <a:cubicBezTo>
                    <a:pt x="56" y="8"/>
                    <a:pt x="56" y="8"/>
                    <a:pt x="56" y="8"/>
                  </a:cubicBezTo>
                  <a:cubicBezTo>
                    <a:pt x="54" y="11"/>
                    <a:pt x="54" y="11"/>
                    <a:pt x="54" y="11"/>
                  </a:cubicBezTo>
                  <a:cubicBezTo>
                    <a:pt x="53" y="11"/>
                    <a:pt x="53" y="11"/>
                    <a:pt x="53" y="11"/>
                  </a:cubicBezTo>
                  <a:cubicBezTo>
                    <a:pt x="52" y="13"/>
                    <a:pt x="52" y="13"/>
                    <a:pt x="52" y="13"/>
                  </a:cubicBezTo>
                  <a:cubicBezTo>
                    <a:pt x="49" y="16"/>
                    <a:pt x="49" y="16"/>
                    <a:pt x="49" y="16"/>
                  </a:cubicBezTo>
                  <a:cubicBezTo>
                    <a:pt x="49" y="16"/>
                    <a:pt x="49" y="16"/>
                    <a:pt x="49" y="16"/>
                  </a:cubicBezTo>
                  <a:cubicBezTo>
                    <a:pt x="49" y="16"/>
                    <a:pt x="49" y="17"/>
                    <a:pt x="49" y="17"/>
                  </a:cubicBezTo>
                  <a:cubicBezTo>
                    <a:pt x="49" y="17"/>
                    <a:pt x="49" y="17"/>
                    <a:pt x="49" y="17"/>
                  </a:cubicBezTo>
                  <a:cubicBezTo>
                    <a:pt x="49" y="18"/>
                    <a:pt x="49" y="18"/>
                    <a:pt x="49" y="18"/>
                  </a:cubicBezTo>
                  <a:cubicBezTo>
                    <a:pt x="49" y="18"/>
                    <a:pt x="49" y="18"/>
                    <a:pt x="49" y="18"/>
                  </a:cubicBezTo>
                  <a:cubicBezTo>
                    <a:pt x="49" y="19"/>
                    <a:pt x="49" y="19"/>
                    <a:pt x="49" y="19"/>
                  </a:cubicBezTo>
                  <a:cubicBezTo>
                    <a:pt x="48" y="19"/>
                    <a:pt x="48" y="19"/>
                    <a:pt x="48" y="19"/>
                  </a:cubicBezTo>
                  <a:cubicBezTo>
                    <a:pt x="48" y="19"/>
                    <a:pt x="48" y="19"/>
                    <a:pt x="48" y="19"/>
                  </a:cubicBezTo>
                  <a:cubicBezTo>
                    <a:pt x="48" y="19"/>
                    <a:pt x="48" y="20"/>
                    <a:pt x="49" y="20"/>
                  </a:cubicBezTo>
                  <a:cubicBezTo>
                    <a:pt x="49" y="20"/>
                    <a:pt x="49" y="20"/>
                    <a:pt x="49" y="20"/>
                  </a:cubicBezTo>
                  <a:cubicBezTo>
                    <a:pt x="48" y="20"/>
                    <a:pt x="48" y="20"/>
                    <a:pt x="48" y="20"/>
                  </a:cubicBezTo>
                  <a:cubicBezTo>
                    <a:pt x="48" y="20"/>
                    <a:pt x="48" y="21"/>
                    <a:pt x="48" y="21"/>
                  </a:cubicBezTo>
                  <a:cubicBezTo>
                    <a:pt x="48" y="21"/>
                    <a:pt x="48" y="21"/>
                    <a:pt x="48" y="21"/>
                  </a:cubicBezTo>
                  <a:cubicBezTo>
                    <a:pt x="48" y="21"/>
                    <a:pt x="48" y="21"/>
                    <a:pt x="48" y="21"/>
                  </a:cubicBezTo>
                  <a:cubicBezTo>
                    <a:pt x="47" y="21"/>
                    <a:pt x="47" y="21"/>
                    <a:pt x="47" y="21"/>
                  </a:cubicBezTo>
                  <a:cubicBezTo>
                    <a:pt x="47" y="21"/>
                    <a:pt x="47" y="21"/>
                    <a:pt x="47" y="21"/>
                  </a:cubicBezTo>
                  <a:cubicBezTo>
                    <a:pt x="47" y="21"/>
                    <a:pt x="47" y="21"/>
                    <a:pt x="47" y="21"/>
                  </a:cubicBezTo>
                  <a:cubicBezTo>
                    <a:pt x="47" y="21"/>
                    <a:pt x="47" y="21"/>
                    <a:pt x="47" y="21"/>
                  </a:cubicBezTo>
                  <a:cubicBezTo>
                    <a:pt x="47" y="21"/>
                    <a:pt x="47" y="21"/>
                    <a:pt x="47" y="21"/>
                  </a:cubicBezTo>
                  <a:cubicBezTo>
                    <a:pt x="46" y="21"/>
                    <a:pt x="46" y="22"/>
                    <a:pt x="46" y="22"/>
                  </a:cubicBezTo>
                  <a:cubicBezTo>
                    <a:pt x="46" y="22"/>
                    <a:pt x="46" y="22"/>
                    <a:pt x="46" y="22"/>
                  </a:cubicBezTo>
                  <a:cubicBezTo>
                    <a:pt x="46" y="22"/>
                    <a:pt x="46" y="22"/>
                    <a:pt x="46" y="22"/>
                  </a:cubicBezTo>
                  <a:cubicBezTo>
                    <a:pt x="46" y="22"/>
                    <a:pt x="46" y="22"/>
                    <a:pt x="46" y="22"/>
                  </a:cubicBezTo>
                  <a:cubicBezTo>
                    <a:pt x="46" y="22"/>
                    <a:pt x="45" y="22"/>
                    <a:pt x="45" y="22"/>
                  </a:cubicBezTo>
                  <a:cubicBezTo>
                    <a:pt x="45" y="23"/>
                    <a:pt x="45" y="23"/>
                    <a:pt x="45" y="23"/>
                  </a:cubicBezTo>
                  <a:cubicBezTo>
                    <a:pt x="45" y="23"/>
                    <a:pt x="45" y="23"/>
                    <a:pt x="45" y="23"/>
                  </a:cubicBezTo>
                  <a:cubicBezTo>
                    <a:pt x="45" y="23"/>
                    <a:pt x="45" y="23"/>
                    <a:pt x="45" y="23"/>
                  </a:cubicBezTo>
                  <a:cubicBezTo>
                    <a:pt x="45" y="23"/>
                    <a:pt x="45" y="23"/>
                    <a:pt x="44" y="23"/>
                  </a:cubicBezTo>
                  <a:cubicBezTo>
                    <a:pt x="44" y="23"/>
                    <a:pt x="44" y="24"/>
                    <a:pt x="44" y="24"/>
                  </a:cubicBezTo>
                  <a:cubicBezTo>
                    <a:pt x="44" y="25"/>
                    <a:pt x="44" y="25"/>
                    <a:pt x="44" y="25"/>
                  </a:cubicBezTo>
                  <a:cubicBezTo>
                    <a:pt x="44" y="25"/>
                    <a:pt x="44" y="25"/>
                    <a:pt x="44" y="25"/>
                  </a:cubicBezTo>
                  <a:cubicBezTo>
                    <a:pt x="44" y="25"/>
                    <a:pt x="44" y="25"/>
                    <a:pt x="44" y="25"/>
                  </a:cubicBezTo>
                  <a:cubicBezTo>
                    <a:pt x="42" y="27"/>
                    <a:pt x="42" y="27"/>
                    <a:pt x="42" y="27"/>
                  </a:cubicBezTo>
                  <a:cubicBezTo>
                    <a:pt x="42" y="27"/>
                    <a:pt x="42" y="27"/>
                    <a:pt x="42" y="27"/>
                  </a:cubicBezTo>
                  <a:cubicBezTo>
                    <a:pt x="42" y="27"/>
                    <a:pt x="42" y="28"/>
                    <a:pt x="42" y="28"/>
                  </a:cubicBezTo>
                  <a:cubicBezTo>
                    <a:pt x="42" y="29"/>
                    <a:pt x="42" y="29"/>
                    <a:pt x="42" y="29"/>
                  </a:cubicBezTo>
                  <a:cubicBezTo>
                    <a:pt x="42" y="29"/>
                    <a:pt x="42" y="29"/>
                    <a:pt x="43" y="30"/>
                  </a:cubicBezTo>
                  <a:cubicBezTo>
                    <a:pt x="43" y="30"/>
                    <a:pt x="43" y="30"/>
                    <a:pt x="43" y="30"/>
                  </a:cubicBezTo>
                  <a:cubicBezTo>
                    <a:pt x="43" y="30"/>
                    <a:pt x="43" y="30"/>
                    <a:pt x="43" y="30"/>
                  </a:cubicBezTo>
                  <a:cubicBezTo>
                    <a:pt x="43" y="30"/>
                    <a:pt x="43" y="30"/>
                    <a:pt x="43" y="31"/>
                  </a:cubicBezTo>
                  <a:cubicBezTo>
                    <a:pt x="43" y="31"/>
                    <a:pt x="43" y="31"/>
                    <a:pt x="43" y="31"/>
                  </a:cubicBezTo>
                  <a:cubicBezTo>
                    <a:pt x="44" y="31"/>
                    <a:pt x="44" y="31"/>
                    <a:pt x="44" y="31"/>
                  </a:cubicBezTo>
                  <a:cubicBezTo>
                    <a:pt x="44" y="31"/>
                    <a:pt x="44" y="31"/>
                    <a:pt x="44" y="31"/>
                  </a:cubicBezTo>
                  <a:cubicBezTo>
                    <a:pt x="45" y="31"/>
                    <a:pt x="45" y="31"/>
                    <a:pt x="45" y="31"/>
                  </a:cubicBezTo>
                  <a:cubicBezTo>
                    <a:pt x="45" y="31"/>
                    <a:pt x="45" y="31"/>
                    <a:pt x="45" y="31"/>
                  </a:cubicBezTo>
                  <a:cubicBezTo>
                    <a:pt x="44" y="32"/>
                    <a:pt x="44" y="32"/>
                    <a:pt x="44" y="32"/>
                  </a:cubicBezTo>
                  <a:cubicBezTo>
                    <a:pt x="44" y="32"/>
                    <a:pt x="44" y="32"/>
                    <a:pt x="44" y="32"/>
                  </a:cubicBezTo>
                  <a:cubicBezTo>
                    <a:pt x="44" y="32"/>
                    <a:pt x="44" y="32"/>
                    <a:pt x="44" y="32"/>
                  </a:cubicBezTo>
                  <a:cubicBezTo>
                    <a:pt x="44" y="32"/>
                    <a:pt x="44" y="33"/>
                    <a:pt x="44" y="33"/>
                  </a:cubicBezTo>
                  <a:cubicBezTo>
                    <a:pt x="44" y="33"/>
                    <a:pt x="44" y="33"/>
                    <a:pt x="44" y="33"/>
                  </a:cubicBezTo>
                  <a:cubicBezTo>
                    <a:pt x="44" y="34"/>
                    <a:pt x="44" y="34"/>
                    <a:pt x="45" y="34"/>
                  </a:cubicBezTo>
                  <a:cubicBezTo>
                    <a:pt x="45" y="34"/>
                    <a:pt x="45" y="34"/>
                    <a:pt x="45" y="34"/>
                  </a:cubicBezTo>
                  <a:cubicBezTo>
                    <a:pt x="45" y="34"/>
                    <a:pt x="45" y="35"/>
                    <a:pt x="45" y="35"/>
                  </a:cubicBezTo>
                  <a:cubicBezTo>
                    <a:pt x="46" y="35"/>
                    <a:pt x="46" y="35"/>
                    <a:pt x="46" y="35"/>
                  </a:cubicBezTo>
                  <a:cubicBezTo>
                    <a:pt x="46" y="36"/>
                    <a:pt x="46" y="36"/>
                    <a:pt x="46" y="36"/>
                  </a:cubicBezTo>
                  <a:cubicBezTo>
                    <a:pt x="46" y="36"/>
                    <a:pt x="46" y="36"/>
                    <a:pt x="46" y="36"/>
                  </a:cubicBezTo>
                  <a:cubicBezTo>
                    <a:pt x="46" y="37"/>
                    <a:pt x="46" y="37"/>
                    <a:pt x="46" y="37"/>
                  </a:cubicBezTo>
                  <a:cubicBezTo>
                    <a:pt x="46" y="37"/>
                    <a:pt x="46" y="37"/>
                    <a:pt x="46" y="37"/>
                  </a:cubicBezTo>
                  <a:cubicBezTo>
                    <a:pt x="46" y="37"/>
                    <a:pt x="46" y="37"/>
                    <a:pt x="46" y="37"/>
                  </a:cubicBezTo>
                  <a:cubicBezTo>
                    <a:pt x="46" y="37"/>
                    <a:pt x="46" y="37"/>
                    <a:pt x="46" y="37"/>
                  </a:cubicBezTo>
                  <a:cubicBezTo>
                    <a:pt x="46" y="38"/>
                    <a:pt x="46" y="38"/>
                    <a:pt x="46" y="38"/>
                  </a:cubicBezTo>
                  <a:cubicBezTo>
                    <a:pt x="46" y="38"/>
                    <a:pt x="46" y="38"/>
                    <a:pt x="46" y="38"/>
                  </a:cubicBezTo>
                  <a:cubicBezTo>
                    <a:pt x="46" y="39"/>
                    <a:pt x="46" y="39"/>
                    <a:pt x="46" y="39"/>
                  </a:cubicBezTo>
                  <a:cubicBezTo>
                    <a:pt x="44" y="39"/>
                    <a:pt x="44" y="39"/>
                    <a:pt x="44" y="39"/>
                  </a:cubicBezTo>
                  <a:cubicBezTo>
                    <a:pt x="44" y="39"/>
                    <a:pt x="44" y="39"/>
                    <a:pt x="43" y="39"/>
                  </a:cubicBezTo>
                  <a:cubicBezTo>
                    <a:pt x="43" y="40"/>
                    <a:pt x="43" y="40"/>
                    <a:pt x="43" y="40"/>
                  </a:cubicBezTo>
                  <a:cubicBezTo>
                    <a:pt x="42" y="41"/>
                    <a:pt x="42" y="41"/>
                    <a:pt x="42" y="41"/>
                  </a:cubicBezTo>
                  <a:cubicBezTo>
                    <a:pt x="41" y="42"/>
                    <a:pt x="41" y="42"/>
                    <a:pt x="41" y="42"/>
                  </a:cubicBezTo>
                  <a:cubicBezTo>
                    <a:pt x="41" y="42"/>
                    <a:pt x="41" y="42"/>
                    <a:pt x="41" y="43"/>
                  </a:cubicBezTo>
                  <a:cubicBezTo>
                    <a:pt x="40" y="43"/>
                    <a:pt x="40" y="43"/>
                    <a:pt x="40" y="43"/>
                  </a:cubicBezTo>
                  <a:cubicBezTo>
                    <a:pt x="40" y="43"/>
                    <a:pt x="40" y="43"/>
                    <a:pt x="40" y="44"/>
                  </a:cubicBezTo>
                  <a:cubicBezTo>
                    <a:pt x="39" y="44"/>
                    <a:pt x="39" y="44"/>
                    <a:pt x="39" y="44"/>
                  </a:cubicBezTo>
                  <a:cubicBezTo>
                    <a:pt x="38" y="45"/>
                    <a:pt x="38" y="45"/>
                    <a:pt x="38" y="45"/>
                  </a:cubicBezTo>
                  <a:cubicBezTo>
                    <a:pt x="38" y="45"/>
                    <a:pt x="38" y="45"/>
                    <a:pt x="38" y="45"/>
                  </a:cubicBezTo>
                  <a:cubicBezTo>
                    <a:pt x="37" y="45"/>
                    <a:pt x="37" y="45"/>
                    <a:pt x="37" y="45"/>
                  </a:cubicBezTo>
                  <a:cubicBezTo>
                    <a:pt x="32" y="46"/>
                    <a:pt x="32" y="46"/>
                    <a:pt x="32" y="46"/>
                  </a:cubicBezTo>
                  <a:cubicBezTo>
                    <a:pt x="32" y="46"/>
                    <a:pt x="31" y="46"/>
                    <a:pt x="31" y="46"/>
                  </a:cubicBezTo>
                  <a:cubicBezTo>
                    <a:pt x="29" y="48"/>
                    <a:pt x="29" y="48"/>
                    <a:pt x="29" y="48"/>
                  </a:cubicBezTo>
                  <a:cubicBezTo>
                    <a:pt x="28" y="47"/>
                    <a:pt x="28" y="47"/>
                    <a:pt x="28" y="47"/>
                  </a:cubicBezTo>
                  <a:cubicBezTo>
                    <a:pt x="28" y="47"/>
                    <a:pt x="27" y="46"/>
                    <a:pt x="27" y="46"/>
                  </a:cubicBezTo>
                  <a:cubicBezTo>
                    <a:pt x="21" y="46"/>
                    <a:pt x="21" y="46"/>
                    <a:pt x="21" y="46"/>
                  </a:cubicBezTo>
                  <a:cubicBezTo>
                    <a:pt x="21" y="46"/>
                    <a:pt x="21" y="46"/>
                    <a:pt x="21" y="46"/>
                  </a:cubicBezTo>
                  <a:cubicBezTo>
                    <a:pt x="19" y="47"/>
                    <a:pt x="19" y="47"/>
                    <a:pt x="19" y="47"/>
                  </a:cubicBezTo>
                  <a:cubicBezTo>
                    <a:pt x="17" y="47"/>
                    <a:pt x="17" y="47"/>
                    <a:pt x="17" y="47"/>
                  </a:cubicBezTo>
                  <a:cubicBezTo>
                    <a:pt x="17" y="47"/>
                    <a:pt x="17" y="47"/>
                    <a:pt x="17" y="47"/>
                  </a:cubicBezTo>
                  <a:cubicBezTo>
                    <a:pt x="13" y="49"/>
                    <a:pt x="13" y="49"/>
                    <a:pt x="13" y="49"/>
                  </a:cubicBezTo>
                  <a:cubicBezTo>
                    <a:pt x="13" y="49"/>
                    <a:pt x="13" y="49"/>
                    <a:pt x="13" y="49"/>
                  </a:cubicBezTo>
                  <a:cubicBezTo>
                    <a:pt x="12" y="49"/>
                    <a:pt x="12" y="49"/>
                    <a:pt x="12" y="49"/>
                  </a:cubicBezTo>
                  <a:cubicBezTo>
                    <a:pt x="12" y="50"/>
                    <a:pt x="12" y="50"/>
                    <a:pt x="12" y="50"/>
                  </a:cubicBezTo>
                  <a:cubicBezTo>
                    <a:pt x="10" y="51"/>
                    <a:pt x="10" y="51"/>
                    <a:pt x="10" y="51"/>
                  </a:cubicBezTo>
                  <a:cubicBezTo>
                    <a:pt x="9" y="51"/>
                    <a:pt x="9" y="51"/>
                    <a:pt x="9" y="51"/>
                  </a:cubicBezTo>
                  <a:cubicBezTo>
                    <a:pt x="8" y="52"/>
                    <a:pt x="8" y="52"/>
                    <a:pt x="8" y="52"/>
                  </a:cubicBezTo>
                  <a:cubicBezTo>
                    <a:pt x="7" y="52"/>
                    <a:pt x="7" y="52"/>
                    <a:pt x="7" y="52"/>
                  </a:cubicBezTo>
                  <a:cubicBezTo>
                    <a:pt x="7" y="52"/>
                    <a:pt x="7" y="52"/>
                    <a:pt x="7" y="53"/>
                  </a:cubicBezTo>
                  <a:cubicBezTo>
                    <a:pt x="7" y="53"/>
                    <a:pt x="7" y="53"/>
                    <a:pt x="8" y="53"/>
                  </a:cubicBezTo>
                  <a:cubicBezTo>
                    <a:pt x="8" y="55"/>
                    <a:pt x="8" y="55"/>
                    <a:pt x="8" y="55"/>
                  </a:cubicBezTo>
                  <a:cubicBezTo>
                    <a:pt x="8" y="55"/>
                    <a:pt x="8" y="55"/>
                    <a:pt x="8" y="55"/>
                  </a:cubicBezTo>
                  <a:cubicBezTo>
                    <a:pt x="8" y="55"/>
                    <a:pt x="8" y="56"/>
                    <a:pt x="8" y="56"/>
                  </a:cubicBezTo>
                  <a:cubicBezTo>
                    <a:pt x="8" y="56"/>
                    <a:pt x="8" y="56"/>
                    <a:pt x="8" y="56"/>
                  </a:cubicBezTo>
                  <a:cubicBezTo>
                    <a:pt x="8" y="56"/>
                    <a:pt x="8" y="56"/>
                    <a:pt x="8" y="56"/>
                  </a:cubicBezTo>
                  <a:cubicBezTo>
                    <a:pt x="8" y="57"/>
                    <a:pt x="8" y="57"/>
                    <a:pt x="8" y="57"/>
                  </a:cubicBezTo>
                  <a:cubicBezTo>
                    <a:pt x="8" y="57"/>
                    <a:pt x="8" y="57"/>
                    <a:pt x="8" y="57"/>
                  </a:cubicBezTo>
                  <a:cubicBezTo>
                    <a:pt x="9" y="57"/>
                    <a:pt x="9" y="57"/>
                    <a:pt x="9" y="57"/>
                  </a:cubicBezTo>
                  <a:cubicBezTo>
                    <a:pt x="9" y="58"/>
                    <a:pt x="9" y="58"/>
                    <a:pt x="9" y="58"/>
                  </a:cubicBezTo>
                  <a:cubicBezTo>
                    <a:pt x="9" y="58"/>
                    <a:pt x="9" y="58"/>
                    <a:pt x="9" y="58"/>
                  </a:cubicBezTo>
                  <a:cubicBezTo>
                    <a:pt x="9" y="58"/>
                    <a:pt x="9" y="59"/>
                    <a:pt x="9" y="59"/>
                  </a:cubicBezTo>
                  <a:cubicBezTo>
                    <a:pt x="9" y="59"/>
                    <a:pt x="9" y="59"/>
                    <a:pt x="10" y="59"/>
                  </a:cubicBezTo>
                  <a:cubicBezTo>
                    <a:pt x="10" y="59"/>
                    <a:pt x="10" y="59"/>
                    <a:pt x="10" y="59"/>
                  </a:cubicBezTo>
                  <a:cubicBezTo>
                    <a:pt x="10" y="59"/>
                    <a:pt x="10" y="59"/>
                    <a:pt x="10" y="59"/>
                  </a:cubicBezTo>
                  <a:cubicBezTo>
                    <a:pt x="10" y="59"/>
                    <a:pt x="10" y="59"/>
                    <a:pt x="10" y="59"/>
                  </a:cubicBezTo>
                  <a:cubicBezTo>
                    <a:pt x="11" y="60"/>
                    <a:pt x="11" y="60"/>
                    <a:pt x="11" y="60"/>
                  </a:cubicBezTo>
                  <a:cubicBezTo>
                    <a:pt x="11" y="61"/>
                    <a:pt x="11" y="61"/>
                    <a:pt x="11" y="61"/>
                  </a:cubicBezTo>
                  <a:cubicBezTo>
                    <a:pt x="11" y="61"/>
                    <a:pt x="11" y="61"/>
                    <a:pt x="11" y="61"/>
                  </a:cubicBezTo>
                  <a:cubicBezTo>
                    <a:pt x="11" y="62"/>
                    <a:pt x="11" y="62"/>
                    <a:pt x="11" y="62"/>
                  </a:cubicBezTo>
                  <a:cubicBezTo>
                    <a:pt x="11" y="62"/>
                    <a:pt x="11" y="62"/>
                    <a:pt x="11" y="62"/>
                  </a:cubicBezTo>
                  <a:cubicBezTo>
                    <a:pt x="11" y="62"/>
                    <a:pt x="11" y="62"/>
                    <a:pt x="11" y="62"/>
                  </a:cubicBezTo>
                  <a:cubicBezTo>
                    <a:pt x="10" y="63"/>
                    <a:pt x="10" y="63"/>
                    <a:pt x="10" y="63"/>
                  </a:cubicBezTo>
                  <a:cubicBezTo>
                    <a:pt x="10" y="63"/>
                    <a:pt x="10" y="63"/>
                    <a:pt x="10" y="63"/>
                  </a:cubicBezTo>
                  <a:cubicBezTo>
                    <a:pt x="10" y="63"/>
                    <a:pt x="10" y="63"/>
                    <a:pt x="10" y="63"/>
                  </a:cubicBezTo>
                  <a:cubicBezTo>
                    <a:pt x="9" y="64"/>
                    <a:pt x="9" y="64"/>
                    <a:pt x="9" y="64"/>
                  </a:cubicBezTo>
                  <a:cubicBezTo>
                    <a:pt x="9" y="64"/>
                    <a:pt x="9" y="65"/>
                    <a:pt x="9" y="65"/>
                  </a:cubicBezTo>
                  <a:cubicBezTo>
                    <a:pt x="9" y="65"/>
                    <a:pt x="9" y="65"/>
                    <a:pt x="9" y="65"/>
                  </a:cubicBezTo>
                  <a:cubicBezTo>
                    <a:pt x="9" y="66"/>
                    <a:pt x="9" y="66"/>
                    <a:pt x="9" y="66"/>
                  </a:cubicBezTo>
                  <a:cubicBezTo>
                    <a:pt x="9" y="66"/>
                    <a:pt x="9" y="66"/>
                    <a:pt x="8" y="66"/>
                  </a:cubicBezTo>
                  <a:cubicBezTo>
                    <a:pt x="8" y="66"/>
                    <a:pt x="8" y="66"/>
                    <a:pt x="8" y="66"/>
                  </a:cubicBezTo>
                  <a:cubicBezTo>
                    <a:pt x="8" y="66"/>
                    <a:pt x="8" y="66"/>
                    <a:pt x="8" y="66"/>
                  </a:cubicBezTo>
                  <a:cubicBezTo>
                    <a:pt x="7" y="66"/>
                    <a:pt x="7" y="67"/>
                    <a:pt x="7" y="67"/>
                  </a:cubicBezTo>
                  <a:cubicBezTo>
                    <a:pt x="7" y="67"/>
                    <a:pt x="7" y="67"/>
                    <a:pt x="7" y="67"/>
                  </a:cubicBezTo>
                  <a:cubicBezTo>
                    <a:pt x="7" y="67"/>
                    <a:pt x="7" y="67"/>
                    <a:pt x="7" y="67"/>
                  </a:cubicBezTo>
                  <a:cubicBezTo>
                    <a:pt x="6" y="68"/>
                    <a:pt x="6" y="68"/>
                    <a:pt x="6" y="68"/>
                  </a:cubicBezTo>
                  <a:cubicBezTo>
                    <a:pt x="6" y="68"/>
                    <a:pt x="5" y="68"/>
                    <a:pt x="5" y="69"/>
                  </a:cubicBezTo>
                  <a:cubicBezTo>
                    <a:pt x="5" y="69"/>
                    <a:pt x="5" y="69"/>
                    <a:pt x="5" y="69"/>
                  </a:cubicBezTo>
                  <a:cubicBezTo>
                    <a:pt x="5" y="70"/>
                    <a:pt x="5" y="70"/>
                    <a:pt x="5" y="70"/>
                  </a:cubicBezTo>
                  <a:cubicBezTo>
                    <a:pt x="4" y="71"/>
                    <a:pt x="4" y="71"/>
                    <a:pt x="4" y="71"/>
                  </a:cubicBezTo>
                  <a:cubicBezTo>
                    <a:pt x="4" y="71"/>
                    <a:pt x="4" y="71"/>
                    <a:pt x="4" y="71"/>
                  </a:cubicBezTo>
                  <a:cubicBezTo>
                    <a:pt x="4" y="71"/>
                    <a:pt x="4" y="71"/>
                    <a:pt x="4" y="71"/>
                  </a:cubicBezTo>
                  <a:cubicBezTo>
                    <a:pt x="4" y="71"/>
                    <a:pt x="4" y="71"/>
                    <a:pt x="4" y="71"/>
                  </a:cubicBezTo>
                  <a:cubicBezTo>
                    <a:pt x="3" y="72"/>
                    <a:pt x="3" y="72"/>
                    <a:pt x="3" y="72"/>
                  </a:cubicBezTo>
                  <a:cubicBezTo>
                    <a:pt x="3" y="72"/>
                    <a:pt x="3" y="72"/>
                    <a:pt x="3" y="72"/>
                  </a:cubicBezTo>
                  <a:cubicBezTo>
                    <a:pt x="2" y="73"/>
                    <a:pt x="2" y="73"/>
                    <a:pt x="2" y="73"/>
                  </a:cubicBezTo>
                  <a:cubicBezTo>
                    <a:pt x="1" y="73"/>
                    <a:pt x="1" y="73"/>
                    <a:pt x="1" y="73"/>
                  </a:cubicBezTo>
                  <a:cubicBezTo>
                    <a:pt x="0" y="74"/>
                    <a:pt x="0" y="74"/>
                    <a:pt x="0" y="74"/>
                  </a:cubicBezTo>
                  <a:cubicBezTo>
                    <a:pt x="0" y="75"/>
                    <a:pt x="0" y="75"/>
                    <a:pt x="0" y="75"/>
                  </a:cubicBezTo>
                  <a:cubicBezTo>
                    <a:pt x="0" y="75"/>
                    <a:pt x="0" y="75"/>
                    <a:pt x="0" y="75"/>
                  </a:cubicBezTo>
                  <a:cubicBezTo>
                    <a:pt x="0" y="75"/>
                    <a:pt x="0" y="75"/>
                    <a:pt x="0" y="75"/>
                  </a:cubicBezTo>
                  <a:cubicBezTo>
                    <a:pt x="0" y="77"/>
                    <a:pt x="0" y="79"/>
                    <a:pt x="1" y="80"/>
                  </a:cubicBezTo>
                  <a:cubicBezTo>
                    <a:pt x="23" y="76"/>
                    <a:pt x="45" y="72"/>
                    <a:pt x="67" y="67"/>
                  </a:cubicBezTo>
                  <a:cubicBezTo>
                    <a:pt x="67" y="67"/>
                    <a:pt x="67" y="67"/>
                    <a:pt x="67" y="67"/>
                  </a:cubicBezTo>
                  <a:cubicBezTo>
                    <a:pt x="67" y="67"/>
                    <a:pt x="67" y="67"/>
                    <a:pt x="67" y="67"/>
                  </a:cubicBezTo>
                  <a:cubicBezTo>
                    <a:pt x="68" y="67"/>
                    <a:pt x="68" y="67"/>
                    <a:pt x="68" y="67"/>
                  </a:cubicBezTo>
                  <a:cubicBezTo>
                    <a:pt x="68" y="67"/>
                    <a:pt x="68" y="67"/>
                    <a:pt x="68" y="67"/>
                  </a:cubicBezTo>
                  <a:cubicBezTo>
                    <a:pt x="68" y="68"/>
                    <a:pt x="68" y="68"/>
                    <a:pt x="68" y="68"/>
                  </a:cubicBezTo>
                  <a:cubicBezTo>
                    <a:pt x="68" y="68"/>
                    <a:pt x="68" y="68"/>
                    <a:pt x="68" y="68"/>
                  </a:cubicBezTo>
                  <a:cubicBezTo>
                    <a:pt x="69" y="69"/>
                    <a:pt x="69" y="69"/>
                    <a:pt x="69" y="69"/>
                  </a:cubicBezTo>
                  <a:cubicBezTo>
                    <a:pt x="69" y="69"/>
                    <a:pt x="69" y="69"/>
                    <a:pt x="69" y="69"/>
                  </a:cubicBezTo>
                  <a:cubicBezTo>
                    <a:pt x="70" y="69"/>
                    <a:pt x="70" y="69"/>
                    <a:pt x="70" y="69"/>
                  </a:cubicBezTo>
                  <a:cubicBezTo>
                    <a:pt x="70" y="69"/>
                    <a:pt x="70" y="69"/>
                    <a:pt x="70" y="69"/>
                  </a:cubicBezTo>
                  <a:cubicBezTo>
                    <a:pt x="70" y="69"/>
                    <a:pt x="70" y="69"/>
                    <a:pt x="70" y="69"/>
                  </a:cubicBezTo>
                  <a:cubicBezTo>
                    <a:pt x="71" y="69"/>
                    <a:pt x="71" y="69"/>
                    <a:pt x="71" y="69"/>
                  </a:cubicBezTo>
                  <a:cubicBezTo>
                    <a:pt x="71" y="69"/>
                    <a:pt x="71" y="69"/>
                    <a:pt x="71" y="69"/>
                  </a:cubicBezTo>
                  <a:cubicBezTo>
                    <a:pt x="71" y="69"/>
                    <a:pt x="71" y="69"/>
                    <a:pt x="71" y="69"/>
                  </a:cubicBezTo>
                  <a:cubicBezTo>
                    <a:pt x="71" y="69"/>
                    <a:pt x="71" y="69"/>
                    <a:pt x="71" y="69"/>
                  </a:cubicBezTo>
                  <a:cubicBezTo>
                    <a:pt x="71" y="69"/>
                    <a:pt x="71" y="69"/>
                    <a:pt x="71" y="69"/>
                  </a:cubicBezTo>
                  <a:cubicBezTo>
                    <a:pt x="71" y="70"/>
                    <a:pt x="71" y="70"/>
                    <a:pt x="71" y="70"/>
                  </a:cubicBezTo>
                  <a:cubicBezTo>
                    <a:pt x="71" y="70"/>
                    <a:pt x="71" y="70"/>
                    <a:pt x="71" y="70"/>
                  </a:cubicBezTo>
                  <a:cubicBezTo>
                    <a:pt x="72" y="70"/>
                    <a:pt x="72" y="70"/>
                    <a:pt x="72" y="70"/>
                  </a:cubicBezTo>
                  <a:cubicBezTo>
                    <a:pt x="72" y="70"/>
                    <a:pt x="72" y="70"/>
                    <a:pt x="72" y="70"/>
                  </a:cubicBezTo>
                  <a:cubicBezTo>
                    <a:pt x="72" y="71"/>
                    <a:pt x="72" y="71"/>
                    <a:pt x="72" y="71"/>
                  </a:cubicBezTo>
                  <a:cubicBezTo>
                    <a:pt x="72" y="71"/>
                    <a:pt x="72" y="71"/>
                    <a:pt x="72" y="71"/>
                  </a:cubicBezTo>
                  <a:cubicBezTo>
                    <a:pt x="72" y="71"/>
                    <a:pt x="72" y="71"/>
                    <a:pt x="72" y="71"/>
                  </a:cubicBezTo>
                  <a:cubicBezTo>
                    <a:pt x="72" y="71"/>
                    <a:pt x="72" y="71"/>
                    <a:pt x="72" y="71"/>
                  </a:cubicBezTo>
                  <a:cubicBezTo>
                    <a:pt x="72" y="72"/>
                    <a:pt x="72" y="72"/>
                    <a:pt x="72" y="72"/>
                  </a:cubicBezTo>
                  <a:cubicBezTo>
                    <a:pt x="72" y="72"/>
                    <a:pt x="72" y="72"/>
                    <a:pt x="72" y="72"/>
                  </a:cubicBezTo>
                  <a:cubicBezTo>
                    <a:pt x="73" y="74"/>
                    <a:pt x="73" y="74"/>
                    <a:pt x="73" y="74"/>
                  </a:cubicBezTo>
                  <a:cubicBezTo>
                    <a:pt x="73" y="74"/>
                    <a:pt x="73" y="74"/>
                    <a:pt x="73" y="74"/>
                  </a:cubicBezTo>
                  <a:cubicBezTo>
                    <a:pt x="73" y="74"/>
                    <a:pt x="73" y="74"/>
                    <a:pt x="73" y="74"/>
                  </a:cubicBezTo>
                  <a:cubicBezTo>
                    <a:pt x="74" y="75"/>
                    <a:pt x="74" y="75"/>
                    <a:pt x="74" y="75"/>
                  </a:cubicBezTo>
                  <a:cubicBezTo>
                    <a:pt x="74" y="76"/>
                    <a:pt x="74" y="76"/>
                    <a:pt x="74" y="76"/>
                  </a:cubicBezTo>
                  <a:cubicBezTo>
                    <a:pt x="75" y="76"/>
                    <a:pt x="75" y="76"/>
                    <a:pt x="75" y="76"/>
                  </a:cubicBezTo>
                  <a:cubicBezTo>
                    <a:pt x="75" y="76"/>
                    <a:pt x="75" y="76"/>
                    <a:pt x="75" y="76"/>
                  </a:cubicBezTo>
                  <a:cubicBezTo>
                    <a:pt x="76" y="76"/>
                    <a:pt x="76" y="76"/>
                    <a:pt x="76" y="76"/>
                  </a:cubicBezTo>
                  <a:cubicBezTo>
                    <a:pt x="76" y="76"/>
                    <a:pt x="76" y="76"/>
                    <a:pt x="76" y="76"/>
                  </a:cubicBezTo>
                  <a:cubicBezTo>
                    <a:pt x="76" y="76"/>
                    <a:pt x="76" y="76"/>
                    <a:pt x="76" y="76"/>
                  </a:cubicBezTo>
                  <a:cubicBezTo>
                    <a:pt x="76" y="76"/>
                    <a:pt x="76" y="76"/>
                    <a:pt x="76" y="76"/>
                  </a:cubicBezTo>
                  <a:cubicBezTo>
                    <a:pt x="77" y="76"/>
                    <a:pt x="77" y="76"/>
                    <a:pt x="77" y="76"/>
                  </a:cubicBezTo>
                  <a:cubicBezTo>
                    <a:pt x="77" y="76"/>
                    <a:pt x="77" y="76"/>
                    <a:pt x="77" y="76"/>
                  </a:cubicBezTo>
                  <a:cubicBezTo>
                    <a:pt x="78" y="76"/>
                    <a:pt x="78" y="76"/>
                    <a:pt x="78" y="76"/>
                  </a:cubicBezTo>
                  <a:cubicBezTo>
                    <a:pt x="78" y="76"/>
                    <a:pt x="78" y="76"/>
                    <a:pt x="78" y="76"/>
                  </a:cubicBezTo>
                  <a:cubicBezTo>
                    <a:pt x="78" y="76"/>
                    <a:pt x="78" y="76"/>
                    <a:pt x="78" y="76"/>
                  </a:cubicBezTo>
                  <a:cubicBezTo>
                    <a:pt x="78" y="76"/>
                    <a:pt x="78" y="76"/>
                    <a:pt x="78" y="76"/>
                  </a:cubicBezTo>
                  <a:cubicBezTo>
                    <a:pt x="78" y="76"/>
                    <a:pt x="78" y="76"/>
                    <a:pt x="78" y="76"/>
                  </a:cubicBezTo>
                  <a:cubicBezTo>
                    <a:pt x="78" y="76"/>
                    <a:pt x="78" y="76"/>
                    <a:pt x="78" y="76"/>
                  </a:cubicBezTo>
                  <a:cubicBezTo>
                    <a:pt x="79" y="77"/>
                    <a:pt x="79" y="77"/>
                    <a:pt x="79" y="77"/>
                  </a:cubicBezTo>
                  <a:cubicBezTo>
                    <a:pt x="79" y="77"/>
                    <a:pt x="79" y="77"/>
                    <a:pt x="79" y="77"/>
                  </a:cubicBezTo>
                  <a:cubicBezTo>
                    <a:pt x="79" y="77"/>
                    <a:pt x="79" y="77"/>
                    <a:pt x="79" y="77"/>
                  </a:cubicBezTo>
                  <a:cubicBezTo>
                    <a:pt x="79" y="77"/>
                    <a:pt x="79" y="77"/>
                    <a:pt x="79" y="77"/>
                  </a:cubicBezTo>
                  <a:cubicBezTo>
                    <a:pt x="84" y="79"/>
                    <a:pt x="88" y="80"/>
                    <a:pt x="93" y="82"/>
                  </a:cubicBezTo>
                  <a:cubicBezTo>
                    <a:pt x="93" y="81"/>
                    <a:pt x="93" y="81"/>
                    <a:pt x="93" y="81"/>
                  </a:cubicBezTo>
                  <a:cubicBezTo>
                    <a:pt x="92" y="80"/>
                    <a:pt x="92" y="80"/>
                    <a:pt x="92" y="80"/>
                  </a:cubicBezTo>
                  <a:cubicBezTo>
                    <a:pt x="92" y="79"/>
                    <a:pt x="92" y="79"/>
                    <a:pt x="92" y="79"/>
                  </a:cubicBezTo>
                  <a:cubicBezTo>
                    <a:pt x="92" y="79"/>
                    <a:pt x="92" y="79"/>
                    <a:pt x="92" y="79"/>
                  </a:cubicBezTo>
                  <a:cubicBezTo>
                    <a:pt x="91" y="78"/>
                    <a:pt x="91" y="78"/>
                    <a:pt x="91" y="78"/>
                  </a:cubicBezTo>
                  <a:cubicBezTo>
                    <a:pt x="91" y="78"/>
                    <a:pt x="91" y="78"/>
                    <a:pt x="91" y="78"/>
                  </a:cubicBezTo>
                  <a:cubicBezTo>
                    <a:pt x="91" y="78"/>
                    <a:pt x="91" y="78"/>
                    <a:pt x="91" y="78"/>
                  </a:cubicBezTo>
                  <a:cubicBezTo>
                    <a:pt x="91" y="78"/>
                    <a:pt x="91" y="78"/>
                    <a:pt x="91" y="78"/>
                  </a:cubicBezTo>
                  <a:cubicBezTo>
                    <a:pt x="90" y="77"/>
                    <a:pt x="90" y="77"/>
                    <a:pt x="90" y="77"/>
                  </a:cubicBezTo>
                  <a:cubicBezTo>
                    <a:pt x="90" y="77"/>
                    <a:pt x="90" y="77"/>
                    <a:pt x="90" y="77"/>
                  </a:cubicBezTo>
                  <a:cubicBezTo>
                    <a:pt x="90" y="77"/>
                    <a:pt x="90" y="77"/>
                    <a:pt x="90" y="77"/>
                  </a:cubicBezTo>
                  <a:cubicBezTo>
                    <a:pt x="90" y="76"/>
                    <a:pt x="90" y="76"/>
                    <a:pt x="90" y="76"/>
                  </a:cubicBezTo>
                  <a:cubicBezTo>
                    <a:pt x="90" y="76"/>
                    <a:pt x="90" y="76"/>
                    <a:pt x="90" y="76"/>
                  </a:cubicBezTo>
                  <a:cubicBezTo>
                    <a:pt x="90" y="76"/>
                    <a:pt x="90" y="76"/>
                    <a:pt x="90" y="76"/>
                  </a:cubicBezTo>
                  <a:cubicBezTo>
                    <a:pt x="91" y="76"/>
                    <a:pt x="91" y="76"/>
                    <a:pt x="91" y="76"/>
                  </a:cubicBezTo>
                  <a:cubicBezTo>
                    <a:pt x="91" y="76"/>
                    <a:pt x="91" y="76"/>
                    <a:pt x="91" y="76"/>
                  </a:cubicBezTo>
                  <a:cubicBezTo>
                    <a:pt x="91" y="76"/>
                    <a:pt x="91" y="76"/>
                    <a:pt x="91" y="76"/>
                  </a:cubicBezTo>
                  <a:cubicBezTo>
                    <a:pt x="91" y="77"/>
                    <a:pt x="91" y="77"/>
                    <a:pt x="91" y="77"/>
                  </a:cubicBezTo>
                  <a:cubicBezTo>
                    <a:pt x="91" y="77"/>
                    <a:pt x="91" y="77"/>
                    <a:pt x="91" y="77"/>
                  </a:cubicBezTo>
                  <a:cubicBezTo>
                    <a:pt x="92" y="77"/>
                    <a:pt x="92" y="77"/>
                    <a:pt x="92" y="77"/>
                  </a:cubicBezTo>
                  <a:cubicBezTo>
                    <a:pt x="92" y="78"/>
                    <a:pt x="92" y="78"/>
                    <a:pt x="92" y="78"/>
                  </a:cubicBezTo>
                  <a:cubicBezTo>
                    <a:pt x="92" y="78"/>
                    <a:pt x="92" y="78"/>
                    <a:pt x="92" y="78"/>
                  </a:cubicBezTo>
                  <a:cubicBezTo>
                    <a:pt x="92" y="79"/>
                    <a:pt x="92" y="79"/>
                    <a:pt x="92" y="79"/>
                  </a:cubicBezTo>
                  <a:cubicBezTo>
                    <a:pt x="93" y="79"/>
                    <a:pt x="93" y="79"/>
                    <a:pt x="93" y="79"/>
                  </a:cubicBezTo>
                  <a:cubicBezTo>
                    <a:pt x="93" y="81"/>
                    <a:pt x="93" y="81"/>
                    <a:pt x="93" y="81"/>
                  </a:cubicBezTo>
                  <a:cubicBezTo>
                    <a:pt x="93" y="81"/>
                    <a:pt x="93" y="81"/>
                    <a:pt x="93" y="81"/>
                  </a:cubicBezTo>
                  <a:cubicBezTo>
                    <a:pt x="93" y="82"/>
                    <a:pt x="93" y="82"/>
                    <a:pt x="93" y="82"/>
                  </a:cubicBezTo>
                  <a:cubicBezTo>
                    <a:pt x="93" y="83"/>
                    <a:pt x="93" y="83"/>
                    <a:pt x="93" y="83"/>
                  </a:cubicBezTo>
                  <a:cubicBezTo>
                    <a:pt x="93" y="84"/>
                    <a:pt x="93" y="84"/>
                    <a:pt x="93" y="84"/>
                  </a:cubicBezTo>
                  <a:cubicBezTo>
                    <a:pt x="93" y="84"/>
                    <a:pt x="93" y="84"/>
                    <a:pt x="93" y="84"/>
                  </a:cubicBezTo>
                  <a:cubicBezTo>
                    <a:pt x="93" y="84"/>
                    <a:pt x="93" y="84"/>
                    <a:pt x="93" y="84"/>
                  </a:cubicBezTo>
                  <a:cubicBezTo>
                    <a:pt x="93" y="85"/>
                    <a:pt x="93" y="85"/>
                    <a:pt x="93" y="85"/>
                  </a:cubicBezTo>
                  <a:cubicBezTo>
                    <a:pt x="93" y="85"/>
                    <a:pt x="93" y="85"/>
                    <a:pt x="93" y="85"/>
                  </a:cubicBezTo>
                  <a:cubicBezTo>
                    <a:pt x="93" y="85"/>
                    <a:pt x="93" y="85"/>
                    <a:pt x="93" y="85"/>
                  </a:cubicBezTo>
                  <a:cubicBezTo>
                    <a:pt x="93" y="85"/>
                    <a:pt x="93" y="85"/>
                    <a:pt x="93" y="85"/>
                  </a:cubicBezTo>
                  <a:cubicBezTo>
                    <a:pt x="93" y="86"/>
                    <a:pt x="93" y="86"/>
                    <a:pt x="93" y="86"/>
                  </a:cubicBezTo>
                  <a:cubicBezTo>
                    <a:pt x="94" y="86"/>
                    <a:pt x="94" y="86"/>
                    <a:pt x="94" y="86"/>
                  </a:cubicBezTo>
                  <a:cubicBezTo>
                    <a:pt x="94" y="85"/>
                    <a:pt x="94" y="85"/>
                    <a:pt x="94" y="85"/>
                  </a:cubicBezTo>
                  <a:cubicBezTo>
                    <a:pt x="95" y="85"/>
                    <a:pt x="95" y="85"/>
                    <a:pt x="95" y="85"/>
                  </a:cubicBezTo>
                  <a:cubicBezTo>
                    <a:pt x="95" y="85"/>
                    <a:pt x="95" y="85"/>
                    <a:pt x="95" y="85"/>
                  </a:cubicBezTo>
                  <a:cubicBezTo>
                    <a:pt x="95" y="85"/>
                    <a:pt x="95" y="85"/>
                    <a:pt x="95" y="85"/>
                  </a:cubicBezTo>
                  <a:cubicBezTo>
                    <a:pt x="95" y="85"/>
                    <a:pt x="95" y="85"/>
                    <a:pt x="95" y="85"/>
                  </a:cubicBezTo>
                  <a:cubicBezTo>
                    <a:pt x="95" y="84"/>
                    <a:pt x="95" y="84"/>
                    <a:pt x="95" y="84"/>
                  </a:cubicBezTo>
                  <a:cubicBezTo>
                    <a:pt x="95" y="84"/>
                    <a:pt x="95" y="84"/>
                    <a:pt x="95" y="84"/>
                  </a:cubicBezTo>
                  <a:cubicBezTo>
                    <a:pt x="95" y="84"/>
                    <a:pt x="95" y="84"/>
                    <a:pt x="95" y="84"/>
                  </a:cubicBezTo>
                  <a:cubicBezTo>
                    <a:pt x="95" y="84"/>
                    <a:pt x="95" y="84"/>
                    <a:pt x="95" y="84"/>
                  </a:cubicBezTo>
                  <a:cubicBezTo>
                    <a:pt x="95" y="84"/>
                    <a:pt x="95" y="84"/>
                    <a:pt x="95" y="84"/>
                  </a:cubicBezTo>
                  <a:cubicBezTo>
                    <a:pt x="95" y="83"/>
                    <a:pt x="95" y="83"/>
                    <a:pt x="95" y="83"/>
                  </a:cubicBezTo>
                  <a:cubicBezTo>
                    <a:pt x="95" y="83"/>
                    <a:pt x="95" y="83"/>
                    <a:pt x="95" y="83"/>
                  </a:cubicBezTo>
                  <a:cubicBezTo>
                    <a:pt x="96" y="82"/>
                    <a:pt x="96" y="82"/>
                    <a:pt x="96" y="82"/>
                  </a:cubicBezTo>
                  <a:cubicBezTo>
                    <a:pt x="96" y="82"/>
                    <a:pt x="96" y="82"/>
                    <a:pt x="96" y="82"/>
                  </a:cubicBezTo>
                  <a:cubicBezTo>
                    <a:pt x="96" y="82"/>
                    <a:pt x="96" y="82"/>
                    <a:pt x="96" y="82"/>
                  </a:cubicBezTo>
                  <a:cubicBezTo>
                    <a:pt x="96" y="82"/>
                    <a:pt x="96" y="82"/>
                    <a:pt x="96" y="82"/>
                  </a:cubicBezTo>
                  <a:cubicBezTo>
                    <a:pt x="96" y="82"/>
                    <a:pt x="96" y="82"/>
                    <a:pt x="96" y="82"/>
                  </a:cubicBezTo>
                  <a:cubicBezTo>
                    <a:pt x="97" y="81"/>
                    <a:pt x="97" y="81"/>
                    <a:pt x="97" y="81"/>
                  </a:cubicBezTo>
                  <a:cubicBezTo>
                    <a:pt x="97" y="81"/>
                    <a:pt x="97" y="81"/>
                    <a:pt x="97" y="81"/>
                  </a:cubicBezTo>
                  <a:cubicBezTo>
                    <a:pt x="97" y="81"/>
                    <a:pt x="97" y="81"/>
                    <a:pt x="97" y="81"/>
                  </a:cubicBezTo>
                  <a:cubicBezTo>
                    <a:pt x="97" y="81"/>
                    <a:pt x="97" y="81"/>
                    <a:pt x="97" y="81"/>
                  </a:cubicBezTo>
                  <a:cubicBezTo>
                    <a:pt x="97" y="81"/>
                    <a:pt x="97" y="81"/>
                    <a:pt x="96" y="80"/>
                  </a:cubicBezTo>
                  <a:cubicBezTo>
                    <a:pt x="96" y="80"/>
                    <a:pt x="96" y="80"/>
                    <a:pt x="96" y="80"/>
                  </a:cubicBezTo>
                  <a:cubicBezTo>
                    <a:pt x="96" y="80"/>
                    <a:pt x="96" y="80"/>
                    <a:pt x="96" y="80"/>
                  </a:cubicBezTo>
                  <a:cubicBezTo>
                    <a:pt x="96" y="80"/>
                    <a:pt x="96" y="80"/>
                    <a:pt x="96" y="80"/>
                  </a:cubicBezTo>
                  <a:cubicBezTo>
                    <a:pt x="96" y="80"/>
                    <a:pt x="96" y="80"/>
                    <a:pt x="96" y="80"/>
                  </a:cubicBezTo>
                  <a:cubicBezTo>
                    <a:pt x="96" y="80"/>
                    <a:pt x="96" y="80"/>
                    <a:pt x="96" y="80"/>
                  </a:cubicBezTo>
                  <a:cubicBezTo>
                    <a:pt x="96" y="80"/>
                    <a:pt x="95" y="79"/>
                    <a:pt x="95" y="79"/>
                  </a:cubicBezTo>
                  <a:cubicBezTo>
                    <a:pt x="95" y="79"/>
                    <a:pt x="95" y="79"/>
                    <a:pt x="95" y="79"/>
                  </a:cubicBezTo>
                  <a:cubicBezTo>
                    <a:pt x="95" y="79"/>
                    <a:pt x="95" y="79"/>
                    <a:pt x="95" y="79"/>
                  </a:cubicBezTo>
                  <a:cubicBezTo>
                    <a:pt x="96" y="78"/>
                    <a:pt x="97" y="77"/>
                    <a:pt x="98" y="76"/>
                  </a:cubicBezTo>
                  <a:close/>
                </a:path>
              </a:pathLst>
            </a:custGeom>
            <a:solidFill>
              <a:schemeClr val="accent1"/>
            </a:solidFill>
            <a:ln w="63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1071" name="Freeform 78">
              <a:extLst>
                <a:ext uri="{FF2B5EF4-FFF2-40B4-BE49-F238E27FC236}">
                  <a16:creationId xmlns:a16="http://schemas.microsoft.com/office/drawing/2014/main" id="{609837D4-A547-3757-B00A-1910AB792915}"/>
                </a:ext>
              </a:extLst>
            </p:cNvPr>
            <p:cNvSpPr>
              <a:spLocks/>
            </p:cNvSpPr>
            <p:nvPr/>
          </p:nvSpPr>
          <p:spPr bwMode="gray">
            <a:xfrm>
              <a:off x="4891088" y="4089400"/>
              <a:ext cx="6350" cy="4763"/>
            </a:xfrm>
            <a:custGeom>
              <a:avLst/>
              <a:gdLst>
                <a:gd name="T0" fmla="*/ 0 w 4"/>
                <a:gd name="T1" fmla="*/ 0 h 3"/>
                <a:gd name="T2" fmla="*/ 0 w 4"/>
                <a:gd name="T3" fmla="*/ 0 h 3"/>
                <a:gd name="T4" fmla="*/ 0 w 4"/>
                <a:gd name="T5" fmla="*/ 0 h 3"/>
                <a:gd name="T6" fmla="*/ 0 w 4"/>
                <a:gd name="T7" fmla="*/ 3 h 3"/>
                <a:gd name="T8" fmla="*/ 4 w 4"/>
                <a:gd name="T9" fmla="*/ 0 h 3"/>
                <a:gd name="T10" fmla="*/ 0 w 4"/>
                <a:gd name="T11" fmla="*/ 0 h 3"/>
              </a:gdLst>
              <a:ahLst/>
              <a:cxnLst>
                <a:cxn ang="0">
                  <a:pos x="T0" y="T1"/>
                </a:cxn>
                <a:cxn ang="0">
                  <a:pos x="T2" y="T3"/>
                </a:cxn>
                <a:cxn ang="0">
                  <a:pos x="T4" y="T5"/>
                </a:cxn>
                <a:cxn ang="0">
                  <a:pos x="T6" y="T7"/>
                </a:cxn>
                <a:cxn ang="0">
                  <a:pos x="T8" y="T9"/>
                </a:cxn>
                <a:cxn ang="0">
                  <a:pos x="T10" y="T11"/>
                </a:cxn>
              </a:cxnLst>
              <a:rect l="0" t="0" r="r" b="b"/>
              <a:pathLst>
                <a:path w="4" h="3">
                  <a:moveTo>
                    <a:pt x="0" y="0"/>
                  </a:moveTo>
                  <a:lnTo>
                    <a:pt x="0" y="0"/>
                  </a:lnTo>
                  <a:lnTo>
                    <a:pt x="0" y="0"/>
                  </a:lnTo>
                  <a:lnTo>
                    <a:pt x="0" y="3"/>
                  </a:lnTo>
                  <a:lnTo>
                    <a:pt x="4" y="0"/>
                  </a:lnTo>
                  <a:lnTo>
                    <a:pt x="0" y="0"/>
                  </a:lnTo>
                  <a:close/>
                </a:path>
              </a:pathLst>
            </a:custGeom>
            <a:solidFill>
              <a:schemeClr val="accent2"/>
            </a:solidFill>
            <a:ln w="63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1072" name="Freeform 79">
              <a:extLst>
                <a:ext uri="{FF2B5EF4-FFF2-40B4-BE49-F238E27FC236}">
                  <a16:creationId xmlns:a16="http://schemas.microsoft.com/office/drawing/2014/main" id="{035D4D96-35CB-9323-9831-849553A40BE0}"/>
                </a:ext>
              </a:extLst>
            </p:cNvPr>
            <p:cNvSpPr>
              <a:spLocks/>
            </p:cNvSpPr>
            <p:nvPr/>
          </p:nvSpPr>
          <p:spPr bwMode="gray">
            <a:xfrm>
              <a:off x="4768850" y="4168775"/>
              <a:ext cx="6350" cy="4763"/>
            </a:xfrm>
            <a:custGeom>
              <a:avLst/>
              <a:gdLst>
                <a:gd name="T0" fmla="*/ 0 w 1"/>
                <a:gd name="T1" fmla="*/ 0 h 1"/>
                <a:gd name="T2" fmla="*/ 0 w 1"/>
                <a:gd name="T3" fmla="*/ 0 h 1"/>
                <a:gd name="T4" fmla="*/ 0 w 1"/>
                <a:gd name="T5" fmla="*/ 0 h 1"/>
                <a:gd name="T6" fmla="*/ 0 w 1"/>
                <a:gd name="T7" fmla="*/ 0 h 1"/>
                <a:gd name="T8" fmla="*/ 0 w 1"/>
                <a:gd name="T9" fmla="*/ 1 h 1"/>
                <a:gd name="T10" fmla="*/ 0 w 1"/>
                <a:gd name="T11" fmla="*/ 1 h 1"/>
                <a:gd name="T12" fmla="*/ 1 w 1"/>
                <a:gd name="T13" fmla="*/ 1 h 1"/>
                <a:gd name="T14" fmla="*/ 1 w 1"/>
                <a:gd name="T15" fmla="*/ 1 h 1"/>
                <a:gd name="T16" fmla="*/ 0 w 1"/>
                <a:gd name="T17" fmla="*/ 0 h 1"/>
                <a:gd name="T18" fmla="*/ 0 w 1"/>
                <a:gd name="T19" fmla="*/ 0 h 1"/>
                <a:gd name="T20" fmla="*/ 0 w 1"/>
                <a:gd name="T2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 h="1">
                  <a:moveTo>
                    <a:pt x="0" y="0"/>
                  </a:moveTo>
                  <a:cubicBezTo>
                    <a:pt x="0" y="0"/>
                    <a:pt x="0" y="0"/>
                    <a:pt x="0" y="0"/>
                  </a:cubicBezTo>
                  <a:cubicBezTo>
                    <a:pt x="0" y="0"/>
                    <a:pt x="0" y="0"/>
                    <a:pt x="0" y="0"/>
                  </a:cubicBezTo>
                  <a:cubicBezTo>
                    <a:pt x="0" y="0"/>
                    <a:pt x="0" y="0"/>
                    <a:pt x="0" y="0"/>
                  </a:cubicBezTo>
                  <a:cubicBezTo>
                    <a:pt x="0" y="1"/>
                    <a:pt x="0" y="1"/>
                    <a:pt x="0" y="1"/>
                  </a:cubicBezTo>
                  <a:cubicBezTo>
                    <a:pt x="0" y="1"/>
                    <a:pt x="0" y="1"/>
                    <a:pt x="0" y="1"/>
                  </a:cubicBezTo>
                  <a:cubicBezTo>
                    <a:pt x="1" y="1"/>
                    <a:pt x="1" y="1"/>
                    <a:pt x="1" y="1"/>
                  </a:cubicBezTo>
                  <a:cubicBezTo>
                    <a:pt x="1" y="1"/>
                    <a:pt x="1" y="1"/>
                    <a:pt x="1" y="1"/>
                  </a:cubicBezTo>
                  <a:cubicBezTo>
                    <a:pt x="0" y="0"/>
                    <a:pt x="0" y="0"/>
                    <a:pt x="0" y="0"/>
                  </a:cubicBezTo>
                  <a:cubicBezTo>
                    <a:pt x="0" y="0"/>
                    <a:pt x="0" y="0"/>
                    <a:pt x="0" y="0"/>
                  </a:cubicBezTo>
                  <a:cubicBezTo>
                    <a:pt x="0" y="0"/>
                    <a:pt x="0" y="0"/>
                    <a:pt x="0" y="0"/>
                  </a:cubicBezTo>
                  <a:close/>
                </a:path>
              </a:pathLst>
            </a:custGeom>
            <a:solidFill>
              <a:srgbClr val="F59E00"/>
            </a:solidFill>
            <a:ln w="635">
              <a:solidFill>
                <a:schemeClr val="accent6"/>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1073" name="Freeform 80">
              <a:extLst>
                <a:ext uri="{FF2B5EF4-FFF2-40B4-BE49-F238E27FC236}">
                  <a16:creationId xmlns:a16="http://schemas.microsoft.com/office/drawing/2014/main" id="{FDA1BA00-2DC0-8874-19AA-27470519D265}"/>
                </a:ext>
              </a:extLst>
            </p:cNvPr>
            <p:cNvSpPr>
              <a:spLocks/>
            </p:cNvSpPr>
            <p:nvPr/>
          </p:nvSpPr>
          <p:spPr bwMode="gray">
            <a:xfrm>
              <a:off x="4768850" y="4073525"/>
              <a:ext cx="128588" cy="90488"/>
            </a:xfrm>
            <a:custGeom>
              <a:avLst/>
              <a:gdLst>
                <a:gd name="T0" fmla="*/ 20 w 24"/>
                <a:gd name="T1" fmla="*/ 6 h 17"/>
                <a:gd name="T2" fmla="*/ 20 w 24"/>
                <a:gd name="T3" fmla="*/ 5 h 17"/>
                <a:gd name="T4" fmla="*/ 21 w 24"/>
                <a:gd name="T5" fmla="*/ 5 h 17"/>
                <a:gd name="T6" fmla="*/ 21 w 24"/>
                <a:gd name="T7" fmla="*/ 5 h 17"/>
                <a:gd name="T8" fmla="*/ 22 w 24"/>
                <a:gd name="T9" fmla="*/ 4 h 17"/>
                <a:gd name="T10" fmla="*/ 22 w 24"/>
                <a:gd name="T11" fmla="*/ 4 h 17"/>
                <a:gd name="T12" fmla="*/ 22 w 24"/>
                <a:gd name="T13" fmla="*/ 4 h 17"/>
                <a:gd name="T14" fmla="*/ 22 w 24"/>
                <a:gd name="T15" fmla="*/ 3 h 17"/>
                <a:gd name="T16" fmla="*/ 22 w 24"/>
                <a:gd name="T17" fmla="*/ 3 h 17"/>
                <a:gd name="T18" fmla="*/ 23 w 24"/>
                <a:gd name="T19" fmla="*/ 1 h 17"/>
                <a:gd name="T20" fmla="*/ 24 w 24"/>
                <a:gd name="T21" fmla="*/ 1 h 17"/>
                <a:gd name="T22" fmla="*/ 24 w 24"/>
                <a:gd name="T23" fmla="*/ 0 h 17"/>
                <a:gd name="T24" fmla="*/ 23 w 24"/>
                <a:gd name="T25" fmla="*/ 0 h 17"/>
                <a:gd name="T26" fmla="*/ 22 w 24"/>
                <a:gd name="T27" fmla="*/ 2 h 17"/>
                <a:gd name="T28" fmla="*/ 21 w 24"/>
                <a:gd name="T29" fmla="*/ 3 h 17"/>
                <a:gd name="T30" fmla="*/ 19 w 24"/>
                <a:gd name="T31" fmla="*/ 5 h 17"/>
                <a:gd name="T32" fmla="*/ 17 w 24"/>
                <a:gd name="T33" fmla="*/ 6 h 17"/>
                <a:gd name="T34" fmla="*/ 13 w 24"/>
                <a:gd name="T35" fmla="*/ 7 h 17"/>
                <a:gd name="T36" fmla="*/ 12 w 24"/>
                <a:gd name="T37" fmla="*/ 7 h 17"/>
                <a:gd name="T38" fmla="*/ 12 w 24"/>
                <a:gd name="T39" fmla="*/ 8 h 17"/>
                <a:gd name="T40" fmla="*/ 12 w 24"/>
                <a:gd name="T41" fmla="*/ 7 h 17"/>
                <a:gd name="T42" fmla="*/ 11 w 24"/>
                <a:gd name="T43" fmla="*/ 8 h 17"/>
                <a:gd name="T44" fmla="*/ 10 w 24"/>
                <a:gd name="T45" fmla="*/ 9 h 17"/>
                <a:gd name="T46" fmla="*/ 10 w 24"/>
                <a:gd name="T47" fmla="*/ 9 h 17"/>
                <a:gd name="T48" fmla="*/ 8 w 24"/>
                <a:gd name="T49" fmla="*/ 9 h 17"/>
                <a:gd name="T50" fmla="*/ 8 w 24"/>
                <a:gd name="T51" fmla="*/ 9 h 17"/>
                <a:gd name="T52" fmla="*/ 7 w 24"/>
                <a:gd name="T53" fmla="*/ 9 h 17"/>
                <a:gd name="T54" fmla="*/ 8 w 24"/>
                <a:gd name="T55" fmla="*/ 9 h 17"/>
                <a:gd name="T56" fmla="*/ 8 w 24"/>
                <a:gd name="T57" fmla="*/ 10 h 17"/>
                <a:gd name="T58" fmla="*/ 7 w 24"/>
                <a:gd name="T59" fmla="*/ 10 h 17"/>
                <a:gd name="T60" fmla="*/ 7 w 24"/>
                <a:gd name="T61" fmla="*/ 9 h 17"/>
                <a:gd name="T62" fmla="*/ 6 w 24"/>
                <a:gd name="T63" fmla="*/ 10 h 17"/>
                <a:gd name="T64" fmla="*/ 7 w 24"/>
                <a:gd name="T65" fmla="*/ 10 h 17"/>
                <a:gd name="T66" fmla="*/ 6 w 24"/>
                <a:gd name="T67" fmla="*/ 11 h 17"/>
                <a:gd name="T68" fmla="*/ 6 w 24"/>
                <a:gd name="T69" fmla="*/ 11 h 17"/>
                <a:gd name="T70" fmla="*/ 6 w 24"/>
                <a:gd name="T71" fmla="*/ 11 h 17"/>
                <a:gd name="T72" fmla="*/ 6 w 24"/>
                <a:gd name="T73" fmla="*/ 10 h 17"/>
                <a:gd name="T74" fmla="*/ 5 w 24"/>
                <a:gd name="T75" fmla="*/ 10 h 17"/>
                <a:gd name="T76" fmla="*/ 4 w 24"/>
                <a:gd name="T77" fmla="*/ 12 h 17"/>
                <a:gd name="T78" fmla="*/ 4 w 24"/>
                <a:gd name="T79" fmla="*/ 12 h 17"/>
                <a:gd name="T80" fmla="*/ 3 w 24"/>
                <a:gd name="T81" fmla="*/ 12 h 17"/>
                <a:gd name="T82" fmla="*/ 4 w 24"/>
                <a:gd name="T83" fmla="*/ 13 h 17"/>
                <a:gd name="T84" fmla="*/ 3 w 24"/>
                <a:gd name="T85" fmla="*/ 13 h 17"/>
                <a:gd name="T86" fmla="*/ 3 w 24"/>
                <a:gd name="T87" fmla="*/ 13 h 17"/>
                <a:gd name="T88" fmla="*/ 3 w 24"/>
                <a:gd name="T89" fmla="*/ 14 h 17"/>
                <a:gd name="T90" fmla="*/ 1 w 24"/>
                <a:gd name="T91" fmla="*/ 14 h 17"/>
                <a:gd name="T92" fmla="*/ 1 w 24"/>
                <a:gd name="T93" fmla="*/ 14 h 17"/>
                <a:gd name="T94" fmla="*/ 0 w 24"/>
                <a:gd name="T95" fmla="*/ 15 h 17"/>
                <a:gd name="T96" fmla="*/ 0 w 24"/>
                <a:gd name="T97" fmla="*/ 16 h 17"/>
                <a:gd name="T98" fmla="*/ 0 w 24"/>
                <a:gd name="T99" fmla="*/ 17 h 17"/>
                <a:gd name="T100" fmla="*/ 0 w 24"/>
                <a:gd name="T101" fmla="*/ 17 h 17"/>
                <a:gd name="T102" fmla="*/ 1 w 24"/>
                <a:gd name="T103" fmla="*/ 17 h 17"/>
                <a:gd name="T104" fmla="*/ 5 w 24"/>
                <a:gd name="T105" fmla="*/ 15 h 17"/>
                <a:gd name="T106" fmla="*/ 8 w 24"/>
                <a:gd name="T107" fmla="*/ 14 h 17"/>
                <a:gd name="T108" fmla="*/ 10 w 24"/>
                <a:gd name="T109" fmla="*/ 13 h 17"/>
                <a:gd name="T110" fmla="*/ 12 w 24"/>
                <a:gd name="T111" fmla="*/ 12 h 17"/>
                <a:gd name="T112" fmla="*/ 13 w 24"/>
                <a:gd name="T113" fmla="*/ 11 h 17"/>
                <a:gd name="T114" fmla="*/ 17 w 24"/>
                <a:gd name="T115" fmla="*/ 9 h 17"/>
                <a:gd name="T116" fmla="*/ 17 w 24"/>
                <a:gd name="T117" fmla="*/ 8 h 17"/>
                <a:gd name="T118" fmla="*/ 20 w 24"/>
                <a:gd name="T11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 h="17">
                  <a:moveTo>
                    <a:pt x="19" y="7"/>
                  </a:moveTo>
                  <a:cubicBezTo>
                    <a:pt x="19" y="6"/>
                    <a:pt x="19" y="6"/>
                    <a:pt x="19" y="6"/>
                  </a:cubicBezTo>
                  <a:cubicBezTo>
                    <a:pt x="20" y="6"/>
                    <a:pt x="20" y="6"/>
                    <a:pt x="20" y="6"/>
                  </a:cubicBezTo>
                  <a:cubicBezTo>
                    <a:pt x="20" y="6"/>
                    <a:pt x="20" y="6"/>
                    <a:pt x="20" y="6"/>
                  </a:cubicBezTo>
                  <a:cubicBezTo>
                    <a:pt x="20" y="6"/>
                    <a:pt x="20" y="6"/>
                    <a:pt x="20" y="5"/>
                  </a:cubicBezTo>
                  <a:cubicBezTo>
                    <a:pt x="20" y="5"/>
                    <a:pt x="20" y="5"/>
                    <a:pt x="20" y="5"/>
                  </a:cubicBezTo>
                  <a:cubicBezTo>
                    <a:pt x="20" y="5"/>
                    <a:pt x="20" y="5"/>
                    <a:pt x="20" y="5"/>
                  </a:cubicBezTo>
                  <a:cubicBezTo>
                    <a:pt x="21" y="5"/>
                    <a:pt x="21" y="5"/>
                    <a:pt x="21" y="5"/>
                  </a:cubicBezTo>
                  <a:cubicBezTo>
                    <a:pt x="21" y="5"/>
                    <a:pt x="21" y="5"/>
                    <a:pt x="21" y="5"/>
                  </a:cubicBezTo>
                  <a:cubicBezTo>
                    <a:pt x="21" y="5"/>
                    <a:pt x="21" y="5"/>
                    <a:pt x="21" y="5"/>
                  </a:cubicBezTo>
                  <a:cubicBezTo>
                    <a:pt x="21" y="5"/>
                    <a:pt x="21" y="5"/>
                    <a:pt x="21" y="5"/>
                  </a:cubicBezTo>
                  <a:cubicBezTo>
                    <a:pt x="21" y="5"/>
                    <a:pt x="21" y="5"/>
                    <a:pt x="21" y="5"/>
                  </a:cubicBezTo>
                  <a:cubicBezTo>
                    <a:pt x="21" y="4"/>
                    <a:pt x="21" y="4"/>
                    <a:pt x="21" y="4"/>
                  </a:cubicBezTo>
                  <a:cubicBezTo>
                    <a:pt x="21" y="4"/>
                    <a:pt x="21" y="4"/>
                    <a:pt x="21" y="4"/>
                  </a:cubicBezTo>
                  <a:cubicBezTo>
                    <a:pt x="22" y="4"/>
                    <a:pt x="22" y="4"/>
                    <a:pt x="22" y="4"/>
                  </a:cubicBezTo>
                  <a:cubicBezTo>
                    <a:pt x="22" y="5"/>
                    <a:pt x="22" y="5"/>
                    <a:pt x="22" y="5"/>
                  </a:cubicBezTo>
                  <a:cubicBezTo>
                    <a:pt x="22" y="4"/>
                    <a:pt x="22" y="4"/>
                    <a:pt x="22" y="4"/>
                  </a:cubicBezTo>
                  <a:cubicBezTo>
                    <a:pt x="22" y="4"/>
                    <a:pt x="22" y="4"/>
                    <a:pt x="22" y="4"/>
                  </a:cubicBezTo>
                  <a:cubicBezTo>
                    <a:pt x="22" y="4"/>
                    <a:pt x="22" y="4"/>
                    <a:pt x="22" y="4"/>
                  </a:cubicBezTo>
                  <a:cubicBezTo>
                    <a:pt x="22" y="4"/>
                    <a:pt x="22" y="4"/>
                    <a:pt x="22" y="4"/>
                  </a:cubicBezTo>
                  <a:cubicBezTo>
                    <a:pt x="22" y="4"/>
                    <a:pt x="22" y="4"/>
                    <a:pt x="22" y="4"/>
                  </a:cubicBezTo>
                  <a:cubicBezTo>
                    <a:pt x="22" y="3"/>
                    <a:pt x="22" y="3"/>
                    <a:pt x="22" y="3"/>
                  </a:cubicBezTo>
                  <a:cubicBezTo>
                    <a:pt x="22" y="3"/>
                    <a:pt x="22" y="3"/>
                    <a:pt x="22" y="3"/>
                  </a:cubicBezTo>
                  <a:cubicBezTo>
                    <a:pt x="22" y="3"/>
                    <a:pt x="22" y="3"/>
                    <a:pt x="22" y="3"/>
                  </a:cubicBezTo>
                  <a:cubicBezTo>
                    <a:pt x="22" y="3"/>
                    <a:pt x="22" y="3"/>
                    <a:pt x="22" y="3"/>
                  </a:cubicBezTo>
                  <a:cubicBezTo>
                    <a:pt x="22" y="3"/>
                    <a:pt x="22" y="3"/>
                    <a:pt x="22" y="3"/>
                  </a:cubicBezTo>
                  <a:cubicBezTo>
                    <a:pt x="22" y="3"/>
                    <a:pt x="22" y="3"/>
                    <a:pt x="22" y="3"/>
                  </a:cubicBezTo>
                  <a:cubicBezTo>
                    <a:pt x="22" y="3"/>
                    <a:pt x="22" y="3"/>
                    <a:pt x="22" y="3"/>
                  </a:cubicBezTo>
                  <a:cubicBezTo>
                    <a:pt x="23" y="2"/>
                    <a:pt x="23" y="2"/>
                    <a:pt x="23" y="2"/>
                  </a:cubicBezTo>
                  <a:cubicBezTo>
                    <a:pt x="23" y="1"/>
                    <a:pt x="23" y="1"/>
                    <a:pt x="23" y="1"/>
                  </a:cubicBezTo>
                  <a:cubicBezTo>
                    <a:pt x="23" y="1"/>
                    <a:pt x="23" y="1"/>
                    <a:pt x="23" y="1"/>
                  </a:cubicBezTo>
                  <a:cubicBezTo>
                    <a:pt x="24" y="1"/>
                    <a:pt x="24" y="1"/>
                    <a:pt x="24" y="1"/>
                  </a:cubicBezTo>
                  <a:cubicBezTo>
                    <a:pt x="24" y="1"/>
                    <a:pt x="24" y="1"/>
                    <a:pt x="24" y="1"/>
                  </a:cubicBezTo>
                  <a:cubicBezTo>
                    <a:pt x="24" y="1"/>
                    <a:pt x="24" y="1"/>
                    <a:pt x="24" y="1"/>
                  </a:cubicBezTo>
                  <a:cubicBezTo>
                    <a:pt x="24" y="1"/>
                    <a:pt x="24" y="1"/>
                    <a:pt x="24" y="1"/>
                  </a:cubicBezTo>
                  <a:cubicBezTo>
                    <a:pt x="24" y="0"/>
                    <a:pt x="24" y="0"/>
                    <a:pt x="24" y="0"/>
                  </a:cubicBezTo>
                  <a:cubicBezTo>
                    <a:pt x="24" y="0"/>
                    <a:pt x="24" y="0"/>
                    <a:pt x="24" y="0"/>
                  </a:cubicBezTo>
                  <a:cubicBezTo>
                    <a:pt x="23" y="0"/>
                    <a:pt x="23" y="0"/>
                    <a:pt x="23" y="0"/>
                  </a:cubicBezTo>
                  <a:cubicBezTo>
                    <a:pt x="23" y="0"/>
                    <a:pt x="23" y="0"/>
                    <a:pt x="23" y="0"/>
                  </a:cubicBezTo>
                  <a:cubicBezTo>
                    <a:pt x="22" y="1"/>
                    <a:pt x="22" y="1"/>
                    <a:pt x="22" y="1"/>
                  </a:cubicBezTo>
                  <a:cubicBezTo>
                    <a:pt x="22" y="1"/>
                    <a:pt x="22" y="1"/>
                    <a:pt x="22" y="1"/>
                  </a:cubicBezTo>
                  <a:cubicBezTo>
                    <a:pt x="22" y="2"/>
                    <a:pt x="22" y="2"/>
                    <a:pt x="22" y="2"/>
                  </a:cubicBezTo>
                  <a:cubicBezTo>
                    <a:pt x="22" y="2"/>
                    <a:pt x="22" y="2"/>
                    <a:pt x="22" y="2"/>
                  </a:cubicBezTo>
                  <a:cubicBezTo>
                    <a:pt x="21" y="3"/>
                    <a:pt x="21" y="3"/>
                    <a:pt x="21" y="3"/>
                  </a:cubicBezTo>
                  <a:cubicBezTo>
                    <a:pt x="21" y="3"/>
                    <a:pt x="21" y="3"/>
                    <a:pt x="21" y="3"/>
                  </a:cubicBezTo>
                  <a:cubicBezTo>
                    <a:pt x="21" y="3"/>
                    <a:pt x="21" y="3"/>
                    <a:pt x="21" y="3"/>
                  </a:cubicBezTo>
                  <a:cubicBezTo>
                    <a:pt x="20" y="4"/>
                    <a:pt x="20" y="4"/>
                    <a:pt x="20" y="4"/>
                  </a:cubicBezTo>
                  <a:cubicBezTo>
                    <a:pt x="19" y="5"/>
                    <a:pt x="19" y="5"/>
                    <a:pt x="19" y="5"/>
                  </a:cubicBezTo>
                  <a:cubicBezTo>
                    <a:pt x="19" y="5"/>
                    <a:pt x="19" y="5"/>
                    <a:pt x="19" y="5"/>
                  </a:cubicBezTo>
                  <a:cubicBezTo>
                    <a:pt x="18" y="6"/>
                    <a:pt x="18" y="6"/>
                    <a:pt x="18" y="6"/>
                  </a:cubicBezTo>
                  <a:cubicBezTo>
                    <a:pt x="17" y="6"/>
                    <a:pt x="17" y="6"/>
                    <a:pt x="17" y="6"/>
                  </a:cubicBezTo>
                  <a:cubicBezTo>
                    <a:pt x="16" y="6"/>
                    <a:pt x="16" y="6"/>
                    <a:pt x="16" y="6"/>
                  </a:cubicBezTo>
                  <a:cubicBezTo>
                    <a:pt x="15" y="7"/>
                    <a:pt x="15" y="7"/>
                    <a:pt x="15" y="7"/>
                  </a:cubicBezTo>
                  <a:cubicBezTo>
                    <a:pt x="13" y="7"/>
                    <a:pt x="13" y="7"/>
                    <a:pt x="13" y="7"/>
                  </a:cubicBezTo>
                  <a:cubicBezTo>
                    <a:pt x="13" y="7"/>
                    <a:pt x="13" y="7"/>
                    <a:pt x="13" y="7"/>
                  </a:cubicBezTo>
                  <a:cubicBezTo>
                    <a:pt x="12" y="7"/>
                    <a:pt x="12" y="7"/>
                    <a:pt x="12" y="7"/>
                  </a:cubicBezTo>
                  <a:cubicBezTo>
                    <a:pt x="12" y="7"/>
                    <a:pt x="12" y="7"/>
                    <a:pt x="12" y="7"/>
                  </a:cubicBezTo>
                  <a:cubicBezTo>
                    <a:pt x="12" y="8"/>
                    <a:pt x="12" y="8"/>
                    <a:pt x="12" y="8"/>
                  </a:cubicBezTo>
                  <a:cubicBezTo>
                    <a:pt x="12" y="8"/>
                    <a:pt x="12" y="8"/>
                    <a:pt x="12" y="8"/>
                  </a:cubicBezTo>
                  <a:cubicBezTo>
                    <a:pt x="12" y="8"/>
                    <a:pt x="12" y="8"/>
                    <a:pt x="12" y="8"/>
                  </a:cubicBezTo>
                  <a:cubicBezTo>
                    <a:pt x="12" y="8"/>
                    <a:pt x="12" y="8"/>
                    <a:pt x="12" y="8"/>
                  </a:cubicBezTo>
                  <a:cubicBezTo>
                    <a:pt x="12" y="7"/>
                    <a:pt x="12" y="7"/>
                    <a:pt x="12" y="7"/>
                  </a:cubicBezTo>
                  <a:cubicBezTo>
                    <a:pt x="12" y="7"/>
                    <a:pt x="12" y="7"/>
                    <a:pt x="12" y="7"/>
                  </a:cubicBezTo>
                  <a:cubicBezTo>
                    <a:pt x="11" y="8"/>
                    <a:pt x="11" y="8"/>
                    <a:pt x="11" y="8"/>
                  </a:cubicBezTo>
                  <a:cubicBezTo>
                    <a:pt x="11" y="8"/>
                    <a:pt x="11" y="8"/>
                    <a:pt x="11" y="8"/>
                  </a:cubicBezTo>
                  <a:cubicBezTo>
                    <a:pt x="11" y="8"/>
                    <a:pt x="11" y="8"/>
                    <a:pt x="11" y="8"/>
                  </a:cubicBezTo>
                  <a:cubicBezTo>
                    <a:pt x="11" y="8"/>
                    <a:pt x="11" y="8"/>
                    <a:pt x="11" y="8"/>
                  </a:cubicBezTo>
                  <a:cubicBezTo>
                    <a:pt x="11" y="9"/>
                    <a:pt x="11" y="9"/>
                    <a:pt x="11" y="9"/>
                  </a:cubicBezTo>
                  <a:cubicBezTo>
                    <a:pt x="10" y="9"/>
                    <a:pt x="10" y="9"/>
                    <a:pt x="10" y="9"/>
                  </a:cubicBezTo>
                  <a:cubicBezTo>
                    <a:pt x="10" y="9"/>
                    <a:pt x="10" y="9"/>
                    <a:pt x="10" y="9"/>
                  </a:cubicBezTo>
                  <a:cubicBezTo>
                    <a:pt x="10" y="9"/>
                    <a:pt x="10" y="9"/>
                    <a:pt x="10" y="9"/>
                  </a:cubicBezTo>
                  <a:cubicBezTo>
                    <a:pt x="10" y="9"/>
                    <a:pt x="10" y="9"/>
                    <a:pt x="10" y="9"/>
                  </a:cubicBezTo>
                  <a:cubicBezTo>
                    <a:pt x="9" y="9"/>
                    <a:pt x="9" y="9"/>
                    <a:pt x="9" y="9"/>
                  </a:cubicBezTo>
                  <a:cubicBezTo>
                    <a:pt x="9" y="9"/>
                    <a:pt x="9" y="9"/>
                    <a:pt x="9" y="9"/>
                  </a:cubicBezTo>
                  <a:cubicBezTo>
                    <a:pt x="8" y="9"/>
                    <a:pt x="8" y="9"/>
                    <a:pt x="8" y="9"/>
                  </a:cubicBezTo>
                  <a:cubicBezTo>
                    <a:pt x="8" y="9"/>
                    <a:pt x="8" y="9"/>
                    <a:pt x="8" y="9"/>
                  </a:cubicBezTo>
                  <a:cubicBezTo>
                    <a:pt x="8" y="9"/>
                    <a:pt x="8" y="9"/>
                    <a:pt x="8" y="9"/>
                  </a:cubicBezTo>
                  <a:cubicBezTo>
                    <a:pt x="8" y="9"/>
                    <a:pt x="8" y="9"/>
                    <a:pt x="8" y="9"/>
                  </a:cubicBezTo>
                  <a:cubicBezTo>
                    <a:pt x="8" y="9"/>
                    <a:pt x="8" y="9"/>
                    <a:pt x="8" y="9"/>
                  </a:cubicBezTo>
                  <a:cubicBezTo>
                    <a:pt x="7" y="9"/>
                    <a:pt x="7" y="9"/>
                    <a:pt x="7" y="9"/>
                  </a:cubicBezTo>
                  <a:cubicBezTo>
                    <a:pt x="7" y="9"/>
                    <a:pt x="7" y="9"/>
                    <a:pt x="7" y="9"/>
                  </a:cubicBezTo>
                  <a:cubicBezTo>
                    <a:pt x="8" y="9"/>
                    <a:pt x="8" y="9"/>
                    <a:pt x="8" y="9"/>
                  </a:cubicBezTo>
                  <a:cubicBezTo>
                    <a:pt x="8" y="9"/>
                    <a:pt x="8" y="9"/>
                    <a:pt x="8" y="9"/>
                  </a:cubicBezTo>
                  <a:cubicBezTo>
                    <a:pt x="8" y="9"/>
                    <a:pt x="8" y="9"/>
                    <a:pt x="8" y="9"/>
                  </a:cubicBezTo>
                  <a:cubicBezTo>
                    <a:pt x="8" y="9"/>
                    <a:pt x="8" y="9"/>
                    <a:pt x="8" y="9"/>
                  </a:cubicBezTo>
                  <a:cubicBezTo>
                    <a:pt x="8" y="10"/>
                    <a:pt x="8" y="10"/>
                    <a:pt x="8" y="10"/>
                  </a:cubicBezTo>
                  <a:cubicBezTo>
                    <a:pt x="8" y="10"/>
                    <a:pt x="8" y="10"/>
                    <a:pt x="8" y="10"/>
                  </a:cubicBezTo>
                  <a:cubicBezTo>
                    <a:pt x="8" y="10"/>
                    <a:pt x="8" y="10"/>
                    <a:pt x="8" y="10"/>
                  </a:cubicBezTo>
                  <a:cubicBezTo>
                    <a:pt x="8" y="10"/>
                    <a:pt x="8" y="10"/>
                    <a:pt x="8" y="10"/>
                  </a:cubicBezTo>
                  <a:cubicBezTo>
                    <a:pt x="7" y="10"/>
                    <a:pt x="7" y="10"/>
                    <a:pt x="7" y="10"/>
                  </a:cubicBezTo>
                  <a:cubicBezTo>
                    <a:pt x="7" y="10"/>
                    <a:pt x="7" y="10"/>
                    <a:pt x="7" y="10"/>
                  </a:cubicBezTo>
                  <a:cubicBezTo>
                    <a:pt x="7" y="10"/>
                    <a:pt x="7" y="10"/>
                    <a:pt x="7" y="10"/>
                  </a:cubicBezTo>
                  <a:cubicBezTo>
                    <a:pt x="7" y="9"/>
                    <a:pt x="7" y="9"/>
                    <a:pt x="7" y="9"/>
                  </a:cubicBezTo>
                  <a:cubicBezTo>
                    <a:pt x="7" y="9"/>
                    <a:pt x="7" y="9"/>
                    <a:pt x="7" y="9"/>
                  </a:cubicBezTo>
                  <a:cubicBezTo>
                    <a:pt x="6" y="9"/>
                    <a:pt x="6" y="9"/>
                    <a:pt x="6" y="9"/>
                  </a:cubicBezTo>
                  <a:cubicBezTo>
                    <a:pt x="6" y="10"/>
                    <a:pt x="6" y="10"/>
                    <a:pt x="6" y="10"/>
                  </a:cubicBezTo>
                  <a:cubicBezTo>
                    <a:pt x="6" y="10"/>
                    <a:pt x="7" y="10"/>
                    <a:pt x="7" y="10"/>
                  </a:cubicBezTo>
                  <a:cubicBezTo>
                    <a:pt x="7" y="10"/>
                    <a:pt x="7" y="10"/>
                    <a:pt x="7" y="10"/>
                  </a:cubicBezTo>
                  <a:cubicBezTo>
                    <a:pt x="7" y="10"/>
                    <a:pt x="7" y="10"/>
                    <a:pt x="7" y="10"/>
                  </a:cubicBezTo>
                  <a:cubicBezTo>
                    <a:pt x="7" y="11"/>
                    <a:pt x="7" y="11"/>
                    <a:pt x="7" y="11"/>
                  </a:cubicBezTo>
                  <a:cubicBezTo>
                    <a:pt x="7" y="11"/>
                    <a:pt x="7" y="11"/>
                    <a:pt x="7" y="11"/>
                  </a:cubicBezTo>
                  <a:cubicBezTo>
                    <a:pt x="6" y="11"/>
                    <a:pt x="6" y="11"/>
                    <a:pt x="6" y="11"/>
                  </a:cubicBezTo>
                  <a:cubicBezTo>
                    <a:pt x="6" y="10"/>
                    <a:pt x="6" y="10"/>
                    <a:pt x="6" y="10"/>
                  </a:cubicBezTo>
                  <a:cubicBezTo>
                    <a:pt x="6" y="10"/>
                    <a:pt x="6" y="10"/>
                    <a:pt x="6" y="10"/>
                  </a:cubicBezTo>
                  <a:cubicBezTo>
                    <a:pt x="6" y="11"/>
                    <a:pt x="6" y="11"/>
                    <a:pt x="6" y="11"/>
                  </a:cubicBezTo>
                  <a:cubicBezTo>
                    <a:pt x="6" y="11"/>
                    <a:pt x="6" y="11"/>
                    <a:pt x="6" y="11"/>
                  </a:cubicBezTo>
                  <a:cubicBezTo>
                    <a:pt x="6" y="11"/>
                    <a:pt x="6" y="11"/>
                    <a:pt x="6" y="11"/>
                  </a:cubicBezTo>
                  <a:cubicBezTo>
                    <a:pt x="6" y="11"/>
                    <a:pt x="6" y="11"/>
                    <a:pt x="6" y="11"/>
                  </a:cubicBezTo>
                  <a:cubicBezTo>
                    <a:pt x="6" y="10"/>
                    <a:pt x="6" y="10"/>
                    <a:pt x="6" y="10"/>
                  </a:cubicBezTo>
                  <a:cubicBezTo>
                    <a:pt x="6" y="11"/>
                    <a:pt x="6" y="11"/>
                    <a:pt x="6" y="11"/>
                  </a:cubicBezTo>
                  <a:cubicBezTo>
                    <a:pt x="6" y="10"/>
                    <a:pt x="6" y="10"/>
                    <a:pt x="6" y="10"/>
                  </a:cubicBezTo>
                  <a:cubicBezTo>
                    <a:pt x="6" y="10"/>
                    <a:pt x="6" y="10"/>
                    <a:pt x="6" y="10"/>
                  </a:cubicBezTo>
                  <a:cubicBezTo>
                    <a:pt x="6" y="10"/>
                    <a:pt x="6" y="10"/>
                    <a:pt x="6" y="10"/>
                  </a:cubicBezTo>
                  <a:cubicBezTo>
                    <a:pt x="5" y="10"/>
                    <a:pt x="5" y="10"/>
                    <a:pt x="5" y="10"/>
                  </a:cubicBezTo>
                  <a:cubicBezTo>
                    <a:pt x="4" y="11"/>
                    <a:pt x="4" y="11"/>
                    <a:pt x="4" y="11"/>
                  </a:cubicBezTo>
                  <a:cubicBezTo>
                    <a:pt x="4" y="11"/>
                    <a:pt x="4" y="11"/>
                    <a:pt x="4" y="11"/>
                  </a:cubicBezTo>
                  <a:cubicBezTo>
                    <a:pt x="4" y="12"/>
                    <a:pt x="4" y="12"/>
                    <a:pt x="4" y="12"/>
                  </a:cubicBezTo>
                  <a:cubicBezTo>
                    <a:pt x="4" y="12"/>
                    <a:pt x="4" y="12"/>
                    <a:pt x="4" y="12"/>
                  </a:cubicBezTo>
                  <a:cubicBezTo>
                    <a:pt x="4" y="12"/>
                    <a:pt x="4" y="12"/>
                    <a:pt x="4" y="12"/>
                  </a:cubicBezTo>
                  <a:cubicBezTo>
                    <a:pt x="4" y="12"/>
                    <a:pt x="4" y="12"/>
                    <a:pt x="4" y="12"/>
                  </a:cubicBezTo>
                  <a:cubicBezTo>
                    <a:pt x="3" y="12"/>
                    <a:pt x="3" y="12"/>
                    <a:pt x="3" y="12"/>
                  </a:cubicBezTo>
                  <a:cubicBezTo>
                    <a:pt x="3" y="12"/>
                    <a:pt x="3" y="12"/>
                    <a:pt x="3" y="12"/>
                  </a:cubicBezTo>
                  <a:cubicBezTo>
                    <a:pt x="3" y="12"/>
                    <a:pt x="3" y="12"/>
                    <a:pt x="3" y="12"/>
                  </a:cubicBezTo>
                  <a:cubicBezTo>
                    <a:pt x="3" y="12"/>
                    <a:pt x="3" y="12"/>
                    <a:pt x="3" y="12"/>
                  </a:cubicBezTo>
                  <a:cubicBezTo>
                    <a:pt x="4" y="12"/>
                    <a:pt x="4" y="12"/>
                    <a:pt x="4" y="12"/>
                  </a:cubicBezTo>
                  <a:cubicBezTo>
                    <a:pt x="4" y="13"/>
                    <a:pt x="4" y="13"/>
                    <a:pt x="4" y="13"/>
                  </a:cubicBezTo>
                  <a:cubicBezTo>
                    <a:pt x="4" y="13"/>
                    <a:pt x="4" y="13"/>
                    <a:pt x="4" y="13"/>
                  </a:cubicBezTo>
                  <a:cubicBezTo>
                    <a:pt x="4" y="13"/>
                    <a:pt x="4" y="13"/>
                    <a:pt x="4" y="13"/>
                  </a:cubicBezTo>
                  <a:cubicBezTo>
                    <a:pt x="3" y="13"/>
                    <a:pt x="3" y="13"/>
                    <a:pt x="3" y="13"/>
                  </a:cubicBezTo>
                  <a:cubicBezTo>
                    <a:pt x="3" y="13"/>
                    <a:pt x="3" y="13"/>
                    <a:pt x="3" y="13"/>
                  </a:cubicBezTo>
                  <a:cubicBezTo>
                    <a:pt x="3" y="12"/>
                    <a:pt x="3" y="12"/>
                    <a:pt x="3" y="12"/>
                  </a:cubicBezTo>
                  <a:cubicBezTo>
                    <a:pt x="3" y="13"/>
                    <a:pt x="3" y="13"/>
                    <a:pt x="3" y="13"/>
                  </a:cubicBezTo>
                  <a:cubicBezTo>
                    <a:pt x="3" y="13"/>
                    <a:pt x="3" y="13"/>
                    <a:pt x="3" y="13"/>
                  </a:cubicBezTo>
                  <a:cubicBezTo>
                    <a:pt x="3" y="13"/>
                    <a:pt x="3" y="13"/>
                    <a:pt x="3" y="13"/>
                  </a:cubicBezTo>
                  <a:cubicBezTo>
                    <a:pt x="3" y="14"/>
                    <a:pt x="3" y="14"/>
                    <a:pt x="3" y="14"/>
                  </a:cubicBezTo>
                  <a:cubicBezTo>
                    <a:pt x="3" y="13"/>
                    <a:pt x="3" y="13"/>
                    <a:pt x="3" y="13"/>
                  </a:cubicBezTo>
                  <a:cubicBezTo>
                    <a:pt x="2" y="13"/>
                    <a:pt x="2" y="13"/>
                    <a:pt x="2" y="13"/>
                  </a:cubicBezTo>
                  <a:cubicBezTo>
                    <a:pt x="1" y="14"/>
                    <a:pt x="1" y="14"/>
                    <a:pt x="1" y="14"/>
                  </a:cubicBezTo>
                  <a:cubicBezTo>
                    <a:pt x="1" y="14"/>
                    <a:pt x="1" y="14"/>
                    <a:pt x="1" y="14"/>
                  </a:cubicBezTo>
                  <a:cubicBezTo>
                    <a:pt x="1" y="14"/>
                    <a:pt x="1" y="14"/>
                    <a:pt x="1" y="14"/>
                  </a:cubicBezTo>
                  <a:cubicBezTo>
                    <a:pt x="1" y="14"/>
                    <a:pt x="1" y="14"/>
                    <a:pt x="1" y="14"/>
                  </a:cubicBezTo>
                  <a:cubicBezTo>
                    <a:pt x="0" y="14"/>
                    <a:pt x="0" y="14"/>
                    <a:pt x="0" y="14"/>
                  </a:cubicBezTo>
                  <a:cubicBezTo>
                    <a:pt x="0" y="15"/>
                    <a:pt x="0" y="15"/>
                    <a:pt x="0" y="15"/>
                  </a:cubicBezTo>
                  <a:cubicBezTo>
                    <a:pt x="0" y="15"/>
                    <a:pt x="0" y="15"/>
                    <a:pt x="0" y="15"/>
                  </a:cubicBezTo>
                  <a:cubicBezTo>
                    <a:pt x="0" y="16"/>
                    <a:pt x="0" y="16"/>
                    <a:pt x="0" y="16"/>
                  </a:cubicBezTo>
                  <a:cubicBezTo>
                    <a:pt x="0" y="16"/>
                    <a:pt x="0" y="16"/>
                    <a:pt x="0" y="16"/>
                  </a:cubicBezTo>
                  <a:cubicBezTo>
                    <a:pt x="0" y="16"/>
                    <a:pt x="0" y="16"/>
                    <a:pt x="0" y="16"/>
                  </a:cubicBezTo>
                  <a:cubicBezTo>
                    <a:pt x="0" y="16"/>
                    <a:pt x="0" y="16"/>
                    <a:pt x="0" y="16"/>
                  </a:cubicBezTo>
                  <a:cubicBezTo>
                    <a:pt x="0" y="16"/>
                    <a:pt x="0" y="16"/>
                    <a:pt x="0" y="16"/>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1" y="17"/>
                    <a:pt x="1" y="17"/>
                    <a:pt x="1" y="17"/>
                  </a:cubicBezTo>
                  <a:cubicBezTo>
                    <a:pt x="1" y="17"/>
                    <a:pt x="1" y="17"/>
                    <a:pt x="1" y="17"/>
                  </a:cubicBezTo>
                  <a:cubicBezTo>
                    <a:pt x="3" y="16"/>
                    <a:pt x="3" y="16"/>
                    <a:pt x="3" y="16"/>
                  </a:cubicBezTo>
                  <a:cubicBezTo>
                    <a:pt x="5" y="15"/>
                    <a:pt x="5" y="15"/>
                    <a:pt x="5" y="15"/>
                  </a:cubicBezTo>
                  <a:cubicBezTo>
                    <a:pt x="5" y="15"/>
                    <a:pt x="5" y="15"/>
                    <a:pt x="5" y="15"/>
                  </a:cubicBezTo>
                  <a:cubicBezTo>
                    <a:pt x="6" y="15"/>
                    <a:pt x="6" y="15"/>
                    <a:pt x="6" y="15"/>
                  </a:cubicBezTo>
                  <a:cubicBezTo>
                    <a:pt x="8" y="14"/>
                    <a:pt x="8" y="14"/>
                    <a:pt x="8" y="14"/>
                  </a:cubicBezTo>
                  <a:cubicBezTo>
                    <a:pt x="8" y="14"/>
                    <a:pt x="8" y="14"/>
                    <a:pt x="8" y="14"/>
                  </a:cubicBezTo>
                  <a:cubicBezTo>
                    <a:pt x="9" y="13"/>
                    <a:pt x="9" y="13"/>
                    <a:pt x="9" y="13"/>
                  </a:cubicBezTo>
                  <a:cubicBezTo>
                    <a:pt x="9" y="14"/>
                    <a:pt x="9" y="14"/>
                    <a:pt x="9" y="13"/>
                  </a:cubicBezTo>
                  <a:cubicBezTo>
                    <a:pt x="10" y="13"/>
                    <a:pt x="10" y="13"/>
                    <a:pt x="10" y="13"/>
                  </a:cubicBezTo>
                  <a:cubicBezTo>
                    <a:pt x="10" y="13"/>
                    <a:pt x="10" y="13"/>
                    <a:pt x="10" y="13"/>
                  </a:cubicBezTo>
                  <a:cubicBezTo>
                    <a:pt x="12" y="13"/>
                    <a:pt x="12" y="13"/>
                    <a:pt x="12" y="13"/>
                  </a:cubicBezTo>
                  <a:cubicBezTo>
                    <a:pt x="12" y="12"/>
                    <a:pt x="12" y="12"/>
                    <a:pt x="12" y="12"/>
                  </a:cubicBezTo>
                  <a:cubicBezTo>
                    <a:pt x="12" y="12"/>
                    <a:pt x="12" y="12"/>
                    <a:pt x="12" y="12"/>
                  </a:cubicBezTo>
                  <a:cubicBezTo>
                    <a:pt x="13" y="11"/>
                    <a:pt x="13" y="11"/>
                    <a:pt x="13" y="11"/>
                  </a:cubicBezTo>
                  <a:cubicBezTo>
                    <a:pt x="13" y="11"/>
                    <a:pt x="13" y="11"/>
                    <a:pt x="13" y="11"/>
                  </a:cubicBezTo>
                  <a:cubicBezTo>
                    <a:pt x="14" y="11"/>
                    <a:pt x="14" y="11"/>
                    <a:pt x="14" y="11"/>
                  </a:cubicBezTo>
                  <a:cubicBezTo>
                    <a:pt x="15" y="10"/>
                    <a:pt x="15" y="10"/>
                    <a:pt x="15" y="10"/>
                  </a:cubicBezTo>
                  <a:cubicBezTo>
                    <a:pt x="17" y="9"/>
                    <a:pt x="17" y="9"/>
                    <a:pt x="17" y="9"/>
                  </a:cubicBezTo>
                  <a:cubicBezTo>
                    <a:pt x="17" y="9"/>
                    <a:pt x="17" y="9"/>
                    <a:pt x="17" y="8"/>
                  </a:cubicBezTo>
                  <a:cubicBezTo>
                    <a:pt x="17" y="8"/>
                    <a:pt x="17" y="8"/>
                    <a:pt x="17" y="8"/>
                  </a:cubicBezTo>
                  <a:cubicBezTo>
                    <a:pt x="17" y="8"/>
                    <a:pt x="17" y="8"/>
                    <a:pt x="17" y="8"/>
                  </a:cubicBezTo>
                  <a:cubicBezTo>
                    <a:pt x="19" y="7"/>
                    <a:pt x="19" y="7"/>
                    <a:pt x="19" y="7"/>
                  </a:cubicBezTo>
                  <a:cubicBezTo>
                    <a:pt x="19" y="7"/>
                    <a:pt x="20" y="7"/>
                    <a:pt x="20" y="7"/>
                  </a:cubicBezTo>
                  <a:cubicBezTo>
                    <a:pt x="20" y="7"/>
                    <a:pt x="20" y="7"/>
                    <a:pt x="20" y="7"/>
                  </a:cubicBezTo>
                  <a:lnTo>
                    <a:pt x="19" y="7"/>
                  </a:lnTo>
                  <a:close/>
                </a:path>
              </a:pathLst>
            </a:custGeom>
            <a:solidFill>
              <a:schemeClr val="accent2"/>
            </a:solidFill>
            <a:ln w="63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1074" name="Freeform 81">
              <a:extLst>
                <a:ext uri="{FF2B5EF4-FFF2-40B4-BE49-F238E27FC236}">
                  <a16:creationId xmlns:a16="http://schemas.microsoft.com/office/drawing/2014/main" id="{A08617D5-2103-3FB6-6CFD-CC03C4AF05D4}"/>
                </a:ext>
              </a:extLst>
            </p:cNvPr>
            <p:cNvSpPr>
              <a:spLocks/>
            </p:cNvSpPr>
            <p:nvPr/>
          </p:nvSpPr>
          <p:spPr bwMode="gray">
            <a:xfrm>
              <a:off x="4891088" y="409416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rgbClr val="B1B1B0"/>
            </a:solidFill>
            <a:ln w="635">
              <a:solidFill>
                <a:schemeClr val="accent6"/>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sp>
          <p:nvSpPr>
            <p:cNvPr id="1075" name="Freeform 82">
              <a:extLst>
                <a:ext uri="{FF2B5EF4-FFF2-40B4-BE49-F238E27FC236}">
                  <a16:creationId xmlns:a16="http://schemas.microsoft.com/office/drawing/2014/main" id="{A0C0D157-3049-9905-ECF5-3E350454EC81}"/>
                </a:ext>
              </a:extLst>
            </p:cNvPr>
            <p:cNvSpPr>
              <a:spLocks/>
            </p:cNvSpPr>
            <p:nvPr/>
          </p:nvSpPr>
          <p:spPr bwMode="gray">
            <a:xfrm>
              <a:off x="4764088" y="4137025"/>
              <a:ext cx="4763" cy="20638"/>
            </a:xfrm>
            <a:custGeom>
              <a:avLst/>
              <a:gdLst>
                <a:gd name="T0" fmla="*/ 3 w 3"/>
                <a:gd name="T1" fmla="*/ 7 h 13"/>
                <a:gd name="T2" fmla="*/ 3 w 3"/>
                <a:gd name="T3" fmla="*/ 7 h 13"/>
                <a:gd name="T4" fmla="*/ 3 w 3"/>
                <a:gd name="T5" fmla="*/ 3 h 13"/>
                <a:gd name="T6" fmla="*/ 3 w 3"/>
                <a:gd name="T7" fmla="*/ 3 h 13"/>
                <a:gd name="T8" fmla="*/ 3 w 3"/>
                <a:gd name="T9" fmla="*/ 3 h 13"/>
                <a:gd name="T10" fmla="*/ 3 w 3"/>
                <a:gd name="T11" fmla="*/ 0 h 13"/>
                <a:gd name="T12" fmla="*/ 3 w 3"/>
                <a:gd name="T13" fmla="*/ 0 h 13"/>
                <a:gd name="T14" fmla="*/ 3 w 3"/>
                <a:gd name="T15" fmla="*/ 0 h 13"/>
                <a:gd name="T16" fmla="*/ 3 w 3"/>
                <a:gd name="T17" fmla="*/ 3 h 13"/>
                <a:gd name="T18" fmla="*/ 3 w 3"/>
                <a:gd name="T19" fmla="*/ 7 h 13"/>
                <a:gd name="T20" fmla="*/ 0 w 3"/>
                <a:gd name="T21" fmla="*/ 10 h 13"/>
                <a:gd name="T22" fmla="*/ 0 w 3"/>
                <a:gd name="T23" fmla="*/ 13 h 13"/>
                <a:gd name="T24" fmla="*/ 0 w 3"/>
                <a:gd name="T25" fmla="*/ 13 h 13"/>
                <a:gd name="T26" fmla="*/ 3 w 3"/>
                <a:gd name="T27" fmla="*/ 13 h 13"/>
                <a:gd name="T28" fmla="*/ 3 w 3"/>
                <a:gd name="T29" fmla="*/ 13 h 13"/>
                <a:gd name="T30" fmla="*/ 3 w 3"/>
                <a:gd name="T31" fmla="*/ 10 h 13"/>
                <a:gd name="T32" fmla="*/ 3 w 3"/>
                <a:gd name="T33" fmla="*/ 10 h 13"/>
                <a:gd name="T34" fmla="*/ 3 w 3"/>
                <a:gd name="T35" fmla="*/ 7 h 13"/>
                <a:gd name="T36" fmla="*/ 3 w 3"/>
                <a:gd name="T37" fmla="*/ 7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 h="13">
                  <a:moveTo>
                    <a:pt x="3" y="7"/>
                  </a:moveTo>
                  <a:lnTo>
                    <a:pt x="3" y="7"/>
                  </a:lnTo>
                  <a:lnTo>
                    <a:pt x="3" y="3"/>
                  </a:lnTo>
                  <a:lnTo>
                    <a:pt x="3" y="3"/>
                  </a:lnTo>
                  <a:lnTo>
                    <a:pt x="3" y="3"/>
                  </a:lnTo>
                  <a:lnTo>
                    <a:pt x="3" y="0"/>
                  </a:lnTo>
                  <a:lnTo>
                    <a:pt x="3" y="0"/>
                  </a:lnTo>
                  <a:lnTo>
                    <a:pt x="3" y="0"/>
                  </a:lnTo>
                  <a:lnTo>
                    <a:pt x="3" y="3"/>
                  </a:lnTo>
                  <a:lnTo>
                    <a:pt x="3" y="7"/>
                  </a:lnTo>
                  <a:lnTo>
                    <a:pt x="0" y="10"/>
                  </a:lnTo>
                  <a:lnTo>
                    <a:pt x="0" y="13"/>
                  </a:lnTo>
                  <a:lnTo>
                    <a:pt x="0" y="13"/>
                  </a:lnTo>
                  <a:lnTo>
                    <a:pt x="3" y="13"/>
                  </a:lnTo>
                  <a:lnTo>
                    <a:pt x="3" y="13"/>
                  </a:lnTo>
                  <a:lnTo>
                    <a:pt x="3" y="10"/>
                  </a:lnTo>
                  <a:lnTo>
                    <a:pt x="3" y="10"/>
                  </a:lnTo>
                  <a:lnTo>
                    <a:pt x="3" y="7"/>
                  </a:lnTo>
                  <a:lnTo>
                    <a:pt x="3" y="7"/>
                  </a:lnTo>
                  <a:close/>
                </a:path>
              </a:pathLst>
            </a:custGeom>
            <a:solidFill>
              <a:srgbClr val="F59E00"/>
            </a:solidFill>
            <a:ln w="635">
              <a:solidFill>
                <a:schemeClr val="accent6"/>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a:ea typeface="+mn-ea"/>
                <a:cs typeface="+mn-cs"/>
              </a:endParaRPr>
            </a:p>
          </p:txBody>
        </p:sp>
      </p:grpSp>
      <p:sp>
        <p:nvSpPr>
          <p:cNvPr id="1082" name="TextBox 1081">
            <a:extLst>
              <a:ext uri="{FF2B5EF4-FFF2-40B4-BE49-F238E27FC236}">
                <a16:creationId xmlns:a16="http://schemas.microsoft.com/office/drawing/2014/main" id="{0C0C7E21-533C-5C7E-C114-420B0163F67B}"/>
              </a:ext>
            </a:extLst>
          </p:cNvPr>
          <p:cNvSpPr txBox="1"/>
          <p:nvPr/>
        </p:nvSpPr>
        <p:spPr>
          <a:xfrm>
            <a:off x="3867024" y="3000067"/>
            <a:ext cx="555792"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C3C3B"/>
                </a:solidFill>
                <a:effectLst/>
                <a:uLnTx/>
                <a:uFillTx/>
                <a:latin typeface="Lato"/>
                <a:ea typeface="Lato"/>
                <a:cs typeface="Lato"/>
                <a:sym typeface="Lato" panose="020F0502020204030203" pitchFamily="34" charset="0"/>
              </a:rPr>
              <a:t>Austin</a:t>
            </a:r>
            <a:endParaRPr kumimoji="0" lang="en-GB" sz="12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1083" name="TextBox 1082">
            <a:extLst>
              <a:ext uri="{FF2B5EF4-FFF2-40B4-BE49-F238E27FC236}">
                <a16:creationId xmlns:a16="http://schemas.microsoft.com/office/drawing/2014/main" id="{9A5BEE54-7F8A-7408-311E-4EFADE560DD3}"/>
              </a:ext>
            </a:extLst>
          </p:cNvPr>
          <p:cNvSpPr txBox="1"/>
          <p:nvPr/>
        </p:nvSpPr>
        <p:spPr>
          <a:xfrm>
            <a:off x="2899279" y="2528729"/>
            <a:ext cx="677079"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C3C3B"/>
                </a:solidFill>
                <a:effectLst/>
                <a:uLnTx/>
                <a:uFillTx/>
                <a:latin typeface="Lato"/>
                <a:ea typeface="Lato"/>
                <a:cs typeface="Lato"/>
                <a:sym typeface="Lato" panose="020F0502020204030203" pitchFamily="34" charset="0"/>
              </a:rPr>
              <a:t>Oakland</a:t>
            </a:r>
            <a:endParaRPr kumimoji="0" lang="en-GB" sz="12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endParaRPr>
          </a:p>
        </p:txBody>
      </p:sp>
      <p:cxnSp>
        <p:nvCxnSpPr>
          <p:cNvPr id="128" name="Straight Connector 127">
            <a:extLst>
              <a:ext uri="{FF2B5EF4-FFF2-40B4-BE49-F238E27FC236}">
                <a16:creationId xmlns:a16="http://schemas.microsoft.com/office/drawing/2014/main" id="{1F9ED783-CF90-EE3D-92E2-86B315CC36BD}"/>
              </a:ext>
            </a:extLst>
          </p:cNvPr>
          <p:cNvCxnSpPr>
            <a:cxnSpLocks/>
          </p:cNvCxnSpPr>
          <p:nvPr/>
        </p:nvCxnSpPr>
        <p:spPr>
          <a:xfrm flipH="1">
            <a:off x="3885538" y="1540427"/>
            <a:ext cx="1658852" cy="3971950"/>
          </a:xfrm>
          <a:prstGeom prst="line">
            <a:avLst/>
          </a:prstGeom>
          <a:ln>
            <a:solidFill>
              <a:schemeClr val="bg2"/>
            </a:solidFill>
          </a:ln>
        </p:spPr>
        <p:style>
          <a:lnRef idx="1">
            <a:schemeClr val="accent6"/>
          </a:lnRef>
          <a:fillRef idx="0">
            <a:schemeClr val="accent6"/>
          </a:fillRef>
          <a:effectRef idx="0">
            <a:schemeClr val="accent6"/>
          </a:effectRef>
          <a:fontRef idx="minor">
            <a:schemeClr val="tx1"/>
          </a:fontRef>
        </p:style>
      </p:cxnSp>
      <p:sp>
        <p:nvSpPr>
          <p:cNvPr id="41" name="Oval 40">
            <a:extLst>
              <a:ext uri="{FF2B5EF4-FFF2-40B4-BE49-F238E27FC236}">
                <a16:creationId xmlns:a16="http://schemas.microsoft.com/office/drawing/2014/main" id="{662FBDA1-D894-55DB-F8FA-FCD4D9B7A97C}"/>
              </a:ext>
            </a:extLst>
          </p:cNvPr>
          <p:cNvSpPr>
            <a:spLocks/>
          </p:cNvSpPr>
          <p:nvPr/>
        </p:nvSpPr>
        <p:spPr>
          <a:xfrm>
            <a:off x="2066254" y="1329449"/>
            <a:ext cx="503565" cy="503565"/>
          </a:xfrm>
          <a:prstGeom prst="ellipse">
            <a:avLst/>
          </a:prstGeom>
          <a:solidFill>
            <a:schemeClr val="bg2"/>
          </a:solidFill>
          <a:ln w="6350" cmpd="sng">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40" name="Group 39">
            <a:extLst>
              <a:ext uri="{FF2B5EF4-FFF2-40B4-BE49-F238E27FC236}">
                <a16:creationId xmlns:a16="http://schemas.microsoft.com/office/drawing/2014/main" id="{ED2448DD-EF79-ECDB-C9D7-5AA80E60C8BB}"/>
              </a:ext>
            </a:extLst>
          </p:cNvPr>
          <p:cNvGrpSpPr>
            <a:grpSpLocks noChangeAspect="1"/>
          </p:cNvGrpSpPr>
          <p:nvPr/>
        </p:nvGrpSpPr>
        <p:grpSpPr>
          <a:xfrm rot="900000">
            <a:off x="2254951" y="1415432"/>
            <a:ext cx="126170" cy="352496"/>
            <a:chOff x="6096000" y="1037602"/>
            <a:chExt cx="838738" cy="2343262"/>
          </a:xfrm>
        </p:grpSpPr>
        <p:sp>
          <p:nvSpPr>
            <p:cNvPr id="37" name="Parallelogram 36">
              <a:extLst>
                <a:ext uri="{FF2B5EF4-FFF2-40B4-BE49-F238E27FC236}">
                  <a16:creationId xmlns:a16="http://schemas.microsoft.com/office/drawing/2014/main" id="{B6A750F4-9AC2-EA9D-4BB8-7A80945FBC1C}"/>
                </a:ext>
              </a:extLst>
            </p:cNvPr>
            <p:cNvSpPr>
              <a:spLocks/>
            </p:cNvSpPr>
            <p:nvPr/>
          </p:nvSpPr>
          <p:spPr>
            <a:xfrm>
              <a:off x="6096000" y="2023639"/>
              <a:ext cx="838738" cy="370569"/>
            </a:xfrm>
            <a:prstGeom prst="parallelogram">
              <a:avLst/>
            </a:prstGeom>
            <a:solidFill>
              <a:schemeClr val="tx2"/>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panose="020F0502020204030203" pitchFamily="34" charset="0"/>
                <a:ea typeface="+mn-ea"/>
                <a:cs typeface="+mn-cs"/>
              </a:endParaRPr>
            </a:p>
          </p:txBody>
        </p:sp>
        <p:sp>
          <p:nvSpPr>
            <p:cNvPr id="39" name="Isosceles Triangle 38">
              <a:extLst>
                <a:ext uri="{FF2B5EF4-FFF2-40B4-BE49-F238E27FC236}">
                  <a16:creationId xmlns:a16="http://schemas.microsoft.com/office/drawing/2014/main" id="{2339CB58-770B-4752-0E9B-4E72CB89277E}"/>
                </a:ext>
              </a:extLst>
            </p:cNvPr>
            <p:cNvSpPr>
              <a:spLocks/>
            </p:cNvSpPr>
            <p:nvPr/>
          </p:nvSpPr>
          <p:spPr>
            <a:xfrm>
              <a:off x="6188063" y="1037602"/>
              <a:ext cx="378944" cy="986037"/>
            </a:xfrm>
            <a:prstGeom prst="triangle">
              <a:avLst>
                <a:gd name="adj" fmla="val 83913"/>
              </a:avLst>
            </a:prstGeom>
            <a:solidFill>
              <a:schemeClr val="tx2"/>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panose="020F0502020204030203" pitchFamily="34" charset="0"/>
                <a:ea typeface="+mn-ea"/>
                <a:cs typeface="+mn-cs"/>
              </a:endParaRPr>
            </a:p>
          </p:txBody>
        </p:sp>
        <p:sp>
          <p:nvSpPr>
            <p:cNvPr id="271" name="Isosceles Triangle 270">
              <a:extLst>
                <a:ext uri="{FF2B5EF4-FFF2-40B4-BE49-F238E27FC236}">
                  <a16:creationId xmlns:a16="http://schemas.microsoft.com/office/drawing/2014/main" id="{B05D5964-D3F6-8A36-E90C-6BFBFFB4088F}"/>
                </a:ext>
              </a:extLst>
            </p:cNvPr>
            <p:cNvSpPr>
              <a:spLocks/>
            </p:cNvSpPr>
            <p:nvPr/>
          </p:nvSpPr>
          <p:spPr>
            <a:xfrm rot="10800000">
              <a:off x="6461950" y="2394827"/>
              <a:ext cx="378944" cy="986037"/>
            </a:xfrm>
            <a:prstGeom prst="triangle">
              <a:avLst>
                <a:gd name="adj" fmla="val 83913"/>
              </a:avLst>
            </a:prstGeom>
            <a:solidFill>
              <a:schemeClr val="tx2"/>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panose="020F0502020204030203" pitchFamily="34" charset="0"/>
                <a:ea typeface="+mn-ea"/>
                <a:cs typeface="+mn-cs"/>
              </a:endParaRPr>
            </a:p>
          </p:txBody>
        </p:sp>
      </p:grpSp>
      <p:sp>
        <p:nvSpPr>
          <p:cNvPr id="138" name="TextBox 137">
            <a:extLst>
              <a:ext uri="{FF2B5EF4-FFF2-40B4-BE49-F238E27FC236}">
                <a16:creationId xmlns:a16="http://schemas.microsoft.com/office/drawing/2014/main" id="{6363DC96-B566-8A73-6436-BA4B97154BEA}"/>
              </a:ext>
            </a:extLst>
          </p:cNvPr>
          <p:cNvSpPr txBox="1">
            <a:spLocks/>
          </p:cNvSpPr>
          <p:nvPr/>
        </p:nvSpPr>
        <p:spPr>
          <a:xfrm>
            <a:off x="349538" y="3346994"/>
            <a:ext cx="1561326" cy="230832"/>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500" b="0" i="0" u="none" strike="noStrike" kern="1200" cap="none" spc="0" normalizeH="0" baseline="0" noProof="0">
                <a:ln>
                  <a:noFill/>
                </a:ln>
                <a:solidFill>
                  <a:srgbClr val="3C3C3B"/>
                </a:solidFill>
                <a:effectLst/>
                <a:uLnTx/>
                <a:uFillTx/>
                <a:latin typeface="Lato" panose="020F0502020204030203" pitchFamily="34" charset="0"/>
                <a:ea typeface="+mn-ea"/>
                <a:cs typeface="+mn-cs"/>
              </a:rPr>
              <a:t>Grid &amp; Congestion</a:t>
            </a:r>
          </a:p>
        </p:txBody>
      </p:sp>
      <p:pic>
        <p:nvPicPr>
          <p:cNvPr id="140" name="Picture 4" descr="Power Grid Icons - Free SVG &amp; PNG Power Grid Images - Noun Project">
            <a:extLst>
              <a:ext uri="{FF2B5EF4-FFF2-40B4-BE49-F238E27FC236}">
                <a16:creationId xmlns:a16="http://schemas.microsoft.com/office/drawing/2014/main" id="{75F0C07A-AEB5-692C-061F-6CE4E8A74A77}"/>
              </a:ext>
            </a:extLst>
          </p:cNvPr>
          <p:cNvPicPr>
            <a:picLocks noChangeAspect="1" noChangeArrowheads="1"/>
          </p:cNvPicPr>
          <p:nvPr/>
        </p:nvPicPr>
        <p:blipFill>
          <a:blip r:embed="rId48" cstate="print">
            <a:extLst>
              <a:ext uri="{28A0092B-C50C-407E-A947-70E740481C1C}">
                <a14:useLocalDpi xmlns:a14="http://schemas.microsoft.com/office/drawing/2010/main"/>
              </a:ext>
            </a:extLst>
          </a:blip>
          <a:srcRect/>
          <a:stretch>
            <a:fillRect/>
          </a:stretch>
        </p:blipFill>
        <p:spPr bwMode="auto">
          <a:xfrm>
            <a:off x="2144869" y="3270968"/>
            <a:ext cx="370899" cy="370899"/>
          </a:xfrm>
          <a:prstGeom prst="rect">
            <a:avLst/>
          </a:prstGeom>
          <a:noFill/>
          <a:extLst>
            <a:ext uri="{909E8E84-426E-40DD-AFC4-6F175D3DCCD1}">
              <a14:hiddenFill xmlns:a14="http://schemas.microsoft.com/office/drawing/2010/main">
                <a:solidFill>
                  <a:srgbClr val="FFFFFF"/>
                </a:solidFill>
              </a14:hiddenFill>
            </a:ext>
          </a:extLst>
        </p:spPr>
      </p:pic>
      <p:grpSp>
        <p:nvGrpSpPr>
          <p:cNvPr id="524" name="Group 523">
            <a:extLst>
              <a:ext uri="{FF2B5EF4-FFF2-40B4-BE49-F238E27FC236}">
                <a16:creationId xmlns:a16="http://schemas.microsoft.com/office/drawing/2014/main" id="{A4F2A55C-7787-0610-1539-EF34C1305FE4}"/>
              </a:ext>
            </a:extLst>
          </p:cNvPr>
          <p:cNvGrpSpPr/>
          <p:nvPr/>
        </p:nvGrpSpPr>
        <p:grpSpPr>
          <a:xfrm>
            <a:off x="8236425" y="4895985"/>
            <a:ext cx="1962834" cy="1448186"/>
            <a:chOff x="8671100" y="4154708"/>
            <a:chExt cx="2711581" cy="2000614"/>
          </a:xfrm>
          <a:solidFill>
            <a:srgbClr val="F59E00"/>
          </a:solidFill>
        </p:grpSpPr>
        <p:sp>
          <p:nvSpPr>
            <p:cNvPr id="525" name="Freeform: Shape 524">
              <a:extLst>
                <a:ext uri="{FF2B5EF4-FFF2-40B4-BE49-F238E27FC236}">
                  <a16:creationId xmlns:a16="http://schemas.microsoft.com/office/drawing/2014/main" id="{8AD11B46-1F85-7A7C-2524-01712B897033}"/>
                </a:ext>
              </a:extLst>
            </p:cNvPr>
            <p:cNvSpPr/>
            <p:nvPr/>
          </p:nvSpPr>
          <p:spPr>
            <a:xfrm>
              <a:off x="8724800" y="4332184"/>
              <a:ext cx="741250" cy="1143987"/>
            </a:xfrm>
            <a:custGeom>
              <a:avLst/>
              <a:gdLst>
                <a:gd name="connsiteX0" fmla="*/ 557474 w 559240"/>
                <a:gd name="connsiteY0" fmla="*/ 43575 h 863087"/>
                <a:gd name="connsiteX1" fmla="*/ 557474 w 559240"/>
                <a:gd name="connsiteY1" fmla="*/ 43575 h 863087"/>
                <a:gd name="connsiteX2" fmla="*/ 550324 w 559240"/>
                <a:gd name="connsiteY2" fmla="*/ 40883 h 863087"/>
                <a:gd name="connsiteX3" fmla="*/ 543257 w 559240"/>
                <a:gd name="connsiteY3" fmla="*/ 38696 h 863087"/>
                <a:gd name="connsiteX4" fmla="*/ 539388 w 559240"/>
                <a:gd name="connsiteY4" fmla="*/ 39116 h 863087"/>
                <a:gd name="connsiteX5" fmla="*/ 541070 w 559240"/>
                <a:gd name="connsiteY5" fmla="*/ 44837 h 863087"/>
                <a:gd name="connsiteX6" fmla="*/ 540734 w 559240"/>
                <a:gd name="connsiteY6" fmla="*/ 45257 h 863087"/>
                <a:gd name="connsiteX7" fmla="*/ 538546 w 559240"/>
                <a:gd name="connsiteY7" fmla="*/ 44416 h 863087"/>
                <a:gd name="connsiteX8" fmla="*/ 537789 w 559240"/>
                <a:gd name="connsiteY8" fmla="*/ 44837 h 863087"/>
                <a:gd name="connsiteX9" fmla="*/ 538546 w 559240"/>
                <a:gd name="connsiteY9" fmla="*/ 46183 h 863087"/>
                <a:gd name="connsiteX10" fmla="*/ 538210 w 559240"/>
                <a:gd name="connsiteY10" fmla="*/ 47024 h 863087"/>
                <a:gd name="connsiteX11" fmla="*/ 535266 w 559240"/>
                <a:gd name="connsiteY11" fmla="*/ 44837 h 863087"/>
                <a:gd name="connsiteX12" fmla="*/ 534424 w 559240"/>
                <a:gd name="connsiteY12" fmla="*/ 45257 h 863087"/>
                <a:gd name="connsiteX13" fmla="*/ 535266 w 559240"/>
                <a:gd name="connsiteY13" fmla="*/ 49295 h 863087"/>
                <a:gd name="connsiteX14" fmla="*/ 534424 w 559240"/>
                <a:gd name="connsiteY14" fmla="*/ 49716 h 863087"/>
                <a:gd name="connsiteX15" fmla="*/ 532321 w 559240"/>
                <a:gd name="connsiteY15" fmla="*/ 46687 h 863087"/>
                <a:gd name="connsiteX16" fmla="*/ 530218 w 559240"/>
                <a:gd name="connsiteY16" fmla="*/ 51567 h 863087"/>
                <a:gd name="connsiteX17" fmla="*/ 528536 w 559240"/>
                <a:gd name="connsiteY17" fmla="*/ 54679 h 863087"/>
                <a:gd name="connsiteX18" fmla="*/ 526769 w 559240"/>
                <a:gd name="connsiteY18" fmla="*/ 61745 h 863087"/>
                <a:gd name="connsiteX19" fmla="*/ 526769 w 559240"/>
                <a:gd name="connsiteY19" fmla="*/ 63007 h 863087"/>
                <a:gd name="connsiteX20" fmla="*/ 524666 w 559240"/>
                <a:gd name="connsiteY20" fmla="*/ 59474 h 863087"/>
                <a:gd name="connsiteX21" fmla="*/ 524246 w 559240"/>
                <a:gd name="connsiteY21" fmla="*/ 57287 h 863087"/>
                <a:gd name="connsiteX22" fmla="*/ 527190 w 559240"/>
                <a:gd name="connsiteY22" fmla="*/ 54258 h 863087"/>
                <a:gd name="connsiteX23" fmla="*/ 525928 w 559240"/>
                <a:gd name="connsiteY23" fmla="*/ 47108 h 863087"/>
                <a:gd name="connsiteX24" fmla="*/ 526349 w 559240"/>
                <a:gd name="connsiteY24" fmla="*/ 41892 h 863087"/>
                <a:gd name="connsiteX25" fmla="*/ 528873 w 559240"/>
                <a:gd name="connsiteY25" fmla="*/ 38359 h 863087"/>
                <a:gd name="connsiteX26" fmla="*/ 522479 w 559240"/>
                <a:gd name="connsiteY26" fmla="*/ 31293 h 863087"/>
                <a:gd name="connsiteX27" fmla="*/ 517095 w 559240"/>
                <a:gd name="connsiteY27" fmla="*/ 25489 h 863087"/>
                <a:gd name="connsiteX28" fmla="*/ 514908 w 559240"/>
                <a:gd name="connsiteY28" fmla="*/ 23302 h 863087"/>
                <a:gd name="connsiteX29" fmla="*/ 515329 w 559240"/>
                <a:gd name="connsiteY29" fmla="*/ 22040 h 863087"/>
                <a:gd name="connsiteX30" fmla="*/ 509945 w 559240"/>
                <a:gd name="connsiteY30" fmla="*/ 16740 h 863087"/>
                <a:gd name="connsiteX31" fmla="*/ 506076 w 559240"/>
                <a:gd name="connsiteY31" fmla="*/ 14048 h 863087"/>
                <a:gd name="connsiteX32" fmla="*/ 502711 w 559240"/>
                <a:gd name="connsiteY32" fmla="*/ 11861 h 863087"/>
                <a:gd name="connsiteX33" fmla="*/ 500944 w 559240"/>
                <a:gd name="connsiteY33" fmla="*/ 7487 h 863087"/>
                <a:gd name="connsiteX34" fmla="*/ 495560 w 559240"/>
                <a:gd name="connsiteY34" fmla="*/ 7907 h 863087"/>
                <a:gd name="connsiteX35" fmla="*/ 487569 w 559240"/>
                <a:gd name="connsiteY35" fmla="*/ 0 h 863087"/>
                <a:gd name="connsiteX36" fmla="*/ 483783 w 559240"/>
                <a:gd name="connsiteY36" fmla="*/ 2692 h 863087"/>
                <a:gd name="connsiteX37" fmla="*/ 480418 w 559240"/>
                <a:gd name="connsiteY37" fmla="*/ 1346 h 863087"/>
                <a:gd name="connsiteX38" fmla="*/ 479577 w 559240"/>
                <a:gd name="connsiteY38" fmla="*/ 1346 h 863087"/>
                <a:gd name="connsiteX39" fmla="*/ 485045 w 559240"/>
                <a:gd name="connsiteY39" fmla="*/ 7907 h 863087"/>
                <a:gd name="connsiteX40" fmla="*/ 484624 w 559240"/>
                <a:gd name="connsiteY40" fmla="*/ 8833 h 863087"/>
                <a:gd name="connsiteX41" fmla="*/ 480839 w 559240"/>
                <a:gd name="connsiteY41" fmla="*/ 8833 h 863087"/>
                <a:gd name="connsiteX42" fmla="*/ 476212 w 559240"/>
                <a:gd name="connsiteY42" fmla="*/ 16824 h 863087"/>
                <a:gd name="connsiteX43" fmla="*/ 473689 w 559240"/>
                <a:gd name="connsiteY43" fmla="*/ 19011 h 863087"/>
                <a:gd name="connsiteX44" fmla="*/ 470324 w 559240"/>
                <a:gd name="connsiteY44" fmla="*/ 11020 h 863087"/>
                <a:gd name="connsiteX45" fmla="*/ 467464 w 559240"/>
                <a:gd name="connsiteY45" fmla="*/ 11945 h 863087"/>
                <a:gd name="connsiteX46" fmla="*/ 464099 w 559240"/>
                <a:gd name="connsiteY46" fmla="*/ 14132 h 863087"/>
                <a:gd name="connsiteX47" fmla="*/ 466622 w 559240"/>
                <a:gd name="connsiteY47" fmla="*/ 16824 h 863087"/>
                <a:gd name="connsiteX48" fmla="*/ 461996 w 559240"/>
                <a:gd name="connsiteY48" fmla="*/ 19011 h 863087"/>
                <a:gd name="connsiteX49" fmla="*/ 455687 w 559240"/>
                <a:gd name="connsiteY49" fmla="*/ 19432 h 863087"/>
                <a:gd name="connsiteX50" fmla="*/ 456023 w 559240"/>
                <a:gd name="connsiteY50" fmla="*/ 21199 h 863087"/>
                <a:gd name="connsiteX51" fmla="*/ 453500 w 559240"/>
                <a:gd name="connsiteY51" fmla="*/ 25152 h 863087"/>
                <a:gd name="connsiteX52" fmla="*/ 454341 w 559240"/>
                <a:gd name="connsiteY52" fmla="*/ 28265 h 863087"/>
                <a:gd name="connsiteX53" fmla="*/ 450135 w 559240"/>
                <a:gd name="connsiteY53" fmla="*/ 30115 h 863087"/>
                <a:gd name="connsiteX54" fmla="*/ 450976 w 559240"/>
                <a:gd name="connsiteY54" fmla="*/ 33564 h 863087"/>
                <a:gd name="connsiteX55" fmla="*/ 450555 w 559240"/>
                <a:gd name="connsiteY55" fmla="*/ 33144 h 863087"/>
                <a:gd name="connsiteX56" fmla="*/ 448032 w 559240"/>
                <a:gd name="connsiteY56" fmla="*/ 30452 h 863087"/>
                <a:gd name="connsiteX57" fmla="*/ 445929 w 559240"/>
                <a:gd name="connsiteY57" fmla="*/ 27423 h 863087"/>
                <a:gd name="connsiteX58" fmla="*/ 441638 w 559240"/>
                <a:gd name="connsiteY58" fmla="*/ 21619 h 863087"/>
                <a:gd name="connsiteX59" fmla="*/ 442059 w 559240"/>
                <a:gd name="connsiteY59" fmla="*/ 21199 h 863087"/>
                <a:gd name="connsiteX60" fmla="*/ 439199 w 559240"/>
                <a:gd name="connsiteY60" fmla="*/ 18507 h 863087"/>
                <a:gd name="connsiteX61" fmla="*/ 439199 w 559240"/>
                <a:gd name="connsiteY61" fmla="*/ 26498 h 863087"/>
                <a:gd name="connsiteX62" fmla="*/ 438778 w 559240"/>
                <a:gd name="connsiteY62" fmla="*/ 30872 h 863087"/>
                <a:gd name="connsiteX63" fmla="*/ 432890 w 559240"/>
                <a:gd name="connsiteY63" fmla="*/ 33564 h 863087"/>
                <a:gd name="connsiteX64" fmla="*/ 432133 w 559240"/>
                <a:gd name="connsiteY64" fmla="*/ 32639 h 863087"/>
                <a:gd name="connsiteX65" fmla="*/ 432133 w 559240"/>
                <a:gd name="connsiteY65" fmla="*/ 31798 h 863087"/>
                <a:gd name="connsiteX66" fmla="*/ 430366 w 559240"/>
                <a:gd name="connsiteY66" fmla="*/ 31798 h 863087"/>
                <a:gd name="connsiteX67" fmla="*/ 429104 w 559240"/>
                <a:gd name="connsiteY67" fmla="*/ 31377 h 863087"/>
                <a:gd name="connsiteX68" fmla="*/ 428263 w 559240"/>
                <a:gd name="connsiteY68" fmla="*/ 31798 h 863087"/>
                <a:gd name="connsiteX69" fmla="*/ 424898 w 559240"/>
                <a:gd name="connsiteY69" fmla="*/ 37518 h 863087"/>
                <a:gd name="connsiteX70" fmla="*/ 429525 w 559240"/>
                <a:gd name="connsiteY70" fmla="*/ 41556 h 863087"/>
                <a:gd name="connsiteX71" fmla="*/ 429861 w 559240"/>
                <a:gd name="connsiteY71" fmla="*/ 42481 h 863087"/>
                <a:gd name="connsiteX72" fmla="*/ 428179 w 559240"/>
                <a:gd name="connsiteY72" fmla="*/ 45510 h 863087"/>
                <a:gd name="connsiteX73" fmla="*/ 428600 w 559240"/>
                <a:gd name="connsiteY73" fmla="*/ 46435 h 863087"/>
                <a:gd name="connsiteX74" fmla="*/ 429441 w 559240"/>
                <a:gd name="connsiteY74" fmla="*/ 46856 h 863087"/>
                <a:gd name="connsiteX75" fmla="*/ 430703 w 559240"/>
                <a:gd name="connsiteY75" fmla="*/ 45930 h 863087"/>
                <a:gd name="connsiteX76" fmla="*/ 431964 w 559240"/>
                <a:gd name="connsiteY76" fmla="*/ 47192 h 863087"/>
                <a:gd name="connsiteX77" fmla="*/ 433647 w 559240"/>
                <a:gd name="connsiteY77" fmla="*/ 47613 h 863087"/>
                <a:gd name="connsiteX78" fmla="*/ 432385 w 559240"/>
                <a:gd name="connsiteY78" fmla="*/ 49464 h 863087"/>
                <a:gd name="connsiteX79" fmla="*/ 435329 w 559240"/>
                <a:gd name="connsiteY79" fmla="*/ 52492 h 863087"/>
                <a:gd name="connsiteX80" fmla="*/ 431123 w 559240"/>
                <a:gd name="connsiteY80" fmla="*/ 53838 h 863087"/>
                <a:gd name="connsiteX81" fmla="*/ 425235 w 559240"/>
                <a:gd name="connsiteY81" fmla="*/ 51146 h 863087"/>
                <a:gd name="connsiteX82" fmla="*/ 424394 w 559240"/>
                <a:gd name="connsiteY82" fmla="*/ 53333 h 863087"/>
                <a:gd name="connsiteX83" fmla="*/ 419767 w 559240"/>
                <a:gd name="connsiteY83" fmla="*/ 52071 h 863087"/>
                <a:gd name="connsiteX84" fmla="*/ 415140 w 559240"/>
                <a:gd name="connsiteY84" fmla="*/ 52071 h 863087"/>
                <a:gd name="connsiteX85" fmla="*/ 415140 w 559240"/>
                <a:gd name="connsiteY85" fmla="*/ 54258 h 863087"/>
                <a:gd name="connsiteX86" fmla="*/ 416822 w 559240"/>
                <a:gd name="connsiteY86" fmla="*/ 54258 h 863087"/>
                <a:gd name="connsiteX87" fmla="*/ 420608 w 559240"/>
                <a:gd name="connsiteY87" fmla="*/ 53333 h 863087"/>
                <a:gd name="connsiteX88" fmla="*/ 416402 w 559240"/>
                <a:gd name="connsiteY88" fmla="*/ 56025 h 863087"/>
                <a:gd name="connsiteX89" fmla="*/ 419767 w 559240"/>
                <a:gd name="connsiteY89" fmla="*/ 58212 h 863087"/>
                <a:gd name="connsiteX90" fmla="*/ 422290 w 559240"/>
                <a:gd name="connsiteY90" fmla="*/ 57287 h 863087"/>
                <a:gd name="connsiteX91" fmla="*/ 421870 w 559240"/>
                <a:gd name="connsiteY91" fmla="*/ 61324 h 863087"/>
                <a:gd name="connsiteX92" fmla="*/ 426917 w 559240"/>
                <a:gd name="connsiteY92" fmla="*/ 69316 h 863087"/>
                <a:gd name="connsiteX93" fmla="*/ 421870 w 559240"/>
                <a:gd name="connsiteY93" fmla="*/ 65783 h 863087"/>
                <a:gd name="connsiteX94" fmla="*/ 420187 w 559240"/>
                <a:gd name="connsiteY94" fmla="*/ 67129 h 863087"/>
                <a:gd name="connsiteX95" fmla="*/ 416822 w 559240"/>
                <a:gd name="connsiteY95" fmla="*/ 64858 h 863087"/>
                <a:gd name="connsiteX96" fmla="*/ 416402 w 559240"/>
                <a:gd name="connsiteY96" fmla="*/ 60483 h 863087"/>
                <a:gd name="connsiteX97" fmla="*/ 412616 w 559240"/>
                <a:gd name="connsiteY97" fmla="*/ 60483 h 863087"/>
                <a:gd name="connsiteX98" fmla="*/ 410850 w 559240"/>
                <a:gd name="connsiteY98" fmla="*/ 59221 h 863087"/>
                <a:gd name="connsiteX99" fmla="*/ 406644 w 559240"/>
                <a:gd name="connsiteY99" fmla="*/ 62670 h 863087"/>
                <a:gd name="connsiteX100" fmla="*/ 407485 w 559240"/>
                <a:gd name="connsiteY100" fmla="*/ 64521 h 863087"/>
                <a:gd name="connsiteX101" fmla="*/ 404120 w 559240"/>
                <a:gd name="connsiteY101" fmla="*/ 66708 h 863087"/>
                <a:gd name="connsiteX102" fmla="*/ 402017 w 559240"/>
                <a:gd name="connsiteY102" fmla="*/ 64858 h 863087"/>
                <a:gd name="connsiteX103" fmla="*/ 398652 w 559240"/>
                <a:gd name="connsiteY103" fmla="*/ 68896 h 863087"/>
                <a:gd name="connsiteX104" fmla="*/ 399409 w 559240"/>
                <a:gd name="connsiteY104" fmla="*/ 70157 h 863087"/>
                <a:gd name="connsiteX105" fmla="*/ 397306 w 559240"/>
                <a:gd name="connsiteY105" fmla="*/ 75962 h 863087"/>
                <a:gd name="connsiteX106" fmla="*/ 399409 w 559240"/>
                <a:gd name="connsiteY106" fmla="*/ 78149 h 863087"/>
                <a:gd name="connsiteX107" fmla="*/ 401176 w 559240"/>
                <a:gd name="connsiteY107" fmla="*/ 78149 h 863087"/>
                <a:gd name="connsiteX108" fmla="*/ 401176 w 559240"/>
                <a:gd name="connsiteY108" fmla="*/ 81261 h 863087"/>
                <a:gd name="connsiteX109" fmla="*/ 410009 w 559240"/>
                <a:gd name="connsiteY109" fmla="*/ 72429 h 863087"/>
                <a:gd name="connsiteX110" fmla="*/ 410009 w 559240"/>
                <a:gd name="connsiteY110" fmla="*/ 76887 h 863087"/>
                <a:gd name="connsiteX111" fmla="*/ 405382 w 559240"/>
                <a:gd name="connsiteY111" fmla="*/ 82607 h 863087"/>
                <a:gd name="connsiteX112" fmla="*/ 405803 w 559240"/>
                <a:gd name="connsiteY112" fmla="*/ 84374 h 863087"/>
                <a:gd name="connsiteX113" fmla="*/ 404036 w 559240"/>
                <a:gd name="connsiteY113" fmla="*/ 86225 h 863087"/>
                <a:gd name="connsiteX114" fmla="*/ 404877 w 559240"/>
                <a:gd name="connsiteY114" fmla="*/ 89337 h 863087"/>
                <a:gd name="connsiteX115" fmla="*/ 402354 w 559240"/>
                <a:gd name="connsiteY115" fmla="*/ 92029 h 863087"/>
                <a:gd name="connsiteX116" fmla="*/ 399409 w 559240"/>
                <a:gd name="connsiteY116" fmla="*/ 90683 h 863087"/>
                <a:gd name="connsiteX117" fmla="*/ 398147 w 559240"/>
                <a:gd name="connsiteY117" fmla="*/ 96824 h 863087"/>
                <a:gd name="connsiteX118" fmla="*/ 400251 w 559240"/>
                <a:gd name="connsiteY118" fmla="*/ 97749 h 863087"/>
                <a:gd name="connsiteX119" fmla="*/ 402354 w 559240"/>
                <a:gd name="connsiteY119" fmla="*/ 97328 h 863087"/>
                <a:gd name="connsiteX120" fmla="*/ 413373 w 559240"/>
                <a:gd name="connsiteY120" fmla="*/ 102208 h 863087"/>
                <a:gd name="connsiteX121" fmla="*/ 401933 w 559240"/>
                <a:gd name="connsiteY121" fmla="*/ 101366 h 863087"/>
                <a:gd name="connsiteX122" fmla="*/ 396549 w 559240"/>
                <a:gd name="connsiteY122" fmla="*/ 99179 h 863087"/>
                <a:gd name="connsiteX123" fmla="*/ 396129 w 559240"/>
                <a:gd name="connsiteY123" fmla="*/ 99600 h 863087"/>
                <a:gd name="connsiteX124" fmla="*/ 398989 w 559240"/>
                <a:gd name="connsiteY124" fmla="*/ 102712 h 863087"/>
                <a:gd name="connsiteX125" fmla="*/ 398232 w 559240"/>
                <a:gd name="connsiteY125" fmla="*/ 105404 h 863087"/>
                <a:gd name="connsiteX126" fmla="*/ 394867 w 559240"/>
                <a:gd name="connsiteY126" fmla="*/ 103217 h 863087"/>
                <a:gd name="connsiteX127" fmla="*/ 393605 w 559240"/>
                <a:gd name="connsiteY127" fmla="*/ 103638 h 863087"/>
                <a:gd name="connsiteX128" fmla="*/ 388978 w 559240"/>
                <a:gd name="connsiteY128" fmla="*/ 97833 h 863087"/>
                <a:gd name="connsiteX129" fmla="*/ 382585 w 559240"/>
                <a:gd name="connsiteY129" fmla="*/ 96067 h 863087"/>
                <a:gd name="connsiteX130" fmla="*/ 381828 w 559240"/>
                <a:gd name="connsiteY130" fmla="*/ 96067 h 863087"/>
                <a:gd name="connsiteX131" fmla="*/ 383931 w 559240"/>
                <a:gd name="connsiteY131" fmla="*/ 99516 h 863087"/>
                <a:gd name="connsiteX132" fmla="*/ 383510 w 559240"/>
                <a:gd name="connsiteY132" fmla="*/ 100441 h 863087"/>
                <a:gd name="connsiteX133" fmla="*/ 381828 w 559240"/>
                <a:gd name="connsiteY133" fmla="*/ 100441 h 863087"/>
                <a:gd name="connsiteX134" fmla="*/ 379725 w 559240"/>
                <a:gd name="connsiteY134" fmla="*/ 101366 h 863087"/>
                <a:gd name="connsiteX135" fmla="*/ 377622 w 559240"/>
                <a:gd name="connsiteY135" fmla="*/ 99516 h 863087"/>
                <a:gd name="connsiteX136" fmla="*/ 373752 w 559240"/>
                <a:gd name="connsiteY136" fmla="*/ 93375 h 863087"/>
                <a:gd name="connsiteX137" fmla="*/ 374173 w 559240"/>
                <a:gd name="connsiteY137" fmla="*/ 91608 h 863087"/>
                <a:gd name="connsiteX138" fmla="*/ 372490 w 559240"/>
                <a:gd name="connsiteY138" fmla="*/ 92029 h 863087"/>
                <a:gd name="connsiteX139" fmla="*/ 371649 w 559240"/>
                <a:gd name="connsiteY139" fmla="*/ 91608 h 863087"/>
                <a:gd name="connsiteX140" fmla="*/ 370808 w 559240"/>
                <a:gd name="connsiteY140" fmla="*/ 92029 h 863087"/>
                <a:gd name="connsiteX141" fmla="*/ 370472 w 559240"/>
                <a:gd name="connsiteY141" fmla="*/ 95057 h 863087"/>
                <a:gd name="connsiteX142" fmla="*/ 370808 w 559240"/>
                <a:gd name="connsiteY142" fmla="*/ 95983 h 863087"/>
                <a:gd name="connsiteX143" fmla="*/ 373332 w 559240"/>
                <a:gd name="connsiteY143" fmla="*/ 95983 h 863087"/>
                <a:gd name="connsiteX144" fmla="*/ 373332 w 559240"/>
                <a:gd name="connsiteY144" fmla="*/ 100862 h 863087"/>
                <a:gd name="connsiteX145" fmla="*/ 370808 w 559240"/>
                <a:gd name="connsiteY145" fmla="*/ 102628 h 863087"/>
                <a:gd name="connsiteX146" fmla="*/ 371649 w 559240"/>
                <a:gd name="connsiteY146" fmla="*/ 105320 h 863087"/>
                <a:gd name="connsiteX147" fmla="*/ 369126 w 559240"/>
                <a:gd name="connsiteY147" fmla="*/ 109274 h 863087"/>
                <a:gd name="connsiteX148" fmla="*/ 374173 w 559240"/>
                <a:gd name="connsiteY148" fmla="*/ 111966 h 863087"/>
                <a:gd name="connsiteX149" fmla="*/ 376276 w 559240"/>
                <a:gd name="connsiteY149" fmla="*/ 119453 h 863087"/>
                <a:gd name="connsiteX150" fmla="*/ 380145 w 559240"/>
                <a:gd name="connsiteY150" fmla="*/ 118612 h 863087"/>
                <a:gd name="connsiteX151" fmla="*/ 380903 w 559240"/>
                <a:gd name="connsiteY151" fmla="*/ 119032 h 863087"/>
                <a:gd name="connsiteX152" fmla="*/ 377117 w 559240"/>
                <a:gd name="connsiteY152" fmla="*/ 121640 h 863087"/>
                <a:gd name="connsiteX153" fmla="*/ 376696 w 559240"/>
                <a:gd name="connsiteY153" fmla="*/ 123490 h 863087"/>
                <a:gd name="connsiteX154" fmla="*/ 380903 w 559240"/>
                <a:gd name="connsiteY154" fmla="*/ 132323 h 863087"/>
                <a:gd name="connsiteX155" fmla="*/ 380482 w 559240"/>
                <a:gd name="connsiteY155" fmla="*/ 133249 h 863087"/>
                <a:gd name="connsiteX156" fmla="*/ 374173 w 559240"/>
                <a:gd name="connsiteY156" fmla="*/ 128874 h 863087"/>
                <a:gd name="connsiteX157" fmla="*/ 370808 w 559240"/>
                <a:gd name="connsiteY157" fmla="*/ 123995 h 863087"/>
                <a:gd name="connsiteX158" fmla="*/ 370472 w 559240"/>
                <a:gd name="connsiteY158" fmla="*/ 127444 h 863087"/>
                <a:gd name="connsiteX159" fmla="*/ 372995 w 559240"/>
                <a:gd name="connsiteY159" fmla="*/ 132744 h 863087"/>
                <a:gd name="connsiteX160" fmla="*/ 370808 w 559240"/>
                <a:gd name="connsiteY160" fmla="*/ 133669 h 863087"/>
                <a:gd name="connsiteX161" fmla="*/ 368705 w 559240"/>
                <a:gd name="connsiteY161" fmla="*/ 138548 h 863087"/>
                <a:gd name="connsiteX162" fmla="*/ 369126 w 559240"/>
                <a:gd name="connsiteY162" fmla="*/ 140735 h 863087"/>
                <a:gd name="connsiteX163" fmla="*/ 367864 w 559240"/>
                <a:gd name="connsiteY163" fmla="*/ 146456 h 863087"/>
                <a:gd name="connsiteX164" fmla="*/ 368284 w 559240"/>
                <a:gd name="connsiteY164" fmla="*/ 143007 h 863087"/>
                <a:gd name="connsiteX165" fmla="*/ 363237 w 559240"/>
                <a:gd name="connsiteY165" fmla="*/ 137202 h 863087"/>
                <a:gd name="connsiteX166" fmla="*/ 359367 w 559240"/>
                <a:gd name="connsiteY166" fmla="*/ 126687 h 863087"/>
                <a:gd name="connsiteX167" fmla="*/ 353984 w 559240"/>
                <a:gd name="connsiteY167" fmla="*/ 119537 h 863087"/>
                <a:gd name="connsiteX168" fmla="*/ 354320 w 559240"/>
                <a:gd name="connsiteY168" fmla="*/ 116508 h 863087"/>
                <a:gd name="connsiteX169" fmla="*/ 354320 w 559240"/>
                <a:gd name="connsiteY169" fmla="*/ 115162 h 863087"/>
                <a:gd name="connsiteX170" fmla="*/ 351797 w 559240"/>
                <a:gd name="connsiteY170" fmla="*/ 114321 h 863087"/>
                <a:gd name="connsiteX171" fmla="*/ 352217 w 559240"/>
                <a:gd name="connsiteY171" fmla="*/ 112471 h 863087"/>
                <a:gd name="connsiteX172" fmla="*/ 347170 w 559240"/>
                <a:gd name="connsiteY172" fmla="*/ 106750 h 863087"/>
                <a:gd name="connsiteX173" fmla="*/ 348936 w 559240"/>
                <a:gd name="connsiteY173" fmla="*/ 101451 h 863087"/>
                <a:gd name="connsiteX174" fmla="*/ 345992 w 559240"/>
                <a:gd name="connsiteY174" fmla="*/ 101451 h 863087"/>
                <a:gd name="connsiteX175" fmla="*/ 340524 w 559240"/>
                <a:gd name="connsiteY175" fmla="*/ 106330 h 863087"/>
                <a:gd name="connsiteX176" fmla="*/ 340524 w 559240"/>
                <a:gd name="connsiteY176" fmla="*/ 110704 h 863087"/>
                <a:gd name="connsiteX177" fmla="*/ 343468 w 559240"/>
                <a:gd name="connsiteY177" fmla="*/ 113817 h 863087"/>
                <a:gd name="connsiteX178" fmla="*/ 343048 w 559240"/>
                <a:gd name="connsiteY178" fmla="*/ 115078 h 863087"/>
                <a:gd name="connsiteX179" fmla="*/ 336318 w 559240"/>
                <a:gd name="connsiteY179" fmla="*/ 116003 h 863087"/>
                <a:gd name="connsiteX180" fmla="*/ 333795 w 559240"/>
                <a:gd name="connsiteY180" fmla="*/ 114237 h 863087"/>
                <a:gd name="connsiteX181" fmla="*/ 333795 w 559240"/>
                <a:gd name="connsiteY181" fmla="*/ 121640 h 863087"/>
                <a:gd name="connsiteX182" fmla="*/ 333037 w 559240"/>
                <a:gd name="connsiteY182" fmla="*/ 121640 h 863087"/>
                <a:gd name="connsiteX183" fmla="*/ 325046 w 559240"/>
                <a:gd name="connsiteY183" fmla="*/ 128790 h 863087"/>
                <a:gd name="connsiteX184" fmla="*/ 320419 w 559240"/>
                <a:gd name="connsiteY184" fmla="*/ 138044 h 863087"/>
                <a:gd name="connsiteX185" fmla="*/ 322102 w 559240"/>
                <a:gd name="connsiteY185" fmla="*/ 151335 h 863087"/>
                <a:gd name="connsiteX186" fmla="*/ 322943 w 559240"/>
                <a:gd name="connsiteY186" fmla="*/ 158737 h 863087"/>
                <a:gd name="connsiteX187" fmla="*/ 328831 w 559240"/>
                <a:gd name="connsiteY187" fmla="*/ 161850 h 863087"/>
                <a:gd name="connsiteX188" fmla="*/ 318737 w 559240"/>
                <a:gd name="connsiteY188" fmla="*/ 173374 h 863087"/>
                <a:gd name="connsiteX189" fmla="*/ 308726 w 559240"/>
                <a:gd name="connsiteY189" fmla="*/ 179095 h 863087"/>
                <a:gd name="connsiteX190" fmla="*/ 306203 w 559240"/>
                <a:gd name="connsiteY190" fmla="*/ 182628 h 863087"/>
                <a:gd name="connsiteX191" fmla="*/ 307464 w 559240"/>
                <a:gd name="connsiteY191" fmla="*/ 186077 h 863087"/>
                <a:gd name="connsiteX192" fmla="*/ 304100 w 559240"/>
                <a:gd name="connsiteY192" fmla="*/ 189189 h 863087"/>
                <a:gd name="connsiteX193" fmla="*/ 302417 w 559240"/>
                <a:gd name="connsiteY193" fmla="*/ 189610 h 863087"/>
                <a:gd name="connsiteX194" fmla="*/ 302754 w 559240"/>
                <a:gd name="connsiteY194" fmla="*/ 191377 h 863087"/>
                <a:gd name="connsiteX195" fmla="*/ 295183 w 559240"/>
                <a:gd name="connsiteY195" fmla="*/ 208117 h 863087"/>
                <a:gd name="connsiteX196" fmla="*/ 282144 w 559240"/>
                <a:gd name="connsiteY196" fmla="*/ 222333 h 863087"/>
                <a:gd name="connsiteX197" fmla="*/ 265320 w 559240"/>
                <a:gd name="connsiteY197" fmla="*/ 230325 h 863087"/>
                <a:gd name="connsiteX198" fmla="*/ 250178 w 559240"/>
                <a:gd name="connsiteY198" fmla="*/ 236045 h 863087"/>
                <a:gd name="connsiteX199" fmla="*/ 245551 w 559240"/>
                <a:gd name="connsiteY199" fmla="*/ 236045 h 863087"/>
                <a:gd name="connsiteX200" fmla="*/ 228727 w 559240"/>
                <a:gd name="connsiteY200" fmla="*/ 241345 h 863087"/>
                <a:gd name="connsiteX201" fmla="*/ 217370 w 559240"/>
                <a:gd name="connsiteY201" fmla="*/ 237391 h 863087"/>
                <a:gd name="connsiteX202" fmla="*/ 216108 w 559240"/>
                <a:gd name="connsiteY202" fmla="*/ 237812 h 863087"/>
                <a:gd name="connsiteX203" fmla="*/ 216108 w 559240"/>
                <a:gd name="connsiteY203" fmla="*/ 239999 h 863087"/>
                <a:gd name="connsiteX204" fmla="*/ 213585 w 559240"/>
                <a:gd name="connsiteY204" fmla="*/ 239073 h 863087"/>
                <a:gd name="connsiteX205" fmla="*/ 204331 w 559240"/>
                <a:gd name="connsiteY205" fmla="*/ 248327 h 863087"/>
                <a:gd name="connsiteX206" fmla="*/ 192554 w 559240"/>
                <a:gd name="connsiteY206" fmla="*/ 252365 h 863087"/>
                <a:gd name="connsiteX207" fmla="*/ 189189 w 559240"/>
                <a:gd name="connsiteY207" fmla="*/ 252365 h 863087"/>
                <a:gd name="connsiteX208" fmla="*/ 175730 w 559240"/>
                <a:gd name="connsiteY208" fmla="*/ 256319 h 863087"/>
                <a:gd name="connsiteX209" fmla="*/ 168580 w 559240"/>
                <a:gd name="connsiteY209" fmla="*/ 263385 h 863087"/>
                <a:gd name="connsiteX210" fmla="*/ 153017 w 559240"/>
                <a:gd name="connsiteY210" fmla="*/ 268684 h 863087"/>
                <a:gd name="connsiteX211" fmla="*/ 144521 w 559240"/>
                <a:gd name="connsiteY211" fmla="*/ 264310 h 863087"/>
                <a:gd name="connsiteX212" fmla="*/ 134510 w 559240"/>
                <a:gd name="connsiteY212" fmla="*/ 267759 h 863087"/>
                <a:gd name="connsiteX213" fmla="*/ 131987 w 559240"/>
                <a:gd name="connsiteY213" fmla="*/ 267338 h 863087"/>
                <a:gd name="connsiteX214" fmla="*/ 132744 w 559240"/>
                <a:gd name="connsiteY214" fmla="*/ 261534 h 863087"/>
                <a:gd name="connsiteX215" fmla="*/ 116004 w 559240"/>
                <a:gd name="connsiteY215" fmla="*/ 273479 h 863087"/>
                <a:gd name="connsiteX216" fmla="*/ 114742 w 559240"/>
                <a:gd name="connsiteY216" fmla="*/ 272554 h 863087"/>
                <a:gd name="connsiteX217" fmla="*/ 112218 w 559240"/>
                <a:gd name="connsiteY217" fmla="*/ 277517 h 863087"/>
                <a:gd name="connsiteX218" fmla="*/ 102544 w 559240"/>
                <a:gd name="connsiteY218" fmla="*/ 282312 h 863087"/>
                <a:gd name="connsiteX219" fmla="*/ 91188 w 559240"/>
                <a:gd name="connsiteY219" fmla="*/ 295098 h 863087"/>
                <a:gd name="connsiteX220" fmla="*/ 69316 w 559240"/>
                <a:gd name="connsiteY220" fmla="*/ 305698 h 863087"/>
                <a:gd name="connsiteX221" fmla="*/ 63428 w 559240"/>
                <a:gd name="connsiteY221" fmla="*/ 309231 h 863087"/>
                <a:gd name="connsiteX222" fmla="*/ 60904 w 559240"/>
                <a:gd name="connsiteY222" fmla="*/ 309231 h 863087"/>
                <a:gd name="connsiteX223" fmla="*/ 57960 w 559240"/>
                <a:gd name="connsiteY223" fmla="*/ 317138 h 863087"/>
                <a:gd name="connsiteX224" fmla="*/ 53333 w 559240"/>
                <a:gd name="connsiteY224" fmla="*/ 325130 h 863087"/>
                <a:gd name="connsiteX225" fmla="*/ 49548 w 559240"/>
                <a:gd name="connsiteY225" fmla="*/ 335729 h 863087"/>
                <a:gd name="connsiteX226" fmla="*/ 47445 w 559240"/>
                <a:gd name="connsiteY226" fmla="*/ 333963 h 863087"/>
                <a:gd name="connsiteX227" fmla="*/ 42734 w 559240"/>
                <a:gd name="connsiteY227" fmla="*/ 337412 h 863087"/>
                <a:gd name="connsiteX228" fmla="*/ 41977 w 559240"/>
                <a:gd name="connsiteY228" fmla="*/ 334299 h 863087"/>
                <a:gd name="connsiteX229" fmla="*/ 42734 w 559240"/>
                <a:gd name="connsiteY229" fmla="*/ 329420 h 863087"/>
                <a:gd name="connsiteX230" fmla="*/ 40294 w 559240"/>
                <a:gd name="connsiteY230" fmla="*/ 322354 h 863087"/>
                <a:gd name="connsiteX231" fmla="*/ 40631 w 559240"/>
                <a:gd name="connsiteY231" fmla="*/ 319241 h 863087"/>
                <a:gd name="connsiteX232" fmla="*/ 39874 w 559240"/>
                <a:gd name="connsiteY232" fmla="*/ 314026 h 863087"/>
                <a:gd name="connsiteX233" fmla="*/ 41977 w 559240"/>
                <a:gd name="connsiteY233" fmla="*/ 309988 h 863087"/>
                <a:gd name="connsiteX234" fmla="*/ 41135 w 559240"/>
                <a:gd name="connsiteY234" fmla="*/ 308726 h 863087"/>
                <a:gd name="connsiteX235" fmla="*/ 35752 w 559240"/>
                <a:gd name="connsiteY235" fmla="*/ 315792 h 863087"/>
                <a:gd name="connsiteX236" fmla="*/ 31882 w 559240"/>
                <a:gd name="connsiteY236" fmla="*/ 324625 h 863087"/>
                <a:gd name="connsiteX237" fmla="*/ 29779 w 559240"/>
                <a:gd name="connsiteY237" fmla="*/ 332112 h 863087"/>
                <a:gd name="connsiteX238" fmla="*/ 26835 w 559240"/>
                <a:gd name="connsiteY238" fmla="*/ 340945 h 863087"/>
                <a:gd name="connsiteX239" fmla="*/ 31882 w 559240"/>
                <a:gd name="connsiteY239" fmla="*/ 357264 h 863087"/>
                <a:gd name="connsiteX240" fmla="*/ 30200 w 559240"/>
                <a:gd name="connsiteY240" fmla="*/ 361302 h 863087"/>
                <a:gd name="connsiteX241" fmla="*/ 30620 w 559240"/>
                <a:gd name="connsiteY241" fmla="*/ 367443 h 863087"/>
                <a:gd name="connsiteX242" fmla="*/ 23891 w 559240"/>
                <a:gd name="connsiteY242" fmla="*/ 381996 h 863087"/>
                <a:gd name="connsiteX243" fmla="*/ 16740 w 559240"/>
                <a:gd name="connsiteY243" fmla="*/ 408074 h 863087"/>
                <a:gd name="connsiteX244" fmla="*/ 25994 w 559240"/>
                <a:gd name="connsiteY244" fmla="*/ 434572 h 863087"/>
                <a:gd name="connsiteX245" fmla="*/ 28097 w 559240"/>
                <a:gd name="connsiteY245" fmla="*/ 440377 h 863087"/>
                <a:gd name="connsiteX246" fmla="*/ 32303 w 559240"/>
                <a:gd name="connsiteY246" fmla="*/ 443405 h 863087"/>
                <a:gd name="connsiteX247" fmla="*/ 38191 w 559240"/>
                <a:gd name="connsiteY247" fmla="*/ 459304 h 863087"/>
                <a:gd name="connsiteX248" fmla="*/ 44080 w 559240"/>
                <a:gd name="connsiteY248" fmla="*/ 467295 h 863087"/>
                <a:gd name="connsiteX249" fmla="*/ 47445 w 559240"/>
                <a:gd name="connsiteY249" fmla="*/ 472595 h 863087"/>
                <a:gd name="connsiteX250" fmla="*/ 46603 w 559240"/>
                <a:gd name="connsiteY250" fmla="*/ 473857 h 863087"/>
                <a:gd name="connsiteX251" fmla="*/ 47024 w 559240"/>
                <a:gd name="connsiteY251" fmla="*/ 476044 h 863087"/>
                <a:gd name="connsiteX252" fmla="*/ 45762 w 559240"/>
                <a:gd name="connsiteY252" fmla="*/ 476969 h 863087"/>
                <a:gd name="connsiteX253" fmla="*/ 45762 w 559240"/>
                <a:gd name="connsiteY253" fmla="*/ 480923 h 863087"/>
                <a:gd name="connsiteX254" fmla="*/ 44080 w 559240"/>
                <a:gd name="connsiteY254" fmla="*/ 484456 h 863087"/>
                <a:gd name="connsiteX255" fmla="*/ 45342 w 559240"/>
                <a:gd name="connsiteY255" fmla="*/ 488830 h 863087"/>
                <a:gd name="connsiteX256" fmla="*/ 40294 w 559240"/>
                <a:gd name="connsiteY256" fmla="*/ 494635 h 863087"/>
                <a:gd name="connsiteX257" fmla="*/ 36929 w 559240"/>
                <a:gd name="connsiteY257" fmla="*/ 488830 h 863087"/>
                <a:gd name="connsiteX258" fmla="*/ 33144 w 559240"/>
                <a:gd name="connsiteY258" fmla="*/ 482606 h 863087"/>
                <a:gd name="connsiteX259" fmla="*/ 32303 w 559240"/>
                <a:gd name="connsiteY259" fmla="*/ 482606 h 863087"/>
                <a:gd name="connsiteX260" fmla="*/ 25573 w 559240"/>
                <a:gd name="connsiteY260" fmla="*/ 481764 h 863087"/>
                <a:gd name="connsiteX261" fmla="*/ 27676 w 559240"/>
                <a:gd name="connsiteY261" fmla="*/ 472511 h 863087"/>
                <a:gd name="connsiteX262" fmla="*/ 24311 w 559240"/>
                <a:gd name="connsiteY262" fmla="*/ 466706 h 863087"/>
                <a:gd name="connsiteX263" fmla="*/ 19264 w 559240"/>
                <a:gd name="connsiteY263" fmla="*/ 459220 h 863087"/>
                <a:gd name="connsiteX264" fmla="*/ 18002 w 559240"/>
                <a:gd name="connsiteY264" fmla="*/ 459640 h 863087"/>
                <a:gd name="connsiteX265" fmla="*/ 17581 w 559240"/>
                <a:gd name="connsiteY265" fmla="*/ 462753 h 863087"/>
                <a:gd name="connsiteX266" fmla="*/ 17581 w 559240"/>
                <a:gd name="connsiteY266" fmla="*/ 465360 h 863087"/>
                <a:gd name="connsiteX267" fmla="*/ 20946 w 559240"/>
                <a:gd name="connsiteY267" fmla="*/ 472511 h 863087"/>
                <a:gd name="connsiteX268" fmla="*/ 24732 w 559240"/>
                <a:gd name="connsiteY268" fmla="*/ 482606 h 863087"/>
                <a:gd name="connsiteX269" fmla="*/ 31882 w 559240"/>
                <a:gd name="connsiteY269" fmla="*/ 488410 h 863087"/>
                <a:gd name="connsiteX270" fmla="*/ 33649 w 559240"/>
                <a:gd name="connsiteY270" fmla="*/ 496401 h 863087"/>
                <a:gd name="connsiteX271" fmla="*/ 31461 w 559240"/>
                <a:gd name="connsiteY271" fmla="*/ 500355 h 863087"/>
                <a:gd name="connsiteX272" fmla="*/ 27255 w 559240"/>
                <a:gd name="connsiteY272" fmla="*/ 504393 h 863087"/>
                <a:gd name="connsiteX273" fmla="*/ 24732 w 559240"/>
                <a:gd name="connsiteY273" fmla="*/ 502542 h 863087"/>
                <a:gd name="connsiteX274" fmla="*/ 20946 w 559240"/>
                <a:gd name="connsiteY274" fmla="*/ 499514 h 863087"/>
                <a:gd name="connsiteX275" fmla="*/ 21367 w 559240"/>
                <a:gd name="connsiteY275" fmla="*/ 495056 h 863087"/>
                <a:gd name="connsiteX276" fmla="*/ 18002 w 559240"/>
                <a:gd name="connsiteY276" fmla="*/ 492364 h 863087"/>
                <a:gd name="connsiteX277" fmla="*/ 18843 w 559240"/>
                <a:gd name="connsiteY277" fmla="*/ 488915 h 863087"/>
                <a:gd name="connsiteX278" fmla="*/ 16740 w 559240"/>
                <a:gd name="connsiteY278" fmla="*/ 484961 h 863087"/>
                <a:gd name="connsiteX279" fmla="*/ 15478 w 559240"/>
                <a:gd name="connsiteY279" fmla="*/ 484961 h 863087"/>
                <a:gd name="connsiteX280" fmla="*/ 15478 w 559240"/>
                <a:gd name="connsiteY280" fmla="*/ 487148 h 863087"/>
                <a:gd name="connsiteX281" fmla="*/ 16320 w 559240"/>
                <a:gd name="connsiteY281" fmla="*/ 490176 h 863087"/>
                <a:gd name="connsiteX282" fmla="*/ 16320 w 559240"/>
                <a:gd name="connsiteY282" fmla="*/ 493289 h 863087"/>
                <a:gd name="connsiteX283" fmla="*/ 15478 w 559240"/>
                <a:gd name="connsiteY283" fmla="*/ 493710 h 863087"/>
                <a:gd name="connsiteX284" fmla="*/ 13375 w 559240"/>
                <a:gd name="connsiteY284" fmla="*/ 490176 h 863087"/>
                <a:gd name="connsiteX285" fmla="*/ 12955 w 559240"/>
                <a:gd name="connsiteY285" fmla="*/ 490176 h 863087"/>
                <a:gd name="connsiteX286" fmla="*/ 17161 w 559240"/>
                <a:gd name="connsiteY286" fmla="*/ 495981 h 863087"/>
                <a:gd name="connsiteX287" fmla="*/ 25657 w 559240"/>
                <a:gd name="connsiteY287" fmla="*/ 507421 h 863087"/>
                <a:gd name="connsiteX288" fmla="*/ 32807 w 559240"/>
                <a:gd name="connsiteY288" fmla="*/ 519787 h 863087"/>
                <a:gd name="connsiteX289" fmla="*/ 42061 w 559240"/>
                <a:gd name="connsiteY289" fmla="*/ 542332 h 863087"/>
                <a:gd name="connsiteX290" fmla="*/ 43323 w 559240"/>
                <a:gd name="connsiteY290" fmla="*/ 542332 h 863087"/>
                <a:gd name="connsiteX291" fmla="*/ 43743 w 559240"/>
                <a:gd name="connsiteY291" fmla="*/ 543257 h 863087"/>
                <a:gd name="connsiteX292" fmla="*/ 41640 w 559240"/>
                <a:gd name="connsiteY292" fmla="*/ 552090 h 863087"/>
                <a:gd name="connsiteX293" fmla="*/ 43323 w 559240"/>
                <a:gd name="connsiteY293" fmla="*/ 563615 h 863087"/>
                <a:gd name="connsiteX294" fmla="*/ 46687 w 559240"/>
                <a:gd name="connsiteY294" fmla="*/ 565802 h 863087"/>
                <a:gd name="connsiteX295" fmla="*/ 49632 w 559240"/>
                <a:gd name="connsiteY295" fmla="*/ 570597 h 863087"/>
                <a:gd name="connsiteX296" fmla="*/ 56782 w 559240"/>
                <a:gd name="connsiteY296" fmla="*/ 582542 h 863087"/>
                <a:gd name="connsiteX297" fmla="*/ 60568 w 559240"/>
                <a:gd name="connsiteY297" fmla="*/ 596254 h 863087"/>
                <a:gd name="connsiteX298" fmla="*/ 66877 w 559240"/>
                <a:gd name="connsiteY298" fmla="*/ 602395 h 863087"/>
                <a:gd name="connsiteX299" fmla="*/ 71924 w 559240"/>
                <a:gd name="connsiteY299" fmla="*/ 622752 h 863087"/>
                <a:gd name="connsiteX300" fmla="*/ 70662 w 559240"/>
                <a:gd name="connsiteY300" fmla="*/ 630239 h 863087"/>
                <a:gd name="connsiteX301" fmla="*/ 70662 w 559240"/>
                <a:gd name="connsiteY301" fmla="*/ 636800 h 863087"/>
                <a:gd name="connsiteX302" fmla="*/ 70242 w 559240"/>
                <a:gd name="connsiteY302" fmla="*/ 642100 h 863087"/>
                <a:gd name="connsiteX303" fmla="*/ 72345 w 559240"/>
                <a:gd name="connsiteY303" fmla="*/ 647904 h 863087"/>
                <a:gd name="connsiteX304" fmla="*/ 74027 w 559240"/>
                <a:gd name="connsiteY304" fmla="*/ 661532 h 863087"/>
                <a:gd name="connsiteX305" fmla="*/ 81598 w 559240"/>
                <a:gd name="connsiteY305" fmla="*/ 680459 h 863087"/>
                <a:gd name="connsiteX306" fmla="*/ 92618 w 559240"/>
                <a:gd name="connsiteY306" fmla="*/ 705191 h 863087"/>
                <a:gd name="connsiteX307" fmla="*/ 98002 w 559240"/>
                <a:gd name="connsiteY307" fmla="*/ 717557 h 863087"/>
                <a:gd name="connsiteX308" fmla="*/ 98002 w 559240"/>
                <a:gd name="connsiteY308" fmla="*/ 723362 h 863087"/>
                <a:gd name="connsiteX309" fmla="*/ 97581 w 559240"/>
                <a:gd name="connsiteY309" fmla="*/ 725549 h 863087"/>
                <a:gd name="connsiteX310" fmla="*/ 98843 w 559240"/>
                <a:gd name="connsiteY310" fmla="*/ 733961 h 863087"/>
                <a:gd name="connsiteX311" fmla="*/ 97581 w 559240"/>
                <a:gd name="connsiteY311" fmla="*/ 739261 h 863087"/>
                <a:gd name="connsiteX312" fmla="*/ 98422 w 559240"/>
                <a:gd name="connsiteY312" fmla="*/ 742289 h 863087"/>
                <a:gd name="connsiteX313" fmla="*/ 97160 w 559240"/>
                <a:gd name="connsiteY313" fmla="*/ 748935 h 863087"/>
                <a:gd name="connsiteX314" fmla="*/ 94637 w 559240"/>
                <a:gd name="connsiteY314" fmla="*/ 750196 h 863087"/>
                <a:gd name="connsiteX315" fmla="*/ 92870 w 559240"/>
                <a:gd name="connsiteY315" fmla="*/ 755496 h 863087"/>
                <a:gd name="connsiteX316" fmla="*/ 95814 w 559240"/>
                <a:gd name="connsiteY316" fmla="*/ 774423 h 863087"/>
                <a:gd name="connsiteX317" fmla="*/ 91188 w 559240"/>
                <a:gd name="connsiteY317" fmla="*/ 789902 h 863087"/>
                <a:gd name="connsiteX318" fmla="*/ 79831 w 559240"/>
                <a:gd name="connsiteY318" fmla="*/ 799155 h 863087"/>
                <a:gd name="connsiteX319" fmla="*/ 74532 w 559240"/>
                <a:gd name="connsiteY319" fmla="*/ 798314 h 863087"/>
                <a:gd name="connsiteX320" fmla="*/ 73102 w 559240"/>
                <a:gd name="connsiteY320" fmla="*/ 797893 h 863087"/>
                <a:gd name="connsiteX321" fmla="*/ 72260 w 559240"/>
                <a:gd name="connsiteY321" fmla="*/ 801342 h 863087"/>
                <a:gd name="connsiteX322" fmla="*/ 72260 w 559240"/>
                <a:gd name="connsiteY322" fmla="*/ 811942 h 863087"/>
                <a:gd name="connsiteX323" fmla="*/ 73943 w 559240"/>
                <a:gd name="connsiteY323" fmla="*/ 821279 h 863087"/>
                <a:gd name="connsiteX324" fmla="*/ 77308 w 559240"/>
                <a:gd name="connsiteY324" fmla="*/ 829186 h 863087"/>
                <a:gd name="connsiteX325" fmla="*/ 78990 w 559240"/>
                <a:gd name="connsiteY325" fmla="*/ 825738 h 863087"/>
                <a:gd name="connsiteX326" fmla="*/ 97160 w 559240"/>
                <a:gd name="connsiteY326" fmla="*/ 837178 h 863087"/>
                <a:gd name="connsiteX327" fmla="*/ 105573 w 559240"/>
                <a:gd name="connsiteY327" fmla="*/ 846431 h 863087"/>
                <a:gd name="connsiteX328" fmla="*/ 107255 w 559240"/>
                <a:gd name="connsiteY328" fmla="*/ 851731 h 863087"/>
                <a:gd name="connsiteX329" fmla="*/ 114405 w 559240"/>
                <a:gd name="connsiteY329" fmla="*/ 853077 h 863087"/>
                <a:gd name="connsiteX330" fmla="*/ 129547 w 559240"/>
                <a:gd name="connsiteY330" fmla="*/ 860564 h 863087"/>
                <a:gd name="connsiteX331" fmla="*/ 130809 w 559240"/>
                <a:gd name="connsiteY331" fmla="*/ 857031 h 863087"/>
                <a:gd name="connsiteX332" fmla="*/ 137959 w 559240"/>
                <a:gd name="connsiteY332" fmla="*/ 860564 h 863087"/>
                <a:gd name="connsiteX333" fmla="*/ 140483 w 559240"/>
                <a:gd name="connsiteY333" fmla="*/ 857031 h 863087"/>
                <a:gd name="connsiteX334" fmla="*/ 145530 w 559240"/>
                <a:gd name="connsiteY334" fmla="*/ 859218 h 863087"/>
                <a:gd name="connsiteX335" fmla="*/ 150998 w 559240"/>
                <a:gd name="connsiteY335" fmla="*/ 859639 h 863087"/>
                <a:gd name="connsiteX336" fmla="*/ 154363 w 559240"/>
                <a:gd name="connsiteY336" fmla="*/ 857872 h 863087"/>
                <a:gd name="connsiteX337" fmla="*/ 157728 w 559240"/>
                <a:gd name="connsiteY337" fmla="*/ 857872 h 863087"/>
                <a:gd name="connsiteX338" fmla="*/ 157307 w 559240"/>
                <a:gd name="connsiteY338" fmla="*/ 860059 h 863087"/>
                <a:gd name="connsiteX339" fmla="*/ 159410 w 559240"/>
                <a:gd name="connsiteY339" fmla="*/ 860900 h 863087"/>
                <a:gd name="connsiteX340" fmla="*/ 163280 w 559240"/>
                <a:gd name="connsiteY340" fmla="*/ 862751 h 863087"/>
                <a:gd name="connsiteX341" fmla="*/ 166645 w 559240"/>
                <a:gd name="connsiteY341" fmla="*/ 859639 h 863087"/>
                <a:gd name="connsiteX342" fmla="*/ 173795 w 559240"/>
                <a:gd name="connsiteY342" fmla="*/ 863088 h 863087"/>
                <a:gd name="connsiteX343" fmla="*/ 183049 w 559240"/>
                <a:gd name="connsiteY343" fmla="*/ 854759 h 863087"/>
                <a:gd name="connsiteX344" fmla="*/ 189778 w 559240"/>
                <a:gd name="connsiteY344" fmla="*/ 851647 h 863087"/>
                <a:gd name="connsiteX345" fmla="*/ 193143 w 559240"/>
                <a:gd name="connsiteY345" fmla="*/ 847273 h 863087"/>
                <a:gd name="connsiteX346" fmla="*/ 197349 w 559240"/>
                <a:gd name="connsiteY346" fmla="*/ 843740 h 863087"/>
                <a:gd name="connsiteX347" fmla="*/ 202817 w 559240"/>
                <a:gd name="connsiteY347" fmla="*/ 841552 h 863087"/>
                <a:gd name="connsiteX348" fmla="*/ 203574 w 559240"/>
                <a:gd name="connsiteY348" fmla="*/ 837599 h 863087"/>
                <a:gd name="connsiteX349" fmla="*/ 213248 w 559240"/>
                <a:gd name="connsiteY349" fmla="*/ 834066 h 863087"/>
                <a:gd name="connsiteX350" fmla="*/ 220399 w 559240"/>
                <a:gd name="connsiteY350" fmla="*/ 835916 h 863087"/>
                <a:gd name="connsiteX351" fmla="*/ 212407 w 559240"/>
                <a:gd name="connsiteY351" fmla="*/ 820101 h 863087"/>
                <a:gd name="connsiteX352" fmla="*/ 249421 w 559240"/>
                <a:gd name="connsiteY352" fmla="*/ 810764 h 863087"/>
                <a:gd name="connsiteX353" fmla="*/ 251944 w 559240"/>
                <a:gd name="connsiteY353" fmla="*/ 811605 h 863087"/>
                <a:gd name="connsiteX354" fmla="*/ 255730 w 559240"/>
                <a:gd name="connsiteY354" fmla="*/ 810764 h 863087"/>
                <a:gd name="connsiteX355" fmla="*/ 262123 w 559240"/>
                <a:gd name="connsiteY355" fmla="*/ 812026 h 863087"/>
                <a:gd name="connsiteX356" fmla="*/ 265908 w 559240"/>
                <a:gd name="connsiteY356" fmla="*/ 808577 h 863087"/>
                <a:gd name="connsiteX357" fmla="*/ 276424 w 559240"/>
                <a:gd name="connsiteY357" fmla="*/ 807651 h 863087"/>
                <a:gd name="connsiteX358" fmla="*/ 283153 w 559240"/>
                <a:gd name="connsiteY358" fmla="*/ 807651 h 863087"/>
                <a:gd name="connsiteX359" fmla="*/ 294930 w 559240"/>
                <a:gd name="connsiteY359" fmla="*/ 805464 h 863087"/>
                <a:gd name="connsiteX360" fmla="*/ 309652 w 559240"/>
                <a:gd name="connsiteY360" fmla="*/ 808997 h 863087"/>
                <a:gd name="connsiteX361" fmla="*/ 314615 w 559240"/>
                <a:gd name="connsiteY361" fmla="*/ 807147 h 863087"/>
                <a:gd name="connsiteX362" fmla="*/ 319242 w 559240"/>
                <a:gd name="connsiteY362" fmla="*/ 810259 h 863087"/>
                <a:gd name="connsiteX363" fmla="*/ 321008 w 559240"/>
                <a:gd name="connsiteY363" fmla="*/ 813372 h 863087"/>
                <a:gd name="connsiteX364" fmla="*/ 325214 w 559240"/>
                <a:gd name="connsiteY364" fmla="*/ 812951 h 863087"/>
                <a:gd name="connsiteX365" fmla="*/ 329000 w 559240"/>
                <a:gd name="connsiteY365" fmla="*/ 808997 h 863087"/>
                <a:gd name="connsiteX366" fmla="*/ 334047 w 559240"/>
                <a:gd name="connsiteY366" fmla="*/ 810764 h 863087"/>
                <a:gd name="connsiteX367" fmla="*/ 336571 w 559240"/>
                <a:gd name="connsiteY367" fmla="*/ 809418 h 863087"/>
                <a:gd name="connsiteX368" fmla="*/ 340356 w 559240"/>
                <a:gd name="connsiteY368" fmla="*/ 809418 h 863087"/>
                <a:gd name="connsiteX369" fmla="*/ 350871 w 559240"/>
                <a:gd name="connsiteY369" fmla="*/ 808577 h 863087"/>
                <a:gd name="connsiteX370" fmla="*/ 358022 w 559240"/>
                <a:gd name="connsiteY370" fmla="*/ 813456 h 863087"/>
                <a:gd name="connsiteX371" fmla="*/ 368116 w 559240"/>
                <a:gd name="connsiteY371" fmla="*/ 809081 h 863087"/>
                <a:gd name="connsiteX372" fmla="*/ 373163 w 559240"/>
                <a:gd name="connsiteY372" fmla="*/ 807735 h 863087"/>
                <a:gd name="connsiteX373" fmla="*/ 376528 w 559240"/>
                <a:gd name="connsiteY373" fmla="*/ 805969 h 863087"/>
                <a:gd name="connsiteX374" fmla="*/ 375687 w 559240"/>
                <a:gd name="connsiteY374" fmla="*/ 802857 h 863087"/>
                <a:gd name="connsiteX375" fmla="*/ 384183 w 559240"/>
                <a:gd name="connsiteY375" fmla="*/ 794024 h 863087"/>
                <a:gd name="connsiteX376" fmla="*/ 387128 w 559240"/>
                <a:gd name="connsiteY376" fmla="*/ 782583 h 863087"/>
                <a:gd name="connsiteX377" fmla="*/ 394278 w 559240"/>
                <a:gd name="connsiteY377" fmla="*/ 771563 h 863087"/>
                <a:gd name="connsiteX378" fmla="*/ 403531 w 559240"/>
                <a:gd name="connsiteY378" fmla="*/ 766684 h 863087"/>
                <a:gd name="connsiteX379" fmla="*/ 407317 w 559240"/>
                <a:gd name="connsiteY379" fmla="*/ 766684 h 863087"/>
                <a:gd name="connsiteX380" fmla="*/ 416570 w 559240"/>
                <a:gd name="connsiteY380" fmla="*/ 761805 h 863087"/>
                <a:gd name="connsiteX381" fmla="*/ 434656 w 559240"/>
                <a:gd name="connsiteY381" fmla="*/ 752468 h 863087"/>
                <a:gd name="connsiteX382" fmla="*/ 456949 w 559240"/>
                <a:gd name="connsiteY382" fmla="*/ 737915 h 863087"/>
                <a:gd name="connsiteX383" fmla="*/ 458631 w 559240"/>
                <a:gd name="connsiteY383" fmla="*/ 738335 h 863087"/>
                <a:gd name="connsiteX384" fmla="*/ 462501 w 559240"/>
                <a:gd name="connsiteY384" fmla="*/ 736569 h 863087"/>
                <a:gd name="connsiteX385" fmla="*/ 477642 w 559240"/>
                <a:gd name="connsiteY385" fmla="*/ 740522 h 863087"/>
                <a:gd name="connsiteX386" fmla="*/ 506664 w 559240"/>
                <a:gd name="connsiteY386" fmla="*/ 736569 h 863087"/>
                <a:gd name="connsiteX387" fmla="*/ 518862 w 559240"/>
                <a:gd name="connsiteY387" fmla="*/ 731269 h 863087"/>
                <a:gd name="connsiteX388" fmla="*/ 540734 w 559240"/>
                <a:gd name="connsiteY388" fmla="*/ 722857 h 863087"/>
                <a:gd name="connsiteX389" fmla="*/ 559240 w 559240"/>
                <a:gd name="connsiteY389" fmla="*/ 713603 h 863087"/>
                <a:gd name="connsiteX390" fmla="*/ 559240 w 559240"/>
                <a:gd name="connsiteY390" fmla="*/ 713603 h 863087"/>
                <a:gd name="connsiteX391" fmla="*/ 559240 w 559240"/>
                <a:gd name="connsiteY391" fmla="*/ 474866 h 863087"/>
                <a:gd name="connsiteX392" fmla="*/ 559240 w 559240"/>
                <a:gd name="connsiteY392" fmla="*/ 474866 h 863087"/>
                <a:gd name="connsiteX393" fmla="*/ 557474 w 559240"/>
                <a:gd name="connsiteY393" fmla="*/ 43911 h 863087"/>
                <a:gd name="connsiteX394" fmla="*/ 557474 w 559240"/>
                <a:gd name="connsiteY394" fmla="*/ 43911 h 863087"/>
                <a:gd name="connsiteX395" fmla="*/ 81177 w 559240"/>
                <a:gd name="connsiteY395" fmla="*/ 271376 h 863087"/>
                <a:gd name="connsiteX396" fmla="*/ 81177 w 559240"/>
                <a:gd name="connsiteY396" fmla="*/ 271376 h 863087"/>
                <a:gd name="connsiteX397" fmla="*/ 87066 w 559240"/>
                <a:gd name="connsiteY397" fmla="*/ 265151 h 863087"/>
                <a:gd name="connsiteX398" fmla="*/ 82860 w 559240"/>
                <a:gd name="connsiteY398" fmla="*/ 271797 h 863087"/>
                <a:gd name="connsiteX399" fmla="*/ 81093 w 559240"/>
                <a:gd name="connsiteY399" fmla="*/ 271376 h 863087"/>
                <a:gd name="connsiteX400" fmla="*/ 81093 w 559240"/>
                <a:gd name="connsiteY400" fmla="*/ 271376 h 863087"/>
                <a:gd name="connsiteX401" fmla="*/ 2103 w 559240"/>
                <a:gd name="connsiteY401" fmla="*/ 456360 h 863087"/>
                <a:gd name="connsiteX402" fmla="*/ 2103 w 559240"/>
                <a:gd name="connsiteY402" fmla="*/ 456360 h 863087"/>
                <a:gd name="connsiteX403" fmla="*/ 421 w 559240"/>
                <a:gd name="connsiteY403" fmla="*/ 455939 h 863087"/>
                <a:gd name="connsiteX404" fmla="*/ 0 w 559240"/>
                <a:gd name="connsiteY404" fmla="*/ 457706 h 863087"/>
                <a:gd name="connsiteX405" fmla="*/ 5047 w 559240"/>
                <a:gd name="connsiteY405" fmla="*/ 472763 h 863087"/>
                <a:gd name="connsiteX406" fmla="*/ 8833 w 559240"/>
                <a:gd name="connsiteY406" fmla="*/ 480755 h 863087"/>
                <a:gd name="connsiteX407" fmla="*/ 2103 w 559240"/>
                <a:gd name="connsiteY407" fmla="*/ 459136 h 863087"/>
                <a:gd name="connsiteX408" fmla="*/ 2103 w 559240"/>
                <a:gd name="connsiteY408" fmla="*/ 456444 h 863087"/>
                <a:gd name="connsiteX409" fmla="*/ 2103 w 559240"/>
                <a:gd name="connsiteY409" fmla="*/ 456444 h 86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559240" h="863087">
                  <a:moveTo>
                    <a:pt x="557474" y="43575"/>
                  </a:moveTo>
                  <a:lnTo>
                    <a:pt x="557474" y="43575"/>
                  </a:lnTo>
                  <a:cubicBezTo>
                    <a:pt x="555371" y="42313"/>
                    <a:pt x="552847" y="41808"/>
                    <a:pt x="550324" y="40883"/>
                  </a:cubicBezTo>
                  <a:cubicBezTo>
                    <a:pt x="547463" y="40462"/>
                    <a:pt x="546117" y="38696"/>
                    <a:pt x="543257" y="38696"/>
                  </a:cubicBezTo>
                  <a:cubicBezTo>
                    <a:pt x="541995" y="38696"/>
                    <a:pt x="541070" y="39116"/>
                    <a:pt x="539388" y="39116"/>
                  </a:cubicBezTo>
                  <a:cubicBezTo>
                    <a:pt x="539388" y="41304"/>
                    <a:pt x="539808" y="43070"/>
                    <a:pt x="541070" y="44837"/>
                  </a:cubicBezTo>
                  <a:lnTo>
                    <a:pt x="540734" y="45257"/>
                  </a:lnTo>
                  <a:cubicBezTo>
                    <a:pt x="539892" y="45257"/>
                    <a:pt x="539472" y="44837"/>
                    <a:pt x="538546" y="44416"/>
                  </a:cubicBezTo>
                  <a:lnTo>
                    <a:pt x="537789" y="44837"/>
                  </a:lnTo>
                  <a:cubicBezTo>
                    <a:pt x="537789" y="45257"/>
                    <a:pt x="538210" y="45762"/>
                    <a:pt x="538546" y="46183"/>
                  </a:cubicBezTo>
                  <a:lnTo>
                    <a:pt x="538210" y="47024"/>
                  </a:lnTo>
                  <a:cubicBezTo>
                    <a:pt x="536948" y="46603"/>
                    <a:pt x="536023" y="45762"/>
                    <a:pt x="535266" y="44837"/>
                  </a:cubicBezTo>
                  <a:lnTo>
                    <a:pt x="534424" y="45257"/>
                  </a:lnTo>
                  <a:cubicBezTo>
                    <a:pt x="534424" y="47024"/>
                    <a:pt x="535266" y="47444"/>
                    <a:pt x="535266" y="49295"/>
                  </a:cubicBezTo>
                  <a:cubicBezTo>
                    <a:pt x="535266" y="49716"/>
                    <a:pt x="534845" y="49716"/>
                    <a:pt x="534424" y="49716"/>
                  </a:cubicBezTo>
                  <a:lnTo>
                    <a:pt x="532321" y="46687"/>
                  </a:lnTo>
                  <a:cubicBezTo>
                    <a:pt x="531060" y="48454"/>
                    <a:pt x="530218" y="49379"/>
                    <a:pt x="530218" y="51567"/>
                  </a:cubicBezTo>
                  <a:cubicBezTo>
                    <a:pt x="530218" y="54679"/>
                    <a:pt x="533163" y="62586"/>
                    <a:pt x="528536" y="54679"/>
                  </a:cubicBezTo>
                  <a:cubicBezTo>
                    <a:pt x="527695" y="56866"/>
                    <a:pt x="526769" y="59895"/>
                    <a:pt x="526769" y="61745"/>
                  </a:cubicBezTo>
                  <a:cubicBezTo>
                    <a:pt x="526769" y="62586"/>
                    <a:pt x="527611" y="64773"/>
                    <a:pt x="526769" y="63007"/>
                  </a:cubicBezTo>
                  <a:lnTo>
                    <a:pt x="524666" y="59474"/>
                  </a:lnTo>
                  <a:cubicBezTo>
                    <a:pt x="522143" y="59053"/>
                    <a:pt x="520040" y="57287"/>
                    <a:pt x="524246" y="57287"/>
                  </a:cubicBezTo>
                  <a:cubicBezTo>
                    <a:pt x="526012" y="57287"/>
                    <a:pt x="527190" y="56025"/>
                    <a:pt x="527190" y="54258"/>
                  </a:cubicBezTo>
                  <a:cubicBezTo>
                    <a:pt x="527190" y="51567"/>
                    <a:pt x="525928" y="50221"/>
                    <a:pt x="525928" y="47108"/>
                  </a:cubicBezTo>
                  <a:cubicBezTo>
                    <a:pt x="525928" y="44921"/>
                    <a:pt x="525508" y="43659"/>
                    <a:pt x="526349" y="41892"/>
                  </a:cubicBezTo>
                  <a:cubicBezTo>
                    <a:pt x="527106" y="40546"/>
                    <a:pt x="528873" y="40042"/>
                    <a:pt x="528873" y="38359"/>
                  </a:cubicBezTo>
                  <a:cubicBezTo>
                    <a:pt x="528873" y="34406"/>
                    <a:pt x="525508" y="33060"/>
                    <a:pt x="522479" y="31293"/>
                  </a:cubicBezTo>
                  <a:cubicBezTo>
                    <a:pt x="519619" y="29527"/>
                    <a:pt x="518694" y="28181"/>
                    <a:pt x="517095" y="25489"/>
                  </a:cubicBezTo>
                  <a:cubicBezTo>
                    <a:pt x="516675" y="24227"/>
                    <a:pt x="514908" y="24227"/>
                    <a:pt x="514908" y="23302"/>
                  </a:cubicBezTo>
                  <a:cubicBezTo>
                    <a:pt x="514908" y="22376"/>
                    <a:pt x="515329" y="22376"/>
                    <a:pt x="515329" y="22040"/>
                  </a:cubicBezTo>
                  <a:cubicBezTo>
                    <a:pt x="515329" y="18927"/>
                    <a:pt x="512385" y="18507"/>
                    <a:pt x="509945" y="16740"/>
                  </a:cubicBezTo>
                  <a:cubicBezTo>
                    <a:pt x="508683" y="15815"/>
                    <a:pt x="507842" y="14974"/>
                    <a:pt x="506076" y="14048"/>
                  </a:cubicBezTo>
                  <a:cubicBezTo>
                    <a:pt x="504814" y="13123"/>
                    <a:pt x="502711" y="13123"/>
                    <a:pt x="502711" y="11861"/>
                  </a:cubicBezTo>
                  <a:cubicBezTo>
                    <a:pt x="502711" y="9674"/>
                    <a:pt x="502711" y="7487"/>
                    <a:pt x="500944" y="7487"/>
                  </a:cubicBezTo>
                  <a:cubicBezTo>
                    <a:pt x="498841" y="7487"/>
                    <a:pt x="497579" y="7907"/>
                    <a:pt x="495560" y="7907"/>
                  </a:cubicBezTo>
                  <a:cubicBezTo>
                    <a:pt x="491270" y="7907"/>
                    <a:pt x="488746" y="4458"/>
                    <a:pt x="487569" y="0"/>
                  </a:cubicBezTo>
                  <a:cubicBezTo>
                    <a:pt x="485886" y="841"/>
                    <a:pt x="485045" y="1766"/>
                    <a:pt x="483783" y="2692"/>
                  </a:cubicBezTo>
                  <a:lnTo>
                    <a:pt x="480418" y="1346"/>
                  </a:lnTo>
                  <a:lnTo>
                    <a:pt x="479577" y="1346"/>
                  </a:lnTo>
                  <a:cubicBezTo>
                    <a:pt x="481764" y="4458"/>
                    <a:pt x="482521" y="6645"/>
                    <a:pt x="485045" y="7907"/>
                  </a:cubicBezTo>
                  <a:lnTo>
                    <a:pt x="484624" y="8833"/>
                  </a:lnTo>
                  <a:lnTo>
                    <a:pt x="480839" y="8833"/>
                  </a:lnTo>
                  <a:cubicBezTo>
                    <a:pt x="480839" y="12366"/>
                    <a:pt x="479157" y="14637"/>
                    <a:pt x="476212" y="16824"/>
                  </a:cubicBezTo>
                  <a:cubicBezTo>
                    <a:pt x="474951" y="17245"/>
                    <a:pt x="474951" y="19011"/>
                    <a:pt x="473689" y="19011"/>
                  </a:cubicBezTo>
                  <a:cubicBezTo>
                    <a:pt x="470324" y="19011"/>
                    <a:pt x="470324" y="14637"/>
                    <a:pt x="470324" y="11020"/>
                  </a:cubicBezTo>
                  <a:cubicBezTo>
                    <a:pt x="470324" y="6141"/>
                    <a:pt x="470744" y="10094"/>
                    <a:pt x="467464" y="11945"/>
                  </a:cubicBezTo>
                  <a:cubicBezTo>
                    <a:pt x="466202" y="12786"/>
                    <a:pt x="464099" y="12366"/>
                    <a:pt x="464099" y="14132"/>
                  </a:cubicBezTo>
                  <a:cubicBezTo>
                    <a:pt x="464099" y="15394"/>
                    <a:pt x="466202" y="15394"/>
                    <a:pt x="466622" y="16824"/>
                  </a:cubicBezTo>
                  <a:cubicBezTo>
                    <a:pt x="464519" y="17245"/>
                    <a:pt x="463678" y="19011"/>
                    <a:pt x="461996" y="19011"/>
                  </a:cubicBezTo>
                  <a:cubicBezTo>
                    <a:pt x="456949" y="19011"/>
                    <a:pt x="461575" y="12786"/>
                    <a:pt x="455687" y="19432"/>
                  </a:cubicBezTo>
                  <a:lnTo>
                    <a:pt x="456023" y="21199"/>
                  </a:lnTo>
                  <a:cubicBezTo>
                    <a:pt x="455266" y="22460"/>
                    <a:pt x="453500" y="23386"/>
                    <a:pt x="453500" y="25152"/>
                  </a:cubicBezTo>
                  <a:cubicBezTo>
                    <a:pt x="453500" y="26498"/>
                    <a:pt x="454341" y="27003"/>
                    <a:pt x="454341" y="28265"/>
                  </a:cubicBezTo>
                  <a:cubicBezTo>
                    <a:pt x="454341" y="30115"/>
                    <a:pt x="451817" y="29611"/>
                    <a:pt x="450135" y="30115"/>
                  </a:cubicBezTo>
                  <a:cubicBezTo>
                    <a:pt x="450555" y="31377"/>
                    <a:pt x="450555" y="32303"/>
                    <a:pt x="450976" y="33564"/>
                  </a:cubicBezTo>
                  <a:lnTo>
                    <a:pt x="450555" y="33144"/>
                  </a:lnTo>
                  <a:cubicBezTo>
                    <a:pt x="449714" y="31882"/>
                    <a:pt x="448452" y="31882"/>
                    <a:pt x="448032" y="30452"/>
                  </a:cubicBezTo>
                  <a:cubicBezTo>
                    <a:pt x="447190" y="29611"/>
                    <a:pt x="447611" y="27423"/>
                    <a:pt x="445929" y="27423"/>
                  </a:cubicBezTo>
                  <a:cubicBezTo>
                    <a:pt x="440461" y="27423"/>
                    <a:pt x="441638" y="36677"/>
                    <a:pt x="441638" y="21619"/>
                  </a:cubicBezTo>
                  <a:lnTo>
                    <a:pt x="442059" y="21199"/>
                  </a:lnTo>
                  <a:cubicBezTo>
                    <a:pt x="442059" y="19432"/>
                    <a:pt x="440377" y="19432"/>
                    <a:pt x="439199" y="18507"/>
                  </a:cubicBezTo>
                  <a:lnTo>
                    <a:pt x="439199" y="26498"/>
                  </a:lnTo>
                  <a:cubicBezTo>
                    <a:pt x="439199" y="28265"/>
                    <a:pt x="439199" y="29190"/>
                    <a:pt x="438778" y="30872"/>
                  </a:cubicBezTo>
                  <a:cubicBezTo>
                    <a:pt x="436255" y="30872"/>
                    <a:pt x="434152" y="30872"/>
                    <a:pt x="432890" y="33564"/>
                  </a:cubicBezTo>
                  <a:cubicBezTo>
                    <a:pt x="432469" y="33144"/>
                    <a:pt x="432469" y="32639"/>
                    <a:pt x="432133" y="32639"/>
                  </a:cubicBezTo>
                  <a:lnTo>
                    <a:pt x="432133" y="31798"/>
                  </a:lnTo>
                  <a:lnTo>
                    <a:pt x="430366" y="31798"/>
                  </a:lnTo>
                  <a:cubicBezTo>
                    <a:pt x="429945" y="31798"/>
                    <a:pt x="429609" y="31377"/>
                    <a:pt x="429104" y="31377"/>
                  </a:cubicBezTo>
                  <a:cubicBezTo>
                    <a:pt x="428600" y="31377"/>
                    <a:pt x="428684" y="31798"/>
                    <a:pt x="428263" y="31798"/>
                  </a:cubicBezTo>
                  <a:cubicBezTo>
                    <a:pt x="428684" y="34490"/>
                    <a:pt x="424898" y="34826"/>
                    <a:pt x="424898" y="37518"/>
                  </a:cubicBezTo>
                  <a:cubicBezTo>
                    <a:pt x="424898" y="40210"/>
                    <a:pt x="427422" y="41556"/>
                    <a:pt x="429525" y="41556"/>
                  </a:cubicBezTo>
                  <a:cubicBezTo>
                    <a:pt x="429525" y="41977"/>
                    <a:pt x="429861" y="41977"/>
                    <a:pt x="429861" y="42481"/>
                  </a:cubicBezTo>
                  <a:cubicBezTo>
                    <a:pt x="429861" y="43743"/>
                    <a:pt x="429104" y="44669"/>
                    <a:pt x="428179" y="45510"/>
                  </a:cubicBezTo>
                  <a:lnTo>
                    <a:pt x="428600" y="46435"/>
                  </a:lnTo>
                  <a:cubicBezTo>
                    <a:pt x="429020" y="46435"/>
                    <a:pt x="429020" y="46856"/>
                    <a:pt x="429441" y="46856"/>
                  </a:cubicBezTo>
                  <a:cubicBezTo>
                    <a:pt x="429777" y="46856"/>
                    <a:pt x="430198" y="46435"/>
                    <a:pt x="430703" y="45930"/>
                  </a:cubicBezTo>
                  <a:cubicBezTo>
                    <a:pt x="431123" y="46351"/>
                    <a:pt x="431544" y="47192"/>
                    <a:pt x="431964" y="47192"/>
                  </a:cubicBezTo>
                  <a:cubicBezTo>
                    <a:pt x="432721" y="47192"/>
                    <a:pt x="433226" y="47613"/>
                    <a:pt x="433647" y="47613"/>
                  </a:cubicBezTo>
                  <a:cubicBezTo>
                    <a:pt x="432806" y="48033"/>
                    <a:pt x="432385" y="48538"/>
                    <a:pt x="432385" y="49464"/>
                  </a:cubicBezTo>
                  <a:cubicBezTo>
                    <a:pt x="432385" y="50725"/>
                    <a:pt x="434152" y="51230"/>
                    <a:pt x="435329" y="52492"/>
                  </a:cubicBezTo>
                  <a:cubicBezTo>
                    <a:pt x="433647" y="52912"/>
                    <a:pt x="432806" y="53838"/>
                    <a:pt x="431123" y="53838"/>
                  </a:cubicBezTo>
                  <a:cubicBezTo>
                    <a:pt x="428600" y="53838"/>
                    <a:pt x="427338" y="52071"/>
                    <a:pt x="425235" y="51146"/>
                  </a:cubicBezTo>
                  <a:cubicBezTo>
                    <a:pt x="425235" y="52071"/>
                    <a:pt x="424814" y="52408"/>
                    <a:pt x="424394" y="53333"/>
                  </a:cubicBezTo>
                  <a:cubicBezTo>
                    <a:pt x="420187" y="51146"/>
                    <a:pt x="420187" y="43154"/>
                    <a:pt x="419767" y="52071"/>
                  </a:cubicBezTo>
                  <a:lnTo>
                    <a:pt x="415140" y="52071"/>
                  </a:lnTo>
                  <a:lnTo>
                    <a:pt x="415140" y="54258"/>
                  </a:lnTo>
                  <a:lnTo>
                    <a:pt x="416822" y="54258"/>
                  </a:lnTo>
                  <a:cubicBezTo>
                    <a:pt x="418084" y="54258"/>
                    <a:pt x="418926" y="53333"/>
                    <a:pt x="420608" y="53333"/>
                  </a:cubicBezTo>
                  <a:cubicBezTo>
                    <a:pt x="418926" y="54679"/>
                    <a:pt x="418084" y="55520"/>
                    <a:pt x="416402" y="56025"/>
                  </a:cubicBezTo>
                  <a:cubicBezTo>
                    <a:pt x="416822" y="57791"/>
                    <a:pt x="418084" y="58212"/>
                    <a:pt x="419767" y="58212"/>
                  </a:cubicBezTo>
                  <a:cubicBezTo>
                    <a:pt x="420524" y="58212"/>
                    <a:pt x="421449" y="57287"/>
                    <a:pt x="422290" y="57287"/>
                  </a:cubicBezTo>
                  <a:cubicBezTo>
                    <a:pt x="421870" y="58633"/>
                    <a:pt x="421870" y="59474"/>
                    <a:pt x="421870" y="61324"/>
                  </a:cubicBezTo>
                  <a:cubicBezTo>
                    <a:pt x="421870" y="63512"/>
                    <a:pt x="428600" y="69653"/>
                    <a:pt x="426917" y="69316"/>
                  </a:cubicBezTo>
                  <a:cubicBezTo>
                    <a:pt x="423552" y="67970"/>
                    <a:pt x="424394" y="65783"/>
                    <a:pt x="421870" y="65783"/>
                  </a:cubicBezTo>
                  <a:cubicBezTo>
                    <a:pt x="421029" y="65783"/>
                    <a:pt x="420608" y="66708"/>
                    <a:pt x="420187" y="67129"/>
                  </a:cubicBezTo>
                  <a:cubicBezTo>
                    <a:pt x="418421" y="66204"/>
                    <a:pt x="417243" y="66204"/>
                    <a:pt x="416822" y="64858"/>
                  </a:cubicBezTo>
                  <a:cubicBezTo>
                    <a:pt x="415981" y="63596"/>
                    <a:pt x="417243" y="61829"/>
                    <a:pt x="416402" y="60483"/>
                  </a:cubicBezTo>
                  <a:cubicBezTo>
                    <a:pt x="415140" y="59558"/>
                    <a:pt x="413878" y="60904"/>
                    <a:pt x="412616" y="60483"/>
                  </a:cubicBezTo>
                  <a:cubicBezTo>
                    <a:pt x="411775" y="60063"/>
                    <a:pt x="411775" y="59221"/>
                    <a:pt x="410850" y="59221"/>
                  </a:cubicBezTo>
                  <a:cubicBezTo>
                    <a:pt x="408747" y="59221"/>
                    <a:pt x="408410" y="61913"/>
                    <a:pt x="406644" y="62670"/>
                  </a:cubicBezTo>
                  <a:lnTo>
                    <a:pt x="407485" y="64521"/>
                  </a:lnTo>
                  <a:cubicBezTo>
                    <a:pt x="406644" y="65783"/>
                    <a:pt x="405803" y="66708"/>
                    <a:pt x="404120" y="66708"/>
                  </a:cubicBezTo>
                  <a:cubicBezTo>
                    <a:pt x="403363" y="66708"/>
                    <a:pt x="402438" y="65783"/>
                    <a:pt x="402017" y="64858"/>
                  </a:cubicBezTo>
                  <a:cubicBezTo>
                    <a:pt x="401260" y="66708"/>
                    <a:pt x="398652" y="66708"/>
                    <a:pt x="398652" y="68896"/>
                  </a:cubicBezTo>
                  <a:cubicBezTo>
                    <a:pt x="398652" y="69316"/>
                    <a:pt x="398989" y="69737"/>
                    <a:pt x="399409" y="70157"/>
                  </a:cubicBezTo>
                  <a:cubicBezTo>
                    <a:pt x="397727" y="71503"/>
                    <a:pt x="397306" y="73690"/>
                    <a:pt x="397306" y="75962"/>
                  </a:cubicBezTo>
                  <a:cubicBezTo>
                    <a:pt x="397306" y="77224"/>
                    <a:pt x="398147" y="78149"/>
                    <a:pt x="399409" y="78149"/>
                  </a:cubicBezTo>
                  <a:lnTo>
                    <a:pt x="401176" y="78149"/>
                  </a:lnTo>
                  <a:lnTo>
                    <a:pt x="401176" y="81261"/>
                  </a:lnTo>
                  <a:cubicBezTo>
                    <a:pt x="405803" y="79074"/>
                    <a:pt x="406560" y="75962"/>
                    <a:pt x="410009" y="72429"/>
                  </a:cubicBezTo>
                  <a:lnTo>
                    <a:pt x="410009" y="76887"/>
                  </a:lnTo>
                  <a:cubicBezTo>
                    <a:pt x="410009" y="79579"/>
                    <a:pt x="405382" y="79579"/>
                    <a:pt x="405382" y="82607"/>
                  </a:cubicBezTo>
                  <a:cubicBezTo>
                    <a:pt x="405382" y="83028"/>
                    <a:pt x="405803" y="83533"/>
                    <a:pt x="405803" y="84374"/>
                  </a:cubicBezTo>
                  <a:cubicBezTo>
                    <a:pt x="404961" y="84794"/>
                    <a:pt x="404036" y="85299"/>
                    <a:pt x="404036" y="86225"/>
                  </a:cubicBezTo>
                  <a:cubicBezTo>
                    <a:pt x="404036" y="87486"/>
                    <a:pt x="404877" y="87991"/>
                    <a:pt x="404877" y="89337"/>
                  </a:cubicBezTo>
                  <a:cubicBezTo>
                    <a:pt x="404877" y="90599"/>
                    <a:pt x="403195" y="90599"/>
                    <a:pt x="402354" y="92029"/>
                  </a:cubicBezTo>
                  <a:cubicBezTo>
                    <a:pt x="401092" y="91608"/>
                    <a:pt x="400671" y="91104"/>
                    <a:pt x="399409" y="90683"/>
                  </a:cubicBezTo>
                  <a:cubicBezTo>
                    <a:pt x="398989" y="93375"/>
                    <a:pt x="398989" y="94637"/>
                    <a:pt x="398147" y="96824"/>
                  </a:cubicBezTo>
                  <a:cubicBezTo>
                    <a:pt x="398905" y="97245"/>
                    <a:pt x="399409" y="97749"/>
                    <a:pt x="400251" y="97749"/>
                  </a:cubicBezTo>
                  <a:cubicBezTo>
                    <a:pt x="401092" y="97749"/>
                    <a:pt x="401512" y="97328"/>
                    <a:pt x="402354" y="97328"/>
                  </a:cubicBezTo>
                  <a:cubicBezTo>
                    <a:pt x="403615" y="97328"/>
                    <a:pt x="415813" y="101366"/>
                    <a:pt x="413373" y="102208"/>
                  </a:cubicBezTo>
                  <a:cubicBezTo>
                    <a:pt x="408663" y="100946"/>
                    <a:pt x="406139" y="102208"/>
                    <a:pt x="401933" y="101366"/>
                  </a:cubicBezTo>
                  <a:cubicBezTo>
                    <a:pt x="399830" y="100946"/>
                    <a:pt x="398568" y="99179"/>
                    <a:pt x="396549" y="99179"/>
                  </a:cubicBezTo>
                  <a:lnTo>
                    <a:pt x="396129" y="99600"/>
                  </a:lnTo>
                  <a:cubicBezTo>
                    <a:pt x="396129" y="101451"/>
                    <a:pt x="397390" y="102712"/>
                    <a:pt x="398989" y="102712"/>
                  </a:cubicBezTo>
                  <a:cubicBezTo>
                    <a:pt x="398989" y="104058"/>
                    <a:pt x="398652" y="104563"/>
                    <a:pt x="398232" y="105404"/>
                  </a:cubicBezTo>
                  <a:cubicBezTo>
                    <a:pt x="396970" y="104563"/>
                    <a:pt x="396549" y="103217"/>
                    <a:pt x="394867" y="103217"/>
                  </a:cubicBezTo>
                  <a:cubicBezTo>
                    <a:pt x="394446" y="103217"/>
                    <a:pt x="394110" y="103638"/>
                    <a:pt x="393605" y="103638"/>
                  </a:cubicBezTo>
                  <a:cubicBezTo>
                    <a:pt x="390661" y="103638"/>
                    <a:pt x="390661" y="100105"/>
                    <a:pt x="388978" y="97833"/>
                  </a:cubicBezTo>
                  <a:cubicBezTo>
                    <a:pt x="387212" y="95646"/>
                    <a:pt x="385109" y="96067"/>
                    <a:pt x="382585" y="96067"/>
                  </a:cubicBezTo>
                  <a:lnTo>
                    <a:pt x="381828" y="96067"/>
                  </a:lnTo>
                  <a:cubicBezTo>
                    <a:pt x="382585" y="97833"/>
                    <a:pt x="383931" y="97833"/>
                    <a:pt x="383931" y="99516"/>
                  </a:cubicBezTo>
                  <a:cubicBezTo>
                    <a:pt x="383931" y="99936"/>
                    <a:pt x="383510" y="99936"/>
                    <a:pt x="383510" y="100441"/>
                  </a:cubicBezTo>
                  <a:lnTo>
                    <a:pt x="381828" y="100441"/>
                  </a:lnTo>
                  <a:cubicBezTo>
                    <a:pt x="380987" y="100441"/>
                    <a:pt x="380566" y="101366"/>
                    <a:pt x="379725" y="101366"/>
                  </a:cubicBezTo>
                  <a:cubicBezTo>
                    <a:pt x="378884" y="101366"/>
                    <a:pt x="378463" y="100020"/>
                    <a:pt x="377622" y="99516"/>
                  </a:cubicBezTo>
                  <a:cubicBezTo>
                    <a:pt x="375855" y="97328"/>
                    <a:pt x="373752" y="96487"/>
                    <a:pt x="373752" y="93375"/>
                  </a:cubicBezTo>
                  <a:cubicBezTo>
                    <a:pt x="373752" y="92954"/>
                    <a:pt x="374173" y="92450"/>
                    <a:pt x="374173" y="91608"/>
                  </a:cubicBezTo>
                  <a:lnTo>
                    <a:pt x="372490" y="92029"/>
                  </a:lnTo>
                  <a:cubicBezTo>
                    <a:pt x="372070" y="92029"/>
                    <a:pt x="372070" y="91608"/>
                    <a:pt x="371649" y="91608"/>
                  </a:cubicBezTo>
                  <a:cubicBezTo>
                    <a:pt x="371229" y="91608"/>
                    <a:pt x="371229" y="92029"/>
                    <a:pt x="370808" y="92029"/>
                  </a:cubicBezTo>
                  <a:cubicBezTo>
                    <a:pt x="370808" y="93291"/>
                    <a:pt x="370472" y="93796"/>
                    <a:pt x="370472" y="95057"/>
                  </a:cubicBezTo>
                  <a:cubicBezTo>
                    <a:pt x="370472" y="95478"/>
                    <a:pt x="370808" y="95478"/>
                    <a:pt x="370808" y="95983"/>
                  </a:cubicBezTo>
                  <a:lnTo>
                    <a:pt x="373332" y="95983"/>
                  </a:lnTo>
                  <a:lnTo>
                    <a:pt x="373332" y="100862"/>
                  </a:lnTo>
                  <a:cubicBezTo>
                    <a:pt x="372575" y="101787"/>
                    <a:pt x="370808" y="101787"/>
                    <a:pt x="370808" y="102628"/>
                  </a:cubicBezTo>
                  <a:cubicBezTo>
                    <a:pt x="370808" y="103974"/>
                    <a:pt x="371649" y="104479"/>
                    <a:pt x="371649" y="105320"/>
                  </a:cubicBezTo>
                  <a:cubicBezTo>
                    <a:pt x="371649" y="107087"/>
                    <a:pt x="369126" y="107507"/>
                    <a:pt x="369126" y="109274"/>
                  </a:cubicBezTo>
                  <a:cubicBezTo>
                    <a:pt x="369126" y="111966"/>
                    <a:pt x="372490" y="110620"/>
                    <a:pt x="374173" y="111966"/>
                  </a:cubicBezTo>
                  <a:cubicBezTo>
                    <a:pt x="375855" y="114237"/>
                    <a:pt x="375435" y="116929"/>
                    <a:pt x="376276" y="119453"/>
                  </a:cubicBezTo>
                  <a:cubicBezTo>
                    <a:pt x="377538" y="119032"/>
                    <a:pt x="378799" y="119453"/>
                    <a:pt x="380145" y="118612"/>
                  </a:cubicBezTo>
                  <a:lnTo>
                    <a:pt x="380903" y="119032"/>
                  </a:lnTo>
                  <a:cubicBezTo>
                    <a:pt x="379641" y="120294"/>
                    <a:pt x="378799" y="120798"/>
                    <a:pt x="377117" y="121640"/>
                  </a:cubicBezTo>
                  <a:cubicBezTo>
                    <a:pt x="379220" y="124752"/>
                    <a:pt x="381323" y="126603"/>
                    <a:pt x="376696" y="123490"/>
                  </a:cubicBezTo>
                  <a:cubicBezTo>
                    <a:pt x="377958" y="126939"/>
                    <a:pt x="378799" y="129295"/>
                    <a:pt x="380903" y="132323"/>
                  </a:cubicBezTo>
                  <a:lnTo>
                    <a:pt x="380482" y="133249"/>
                  </a:lnTo>
                  <a:cubicBezTo>
                    <a:pt x="377958" y="131482"/>
                    <a:pt x="376276" y="130557"/>
                    <a:pt x="374173" y="128874"/>
                  </a:cubicBezTo>
                  <a:cubicBezTo>
                    <a:pt x="372490" y="127024"/>
                    <a:pt x="372911" y="123995"/>
                    <a:pt x="370808" y="123995"/>
                  </a:cubicBezTo>
                  <a:cubicBezTo>
                    <a:pt x="369546" y="123995"/>
                    <a:pt x="370472" y="126182"/>
                    <a:pt x="370472" y="127444"/>
                  </a:cubicBezTo>
                  <a:cubicBezTo>
                    <a:pt x="370472" y="129631"/>
                    <a:pt x="372154" y="130557"/>
                    <a:pt x="372995" y="132744"/>
                  </a:cubicBezTo>
                  <a:cubicBezTo>
                    <a:pt x="372575" y="133164"/>
                    <a:pt x="371733" y="133669"/>
                    <a:pt x="370808" y="133669"/>
                  </a:cubicBezTo>
                  <a:cubicBezTo>
                    <a:pt x="370808" y="135856"/>
                    <a:pt x="368705" y="136361"/>
                    <a:pt x="368705" y="138548"/>
                  </a:cubicBezTo>
                  <a:cubicBezTo>
                    <a:pt x="368705" y="139389"/>
                    <a:pt x="369126" y="139810"/>
                    <a:pt x="369126" y="140735"/>
                  </a:cubicBezTo>
                  <a:cubicBezTo>
                    <a:pt x="369126" y="143427"/>
                    <a:pt x="367864" y="154363"/>
                    <a:pt x="367864" y="146456"/>
                  </a:cubicBezTo>
                  <a:cubicBezTo>
                    <a:pt x="367864" y="145194"/>
                    <a:pt x="368284" y="144268"/>
                    <a:pt x="368284" y="143007"/>
                  </a:cubicBezTo>
                  <a:cubicBezTo>
                    <a:pt x="368284" y="139894"/>
                    <a:pt x="365761" y="139053"/>
                    <a:pt x="363237" y="137202"/>
                  </a:cubicBezTo>
                  <a:cubicBezTo>
                    <a:pt x="360293" y="134090"/>
                    <a:pt x="361470" y="130641"/>
                    <a:pt x="359367" y="126687"/>
                  </a:cubicBezTo>
                  <a:cubicBezTo>
                    <a:pt x="357685" y="123575"/>
                    <a:pt x="353984" y="123154"/>
                    <a:pt x="353984" y="119537"/>
                  </a:cubicBezTo>
                  <a:cubicBezTo>
                    <a:pt x="353984" y="118275"/>
                    <a:pt x="354320" y="117770"/>
                    <a:pt x="354320" y="116508"/>
                  </a:cubicBezTo>
                  <a:lnTo>
                    <a:pt x="354320" y="115162"/>
                  </a:lnTo>
                  <a:cubicBezTo>
                    <a:pt x="353563" y="114742"/>
                    <a:pt x="353058" y="114742"/>
                    <a:pt x="351797" y="114321"/>
                  </a:cubicBezTo>
                  <a:lnTo>
                    <a:pt x="352217" y="112471"/>
                  </a:lnTo>
                  <a:cubicBezTo>
                    <a:pt x="350535" y="110283"/>
                    <a:pt x="347170" y="109779"/>
                    <a:pt x="347170" y="106750"/>
                  </a:cubicBezTo>
                  <a:cubicBezTo>
                    <a:pt x="347170" y="104563"/>
                    <a:pt x="348432" y="103638"/>
                    <a:pt x="348936" y="101451"/>
                  </a:cubicBezTo>
                  <a:lnTo>
                    <a:pt x="345992" y="101451"/>
                  </a:lnTo>
                  <a:cubicBezTo>
                    <a:pt x="345151" y="104563"/>
                    <a:pt x="343468" y="105825"/>
                    <a:pt x="340524" y="106330"/>
                  </a:cubicBezTo>
                  <a:cubicBezTo>
                    <a:pt x="340945" y="108096"/>
                    <a:pt x="340524" y="109022"/>
                    <a:pt x="340524" y="110704"/>
                  </a:cubicBezTo>
                  <a:cubicBezTo>
                    <a:pt x="340524" y="112386"/>
                    <a:pt x="341786" y="113396"/>
                    <a:pt x="343468" y="113817"/>
                  </a:cubicBezTo>
                  <a:cubicBezTo>
                    <a:pt x="343048" y="114237"/>
                    <a:pt x="343048" y="114658"/>
                    <a:pt x="343048" y="115078"/>
                  </a:cubicBezTo>
                  <a:cubicBezTo>
                    <a:pt x="340524" y="115078"/>
                    <a:pt x="338842" y="116003"/>
                    <a:pt x="336318" y="116003"/>
                  </a:cubicBezTo>
                  <a:cubicBezTo>
                    <a:pt x="335056" y="116003"/>
                    <a:pt x="334636" y="114658"/>
                    <a:pt x="333795" y="114237"/>
                  </a:cubicBezTo>
                  <a:cubicBezTo>
                    <a:pt x="333374" y="117266"/>
                    <a:pt x="333795" y="118612"/>
                    <a:pt x="333795" y="121640"/>
                  </a:cubicBezTo>
                  <a:lnTo>
                    <a:pt x="333037" y="121640"/>
                  </a:lnTo>
                  <a:cubicBezTo>
                    <a:pt x="328747" y="122565"/>
                    <a:pt x="327569" y="125173"/>
                    <a:pt x="325046" y="128790"/>
                  </a:cubicBezTo>
                  <a:cubicBezTo>
                    <a:pt x="322943" y="132239"/>
                    <a:pt x="320419" y="134006"/>
                    <a:pt x="320419" y="138044"/>
                  </a:cubicBezTo>
                  <a:cubicBezTo>
                    <a:pt x="320419" y="143343"/>
                    <a:pt x="321681" y="146372"/>
                    <a:pt x="322102" y="151335"/>
                  </a:cubicBezTo>
                  <a:cubicBezTo>
                    <a:pt x="322102" y="154363"/>
                    <a:pt x="320840" y="156550"/>
                    <a:pt x="322943" y="158737"/>
                  </a:cubicBezTo>
                  <a:cubicBezTo>
                    <a:pt x="324205" y="160588"/>
                    <a:pt x="328831" y="159158"/>
                    <a:pt x="328831" y="161850"/>
                  </a:cubicBezTo>
                  <a:cubicBezTo>
                    <a:pt x="328831" y="167654"/>
                    <a:pt x="323784" y="170262"/>
                    <a:pt x="318737" y="173374"/>
                  </a:cubicBezTo>
                  <a:cubicBezTo>
                    <a:pt x="314951" y="175562"/>
                    <a:pt x="313353" y="178254"/>
                    <a:pt x="308726" y="179095"/>
                  </a:cubicBezTo>
                  <a:cubicBezTo>
                    <a:pt x="306960" y="179515"/>
                    <a:pt x="307464" y="181787"/>
                    <a:pt x="306203" y="182628"/>
                  </a:cubicBezTo>
                  <a:cubicBezTo>
                    <a:pt x="306623" y="183890"/>
                    <a:pt x="307464" y="184394"/>
                    <a:pt x="307464" y="186077"/>
                  </a:cubicBezTo>
                  <a:cubicBezTo>
                    <a:pt x="307464" y="187759"/>
                    <a:pt x="305782" y="189189"/>
                    <a:pt x="304100" y="189189"/>
                  </a:cubicBezTo>
                  <a:cubicBezTo>
                    <a:pt x="303679" y="189189"/>
                    <a:pt x="303258" y="189610"/>
                    <a:pt x="302417" y="189610"/>
                  </a:cubicBezTo>
                  <a:cubicBezTo>
                    <a:pt x="302644" y="190224"/>
                    <a:pt x="302754" y="190813"/>
                    <a:pt x="302754" y="191377"/>
                  </a:cubicBezTo>
                  <a:cubicBezTo>
                    <a:pt x="302754" y="198863"/>
                    <a:pt x="298968" y="202480"/>
                    <a:pt x="295183" y="208117"/>
                  </a:cubicBezTo>
                  <a:cubicBezTo>
                    <a:pt x="290640" y="213921"/>
                    <a:pt x="288116" y="217875"/>
                    <a:pt x="282144" y="222333"/>
                  </a:cubicBezTo>
                  <a:cubicBezTo>
                    <a:pt x="276255" y="226287"/>
                    <a:pt x="272049" y="227633"/>
                    <a:pt x="265320" y="230325"/>
                  </a:cubicBezTo>
                  <a:cubicBezTo>
                    <a:pt x="259431" y="232933"/>
                    <a:pt x="256487" y="236045"/>
                    <a:pt x="250178" y="236045"/>
                  </a:cubicBezTo>
                  <a:lnTo>
                    <a:pt x="245551" y="236045"/>
                  </a:lnTo>
                  <a:cubicBezTo>
                    <a:pt x="238737" y="236045"/>
                    <a:pt x="235456" y="241345"/>
                    <a:pt x="228727" y="241345"/>
                  </a:cubicBezTo>
                  <a:cubicBezTo>
                    <a:pt x="224100" y="241345"/>
                    <a:pt x="221997" y="237391"/>
                    <a:pt x="217370" y="237391"/>
                  </a:cubicBezTo>
                  <a:cubicBezTo>
                    <a:pt x="216529" y="237391"/>
                    <a:pt x="216529" y="237812"/>
                    <a:pt x="216108" y="237812"/>
                  </a:cubicBezTo>
                  <a:lnTo>
                    <a:pt x="216108" y="239999"/>
                  </a:lnTo>
                  <a:cubicBezTo>
                    <a:pt x="214847" y="239999"/>
                    <a:pt x="214426" y="239073"/>
                    <a:pt x="213585" y="239073"/>
                  </a:cubicBezTo>
                  <a:cubicBezTo>
                    <a:pt x="208537" y="239073"/>
                    <a:pt x="208201" y="244878"/>
                    <a:pt x="204331" y="248327"/>
                  </a:cubicBezTo>
                  <a:cubicBezTo>
                    <a:pt x="200546" y="251439"/>
                    <a:pt x="197181" y="252365"/>
                    <a:pt x="192554" y="252365"/>
                  </a:cubicBezTo>
                  <a:lnTo>
                    <a:pt x="189189" y="252365"/>
                  </a:lnTo>
                  <a:cubicBezTo>
                    <a:pt x="184226" y="253627"/>
                    <a:pt x="180357" y="253627"/>
                    <a:pt x="175730" y="256319"/>
                  </a:cubicBezTo>
                  <a:cubicBezTo>
                    <a:pt x="172365" y="258505"/>
                    <a:pt x="171524" y="261197"/>
                    <a:pt x="168580" y="263385"/>
                  </a:cubicBezTo>
                  <a:cubicBezTo>
                    <a:pt x="163532" y="267422"/>
                    <a:pt x="159326" y="268684"/>
                    <a:pt x="153017" y="268684"/>
                  </a:cubicBezTo>
                  <a:cubicBezTo>
                    <a:pt x="149652" y="268684"/>
                    <a:pt x="148390" y="264310"/>
                    <a:pt x="144521" y="264310"/>
                  </a:cubicBezTo>
                  <a:cubicBezTo>
                    <a:pt x="140315" y="264310"/>
                    <a:pt x="138212" y="267759"/>
                    <a:pt x="134510" y="267759"/>
                  </a:cubicBezTo>
                  <a:cubicBezTo>
                    <a:pt x="133249" y="267759"/>
                    <a:pt x="132744" y="267338"/>
                    <a:pt x="131987" y="267338"/>
                  </a:cubicBezTo>
                  <a:cubicBezTo>
                    <a:pt x="131987" y="266918"/>
                    <a:pt x="134090" y="258926"/>
                    <a:pt x="132744" y="261534"/>
                  </a:cubicBezTo>
                  <a:cubicBezTo>
                    <a:pt x="128117" y="268095"/>
                    <a:pt x="123070" y="269862"/>
                    <a:pt x="116004" y="273479"/>
                  </a:cubicBezTo>
                  <a:lnTo>
                    <a:pt x="114742" y="272554"/>
                  </a:lnTo>
                  <a:cubicBezTo>
                    <a:pt x="113480" y="274405"/>
                    <a:pt x="113901" y="276592"/>
                    <a:pt x="112218" y="277517"/>
                  </a:cubicBezTo>
                  <a:cubicBezTo>
                    <a:pt x="108853" y="279704"/>
                    <a:pt x="105068" y="279284"/>
                    <a:pt x="102544" y="282312"/>
                  </a:cubicBezTo>
                  <a:cubicBezTo>
                    <a:pt x="97918" y="287275"/>
                    <a:pt x="96235" y="290724"/>
                    <a:pt x="91188" y="295098"/>
                  </a:cubicBezTo>
                  <a:cubicBezTo>
                    <a:pt x="84037" y="301744"/>
                    <a:pt x="78570" y="303511"/>
                    <a:pt x="69316" y="305698"/>
                  </a:cubicBezTo>
                  <a:cubicBezTo>
                    <a:pt x="66793" y="306623"/>
                    <a:pt x="65951" y="309231"/>
                    <a:pt x="63428" y="309231"/>
                  </a:cubicBezTo>
                  <a:lnTo>
                    <a:pt x="60904" y="309231"/>
                  </a:lnTo>
                  <a:cubicBezTo>
                    <a:pt x="59222" y="311923"/>
                    <a:pt x="59642" y="314531"/>
                    <a:pt x="57960" y="317138"/>
                  </a:cubicBezTo>
                  <a:cubicBezTo>
                    <a:pt x="56277" y="320251"/>
                    <a:pt x="54174" y="321597"/>
                    <a:pt x="53333" y="325130"/>
                  </a:cubicBezTo>
                  <a:cubicBezTo>
                    <a:pt x="52492" y="329504"/>
                    <a:pt x="52912" y="333122"/>
                    <a:pt x="49548" y="335729"/>
                  </a:cubicBezTo>
                  <a:cubicBezTo>
                    <a:pt x="49127" y="334804"/>
                    <a:pt x="48286" y="334383"/>
                    <a:pt x="47445" y="333963"/>
                  </a:cubicBezTo>
                  <a:cubicBezTo>
                    <a:pt x="46603" y="336150"/>
                    <a:pt x="44921" y="336655"/>
                    <a:pt x="42734" y="337412"/>
                  </a:cubicBezTo>
                  <a:cubicBezTo>
                    <a:pt x="42397" y="336570"/>
                    <a:pt x="41977" y="335645"/>
                    <a:pt x="41977" y="334299"/>
                  </a:cubicBezTo>
                  <a:cubicBezTo>
                    <a:pt x="41977" y="332533"/>
                    <a:pt x="42734" y="331607"/>
                    <a:pt x="42734" y="329420"/>
                  </a:cubicBezTo>
                  <a:lnTo>
                    <a:pt x="40294" y="322354"/>
                  </a:lnTo>
                  <a:cubicBezTo>
                    <a:pt x="40631" y="321092"/>
                    <a:pt x="40631" y="320587"/>
                    <a:pt x="40631" y="319241"/>
                  </a:cubicBezTo>
                  <a:lnTo>
                    <a:pt x="39874" y="314026"/>
                  </a:lnTo>
                  <a:cubicBezTo>
                    <a:pt x="40294" y="312680"/>
                    <a:pt x="41977" y="311839"/>
                    <a:pt x="41977" y="309988"/>
                  </a:cubicBezTo>
                  <a:cubicBezTo>
                    <a:pt x="41977" y="309567"/>
                    <a:pt x="41556" y="308726"/>
                    <a:pt x="41135" y="308726"/>
                  </a:cubicBezTo>
                  <a:cubicBezTo>
                    <a:pt x="37771" y="308726"/>
                    <a:pt x="36929" y="312680"/>
                    <a:pt x="35752" y="315792"/>
                  </a:cubicBezTo>
                  <a:cubicBezTo>
                    <a:pt x="34490" y="319241"/>
                    <a:pt x="33649" y="321597"/>
                    <a:pt x="31882" y="324625"/>
                  </a:cubicBezTo>
                  <a:cubicBezTo>
                    <a:pt x="30620" y="327738"/>
                    <a:pt x="30620" y="329504"/>
                    <a:pt x="29779" y="332112"/>
                  </a:cubicBezTo>
                  <a:cubicBezTo>
                    <a:pt x="28517" y="335645"/>
                    <a:pt x="26835" y="337412"/>
                    <a:pt x="26835" y="340945"/>
                  </a:cubicBezTo>
                  <a:cubicBezTo>
                    <a:pt x="26835" y="347506"/>
                    <a:pt x="31882" y="350619"/>
                    <a:pt x="31882" y="357264"/>
                  </a:cubicBezTo>
                  <a:cubicBezTo>
                    <a:pt x="31882" y="359031"/>
                    <a:pt x="30200" y="359451"/>
                    <a:pt x="30200" y="361302"/>
                  </a:cubicBezTo>
                  <a:cubicBezTo>
                    <a:pt x="30200" y="363994"/>
                    <a:pt x="30620" y="365256"/>
                    <a:pt x="30620" y="367443"/>
                  </a:cubicBezTo>
                  <a:cubicBezTo>
                    <a:pt x="30620" y="373668"/>
                    <a:pt x="26751" y="376276"/>
                    <a:pt x="23891" y="381996"/>
                  </a:cubicBezTo>
                  <a:cubicBezTo>
                    <a:pt x="19180" y="391249"/>
                    <a:pt x="16740" y="397475"/>
                    <a:pt x="16740" y="408074"/>
                  </a:cubicBezTo>
                  <a:cubicBezTo>
                    <a:pt x="16740" y="418673"/>
                    <a:pt x="27676" y="423468"/>
                    <a:pt x="25994" y="434572"/>
                  </a:cubicBezTo>
                  <a:cubicBezTo>
                    <a:pt x="25994" y="436759"/>
                    <a:pt x="25994" y="438946"/>
                    <a:pt x="28097" y="440377"/>
                  </a:cubicBezTo>
                  <a:cubicBezTo>
                    <a:pt x="29779" y="441218"/>
                    <a:pt x="31461" y="441638"/>
                    <a:pt x="32303" y="443405"/>
                  </a:cubicBezTo>
                  <a:cubicBezTo>
                    <a:pt x="34406" y="449630"/>
                    <a:pt x="34406" y="454004"/>
                    <a:pt x="38191" y="459304"/>
                  </a:cubicBezTo>
                  <a:cubicBezTo>
                    <a:pt x="40631" y="462416"/>
                    <a:pt x="41556" y="464603"/>
                    <a:pt x="44080" y="467295"/>
                  </a:cubicBezTo>
                  <a:cubicBezTo>
                    <a:pt x="45342" y="469483"/>
                    <a:pt x="47445" y="470324"/>
                    <a:pt x="47445" y="472595"/>
                  </a:cubicBezTo>
                  <a:cubicBezTo>
                    <a:pt x="47445" y="473016"/>
                    <a:pt x="46603" y="473436"/>
                    <a:pt x="46603" y="473857"/>
                  </a:cubicBezTo>
                  <a:cubicBezTo>
                    <a:pt x="46603" y="474782"/>
                    <a:pt x="47024" y="475203"/>
                    <a:pt x="47024" y="476044"/>
                  </a:cubicBezTo>
                  <a:cubicBezTo>
                    <a:pt x="47024" y="476465"/>
                    <a:pt x="45762" y="476465"/>
                    <a:pt x="45762" y="476969"/>
                  </a:cubicBezTo>
                  <a:cubicBezTo>
                    <a:pt x="45426" y="478736"/>
                    <a:pt x="45762" y="479661"/>
                    <a:pt x="45762" y="480923"/>
                  </a:cubicBezTo>
                  <a:cubicBezTo>
                    <a:pt x="45426" y="482269"/>
                    <a:pt x="44080" y="482690"/>
                    <a:pt x="44080" y="484456"/>
                  </a:cubicBezTo>
                  <a:cubicBezTo>
                    <a:pt x="44080" y="486223"/>
                    <a:pt x="45342" y="487148"/>
                    <a:pt x="45342" y="488830"/>
                  </a:cubicBezTo>
                  <a:cubicBezTo>
                    <a:pt x="45342" y="491522"/>
                    <a:pt x="43154" y="494635"/>
                    <a:pt x="40294" y="494635"/>
                  </a:cubicBezTo>
                  <a:cubicBezTo>
                    <a:pt x="37771" y="494635"/>
                    <a:pt x="38191" y="491102"/>
                    <a:pt x="36929" y="488830"/>
                  </a:cubicBezTo>
                  <a:cubicBezTo>
                    <a:pt x="35668" y="486139"/>
                    <a:pt x="33985" y="485298"/>
                    <a:pt x="33144" y="482606"/>
                  </a:cubicBezTo>
                  <a:lnTo>
                    <a:pt x="32303" y="482606"/>
                  </a:lnTo>
                  <a:cubicBezTo>
                    <a:pt x="30620" y="484456"/>
                    <a:pt x="28517" y="485298"/>
                    <a:pt x="25573" y="481764"/>
                  </a:cubicBezTo>
                  <a:cubicBezTo>
                    <a:pt x="25573" y="478231"/>
                    <a:pt x="27676" y="475960"/>
                    <a:pt x="27676" y="472511"/>
                  </a:cubicBezTo>
                  <a:cubicBezTo>
                    <a:pt x="27676" y="469819"/>
                    <a:pt x="25573" y="468978"/>
                    <a:pt x="24311" y="466706"/>
                  </a:cubicBezTo>
                  <a:cubicBezTo>
                    <a:pt x="22208" y="463594"/>
                    <a:pt x="21872" y="461828"/>
                    <a:pt x="19264" y="459220"/>
                  </a:cubicBezTo>
                  <a:lnTo>
                    <a:pt x="18002" y="459640"/>
                  </a:lnTo>
                  <a:cubicBezTo>
                    <a:pt x="17581" y="460902"/>
                    <a:pt x="17581" y="461407"/>
                    <a:pt x="17581" y="462753"/>
                  </a:cubicBezTo>
                  <a:lnTo>
                    <a:pt x="17581" y="465360"/>
                  </a:lnTo>
                  <a:cubicBezTo>
                    <a:pt x="17581" y="468473"/>
                    <a:pt x="19684" y="469398"/>
                    <a:pt x="20946" y="472511"/>
                  </a:cubicBezTo>
                  <a:cubicBezTo>
                    <a:pt x="22208" y="476465"/>
                    <a:pt x="22208" y="479072"/>
                    <a:pt x="24732" y="482606"/>
                  </a:cubicBezTo>
                  <a:cubicBezTo>
                    <a:pt x="26498" y="485718"/>
                    <a:pt x="28938" y="486139"/>
                    <a:pt x="31882" y="488410"/>
                  </a:cubicBezTo>
                  <a:cubicBezTo>
                    <a:pt x="33985" y="490176"/>
                    <a:pt x="33649" y="493289"/>
                    <a:pt x="33649" y="496401"/>
                  </a:cubicBezTo>
                  <a:cubicBezTo>
                    <a:pt x="33649" y="498168"/>
                    <a:pt x="32387" y="499093"/>
                    <a:pt x="31461" y="500355"/>
                  </a:cubicBezTo>
                  <a:cubicBezTo>
                    <a:pt x="29779" y="502206"/>
                    <a:pt x="29358" y="504393"/>
                    <a:pt x="27255" y="504393"/>
                  </a:cubicBezTo>
                  <a:cubicBezTo>
                    <a:pt x="25994" y="504393"/>
                    <a:pt x="25573" y="503047"/>
                    <a:pt x="24732" y="502542"/>
                  </a:cubicBezTo>
                  <a:cubicBezTo>
                    <a:pt x="23049" y="501701"/>
                    <a:pt x="20946" y="501281"/>
                    <a:pt x="20946" y="499514"/>
                  </a:cubicBezTo>
                  <a:cubicBezTo>
                    <a:pt x="20946" y="497747"/>
                    <a:pt x="21367" y="496822"/>
                    <a:pt x="21367" y="495056"/>
                  </a:cubicBezTo>
                  <a:cubicBezTo>
                    <a:pt x="20105" y="494214"/>
                    <a:pt x="18843" y="493794"/>
                    <a:pt x="18002" y="492364"/>
                  </a:cubicBezTo>
                  <a:cubicBezTo>
                    <a:pt x="18423" y="491102"/>
                    <a:pt x="18843" y="490176"/>
                    <a:pt x="18843" y="488915"/>
                  </a:cubicBezTo>
                  <a:cubicBezTo>
                    <a:pt x="18843" y="487148"/>
                    <a:pt x="18002" y="485802"/>
                    <a:pt x="16740" y="484961"/>
                  </a:cubicBezTo>
                  <a:lnTo>
                    <a:pt x="15478" y="484961"/>
                  </a:lnTo>
                  <a:lnTo>
                    <a:pt x="15478" y="487148"/>
                  </a:lnTo>
                  <a:lnTo>
                    <a:pt x="16320" y="490176"/>
                  </a:lnTo>
                  <a:lnTo>
                    <a:pt x="16320" y="493289"/>
                  </a:lnTo>
                  <a:lnTo>
                    <a:pt x="15478" y="493710"/>
                  </a:lnTo>
                  <a:cubicBezTo>
                    <a:pt x="15058" y="492364"/>
                    <a:pt x="14721" y="491018"/>
                    <a:pt x="13375" y="490176"/>
                  </a:cubicBezTo>
                  <a:lnTo>
                    <a:pt x="12955" y="490176"/>
                  </a:lnTo>
                  <a:cubicBezTo>
                    <a:pt x="13375" y="492868"/>
                    <a:pt x="15478" y="493289"/>
                    <a:pt x="17161" y="495981"/>
                  </a:cubicBezTo>
                  <a:cubicBezTo>
                    <a:pt x="19684" y="500860"/>
                    <a:pt x="22208" y="503047"/>
                    <a:pt x="25657" y="507421"/>
                  </a:cubicBezTo>
                  <a:cubicBezTo>
                    <a:pt x="29443" y="511880"/>
                    <a:pt x="30284" y="514908"/>
                    <a:pt x="32807" y="519787"/>
                  </a:cubicBezTo>
                  <a:cubicBezTo>
                    <a:pt x="37855" y="527779"/>
                    <a:pt x="41220" y="532574"/>
                    <a:pt x="42061" y="542332"/>
                  </a:cubicBezTo>
                  <a:lnTo>
                    <a:pt x="43323" y="542332"/>
                  </a:lnTo>
                  <a:lnTo>
                    <a:pt x="43743" y="543257"/>
                  </a:lnTo>
                  <a:cubicBezTo>
                    <a:pt x="41220" y="545949"/>
                    <a:pt x="41640" y="548557"/>
                    <a:pt x="41640" y="552090"/>
                  </a:cubicBezTo>
                  <a:cubicBezTo>
                    <a:pt x="41640" y="556549"/>
                    <a:pt x="41220" y="559577"/>
                    <a:pt x="43323" y="563615"/>
                  </a:cubicBezTo>
                  <a:cubicBezTo>
                    <a:pt x="44164" y="564876"/>
                    <a:pt x="45846" y="564456"/>
                    <a:pt x="46687" y="565802"/>
                  </a:cubicBezTo>
                  <a:cubicBezTo>
                    <a:pt x="48370" y="567484"/>
                    <a:pt x="48370" y="568830"/>
                    <a:pt x="49632" y="570597"/>
                  </a:cubicBezTo>
                  <a:cubicBezTo>
                    <a:pt x="52997" y="574971"/>
                    <a:pt x="55520" y="577158"/>
                    <a:pt x="56782" y="582542"/>
                  </a:cubicBezTo>
                  <a:cubicBezTo>
                    <a:pt x="58885" y="587842"/>
                    <a:pt x="58044" y="591375"/>
                    <a:pt x="60568" y="596254"/>
                  </a:cubicBezTo>
                  <a:cubicBezTo>
                    <a:pt x="62250" y="599282"/>
                    <a:pt x="64774" y="599703"/>
                    <a:pt x="66877" y="602395"/>
                  </a:cubicBezTo>
                  <a:cubicBezTo>
                    <a:pt x="71503" y="608956"/>
                    <a:pt x="71924" y="614340"/>
                    <a:pt x="71924" y="622752"/>
                  </a:cubicBezTo>
                  <a:cubicBezTo>
                    <a:pt x="71924" y="625444"/>
                    <a:pt x="70662" y="627126"/>
                    <a:pt x="70662" y="630239"/>
                  </a:cubicBezTo>
                  <a:lnTo>
                    <a:pt x="70662" y="636800"/>
                  </a:lnTo>
                  <a:cubicBezTo>
                    <a:pt x="70662" y="638567"/>
                    <a:pt x="70242" y="639913"/>
                    <a:pt x="70242" y="642100"/>
                  </a:cubicBezTo>
                  <a:cubicBezTo>
                    <a:pt x="70242" y="644792"/>
                    <a:pt x="71924" y="645633"/>
                    <a:pt x="72345" y="647904"/>
                  </a:cubicBezTo>
                  <a:cubicBezTo>
                    <a:pt x="74027" y="653120"/>
                    <a:pt x="73186" y="656232"/>
                    <a:pt x="74027" y="661532"/>
                  </a:cubicBezTo>
                  <a:cubicBezTo>
                    <a:pt x="75289" y="669524"/>
                    <a:pt x="78317" y="673477"/>
                    <a:pt x="81598" y="680459"/>
                  </a:cubicBezTo>
                  <a:cubicBezTo>
                    <a:pt x="86645" y="689797"/>
                    <a:pt x="88748" y="695517"/>
                    <a:pt x="92618" y="705191"/>
                  </a:cubicBezTo>
                  <a:cubicBezTo>
                    <a:pt x="94721" y="710154"/>
                    <a:pt x="98002" y="712342"/>
                    <a:pt x="98002" y="717557"/>
                  </a:cubicBezTo>
                  <a:lnTo>
                    <a:pt x="98002" y="723362"/>
                  </a:lnTo>
                  <a:cubicBezTo>
                    <a:pt x="98002" y="724287"/>
                    <a:pt x="97581" y="724708"/>
                    <a:pt x="97581" y="725549"/>
                  </a:cubicBezTo>
                  <a:cubicBezTo>
                    <a:pt x="97581" y="728661"/>
                    <a:pt x="98843" y="730428"/>
                    <a:pt x="98843" y="733961"/>
                  </a:cubicBezTo>
                  <a:cubicBezTo>
                    <a:pt x="98843" y="736148"/>
                    <a:pt x="98422" y="737410"/>
                    <a:pt x="97581" y="739261"/>
                  </a:cubicBezTo>
                  <a:lnTo>
                    <a:pt x="98422" y="742289"/>
                  </a:lnTo>
                  <a:cubicBezTo>
                    <a:pt x="97581" y="744981"/>
                    <a:pt x="98002" y="746747"/>
                    <a:pt x="97160" y="748935"/>
                  </a:cubicBezTo>
                  <a:cubicBezTo>
                    <a:pt x="96740" y="749776"/>
                    <a:pt x="95394" y="749776"/>
                    <a:pt x="94637" y="750196"/>
                  </a:cubicBezTo>
                  <a:cubicBezTo>
                    <a:pt x="93375" y="751542"/>
                    <a:pt x="93375" y="753309"/>
                    <a:pt x="92870" y="755496"/>
                  </a:cubicBezTo>
                  <a:lnTo>
                    <a:pt x="95814" y="774423"/>
                  </a:lnTo>
                  <a:cubicBezTo>
                    <a:pt x="95814" y="780648"/>
                    <a:pt x="94132" y="784182"/>
                    <a:pt x="91188" y="789902"/>
                  </a:cubicBezTo>
                  <a:cubicBezTo>
                    <a:pt x="88664" y="795201"/>
                    <a:pt x="85720" y="799155"/>
                    <a:pt x="79831" y="799155"/>
                  </a:cubicBezTo>
                  <a:cubicBezTo>
                    <a:pt x="76887" y="799155"/>
                    <a:pt x="77476" y="800165"/>
                    <a:pt x="74532" y="798314"/>
                  </a:cubicBezTo>
                  <a:cubicBezTo>
                    <a:pt x="74532" y="801847"/>
                    <a:pt x="73102" y="797893"/>
                    <a:pt x="73102" y="797893"/>
                  </a:cubicBezTo>
                  <a:cubicBezTo>
                    <a:pt x="73102" y="799660"/>
                    <a:pt x="72260" y="800080"/>
                    <a:pt x="72260" y="801342"/>
                  </a:cubicBezTo>
                  <a:lnTo>
                    <a:pt x="72260" y="811942"/>
                  </a:lnTo>
                  <a:cubicBezTo>
                    <a:pt x="72260" y="815475"/>
                    <a:pt x="73102" y="817746"/>
                    <a:pt x="73943" y="821279"/>
                  </a:cubicBezTo>
                  <a:cubicBezTo>
                    <a:pt x="74784" y="824728"/>
                    <a:pt x="74784" y="826999"/>
                    <a:pt x="77308" y="829186"/>
                  </a:cubicBezTo>
                  <a:cubicBezTo>
                    <a:pt x="77728" y="827925"/>
                    <a:pt x="78149" y="826999"/>
                    <a:pt x="78990" y="825738"/>
                  </a:cubicBezTo>
                  <a:cubicBezTo>
                    <a:pt x="86561" y="828766"/>
                    <a:pt x="91188" y="830953"/>
                    <a:pt x="97160" y="837178"/>
                  </a:cubicBezTo>
                  <a:cubicBezTo>
                    <a:pt x="100525" y="840711"/>
                    <a:pt x="103890" y="842057"/>
                    <a:pt x="105573" y="846431"/>
                  </a:cubicBezTo>
                  <a:cubicBezTo>
                    <a:pt x="106834" y="848619"/>
                    <a:pt x="105573" y="850469"/>
                    <a:pt x="107255" y="851731"/>
                  </a:cubicBezTo>
                  <a:cubicBezTo>
                    <a:pt x="109779" y="853498"/>
                    <a:pt x="111882" y="852152"/>
                    <a:pt x="114405" y="853077"/>
                  </a:cubicBezTo>
                  <a:cubicBezTo>
                    <a:pt x="120799" y="855264"/>
                    <a:pt x="124079" y="857031"/>
                    <a:pt x="129547" y="860564"/>
                  </a:cubicBezTo>
                  <a:cubicBezTo>
                    <a:pt x="129968" y="859218"/>
                    <a:pt x="130304" y="858377"/>
                    <a:pt x="130809" y="857031"/>
                  </a:cubicBezTo>
                  <a:lnTo>
                    <a:pt x="137959" y="860564"/>
                  </a:lnTo>
                  <a:cubicBezTo>
                    <a:pt x="139221" y="859639"/>
                    <a:pt x="139726" y="858377"/>
                    <a:pt x="140483" y="857031"/>
                  </a:cubicBezTo>
                  <a:cubicBezTo>
                    <a:pt x="142166" y="858377"/>
                    <a:pt x="143427" y="859218"/>
                    <a:pt x="145530" y="859218"/>
                  </a:cubicBezTo>
                  <a:cubicBezTo>
                    <a:pt x="147633" y="859218"/>
                    <a:pt x="148895" y="859639"/>
                    <a:pt x="150998" y="859639"/>
                  </a:cubicBezTo>
                  <a:cubicBezTo>
                    <a:pt x="152260" y="859639"/>
                    <a:pt x="152681" y="857872"/>
                    <a:pt x="154363" y="857872"/>
                  </a:cubicBezTo>
                  <a:cubicBezTo>
                    <a:pt x="155625" y="857872"/>
                    <a:pt x="156466" y="858293"/>
                    <a:pt x="157728" y="857872"/>
                  </a:cubicBezTo>
                  <a:cubicBezTo>
                    <a:pt x="157728" y="858713"/>
                    <a:pt x="157307" y="859134"/>
                    <a:pt x="157307" y="860059"/>
                  </a:cubicBezTo>
                  <a:cubicBezTo>
                    <a:pt x="157307" y="860900"/>
                    <a:pt x="158569" y="860480"/>
                    <a:pt x="159410" y="860900"/>
                  </a:cubicBezTo>
                  <a:cubicBezTo>
                    <a:pt x="160672" y="861321"/>
                    <a:pt x="161513" y="862751"/>
                    <a:pt x="163280" y="862751"/>
                  </a:cubicBezTo>
                  <a:cubicBezTo>
                    <a:pt x="165047" y="862751"/>
                    <a:pt x="164962" y="859639"/>
                    <a:pt x="166645" y="859639"/>
                  </a:cubicBezTo>
                  <a:cubicBezTo>
                    <a:pt x="169589" y="859639"/>
                    <a:pt x="170851" y="862751"/>
                    <a:pt x="173795" y="863088"/>
                  </a:cubicBezTo>
                  <a:cubicBezTo>
                    <a:pt x="173795" y="858293"/>
                    <a:pt x="178843" y="857367"/>
                    <a:pt x="183049" y="854759"/>
                  </a:cubicBezTo>
                  <a:cubicBezTo>
                    <a:pt x="185572" y="853413"/>
                    <a:pt x="187255" y="853413"/>
                    <a:pt x="189778" y="851647"/>
                  </a:cubicBezTo>
                  <a:cubicBezTo>
                    <a:pt x="191545" y="850385"/>
                    <a:pt x="191040" y="848198"/>
                    <a:pt x="193143" y="847273"/>
                  </a:cubicBezTo>
                  <a:cubicBezTo>
                    <a:pt x="194826" y="846011"/>
                    <a:pt x="195246" y="844581"/>
                    <a:pt x="197349" y="843740"/>
                  </a:cubicBezTo>
                  <a:cubicBezTo>
                    <a:pt x="199452" y="842898"/>
                    <a:pt x="201135" y="843319"/>
                    <a:pt x="202817" y="841552"/>
                  </a:cubicBezTo>
                  <a:cubicBezTo>
                    <a:pt x="203574" y="840711"/>
                    <a:pt x="202817" y="838861"/>
                    <a:pt x="203574" y="837599"/>
                  </a:cubicBezTo>
                  <a:cubicBezTo>
                    <a:pt x="205761" y="834066"/>
                    <a:pt x="209463" y="834066"/>
                    <a:pt x="213248" y="834066"/>
                  </a:cubicBezTo>
                  <a:cubicBezTo>
                    <a:pt x="216192" y="834066"/>
                    <a:pt x="217538" y="835412"/>
                    <a:pt x="220399" y="835916"/>
                  </a:cubicBezTo>
                  <a:cubicBezTo>
                    <a:pt x="220819" y="834066"/>
                    <a:pt x="210725" y="820438"/>
                    <a:pt x="212407" y="820101"/>
                  </a:cubicBezTo>
                  <a:cubicBezTo>
                    <a:pt x="218296" y="807735"/>
                    <a:pt x="236382" y="810764"/>
                    <a:pt x="249421" y="810764"/>
                  </a:cubicBezTo>
                  <a:cubicBezTo>
                    <a:pt x="250682" y="810764"/>
                    <a:pt x="251103" y="811605"/>
                    <a:pt x="251944" y="811605"/>
                  </a:cubicBezTo>
                  <a:cubicBezTo>
                    <a:pt x="253627" y="811605"/>
                    <a:pt x="254047" y="810764"/>
                    <a:pt x="255730" y="810764"/>
                  </a:cubicBezTo>
                  <a:cubicBezTo>
                    <a:pt x="258253" y="810764"/>
                    <a:pt x="259599" y="812026"/>
                    <a:pt x="262123" y="812026"/>
                  </a:cubicBezTo>
                  <a:cubicBezTo>
                    <a:pt x="264226" y="812026"/>
                    <a:pt x="263805" y="808997"/>
                    <a:pt x="265908" y="808577"/>
                  </a:cubicBezTo>
                  <a:cubicBezTo>
                    <a:pt x="269694" y="807651"/>
                    <a:pt x="272218" y="807651"/>
                    <a:pt x="276424" y="807651"/>
                  </a:cubicBezTo>
                  <a:lnTo>
                    <a:pt x="283153" y="807651"/>
                  </a:lnTo>
                  <a:cubicBezTo>
                    <a:pt x="287780" y="807651"/>
                    <a:pt x="290304" y="805464"/>
                    <a:pt x="294930" y="805464"/>
                  </a:cubicBezTo>
                  <a:cubicBezTo>
                    <a:pt x="300819" y="805464"/>
                    <a:pt x="303763" y="808997"/>
                    <a:pt x="309652" y="808997"/>
                  </a:cubicBezTo>
                  <a:cubicBezTo>
                    <a:pt x="311755" y="808997"/>
                    <a:pt x="312512" y="807147"/>
                    <a:pt x="314615" y="807147"/>
                  </a:cubicBezTo>
                  <a:cubicBezTo>
                    <a:pt x="316718" y="807147"/>
                    <a:pt x="317980" y="808072"/>
                    <a:pt x="319242" y="810259"/>
                  </a:cubicBezTo>
                  <a:cubicBezTo>
                    <a:pt x="319662" y="811521"/>
                    <a:pt x="319662" y="813372"/>
                    <a:pt x="321008" y="813372"/>
                  </a:cubicBezTo>
                  <a:cubicBezTo>
                    <a:pt x="322690" y="813372"/>
                    <a:pt x="323868" y="813792"/>
                    <a:pt x="325214" y="812951"/>
                  </a:cubicBezTo>
                  <a:cubicBezTo>
                    <a:pt x="326896" y="812026"/>
                    <a:pt x="326896" y="808997"/>
                    <a:pt x="329000" y="808997"/>
                  </a:cubicBezTo>
                  <a:cubicBezTo>
                    <a:pt x="331103" y="808997"/>
                    <a:pt x="331944" y="810764"/>
                    <a:pt x="334047" y="810764"/>
                  </a:cubicBezTo>
                  <a:cubicBezTo>
                    <a:pt x="335309" y="810764"/>
                    <a:pt x="335729" y="809839"/>
                    <a:pt x="336571" y="809418"/>
                  </a:cubicBezTo>
                  <a:lnTo>
                    <a:pt x="340356" y="809418"/>
                  </a:lnTo>
                  <a:cubicBezTo>
                    <a:pt x="344646" y="809418"/>
                    <a:pt x="346749" y="808577"/>
                    <a:pt x="350871" y="808577"/>
                  </a:cubicBezTo>
                  <a:cubicBezTo>
                    <a:pt x="354236" y="808577"/>
                    <a:pt x="354657" y="813456"/>
                    <a:pt x="358022" y="813456"/>
                  </a:cubicBezTo>
                  <a:cubicBezTo>
                    <a:pt x="362228" y="813456"/>
                    <a:pt x="364331" y="811269"/>
                    <a:pt x="368116" y="809081"/>
                  </a:cubicBezTo>
                  <a:cubicBezTo>
                    <a:pt x="369799" y="808156"/>
                    <a:pt x="370976" y="808156"/>
                    <a:pt x="373163" y="807735"/>
                  </a:cubicBezTo>
                  <a:cubicBezTo>
                    <a:pt x="374846" y="807315"/>
                    <a:pt x="376528" y="807315"/>
                    <a:pt x="376528" y="805969"/>
                  </a:cubicBezTo>
                  <a:cubicBezTo>
                    <a:pt x="376528" y="804623"/>
                    <a:pt x="375687" y="804118"/>
                    <a:pt x="375687" y="802857"/>
                  </a:cubicBezTo>
                  <a:cubicBezTo>
                    <a:pt x="375687" y="797977"/>
                    <a:pt x="381576" y="797977"/>
                    <a:pt x="384183" y="794024"/>
                  </a:cubicBezTo>
                  <a:cubicBezTo>
                    <a:pt x="386707" y="790070"/>
                    <a:pt x="386286" y="786957"/>
                    <a:pt x="387128" y="782583"/>
                  </a:cubicBezTo>
                  <a:cubicBezTo>
                    <a:pt x="388389" y="777284"/>
                    <a:pt x="389988" y="774255"/>
                    <a:pt x="394278" y="771563"/>
                  </a:cubicBezTo>
                  <a:cubicBezTo>
                    <a:pt x="398063" y="769292"/>
                    <a:pt x="399662" y="766684"/>
                    <a:pt x="403531" y="766684"/>
                  </a:cubicBezTo>
                  <a:lnTo>
                    <a:pt x="407317" y="766684"/>
                  </a:lnTo>
                  <a:cubicBezTo>
                    <a:pt x="411523" y="766684"/>
                    <a:pt x="413205" y="763992"/>
                    <a:pt x="416570" y="761805"/>
                  </a:cubicBezTo>
                  <a:cubicBezTo>
                    <a:pt x="423300" y="757347"/>
                    <a:pt x="427085" y="754318"/>
                    <a:pt x="434656" y="752468"/>
                  </a:cubicBezTo>
                  <a:cubicBezTo>
                    <a:pt x="444751" y="751627"/>
                    <a:pt x="447275" y="740522"/>
                    <a:pt x="456949" y="737915"/>
                  </a:cubicBezTo>
                  <a:lnTo>
                    <a:pt x="458631" y="738335"/>
                  </a:lnTo>
                  <a:cubicBezTo>
                    <a:pt x="459893" y="737410"/>
                    <a:pt x="460818" y="736569"/>
                    <a:pt x="462501" y="736569"/>
                  </a:cubicBezTo>
                  <a:cubicBezTo>
                    <a:pt x="468810" y="736569"/>
                    <a:pt x="471754" y="740522"/>
                    <a:pt x="477642" y="740522"/>
                  </a:cubicBezTo>
                  <a:cubicBezTo>
                    <a:pt x="488999" y="740522"/>
                    <a:pt x="495392" y="739261"/>
                    <a:pt x="506664" y="736569"/>
                  </a:cubicBezTo>
                  <a:cubicBezTo>
                    <a:pt x="511712" y="735223"/>
                    <a:pt x="513815" y="732531"/>
                    <a:pt x="518862" y="731269"/>
                  </a:cubicBezTo>
                  <a:cubicBezTo>
                    <a:pt x="527695" y="729082"/>
                    <a:pt x="532321" y="726895"/>
                    <a:pt x="540734" y="722857"/>
                  </a:cubicBezTo>
                  <a:cubicBezTo>
                    <a:pt x="548221" y="719744"/>
                    <a:pt x="551249" y="713603"/>
                    <a:pt x="559240" y="713603"/>
                  </a:cubicBezTo>
                  <a:lnTo>
                    <a:pt x="559240" y="713603"/>
                  </a:lnTo>
                  <a:lnTo>
                    <a:pt x="559240" y="474866"/>
                  </a:lnTo>
                  <a:lnTo>
                    <a:pt x="559240" y="474866"/>
                  </a:lnTo>
                  <a:lnTo>
                    <a:pt x="557474" y="43911"/>
                  </a:lnTo>
                  <a:lnTo>
                    <a:pt x="557474" y="43911"/>
                  </a:lnTo>
                  <a:close/>
                  <a:moveTo>
                    <a:pt x="81177" y="271376"/>
                  </a:moveTo>
                  <a:lnTo>
                    <a:pt x="81177" y="271376"/>
                  </a:lnTo>
                  <a:cubicBezTo>
                    <a:pt x="82439" y="268264"/>
                    <a:pt x="84122" y="266077"/>
                    <a:pt x="87066" y="265151"/>
                  </a:cubicBezTo>
                  <a:cubicBezTo>
                    <a:pt x="87066" y="268264"/>
                    <a:pt x="85804" y="271797"/>
                    <a:pt x="82860" y="271797"/>
                  </a:cubicBezTo>
                  <a:cubicBezTo>
                    <a:pt x="82019" y="271797"/>
                    <a:pt x="81598" y="271797"/>
                    <a:pt x="81093" y="271376"/>
                  </a:cubicBezTo>
                  <a:lnTo>
                    <a:pt x="81093" y="271376"/>
                  </a:lnTo>
                  <a:close/>
                  <a:moveTo>
                    <a:pt x="2103" y="456360"/>
                  </a:moveTo>
                  <a:lnTo>
                    <a:pt x="2103" y="456360"/>
                  </a:lnTo>
                  <a:cubicBezTo>
                    <a:pt x="1682" y="456360"/>
                    <a:pt x="1262" y="455939"/>
                    <a:pt x="421" y="455939"/>
                  </a:cubicBezTo>
                  <a:cubicBezTo>
                    <a:pt x="421" y="456360"/>
                    <a:pt x="0" y="456864"/>
                    <a:pt x="0" y="457706"/>
                  </a:cubicBezTo>
                  <a:cubicBezTo>
                    <a:pt x="0" y="463931"/>
                    <a:pt x="2103" y="467380"/>
                    <a:pt x="5047" y="472763"/>
                  </a:cubicBezTo>
                  <a:cubicBezTo>
                    <a:pt x="6730" y="475876"/>
                    <a:pt x="7150" y="478063"/>
                    <a:pt x="8833" y="480755"/>
                  </a:cubicBezTo>
                  <a:cubicBezTo>
                    <a:pt x="8412" y="471922"/>
                    <a:pt x="2103" y="467968"/>
                    <a:pt x="2103" y="459136"/>
                  </a:cubicBezTo>
                  <a:lnTo>
                    <a:pt x="2103" y="456444"/>
                  </a:lnTo>
                  <a:lnTo>
                    <a:pt x="2103" y="456444"/>
                  </a:lnTo>
                  <a:close/>
                </a:path>
              </a:pathLst>
            </a:custGeom>
            <a:grpFill/>
            <a:ln w="8410" cap="flat">
              <a:solidFill>
                <a:srgbClr val="F59E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a:ea typeface="+mn-ea"/>
                <a:cs typeface="+mn-cs"/>
              </a:endParaRPr>
            </a:p>
          </p:txBody>
        </p:sp>
        <p:sp>
          <p:nvSpPr>
            <p:cNvPr id="526" name="Freeform: Shape 525">
              <a:extLst>
                <a:ext uri="{FF2B5EF4-FFF2-40B4-BE49-F238E27FC236}">
                  <a16:creationId xmlns:a16="http://schemas.microsoft.com/office/drawing/2014/main" id="{4546B286-8121-D5AF-7A61-10AD213DFBFE}"/>
                </a:ext>
              </a:extLst>
            </p:cNvPr>
            <p:cNvSpPr/>
            <p:nvPr/>
          </p:nvSpPr>
          <p:spPr>
            <a:xfrm>
              <a:off x="9463262" y="4198607"/>
              <a:ext cx="417344" cy="764108"/>
            </a:xfrm>
            <a:custGeom>
              <a:avLst/>
              <a:gdLst>
                <a:gd name="connsiteX0" fmla="*/ 78822 w 314867"/>
                <a:gd name="connsiteY0" fmla="*/ 4458 h 576485"/>
                <a:gd name="connsiteX1" fmla="*/ 78822 w 314867"/>
                <a:gd name="connsiteY1" fmla="*/ 4458 h 576485"/>
                <a:gd name="connsiteX2" fmla="*/ 78822 w 314867"/>
                <a:gd name="connsiteY2" fmla="*/ 13291 h 576485"/>
                <a:gd name="connsiteX3" fmla="*/ 75457 w 314867"/>
                <a:gd name="connsiteY3" fmla="*/ 8917 h 576485"/>
                <a:gd name="connsiteX4" fmla="*/ 71167 w 314867"/>
                <a:gd name="connsiteY4" fmla="*/ 11945 h 576485"/>
                <a:gd name="connsiteX5" fmla="*/ 71167 w 314867"/>
                <a:gd name="connsiteY5" fmla="*/ 15983 h 576485"/>
                <a:gd name="connsiteX6" fmla="*/ 68307 w 314867"/>
                <a:gd name="connsiteY6" fmla="*/ 9758 h 576485"/>
                <a:gd name="connsiteX7" fmla="*/ 61914 w 314867"/>
                <a:gd name="connsiteY7" fmla="*/ 12450 h 576485"/>
                <a:gd name="connsiteX8" fmla="*/ 64017 w 314867"/>
                <a:gd name="connsiteY8" fmla="*/ 17329 h 576485"/>
                <a:gd name="connsiteX9" fmla="*/ 63259 w 314867"/>
                <a:gd name="connsiteY9" fmla="*/ 17329 h 576485"/>
                <a:gd name="connsiteX10" fmla="*/ 57791 w 314867"/>
                <a:gd name="connsiteY10" fmla="*/ 12955 h 576485"/>
                <a:gd name="connsiteX11" fmla="*/ 54006 w 314867"/>
                <a:gd name="connsiteY11" fmla="*/ 9842 h 576485"/>
                <a:gd name="connsiteX12" fmla="*/ 55688 w 314867"/>
                <a:gd name="connsiteY12" fmla="*/ 9842 h 576485"/>
                <a:gd name="connsiteX13" fmla="*/ 56109 w 314867"/>
                <a:gd name="connsiteY13" fmla="*/ 8580 h 576485"/>
                <a:gd name="connsiteX14" fmla="*/ 48959 w 314867"/>
                <a:gd name="connsiteY14" fmla="*/ 4627 h 576485"/>
                <a:gd name="connsiteX15" fmla="*/ 48538 w 314867"/>
                <a:gd name="connsiteY15" fmla="*/ 5468 h 576485"/>
                <a:gd name="connsiteX16" fmla="*/ 52324 w 314867"/>
                <a:gd name="connsiteY16" fmla="*/ 22208 h 576485"/>
                <a:gd name="connsiteX17" fmla="*/ 56950 w 314867"/>
                <a:gd name="connsiteY17" fmla="*/ 23554 h 576485"/>
                <a:gd name="connsiteX18" fmla="*/ 59895 w 314867"/>
                <a:gd name="connsiteY18" fmla="*/ 28433 h 576485"/>
                <a:gd name="connsiteX19" fmla="*/ 64942 w 314867"/>
                <a:gd name="connsiteY19" fmla="*/ 28854 h 576485"/>
                <a:gd name="connsiteX20" fmla="*/ 68727 w 314867"/>
                <a:gd name="connsiteY20" fmla="*/ 32807 h 576485"/>
                <a:gd name="connsiteX21" fmla="*/ 71251 w 314867"/>
                <a:gd name="connsiteY21" fmla="*/ 29358 h 576485"/>
                <a:gd name="connsiteX22" fmla="*/ 76719 w 314867"/>
                <a:gd name="connsiteY22" fmla="*/ 26667 h 576485"/>
                <a:gd name="connsiteX23" fmla="*/ 82607 w 314867"/>
                <a:gd name="connsiteY23" fmla="*/ 20021 h 576485"/>
                <a:gd name="connsiteX24" fmla="*/ 84795 w 314867"/>
                <a:gd name="connsiteY24" fmla="*/ 20441 h 576485"/>
                <a:gd name="connsiteX25" fmla="*/ 88159 w 314867"/>
                <a:gd name="connsiteY25" fmla="*/ 13880 h 576485"/>
                <a:gd name="connsiteX26" fmla="*/ 84795 w 314867"/>
                <a:gd name="connsiteY26" fmla="*/ 10347 h 576485"/>
                <a:gd name="connsiteX27" fmla="*/ 78906 w 314867"/>
                <a:gd name="connsiteY27" fmla="*/ 4627 h 576485"/>
                <a:gd name="connsiteX28" fmla="*/ 78906 w 314867"/>
                <a:gd name="connsiteY28" fmla="*/ 4627 h 576485"/>
                <a:gd name="connsiteX29" fmla="*/ 48118 w 314867"/>
                <a:gd name="connsiteY29" fmla="*/ 12786 h 576485"/>
                <a:gd name="connsiteX30" fmla="*/ 48118 w 314867"/>
                <a:gd name="connsiteY30" fmla="*/ 12786 h 576485"/>
                <a:gd name="connsiteX31" fmla="*/ 46856 w 314867"/>
                <a:gd name="connsiteY31" fmla="*/ 20273 h 576485"/>
                <a:gd name="connsiteX32" fmla="*/ 50221 w 314867"/>
                <a:gd name="connsiteY32" fmla="*/ 20694 h 576485"/>
                <a:gd name="connsiteX33" fmla="*/ 49800 w 314867"/>
                <a:gd name="connsiteY33" fmla="*/ 22461 h 576485"/>
                <a:gd name="connsiteX34" fmla="*/ 49800 w 314867"/>
                <a:gd name="connsiteY34" fmla="*/ 23807 h 576485"/>
                <a:gd name="connsiteX35" fmla="*/ 56614 w 314867"/>
                <a:gd name="connsiteY35" fmla="*/ 27255 h 576485"/>
                <a:gd name="connsiteX36" fmla="*/ 53669 w 314867"/>
                <a:gd name="connsiteY36" fmla="*/ 28601 h 576485"/>
                <a:gd name="connsiteX37" fmla="*/ 43996 w 314867"/>
                <a:gd name="connsiteY37" fmla="*/ 26414 h 576485"/>
                <a:gd name="connsiteX38" fmla="*/ 38107 w 314867"/>
                <a:gd name="connsiteY38" fmla="*/ 27676 h 576485"/>
                <a:gd name="connsiteX39" fmla="*/ 38948 w 314867"/>
                <a:gd name="connsiteY39" fmla="*/ 23722 h 576485"/>
                <a:gd name="connsiteX40" fmla="*/ 40210 w 314867"/>
                <a:gd name="connsiteY40" fmla="*/ 23722 h 576485"/>
                <a:gd name="connsiteX41" fmla="*/ 41472 w 314867"/>
                <a:gd name="connsiteY41" fmla="*/ 24143 h 576485"/>
                <a:gd name="connsiteX42" fmla="*/ 45257 w 314867"/>
                <a:gd name="connsiteY42" fmla="*/ 22881 h 576485"/>
                <a:gd name="connsiteX43" fmla="*/ 42397 w 314867"/>
                <a:gd name="connsiteY43" fmla="*/ 17581 h 576485"/>
                <a:gd name="connsiteX44" fmla="*/ 43154 w 314867"/>
                <a:gd name="connsiteY44" fmla="*/ 15815 h 576485"/>
                <a:gd name="connsiteX45" fmla="*/ 41472 w 314867"/>
                <a:gd name="connsiteY45" fmla="*/ 15394 h 576485"/>
                <a:gd name="connsiteX46" fmla="*/ 41893 w 314867"/>
                <a:gd name="connsiteY46" fmla="*/ 14469 h 576485"/>
                <a:gd name="connsiteX47" fmla="*/ 46940 w 314867"/>
                <a:gd name="connsiteY47" fmla="*/ 9590 h 576485"/>
                <a:gd name="connsiteX48" fmla="*/ 48202 w 314867"/>
                <a:gd name="connsiteY48" fmla="*/ 12702 h 576485"/>
                <a:gd name="connsiteX49" fmla="*/ 48202 w 314867"/>
                <a:gd name="connsiteY49" fmla="*/ 12702 h 576485"/>
                <a:gd name="connsiteX50" fmla="*/ 259767 w 314867"/>
                <a:gd name="connsiteY50" fmla="*/ 104143 h 576485"/>
                <a:gd name="connsiteX51" fmla="*/ 259767 w 314867"/>
                <a:gd name="connsiteY51" fmla="*/ 104143 h 576485"/>
                <a:gd name="connsiteX52" fmla="*/ 260188 w 314867"/>
                <a:gd name="connsiteY52" fmla="*/ 107676 h 576485"/>
                <a:gd name="connsiteX53" fmla="*/ 259431 w 314867"/>
                <a:gd name="connsiteY53" fmla="*/ 117350 h 576485"/>
                <a:gd name="connsiteX54" fmla="*/ 274152 w 314867"/>
                <a:gd name="connsiteY54" fmla="*/ 120799 h 576485"/>
                <a:gd name="connsiteX55" fmla="*/ 276676 w 314867"/>
                <a:gd name="connsiteY55" fmla="*/ 120799 h 576485"/>
                <a:gd name="connsiteX56" fmla="*/ 276676 w 314867"/>
                <a:gd name="connsiteY56" fmla="*/ 117350 h 576485"/>
                <a:gd name="connsiteX57" fmla="*/ 276255 w 314867"/>
                <a:gd name="connsiteY57" fmla="*/ 116929 h 576485"/>
                <a:gd name="connsiteX58" fmla="*/ 273816 w 314867"/>
                <a:gd name="connsiteY58" fmla="*/ 118696 h 576485"/>
                <a:gd name="connsiteX59" fmla="*/ 272554 w 314867"/>
                <a:gd name="connsiteY59" fmla="*/ 117434 h 576485"/>
                <a:gd name="connsiteX60" fmla="*/ 270872 w 314867"/>
                <a:gd name="connsiteY60" fmla="*/ 117854 h 576485"/>
                <a:gd name="connsiteX61" fmla="*/ 268348 w 314867"/>
                <a:gd name="connsiteY61" fmla="*/ 115162 h 576485"/>
                <a:gd name="connsiteX62" fmla="*/ 270872 w 314867"/>
                <a:gd name="connsiteY62" fmla="*/ 111125 h 576485"/>
                <a:gd name="connsiteX63" fmla="*/ 268348 w 314867"/>
                <a:gd name="connsiteY63" fmla="*/ 108433 h 576485"/>
                <a:gd name="connsiteX64" fmla="*/ 268768 w 314867"/>
                <a:gd name="connsiteY64" fmla="*/ 106246 h 576485"/>
                <a:gd name="connsiteX65" fmla="*/ 270872 w 314867"/>
                <a:gd name="connsiteY65" fmla="*/ 106246 h 576485"/>
                <a:gd name="connsiteX66" fmla="*/ 271629 w 314867"/>
                <a:gd name="connsiteY66" fmla="*/ 104984 h 576485"/>
                <a:gd name="connsiteX67" fmla="*/ 268264 w 314867"/>
                <a:gd name="connsiteY67" fmla="*/ 101871 h 576485"/>
                <a:gd name="connsiteX68" fmla="*/ 269105 w 314867"/>
                <a:gd name="connsiteY68" fmla="*/ 98759 h 576485"/>
                <a:gd name="connsiteX69" fmla="*/ 266161 w 314867"/>
                <a:gd name="connsiteY69" fmla="*/ 101871 h 576485"/>
                <a:gd name="connsiteX70" fmla="*/ 259767 w 314867"/>
                <a:gd name="connsiteY70" fmla="*/ 104058 h 576485"/>
                <a:gd name="connsiteX71" fmla="*/ 259767 w 314867"/>
                <a:gd name="connsiteY71" fmla="*/ 104058 h 576485"/>
                <a:gd name="connsiteX72" fmla="*/ 253038 w 314867"/>
                <a:gd name="connsiteY72" fmla="*/ 98338 h 576485"/>
                <a:gd name="connsiteX73" fmla="*/ 253038 w 314867"/>
                <a:gd name="connsiteY73" fmla="*/ 98338 h 576485"/>
                <a:gd name="connsiteX74" fmla="*/ 250935 w 314867"/>
                <a:gd name="connsiteY74" fmla="*/ 97497 h 576485"/>
                <a:gd name="connsiteX75" fmla="*/ 250514 w 314867"/>
                <a:gd name="connsiteY75" fmla="*/ 99263 h 576485"/>
                <a:gd name="connsiteX76" fmla="*/ 252617 w 314867"/>
                <a:gd name="connsiteY76" fmla="*/ 104143 h 576485"/>
                <a:gd name="connsiteX77" fmla="*/ 253038 w 314867"/>
                <a:gd name="connsiteY77" fmla="*/ 98338 h 576485"/>
                <a:gd name="connsiteX78" fmla="*/ 253038 w 314867"/>
                <a:gd name="connsiteY78" fmla="*/ 98338 h 576485"/>
                <a:gd name="connsiteX79" fmla="*/ 281639 w 314867"/>
                <a:gd name="connsiteY79" fmla="*/ 174805 h 576485"/>
                <a:gd name="connsiteX80" fmla="*/ 281639 w 314867"/>
                <a:gd name="connsiteY80" fmla="*/ 174805 h 576485"/>
                <a:gd name="connsiteX81" fmla="*/ 279115 w 314867"/>
                <a:gd name="connsiteY81" fmla="*/ 171692 h 576485"/>
                <a:gd name="connsiteX82" fmla="*/ 276592 w 314867"/>
                <a:gd name="connsiteY82" fmla="*/ 172954 h 576485"/>
                <a:gd name="connsiteX83" fmla="*/ 281639 w 314867"/>
                <a:gd name="connsiteY83" fmla="*/ 178254 h 576485"/>
                <a:gd name="connsiteX84" fmla="*/ 282060 w 314867"/>
                <a:gd name="connsiteY84" fmla="*/ 176992 h 576485"/>
                <a:gd name="connsiteX85" fmla="*/ 281639 w 314867"/>
                <a:gd name="connsiteY85" fmla="*/ 174805 h 576485"/>
                <a:gd name="connsiteX86" fmla="*/ 281639 w 314867"/>
                <a:gd name="connsiteY86" fmla="*/ 174805 h 576485"/>
                <a:gd name="connsiteX87" fmla="*/ 314446 w 314867"/>
                <a:gd name="connsiteY87" fmla="*/ 207864 h 576485"/>
                <a:gd name="connsiteX88" fmla="*/ 314446 w 314867"/>
                <a:gd name="connsiteY88" fmla="*/ 207864 h 576485"/>
                <a:gd name="connsiteX89" fmla="*/ 314867 w 314867"/>
                <a:gd name="connsiteY89" fmla="*/ 576485 h 576485"/>
                <a:gd name="connsiteX90" fmla="*/ 314867 w 314867"/>
                <a:gd name="connsiteY90" fmla="*/ 576485 h 576485"/>
                <a:gd name="connsiteX91" fmla="*/ 1766 w 314867"/>
                <a:gd name="connsiteY91" fmla="*/ 575224 h 576485"/>
                <a:gd name="connsiteX92" fmla="*/ 1766 w 314867"/>
                <a:gd name="connsiteY92" fmla="*/ 575224 h 576485"/>
                <a:gd name="connsiteX93" fmla="*/ 0 w 314867"/>
                <a:gd name="connsiteY93" fmla="*/ 144353 h 576485"/>
                <a:gd name="connsiteX94" fmla="*/ 0 w 314867"/>
                <a:gd name="connsiteY94" fmla="*/ 144353 h 576485"/>
                <a:gd name="connsiteX95" fmla="*/ 6393 w 314867"/>
                <a:gd name="connsiteY95" fmla="*/ 152765 h 576485"/>
                <a:gd name="connsiteX96" fmla="*/ 10599 w 314867"/>
                <a:gd name="connsiteY96" fmla="*/ 152765 h 576485"/>
                <a:gd name="connsiteX97" fmla="*/ 8496 w 314867"/>
                <a:gd name="connsiteY97" fmla="*/ 146119 h 576485"/>
                <a:gd name="connsiteX98" fmla="*/ 8496 w 314867"/>
                <a:gd name="connsiteY98" fmla="*/ 143932 h 576485"/>
                <a:gd name="connsiteX99" fmla="*/ 9758 w 314867"/>
                <a:gd name="connsiteY99" fmla="*/ 143511 h 576485"/>
                <a:gd name="connsiteX100" fmla="*/ 11020 w 314867"/>
                <a:gd name="connsiteY100" fmla="*/ 143932 h 576485"/>
                <a:gd name="connsiteX101" fmla="*/ 12702 w 314867"/>
                <a:gd name="connsiteY101" fmla="*/ 143511 h 576485"/>
                <a:gd name="connsiteX102" fmla="*/ 17750 w 314867"/>
                <a:gd name="connsiteY102" fmla="*/ 147549 h 576485"/>
                <a:gd name="connsiteX103" fmla="*/ 21114 w 314867"/>
                <a:gd name="connsiteY103" fmla="*/ 151503 h 576485"/>
                <a:gd name="connsiteX104" fmla="*/ 27424 w 314867"/>
                <a:gd name="connsiteY104" fmla="*/ 155036 h 576485"/>
                <a:gd name="connsiteX105" fmla="*/ 24900 w 314867"/>
                <a:gd name="connsiteY105" fmla="*/ 152849 h 576485"/>
                <a:gd name="connsiteX106" fmla="*/ 23218 w 314867"/>
                <a:gd name="connsiteY106" fmla="*/ 147549 h 576485"/>
                <a:gd name="connsiteX107" fmla="*/ 21451 w 314867"/>
                <a:gd name="connsiteY107" fmla="*/ 144016 h 576485"/>
                <a:gd name="connsiteX108" fmla="*/ 21451 w 314867"/>
                <a:gd name="connsiteY108" fmla="*/ 142754 h 576485"/>
                <a:gd name="connsiteX109" fmla="*/ 26498 w 314867"/>
                <a:gd name="connsiteY109" fmla="*/ 142754 h 576485"/>
                <a:gd name="connsiteX110" fmla="*/ 28265 w 314867"/>
                <a:gd name="connsiteY110" fmla="*/ 141829 h 576485"/>
                <a:gd name="connsiteX111" fmla="*/ 29527 w 314867"/>
                <a:gd name="connsiteY111" fmla="*/ 142250 h 576485"/>
                <a:gd name="connsiteX112" fmla="*/ 33733 w 314867"/>
                <a:gd name="connsiteY112" fmla="*/ 140062 h 576485"/>
                <a:gd name="connsiteX113" fmla="*/ 32471 w 314867"/>
                <a:gd name="connsiteY113" fmla="*/ 138716 h 576485"/>
                <a:gd name="connsiteX114" fmla="*/ 27424 w 314867"/>
                <a:gd name="connsiteY114" fmla="*/ 139642 h 576485"/>
                <a:gd name="connsiteX115" fmla="*/ 24059 w 314867"/>
                <a:gd name="connsiteY115" fmla="*/ 139642 h 576485"/>
                <a:gd name="connsiteX116" fmla="*/ 24059 w 314867"/>
                <a:gd name="connsiteY116" fmla="*/ 136109 h 576485"/>
                <a:gd name="connsiteX117" fmla="*/ 27424 w 314867"/>
                <a:gd name="connsiteY117" fmla="*/ 131230 h 576485"/>
                <a:gd name="connsiteX118" fmla="*/ 26162 w 314867"/>
                <a:gd name="connsiteY118" fmla="*/ 130809 h 576485"/>
                <a:gd name="connsiteX119" fmla="*/ 23638 w 314867"/>
                <a:gd name="connsiteY119" fmla="*/ 131650 h 576485"/>
                <a:gd name="connsiteX120" fmla="*/ 18254 w 314867"/>
                <a:gd name="connsiteY120" fmla="*/ 128538 h 576485"/>
                <a:gd name="connsiteX121" fmla="*/ 14385 w 314867"/>
                <a:gd name="connsiteY121" fmla="*/ 120630 h 576485"/>
                <a:gd name="connsiteX122" fmla="*/ 17750 w 314867"/>
                <a:gd name="connsiteY122" fmla="*/ 115331 h 576485"/>
                <a:gd name="connsiteX123" fmla="*/ 19432 w 314867"/>
                <a:gd name="connsiteY123" fmla="*/ 116172 h 576485"/>
                <a:gd name="connsiteX124" fmla="*/ 26582 w 314867"/>
                <a:gd name="connsiteY124" fmla="*/ 107339 h 576485"/>
                <a:gd name="connsiteX125" fmla="*/ 28685 w 314867"/>
                <a:gd name="connsiteY125" fmla="*/ 102460 h 576485"/>
                <a:gd name="connsiteX126" fmla="*/ 28685 w 314867"/>
                <a:gd name="connsiteY126" fmla="*/ 94469 h 576485"/>
                <a:gd name="connsiteX127" fmla="*/ 30452 w 314867"/>
                <a:gd name="connsiteY127" fmla="*/ 90515 h 576485"/>
                <a:gd name="connsiteX128" fmla="*/ 33817 w 314867"/>
                <a:gd name="connsiteY128" fmla="*/ 92281 h 576485"/>
                <a:gd name="connsiteX129" fmla="*/ 43070 w 314867"/>
                <a:gd name="connsiteY129" fmla="*/ 86477 h 576485"/>
                <a:gd name="connsiteX130" fmla="*/ 45173 w 314867"/>
                <a:gd name="connsiteY130" fmla="*/ 89589 h 576485"/>
                <a:gd name="connsiteX131" fmla="*/ 46015 w 314867"/>
                <a:gd name="connsiteY131" fmla="*/ 89589 h 576485"/>
                <a:gd name="connsiteX132" fmla="*/ 44753 w 314867"/>
                <a:gd name="connsiteY132" fmla="*/ 86477 h 576485"/>
                <a:gd name="connsiteX133" fmla="*/ 45510 w 314867"/>
                <a:gd name="connsiteY133" fmla="*/ 84290 h 576485"/>
                <a:gd name="connsiteX134" fmla="*/ 40126 w 314867"/>
                <a:gd name="connsiteY134" fmla="*/ 74616 h 576485"/>
                <a:gd name="connsiteX135" fmla="*/ 40883 w 314867"/>
                <a:gd name="connsiteY135" fmla="*/ 69737 h 576485"/>
                <a:gd name="connsiteX136" fmla="*/ 41304 w 314867"/>
                <a:gd name="connsiteY136" fmla="*/ 69316 h 576485"/>
                <a:gd name="connsiteX137" fmla="*/ 43827 w 314867"/>
                <a:gd name="connsiteY137" fmla="*/ 70242 h 576485"/>
                <a:gd name="connsiteX138" fmla="*/ 48033 w 314867"/>
                <a:gd name="connsiteY138" fmla="*/ 61829 h 576485"/>
                <a:gd name="connsiteX139" fmla="*/ 50136 w 314867"/>
                <a:gd name="connsiteY139" fmla="*/ 59642 h 576485"/>
                <a:gd name="connsiteX140" fmla="*/ 57287 w 314867"/>
                <a:gd name="connsiteY140" fmla="*/ 63175 h 576485"/>
                <a:gd name="connsiteX141" fmla="*/ 60652 w 314867"/>
                <a:gd name="connsiteY141" fmla="*/ 63175 h 576485"/>
                <a:gd name="connsiteX142" fmla="*/ 61409 w 314867"/>
                <a:gd name="connsiteY142" fmla="*/ 62250 h 576485"/>
                <a:gd name="connsiteX143" fmla="*/ 56446 w 314867"/>
                <a:gd name="connsiteY143" fmla="*/ 57876 h 576485"/>
                <a:gd name="connsiteX144" fmla="*/ 55184 w 314867"/>
                <a:gd name="connsiteY144" fmla="*/ 56109 h 576485"/>
                <a:gd name="connsiteX145" fmla="*/ 56446 w 314867"/>
                <a:gd name="connsiteY145" fmla="*/ 50810 h 576485"/>
                <a:gd name="connsiteX146" fmla="*/ 62755 w 314867"/>
                <a:gd name="connsiteY146" fmla="*/ 56614 h 576485"/>
                <a:gd name="connsiteX147" fmla="*/ 63175 w 314867"/>
                <a:gd name="connsiteY147" fmla="*/ 56614 h 576485"/>
                <a:gd name="connsiteX148" fmla="*/ 63596 w 314867"/>
                <a:gd name="connsiteY148" fmla="*/ 56193 h 576485"/>
                <a:gd name="connsiteX149" fmla="*/ 65699 w 314867"/>
                <a:gd name="connsiteY149" fmla="*/ 57960 h 576485"/>
                <a:gd name="connsiteX150" fmla="*/ 66456 w 314867"/>
                <a:gd name="connsiteY150" fmla="*/ 58380 h 576485"/>
                <a:gd name="connsiteX151" fmla="*/ 66456 w 314867"/>
                <a:gd name="connsiteY151" fmla="*/ 56614 h 576485"/>
                <a:gd name="connsiteX152" fmla="*/ 66877 w 314867"/>
                <a:gd name="connsiteY152" fmla="*/ 56193 h 576485"/>
                <a:gd name="connsiteX153" fmla="*/ 68559 w 314867"/>
                <a:gd name="connsiteY153" fmla="*/ 57034 h 576485"/>
                <a:gd name="connsiteX154" fmla="*/ 68980 w 314867"/>
                <a:gd name="connsiteY154" fmla="*/ 55773 h 576485"/>
                <a:gd name="connsiteX155" fmla="*/ 66456 w 314867"/>
                <a:gd name="connsiteY155" fmla="*/ 48706 h 576485"/>
                <a:gd name="connsiteX156" fmla="*/ 66456 w 314867"/>
                <a:gd name="connsiteY156" fmla="*/ 47361 h 576485"/>
                <a:gd name="connsiteX157" fmla="*/ 72849 w 314867"/>
                <a:gd name="connsiteY157" fmla="*/ 45594 h 576485"/>
                <a:gd name="connsiteX158" fmla="*/ 76635 w 314867"/>
                <a:gd name="connsiteY158" fmla="*/ 44669 h 576485"/>
                <a:gd name="connsiteX159" fmla="*/ 79158 w 314867"/>
                <a:gd name="connsiteY159" fmla="*/ 39369 h 576485"/>
                <a:gd name="connsiteX160" fmla="*/ 87991 w 314867"/>
                <a:gd name="connsiteY160" fmla="*/ 45173 h 576485"/>
                <a:gd name="connsiteX161" fmla="*/ 91861 w 314867"/>
                <a:gd name="connsiteY161" fmla="*/ 45173 h 576485"/>
                <a:gd name="connsiteX162" fmla="*/ 94300 w 314867"/>
                <a:gd name="connsiteY162" fmla="*/ 45594 h 576485"/>
                <a:gd name="connsiteX163" fmla="*/ 99011 w 314867"/>
                <a:gd name="connsiteY163" fmla="*/ 44669 h 576485"/>
                <a:gd name="connsiteX164" fmla="*/ 104395 w 314867"/>
                <a:gd name="connsiteY164" fmla="*/ 46856 h 576485"/>
                <a:gd name="connsiteX165" fmla="*/ 113648 w 314867"/>
                <a:gd name="connsiteY165" fmla="*/ 42481 h 576485"/>
                <a:gd name="connsiteX166" fmla="*/ 121219 w 314867"/>
                <a:gd name="connsiteY166" fmla="*/ 40294 h 576485"/>
                <a:gd name="connsiteX167" fmla="*/ 126687 w 314867"/>
                <a:gd name="connsiteY167" fmla="*/ 38528 h 576485"/>
                <a:gd name="connsiteX168" fmla="*/ 126687 w 314867"/>
                <a:gd name="connsiteY168" fmla="*/ 32303 h 576485"/>
                <a:gd name="connsiteX169" fmla="*/ 126687 w 314867"/>
                <a:gd name="connsiteY169" fmla="*/ 26162 h 576485"/>
                <a:gd name="connsiteX170" fmla="*/ 130052 w 314867"/>
                <a:gd name="connsiteY170" fmla="*/ 21283 h 576485"/>
                <a:gd name="connsiteX171" fmla="*/ 129295 w 314867"/>
                <a:gd name="connsiteY171" fmla="*/ 20862 h 576485"/>
                <a:gd name="connsiteX172" fmla="*/ 124668 w 314867"/>
                <a:gd name="connsiteY172" fmla="*/ 23049 h 576485"/>
                <a:gd name="connsiteX173" fmla="*/ 124248 w 314867"/>
                <a:gd name="connsiteY173" fmla="*/ 22629 h 576485"/>
                <a:gd name="connsiteX174" fmla="*/ 125509 w 314867"/>
                <a:gd name="connsiteY174" fmla="*/ 18675 h 576485"/>
                <a:gd name="connsiteX175" fmla="*/ 117938 w 314867"/>
                <a:gd name="connsiteY175" fmla="*/ 13796 h 576485"/>
                <a:gd name="connsiteX176" fmla="*/ 107423 w 314867"/>
                <a:gd name="connsiteY176" fmla="*/ 18170 h 576485"/>
                <a:gd name="connsiteX177" fmla="*/ 102797 w 314867"/>
                <a:gd name="connsiteY177" fmla="*/ 10683 h 576485"/>
                <a:gd name="connsiteX178" fmla="*/ 99432 w 314867"/>
                <a:gd name="connsiteY178" fmla="*/ 7235 h 576485"/>
                <a:gd name="connsiteX179" fmla="*/ 99432 w 314867"/>
                <a:gd name="connsiteY179" fmla="*/ 4963 h 576485"/>
                <a:gd name="connsiteX180" fmla="*/ 101198 w 314867"/>
                <a:gd name="connsiteY180" fmla="*/ 4963 h 576485"/>
                <a:gd name="connsiteX181" fmla="*/ 102881 w 314867"/>
                <a:gd name="connsiteY181" fmla="*/ 5384 h 576485"/>
                <a:gd name="connsiteX182" fmla="*/ 105404 w 314867"/>
                <a:gd name="connsiteY182" fmla="*/ 3617 h 576485"/>
                <a:gd name="connsiteX183" fmla="*/ 110452 w 314867"/>
                <a:gd name="connsiteY183" fmla="*/ 9758 h 576485"/>
                <a:gd name="connsiteX184" fmla="*/ 110872 w 314867"/>
                <a:gd name="connsiteY184" fmla="*/ 9338 h 576485"/>
                <a:gd name="connsiteX185" fmla="*/ 110452 w 314867"/>
                <a:gd name="connsiteY185" fmla="*/ 7150 h 576485"/>
                <a:gd name="connsiteX186" fmla="*/ 112134 w 314867"/>
                <a:gd name="connsiteY186" fmla="*/ 2692 h 576485"/>
                <a:gd name="connsiteX187" fmla="*/ 114237 w 314867"/>
                <a:gd name="connsiteY187" fmla="*/ 4038 h 576485"/>
                <a:gd name="connsiteX188" fmla="*/ 116761 w 314867"/>
                <a:gd name="connsiteY188" fmla="*/ 3112 h 576485"/>
                <a:gd name="connsiteX189" fmla="*/ 118864 w 314867"/>
                <a:gd name="connsiteY189" fmla="*/ 6225 h 576485"/>
                <a:gd name="connsiteX190" fmla="*/ 122733 w 314867"/>
                <a:gd name="connsiteY190" fmla="*/ 7992 h 576485"/>
                <a:gd name="connsiteX191" fmla="*/ 123070 w 314867"/>
                <a:gd name="connsiteY191" fmla="*/ 7150 h 576485"/>
                <a:gd name="connsiteX192" fmla="*/ 121808 w 314867"/>
                <a:gd name="connsiteY192" fmla="*/ 2187 h 576485"/>
                <a:gd name="connsiteX193" fmla="*/ 123911 w 314867"/>
                <a:gd name="connsiteY193" fmla="*/ 0 h 576485"/>
                <a:gd name="connsiteX194" fmla="*/ 124752 w 314867"/>
                <a:gd name="connsiteY194" fmla="*/ 4038 h 576485"/>
                <a:gd name="connsiteX195" fmla="*/ 124752 w 314867"/>
                <a:gd name="connsiteY195" fmla="*/ 8917 h 576485"/>
                <a:gd name="connsiteX196" fmla="*/ 126435 w 314867"/>
                <a:gd name="connsiteY196" fmla="*/ 12871 h 576485"/>
                <a:gd name="connsiteX197" fmla="*/ 128538 w 314867"/>
                <a:gd name="connsiteY197" fmla="*/ 16404 h 576485"/>
                <a:gd name="connsiteX198" fmla="*/ 133165 w 314867"/>
                <a:gd name="connsiteY198" fmla="*/ 15478 h 576485"/>
                <a:gd name="connsiteX199" fmla="*/ 135268 w 314867"/>
                <a:gd name="connsiteY199" fmla="*/ 11945 h 576485"/>
                <a:gd name="connsiteX200" fmla="*/ 147886 w 314867"/>
                <a:gd name="connsiteY200" fmla="*/ 25236 h 576485"/>
                <a:gd name="connsiteX201" fmla="*/ 151167 w 314867"/>
                <a:gd name="connsiteY201" fmla="*/ 25236 h 576485"/>
                <a:gd name="connsiteX202" fmla="*/ 154531 w 314867"/>
                <a:gd name="connsiteY202" fmla="*/ 27424 h 576485"/>
                <a:gd name="connsiteX203" fmla="*/ 161682 w 314867"/>
                <a:gd name="connsiteY203" fmla="*/ 29274 h 576485"/>
                <a:gd name="connsiteX204" fmla="*/ 163785 w 314867"/>
                <a:gd name="connsiteY204" fmla="*/ 27424 h 576485"/>
                <a:gd name="connsiteX205" fmla="*/ 169253 w 314867"/>
                <a:gd name="connsiteY205" fmla="*/ 25236 h 576485"/>
                <a:gd name="connsiteX206" fmla="*/ 169673 w 314867"/>
                <a:gd name="connsiteY206" fmla="*/ 26162 h 576485"/>
                <a:gd name="connsiteX207" fmla="*/ 167570 w 314867"/>
                <a:gd name="connsiteY207" fmla="*/ 29611 h 576485"/>
                <a:gd name="connsiteX208" fmla="*/ 171776 w 314867"/>
                <a:gd name="connsiteY208" fmla="*/ 33144 h 576485"/>
                <a:gd name="connsiteX209" fmla="*/ 175141 w 314867"/>
                <a:gd name="connsiteY209" fmla="*/ 31377 h 576485"/>
                <a:gd name="connsiteX210" fmla="*/ 179768 w 314867"/>
                <a:gd name="connsiteY210" fmla="*/ 38444 h 576485"/>
                <a:gd name="connsiteX211" fmla="*/ 180609 w 314867"/>
                <a:gd name="connsiteY211" fmla="*/ 38864 h 576485"/>
                <a:gd name="connsiteX212" fmla="*/ 182712 w 314867"/>
                <a:gd name="connsiteY212" fmla="*/ 35331 h 576485"/>
                <a:gd name="connsiteX213" fmla="*/ 190283 w 314867"/>
                <a:gd name="connsiteY213" fmla="*/ 38444 h 576485"/>
                <a:gd name="connsiteX214" fmla="*/ 194068 w 314867"/>
                <a:gd name="connsiteY214" fmla="*/ 38444 h 576485"/>
                <a:gd name="connsiteX215" fmla="*/ 199536 w 314867"/>
                <a:gd name="connsiteY215" fmla="*/ 34069 h 576485"/>
                <a:gd name="connsiteX216" fmla="*/ 208790 w 314867"/>
                <a:gd name="connsiteY216" fmla="*/ 41977 h 576485"/>
                <a:gd name="connsiteX217" fmla="*/ 211313 w 314867"/>
                <a:gd name="connsiteY217" fmla="*/ 45089 h 576485"/>
                <a:gd name="connsiteX218" fmla="*/ 213837 w 314867"/>
                <a:gd name="connsiteY218" fmla="*/ 44248 h 576485"/>
                <a:gd name="connsiteX219" fmla="*/ 218043 w 314867"/>
                <a:gd name="connsiteY219" fmla="*/ 46435 h 576485"/>
                <a:gd name="connsiteX220" fmla="*/ 221408 w 314867"/>
                <a:gd name="connsiteY220" fmla="*/ 43743 h 576485"/>
                <a:gd name="connsiteX221" fmla="*/ 218884 w 314867"/>
                <a:gd name="connsiteY221" fmla="*/ 43743 h 576485"/>
                <a:gd name="connsiteX222" fmla="*/ 221745 w 314867"/>
                <a:gd name="connsiteY222" fmla="*/ 39705 h 576485"/>
                <a:gd name="connsiteX223" fmla="*/ 223932 w 314867"/>
                <a:gd name="connsiteY223" fmla="*/ 40631 h 576485"/>
                <a:gd name="connsiteX224" fmla="*/ 227296 w 314867"/>
                <a:gd name="connsiteY224" fmla="*/ 37098 h 576485"/>
                <a:gd name="connsiteX225" fmla="*/ 228979 w 314867"/>
                <a:gd name="connsiteY225" fmla="*/ 37518 h 576485"/>
                <a:gd name="connsiteX226" fmla="*/ 231923 w 314867"/>
                <a:gd name="connsiteY226" fmla="*/ 36256 h 576485"/>
                <a:gd name="connsiteX227" fmla="*/ 230241 w 314867"/>
                <a:gd name="connsiteY227" fmla="*/ 35331 h 576485"/>
                <a:gd name="connsiteX228" fmla="*/ 238232 w 314867"/>
                <a:gd name="connsiteY228" fmla="*/ 32219 h 576485"/>
                <a:gd name="connsiteX229" fmla="*/ 238569 w 314867"/>
                <a:gd name="connsiteY229" fmla="*/ 32219 h 576485"/>
                <a:gd name="connsiteX230" fmla="*/ 234363 w 314867"/>
                <a:gd name="connsiteY230" fmla="*/ 40631 h 576485"/>
                <a:gd name="connsiteX231" fmla="*/ 233101 w 314867"/>
                <a:gd name="connsiteY231" fmla="*/ 43323 h 576485"/>
                <a:gd name="connsiteX232" fmla="*/ 233101 w 314867"/>
                <a:gd name="connsiteY232" fmla="*/ 45089 h 576485"/>
                <a:gd name="connsiteX233" fmla="*/ 234363 w 314867"/>
                <a:gd name="connsiteY233" fmla="*/ 45089 h 576485"/>
                <a:gd name="connsiteX234" fmla="*/ 238989 w 314867"/>
                <a:gd name="connsiteY234" fmla="*/ 41977 h 576485"/>
                <a:gd name="connsiteX235" fmla="*/ 240251 w 314867"/>
                <a:gd name="connsiteY235" fmla="*/ 43323 h 576485"/>
                <a:gd name="connsiteX236" fmla="*/ 244457 w 314867"/>
                <a:gd name="connsiteY236" fmla="*/ 46435 h 576485"/>
                <a:gd name="connsiteX237" fmla="*/ 242691 w 314867"/>
                <a:gd name="connsiteY237" fmla="*/ 50810 h 576485"/>
                <a:gd name="connsiteX238" fmla="*/ 242691 w 314867"/>
                <a:gd name="connsiteY238" fmla="*/ 52576 h 576485"/>
                <a:gd name="connsiteX239" fmla="*/ 249084 w 314867"/>
                <a:gd name="connsiteY239" fmla="*/ 52576 h 576485"/>
                <a:gd name="connsiteX240" fmla="*/ 250346 w 314867"/>
                <a:gd name="connsiteY240" fmla="*/ 52997 h 576485"/>
                <a:gd name="connsiteX241" fmla="*/ 254973 w 314867"/>
                <a:gd name="connsiteY241" fmla="*/ 47697 h 576485"/>
                <a:gd name="connsiteX242" fmla="*/ 257076 w 314867"/>
                <a:gd name="connsiteY242" fmla="*/ 43743 h 576485"/>
                <a:gd name="connsiteX243" fmla="*/ 250766 w 314867"/>
                <a:gd name="connsiteY243" fmla="*/ 41051 h 576485"/>
                <a:gd name="connsiteX244" fmla="*/ 255393 w 314867"/>
                <a:gd name="connsiteY244" fmla="*/ 37518 h 576485"/>
                <a:gd name="connsiteX245" fmla="*/ 260861 w 314867"/>
                <a:gd name="connsiteY245" fmla="*/ 34069 h 576485"/>
                <a:gd name="connsiteX246" fmla="*/ 265908 w 314867"/>
                <a:gd name="connsiteY246" fmla="*/ 43323 h 576485"/>
                <a:gd name="connsiteX247" fmla="*/ 269273 w 314867"/>
                <a:gd name="connsiteY247" fmla="*/ 46015 h 576485"/>
                <a:gd name="connsiteX248" fmla="*/ 270114 w 314867"/>
                <a:gd name="connsiteY248" fmla="*/ 44248 h 576485"/>
                <a:gd name="connsiteX249" fmla="*/ 269694 w 314867"/>
                <a:gd name="connsiteY249" fmla="*/ 41556 h 576485"/>
                <a:gd name="connsiteX250" fmla="*/ 270535 w 314867"/>
                <a:gd name="connsiteY250" fmla="*/ 41136 h 576485"/>
                <a:gd name="connsiteX251" fmla="*/ 274741 w 314867"/>
                <a:gd name="connsiteY251" fmla="*/ 46015 h 576485"/>
                <a:gd name="connsiteX252" fmla="*/ 272218 w 314867"/>
                <a:gd name="connsiteY252" fmla="*/ 52576 h 576485"/>
                <a:gd name="connsiteX253" fmla="*/ 270535 w 314867"/>
                <a:gd name="connsiteY253" fmla="*/ 51651 h 576485"/>
                <a:gd name="connsiteX254" fmla="*/ 268853 w 314867"/>
                <a:gd name="connsiteY254" fmla="*/ 51651 h 576485"/>
                <a:gd name="connsiteX255" fmla="*/ 264562 w 314867"/>
                <a:gd name="connsiteY255" fmla="*/ 63175 h 576485"/>
                <a:gd name="connsiteX256" fmla="*/ 262880 w 314867"/>
                <a:gd name="connsiteY256" fmla="*/ 62755 h 576485"/>
                <a:gd name="connsiteX257" fmla="*/ 259936 w 314867"/>
                <a:gd name="connsiteY257" fmla="*/ 64521 h 576485"/>
                <a:gd name="connsiteX258" fmla="*/ 263805 w 314867"/>
                <a:gd name="connsiteY258" fmla="*/ 70746 h 576485"/>
                <a:gd name="connsiteX259" fmla="*/ 259179 w 314867"/>
                <a:gd name="connsiteY259" fmla="*/ 72008 h 576485"/>
                <a:gd name="connsiteX260" fmla="*/ 262039 w 314867"/>
                <a:gd name="connsiteY260" fmla="*/ 75541 h 576485"/>
                <a:gd name="connsiteX261" fmla="*/ 258253 w 314867"/>
                <a:gd name="connsiteY261" fmla="*/ 80420 h 576485"/>
                <a:gd name="connsiteX262" fmla="*/ 256571 w 314867"/>
                <a:gd name="connsiteY262" fmla="*/ 74195 h 576485"/>
                <a:gd name="connsiteX263" fmla="*/ 255730 w 314867"/>
                <a:gd name="connsiteY263" fmla="*/ 74195 h 576485"/>
                <a:gd name="connsiteX264" fmla="*/ 252365 w 314867"/>
                <a:gd name="connsiteY264" fmla="*/ 77308 h 576485"/>
                <a:gd name="connsiteX265" fmla="*/ 252365 w 314867"/>
                <a:gd name="connsiteY265" fmla="*/ 77728 h 576485"/>
                <a:gd name="connsiteX266" fmla="*/ 252785 w 314867"/>
                <a:gd name="connsiteY266" fmla="*/ 78654 h 576485"/>
                <a:gd name="connsiteX267" fmla="*/ 249000 w 314867"/>
                <a:gd name="connsiteY267" fmla="*/ 81682 h 576485"/>
                <a:gd name="connsiteX268" fmla="*/ 247738 w 314867"/>
                <a:gd name="connsiteY268" fmla="*/ 76383 h 576485"/>
                <a:gd name="connsiteX269" fmla="*/ 245214 w 314867"/>
                <a:gd name="connsiteY269" fmla="*/ 80841 h 576485"/>
                <a:gd name="connsiteX270" fmla="*/ 244457 w 314867"/>
                <a:gd name="connsiteY270" fmla="*/ 79916 h 576485"/>
                <a:gd name="connsiteX271" fmla="*/ 239410 w 314867"/>
                <a:gd name="connsiteY271" fmla="*/ 84795 h 576485"/>
                <a:gd name="connsiteX272" fmla="*/ 241513 w 314867"/>
                <a:gd name="connsiteY272" fmla="*/ 88328 h 576485"/>
                <a:gd name="connsiteX273" fmla="*/ 240672 w 314867"/>
                <a:gd name="connsiteY273" fmla="*/ 88328 h 576485"/>
                <a:gd name="connsiteX274" fmla="*/ 239410 w 314867"/>
                <a:gd name="connsiteY274" fmla="*/ 87907 h 576485"/>
                <a:gd name="connsiteX275" fmla="*/ 238569 w 314867"/>
                <a:gd name="connsiteY275" fmla="*/ 94048 h 576485"/>
                <a:gd name="connsiteX276" fmla="*/ 242775 w 314867"/>
                <a:gd name="connsiteY276" fmla="*/ 100273 h 576485"/>
                <a:gd name="connsiteX277" fmla="*/ 240672 w 314867"/>
                <a:gd name="connsiteY277" fmla="*/ 114405 h 576485"/>
                <a:gd name="connsiteX278" fmla="*/ 233522 w 314867"/>
                <a:gd name="connsiteY278" fmla="*/ 121472 h 576485"/>
                <a:gd name="connsiteX279" fmla="*/ 226792 w 314867"/>
                <a:gd name="connsiteY279" fmla="*/ 134258 h 576485"/>
                <a:gd name="connsiteX280" fmla="*/ 223006 w 314867"/>
                <a:gd name="connsiteY280" fmla="*/ 138632 h 576485"/>
                <a:gd name="connsiteX281" fmla="*/ 223006 w 314867"/>
                <a:gd name="connsiteY281" fmla="*/ 143511 h 576485"/>
                <a:gd name="connsiteX282" fmla="*/ 225951 w 314867"/>
                <a:gd name="connsiteY282" fmla="*/ 146203 h 576485"/>
                <a:gd name="connsiteX283" fmla="*/ 234363 w 314867"/>
                <a:gd name="connsiteY283" fmla="*/ 152849 h 576485"/>
                <a:gd name="connsiteX284" fmla="*/ 239410 w 314867"/>
                <a:gd name="connsiteY284" fmla="*/ 156803 h 576485"/>
                <a:gd name="connsiteX285" fmla="*/ 252449 w 314867"/>
                <a:gd name="connsiteY285" fmla="*/ 164289 h 576485"/>
                <a:gd name="connsiteX286" fmla="*/ 254973 w 314867"/>
                <a:gd name="connsiteY286" fmla="*/ 170094 h 576485"/>
                <a:gd name="connsiteX287" fmla="*/ 265992 w 314867"/>
                <a:gd name="connsiteY287" fmla="*/ 178927 h 576485"/>
                <a:gd name="connsiteX288" fmla="*/ 269357 w 314867"/>
                <a:gd name="connsiteY288" fmla="*/ 182880 h 576485"/>
                <a:gd name="connsiteX289" fmla="*/ 271460 w 314867"/>
                <a:gd name="connsiteY289" fmla="*/ 182039 h 576485"/>
                <a:gd name="connsiteX290" fmla="*/ 274825 w 314867"/>
                <a:gd name="connsiteY290" fmla="*/ 182880 h 576485"/>
                <a:gd name="connsiteX291" fmla="*/ 276508 w 314867"/>
                <a:gd name="connsiteY291" fmla="*/ 182039 h 576485"/>
                <a:gd name="connsiteX292" fmla="*/ 278611 w 314867"/>
                <a:gd name="connsiteY292" fmla="*/ 182039 h 576485"/>
                <a:gd name="connsiteX293" fmla="*/ 286602 w 314867"/>
                <a:gd name="connsiteY293" fmla="*/ 187759 h 576485"/>
                <a:gd name="connsiteX294" fmla="*/ 292491 w 314867"/>
                <a:gd name="connsiteY294" fmla="*/ 190872 h 576485"/>
                <a:gd name="connsiteX295" fmla="*/ 304268 w 314867"/>
                <a:gd name="connsiteY295" fmla="*/ 196676 h 576485"/>
                <a:gd name="connsiteX296" fmla="*/ 304268 w 314867"/>
                <a:gd name="connsiteY296" fmla="*/ 197518 h 576485"/>
                <a:gd name="connsiteX297" fmla="*/ 303847 w 314867"/>
                <a:gd name="connsiteY297" fmla="*/ 198443 h 576485"/>
                <a:gd name="connsiteX298" fmla="*/ 305530 w 314867"/>
                <a:gd name="connsiteY298" fmla="*/ 199368 h 576485"/>
                <a:gd name="connsiteX299" fmla="*/ 309315 w 314867"/>
                <a:gd name="connsiteY299" fmla="*/ 202817 h 576485"/>
                <a:gd name="connsiteX300" fmla="*/ 314362 w 314867"/>
                <a:gd name="connsiteY300" fmla="*/ 208117 h 576485"/>
                <a:gd name="connsiteX301" fmla="*/ 314362 w 314867"/>
                <a:gd name="connsiteY301" fmla="*/ 208117 h 576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Lst>
              <a:rect l="l" t="t" r="r" b="b"/>
              <a:pathLst>
                <a:path w="314867" h="576485">
                  <a:moveTo>
                    <a:pt x="78822" y="4458"/>
                  </a:moveTo>
                  <a:lnTo>
                    <a:pt x="78822" y="4458"/>
                  </a:lnTo>
                  <a:cubicBezTo>
                    <a:pt x="78401" y="7907"/>
                    <a:pt x="78822" y="9674"/>
                    <a:pt x="78822" y="13291"/>
                  </a:cubicBezTo>
                  <a:cubicBezTo>
                    <a:pt x="77981" y="11104"/>
                    <a:pt x="77560" y="8917"/>
                    <a:pt x="75457" y="8917"/>
                  </a:cubicBezTo>
                  <a:cubicBezTo>
                    <a:pt x="73354" y="8917"/>
                    <a:pt x="71167" y="9758"/>
                    <a:pt x="71167" y="11945"/>
                  </a:cubicBezTo>
                  <a:lnTo>
                    <a:pt x="71167" y="15983"/>
                  </a:lnTo>
                  <a:cubicBezTo>
                    <a:pt x="69905" y="13796"/>
                    <a:pt x="70746" y="9758"/>
                    <a:pt x="68307" y="9758"/>
                  </a:cubicBezTo>
                  <a:cubicBezTo>
                    <a:pt x="65867" y="9758"/>
                    <a:pt x="64437" y="11945"/>
                    <a:pt x="61914" y="12450"/>
                  </a:cubicBezTo>
                  <a:cubicBezTo>
                    <a:pt x="62334" y="14301"/>
                    <a:pt x="63175" y="15142"/>
                    <a:pt x="64017" y="17329"/>
                  </a:cubicBezTo>
                  <a:lnTo>
                    <a:pt x="63259" y="17329"/>
                  </a:lnTo>
                  <a:cubicBezTo>
                    <a:pt x="61156" y="16067"/>
                    <a:pt x="60315" y="14301"/>
                    <a:pt x="57791" y="12955"/>
                  </a:cubicBezTo>
                  <a:cubicBezTo>
                    <a:pt x="56109" y="12534"/>
                    <a:pt x="54427" y="12029"/>
                    <a:pt x="54006" y="9842"/>
                  </a:cubicBezTo>
                  <a:lnTo>
                    <a:pt x="55688" y="9842"/>
                  </a:lnTo>
                  <a:cubicBezTo>
                    <a:pt x="55688" y="9842"/>
                    <a:pt x="55688" y="9001"/>
                    <a:pt x="56109" y="8580"/>
                  </a:cubicBezTo>
                  <a:cubicBezTo>
                    <a:pt x="53165" y="8160"/>
                    <a:pt x="51903" y="5889"/>
                    <a:pt x="48959" y="4627"/>
                  </a:cubicBezTo>
                  <a:cubicBezTo>
                    <a:pt x="48959" y="4627"/>
                    <a:pt x="48538" y="5047"/>
                    <a:pt x="48538" y="5468"/>
                  </a:cubicBezTo>
                  <a:cubicBezTo>
                    <a:pt x="48538" y="12029"/>
                    <a:pt x="52324" y="15142"/>
                    <a:pt x="52324" y="22208"/>
                  </a:cubicBezTo>
                  <a:cubicBezTo>
                    <a:pt x="54427" y="22208"/>
                    <a:pt x="55688" y="22629"/>
                    <a:pt x="56950" y="23554"/>
                  </a:cubicBezTo>
                  <a:cubicBezTo>
                    <a:pt x="59053" y="24395"/>
                    <a:pt x="58212" y="27003"/>
                    <a:pt x="59895" y="28433"/>
                  </a:cubicBezTo>
                  <a:cubicBezTo>
                    <a:pt x="61577" y="29358"/>
                    <a:pt x="62839" y="28433"/>
                    <a:pt x="64942" y="28854"/>
                  </a:cubicBezTo>
                  <a:cubicBezTo>
                    <a:pt x="66624" y="29695"/>
                    <a:pt x="67465" y="31041"/>
                    <a:pt x="68727" y="32807"/>
                  </a:cubicBezTo>
                  <a:cubicBezTo>
                    <a:pt x="69989" y="31966"/>
                    <a:pt x="69989" y="30116"/>
                    <a:pt x="71251" y="29358"/>
                  </a:cubicBezTo>
                  <a:cubicBezTo>
                    <a:pt x="73017" y="28013"/>
                    <a:pt x="75121" y="28433"/>
                    <a:pt x="76719" y="26667"/>
                  </a:cubicBezTo>
                  <a:cubicBezTo>
                    <a:pt x="79243" y="24395"/>
                    <a:pt x="79243" y="20021"/>
                    <a:pt x="82607" y="20021"/>
                  </a:cubicBezTo>
                  <a:cubicBezTo>
                    <a:pt x="83449" y="20021"/>
                    <a:pt x="83869" y="20441"/>
                    <a:pt x="84795" y="20441"/>
                  </a:cubicBezTo>
                  <a:cubicBezTo>
                    <a:pt x="86056" y="17750"/>
                    <a:pt x="88159" y="16488"/>
                    <a:pt x="88159" y="13880"/>
                  </a:cubicBezTo>
                  <a:cubicBezTo>
                    <a:pt x="88159" y="11693"/>
                    <a:pt x="85636" y="12029"/>
                    <a:pt x="84795" y="10347"/>
                  </a:cubicBezTo>
                  <a:cubicBezTo>
                    <a:pt x="82607" y="7655"/>
                    <a:pt x="81850" y="5973"/>
                    <a:pt x="78906" y="4627"/>
                  </a:cubicBezTo>
                  <a:lnTo>
                    <a:pt x="78906" y="4627"/>
                  </a:lnTo>
                  <a:close/>
                  <a:moveTo>
                    <a:pt x="48118" y="12786"/>
                  </a:moveTo>
                  <a:lnTo>
                    <a:pt x="48118" y="12786"/>
                  </a:lnTo>
                  <a:cubicBezTo>
                    <a:pt x="48959" y="15899"/>
                    <a:pt x="47276" y="17161"/>
                    <a:pt x="46856" y="20273"/>
                  </a:cubicBezTo>
                  <a:cubicBezTo>
                    <a:pt x="48118" y="20273"/>
                    <a:pt x="49379" y="19853"/>
                    <a:pt x="50221" y="20694"/>
                  </a:cubicBezTo>
                  <a:lnTo>
                    <a:pt x="49800" y="22461"/>
                  </a:lnTo>
                  <a:lnTo>
                    <a:pt x="49800" y="23807"/>
                  </a:lnTo>
                  <a:cubicBezTo>
                    <a:pt x="52744" y="24227"/>
                    <a:pt x="54427" y="25068"/>
                    <a:pt x="56614" y="27255"/>
                  </a:cubicBezTo>
                  <a:cubicBezTo>
                    <a:pt x="55773" y="27676"/>
                    <a:pt x="54847" y="28601"/>
                    <a:pt x="53669" y="28601"/>
                  </a:cubicBezTo>
                  <a:cubicBezTo>
                    <a:pt x="49800" y="28601"/>
                    <a:pt x="47781" y="26414"/>
                    <a:pt x="43996" y="26414"/>
                  </a:cubicBezTo>
                  <a:cubicBezTo>
                    <a:pt x="41472" y="26414"/>
                    <a:pt x="40210" y="27255"/>
                    <a:pt x="38107" y="27676"/>
                  </a:cubicBezTo>
                  <a:cubicBezTo>
                    <a:pt x="38528" y="26414"/>
                    <a:pt x="38528" y="24984"/>
                    <a:pt x="38948" y="23722"/>
                  </a:cubicBezTo>
                  <a:lnTo>
                    <a:pt x="40210" y="23722"/>
                  </a:lnTo>
                  <a:cubicBezTo>
                    <a:pt x="40210" y="23722"/>
                    <a:pt x="40967" y="24143"/>
                    <a:pt x="41472" y="24143"/>
                  </a:cubicBezTo>
                  <a:cubicBezTo>
                    <a:pt x="43154" y="24143"/>
                    <a:pt x="45257" y="24564"/>
                    <a:pt x="45257" y="22881"/>
                  </a:cubicBezTo>
                  <a:cubicBezTo>
                    <a:pt x="45257" y="20189"/>
                    <a:pt x="43154" y="19769"/>
                    <a:pt x="42397" y="17581"/>
                  </a:cubicBezTo>
                  <a:lnTo>
                    <a:pt x="43154" y="15815"/>
                  </a:lnTo>
                  <a:cubicBezTo>
                    <a:pt x="42397" y="15815"/>
                    <a:pt x="41893" y="15394"/>
                    <a:pt x="41472" y="15394"/>
                  </a:cubicBezTo>
                  <a:lnTo>
                    <a:pt x="41893" y="14469"/>
                  </a:lnTo>
                  <a:cubicBezTo>
                    <a:pt x="44416" y="13207"/>
                    <a:pt x="45257" y="11441"/>
                    <a:pt x="46940" y="9590"/>
                  </a:cubicBezTo>
                  <a:cubicBezTo>
                    <a:pt x="47697" y="10515"/>
                    <a:pt x="48202" y="11441"/>
                    <a:pt x="48202" y="12702"/>
                  </a:cubicBezTo>
                  <a:lnTo>
                    <a:pt x="48202" y="12702"/>
                  </a:lnTo>
                  <a:close/>
                  <a:moveTo>
                    <a:pt x="259767" y="104143"/>
                  </a:moveTo>
                  <a:lnTo>
                    <a:pt x="259767" y="104143"/>
                  </a:lnTo>
                  <a:cubicBezTo>
                    <a:pt x="259767" y="105489"/>
                    <a:pt x="260188" y="106330"/>
                    <a:pt x="260188" y="107676"/>
                  </a:cubicBezTo>
                  <a:cubicBezTo>
                    <a:pt x="260188" y="111125"/>
                    <a:pt x="259767" y="113396"/>
                    <a:pt x="259431" y="117350"/>
                  </a:cubicBezTo>
                  <a:cubicBezTo>
                    <a:pt x="265319" y="117350"/>
                    <a:pt x="268264" y="120799"/>
                    <a:pt x="274152" y="120799"/>
                  </a:cubicBezTo>
                  <a:cubicBezTo>
                    <a:pt x="274994" y="120799"/>
                    <a:pt x="275919" y="120378"/>
                    <a:pt x="276676" y="120799"/>
                  </a:cubicBezTo>
                  <a:lnTo>
                    <a:pt x="276676" y="117350"/>
                  </a:lnTo>
                  <a:lnTo>
                    <a:pt x="276255" y="116929"/>
                  </a:lnTo>
                  <a:cubicBezTo>
                    <a:pt x="275498" y="117854"/>
                    <a:pt x="274994" y="118696"/>
                    <a:pt x="273816" y="118696"/>
                  </a:cubicBezTo>
                  <a:cubicBezTo>
                    <a:pt x="272975" y="118696"/>
                    <a:pt x="272975" y="117434"/>
                    <a:pt x="272554" y="117434"/>
                  </a:cubicBezTo>
                  <a:cubicBezTo>
                    <a:pt x="271713" y="117434"/>
                    <a:pt x="271292" y="117854"/>
                    <a:pt x="270872" y="117854"/>
                  </a:cubicBezTo>
                  <a:cubicBezTo>
                    <a:pt x="269189" y="117854"/>
                    <a:pt x="268348" y="116508"/>
                    <a:pt x="268348" y="115162"/>
                  </a:cubicBezTo>
                  <a:cubicBezTo>
                    <a:pt x="268348" y="112975"/>
                    <a:pt x="270030" y="112975"/>
                    <a:pt x="270872" y="111125"/>
                  </a:cubicBezTo>
                  <a:cubicBezTo>
                    <a:pt x="269610" y="110704"/>
                    <a:pt x="268348" y="109863"/>
                    <a:pt x="268348" y="108433"/>
                  </a:cubicBezTo>
                  <a:cubicBezTo>
                    <a:pt x="268348" y="107592"/>
                    <a:pt x="268768" y="107171"/>
                    <a:pt x="268768" y="106246"/>
                  </a:cubicBezTo>
                  <a:lnTo>
                    <a:pt x="270872" y="106246"/>
                  </a:lnTo>
                  <a:cubicBezTo>
                    <a:pt x="273395" y="106246"/>
                    <a:pt x="276760" y="104984"/>
                    <a:pt x="271629" y="104984"/>
                  </a:cubicBezTo>
                  <a:cubicBezTo>
                    <a:pt x="269946" y="104984"/>
                    <a:pt x="268264" y="103638"/>
                    <a:pt x="268264" y="101871"/>
                  </a:cubicBezTo>
                  <a:cubicBezTo>
                    <a:pt x="268264" y="100609"/>
                    <a:pt x="269105" y="100105"/>
                    <a:pt x="269105" y="98759"/>
                  </a:cubicBezTo>
                  <a:cubicBezTo>
                    <a:pt x="269105" y="96992"/>
                    <a:pt x="266918" y="100609"/>
                    <a:pt x="266161" y="101871"/>
                  </a:cubicBezTo>
                  <a:cubicBezTo>
                    <a:pt x="264899" y="104058"/>
                    <a:pt x="262291" y="104058"/>
                    <a:pt x="259767" y="104058"/>
                  </a:cubicBezTo>
                  <a:lnTo>
                    <a:pt x="259767" y="104058"/>
                  </a:lnTo>
                  <a:close/>
                  <a:moveTo>
                    <a:pt x="253038" y="98338"/>
                  </a:moveTo>
                  <a:lnTo>
                    <a:pt x="253038" y="98338"/>
                  </a:lnTo>
                  <a:cubicBezTo>
                    <a:pt x="252281" y="97918"/>
                    <a:pt x="251776" y="97918"/>
                    <a:pt x="250935" y="97497"/>
                  </a:cubicBezTo>
                  <a:cubicBezTo>
                    <a:pt x="250514" y="98338"/>
                    <a:pt x="250514" y="98759"/>
                    <a:pt x="250514" y="99263"/>
                  </a:cubicBezTo>
                  <a:cubicBezTo>
                    <a:pt x="250514" y="101451"/>
                    <a:pt x="251355" y="102376"/>
                    <a:pt x="252617" y="104143"/>
                  </a:cubicBezTo>
                  <a:cubicBezTo>
                    <a:pt x="252617" y="101955"/>
                    <a:pt x="253458" y="100694"/>
                    <a:pt x="253038" y="98338"/>
                  </a:cubicBezTo>
                  <a:lnTo>
                    <a:pt x="253038" y="98338"/>
                  </a:lnTo>
                  <a:close/>
                  <a:moveTo>
                    <a:pt x="281639" y="174805"/>
                  </a:moveTo>
                  <a:lnTo>
                    <a:pt x="281639" y="174805"/>
                  </a:lnTo>
                  <a:cubicBezTo>
                    <a:pt x="280882" y="173459"/>
                    <a:pt x="280882" y="171692"/>
                    <a:pt x="279115" y="171692"/>
                  </a:cubicBezTo>
                  <a:cubicBezTo>
                    <a:pt x="278274" y="171692"/>
                    <a:pt x="277433" y="172113"/>
                    <a:pt x="276592" y="172954"/>
                  </a:cubicBezTo>
                  <a:cubicBezTo>
                    <a:pt x="278274" y="175646"/>
                    <a:pt x="279536" y="176487"/>
                    <a:pt x="281639" y="178254"/>
                  </a:cubicBezTo>
                  <a:cubicBezTo>
                    <a:pt x="281639" y="177833"/>
                    <a:pt x="282060" y="177412"/>
                    <a:pt x="282060" y="176992"/>
                  </a:cubicBezTo>
                  <a:cubicBezTo>
                    <a:pt x="282060" y="176571"/>
                    <a:pt x="281639" y="175141"/>
                    <a:pt x="281639" y="174805"/>
                  </a:cubicBezTo>
                  <a:lnTo>
                    <a:pt x="281639" y="174805"/>
                  </a:lnTo>
                  <a:close/>
                  <a:moveTo>
                    <a:pt x="314446" y="207864"/>
                  </a:moveTo>
                  <a:lnTo>
                    <a:pt x="314446" y="207864"/>
                  </a:lnTo>
                  <a:lnTo>
                    <a:pt x="314867" y="576485"/>
                  </a:lnTo>
                  <a:lnTo>
                    <a:pt x="314867" y="576485"/>
                  </a:lnTo>
                  <a:lnTo>
                    <a:pt x="1766" y="575224"/>
                  </a:lnTo>
                  <a:lnTo>
                    <a:pt x="1766" y="575224"/>
                  </a:lnTo>
                  <a:lnTo>
                    <a:pt x="0" y="144353"/>
                  </a:lnTo>
                  <a:lnTo>
                    <a:pt x="0" y="144353"/>
                  </a:lnTo>
                  <a:cubicBezTo>
                    <a:pt x="3870" y="145614"/>
                    <a:pt x="6393" y="148306"/>
                    <a:pt x="6393" y="152765"/>
                  </a:cubicBezTo>
                  <a:cubicBezTo>
                    <a:pt x="6393" y="162018"/>
                    <a:pt x="6393" y="152765"/>
                    <a:pt x="10599" y="152765"/>
                  </a:cubicBezTo>
                  <a:cubicBezTo>
                    <a:pt x="10179" y="150073"/>
                    <a:pt x="8496" y="148727"/>
                    <a:pt x="8496" y="146119"/>
                  </a:cubicBezTo>
                  <a:lnTo>
                    <a:pt x="8496" y="143932"/>
                  </a:lnTo>
                  <a:cubicBezTo>
                    <a:pt x="8917" y="143511"/>
                    <a:pt x="9338" y="143511"/>
                    <a:pt x="9758" y="143511"/>
                  </a:cubicBezTo>
                  <a:cubicBezTo>
                    <a:pt x="10179" y="143511"/>
                    <a:pt x="10599" y="143932"/>
                    <a:pt x="11020" y="143932"/>
                  </a:cubicBezTo>
                  <a:lnTo>
                    <a:pt x="12702" y="143511"/>
                  </a:lnTo>
                  <a:cubicBezTo>
                    <a:pt x="13964" y="145699"/>
                    <a:pt x="15226" y="146624"/>
                    <a:pt x="17750" y="147549"/>
                  </a:cubicBezTo>
                  <a:cubicBezTo>
                    <a:pt x="19432" y="148391"/>
                    <a:pt x="19432" y="150578"/>
                    <a:pt x="21114" y="151503"/>
                  </a:cubicBezTo>
                  <a:cubicBezTo>
                    <a:pt x="24479" y="154616"/>
                    <a:pt x="29106" y="155541"/>
                    <a:pt x="27424" y="155036"/>
                  </a:cubicBezTo>
                  <a:cubicBezTo>
                    <a:pt x="27424" y="153690"/>
                    <a:pt x="25657" y="154111"/>
                    <a:pt x="24900" y="152849"/>
                  </a:cubicBezTo>
                  <a:cubicBezTo>
                    <a:pt x="23218" y="151503"/>
                    <a:pt x="23638" y="149736"/>
                    <a:pt x="23218" y="147549"/>
                  </a:cubicBezTo>
                  <a:cubicBezTo>
                    <a:pt x="22797" y="146203"/>
                    <a:pt x="21451" y="145362"/>
                    <a:pt x="21451" y="144016"/>
                  </a:cubicBezTo>
                  <a:lnTo>
                    <a:pt x="21451" y="142754"/>
                  </a:lnTo>
                  <a:lnTo>
                    <a:pt x="26498" y="142754"/>
                  </a:lnTo>
                  <a:cubicBezTo>
                    <a:pt x="27340" y="142754"/>
                    <a:pt x="27760" y="141829"/>
                    <a:pt x="28265" y="141829"/>
                  </a:cubicBezTo>
                  <a:cubicBezTo>
                    <a:pt x="28601" y="141829"/>
                    <a:pt x="29022" y="142250"/>
                    <a:pt x="29527" y="142250"/>
                  </a:cubicBezTo>
                  <a:cubicBezTo>
                    <a:pt x="31209" y="142250"/>
                    <a:pt x="32050" y="140062"/>
                    <a:pt x="33733" y="140062"/>
                  </a:cubicBezTo>
                  <a:cubicBezTo>
                    <a:pt x="33312" y="139642"/>
                    <a:pt x="33312" y="138716"/>
                    <a:pt x="32471" y="138716"/>
                  </a:cubicBezTo>
                  <a:cubicBezTo>
                    <a:pt x="30368" y="138716"/>
                    <a:pt x="29527" y="139642"/>
                    <a:pt x="27424" y="139642"/>
                  </a:cubicBezTo>
                  <a:lnTo>
                    <a:pt x="24059" y="139642"/>
                  </a:lnTo>
                  <a:lnTo>
                    <a:pt x="24059" y="136109"/>
                  </a:lnTo>
                  <a:cubicBezTo>
                    <a:pt x="24059" y="133417"/>
                    <a:pt x="26582" y="133417"/>
                    <a:pt x="27424" y="131230"/>
                  </a:cubicBezTo>
                  <a:cubicBezTo>
                    <a:pt x="27003" y="131230"/>
                    <a:pt x="26582" y="130809"/>
                    <a:pt x="26162" y="130809"/>
                  </a:cubicBezTo>
                  <a:cubicBezTo>
                    <a:pt x="25405" y="130809"/>
                    <a:pt x="24479" y="131230"/>
                    <a:pt x="23638" y="131650"/>
                  </a:cubicBezTo>
                  <a:cubicBezTo>
                    <a:pt x="22376" y="129463"/>
                    <a:pt x="20273" y="129884"/>
                    <a:pt x="18254" y="128538"/>
                  </a:cubicBezTo>
                  <a:cubicBezTo>
                    <a:pt x="15731" y="126771"/>
                    <a:pt x="14385" y="124164"/>
                    <a:pt x="14385" y="120630"/>
                  </a:cubicBezTo>
                  <a:cubicBezTo>
                    <a:pt x="14385" y="118443"/>
                    <a:pt x="15647" y="116593"/>
                    <a:pt x="17750" y="115331"/>
                  </a:cubicBezTo>
                  <a:lnTo>
                    <a:pt x="19432" y="116172"/>
                  </a:lnTo>
                  <a:cubicBezTo>
                    <a:pt x="21199" y="112218"/>
                    <a:pt x="26582" y="111798"/>
                    <a:pt x="26582" y="107339"/>
                  </a:cubicBezTo>
                  <a:cubicBezTo>
                    <a:pt x="26582" y="105152"/>
                    <a:pt x="27844" y="104227"/>
                    <a:pt x="28685" y="102460"/>
                  </a:cubicBezTo>
                  <a:cubicBezTo>
                    <a:pt x="29527" y="99348"/>
                    <a:pt x="28685" y="97581"/>
                    <a:pt x="28685" y="94469"/>
                  </a:cubicBezTo>
                  <a:cubicBezTo>
                    <a:pt x="28685" y="92702"/>
                    <a:pt x="29106" y="91356"/>
                    <a:pt x="30452" y="90515"/>
                  </a:cubicBezTo>
                  <a:cubicBezTo>
                    <a:pt x="31714" y="91356"/>
                    <a:pt x="32555" y="92281"/>
                    <a:pt x="33817" y="92281"/>
                  </a:cubicBezTo>
                  <a:cubicBezTo>
                    <a:pt x="38023" y="92281"/>
                    <a:pt x="39285" y="87907"/>
                    <a:pt x="43070" y="86477"/>
                  </a:cubicBezTo>
                  <a:cubicBezTo>
                    <a:pt x="43911" y="87823"/>
                    <a:pt x="44332" y="88328"/>
                    <a:pt x="45173" y="89589"/>
                  </a:cubicBezTo>
                  <a:lnTo>
                    <a:pt x="46015" y="89589"/>
                  </a:lnTo>
                  <a:cubicBezTo>
                    <a:pt x="45594" y="88664"/>
                    <a:pt x="44753" y="87823"/>
                    <a:pt x="44753" y="86477"/>
                  </a:cubicBezTo>
                  <a:cubicBezTo>
                    <a:pt x="44753" y="85636"/>
                    <a:pt x="45510" y="85215"/>
                    <a:pt x="45510" y="84290"/>
                  </a:cubicBezTo>
                  <a:cubicBezTo>
                    <a:pt x="45510" y="79916"/>
                    <a:pt x="40126" y="78990"/>
                    <a:pt x="40126" y="74616"/>
                  </a:cubicBezTo>
                  <a:cubicBezTo>
                    <a:pt x="40126" y="72849"/>
                    <a:pt x="40883" y="71503"/>
                    <a:pt x="40883" y="69737"/>
                  </a:cubicBezTo>
                  <a:lnTo>
                    <a:pt x="41304" y="69316"/>
                  </a:lnTo>
                  <a:cubicBezTo>
                    <a:pt x="42566" y="69316"/>
                    <a:pt x="42986" y="70242"/>
                    <a:pt x="43827" y="70242"/>
                  </a:cubicBezTo>
                  <a:cubicBezTo>
                    <a:pt x="47613" y="70242"/>
                    <a:pt x="48033" y="65362"/>
                    <a:pt x="48033" y="61829"/>
                  </a:cubicBezTo>
                  <a:cubicBezTo>
                    <a:pt x="48875" y="60988"/>
                    <a:pt x="49295" y="59642"/>
                    <a:pt x="50136" y="59642"/>
                  </a:cubicBezTo>
                  <a:cubicBezTo>
                    <a:pt x="53501" y="59642"/>
                    <a:pt x="54342" y="63175"/>
                    <a:pt x="57287" y="63175"/>
                  </a:cubicBezTo>
                  <a:lnTo>
                    <a:pt x="60652" y="63175"/>
                  </a:lnTo>
                  <a:cubicBezTo>
                    <a:pt x="61072" y="62755"/>
                    <a:pt x="61072" y="62250"/>
                    <a:pt x="61409" y="62250"/>
                  </a:cubicBezTo>
                  <a:cubicBezTo>
                    <a:pt x="59726" y="60063"/>
                    <a:pt x="56446" y="60483"/>
                    <a:pt x="56446" y="57876"/>
                  </a:cubicBezTo>
                  <a:cubicBezTo>
                    <a:pt x="56446" y="56950"/>
                    <a:pt x="55184" y="56950"/>
                    <a:pt x="55184" y="56109"/>
                  </a:cubicBezTo>
                  <a:cubicBezTo>
                    <a:pt x="55184" y="53922"/>
                    <a:pt x="56446" y="52997"/>
                    <a:pt x="56446" y="50810"/>
                  </a:cubicBezTo>
                  <a:cubicBezTo>
                    <a:pt x="59306" y="51651"/>
                    <a:pt x="61409" y="53501"/>
                    <a:pt x="62755" y="56614"/>
                  </a:cubicBezTo>
                  <a:lnTo>
                    <a:pt x="63175" y="56614"/>
                  </a:lnTo>
                  <a:lnTo>
                    <a:pt x="63596" y="56193"/>
                  </a:lnTo>
                  <a:cubicBezTo>
                    <a:pt x="64353" y="56614"/>
                    <a:pt x="64858" y="57034"/>
                    <a:pt x="65699" y="57960"/>
                  </a:cubicBezTo>
                  <a:lnTo>
                    <a:pt x="66456" y="58380"/>
                  </a:lnTo>
                  <a:lnTo>
                    <a:pt x="66456" y="56614"/>
                  </a:lnTo>
                  <a:lnTo>
                    <a:pt x="66877" y="56193"/>
                  </a:lnTo>
                  <a:cubicBezTo>
                    <a:pt x="67718" y="56614"/>
                    <a:pt x="68138" y="56614"/>
                    <a:pt x="68559" y="57034"/>
                  </a:cubicBezTo>
                  <a:cubicBezTo>
                    <a:pt x="68980" y="56614"/>
                    <a:pt x="68980" y="56193"/>
                    <a:pt x="68980" y="55773"/>
                  </a:cubicBezTo>
                  <a:cubicBezTo>
                    <a:pt x="68980" y="52660"/>
                    <a:pt x="66456" y="51735"/>
                    <a:pt x="66456" y="48706"/>
                  </a:cubicBezTo>
                  <a:lnTo>
                    <a:pt x="66456" y="47361"/>
                  </a:lnTo>
                  <a:cubicBezTo>
                    <a:pt x="68980" y="46940"/>
                    <a:pt x="70326" y="46099"/>
                    <a:pt x="72849" y="45594"/>
                  </a:cubicBezTo>
                  <a:cubicBezTo>
                    <a:pt x="74111" y="45594"/>
                    <a:pt x="75373" y="46015"/>
                    <a:pt x="76635" y="44669"/>
                  </a:cubicBezTo>
                  <a:cubicBezTo>
                    <a:pt x="77897" y="42902"/>
                    <a:pt x="77476" y="41220"/>
                    <a:pt x="79158" y="39369"/>
                  </a:cubicBezTo>
                  <a:cubicBezTo>
                    <a:pt x="79158" y="43827"/>
                    <a:pt x="83785" y="45173"/>
                    <a:pt x="87991" y="45173"/>
                  </a:cubicBezTo>
                  <a:lnTo>
                    <a:pt x="91861" y="45173"/>
                  </a:lnTo>
                  <a:cubicBezTo>
                    <a:pt x="92618" y="45173"/>
                    <a:pt x="93123" y="45594"/>
                    <a:pt x="94300" y="45594"/>
                  </a:cubicBezTo>
                  <a:cubicBezTo>
                    <a:pt x="96487" y="45594"/>
                    <a:pt x="97245" y="44669"/>
                    <a:pt x="99011" y="44669"/>
                  </a:cubicBezTo>
                  <a:cubicBezTo>
                    <a:pt x="101451" y="44669"/>
                    <a:pt x="102376" y="46856"/>
                    <a:pt x="104395" y="46856"/>
                  </a:cubicBezTo>
                  <a:cubicBezTo>
                    <a:pt x="108264" y="46856"/>
                    <a:pt x="109863" y="43407"/>
                    <a:pt x="113648" y="42481"/>
                  </a:cubicBezTo>
                  <a:cubicBezTo>
                    <a:pt x="116593" y="41640"/>
                    <a:pt x="118275" y="40715"/>
                    <a:pt x="121219" y="40294"/>
                  </a:cubicBezTo>
                  <a:cubicBezTo>
                    <a:pt x="123322" y="39874"/>
                    <a:pt x="125846" y="40294"/>
                    <a:pt x="126687" y="38528"/>
                  </a:cubicBezTo>
                  <a:cubicBezTo>
                    <a:pt x="127024" y="36341"/>
                    <a:pt x="126687" y="34490"/>
                    <a:pt x="126687" y="32303"/>
                  </a:cubicBezTo>
                  <a:lnTo>
                    <a:pt x="126687" y="26162"/>
                  </a:lnTo>
                  <a:cubicBezTo>
                    <a:pt x="126687" y="23975"/>
                    <a:pt x="128370" y="23049"/>
                    <a:pt x="130052" y="21283"/>
                  </a:cubicBezTo>
                  <a:cubicBezTo>
                    <a:pt x="129631" y="21283"/>
                    <a:pt x="129631" y="20862"/>
                    <a:pt x="129295" y="20862"/>
                  </a:cubicBezTo>
                  <a:cubicBezTo>
                    <a:pt x="127108" y="20862"/>
                    <a:pt x="126351" y="22629"/>
                    <a:pt x="124668" y="23049"/>
                  </a:cubicBezTo>
                  <a:lnTo>
                    <a:pt x="124248" y="22629"/>
                  </a:lnTo>
                  <a:cubicBezTo>
                    <a:pt x="124248" y="20862"/>
                    <a:pt x="125509" y="19937"/>
                    <a:pt x="125509" y="18675"/>
                  </a:cubicBezTo>
                  <a:cubicBezTo>
                    <a:pt x="125509" y="14637"/>
                    <a:pt x="121303" y="13796"/>
                    <a:pt x="117938" y="13796"/>
                  </a:cubicBezTo>
                  <a:cubicBezTo>
                    <a:pt x="113732" y="13796"/>
                    <a:pt x="111629" y="15983"/>
                    <a:pt x="107423" y="18170"/>
                  </a:cubicBezTo>
                  <a:cubicBezTo>
                    <a:pt x="107003" y="14637"/>
                    <a:pt x="105320" y="12871"/>
                    <a:pt x="102797" y="10683"/>
                  </a:cubicBezTo>
                  <a:cubicBezTo>
                    <a:pt x="101535" y="9422"/>
                    <a:pt x="99432" y="8917"/>
                    <a:pt x="99432" y="7235"/>
                  </a:cubicBezTo>
                  <a:lnTo>
                    <a:pt x="99432" y="4963"/>
                  </a:lnTo>
                  <a:lnTo>
                    <a:pt x="101198" y="4963"/>
                  </a:lnTo>
                  <a:cubicBezTo>
                    <a:pt x="101955" y="4963"/>
                    <a:pt x="102460" y="5384"/>
                    <a:pt x="102881" y="5384"/>
                  </a:cubicBezTo>
                  <a:cubicBezTo>
                    <a:pt x="104142" y="5384"/>
                    <a:pt x="104142" y="3617"/>
                    <a:pt x="105404" y="3617"/>
                  </a:cubicBezTo>
                  <a:cubicBezTo>
                    <a:pt x="108349" y="3617"/>
                    <a:pt x="108349" y="7571"/>
                    <a:pt x="110452" y="9758"/>
                  </a:cubicBezTo>
                  <a:lnTo>
                    <a:pt x="110872" y="9338"/>
                  </a:lnTo>
                  <a:cubicBezTo>
                    <a:pt x="110872" y="8412"/>
                    <a:pt x="110452" y="7992"/>
                    <a:pt x="110452" y="7150"/>
                  </a:cubicBezTo>
                  <a:cubicBezTo>
                    <a:pt x="110452" y="5300"/>
                    <a:pt x="110872" y="4038"/>
                    <a:pt x="112134" y="2692"/>
                  </a:cubicBezTo>
                  <a:cubicBezTo>
                    <a:pt x="112975" y="3617"/>
                    <a:pt x="113396" y="4038"/>
                    <a:pt x="114237" y="4038"/>
                  </a:cubicBezTo>
                  <a:cubicBezTo>
                    <a:pt x="115078" y="4038"/>
                    <a:pt x="115920" y="3112"/>
                    <a:pt x="116761" y="3112"/>
                  </a:cubicBezTo>
                  <a:cubicBezTo>
                    <a:pt x="118443" y="3112"/>
                    <a:pt x="118023" y="4879"/>
                    <a:pt x="118864" y="6225"/>
                  </a:cubicBezTo>
                  <a:cubicBezTo>
                    <a:pt x="120126" y="7487"/>
                    <a:pt x="121387" y="7150"/>
                    <a:pt x="122733" y="7992"/>
                  </a:cubicBezTo>
                  <a:cubicBezTo>
                    <a:pt x="122733" y="7571"/>
                    <a:pt x="123070" y="7571"/>
                    <a:pt x="123070" y="7150"/>
                  </a:cubicBezTo>
                  <a:cubicBezTo>
                    <a:pt x="123070" y="5300"/>
                    <a:pt x="121808" y="4458"/>
                    <a:pt x="121808" y="2187"/>
                  </a:cubicBezTo>
                  <a:cubicBezTo>
                    <a:pt x="121808" y="1346"/>
                    <a:pt x="123070" y="925"/>
                    <a:pt x="123911" y="0"/>
                  </a:cubicBezTo>
                  <a:cubicBezTo>
                    <a:pt x="125173" y="1346"/>
                    <a:pt x="124752" y="2692"/>
                    <a:pt x="124752" y="4038"/>
                  </a:cubicBezTo>
                  <a:lnTo>
                    <a:pt x="124752" y="8917"/>
                  </a:lnTo>
                  <a:cubicBezTo>
                    <a:pt x="124752" y="10683"/>
                    <a:pt x="125089" y="11945"/>
                    <a:pt x="126435" y="12871"/>
                  </a:cubicBezTo>
                  <a:cubicBezTo>
                    <a:pt x="128117" y="13796"/>
                    <a:pt x="126855" y="16404"/>
                    <a:pt x="128538" y="16404"/>
                  </a:cubicBezTo>
                  <a:cubicBezTo>
                    <a:pt x="130641" y="16404"/>
                    <a:pt x="131903" y="16824"/>
                    <a:pt x="133165" y="15478"/>
                  </a:cubicBezTo>
                  <a:cubicBezTo>
                    <a:pt x="134426" y="14553"/>
                    <a:pt x="133585" y="11945"/>
                    <a:pt x="135268" y="11945"/>
                  </a:cubicBezTo>
                  <a:cubicBezTo>
                    <a:pt x="142418" y="11945"/>
                    <a:pt x="140735" y="25236"/>
                    <a:pt x="147886" y="25236"/>
                  </a:cubicBezTo>
                  <a:lnTo>
                    <a:pt x="151167" y="25236"/>
                  </a:lnTo>
                  <a:cubicBezTo>
                    <a:pt x="152428" y="25236"/>
                    <a:pt x="153270" y="26582"/>
                    <a:pt x="154531" y="27424"/>
                  </a:cubicBezTo>
                  <a:cubicBezTo>
                    <a:pt x="157055" y="28770"/>
                    <a:pt x="158737" y="29274"/>
                    <a:pt x="161682" y="29274"/>
                  </a:cubicBezTo>
                  <a:cubicBezTo>
                    <a:pt x="162943" y="29274"/>
                    <a:pt x="162943" y="28349"/>
                    <a:pt x="163785" y="27424"/>
                  </a:cubicBezTo>
                  <a:cubicBezTo>
                    <a:pt x="165047" y="25236"/>
                    <a:pt x="166729" y="25657"/>
                    <a:pt x="169253" y="25236"/>
                  </a:cubicBezTo>
                  <a:cubicBezTo>
                    <a:pt x="169253" y="25657"/>
                    <a:pt x="169673" y="25657"/>
                    <a:pt x="169673" y="26162"/>
                  </a:cubicBezTo>
                  <a:cubicBezTo>
                    <a:pt x="169673" y="27424"/>
                    <a:pt x="167570" y="27928"/>
                    <a:pt x="167570" y="29611"/>
                  </a:cubicBezTo>
                  <a:cubicBezTo>
                    <a:pt x="167570" y="31882"/>
                    <a:pt x="169673" y="33144"/>
                    <a:pt x="171776" y="33144"/>
                  </a:cubicBezTo>
                  <a:cubicBezTo>
                    <a:pt x="173459" y="33144"/>
                    <a:pt x="173879" y="31377"/>
                    <a:pt x="175141" y="31377"/>
                  </a:cubicBezTo>
                  <a:cubicBezTo>
                    <a:pt x="178085" y="31377"/>
                    <a:pt x="179768" y="34826"/>
                    <a:pt x="179768" y="38444"/>
                  </a:cubicBezTo>
                  <a:cubicBezTo>
                    <a:pt x="179768" y="38444"/>
                    <a:pt x="180188" y="38864"/>
                    <a:pt x="180609" y="38864"/>
                  </a:cubicBezTo>
                  <a:cubicBezTo>
                    <a:pt x="181030" y="37518"/>
                    <a:pt x="181030" y="35331"/>
                    <a:pt x="182712" y="35331"/>
                  </a:cubicBezTo>
                  <a:cubicBezTo>
                    <a:pt x="185656" y="35331"/>
                    <a:pt x="186918" y="38444"/>
                    <a:pt x="190283" y="38444"/>
                  </a:cubicBezTo>
                  <a:lnTo>
                    <a:pt x="194068" y="38444"/>
                  </a:lnTo>
                  <a:cubicBezTo>
                    <a:pt x="196592" y="38444"/>
                    <a:pt x="197013" y="35331"/>
                    <a:pt x="199536" y="34069"/>
                  </a:cubicBezTo>
                  <a:cubicBezTo>
                    <a:pt x="202060" y="38444"/>
                    <a:pt x="205425" y="39285"/>
                    <a:pt x="208790" y="41977"/>
                  </a:cubicBezTo>
                  <a:cubicBezTo>
                    <a:pt x="210052" y="42902"/>
                    <a:pt x="209631" y="45089"/>
                    <a:pt x="211313" y="45089"/>
                  </a:cubicBezTo>
                  <a:cubicBezTo>
                    <a:pt x="212155" y="45089"/>
                    <a:pt x="212575" y="44248"/>
                    <a:pt x="213837" y="44248"/>
                  </a:cubicBezTo>
                  <a:cubicBezTo>
                    <a:pt x="215519" y="44248"/>
                    <a:pt x="216361" y="46435"/>
                    <a:pt x="218043" y="46435"/>
                  </a:cubicBezTo>
                  <a:cubicBezTo>
                    <a:pt x="219726" y="46435"/>
                    <a:pt x="220146" y="44584"/>
                    <a:pt x="221408" y="43743"/>
                  </a:cubicBezTo>
                  <a:cubicBezTo>
                    <a:pt x="220567" y="43323"/>
                    <a:pt x="219641" y="43323"/>
                    <a:pt x="218884" y="43743"/>
                  </a:cubicBezTo>
                  <a:cubicBezTo>
                    <a:pt x="219221" y="41556"/>
                    <a:pt x="220987" y="41556"/>
                    <a:pt x="221745" y="39705"/>
                  </a:cubicBezTo>
                  <a:cubicBezTo>
                    <a:pt x="222586" y="40126"/>
                    <a:pt x="223006" y="40631"/>
                    <a:pt x="223932" y="40631"/>
                  </a:cubicBezTo>
                  <a:cubicBezTo>
                    <a:pt x="225614" y="40631"/>
                    <a:pt x="225614" y="37098"/>
                    <a:pt x="227296" y="37098"/>
                  </a:cubicBezTo>
                  <a:cubicBezTo>
                    <a:pt x="228138" y="37098"/>
                    <a:pt x="228138" y="37518"/>
                    <a:pt x="228979" y="37518"/>
                  </a:cubicBezTo>
                  <a:cubicBezTo>
                    <a:pt x="230241" y="37518"/>
                    <a:pt x="231082" y="36593"/>
                    <a:pt x="231923" y="36256"/>
                  </a:cubicBezTo>
                  <a:cubicBezTo>
                    <a:pt x="231503" y="35836"/>
                    <a:pt x="231082" y="35836"/>
                    <a:pt x="230241" y="35331"/>
                  </a:cubicBezTo>
                  <a:cubicBezTo>
                    <a:pt x="233606" y="34069"/>
                    <a:pt x="235288" y="33564"/>
                    <a:pt x="238232" y="32219"/>
                  </a:cubicBezTo>
                  <a:lnTo>
                    <a:pt x="238569" y="32219"/>
                  </a:lnTo>
                  <a:cubicBezTo>
                    <a:pt x="237307" y="35752"/>
                    <a:pt x="237307" y="38444"/>
                    <a:pt x="234363" y="40631"/>
                  </a:cubicBezTo>
                  <a:cubicBezTo>
                    <a:pt x="233522" y="41556"/>
                    <a:pt x="233101" y="41893"/>
                    <a:pt x="233101" y="43323"/>
                  </a:cubicBezTo>
                  <a:lnTo>
                    <a:pt x="233101" y="45089"/>
                  </a:lnTo>
                  <a:lnTo>
                    <a:pt x="234363" y="45089"/>
                  </a:lnTo>
                  <a:cubicBezTo>
                    <a:pt x="236466" y="45089"/>
                    <a:pt x="236886" y="41977"/>
                    <a:pt x="238989" y="41977"/>
                  </a:cubicBezTo>
                  <a:cubicBezTo>
                    <a:pt x="239831" y="41977"/>
                    <a:pt x="239410" y="43323"/>
                    <a:pt x="240251" y="43323"/>
                  </a:cubicBezTo>
                  <a:cubicBezTo>
                    <a:pt x="241934" y="44248"/>
                    <a:pt x="244457" y="44248"/>
                    <a:pt x="244457" y="46435"/>
                  </a:cubicBezTo>
                  <a:cubicBezTo>
                    <a:pt x="244457" y="48202"/>
                    <a:pt x="242691" y="48622"/>
                    <a:pt x="242691" y="50810"/>
                  </a:cubicBezTo>
                  <a:lnTo>
                    <a:pt x="242691" y="52576"/>
                  </a:lnTo>
                  <a:lnTo>
                    <a:pt x="249084" y="52576"/>
                  </a:lnTo>
                  <a:cubicBezTo>
                    <a:pt x="249505" y="52576"/>
                    <a:pt x="249925" y="52997"/>
                    <a:pt x="250346" y="52997"/>
                  </a:cubicBezTo>
                  <a:cubicBezTo>
                    <a:pt x="252870" y="52997"/>
                    <a:pt x="253711" y="50305"/>
                    <a:pt x="254973" y="47697"/>
                  </a:cubicBezTo>
                  <a:cubicBezTo>
                    <a:pt x="255393" y="46435"/>
                    <a:pt x="257076" y="45510"/>
                    <a:pt x="257076" y="43743"/>
                  </a:cubicBezTo>
                  <a:cubicBezTo>
                    <a:pt x="257076" y="41051"/>
                    <a:pt x="253290" y="41893"/>
                    <a:pt x="250766" y="41051"/>
                  </a:cubicBezTo>
                  <a:cubicBezTo>
                    <a:pt x="251608" y="38864"/>
                    <a:pt x="253290" y="37939"/>
                    <a:pt x="255393" y="37518"/>
                  </a:cubicBezTo>
                  <a:cubicBezTo>
                    <a:pt x="257917" y="36593"/>
                    <a:pt x="258758" y="34826"/>
                    <a:pt x="260861" y="34069"/>
                  </a:cubicBezTo>
                  <a:cubicBezTo>
                    <a:pt x="261282" y="38444"/>
                    <a:pt x="262964" y="41136"/>
                    <a:pt x="265908" y="43323"/>
                  </a:cubicBezTo>
                  <a:cubicBezTo>
                    <a:pt x="267591" y="44248"/>
                    <a:pt x="267591" y="46015"/>
                    <a:pt x="269273" y="46015"/>
                  </a:cubicBezTo>
                  <a:cubicBezTo>
                    <a:pt x="270114" y="46015"/>
                    <a:pt x="270114" y="45089"/>
                    <a:pt x="270114" y="44248"/>
                  </a:cubicBezTo>
                  <a:cubicBezTo>
                    <a:pt x="270114" y="43323"/>
                    <a:pt x="269694" y="42397"/>
                    <a:pt x="269694" y="41556"/>
                  </a:cubicBezTo>
                  <a:cubicBezTo>
                    <a:pt x="270114" y="41556"/>
                    <a:pt x="270114" y="41136"/>
                    <a:pt x="270535" y="41136"/>
                  </a:cubicBezTo>
                  <a:cubicBezTo>
                    <a:pt x="273059" y="41136"/>
                    <a:pt x="274741" y="43323"/>
                    <a:pt x="274741" y="46015"/>
                  </a:cubicBezTo>
                  <a:cubicBezTo>
                    <a:pt x="274741" y="48706"/>
                    <a:pt x="274741" y="52576"/>
                    <a:pt x="272218" y="52576"/>
                  </a:cubicBezTo>
                  <a:cubicBezTo>
                    <a:pt x="271376" y="52576"/>
                    <a:pt x="270956" y="51651"/>
                    <a:pt x="270535" y="51651"/>
                  </a:cubicBezTo>
                  <a:lnTo>
                    <a:pt x="268853" y="51651"/>
                  </a:lnTo>
                  <a:cubicBezTo>
                    <a:pt x="268432" y="56614"/>
                    <a:pt x="267591" y="59642"/>
                    <a:pt x="264562" y="63175"/>
                  </a:cubicBezTo>
                  <a:lnTo>
                    <a:pt x="262880" y="62755"/>
                  </a:lnTo>
                  <a:cubicBezTo>
                    <a:pt x="262039" y="63680"/>
                    <a:pt x="261197" y="64017"/>
                    <a:pt x="259936" y="64521"/>
                  </a:cubicBezTo>
                  <a:cubicBezTo>
                    <a:pt x="261197" y="67213"/>
                    <a:pt x="262880" y="68054"/>
                    <a:pt x="263805" y="70746"/>
                  </a:cubicBezTo>
                  <a:cubicBezTo>
                    <a:pt x="261618" y="71167"/>
                    <a:pt x="260440" y="71167"/>
                    <a:pt x="259179" y="72008"/>
                  </a:cubicBezTo>
                  <a:cubicBezTo>
                    <a:pt x="260440" y="73354"/>
                    <a:pt x="261282" y="74195"/>
                    <a:pt x="262039" y="75541"/>
                  </a:cubicBezTo>
                  <a:cubicBezTo>
                    <a:pt x="259936" y="76803"/>
                    <a:pt x="259936" y="78654"/>
                    <a:pt x="258253" y="80420"/>
                  </a:cubicBezTo>
                  <a:cubicBezTo>
                    <a:pt x="256991" y="78654"/>
                    <a:pt x="257412" y="76887"/>
                    <a:pt x="256571" y="74195"/>
                  </a:cubicBezTo>
                  <a:lnTo>
                    <a:pt x="255730" y="74195"/>
                  </a:lnTo>
                  <a:cubicBezTo>
                    <a:pt x="255309" y="76046"/>
                    <a:pt x="254047" y="77308"/>
                    <a:pt x="252365" y="77308"/>
                  </a:cubicBezTo>
                  <a:lnTo>
                    <a:pt x="252365" y="77728"/>
                  </a:lnTo>
                  <a:cubicBezTo>
                    <a:pt x="252365" y="78149"/>
                    <a:pt x="252785" y="78654"/>
                    <a:pt x="252785" y="78654"/>
                  </a:cubicBezTo>
                  <a:cubicBezTo>
                    <a:pt x="252785" y="80420"/>
                    <a:pt x="250682" y="80420"/>
                    <a:pt x="249000" y="81682"/>
                  </a:cubicBezTo>
                  <a:cubicBezTo>
                    <a:pt x="248579" y="79495"/>
                    <a:pt x="249420" y="78233"/>
                    <a:pt x="247738" y="76383"/>
                  </a:cubicBezTo>
                  <a:cubicBezTo>
                    <a:pt x="246981" y="78654"/>
                    <a:pt x="246981" y="79916"/>
                    <a:pt x="245214" y="80841"/>
                  </a:cubicBezTo>
                  <a:cubicBezTo>
                    <a:pt x="244878" y="80841"/>
                    <a:pt x="244878" y="79916"/>
                    <a:pt x="244457" y="79916"/>
                  </a:cubicBezTo>
                  <a:cubicBezTo>
                    <a:pt x="241934" y="79916"/>
                    <a:pt x="239410" y="82103"/>
                    <a:pt x="239410" y="84795"/>
                  </a:cubicBezTo>
                  <a:cubicBezTo>
                    <a:pt x="239410" y="86561"/>
                    <a:pt x="240672" y="86982"/>
                    <a:pt x="241513" y="88328"/>
                  </a:cubicBezTo>
                  <a:lnTo>
                    <a:pt x="240672" y="88328"/>
                  </a:lnTo>
                  <a:lnTo>
                    <a:pt x="239410" y="87907"/>
                  </a:lnTo>
                  <a:cubicBezTo>
                    <a:pt x="238989" y="90094"/>
                    <a:pt x="238569" y="91861"/>
                    <a:pt x="238569" y="94048"/>
                  </a:cubicBezTo>
                  <a:cubicBezTo>
                    <a:pt x="238569" y="97160"/>
                    <a:pt x="239831" y="100273"/>
                    <a:pt x="242775" y="100273"/>
                  </a:cubicBezTo>
                  <a:cubicBezTo>
                    <a:pt x="246644" y="100273"/>
                    <a:pt x="243195" y="109106"/>
                    <a:pt x="240672" y="114405"/>
                  </a:cubicBezTo>
                  <a:cubicBezTo>
                    <a:pt x="238989" y="117938"/>
                    <a:pt x="235288" y="117938"/>
                    <a:pt x="233522" y="121472"/>
                  </a:cubicBezTo>
                  <a:cubicBezTo>
                    <a:pt x="230998" y="126771"/>
                    <a:pt x="230157" y="129884"/>
                    <a:pt x="226792" y="134258"/>
                  </a:cubicBezTo>
                  <a:cubicBezTo>
                    <a:pt x="225530" y="136025"/>
                    <a:pt x="223932" y="136445"/>
                    <a:pt x="223006" y="138632"/>
                  </a:cubicBezTo>
                  <a:lnTo>
                    <a:pt x="223006" y="143511"/>
                  </a:lnTo>
                  <a:cubicBezTo>
                    <a:pt x="223006" y="145362"/>
                    <a:pt x="224689" y="144857"/>
                    <a:pt x="225951" y="146203"/>
                  </a:cubicBezTo>
                  <a:cubicBezTo>
                    <a:pt x="233437" y="151082"/>
                    <a:pt x="228811" y="152849"/>
                    <a:pt x="234363" y="152849"/>
                  </a:cubicBezTo>
                  <a:cubicBezTo>
                    <a:pt x="236886" y="152849"/>
                    <a:pt x="237307" y="155541"/>
                    <a:pt x="239410" y="156803"/>
                  </a:cubicBezTo>
                  <a:cubicBezTo>
                    <a:pt x="244457" y="159494"/>
                    <a:pt x="248243" y="159915"/>
                    <a:pt x="252449" y="164289"/>
                  </a:cubicBezTo>
                  <a:cubicBezTo>
                    <a:pt x="253711" y="166056"/>
                    <a:pt x="253290" y="167823"/>
                    <a:pt x="254973" y="170094"/>
                  </a:cubicBezTo>
                  <a:cubicBezTo>
                    <a:pt x="260440" y="176655"/>
                    <a:pt x="268937" y="172281"/>
                    <a:pt x="265992" y="178927"/>
                  </a:cubicBezTo>
                  <a:cubicBezTo>
                    <a:pt x="267675" y="179347"/>
                    <a:pt x="268096" y="181114"/>
                    <a:pt x="269357" y="182880"/>
                  </a:cubicBezTo>
                  <a:cubicBezTo>
                    <a:pt x="270199" y="182460"/>
                    <a:pt x="270619" y="182039"/>
                    <a:pt x="271460" y="182039"/>
                  </a:cubicBezTo>
                  <a:cubicBezTo>
                    <a:pt x="272722" y="182039"/>
                    <a:pt x="273648" y="182880"/>
                    <a:pt x="274825" y="182880"/>
                  </a:cubicBezTo>
                  <a:cubicBezTo>
                    <a:pt x="275666" y="182880"/>
                    <a:pt x="276087" y="182460"/>
                    <a:pt x="276508" y="182039"/>
                  </a:cubicBezTo>
                  <a:lnTo>
                    <a:pt x="278611" y="182039"/>
                  </a:lnTo>
                  <a:cubicBezTo>
                    <a:pt x="282480" y="182039"/>
                    <a:pt x="284499" y="184226"/>
                    <a:pt x="286602" y="187759"/>
                  </a:cubicBezTo>
                  <a:cubicBezTo>
                    <a:pt x="287864" y="190031"/>
                    <a:pt x="290388" y="189105"/>
                    <a:pt x="292491" y="190872"/>
                  </a:cubicBezTo>
                  <a:cubicBezTo>
                    <a:pt x="296697" y="193984"/>
                    <a:pt x="299220" y="196676"/>
                    <a:pt x="304268" y="196676"/>
                  </a:cubicBezTo>
                  <a:lnTo>
                    <a:pt x="304268" y="197518"/>
                  </a:lnTo>
                  <a:cubicBezTo>
                    <a:pt x="304268" y="197938"/>
                    <a:pt x="303847" y="197938"/>
                    <a:pt x="303847" y="198443"/>
                  </a:cubicBezTo>
                  <a:cubicBezTo>
                    <a:pt x="303847" y="198948"/>
                    <a:pt x="305109" y="198864"/>
                    <a:pt x="305530" y="199368"/>
                  </a:cubicBezTo>
                  <a:cubicBezTo>
                    <a:pt x="307212" y="200630"/>
                    <a:pt x="308053" y="201135"/>
                    <a:pt x="309315" y="202817"/>
                  </a:cubicBezTo>
                  <a:cubicBezTo>
                    <a:pt x="311082" y="205088"/>
                    <a:pt x="312680" y="206855"/>
                    <a:pt x="314362" y="208117"/>
                  </a:cubicBezTo>
                  <a:lnTo>
                    <a:pt x="314362" y="208117"/>
                  </a:lnTo>
                  <a:close/>
                </a:path>
              </a:pathLst>
            </a:custGeom>
            <a:grpFill/>
            <a:ln w="8410" cap="flat">
              <a:solidFill>
                <a:srgbClr val="F59E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a:ea typeface="+mn-ea"/>
                <a:cs typeface="+mn-cs"/>
              </a:endParaRPr>
            </a:p>
          </p:txBody>
        </p:sp>
        <p:sp>
          <p:nvSpPr>
            <p:cNvPr id="527" name="Freeform: Shape 526">
              <a:extLst>
                <a:ext uri="{FF2B5EF4-FFF2-40B4-BE49-F238E27FC236}">
                  <a16:creationId xmlns:a16="http://schemas.microsoft.com/office/drawing/2014/main" id="{88E7741B-0C1B-2BDC-5FE7-38E7BCD93917}"/>
                </a:ext>
              </a:extLst>
            </p:cNvPr>
            <p:cNvSpPr/>
            <p:nvPr/>
          </p:nvSpPr>
          <p:spPr>
            <a:xfrm>
              <a:off x="9880719" y="4154708"/>
              <a:ext cx="719173" cy="983060"/>
            </a:xfrm>
            <a:custGeom>
              <a:avLst/>
              <a:gdLst>
                <a:gd name="connsiteX0" fmla="*/ 40462 w 542584"/>
                <a:gd name="connsiteY0" fmla="*/ 243760 h 741675"/>
                <a:gd name="connsiteX1" fmla="*/ 40462 w 542584"/>
                <a:gd name="connsiteY1" fmla="*/ 243760 h 741675"/>
                <a:gd name="connsiteX2" fmla="*/ 44248 w 542584"/>
                <a:gd name="connsiteY2" fmla="*/ 245947 h 741675"/>
                <a:gd name="connsiteX3" fmla="*/ 46435 w 542584"/>
                <a:gd name="connsiteY3" fmla="*/ 243256 h 741675"/>
                <a:gd name="connsiteX4" fmla="*/ 49800 w 542584"/>
                <a:gd name="connsiteY4" fmla="*/ 242835 h 741675"/>
                <a:gd name="connsiteX5" fmla="*/ 53669 w 542584"/>
                <a:gd name="connsiteY5" fmla="*/ 236694 h 741675"/>
                <a:gd name="connsiteX6" fmla="*/ 56530 w 542584"/>
                <a:gd name="connsiteY6" fmla="*/ 238461 h 741675"/>
                <a:gd name="connsiteX7" fmla="*/ 57791 w 542584"/>
                <a:gd name="connsiteY7" fmla="*/ 236694 h 741675"/>
                <a:gd name="connsiteX8" fmla="*/ 51062 w 542584"/>
                <a:gd name="connsiteY8" fmla="*/ 235432 h 741675"/>
                <a:gd name="connsiteX9" fmla="*/ 40547 w 542584"/>
                <a:gd name="connsiteY9" fmla="*/ 243760 h 741675"/>
                <a:gd name="connsiteX10" fmla="*/ 40547 w 542584"/>
                <a:gd name="connsiteY10" fmla="*/ 243760 h 741675"/>
                <a:gd name="connsiteX11" fmla="*/ 51819 w 542584"/>
                <a:gd name="connsiteY11" fmla="*/ 257051 h 741675"/>
                <a:gd name="connsiteX12" fmla="*/ 51819 w 542584"/>
                <a:gd name="connsiteY12" fmla="*/ 257051 h 741675"/>
                <a:gd name="connsiteX13" fmla="*/ 49295 w 542584"/>
                <a:gd name="connsiteY13" fmla="*/ 260164 h 741675"/>
                <a:gd name="connsiteX14" fmla="*/ 53165 w 542584"/>
                <a:gd name="connsiteY14" fmla="*/ 260585 h 741675"/>
                <a:gd name="connsiteX15" fmla="*/ 51903 w 542584"/>
                <a:gd name="connsiteY15" fmla="*/ 257136 h 741675"/>
                <a:gd name="connsiteX16" fmla="*/ 51903 w 542584"/>
                <a:gd name="connsiteY16" fmla="*/ 257136 h 741675"/>
                <a:gd name="connsiteX17" fmla="*/ 147381 w 542584"/>
                <a:gd name="connsiteY17" fmla="*/ 17389 h 741675"/>
                <a:gd name="connsiteX18" fmla="*/ 147381 w 542584"/>
                <a:gd name="connsiteY18" fmla="*/ 17389 h 741675"/>
                <a:gd name="connsiteX19" fmla="*/ 145278 w 542584"/>
                <a:gd name="connsiteY19" fmla="*/ 20838 h 741675"/>
                <a:gd name="connsiteX20" fmla="*/ 145614 w 542584"/>
                <a:gd name="connsiteY20" fmla="*/ 22689 h 741675"/>
                <a:gd name="connsiteX21" fmla="*/ 148559 w 542584"/>
                <a:gd name="connsiteY21" fmla="*/ 20838 h 741675"/>
                <a:gd name="connsiteX22" fmla="*/ 148559 w 542584"/>
                <a:gd name="connsiteY22" fmla="*/ 19997 h 741675"/>
                <a:gd name="connsiteX23" fmla="*/ 147297 w 542584"/>
                <a:gd name="connsiteY23" fmla="*/ 17305 h 741675"/>
                <a:gd name="connsiteX24" fmla="*/ 147297 w 542584"/>
                <a:gd name="connsiteY24" fmla="*/ 17305 h 741675"/>
                <a:gd name="connsiteX25" fmla="*/ 148138 w 542584"/>
                <a:gd name="connsiteY25" fmla="*/ 985 h 741675"/>
                <a:gd name="connsiteX26" fmla="*/ 148138 w 542584"/>
                <a:gd name="connsiteY26" fmla="*/ 985 h 741675"/>
                <a:gd name="connsiteX27" fmla="*/ 149905 w 542584"/>
                <a:gd name="connsiteY27" fmla="*/ 3677 h 741675"/>
                <a:gd name="connsiteX28" fmla="*/ 152008 w 542584"/>
                <a:gd name="connsiteY28" fmla="*/ 649 h 741675"/>
                <a:gd name="connsiteX29" fmla="*/ 148138 w 542584"/>
                <a:gd name="connsiteY29" fmla="*/ 1069 h 741675"/>
                <a:gd name="connsiteX30" fmla="*/ 148138 w 542584"/>
                <a:gd name="connsiteY30" fmla="*/ 1069 h 741675"/>
                <a:gd name="connsiteX31" fmla="*/ 454761 w 542584"/>
                <a:gd name="connsiteY31" fmla="*/ 509080 h 741675"/>
                <a:gd name="connsiteX32" fmla="*/ 454761 w 542584"/>
                <a:gd name="connsiteY32" fmla="*/ 509080 h 741675"/>
                <a:gd name="connsiteX33" fmla="*/ 464435 w 542584"/>
                <a:gd name="connsiteY33" fmla="*/ 522707 h 741675"/>
                <a:gd name="connsiteX34" fmla="*/ 464856 w 542584"/>
                <a:gd name="connsiteY34" fmla="*/ 521866 h 741675"/>
                <a:gd name="connsiteX35" fmla="*/ 461070 w 542584"/>
                <a:gd name="connsiteY35" fmla="*/ 516062 h 741675"/>
                <a:gd name="connsiteX36" fmla="*/ 454677 w 542584"/>
                <a:gd name="connsiteY36" fmla="*/ 508996 h 741675"/>
                <a:gd name="connsiteX37" fmla="*/ 454677 w 542584"/>
                <a:gd name="connsiteY37" fmla="*/ 508996 h 741675"/>
                <a:gd name="connsiteX38" fmla="*/ 531817 w 542584"/>
                <a:gd name="connsiteY38" fmla="*/ 563338 h 741675"/>
                <a:gd name="connsiteX39" fmla="*/ 531817 w 542584"/>
                <a:gd name="connsiteY39" fmla="*/ 563338 h 741675"/>
                <a:gd name="connsiteX40" fmla="*/ 531396 w 542584"/>
                <a:gd name="connsiteY40" fmla="*/ 562918 h 741675"/>
                <a:gd name="connsiteX41" fmla="*/ 531817 w 542584"/>
                <a:gd name="connsiteY41" fmla="*/ 567292 h 741675"/>
                <a:gd name="connsiteX42" fmla="*/ 527526 w 542584"/>
                <a:gd name="connsiteY42" fmla="*/ 575283 h 741675"/>
                <a:gd name="connsiteX43" fmla="*/ 525087 w 542584"/>
                <a:gd name="connsiteY43" fmla="*/ 577050 h 741675"/>
                <a:gd name="connsiteX44" fmla="*/ 525423 w 542584"/>
                <a:gd name="connsiteY44" fmla="*/ 580583 h 741675"/>
                <a:gd name="connsiteX45" fmla="*/ 525423 w 542584"/>
                <a:gd name="connsiteY45" fmla="*/ 585883 h 741675"/>
                <a:gd name="connsiteX46" fmla="*/ 521217 w 542584"/>
                <a:gd name="connsiteY46" fmla="*/ 592949 h 741675"/>
                <a:gd name="connsiteX47" fmla="*/ 523741 w 542584"/>
                <a:gd name="connsiteY47" fmla="*/ 598753 h 741675"/>
                <a:gd name="connsiteX48" fmla="*/ 526265 w 542584"/>
                <a:gd name="connsiteY48" fmla="*/ 601361 h 741675"/>
                <a:gd name="connsiteX49" fmla="*/ 528368 w 542584"/>
                <a:gd name="connsiteY49" fmla="*/ 590846 h 741675"/>
                <a:gd name="connsiteX50" fmla="*/ 531733 w 542584"/>
                <a:gd name="connsiteY50" fmla="*/ 580247 h 741675"/>
                <a:gd name="connsiteX51" fmla="*/ 535518 w 542584"/>
                <a:gd name="connsiteY51" fmla="*/ 570573 h 741675"/>
                <a:gd name="connsiteX52" fmla="*/ 531733 w 542584"/>
                <a:gd name="connsiteY52" fmla="*/ 563506 h 741675"/>
                <a:gd name="connsiteX53" fmla="*/ 531733 w 542584"/>
                <a:gd name="connsiteY53" fmla="*/ 563506 h 741675"/>
                <a:gd name="connsiteX54" fmla="*/ 541911 w 542584"/>
                <a:gd name="connsiteY54" fmla="*/ 698858 h 741675"/>
                <a:gd name="connsiteX55" fmla="*/ 541911 w 542584"/>
                <a:gd name="connsiteY55" fmla="*/ 698858 h 741675"/>
                <a:gd name="connsiteX56" fmla="*/ 535518 w 542584"/>
                <a:gd name="connsiteY56" fmla="*/ 702307 h 741675"/>
                <a:gd name="connsiteX57" fmla="*/ 530891 w 542584"/>
                <a:gd name="connsiteY57" fmla="*/ 702728 h 741675"/>
                <a:gd name="connsiteX58" fmla="*/ 526685 w 542584"/>
                <a:gd name="connsiteY58" fmla="*/ 707186 h 741675"/>
                <a:gd name="connsiteX59" fmla="*/ 523741 w 542584"/>
                <a:gd name="connsiteY59" fmla="*/ 706261 h 741675"/>
                <a:gd name="connsiteX60" fmla="*/ 516591 w 542584"/>
                <a:gd name="connsiteY60" fmla="*/ 706681 h 741675"/>
                <a:gd name="connsiteX61" fmla="*/ 506580 w 542584"/>
                <a:gd name="connsiteY61" fmla="*/ 703148 h 741675"/>
                <a:gd name="connsiteX62" fmla="*/ 500187 w 542584"/>
                <a:gd name="connsiteY62" fmla="*/ 708953 h 741675"/>
                <a:gd name="connsiteX63" fmla="*/ 495981 w 542584"/>
                <a:gd name="connsiteY63" fmla="*/ 709878 h 741675"/>
                <a:gd name="connsiteX64" fmla="*/ 487148 w 542584"/>
                <a:gd name="connsiteY64" fmla="*/ 715094 h 741675"/>
                <a:gd name="connsiteX65" fmla="*/ 489672 w 542584"/>
                <a:gd name="connsiteY65" fmla="*/ 720057 h 741675"/>
                <a:gd name="connsiteX66" fmla="*/ 491354 w 542584"/>
                <a:gd name="connsiteY66" fmla="*/ 721318 h 741675"/>
                <a:gd name="connsiteX67" fmla="*/ 483363 w 542584"/>
                <a:gd name="connsiteY67" fmla="*/ 730572 h 741675"/>
                <a:gd name="connsiteX68" fmla="*/ 482942 w 542584"/>
                <a:gd name="connsiteY68" fmla="*/ 732759 h 741675"/>
                <a:gd name="connsiteX69" fmla="*/ 477979 w 542584"/>
                <a:gd name="connsiteY69" fmla="*/ 729731 h 741675"/>
                <a:gd name="connsiteX70" fmla="*/ 469567 w 542584"/>
                <a:gd name="connsiteY70" fmla="*/ 738564 h 741675"/>
                <a:gd name="connsiteX71" fmla="*/ 467884 w 542584"/>
                <a:gd name="connsiteY71" fmla="*/ 741676 h 741675"/>
                <a:gd name="connsiteX72" fmla="*/ 460313 w 542584"/>
                <a:gd name="connsiteY72" fmla="*/ 728385 h 741675"/>
                <a:gd name="connsiteX73" fmla="*/ 449798 w 542584"/>
                <a:gd name="connsiteY73" fmla="*/ 720898 h 741675"/>
                <a:gd name="connsiteX74" fmla="*/ 446854 w 542584"/>
                <a:gd name="connsiteY74" fmla="*/ 718206 h 741675"/>
                <a:gd name="connsiteX75" fmla="*/ 442227 w 542584"/>
                <a:gd name="connsiteY75" fmla="*/ 719552 h 741675"/>
                <a:gd name="connsiteX76" fmla="*/ 438358 w 542584"/>
                <a:gd name="connsiteY76" fmla="*/ 719552 h 741675"/>
                <a:gd name="connsiteX77" fmla="*/ 436675 w 542584"/>
                <a:gd name="connsiteY77" fmla="*/ 719972 h 741675"/>
                <a:gd name="connsiteX78" fmla="*/ 429525 w 542584"/>
                <a:gd name="connsiteY78" fmla="*/ 715009 h 741675"/>
                <a:gd name="connsiteX79" fmla="*/ 416065 w 542584"/>
                <a:gd name="connsiteY79" fmla="*/ 718543 h 741675"/>
                <a:gd name="connsiteX80" fmla="*/ 413121 w 542584"/>
                <a:gd name="connsiteY80" fmla="*/ 718122 h 741675"/>
                <a:gd name="connsiteX81" fmla="*/ 409336 w 542584"/>
                <a:gd name="connsiteY81" fmla="*/ 718122 h 741675"/>
                <a:gd name="connsiteX82" fmla="*/ 402942 w 542584"/>
                <a:gd name="connsiteY82" fmla="*/ 716355 h 741675"/>
                <a:gd name="connsiteX83" fmla="*/ 395456 w 542584"/>
                <a:gd name="connsiteY83" fmla="*/ 722160 h 741675"/>
                <a:gd name="connsiteX84" fmla="*/ 386539 w 542584"/>
                <a:gd name="connsiteY84" fmla="*/ 728301 h 741675"/>
                <a:gd name="connsiteX85" fmla="*/ 384436 w 542584"/>
                <a:gd name="connsiteY85" fmla="*/ 732675 h 741675"/>
                <a:gd name="connsiteX86" fmla="*/ 105993 w 542584"/>
                <a:gd name="connsiteY86" fmla="*/ 733600 h 741675"/>
                <a:gd name="connsiteX87" fmla="*/ 105993 w 542584"/>
                <a:gd name="connsiteY87" fmla="*/ 733600 h 741675"/>
                <a:gd name="connsiteX88" fmla="*/ 105993 w 542584"/>
                <a:gd name="connsiteY88" fmla="*/ 610110 h 741675"/>
                <a:gd name="connsiteX89" fmla="*/ 421 w 542584"/>
                <a:gd name="connsiteY89" fmla="*/ 609689 h 741675"/>
                <a:gd name="connsiteX90" fmla="*/ 421 w 542584"/>
                <a:gd name="connsiteY90" fmla="*/ 609689 h 741675"/>
                <a:gd name="connsiteX91" fmla="*/ 0 w 542584"/>
                <a:gd name="connsiteY91" fmla="*/ 241068 h 741675"/>
                <a:gd name="connsiteX92" fmla="*/ 0 w 542584"/>
                <a:gd name="connsiteY92" fmla="*/ 241068 h 741675"/>
                <a:gd name="connsiteX93" fmla="*/ 9253 w 542584"/>
                <a:gd name="connsiteY93" fmla="*/ 246368 h 741675"/>
                <a:gd name="connsiteX94" fmla="*/ 29022 w 542584"/>
                <a:gd name="connsiteY94" fmla="*/ 252929 h 741675"/>
                <a:gd name="connsiteX95" fmla="*/ 38275 w 542584"/>
                <a:gd name="connsiteY95" fmla="*/ 257808 h 741675"/>
                <a:gd name="connsiteX96" fmla="*/ 42061 w 542584"/>
                <a:gd name="connsiteY96" fmla="*/ 270174 h 741675"/>
                <a:gd name="connsiteX97" fmla="*/ 51314 w 542584"/>
                <a:gd name="connsiteY97" fmla="*/ 272446 h 741675"/>
                <a:gd name="connsiteX98" fmla="*/ 55604 w 542584"/>
                <a:gd name="connsiteY98" fmla="*/ 275895 h 741675"/>
                <a:gd name="connsiteX99" fmla="*/ 61913 w 542584"/>
                <a:gd name="connsiteY99" fmla="*/ 279428 h 741675"/>
                <a:gd name="connsiteX100" fmla="*/ 72429 w 542584"/>
                <a:gd name="connsiteY100" fmla="*/ 284727 h 741675"/>
                <a:gd name="connsiteX101" fmla="*/ 76214 w 542584"/>
                <a:gd name="connsiteY101" fmla="*/ 284727 h 741675"/>
                <a:gd name="connsiteX102" fmla="*/ 93459 w 542584"/>
                <a:gd name="connsiteY102" fmla="*/ 278503 h 741675"/>
                <a:gd name="connsiteX103" fmla="*/ 94721 w 542584"/>
                <a:gd name="connsiteY103" fmla="*/ 279764 h 741675"/>
                <a:gd name="connsiteX104" fmla="*/ 94721 w 542584"/>
                <a:gd name="connsiteY104" fmla="*/ 276736 h 741675"/>
                <a:gd name="connsiteX105" fmla="*/ 95562 w 542584"/>
                <a:gd name="connsiteY105" fmla="*/ 276315 h 741675"/>
                <a:gd name="connsiteX106" fmla="*/ 97245 w 542584"/>
                <a:gd name="connsiteY106" fmla="*/ 276736 h 741675"/>
                <a:gd name="connsiteX107" fmla="*/ 101451 w 542584"/>
                <a:gd name="connsiteY107" fmla="*/ 267903 h 741675"/>
                <a:gd name="connsiteX108" fmla="*/ 102292 w 542584"/>
                <a:gd name="connsiteY108" fmla="*/ 268828 h 741675"/>
                <a:gd name="connsiteX109" fmla="*/ 105236 w 542584"/>
                <a:gd name="connsiteY109" fmla="*/ 256042 h 741675"/>
                <a:gd name="connsiteX110" fmla="*/ 108601 w 542584"/>
                <a:gd name="connsiteY110" fmla="*/ 252088 h 741675"/>
                <a:gd name="connsiteX111" fmla="*/ 109863 w 542584"/>
                <a:gd name="connsiteY111" fmla="*/ 249396 h 741675"/>
                <a:gd name="connsiteX112" fmla="*/ 110620 w 542584"/>
                <a:gd name="connsiteY112" fmla="*/ 250322 h 741675"/>
                <a:gd name="connsiteX113" fmla="*/ 110620 w 542584"/>
                <a:gd name="connsiteY113" fmla="*/ 247209 h 741675"/>
                <a:gd name="connsiteX114" fmla="*/ 114489 w 542584"/>
                <a:gd name="connsiteY114" fmla="*/ 247209 h 741675"/>
                <a:gd name="connsiteX115" fmla="*/ 113228 w 542584"/>
                <a:gd name="connsiteY115" fmla="*/ 245022 h 741675"/>
                <a:gd name="connsiteX116" fmla="*/ 114489 w 542584"/>
                <a:gd name="connsiteY116" fmla="*/ 243171 h 741675"/>
                <a:gd name="connsiteX117" fmla="*/ 115247 w 542584"/>
                <a:gd name="connsiteY117" fmla="*/ 243592 h 741675"/>
                <a:gd name="connsiteX118" fmla="*/ 115247 w 542584"/>
                <a:gd name="connsiteY118" fmla="*/ 240900 h 741675"/>
                <a:gd name="connsiteX119" fmla="*/ 120294 w 542584"/>
                <a:gd name="connsiteY119" fmla="*/ 220543 h 741675"/>
                <a:gd name="connsiteX120" fmla="*/ 119537 w 542584"/>
                <a:gd name="connsiteY120" fmla="*/ 217094 h 741675"/>
                <a:gd name="connsiteX121" fmla="*/ 120294 w 542584"/>
                <a:gd name="connsiteY121" fmla="*/ 211794 h 741675"/>
                <a:gd name="connsiteX122" fmla="*/ 123659 w 542584"/>
                <a:gd name="connsiteY122" fmla="*/ 198166 h 741675"/>
                <a:gd name="connsiteX123" fmla="*/ 126603 w 542584"/>
                <a:gd name="connsiteY123" fmla="*/ 190680 h 741675"/>
                <a:gd name="connsiteX124" fmla="*/ 126603 w 542584"/>
                <a:gd name="connsiteY124" fmla="*/ 188829 h 741675"/>
                <a:gd name="connsiteX125" fmla="*/ 127865 w 542584"/>
                <a:gd name="connsiteY125" fmla="*/ 187062 h 741675"/>
                <a:gd name="connsiteX126" fmla="*/ 129127 w 542584"/>
                <a:gd name="connsiteY126" fmla="*/ 182183 h 741675"/>
                <a:gd name="connsiteX127" fmla="*/ 123659 w 542584"/>
                <a:gd name="connsiteY127" fmla="*/ 161826 h 741675"/>
                <a:gd name="connsiteX128" fmla="*/ 126603 w 542584"/>
                <a:gd name="connsiteY128" fmla="*/ 151647 h 741675"/>
                <a:gd name="connsiteX129" fmla="*/ 126603 w 542584"/>
                <a:gd name="connsiteY129" fmla="*/ 147693 h 741675"/>
                <a:gd name="connsiteX130" fmla="*/ 121556 w 542584"/>
                <a:gd name="connsiteY130" fmla="*/ 140627 h 741675"/>
                <a:gd name="connsiteX131" fmla="*/ 122817 w 542584"/>
                <a:gd name="connsiteY131" fmla="*/ 135327 h 741675"/>
                <a:gd name="connsiteX132" fmla="*/ 124920 w 542584"/>
                <a:gd name="connsiteY132" fmla="*/ 127336 h 741675"/>
                <a:gd name="connsiteX133" fmla="*/ 127024 w 542584"/>
                <a:gd name="connsiteY133" fmla="*/ 120270 h 741675"/>
                <a:gd name="connsiteX134" fmla="*/ 129547 w 542584"/>
                <a:gd name="connsiteY134" fmla="*/ 123382 h 741675"/>
                <a:gd name="connsiteX135" fmla="*/ 129968 w 542584"/>
                <a:gd name="connsiteY135" fmla="*/ 123803 h 741675"/>
                <a:gd name="connsiteX136" fmla="*/ 132071 w 542584"/>
                <a:gd name="connsiteY136" fmla="*/ 118840 h 741675"/>
                <a:gd name="connsiteX137" fmla="*/ 128285 w 542584"/>
                <a:gd name="connsiteY137" fmla="*/ 112699 h 741675"/>
                <a:gd name="connsiteX138" fmla="*/ 126182 w 542584"/>
                <a:gd name="connsiteY138" fmla="*/ 105212 h 741675"/>
                <a:gd name="connsiteX139" fmla="*/ 130809 w 542584"/>
                <a:gd name="connsiteY139" fmla="*/ 100837 h 741675"/>
                <a:gd name="connsiteX140" fmla="*/ 133669 w 542584"/>
                <a:gd name="connsiteY140" fmla="*/ 95033 h 741675"/>
                <a:gd name="connsiteX141" fmla="*/ 137539 w 542584"/>
                <a:gd name="connsiteY141" fmla="*/ 95959 h 741675"/>
                <a:gd name="connsiteX142" fmla="*/ 135436 w 542584"/>
                <a:gd name="connsiteY142" fmla="*/ 93267 h 741675"/>
                <a:gd name="connsiteX143" fmla="*/ 129547 w 542584"/>
                <a:gd name="connsiteY143" fmla="*/ 82163 h 741675"/>
                <a:gd name="connsiteX144" fmla="*/ 131314 w 542584"/>
                <a:gd name="connsiteY144" fmla="*/ 77788 h 741675"/>
                <a:gd name="connsiteX145" fmla="*/ 132576 w 542584"/>
                <a:gd name="connsiteY145" fmla="*/ 77788 h 741675"/>
                <a:gd name="connsiteX146" fmla="*/ 132155 w 542584"/>
                <a:gd name="connsiteY146" fmla="*/ 75601 h 741675"/>
                <a:gd name="connsiteX147" fmla="*/ 136025 w 542584"/>
                <a:gd name="connsiteY147" fmla="*/ 70302 h 741675"/>
                <a:gd name="connsiteX148" fmla="*/ 138128 w 542584"/>
                <a:gd name="connsiteY148" fmla="*/ 75601 h 741675"/>
                <a:gd name="connsiteX149" fmla="*/ 138548 w 542584"/>
                <a:gd name="connsiteY149" fmla="*/ 75601 h 741675"/>
                <a:gd name="connsiteX150" fmla="*/ 138128 w 542584"/>
                <a:gd name="connsiteY150" fmla="*/ 72068 h 741675"/>
                <a:gd name="connsiteX151" fmla="*/ 138128 w 542584"/>
                <a:gd name="connsiteY151" fmla="*/ 71227 h 741675"/>
                <a:gd name="connsiteX152" fmla="*/ 141492 w 542584"/>
                <a:gd name="connsiteY152" fmla="*/ 71227 h 741675"/>
                <a:gd name="connsiteX153" fmla="*/ 141492 w 542584"/>
                <a:gd name="connsiteY153" fmla="*/ 69376 h 741675"/>
                <a:gd name="connsiteX154" fmla="*/ 138128 w 542584"/>
                <a:gd name="connsiteY154" fmla="*/ 65927 h 741675"/>
                <a:gd name="connsiteX155" fmla="*/ 142754 w 542584"/>
                <a:gd name="connsiteY155" fmla="*/ 58440 h 741675"/>
                <a:gd name="connsiteX156" fmla="*/ 141913 w 542584"/>
                <a:gd name="connsiteY156" fmla="*/ 56253 h 741675"/>
                <a:gd name="connsiteX157" fmla="*/ 144857 w 542584"/>
                <a:gd name="connsiteY157" fmla="*/ 44308 h 741675"/>
                <a:gd name="connsiteX158" fmla="*/ 144857 w 542584"/>
                <a:gd name="connsiteY158" fmla="*/ 39429 h 741675"/>
                <a:gd name="connsiteX159" fmla="*/ 145278 w 542584"/>
                <a:gd name="connsiteY159" fmla="*/ 33204 h 741675"/>
                <a:gd name="connsiteX160" fmla="*/ 145278 w 542584"/>
                <a:gd name="connsiteY160" fmla="*/ 29755 h 741675"/>
                <a:gd name="connsiteX161" fmla="*/ 147802 w 542584"/>
                <a:gd name="connsiteY161" fmla="*/ 29755 h 741675"/>
                <a:gd name="connsiteX162" fmla="*/ 154111 w 542584"/>
                <a:gd name="connsiteY162" fmla="*/ 24876 h 741675"/>
                <a:gd name="connsiteX163" fmla="*/ 155793 w 542584"/>
                <a:gd name="connsiteY163" fmla="*/ 20838 h 741675"/>
                <a:gd name="connsiteX164" fmla="*/ 158737 w 542584"/>
                <a:gd name="connsiteY164" fmla="*/ 20838 h 741675"/>
                <a:gd name="connsiteX165" fmla="*/ 159158 w 542584"/>
                <a:gd name="connsiteY165" fmla="*/ 22184 h 741675"/>
                <a:gd name="connsiteX166" fmla="*/ 157055 w 542584"/>
                <a:gd name="connsiteY166" fmla="*/ 29250 h 741675"/>
                <a:gd name="connsiteX167" fmla="*/ 157812 w 542584"/>
                <a:gd name="connsiteY167" fmla="*/ 29250 h 741675"/>
                <a:gd name="connsiteX168" fmla="*/ 161682 w 542584"/>
                <a:gd name="connsiteY168" fmla="*/ 28829 h 741675"/>
                <a:gd name="connsiteX169" fmla="*/ 163364 w 542584"/>
                <a:gd name="connsiteY169" fmla="*/ 30596 h 741675"/>
                <a:gd name="connsiteX170" fmla="*/ 167150 w 542584"/>
                <a:gd name="connsiteY170" fmla="*/ 32363 h 741675"/>
                <a:gd name="connsiteX171" fmla="*/ 166393 w 542584"/>
                <a:gd name="connsiteY171" fmla="*/ 36821 h 741675"/>
                <a:gd name="connsiteX172" fmla="*/ 168916 w 542584"/>
                <a:gd name="connsiteY172" fmla="*/ 42962 h 741675"/>
                <a:gd name="connsiteX173" fmla="*/ 170599 w 542584"/>
                <a:gd name="connsiteY173" fmla="*/ 56674 h 741675"/>
                <a:gd name="connsiteX174" fmla="*/ 169757 w 542584"/>
                <a:gd name="connsiteY174" fmla="*/ 61553 h 741675"/>
                <a:gd name="connsiteX175" fmla="*/ 174384 w 542584"/>
                <a:gd name="connsiteY175" fmla="*/ 66853 h 741675"/>
                <a:gd name="connsiteX176" fmla="*/ 178674 w 542584"/>
                <a:gd name="connsiteY176" fmla="*/ 65507 h 741675"/>
                <a:gd name="connsiteX177" fmla="*/ 180357 w 542584"/>
                <a:gd name="connsiteY177" fmla="*/ 69040 h 741675"/>
                <a:gd name="connsiteX178" fmla="*/ 177412 w 542584"/>
                <a:gd name="connsiteY178" fmla="*/ 76106 h 741675"/>
                <a:gd name="connsiteX179" fmla="*/ 179095 w 542584"/>
                <a:gd name="connsiteY179" fmla="*/ 81826 h 741675"/>
                <a:gd name="connsiteX180" fmla="*/ 183722 w 542584"/>
                <a:gd name="connsiteY180" fmla="*/ 83677 h 741675"/>
                <a:gd name="connsiteX181" fmla="*/ 184983 w 542584"/>
                <a:gd name="connsiteY181" fmla="*/ 88556 h 741675"/>
                <a:gd name="connsiteX182" fmla="*/ 189610 w 542584"/>
                <a:gd name="connsiteY182" fmla="*/ 91668 h 741675"/>
                <a:gd name="connsiteX183" fmla="*/ 186666 w 542584"/>
                <a:gd name="connsiteY183" fmla="*/ 100501 h 741675"/>
                <a:gd name="connsiteX184" fmla="*/ 187507 w 542584"/>
                <a:gd name="connsiteY184" fmla="*/ 102268 h 741675"/>
                <a:gd name="connsiteX185" fmla="*/ 190451 w 542584"/>
                <a:gd name="connsiteY185" fmla="*/ 100501 h 741675"/>
                <a:gd name="connsiteX186" fmla="*/ 192134 w 542584"/>
                <a:gd name="connsiteY186" fmla="*/ 100922 h 741675"/>
                <a:gd name="connsiteX187" fmla="*/ 191713 w 542584"/>
                <a:gd name="connsiteY187" fmla="*/ 107988 h 741675"/>
                <a:gd name="connsiteX188" fmla="*/ 195499 w 542584"/>
                <a:gd name="connsiteY188" fmla="*/ 124728 h 741675"/>
                <a:gd name="connsiteX189" fmla="*/ 192638 w 542584"/>
                <a:gd name="connsiteY189" fmla="*/ 132720 h 741675"/>
                <a:gd name="connsiteX190" fmla="*/ 196424 w 542584"/>
                <a:gd name="connsiteY190" fmla="*/ 140207 h 741675"/>
                <a:gd name="connsiteX191" fmla="*/ 198948 w 542584"/>
                <a:gd name="connsiteY191" fmla="*/ 152993 h 741675"/>
                <a:gd name="connsiteX192" fmla="*/ 207360 w 542584"/>
                <a:gd name="connsiteY192" fmla="*/ 163592 h 741675"/>
                <a:gd name="connsiteX193" fmla="*/ 217875 w 542584"/>
                <a:gd name="connsiteY193" fmla="*/ 154255 h 741675"/>
                <a:gd name="connsiteX194" fmla="*/ 220819 w 542584"/>
                <a:gd name="connsiteY194" fmla="*/ 155180 h 741675"/>
                <a:gd name="connsiteX195" fmla="*/ 226708 w 542584"/>
                <a:gd name="connsiteY195" fmla="*/ 150806 h 741675"/>
                <a:gd name="connsiteX196" fmla="*/ 229652 w 542584"/>
                <a:gd name="connsiteY196" fmla="*/ 154255 h 741675"/>
                <a:gd name="connsiteX197" fmla="*/ 229231 w 542584"/>
                <a:gd name="connsiteY197" fmla="*/ 155180 h 741675"/>
                <a:gd name="connsiteX198" fmla="*/ 230998 w 542584"/>
                <a:gd name="connsiteY198" fmla="*/ 156947 h 741675"/>
                <a:gd name="connsiteX199" fmla="*/ 234783 w 542584"/>
                <a:gd name="connsiteY199" fmla="*/ 165359 h 741675"/>
                <a:gd name="connsiteX200" fmla="*/ 242354 w 542584"/>
                <a:gd name="connsiteY200" fmla="*/ 168051 h 741675"/>
                <a:gd name="connsiteX201" fmla="*/ 243616 w 542584"/>
                <a:gd name="connsiteY201" fmla="*/ 172425 h 741675"/>
                <a:gd name="connsiteX202" fmla="*/ 251608 w 542584"/>
                <a:gd name="connsiteY202" fmla="*/ 176800 h 741675"/>
                <a:gd name="connsiteX203" fmla="*/ 255814 w 542584"/>
                <a:gd name="connsiteY203" fmla="*/ 180332 h 741675"/>
                <a:gd name="connsiteX204" fmla="*/ 253290 w 542584"/>
                <a:gd name="connsiteY204" fmla="*/ 186894 h 741675"/>
                <a:gd name="connsiteX205" fmla="*/ 255814 w 542584"/>
                <a:gd name="connsiteY205" fmla="*/ 192698 h 741675"/>
                <a:gd name="connsiteX206" fmla="*/ 252870 w 542584"/>
                <a:gd name="connsiteY206" fmla="*/ 198419 h 741675"/>
                <a:gd name="connsiteX207" fmla="*/ 257917 w 542584"/>
                <a:gd name="connsiteY207" fmla="*/ 210784 h 741675"/>
                <a:gd name="connsiteX208" fmla="*/ 257496 w 542584"/>
                <a:gd name="connsiteY208" fmla="*/ 214318 h 741675"/>
                <a:gd name="connsiteX209" fmla="*/ 261366 w 542584"/>
                <a:gd name="connsiteY209" fmla="*/ 220122 h 741675"/>
                <a:gd name="connsiteX210" fmla="*/ 260104 w 542584"/>
                <a:gd name="connsiteY210" fmla="*/ 226263 h 741675"/>
                <a:gd name="connsiteX211" fmla="*/ 260524 w 542584"/>
                <a:gd name="connsiteY211" fmla="*/ 228955 h 741675"/>
                <a:gd name="connsiteX212" fmla="*/ 258421 w 542584"/>
                <a:gd name="connsiteY212" fmla="*/ 233329 h 741675"/>
                <a:gd name="connsiteX213" fmla="*/ 264310 w 542584"/>
                <a:gd name="connsiteY213" fmla="*/ 241741 h 741675"/>
                <a:gd name="connsiteX214" fmla="*/ 275330 w 542584"/>
                <a:gd name="connsiteY214" fmla="*/ 255369 h 741675"/>
                <a:gd name="connsiteX215" fmla="*/ 276592 w 542584"/>
                <a:gd name="connsiteY215" fmla="*/ 254948 h 741675"/>
                <a:gd name="connsiteX216" fmla="*/ 276171 w 542584"/>
                <a:gd name="connsiteY216" fmla="*/ 257640 h 741675"/>
                <a:gd name="connsiteX217" fmla="*/ 277938 w 542584"/>
                <a:gd name="connsiteY217" fmla="*/ 262099 h 741675"/>
                <a:gd name="connsiteX218" fmla="*/ 282144 w 542584"/>
                <a:gd name="connsiteY218" fmla="*/ 277914 h 741675"/>
                <a:gd name="connsiteX219" fmla="*/ 282985 w 542584"/>
                <a:gd name="connsiteY219" fmla="*/ 280101 h 741675"/>
                <a:gd name="connsiteX220" fmla="*/ 282985 w 542584"/>
                <a:gd name="connsiteY220" fmla="*/ 292887 h 741675"/>
                <a:gd name="connsiteX221" fmla="*/ 279620 w 542584"/>
                <a:gd name="connsiteY221" fmla="*/ 301299 h 741675"/>
                <a:gd name="connsiteX222" fmla="*/ 283406 w 542584"/>
                <a:gd name="connsiteY222" fmla="*/ 310553 h 741675"/>
                <a:gd name="connsiteX223" fmla="*/ 288874 w 542584"/>
                <a:gd name="connsiteY223" fmla="*/ 316357 h 741675"/>
                <a:gd name="connsiteX224" fmla="*/ 290556 w 542584"/>
                <a:gd name="connsiteY224" fmla="*/ 318124 h 741675"/>
                <a:gd name="connsiteX225" fmla="*/ 289294 w 542584"/>
                <a:gd name="connsiteY225" fmla="*/ 326115 h 741675"/>
                <a:gd name="connsiteX226" fmla="*/ 292238 w 542584"/>
                <a:gd name="connsiteY226" fmla="*/ 333602 h 741675"/>
                <a:gd name="connsiteX227" fmla="*/ 306876 w 542584"/>
                <a:gd name="connsiteY227" fmla="*/ 342855 h 741675"/>
                <a:gd name="connsiteX228" fmla="*/ 313269 w 542584"/>
                <a:gd name="connsiteY228" fmla="*/ 348155 h 741675"/>
                <a:gd name="connsiteX229" fmla="*/ 316634 w 542584"/>
                <a:gd name="connsiteY229" fmla="*/ 342855 h 741675"/>
                <a:gd name="connsiteX230" fmla="*/ 316634 w 542584"/>
                <a:gd name="connsiteY230" fmla="*/ 343781 h 741675"/>
                <a:gd name="connsiteX231" fmla="*/ 315877 w 542584"/>
                <a:gd name="connsiteY231" fmla="*/ 345043 h 741675"/>
                <a:gd name="connsiteX232" fmla="*/ 325130 w 542584"/>
                <a:gd name="connsiteY232" fmla="*/ 350847 h 741675"/>
                <a:gd name="connsiteX233" fmla="*/ 331018 w 542584"/>
                <a:gd name="connsiteY233" fmla="*/ 349501 h 741675"/>
                <a:gd name="connsiteX234" fmla="*/ 333963 w 542584"/>
                <a:gd name="connsiteY234" fmla="*/ 356147 h 741675"/>
                <a:gd name="connsiteX235" fmla="*/ 333542 w 542584"/>
                <a:gd name="connsiteY235" fmla="*/ 358839 h 741675"/>
                <a:gd name="connsiteX236" fmla="*/ 340272 w 542584"/>
                <a:gd name="connsiteY236" fmla="*/ 367671 h 741675"/>
                <a:gd name="connsiteX237" fmla="*/ 342375 w 542584"/>
                <a:gd name="connsiteY237" fmla="*/ 361867 h 741675"/>
                <a:gd name="connsiteX238" fmla="*/ 344141 w 542584"/>
                <a:gd name="connsiteY238" fmla="*/ 362288 h 741675"/>
                <a:gd name="connsiteX239" fmla="*/ 349525 w 542584"/>
                <a:gd name="connsiteY239" fmla="*/ 371120 h 741675"/>
                <a:gd name="connsiteX240" fmla="*/ 352049 w 542584"/>
                <a:gd name="connsiteY240" fmla="*/ 368429 h 741675"/>
                <a:gd name="connsiteX241" fmla="*/ 356676 w 542584"/>
                <a:gd name="connsiteY241" fmla="*/ 372803 h 741675"/>
                <a:gd name="connsiteX242" fmla="*/ 365592 w 542584"/>
                <a:gd name="connsiteY242" fmla="*/ 379364 h 741675"/>
                <a:gd name="connsiteX243" fmla="*/ 367275 w 542584"/>
                <a:gd name="connsiteY243" fmla="*/ 376672 h 741675"/>
                <a:gd name="connsiteX244" fmla="*/ 369378 w 542584"/>
                <a:gd name="connsiteY244" fmla="*/ 380710 h 741675"/>
                <a:gd name="connsiteX245" fmla="*/ 372743 w 542584"/>
                <a:gd name="connsiteY245" fmla="*/ 382477 h 741675"/>
                <a:gd name="connsiteX246" fmla="*/ 373500 w 542584"/>
                <a:gd name="connsiteY246" fmla="*/ 384664 h 741675"/>
                <a:gd name="connsiteX247" fmla="*/ 378127 w 542584"/>
                <a:gd name="connsiteY247" fmla="*/ 388197 h 741675"/>
                <a:gd name="connsiteX248" fmla="*/ 375182 w 542584"/>
                <a:gd name="connsiteY248" fmla="*/ 390805 h 741675"/>
                <a:gd name="connsiteX249" fmla="*/ 373079 w 542584"/>
                <a:gd name="connsiteY249" fmla="*/ 389543 h 741675"/>
                <a:gd name="connsiteX250" fmla="*/ 372743 w 542584"/>
                <a:gd name="connsiteY250" fmla="*/ 390468 h 741675"/>
                <a:gd name="connsiteX251" fmla="*/ 373500 w 542584"/>
                <a:gd name="connsiteY251" fmla="*/ 392235 h 741675"/>
                <a:gd name="connsiteX252" fmla="*/ 372238 w 542584"/>
                <a:gd name="connsiteY252" fmla="*/ 394422 h 741675"/>
                <a:gd name="connsiteX253" fmla="*/ 374341 w 542584"/>
                <a:gd name="connsiteY253" fmla="*/ 398796 h 741675"/>
                <a:gd name="connsiteX254" fmla="*/ 384436 w 542584"/>
                <a:gd name="connsiteY254" fmla="*/ 408134 h 741675"/>
                <a:gd name="connsiteX255" fmla="*/ 384436 w 542584"/>
                <a:gd name="connsiteY255" fmla="*/ 411162 h 741675"/>
                <a:gd name="connsiteX256" fmla="*/ 385193 w 542584"/>
                <a:gd name="connsiteY256" fmla="*/ 411583 h 741675"/>
                <a:gd name="connsiteX257" fmla="*/ 386034 w 542584"/>
                <a:gd name="connsiteY257" fmla="*/ 411162 h 741675"/>
                <a:gd name="connsiteX258" fmla="*/ 388137 w 542584"/>
                <a:gd name="connsiteY258" fmla="*/ 413854 h 741675"/>
                <a:gd name="connsiteX259" fmla="*/ 391081 w 542584"/>
                <a:gd name="connsiteY259" fmla="*/ 416546 h 741675"/>
                <a:gd name="connsiteX260" fmla="*/ 389819 w 542584"/>
                <a:gd name="connsiteY260" fmla="*/ 420079 h 741675"/>
                <a:gd name="connsiteX261" fmla="*/ 390240 w 542584"/>
                <a:gd name="connsiteY261" fmla="*/ 421846 h 741675"/>
                <a:gd name="connsiteX262" fmla="*/ 391922 w 542584"/>
                <a:gd name="connsiteY262" fmla="*/ 421425 h 741675"/>
                <a:gd name="connsiteX263" fmla="*/ 393184 w 542584"/>
                <a:gd name="connsiteY263" fmla="*/ 425463 h 741675"/>
                <a:gd name="connsiteX264" fmla="*/ 396129 w 542584"/>
                <a:gd name="connsiteY264" fmla="*/ 432950 h 741675"/>
                <a:gd name="connsiteX265" fmla="*/ 397390 w 542584"/>
                <a:gd name="connsiteY265" fmla="*/ 432529 h 741675"/>
                <a:gd name="connsiteX266" fmla="*/ 399493 w 542584"/>
                <a:gd name="connsiteY266" fmla="*/ 435978 h 741675"/>
                <a:gd name="connsiteX267" fmla="*/ 398652 w 542584"/>
                <a:gd name="connsiteY267" fmla="*/ 440352 h 741675"/>
                <a:gd name="connsiteX268" fmla="*/ 405045 w 542584"/>
                <a:gd name="connsiteY268" fmla="*/ 461130 h 741675"/>
                <a:gd name="connsiteX269" fmla="*/ 404204 w 542584"/>
                <a:gd name="connsiteY269" fmla="*/ 463318 h 741675"/>
                <a:gd name="connsiteX270" fmla="*/ 405971 w 542584"/>
                <a:gd name="connsiteY270" fmla="*/ 465084 h 741675"/>
                <a:gd name="connsiteX271" fmla="*/ 408831 w 542584"/>
                <a:gd name="connsiteY271" fmla="*/ 468617 h 741675"/>
                <a:gd name="connsiteX272" fmla="*/ 410513 w 542584"/>
                <a:gd name="connsiteY272" fmla="*/ 467355 h 741675"/>
                <a:gd name="connsiteX273" fmla="*/ 417327 w 542584"/>
                <a:gd name="connsiteY273" fmla="*/ 465084 h 741675"/>
                <a:gd name="connsiteX274" fmla="*/ 418084 w 542584"/>
                <a:gd name="connsiteY274" fmla="*/ 463822 h 741675"/>
                <a:gd name="connsiteX275" fmla="*/ 417327 w 542584"/>
                <a:gd name="connsiteY275" fmla="*/ 461635 h 741675"/>
                <a:gd name="connsiteX276" fmla="*/ 419430 w 542584"/>
                <a:gd name="connsiteY276" fmla="*/ 457261 h 741675"/>
                <a:gd name="connsiteX277" fmla="*/ 423636 w 542584"/>
                <a:gd name="connsiteY277" fmla="*/ 462981 h 741675"/>
                <a:gd name="connsiteX278" fmla="*/ 432469 w 542584"/>
                <a:gd name="connsiteY278" fmla="*/ 471814 h 741675"/>
                <a:gd name="connsiteX279" fmla="*/ 439619 w 542584"/>
                <a:gd name="connsiteY279" fmla="*/ 476188 h 741675"/>
                <a:gd name="connsiteX280" fmla="*/ 439619 w 542584"/>
                <a:gd name="connsiteY280" fmla="*/ 471309 h 741675"/>
                <a:gd name="connsiteX281" fmla="*/ 438358 w 542584"/>
                <a:gd name="connsiteY281" fmla="*/ 465505 h 741675"/>
                <a:gd name="connsiteX282" fmla="*/ 438358 w 542584"/>
                <a:gd name="connsiteY282" fmla="*/ 464243 h 741675"/>
                <a:gd name="connsiteX283" fmla="*/ 439115 w 542584"/>
                <a:gd name="connsiteY283" fmla="*/ 463822 h 741675"/>
                <a:gd name="connsiteX284" fmla="*/ 441638 w 542584"/>
                <a:gd name="connsiteY284" fmla="*/ 468197 h 741675"/>
                <a:gd name="connsiteX285" fmla="*/ 444583 w 542584"/>
                <a:gd name="connsiteY285" fmla="*/ 475684 h 741675"/>
                <a:gd name="connsiteX286" fmla="*/ 447106 w 542584"/>
                <a:gd name="connsiteY286" fmla="*/ 481488 h 741675"/>
                <a:gd name="connsiteX287" fmla="*/ 445424 w 542584"/>
                <a:gd name="connsiteY287" fmla="*/ 485862 h 741675"/>
                <a:gd name="connsiteX288" fmla="*/ 447106 w 542584"/>
                <a:gd name="connsiteY288" fmla="*/ 490741 h 741675"/>
                <a:gd name="connsiteX289" fmla="*/ 448368 w 542584"/>
                <a:gd name="connsiteY289" fmla="*/ 506219 h 741675"/>
                <a:gd name="connsiteX290" fmla="*/ 448368 w 542584"/>
                <a:gd name="connsiteY290" fmla="*/ 507986 h 741675"/>
                <a:gd name="connsiteX291" fmla="*/ 447611 w 542584"/>
                <a:gd name="connsiteY291" fmla="*/ 507986 h 741675"/>
                <a:gd name="connsiteX292" fmla="*/ 446349 w 542584"/>
                <a:gd name="connsiteY292" fmla="*/ 507565 h 741675"/>
                <a:gd name="connsiteX293" fmla="*/ 442984 w 542584"/>
                <a:gd name="connsiteY293" fmla="*/ 509416 h 741675"/>
                <a:gd name="connsiteX294" fmla="*/ 445508 w 542584"/>
                <a:gd name="connsiteY294" fmla="*/ 512445 h 741675"/>
                <a:gd name="connsiteX295" fmla="*/ 451817 w 542584"/>
                <a:gd name="connsiteY295" fmla="*/ 516903 h 741675"/>
                <a:gd name="connsiteX296" fmla="*/ 453499 w 542584"/>
                <a:gd name="connsiteY296" fmla="*/ 513370 h 741675"/>
                <a:gd name="connsiteX297" fmla="*/ 460650 w 542584"/>
                <a:gd name="connsiteY297" fmla="*/ 523969 h 741675"/>
                <a:gd name="connsiteX298" fmla="*/ 466118 w 542584"/>
                <a:gd name="connsiteY298" fmla="*/ 527418 h 741675"/>
                <a:gd name="connsiteX299" fmla="*/ 468641 w 542584"/>
                <a:gd name="connsiteY299" fmla="*/ 531456 h 741675"/>
                <a:gd name="connsiteX300" fmla="*/ 474530 w 542584"/>
                <a:gd name="connsiteY300" fmla="*/ 534569 h 741675"/>
                <a:gd name="connsiteX301" fmla="*/ 476717 w 542584"/>
                <a:gd name="connsiteY301" fmla="*/ 532718 h 741675"/>
                <a:gd name="connsiteX302" fmla="*/ 479577 w 542584"/>
                <a:gd name="connsiteY302" fmla="*/ 534569 h 741675"/>
                <a:gd name="connsiteX303" fmla="*/ 487569 w 542584"/>
                <a:gd name="connsiteY303" fmla="*/ 541130 h 741675"/>
                <a:gd name="connsiteX304" fmla="*/ 489251 w 542584"/>
                <a:gd name="connsiteY304" fmla="*/ 549963 h 741675"/>
                <a:gd name="connsiteX305" fmla="*/ 490092 w 542584"/>
                <a:gd name="connsiteY305" fmla="*/ 549963 h 741675"/>
                <a:gd name="connsiteX306" fmla="*/ 494719 w 542584"/>
                <a:gd name="connsiteY306" fmla="*/ 557450 h 741675"/>
                <a:gd name="connsiteX307" fmla="*/ 503131 w 542584"/>
                <a:gd name="connsiteY307" fmla="*/ 561487 h 741675"/>
                <a:gd name="connsiteX308" fmla="*/ 503973 w 542584"/>
                <a:gd name="connsiteY308" fmla="*/ 567628 h 741675"/>
                <a:gd name="connsiteX309" fmla="*/ 508179 w 542584"/>
                <a:gd name="connsiteY309" fmla="*/ 574190 h 741675"/>
                <a:gd name="connsiteX310" fmla="*/ 510702 w 542584"/>
                <a:gd name="connsiteY310" fmla="*/ 578648 h 741675"/>
                <a:gd name="connsiteX311" fmla="*/ 517011 w 542584"/>
                <a:gd name="connsiteY311" fmla="*/ 581340 h 741675"/>
                <a:gd name="connsiteX312" fmla="*/ 520376 w 542584"/>
                <a:gd name="connsiteY312" fmla="*/ 583107 h 741675"/>
                <a:gd name="connsiteX313" fmla="*/ 518273 w 542584"/>
                <a:gd name="connsiteY313" fmla="*/ 593285 h 741675"/>
                <a:gd name="connsiteX314" fmla="*/ 525423 w 542584"/>
                <a:gd name="connsiteY314" fmla="*/ 605231 h 741675"/>
                <a:gd name="connsiteX315" fmla="*/ 529209 w 542584"/>
                <a:gd name="connsiteY315" fmla="*/ 609184 h 741675"/>
                <a:gd name="connsiteX316" fmla="*/ 525423 w 542584"/>
                <a:gd name="connsiteY316" fmla="*/ 623401 h 741675"/>
                <a:gd name="connsiteX317" fmla="*/ 526181 w 542584"/>
                <a:gd name="connsiteY317" fmla="*/ 627775 h 741675"/>
                <a:gd name="connsiteX318" fmla="*/ 527022 w 542584"/>
                <a:gd name="connsiteY318" fmla="*/ 627775 h 741675"/>
                <a:gd name="connsiteX319" fmla="*/ 527863 w 542584"/>
                <a:gd name="connsiteY319" fmla="*/ 627355 h 741675"/>
                <a:gd name="connsiteX320" fmla="*/ 528620 w 542584"/>
                <a:gd name="connsiteY320" fmla="*/ 632234 h 741675"/>
                <a:gd name="connsiteX321" fmla="*/ 528620 w 542584"/>
                <a:gd name="connsiteY321" fmla="*/ 634926 h 741675"/>
                <a:gd name="connsiteX322" fmla="*/ 530807 w 542584"/>
                <a:gd name="connsiteY322" fmla="*/ 640225 h 741675"/>
                <a:gd name="connsiteX323" fmla="*/ 525760 w 542584"/>
                <a:gd name="connsiteY323" fmla="*/ 650404 h 741675"/>
                <a:gd name="connsiteX324" fmla="*/ 528620 w 542584"/>
                <a:gd name="connsiteY324" fmla="*/ 653853 h 741675"/>
                <a:gd name="connsiteX325" fmla="*/ 525760 w 542584"/>
                <a:gd name="connsiteY325" fmla="*/ 656965 h 741675"/>
                <a:gd name="connsiteX326" fmla="*/ 529125 w 542584"/>
                <a:gd name="connsiteY326" fmla="*/ 662265 h 741675"/>
                <a:gd name="connsiteX327" fmla="*/ 530387 w 542584"/>
                <a:gd name="connsiteY327" fmla="*/ 667565 h 741675"/>
                <a:gd name="connsiteX328" fmla="*/ 535350 w 542584"/>
                <a:gd name="connsiteY328" fmla="*/ 674631 h 741675"/>
                <a:gd name="connsiteX329" fmla="*/ 534593 w 542584"/>
                <a:gd name="connsiteY329" fmla="*/ 679510 h 741675"/>
                <a:gd name="connsiteX330" fmla="*/ 542584 w 542584"/>
                <a:gd name="connsiteY330" fmla="*/ 698942 h 741675"/>
                <a:gd name="connsiteX331" fmla="*/ 542584 w 542584"/>
                <a:gd name="connsiteY331" fmla="*/ 698942 h 741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Lst>
              <a:rect l="l" t="t" r="r" b="b"/>
              <a:pathLst>
                <a:path w="542584" h="741675">
                  <a:moveTo>
                    <a:pt x="40462" y="243760"/>
                  </a:moveTo>
                  <a:lnTo>
                    <a:pt x="40462" y="243760"/>
                  </a:lnTo>
                  <a:cubicBezTo>
                    <a:pt x="40462" y="245527"/>
                    <a:pt x="42566" y="245947"/>
                    <a:pt x="44248" y="245947"/>
                  </a:cubicBezTo>
                  <a:cubicBezTo>
                    <a:pt x="45510" y="245947"/>
                    <a:pt x="45510" y="244181"/>
                    <a:pt x="46435" y="243256"/>
                  </a:cubicBezTo>
                  <a:cubicBezTo>
                    <a:pt x="47697" y="242414"/>
                    <a:pt x="48538" y="242835"/>
                    <a:pt x="49800" y="242835"/>
                  </a:cubicBezTo>
                  <a:cubicBezTo>
                    <a:pt x="49800" y="240227"/>
                    <a:pt x="51062" y="236694"/>
                    <a:pt x="53669" y="236694"/>
                  </a:cubicBezTo>
                  <a:cubicBezTo>
                    <a:pt x="54931" y="236694"/>
                    <a:pt x="55352" y="238461"/>
                    <a:pt x="56530" y="238461"/>
                  </a:cubicBezTo>
                  <a:cubicBezTo>
                    <a:pt x="56950" y="238461"/>
                    <a:pt x="57791" y="237619"/>
                    <a:pt x="57791" y="236694"/>
                  </a:cubicBezTo>
                  <a:cubicBezTo>
                    <a:pt x="57791" y="234002"/>
                    <a:pt x="53585" y="234507"/>
                    <a:pt x="51062" y="235432"/>
                  </a:cubicBezTo>
                  <a:cubicBezTo>
                    <a:pt x="46435" y="237619"/>
                    <a:pt x="40547" y="238461"/>
                    <a:pt x="40547" y="243760"/>
                  </a:cubicBezTo>
                  <a:lnTo>
                    <a:pt x="40547" y="243760"/>
                  </a:lnTo>
                  <a:close/>
                  <a:moveTo>
                    <a:pt x="51819" y="257051"/>
                  </a:moveTo>
                  <a:lnTo>
                    <a:pt x="51819" y="257051"/>
                  </a:lnTo>
                  <a:cubicBezTo>
                    <a:pt x="51062" y="258313"/>
                    <a:pt x="50136" y="258818"/>
                    <a:pt x="49295" y="260164"/>
                  </a:cubicBezTo>
                  <a:cubicBezTo>
                    <a:pt x="50557" y="260585"/>
                    <a:pt x="51398" y="260585"/>
                    <a:pt x="53165" y="260585"/>
                  </a:cubicBezTo>
                  <a:cubicBezTo>
                    <a:pt x="53165" y="259323"/>
                    <a:pt x="52744" y="257893"/>
                    <a:pt x="51903" y="257136"/>
                  </a:cubicBezTo>
                  <a:lnTo>
                    <a:pt x="51903" y="257136"/>
                  </a:lnTo>
                  <a:close/>
                  <a:moveTo>
                    <a:pt x="147381" y="17389"/>
                  </a:moveTo>
                  <a:lnTo>
                    <a:pt x="147381" y="17389"/>
                  </a:lnTo>
                  <a:cubicBezTo>
                    <a:pt x="146119" y="18230"/>
                    <a:pt x="145278" y="19155"/>
                    <a:pt x="145278" y="20838"/>
                  </a:cubicBezTo>
                  <a:cubicBezTo>
                    <a:pt x="145278" y="21763"/>
                    <a:pt x="145614" y="21763"/>
                    <a:pt x="145614" y="22689"/>
                  </a:cubicBezTo>
                  <a:cubicBezTo>
                    <a:pt x="146035" y="21343"/>
                    <a:pt x="147381" y="20838"/>
                    <a:pt x="148559" y="20838"/>
                  </a:cubicBezTo>
                  <a:lnTo>
                    <a:pt x="148559" y="19997"/>
                  </a:lnTo>
                  <a:cubicBezTo>
                    <a:pt x="148559" y="18651"/>
                    <a:pt x="148138" y="18146"/>
                    <a:pt x="147297" y="17305"/>
                  </a:cubicBezTo>
                  <a:lnTo>
                    <a:pt x="147297" y="17305"/>
                  </a:lnTo>
                  <a:close/>
                  <a:moveTo>
                    <a:pt x="148138" y="985"/>
                  </a:moveTo>
                  <a:lnTo>
                    <a:pt x="148138" y="985"/>
                  </a:lnTo>
                  <a:cubicBezTo>
                    <a:pt x="148138" y="2331"/>
                    <a:pt x="149400" y="2836"/>
                    <a:pt x="149905" y="3677"/>
                  </a:cubicBezTo>
                  <a:cubicBezTo>
                    <a:pt x="151166" y="2836"/>
                    <a:pt x="151587" y="1911"/>
                    <a:pt x="152008" y="649"/>
                  </a:cubicBezTo>
                  <a:cubicBezTo>
                    <a:pt x="150746" y="-277"/>
                    <a:pt x="148138" y="-277"/>
                    <a:pt x="148138" y="1069"/>
                  </a:cubicBezTo>
                  <a:lnTo>
                    <a:pt x="148138" y="1069"/>
                  </a:lnTo>
                  <a:close/>
                  <a:moveTo>
                    <a:pt x="454761" y="509080"/>
                  </a:moveTo>
                  <a:lnTo>
                    <a:pt x="454761" y="509080"/>
                  </a:lnTo>
                  <a:cubicBezTo>
                    <a:pt x="455602" y="515641"/>
                    <a:pt x="459809" y="518333"/>
                    <a:pt x="464435" y="522707"/>
                  </a:cubicBezTo>
                  <a:cubicBezTo>
                    <a:pt x="464435" y="522287"/>
                    <a:pt x="464856" y="522287"/>
                    <a:pt x="464856" y="521866"/>
                  </a:cubicBezTo>
                  <a:cubicBezTo>
                    <a:pt x="464856" y="519174"/>
                    <a:pt x="462753" y="518333"/>
                    <a:pt x="461070" y="516062"/>
                  </a:cubicBezTo>
                  <a:cubicBezTo>
                    <a:pt x="458967" y="512949"/>
                    <a:pt x="458126" y="509500"/>
                    <a:pt x="454677" y="508996"/>
                  </a:cubicBezTo>
                  <a:lnTo>
                    <a:pt x="454677" y="508996"/>
                  </a:lnTo>
                  <a:close/>
                  <a:moveTo>
                    <a:pt x="531817" y="563338"/>
                  </a:moveTo>
                  <a:lnTo>
                    <a:pt x="531817" y="563338"/>
                  </a:lnTo>
                  <a:lnTo>
                    <a:pt x="531396" y="562918"/>
                  </a:lnTo>
                  <a:cubicBezTo>
                    <a:pt x="531396" y="564684"/>
                    <a:pt x="531817" y="565609"/>
                    <a:pt x="531817" y="567292"/>
                  </a:cubicBezTo>
                  <a:cubicBezTo>
                    <a:pt x="531817" y="570825"/>
                    <a:pt x="530134" y="573096"/>
                    <a:pt x="527526" y="575283"/>
                  </a:cubicBezTo>
                  <a:cubicBezTo>
                    <a:pt x="526265" y="575704"/>
                    <a:pt x="525087" y="576209"/>
                    <a:pt x="525087" y="577050"/>
                  </a:cubicBezTo>
                  <a:cubicBezTo>
                    <a:pt x="525087" y="578396"/>
                    <a:pt x="525423" y="579237"/>
                    <a:pt x="525423" y="580583"/>
                  </a:cubicBezTo>
                  <a:lnTo>
                    <a:pt x="525423" y="585883"/>
                  </a:lnTo>
                  <a:cubicBezTo>
                    <a:pt x="525423" y="588911"/>
                    <a:pt x="523320" y="590257"/>
                    <a:pt x="521217" y="592949"/>
                  </a:cubicBezTo>
                  <a:cubicBezTo>
                    <a:pt x="523741" y="593874"/>
                    <a:pt x="522984" y="596482"/>
                    <a:pt x="523741" y="598753"/>
                  </a:cubicBezTo>
                  <a:cubicBezTo>
                    <a:pt x="524162" y="600015"/>
                    <a:pt x="525423" y="600520"/>
                    <a:pt x="526265" y="601361"/>
                  </a:cubicBezTo>
                  <a:cubicBezTo>
                    <a:pt x="528788" y="598333"/>
                    <a:pt x="526265" y="594800"/>
                    <a:pt x="528368" y="590846"/>
                  </a:cubicBezTo>
                  <a:cubicBezTo>
                    <a:pt x="530134" y="586808"/>
                    <a:pt x="530471" y="584284"/>
                    <a:pt x="531733" y="580247"/>
                  </a:cubicBezTo>
                  <a:cubicBezTo>
                    <a:pt x="533415" y="576293"/>
                    <a:pt x="535518" y="574442"/>
                    <a:pt x="535518" y="570573"/>
                  </a:cubicBezTo>
                  <a:cubicBezTo>
                    <a:pt x="535518" y="567460"/>
                    <a:pt x="532994" y="566198"/>
                    <a:pt x="531733" y="563506"/>
                  </a:cubicBezTo>
                  <a:lnTo>
                    <a:pt x="531733" y="563506"/>
                  </a:lnTo>
                  <a:close/>
                  <a:moveTo>
                    <a:pt x="541911" y="698858"/>
                  </a:moveTo>
                  <a:lnTo>
                    <a:pt x="541911" y="698858"/>
                  </a:lnTo>
                  <a:cubicBezTo>
                    <a:pt x="539388" y="700540"/>
                    <a:pt x="538042" y="701466"/>
                    <a:pt x="535518" y="702307"/>
                  </a:cubicBezTo>
                  <a:cubicBezTo>
                    <a:pt x="533836" y="702728"/>
                    <a:pt x="532153" y="701886"/>
                    <a:pt x="530891" y="702728"/>
                  </a:cubicBezTo>
                  <a:cubicBezTo>
                    <a:pt x="528788" y="703653"/>
                    <a:pt x="528788" y="707186"/>
                    <a:pt x="526685" y="707186"/>
                  </a:cubicBezTo>
                  <a:cubicBezTo>
                    <a:pt x="525423" y="707186"/>
                    <a:pt x="525003" y="706261"/>
                    <a:pt x="523741" y="706261"/>
                  </a:cubicBezTo>
                  <a:cubicBezTo>
                    <a:pt x="521217" y="705840"/>
                    <a:pt x="519114" y="706681"/>
                    <a:pt x="516591" y="706681"/>
                  </a:cubicBezTo>
                  <a:cubicBezTo>
                    <a:pt x="512385" y="706681"/>
                    <a:pt x="510702" y="703148"/>
                    <a:pt x="506580" y="703148"/>
                  </a:cubicBezTo>
                  <a:cubicBezTo>
                    <a:pt x="503215" y="703148"/>
                    <a:pt x="502710" y="706681"/>
                    <a:pt x="500187" y="708953"/>
                  </a:cubicBezTo>
                  <a:cubicBezTo>
                    <a:pt x="498925" y="709878"/>
                    <a:pt x="497663" y="708953"/>
                    <a:pt x="495981" y="709878"/>
                  </a:cubicBezTo>
                  <a:cubicBezTo>
                    <a:pt x="492111" y="711140"/>
                    <a:pt x="490934" y="713832"/>
                    <a:pt x="487148" y="715094"/>
                  </a:cubicBezTo>
                  <a:cubicBezTo>
                    <a:pt x="487905" y="717365"/>
                    <a:pt x="488410" y="718627"/>
                    <a:pt x="489672" y="720057"/>
                  </a:cubicBezTo>
                  <a:cubicBezTo>
                    <a:pt x="490008" y="720477"/>
                    <a:pt x="491354" y="720477"/>
                    <a:pt x="491354" y="721318"/>
                  </a:cubicBezTo>
                  <a:cubicBezTo>
                    <a:pt x="491354" y="726198"/>
                    <a:pt x="487989" y="730572"/>
                    <a:pt x="483363" y="730572"/>
                  </a:cubicBezTo>
                  <a:cubicBezTo>
                    <a:pt x="483363" y="731497"/>
                    <a:pt x="483363" y="731918"/>
                    <a:pt x="482942" y="732759"/>
                  </a:cubicBezTo>
                  <a:cubicBezTo>
                    <a:pt x="480839" y="732759"/>
                    <a:pt x="480082" y="729731"/>
                    <a:pt x="477979" y="729731"/>
                  </a:cubicBezTo>
                  <a:cubicBezTo>
                    <a:pt x="473352" y="729731"/>
                    <a:pt x="471586" y="734105"/>
                    <a:pt x="469567" y="738564"/>
                  </a:cubicBezTo>
                  <a:cubicBezTo>
                    <a:pt x="468725" y="739825"/>
                    <a:pt x="469146" y="741676"/>
                    <a:pt x="467884" y="741676"/>
                  </a:cubicBezTo>
                  <a:cubicBezTo>
                    <a:pt x="461996" y="741676"/>
                    <a:pt x="465361" y="731077"/>
                    <a:pt x="460313" y="728385"/>
                  </a:cubicBezTo>
                  <a:cubicBezTo>
                    <a:pt x="455687" y="726198"/>
                    <a:pt x="454004" y="723506"/>
                    <a:pt x="449798" y="720898"/>
                  </a:cubicBezTo>
                  <a:cubicBezTo>
                    <a:pt x="448536" y="720057"/>
                    <a:pt x="448536" y="718206"/>
                    <a:pt x="446854" y="718206"/>
                  </a:cubicBezTo>
                  <a:cubicBezTo>
                    <a:pt x="445171" y="718206"/>
                    <a:pt x="444330" y="719552"/>
                    <a:pt x="442227" y="719552"/>
                  </a:cubicBezTo>
                  <a:lnTo>
                    <a:pt x="438358" y="719552"/>
                  </a:lnTo>
                  <a:cubicBezTo>
                    <a:pt x="438358" y="719552"/>
                    <a:pt x="437600" y="719972"/>
                    <a:pt x="436675" y="719972"/>
                  </a:cubicBezTo>
                  <a:cubicBezTo>
                    <a:pt x="433310" y="719972"/>
                    <a:pt x="432890" y="715009"/>
                    <a:pt x="429525" y="715009"/>
                  </a:cubicBezTo>
                  <a:cubicBezTo>
                    <a:pt x="424057" y="715009"/>
                    <a:pt x="421533" y="718543"/>
                    <a:pt x="416065" y="718543"/>
                  </a:cubicBezTo>
                  <a:cubicBezTo>
                    <a:pt x="414804" y="718543"/>
                    <a:pt x="414383" y="718122"/>
                    <a:pt x="413121" y="718122"/>
                  </a:cubicBezTo>
                  <a:lnTo>
                    <a:pt x="409336" y="718122"/>
                  </a:lnTo>
                  <a:cubicBezTo>
                    <a:pt x="406812" y="718122"/>
                    <a:pt x="405466" y="716355"/>
                    <a:pt x="402942" y="716355"/>
                  </a:cubicBezTo>
                  <a:cubicBezTo>
                    <a:pt x="399578" y="716355"/>
                    <a:pt x="398316" y="719889"/>
                    <a:pt x="395456" y="722160"/>
                  </a:cubicBezTo>
                  <a:cubicBezTo>
                    <a:pt x="392091" y="724767"/>
                    <a:pt x="389062" y="724767"/>
                    <a:pt x="386539" y="728301"/>
                  </a:cubicBezTo>
                  <a:cubicBezTo>
                    <a:pt x="385277" y="729646"/>
                    <a:pt x="386118" y="732338"/>
                    <a:pt x="384436" y="732675"/>
                  </a:cubicBezTo>
                  <a:lnTo>
                    <a:pt x="105993" y="733600"/>
                  </a:lnTo>
                  <a:lnTo>
                    <a:pt x="105993" y="733600"/>
                  </a:lnTo>
                  <a:lnTo>
                    <a:pt x="105993" y="610110"/>
                  </a:lnTo>
                  <a:lnTo>
                    <a:pt x="421" y="609689"/>
                  </a:lnTo>
                  <a:lnTo>
                    <a:pt x="421" y="609689"/>
                  </a:lnTo>
                  <a:lnTo>
                    <a:pt x="0" y="241068"/>
                  </a:lnTo>
                  <a:lnTo>
                    <a:pt x="0" y="241068"/>
                  </a:lnTo>
                  <a:cubicBezTo>
                    <a:pt x="2524" y="243760"/>
                    <a:pt x="5047" y="245106"/>
                    <a:pt x="9253" y="246368"/>
                  </a:cubicBezTo>
                  <a:cubicBezTo>
                    <a:pt x="16824" y="249060"/>
                    <a:pt x="21030" y="250406"/>
                    <a:pt x="29022" y="252929"/>
                  </a:cubicBezTo>
                  <a:cubicBezTo>
                    <a:pt x="32807" y="253855"/>
                    <a:pt x="36172" y="254275"/>
                    <a:pt x="38275" y="257808"/>
                  </a:cubicBezTo>
                  <a:cubicBezTo>
                    <a:pt x="40799" y="262267"/>
                    <a:pt x="38696" y="266641"/>
                    <a:pt x="42061" y="270174"/>
                  </a:cubicBezTo>
                  <a:cubicBezTo>
                    <a:pt x="44584" y="272866"/>
                    <a:pt x="47949" y="271100"/>
                    <a:pt x="51314" y="272446"/>
                  </a:cubicBezTo>
                  <a:cubicBezTo>
                    <a:pt x="53501" y="272866"/>
                    <a:pt x="53838" y="274633"/>
                    <a:pt x="55604" y="275895"/>
                  </a:cubicBezTo>
                  <a:cubicBezTo>
                    <a:pt x="60988" y="280774"/>
                    <a:pt x="57287" y="279428"/>
                    <a:pt x="61913" y="279428"/>
                  </a:cubicBezTo>
                  <a:cubicBezTo>
                    <a:pt x="66540" y="279428"/>
                    <a:pt x="67802" y="284727"/>
                    <a:pt x="72429" y="284727"/>
                  </a:cubicBezTo>
                  <a:lnTo>
                    <a:pt x="76214" y="284727"/>
                  </a:lnTo>
                  <a:cubicBezTo>
                    <a:pt x="83364" y="284727"/>
                    <a:pt x="86309" y="278503"/>
                    <a:pt x="93459" y="278503"/>
                  </a:cubicBezTo>
                  <a:cubicBezTo>
                    <a:pt x="93880" y="278503"/>
                    <a:pt x="94216" y="279428"/>
                    <a:pt x="94721" y="279764"/>
                  </a:cubicBezTo>
                  <a:lnTo>
                    <a:pt x="94721" y="276736"/>
                  </a:lnTo>
                  <a:cubicBezTo>
                    <a:pt x="95142" y="276736"/>
                    <a:pt x="95142" y="276315"/>
                    <a:pt x="95562" y="276315"/>
                  </a:cubicBezTo>
                  <a:cubicBezTo>
                    <a:pt x="95983" y="276315"/>
                    <a:pt x="96319" y="276736"/>
                    <a:pt x="97245" y="276736"/>
                  </a:cubicBezTo>
                  <a:cubicBezTo>
                    <a:pt x="97245" y="272698"/>
                    <a:pt x="99768" y="271436"/>
                    <a:pt x="101451" y="267903"/>
                  </a:cubicBezTo>
                  <a:lnTo>
                    <a:pt x="102292" y="268828"/>
                  </a:lnTo>
                  <a:cubicBezTo>
                    <a:pt x="104395" y="263949"/>
                    <a:pt x="106077" y="260837"/>
                    <a:pt x="105236" y="256042"/>
                  </a:cubicBezTo>
                  <a:cubicBezTo>
                    <a:pt x="106918" y="255117"/>
                    <a:pt x="107760" y="253855"/>
                    <a:pt x="108601" y="252088"/>
                  </a:cubicBezTo>
                  <a:cubicBezTo>
                    <a:pt x="109022" y="251163"/>
                    <a:pt x="109022" y="249396"/>
                    <a:pt x="109863" y="249396"/>
                  </a:cubicBezTo>
                  <a:cubicBezTo>
                    <a:pt x="110199" y="249396"/>
                    <a:pt x="110199" y="250322"/>
                    <a:pt x="110620" y="250322"/>
                  </a:cubicBezTo>
                  <a:lnTo>
                    <a:pt x="110620" y="247209"/>
                  </a:lnTo>
                  <a:lnTo>
                    <a:pt x="114489" y="247209"/>
                  </a:lnTo>
                  <a:cubicBezTo>
                    <a:pt x="113648" y="246788"/>
                    <a:pt x="113228" y="246284"/>
                    <a:pt x="113228" y="245022"/>
                  </a:cubicBezTo>
                  <a:cubicBezTo>
                    <a:pt x="113228" y="244097"/>
                    <a:pt x="113648" y="243171"/>
                    <a:pt x="114489" y="243171"/>
                  </a:cubicBezTo>
                  <a:cubicBezTo>
                    <a:pt x="114910" y="243171"/>
                    <a:pt x="114910" y="243592"/>
                    <a:pt x="115247" y="243592"/>
                  </a:cubicBezTo>
                  <a:lnTo>
                    <a:pt x="115247" y="240900"/>
                  </a:lnTo>
                  <a:cubicBezTo>
                    <a:pt x="115247" y="232572"/>
                    <a:pt x="120294" y="228534"/>
                    <a:pt x="120294" y="220543"/>
                  </a:cubicBezTo>
                  <a:cubicBezTo>
                    <a:pt x="120294" y="219281"/>
                    <a:pt x="119537" y="218355"/>
                    <a:pt x="119537" y="217094"/>
                  </a:cubicBezTo>
                  <a:cubicBezTo>
                    <a:pt x="119537" y="214907"/>
                    <a:pt x="120294" y="213981"/>
                    <a:pt x="120294" y="211794"/>
                  </a:cubicBezTo>
                  <a:cubicBezTo>
                    <a:pt x="120294" y="206494"/>
                    <a:pt x="121976" y="203382"/>
                    <a:pt x="123659" y="198166"/>
                  </a:cubicBezTo>
                  <a:cubicBezTo>
                    <a:pt x="124416" y="195474"/>
                    <a:pt x="124079" y="192362"/>
                    <a:pt x="126603" y="190680"/>
                  </a:cubicBezTo>
                  <a:cubicBezTo>
                    <a:pt x="130388" y="190680"/>
                    <a:pt x="126603" y="191100"/>
                    <a:pt x="126603" y="188829"/>
                  </a:cubicBezTo>
                  <a:cubicBezTo>
                    <a:pt x="126603" y="187988"/>
                    <a:pt x="127360" y="187567"/>
                    <a:pt x="127865" y="187062"/>
                  </a:cubicBezTo>
                  <a:cubicBezTo>
                    <a:pt x="129127" y="185296"/>
                    <a:pt x="128706" y="183950"/>
                    <a:pt x="129127" y="182183"/>
                  </a:cubicBezTo>
                  <a:cubicBezTo>
                    <a:pt x="124836" y="175117"/>
                    <a:pt x="123659" y="170238"/>
                    <a:pt x="123659" y="161826"/>
                  </a:cubicBezTo>
                  <a:cubicBezTo>
                    <a:pt x="123659" y="157872"/>
                    <a:pt x="126603" y="155685"/>
                    <a:pt x="126603" y="151647"/>
                  </a:cubicBezTo>
                  <a:lnTo>
                    <a:pt x="126603" y="147693"/>
                  </a:lnTo>
                  <a:cubicBezTo>
                    <a:pt x="126603" y="144160"/>
                    <a:pt x="121556" y="144160"/>
                    <a:pt x="121556" y="140627"/>
                  </a:cubicBezTo>
                  <a:cubicBezTo>
                    <a:pt x="121556" y="138440"/>
                    <a:pt x="122817" y="137515"/>
                    <a:pt x="122817" y="135327"/>
                  </a:cubicBezTo>
                  <a:cubicBezTo>
                    <a:pt x="123238" y="132215"/>
                    <a:pt x="123238" y="130028"/>
                    <a:pt x="124920" y="127336"/>
                  </a:cubicBezTo>
                  <a:cubicBezTo>
                    <a:pt x="126687" y="125149"/>
                    <a:pt x="125341" y="122457"/>
                    <a:pt x="127024" y="120270"/>
                  </a:cubicBezTo>
                  <a:cubicBezTo>
                    <a:pt x="128285" y="120690"/>
                    <a:pt x="128285" y="122036"/>
                    <a:pt x="129547" y="123382"/>
                  </a:cubicBezTo>
                  <a:lnTo>
                    <a:pt x="129968" y="123803"/>
                  </a:lnTo>
                  <a:cubicBezTo>
                    <a:pt x="129968" y="121532"/>
                    <a:pt x="131230" y="120690"/>
                    <a:pt x="132071" y="118840"/>
                  </a:cubicBezTo>
                  <a:cubicBezTo>
                    <a:pt x="129547" y="117998"/>
                    <a:pt x="129211" y="114886"/>
                    <a:pt x="128285" y="112699"/>
                  </a:cubicBezTo>
                  <a:cubicBezTo>
                    <a:pt x="127024" y="109586"/>
                    <a:pt x="126182" y="108324"/>
                    <a:pt x="126182" y="105212"/>
                  </a:cubicBezTo>
                  <a:cubicBezTo>
                    <a:pt x="126182" y="102520"/>
                    <a:pt x="128706" y="102520"/>
                    <a:pt x="130809" y="100837"/>
                  </a:cubicBezTo>
                  <a:cubicBezTo>
                    <a:pt x="132492" y="99492"/>
                    <a:pt x="132492" y="97305"/>
                    <a:pt x="133669" y="95033"/>
                  </a:cubicBezTo>
                  <a:cubicBezTo>
                    <a:pt x="137959" y="98566"/>
                    <a:pt x="139558" y="106474"/>
                    <a:pt x="137539" y="95959"/>
                  </a:cubicBezTo>
                  <a:cubicBezTo>
                    <a:pt x="143427" y="96379"/>
                    <a:pt x="137539" y="94613"/>
                    <a:pt x="135436" y="93267"/>
                  </a:cubicBezTo>
                  <a:cubicBezTo>
                    <a:pt x="145951" y="87462"/>
                    <a:pt x="129547" y="93267"/>
                    <a:pt x="129547" y="82163"/>
                  </a:cubicBezTo>
                  <a:cubicBezTo>
                    <a:pt x="129547" y="79975"/>
                    <a:pt x="129547" y="78714"/>
                    <a:pt x="131314" y="77788"/>
                  </a:cubicBezTo>
                  <a:lnTo>
                    <a:pt x="132576" y="77788"/>
                  </a:lnTo>
                  <a:cubicBezTo>
                    <a:pt x="132155" y="76947"/>
                    <a:pt x="132155" y="76526"/>
                    <a:pt x="132155" y="75601"/>
                  </a:cubicBezTo>
                  <a:cubicBezTo>
                    <a:pt x="132155" y="72909"/>
                    <a:pt x="133837" y="72068"/>
                    <a:pt x="136025" y="70302"/>
                  </a:cubicBezTo>
                  <a:cubicBezTo>
                    <a:pt x="136782" y="72068"/>
                    <a:pt x="137707" y="73414"/>
                    <a:pt x="138128" y="75601"/>
                  </a:cubicBezTo>
                  <a:cubicBezTo>
                    <a:pt x="138128" y="76022"/>
                    <a:pt x="138548" y="76947"/>
                    <a:pt x="138548" y="75601"/>
                  </a:cubicBezTo>
                  <a:cubicBezTo>
                    <a:pt x="138548" y="74339"/>
                    <a:pt x="138128" y="73414"/>
                    <a:pt x="138128" y="72068"/>
                  </a:cubicBezTo>
                  <a:lnTo>
                    <a:pt x="138128" y="71227"/>
                  </a:lnTo>
                  <a:lnTo>
                    <a:pt x="141492" y="71227"/>
                  </a:lnTo>
                  <a:lnTo>
                    <a:pt x="141492" y="69376"/>
                  </a:lnTo>
                  <a:cubicBezTo>
                    <a:pt x="141492" y="67610"/>
                    <a:pt x="138128" y="68114"/>
                    <a:pt x="138128" y="65927"/>
                  </a:cubicBezTo>
                  <a:cubicBezTo>
                    <a:pt x="138128" y="62394"/>
                    <a:pt x="140651" y="61048"/>
                    <a:pt x="142754" y="58440"/>
                  </a:cubicBezTo>
                  <a:cubicBezTo>
                    <a:pt x="142334" y="58020"/>
                    <a:pt x="141913" y="57094"/>
                    <a:pt x="141913" y="56253"/>
                  </a:cubicBezTo>
                  <a:cubicBezTo>
                    <a:pt x="141913" y="51374"/>
                    <a:pt x="144857" y="49187"/>
                    <a:pt x="144857" y="44308"/>
                  </a:cubicBezTo>
                  <a:lnTo>
                    <a:pt x="144857" y="39429"/>
                  </a:lnTo>
                  <a:cubicBezTo>
                    <a:pt x="144857" y="37242"/>
                    <a:pt x="145278" y="35896"/>
                    <a:pt x="145278" y="33204"/>
                  </a:cubicBezTo>
                  <a:lnTo>
                    <a:pt x="145278" y="29755"/>
                  </a:lnTo>
                  <a:lnTo>
                    <a:pt x="147802" y="29755"/>
                  </a:lnTo>
                  <a:cubicBezTo>
                    <a:pt x="150662" y="29755"/>
                    <a:pt x="152849" y="27568"/>
                    <a:pt x="154111" y="24876"/>
                  </a:cubicBezTo>
                  <a:cubicBezTo>
                    <a:pt x="154531" y="23530"/>
                    <a:pt x="154111" y="20838"/>
                    <a:pt x="155793" y="20838"/>
                  </a:cubicBezTo>
                  <a:cubicBezTo>
                    <a:pt x="157055" y="20838"/>
                    <a:pt x="157476" y="21259"/>
                    <a:pt x="158737" y="20838"/>
                  </a:cubicBezTo>
                  <a:cubicBezTo>
                    <a:pt x="158737" y="21259"/>
                    <a:pt x="159158" y="21763"/>
                    <a:pt x="159158" y="22184"/>
                  </a:cubicBezTo>
                  <a:cubicBezTo>
                    <a:pt x="159158" y="24876"/>
                    <a:pt x="157391" y="26558"/>
                    <a:pt x="157055" y="29250"/>
                  </a:cubicBezTo>
                  <a:lnTo>
                    <a:pt x="157812" y="29250"/>
                  </a:lnTo>
                  <a:cubicBezTo>
                    <a:pt x="159579" y="29250"/>
                    <a:pt x="160336" y="28829"/>
                    <a:pt x="161682" y="28829"/>
                  </a:cubicBezTo>
                  <a:cubicBezTo>
                    <a:pt x="162439" y="28829"/>
                    <a:pt x="162439" y="30091"/>
                    <a:pt x="163364" y="30596"/>
                  </a:cubicBezTo>
                  <a:cubicBezTo>
                    <a:pt x="165047" y="30596"/>
                    <a:pt x="167150" y="30596"/>
                    <a:pt x="167150" y="32363"/>
                  </a:cubicBezTo>
                  <a:cubicBezTo>
                    <a:pt x="167150" y="34129"/>
                    <a:pt x="166393" y="35055"/>
                    <a:pt x="166393" y="36821"/>
                  </a:cubicBezTo>
                  <a:cubicBezTo>
                    <a:pt x="166393" y="39513"/>
                    <a:pt x="168075" y="40270"/>
                    <a:pt x="168916" y="42962"/>
                  </a:cubicBezTo>
                  <a:cubicBezTo>
                    <a:pt x="170599" y="47841"/>
                    <a:pt x="170599" y="51374"/>
                    <a:pt x="170599" y="56674"/>
                  </a:cubicBezTo>
                  <a:cubicBezTo>
                    <a:pt x="170599" y="58440"/>
                    <a:pt x="169757" y="59366"/>
                    <a:pt x="169757" y="61553"/>
                  </a:cubicBezTo>
                  <a:cubicBezTo>
                    <a:pt x="169757" y="64245"/>
                    <a:pt x="171860" y="66853"/>
                    <a:pt x="174384" y="66853"/>
                  </a:cubicBezTo>
                  <a:cubicBezTo>
                    <a:pt x="176151" y="66853"/>
                    <a:pt x="176908" y="65507"/>
                    <a:pt x="178674" y="65507"/>
                  </a:cubicBezTo>
                  <a:cubicBezTo>
                    <a:pt x="179936" y="65507"/>
                    <a:pt x="180357" y="67273"/>
                    <a:pt x="180357" y="69040"/>
                  </a:cubicBezTo>
                  <a:cubicBezTo>
                    <a:pt x="180357" y="71731"/>
                    <a:pt x="177412" y="72993"/>
                    <a:pt x="177412" y="76106"/>
                  </a:cubicBezTo>
                  <a:cubicBezTo>
                    <a:pt x="177412" y="78293"/>
                    <a:pt x="177412" y="80480"/>
                    <a:pt x="179095" y="81826"/>
                  </a:cubicBezTo>
                  <a:cubicBezTo>
                    <a:pt x="180861" y="82751"/>
                    <a:pt x="182460" y="81826"/>
                    <a:pt x="183722" y="83677"/>
                  </a:cubicBezTo>
                  <a:cubicBezTo>
                    <a:pt x="184563" y="85443"/>
                    <a:pt x="183722" y="87126"/>
                    <a:pt x="184983" y="88556"/>
                  </a:cubicBezTo>
                  <a:cubicBezTo>
                    <a:pt x="186666" y="90322"/>
                    <a:pt x="189610" y="89481"/>
                    <a:pt x="189610" y="91668"/>
                  </a:cubicBezTo>
                  <a:cubicBezTo>
                    <a:pt x="189610" y="95117"/>
                    <a:pt x="186666" y="96884"/>
                    <a:pt x="186666" y="100501"/>
                  </a:cubicBezTo>
                  <a:cubicBezTo>
                    <a:pt x="186666" y="101426"/>
                    <a:pt x="187086" y="102268"/>
                    <a:pt x="187507" y="102268"/>
                  </a:cubicBezTo>
                  <a:cubicBezTo>
                    <a:pt x="188769" y="102268"/>
                    <a:pt x="189610" y="101847"/>
                    <a:pt x="190451" y="100501"/>
                  </a:cubicBezTo>
                  <a:lnTo>
                    <a:pt x="192134" y="100922"/>
                  </a:lnTo>
                  <a:cubicBezTo>
                    <a:pt x="192134" y="103614"/>
                    <a:pt x="191713" y="104875"/>
                    <a:pt x="191713" y="107988"/>
                  </a:cubicBezTo>
                  <a:cubicBezTo>
                    <a:pt x="191713" y="114549"/>
                    <a:pt x="195499" y="117662"/>
                    <a:pt x="195499" y="124728"/>
                  </a:cubicBezTo>
                  <a:cubicBezTo>
                    <a:pt x="195499" y="128261"/>
                    <a:pt x="192638" y="129607"/>
                    <a:pt x="192638" y="132720"/>
                  </a:cubicBezTo>
                  <a:cubicBezTo>
                    <a:pt x="192638" y="136253"/>
                    <a:pt x="194741" y="137599"/>
                    <a:pt x="196424" y="140207"/>
                  </a:cubicBezTo>
                  <a:cubicBezTo>
                    <a:pt x="198106" y="144581"/>
                    <a:pt x="197265" y="148198"/>
                    <a:pt x="198948" y="152993"/>
                  </a:cubicBezTo>
                  <a:cubicBezTo>
                    <a:pt x="201051" y="157872"/>
                    <a:pt x="203995" y="159554"/>
                    <a:pt x="207360" y="163592"/>
                  </a:cubicBezTo>
                  <a:cubicBezTo>
                    <a:pt x="211650" y="160059"/>
                    <a:pt x="212828" y="154255"/>
                    <a:pt x="217875" y="154255"/>
                  </a:cubicBezTo>
                  <a:cubicBezTo>
                    <a:pt x="219137" y="154255"/>
                    <a:pt x="219557" y="155180"/>
                    <a:pt x="220819" y="155180"/>
                  </a:cubicBezTo>
                  <a:cubicBezTo>
                    <a:pt x="223763" y="155180"/>
                    <a:pt x="224184" y="151647"/>
                    <a:pt x="226708" y="150806"/>
                  </a:cubicBezTo>
                  <a:cubicBezTo>
                    <a:pt x="227549" y="152572"/>
                    <a:pt x="229652" y="152572"/>
                    <a:pt x="229652" y="154255"/>
                  </a:cubicBezTo>
                  <a:cubicBezTo>
                    <a:pt x="229652" y="154676"/>
                    <a:pt x="229231" y="154676"/>
                    <a:pt x="229231" y="155180"/>
                  </a:cubicBezTo>
                  <a:cubicBezTo>
                    <a:pt x="229231" y="156021"/>
                    <a:pt x="230493" y="156021"/>
                    <a:pt x="230998" y="156947"/>
                  </a:cubicBezTo>
                  <a:cubicBezTo>
                    <a:pt x="232680" y="160059"/>
                    <a:pt x="231755" y="163592"/>
                    <a:pt x="234783" y="165359"/>
                  </a:cubicBezTo>
                  <a:cubicBezTo>
                    <a:pt x="237728" y="166621"/>
                    <a:pt x="241092" y="165359"/>
                    <a:pt x="242354" y="168051"/>
                  </a:cubicBezTo>
                  <a:cubicBezTo>
                    <a:pt x="242775" y="169817"/>
                    <a:pt x="242354" y="171079"/>
                    <a:pt x="243616" y="172425"/>
                  </a:cubicBezTo>
                  <a:cubicBezTo>
                    <a:pt x="246140" y="175117"/>
                    <a:pt x="249084" y="174612"/>
                    <a:pt x="251608" y="176800"/>
                  </a:cubicBezTo>
                  <a:cubicBezTo>
                    <a:pt x="253290" y="178145"/>
                    <a:pt x="255814" y="178145"/>
                    <a:pt x="255814" y="180332"/>
                  </a:cubicBezTo>
                  <a:cubicBezTo>
                    <a:pt x="255814" y="183024"/>
                    <a:pt x="253290" y="183782"/>
                    <a:pt x="253290" y="186894"/>
                  </a:cubicBezTo>
                  <a:cubicBezTo>
                    <a:pt x="253290" y="189081"/>
                    <a:pt x="254131" y="190848"/>
                    <a:pt x="255814" y="192698"/>
                  </a:cubicBezTo>
                  <a:cubicBezTo>
                    <a:pt x="254131" y="194465"/>
                    <a:pt x="252870" y="196147"/>
                    <a:pt x="252870" y="198419"/>
                  </a:cubicBezTo>
                  <a:cubicBezTo>
                    <a:pt x="252870" y="203718"/>
                    <a:pt x="257917" y="205485"/>
                    <a:pt x="257917" y="210784"/>
                  </a:cubicBezTo>
                  <a:cubicBezTo>
                    <a:pt x="257917" y="212130"/>
                    <a:pt x="257496" y="213056"/>
                    <a:pt x="257496" y="214318"/>
                  </a:cubicBezTo>
                  <a:cubicBezTo>
                    <a:pt x="257496" y="217010"/>
                    <a:pt x="261366" y="217430"/>
                    <a:pt x="261366" y="220122"/>
                  </a:cubicBezTo>
                  <a:cubicBezTo>
                    <a:pt x="261366" y="222309"/>
                    <a:pt x="260104" y="223571"/>
                    <a:pt x="260104" y="226263"/>
                  </a:cubicBezTo>
                  <a:cubicBezTo>
                    <a:pt x="260104" y="227188"/>
                    <a:pt x="260524" y="227609"/>
                    <a:pt x="260524" y="228955"/>
                  </a:cubicBezTo>
                  <a:cubicBezTo>
                    <a:pt x="260524" y="230721"/>
                    <a:pt x="258421" y="231142"/>
                    <a:pt x="258421" y="233329"/>
                  </a:cubicBezTo>
                  <a:cubicBezTo>
                    <a:pt x="258421" y="237367"/>
                    <a:pt x="262207" y="238629"/>
                    <a:pt x="264310" y="241741"/>
                  </a:cubicBezTo>
                  <a:cubicBezTo>
                    <a:pt x="268180" y="247546"/>
                    <a:pt x="269778" y="251415"/>
                    <a:pt x="275330" y="255369"/>
                  </a:cubicBezTo>
                  <a:lnTo>
                    <a:pt x="276592" y="254948"/>
                  </a:lnTo>
                  <a:cubicBezTo>
                    <a:pt x="276592" y="255874"/>
                    <a:pt x="276171" y="256799"/>
                    <a:pt x="276171" y="257640"/>
                  </a:cubicBezTo>
                  <a:cubicBezTo>
                    <a:pt x="276171" y="259491"/>
                    <a:pt x="277433" y="260332"/>
                    <a:pt x="277938" y="262099"/>
                  </a:cubicBezTo>
                  <a:cubicBezTo>
                    <a:pt x="280041" y="267819"/>
                    <a:pt x="280798" y="271352"/>
                    <a:pt x="282144" y="277914"/>
                  </a:cubicBezTo>
                  <a:cubicBezTo>
                    <a:pt x="282564" y="278839"/>
                    <a:pt x="282985" y="279260"/>
                    <a:pt x="282985" y="280101"/>
                  </a:cubicBezTo>
                  <a:lnTo>
                    <a:pt x="282985" y="292887"/>
                  </a:lnTo>
                  <a:lnTo>
                    <a:pt x="279620" y="301299"/>
                  </a:lnTo>
                  <a:cubicBezTo>
                    <a:pt x="280041" y="305253"/>
                    <a:pt x="280882" y="307861"/>
                    <a:pt x="283406" y="310553"/>
                  </a:cubicBezTo>
                  <a:cubicBezTo>
                    <a:pt x="285929" y="312740"/>
                    <a:pt x="286771" y="314086"/>
                    <a:pt x="288874" y="316357"/>
                  </a:cubicBezTo>
                  <a:cubicBezTo>
                    <a:pt x="289715" y="316778"/>
                    <a:pt x="290556" y="317198"/>
                    <a:pt x="290556" y="318124"/>
                  </a:cubicBezTo>
                  <a:cubicBezTo>
                    <a:pt x="290556" y="321236"/>
                    <a:pt x="289294" y="323003"/>
                    <a:pt x="289294" y="326115"/>
                  </a:cubicBezTo>
                  <a:cubicBezTo>
                    <a:pt x="289294" y="329228"/>
                    <a:pt x="290556" y="330994"/>
                    <a:pt x="292238" y="333602"/>
                  </a:cubicBezTo>
                  <a:cubicBezTo>
                    <a:pt x="297202" y="337976"/>
                    <a:pt x="301071" y="339743"/>
                    <a:pt x="306876" y="342855"/>
                  </a:cubicBezTo>
                  <a:cubicBezTo>
                    <a:pt x="309820" y="344117"/>
                    <a:pt x="310240" y="346809"/>
                    <a:pt x="313269" y="348155"/>
                  </a:cubicBezTo>
                  <a:cubicBezTo>
                    <a:pt x="313689" y="345463"/>
                    <a:pt x="314531" y="344117"/>
                    <a:pt x="316634" y="342855"/>
                  </a:cubicBezTo>
                  <a:lnTo>
                    <a:pt x="316634" y="343781"/>
                  </a:lnTo>
                  <a:lnTo>
                    <a:pt x="315877" y="345043"/>
                  </a:lnTo>
                  <a:cubicBezTo>
                    <a:pt x="317138" y="349080"/>
                    <a:pt x="320840" y="350847"/>
                    <a:pt x="325130" y="350847"/>
                  </a:cubicBezTo>
                  <a:cubicBezTo>
                    <a:pt x="327233" y="350847"/>
                    <a:pt x="328495" y="349922"/>
                    <a:pt x="331018" y="349501"/>
                  </a:cubicBezTo>
                  <a:cubicBezTo>
                    <a:pt x="332280" y="352193"/>
                    <a:pt x="333963" y="353034"/>
                    <a:pt x="333963" y="356147"/>
                  </a:cubicBezTo>
                  <a:cubicBezTo>
                    <a:pt x="333963" y="356988"/>
                    <a:pt x="333542" y="357408"/>
                    <a:pt x="333542" y="358839"/>
                  </a:cubicBezTo>
                  <a:cubicBezTo>
                    <a:pt x="333542" y="363213"/>
                    <a:pt x="337412" y="364559"/>
                    <a:pt x="340272" y="367671"/>
                  </a:cubicBezTo>
                  <a:cubicBezTo>
                    <a:pt x="341113" y="365484"/>
                    <a:pt x="341113" y="364138"/>
                    <a:pt x="342375" y="361867"/>
                  </a:cubicBezTo>
                  <a:lnTo>
                    <a:pt x="344141" y="362288"/>
                  </a:lnTo>
                  <a:cubicBezTo>
                    <a:pt x="344141" y="366241"/>
                    <a:pt x="345824" y="371120"/>
                    <a:pt x="349525" y="371120"/>
                  </a:cubicBezTo>
                  <a:cubicBezTo>
                    <a:pt x="350787" y="371120"/>
                    <a:pt x="350787" y="368429"/>
                    <a:pt x="352049" y="368429"/>
                  </a:cubicBezTo>
                  <a:cubicBezTo>
                    <a:pt x="354572" y="368429"/>
                    <a:pt x="354993" y="371120"/>
                    <a:pt x="356676" y="372803"/>
                  </a:cubicBezTo>
                  <a:cubicBezTo>
                    <a:pt x="360040" y="375495"/>
                    <a:pt x="361302" y="378102"/>
                    <a:pt x="365592" y="379364"/>
                  </a:cubicBezTo>
                  <a:cubicBezTo>
                    <a:pt x="365592" y="378102"/>
                    <a:pt x="366349" y="377177"/>
                    <a:pt x="367275" y="376672"/>
                  </a:cubicBezTo>
                  <a:cubicBezTo>
                    <a:pt x="368032" y="378439"/>
                    <a:pt x="368032" y="379785"/>
                    <a:pt x="369378" y="380710"/>
                  </a:cubicBezTo>
                  <a:cubicBezTo>
                    <a:pt x="370640" y="381551"/>
                    <a:pt x="371902" y="381131"/>
                    <a:pt x="372743" y="382477"/>
                  </a:cubicBezTo>
                  <a:cubicBezTo>
                    <a:pt x="373079" y="382897"/>
                    <a:pt x="372743" y="384243"/>
                    <a:pt x="373500" y="384664"/>
                  </a:cubicBezTo>
                  <a:cubicBezTo>
                    <a:pt x="375603" y="386010"/>
                    <a:pt x="378127" y="386010"/>
                    <a:pt x="378127" y="388197"/>
                  </a:cubicBezTo>
                  <a:cubicBezTo>
                    <a:pt x="378127" y="389459"/>
                    <a:pt x="376865" y="390805"/>
                    <a:pt x="375182" y="390805"/>
                  </a:cubicBezTo>
                  <a:cubicBezTo>
                    <a:pt x="374425" y="390805"/>
                    <a:pt x="373920" y="389964"/>
                    <a:pt x="373079" y="389543"/>
                  </a:cubicBezTo>
                  <a:cubicBezTo>
                    <a:pt x="373079" y="389964"/>
                    <a:pt x="372743" y="390468"/>
                    <a:pt x="372743" y="390468"/>
                  </a:cubicBezTo>
                  <a:cubicBezTo>
                    <a:pt x="372743" y="391310"/>
                    <a:pt x="373500" y="391310"/>
                    <a:pt x="373500" y="392235"/>
                  </a:cubicBezTo>
                  <a:cubicBezTo>
                    <a:pt x="373500" y="393160"/>
                    <a:pt x="372238" y="393497"/>
                    <a:pt x="372238" y="394422"/>
                  </a:cubicBezTo>
                  <a:cubicBezTo>
                    <a:pt x="372238" y="396189"/>
                    <a:pt x="373500" y="397114"/>
                    <a:pt x="374341" y="398796"/>
                  </a:cubicBezTo>
                  <a:cubicBezTo>
                    <a:pt x="378127" y="402834"/>
                    <a:pt x="378968" y="408975"/>
                    <a:pt x="384436" y="408134"/>
                  </a:cubicBezTo>
                  <a:lnTo>
                    <a:pt x="384436" y="411162"/>
                  </a:lnTo>
                  <a:lnTo>
                    <a:pt x="385193" y="411583"/>
                  </a:lnTo>
                  <a:cubicBezTo>
                    <a:pt x="385470" y="411305"/>
                    <a:pt x="385756" y="411162"/>
                    <a:pt x="386034" y="411162"/>
                  </a:cubicBezTo>
                  <a:cubicBezTo>
                    <a:pt x="387296" y="411162"/>
                    <a:pt x="387296" y="412508"/>
                    <a:pt x="388137" y="413854"/>
                  </a:cubicBezTo>
                  <a:cubicBezTo>
                    <a:pt x="388978" y="415200"/>
                    <a:pt x="391081" y="415200"/>
                    <a:pt x="391081" y="416546"/>
                  </a:cubicBezTo>
                  <a:cubicBezTo>
                    <a:pt x="391081" y="418313"/>
                    <a:pt x="389819" y="418733"/>
                    <a:pt x="389819" y="420079"/>
                  </a:cubicBezTo>
                  <a:cubicBezTo>
                    <a:pt x="389819" y="420920"/>
                    <a:pt x="390240" y="421341"/>
                    <a:pt x="390240" y="421846"/>
                  </a:cubicBezTo>
                  <a:cubicBezTo>
                    <a:pt x="390661" y="421846"/>
                    <a:pt x="391081" y="421425"/>
                    <a:pt x="391922" y="421425"/>
                  </a:cubicBezTo>
                  <a:cubicBezTo>
                    <a:pt x="393184" y="421425"/>
                    <a:pt x="393184" y="423612"/>
                    <a:pt x="393184" y="425463"/>
                  </a:cubicBezTo>
                  <a:cubicBezTo>
                    <a:pt x="393605" y="428491"/>
                    <a:pt x="393184" y="432950"/>
                    <a:pt x="396129" y="432950"/>
                  </a:cubicBezTo>
                  <a:cubicBezTo>
                    <a:pt x="396465" y="432950"/>
                    <a:pt x="396886" y="432950"/>
                    <a:pt x="397390" y="432529"/>
                  </a:cubicBezTo>
                  <a:cubicBezTo>
                    <a:pt x="397811" y="433791"/>
                    <a:pt x="399493" y="434296"/>
                    <a:pt x="399493" y="435978"/>
                  </a:cubicBezTo>
                  <a:cubicBezTo>
                    <a:pt x="399493" y="437660"/>
                    <a:pt x="398652" y="438670"/>
                    <a:pt x="398652" y="440352"/>
                  </a:cubicBezTo>
                  <a:cubicBezTo>
                    <a:pt x="398652" y="448765"/>
                    <a:pt x="405045" y="452298"/>
                    <a:pt x="405045" y="461130"/>
                  </a:cubicBezTo>
                  <a:cubicBezTo>
                    <a:pt x="405045" y="462056"/>
                    <a:pt x="404204" y="462476"/>
                    <a:pt x="404204" y="463318"/>
                  </a:cubicBezTo>
                  <a:cubicBezTo>
                    <a:pt x="404204" y="464663"/>
                    <a:pt x="405466" y="464663"/>
                    <a:pt x="405971" y="465084"/>
                  </a:cubicBezTo>
                  <a:cubicBezTo>
                    <a:pt x="407233" y="466430"/>
                    <a:pt x="407233" y="468617"/>
                    <a:pt x="408831" y="468617"/>
                  </a:cubicBezTo>
                  <a:cubicBezTo>
                    <a:pt x="409672" y="468617"/>
                    <a:pt x="409672" y="467355"/>
                    <a:pt x="410513" y="467355"/>
                  </a:cubicBezTo>
                  <a:cubicBezTo>
                    <a:pt x="418505" y="467355"/>
                    <a:pt x="421533" y="483170"/>
                    <a:pt x="417327" y="465084"/>
                  </a:cubicBezTo>
                  <a:lnTo>
                    <a:pt x="418084" y="463822"/>
                  </a:lnTo>
                  <a:cubicBezTo>
                    <a:pt x="417748" y="462897"/>
                    <a:pt x="417327" y="462560"/>
                    <a:pt x="417327" y="461635"/>
                  </a:cubicBezTo>
                  <a:cubicBezTo>
                    <a:pt x="417327" y="459448"/>
                    <a:pt x="417748" y="457261"/>
                    <a:pt x="419430" y="457261"/>
                  </a:cubicBezTo>
                  <a:cubicBezTo>
                    <a:pt x="422290" y="457261"/>
                    <a:pt x="421533" y="460710"/>
                    <a:pt x="423636" y="462981"/>
                  </a:cubicBezTo>
                  <a:cubicBezTo>
                    <a:pt x="426581" y="466514"/>
                    <a:pt x="429104" y="468281"/>
                    <a:pt x="432469" y="471814"/>
                  </a:cubicBezTo>
                  <a:cubicBezTo>
                    <a:pt x="434993" y="474001"/>
                    <a:pt x="436339" y="475767"/>
                    <a:pt x="439619" y="476188"/>
                  </a:cubicBezTo>
                  <a:lnTo>
                    <a:pt x="439619" y="471309"/>
                  </a:lnTo>
                  <a:cubicBezTo>
                    <a:pt x="439619" y="469122"/>
                    <a:pt x="438358" y="467776"/>
                    <a:pt x="438358" y="465505"/>
                  </a:cubicBezTo>
                  <a:lnTo>
                    <a:pt x="438358" y="464243"/>
                  </a:lnTo>
                  <a:cubicBezTo>
                    <a:pt x="438778" y="464243"/>
                    <a:pt x="438778" y="463822"/>
                    <a:pt x="439115" y="463822"/>
                  </a:cubicBezTo>
                  <a:cubicBezTo>
                    <a:pt x="440881" y="463822"/>
                    <a:pt x="440376" y="466935"/>
                    <a:pt x="441638" y="468197"/>
                  </a:cubicBezTo>
                  <a:cubicBezTo>
                    <a:pt x="443741" y="470889"/>
                    <a:pt x="443405" y="473076"/>
                    <a:pt x="444583" y="475684"/>
                  </a:cubicBezTo>
                  <a:cubicBezTo>
                    <a:pt x="445424" y="477871"/>
                    <a:pt x="447106" y="479217"/>
                    <a:pt x="447106" y="481488"/>
                  </a:cubicBezTo>
                  <a:cubicBezTo>
                    <a:pt x="447106" y="483254"/>
                    <a:pt x="445424" y="484180"/>
                    <a:pt x="445424" y="485862"/>
                  </a:cubicBezTo>
                  <a:cubicBezTo>
                    <a:pt x="445424" y="487544"/>
                    <a:pt x="446686" y="488975"/>
                    <a:pt x="447106" y="490741"/>
                  </a:cubicBezTo>
                  <a:cubicBezTo>
                    <a:pt x="447948" y="496966"/>
                    <a:pt x="448368" y="499995"/>
                    <a:pt x="448368" y="506219"/>
                  </a:cubicBezTo>
                  <a:lnTo>
                    <a:pt x="448368" y="507986"/>
                  </a:lnTo>
                  <a:lnTo>
                    <a:pt x="447611" y="507986"/>
                  </a:lnTo>
                  <a:cubicBezTo>
                    <a:pt x="447190" y="507986"/>
                    <a:pt x="446770" y="507565"/>
                    <a:pt x="446349" y="507565"/>
                  </a:cubicBezTo>
                  <a:cubicBezTo>
                    <a:pt x="445087" y="507565"/>
                    <a:pt x="442984" y="507986"/>
                    <a:pt x="442984" y="509416"/>
                  </a:cubicBezTo>
                  <a:cubicBezTo>
                    <a:pt x="442984" y="511183"/>
                    <a:pt x="444667" y="511183"/>
                    <a:pt x="445508" y="512445"/>
                  </a:cubicBezTo>
                  <a:cubicBezTo>
                    <a:pt x="447611" y="514632"/>
                    <a:pt x="449714" y="514632"/>
                    <a:pt x="451817" y="516903"/>
                  </a:cubicBezTo>
                  <a:cubicBezTo>
                    <a:pt x="453079" y="515978"/>
                    <a:pt x="452658" y="514632"/>
                    <a:pt x="453499" y="513370"/>
                  </a:cubicBezTo>
                  <a:cubicBezTo>
                    <a:pt x="457706" y="515557"/>
                    <a:pt x="458126" y="519595"/>
                    <a:pt x="460650" y="523969"/>
                  </a:cubicBezTo>
                  <a:cubicBezTo>
                    <a:pt x="461912" y="525736"/>
                    <a:pt x="464015" y="525736"/>
                    <a:pt x="466118" y="527418"/>
                  </a:cubicBezTo>
                  <a:cubicBezTo>
                    <a:pt x="467380" y="528344"/>
                    <a:pt x="467800" y="529605"/>
                    <a:pt x="468641" y="531456"/>
                  </a:cubicBezTo>
                  <a:cubicBezTo>
                    <a:pt x="469903" y="533643"/>
                    <a:pt x="472006" y="533643"/>
                    <a:pt x="474530" y="534569"/>
                  </a:cubicBezTo>
                  <a:cubicBezTo>
                    <a:pt x="475371" y="533643"/>
                    <a:pt x="475792" y="532718"/>
                    <a:pt x="476717" y="532718"/>
                  </a:cubicBezTo>
                  <a:cubicBezTo>
                    <a:pt x="477979" y="532718"/>
                    <a:pt x="478399" y="533643"/>
                    <a:pt x="479577" y="534569"/>
                  </a:cubicBezTo>
                  <a:cubicBezTo>
                    <a:pt x="483447" y="535830"/>
                    <a:pt x="485970" y="537176"/>
                    <a:pt x="487569" y="541130"/>
                  </a:cubicBezTo>
                  <a:cubicBezTo>
                    <a:pt x="488830" y="544243"/>
                    <a:pt x="489672" y="546430"/>
                    <a:pt x="489251" y="549963"/>
                  </a:cubicBezTo>
                  <a:lnTo>
                    <a:pt x="490092" y="549963"/>
                  </a:lnTo>
                  <a:cubicBezTo>
                    <a:pt x="492616" y="552150"/>
                    <a:pt x="492195" y="555263"/>
                    <a:pt x="494719" y="557450"/>
                  </a:cubicBezTo>
                  <a:cubicBezTo>
                    <a:pt x="497243" y="560141"/>
                    <a:pt x="500608" y="558795"/>
                    <a:pt x="503131" y="561487"/>
                  </a:cubicBezTo>
                  <a:cubicBezTo>
                    <a:pt x="504814" y="563254"/>
                    <a:pt x="503552" y="565441"/>
                    <a:pt x="503973" y="567628"/>
                  </a:cubicBezTo>
                  <a:cubicBezTo>
                    <a:pt x="504730" y="570741"/>
                    <a:pt x="507337" y="571666"/>
                    <a:pt x="508179" y="574190"/>
                  </a:cubicBezTo>
                  <a:cubicBezTo>
                    <a:pt x="508599" y="576377"/>
                    <a:pt x="509020" y="577723"/>
                    <a:pt x="510702" y="578648"/>
                  </a:cubicBezTo>
                  <a:cubicBezTo>
                    <a:pt x="513226" y="579910"/>
                    <a:pt x="514488" y="580836"/>
                    <a:pt x="517011" y="581340"/>
                  </a:cubicBezTo>
                  <a:cubicBezTo>
                    <a:pt x="518273" y="581761"/>
                    <a:pt x="520376" y="581761"/>
                    <a:pt x="520376" y="583107"/>
                  </a:cubicBezTo>
                  <a:cubicBezTo>
                    <a:pt x="520376" y="587481"/>
                    <a:pt x="518273" y="589248"/>
                    <a:pt x="518273" y="593285"/>
                  </a:cubicBezTo>
                  <a:cubicBezTo>
                    <a:pt x="518273" y="599006"/>
                    <a:pt x="521638" y="601614"/>
                    <a:pt x="525423" y="605231"/>
                  </a:cubicBezTo>
                  <a:cubicBezTo>
                    <a:pt x="526685" y="606997"/>
                    <a:pt x="529209" y="606997"/>
                    <a:pt x="529209" y="609184"/>
                  </a:cubicBezTo>
                  <a:cubicBezTo>
                    <a:pt x="529209" y="614989"/>
                    <a:pt x="525423" y="617597"/>
                    <a:pt x="525423" y="623401"/>
                  </a:cubicBezTo>
                  <a:cubicBezTo>
                    <a:pt x="525423" y="625168"/>
                    <a:pt x="526181" y="626009"/>
                    <a:pt x="526181" y="627775"/>
                  </a:cubicBezTo>
                  <a:lnTo>
                    <a:pt x="527022" y="627775"/>
                  </a:lnTo>
                  <a:cubicBezTo>
                    <a:pt x="527442" y="627775"/>
                    <a:pt x="527442" y="627355"/>
                    <a:pt x="527863" y="627355"/>
                  </a:cubicBezTo>
                  <a:cubicBezTo>
                    <a:pt x="528620" y="629121"/>
                    <a:pt x="528620" y="630467"/>
                    <a:pt x="528620" y="632234"/>
                  </a:cubicBezTo>
                  <a:lnTo>
                    <a:pt x="528620" y="634926"/>
                  </a:lnTo>
                  <a:cubicBezTo>
                    <a:pt x="528620" y="637113"/>
                    <a:pt x="529461" y="638375"/>
                    <a:pt x="530807" y="640225"/>
                  </a:cubicBezTo>
                  <a:cubicBezTo>
                    <a:pt x="527442" y="642917"/>
                    <a:pt x="525760" y="646030"/>
                    <a:pt x="525760" y="650404"/>
                  </a:cubicBezTo>
                  <a:cubicBezTo>
                    <a:pt x="525760" y="652170"/>
                    <a:pt x="527442" y="652591"/>
                    <a:pt x="528620" y="653853"/>
                  </a:cubicBezTo>
                  <a:cubicBezTo>
                    <a:pt x="527863" y="655199"/>
                    <a:pt x="525760" y="655199"/>
                    <a:pt x="525760" y="656965"/>
                  </a:cubicBezTo>
                  <a:cubicBezTo>
                    <a:pt x="525760" y="659153"/>
                    <a:pt x="528199" y="659657"/>
                    <a:pt x="529125" y="662265"/>
                  </a:cubicBezTo>
                  <a:cubicBezTo>
                    <a:pt x="529966" y="664032"/>
                    <a:pt x="529545" y="665714"/>
                    <a:pt x="530387" y="667565"/>
                  </a:cubicBezTo>
                  <a:cubicBezTo>
                    <a:pt x="531144" y="671014"/>
                    <a:pt x="533751" y="671519"/>
                    <a:pt x="535350" y="674631"/>
                  </a:cubicBezTo>
                  <a:cubicBezTo>
                    <a:pt x="535013" y="676398"/>
                    <a:pt x="534593" y="677323"/>
                    <a:pt x="534593" y="679510"/>
                  </a:cubicBezTo>
                  <a:cubicBezTo>
                    <a:pt x="534593" y="687838"/>
                    <a:pt x="540481" y="692297"/>
                    <a:pt x="542584" y="698942"/>
                  </a:cubicBezTo>
                  <a:lnTo>
                    <a:pt x="542584" y="698942"/>
                  </a:lnTo>
                  <a:close/>
                </a:path>
              </a:pathLst>
            </a:custGeom>
            <a:grpFill/>
            <a:ln w="8410" cap="flat">
              <a:solidFill>
                <a:srgbClr val="F59E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a:ea typeface="+mn-ea"/>
                <a:cs typeface="+mn-cs"/>
              </a:endParaRPr>
            </a:p>
          </p:txBody>
        </p:sp>
        <p:sp>
          <p:nvSpPr>
            <p:cNvPr id="528" name="Freeform: Shape 527">
              <a:extLst>
                <a:ext uri="{FF2B5EF4-FFF2-40B4-BE49-F238E27FC236}">
                  <a16:creationId xmlns:a16="http://schemas.microsoft.com/office/drawing/2014/main" id="{BF960C6C-D3A6-14B3-7C69-CDC6E40B74AD}"/>
                </a:ext>
              </a:extLst>
            </p:cNvPr>
            <p:cNvSpPr/>
            <p:nvPr/>
          </p:nvSpPr>
          <p:spPr>
            <a:xfrm>
              <a:off x="9465270" y="4961155"/>
              <a:ext cx="555602" cy="695200"/>
            </a:xfrm>
            <a:custGeom>
              <a:avLst/>
              <a:gdLst>
                <a:gd name="connsiteX0" fmla="*/ 313942 w 419177"/>
                <a:gd name="connsiteY0" fmla="*/ 417411 h 524497"/>
                <a:gd name="connsiteX1" fmla="*/ 313942 w 419177"/>
                <a:gd name="connsiteY1" fmla="*/ 417411 h 524497"/>
                <a:gd name="connsiteX2" fmla="*/ 308053 w 419177"/>
                <a:gd name="connsiteY2" fmla="*/ 421786 h 524497"/>
                <a:gd name="connsiteX3" fmla="*/ 316045 w 419177"/>
                <a:gd name="connsiteY3" fmla="*/ 424478 h 524497"/>
                <a:gd name="connsiteX4" fmla="*/ 318568 w 419177"/>
                <a:gd name="connsiteY4" fmla="*/ 422711 h 524497"/>
                <a:gd name="connsiteX5" fmla="*/ 313942 w 419177"/>
                <a:gd name="connsiteY5" fmla="*/ 417411 h 524497"/>
                <a:gd name="connsiteX6" fmla="*/ 313942 w 419177"/>
                <a:gd name="connsiteY6" fmla="*/ 417411 h 524497"/>
                <a:gd name="connsiteX7" fmla="*/ 263889 w 419177"/>
                <a:gd name="connsiteY7" fmla="*/ 424898 h 524497"/>
                <a:gd name="connsiteX8" fmla="*/ 263889 w 419177"/>
                <a:gd name="connsiteY8" fmla="*/ 424898 h 524497"/>
                <a:gd name="connsiteX9" fmla="*/ 267759 w 419177"/>
                <a:gd name="connsiteY9" fmla="*/ 427590 h 524497"/>
                <a:gd name="connsiteX10" fmla="*/ 270619 w 419177"/>
                <a:gd name="connsiteY10" fmla="*/ 430198 h 524497"/>
                <a:gd name="connsiteX11" fmla="*/ 275246 w 419177"/>
                <a:gd name="connsiteY11" fmla="*/ 430198 h 524497"/>
                <a:gd name="connsiteX12" fmla="*/ 279116 w 419177"/>
                <a:gd name="connsiteY12" fmla="*/ 431123 h 524497"/>
                <a:gd name="connsiteX13" fmla="*/ 286602 w 419177"/>
                <a:gd name="connsiteY13" fmla="*/ 430702 h 524497"/>
                <a:gd name="connsiteX14" fmla="*/ 287023 w 419177"/>
                <a:gd name="connsiteY14" fmla="*/ 429441 h 524497"/>
                <a:gd name="connsiteX15" fmla="*/ 286602 w 419177"/>
                <a:gd name="connsiteY15" fmla="*/ 428515 h 524497"/>
                <a:gd name="connsiteX16" fmla="*/ 287443 w 419177"/>
                <a:gd name="connsiteY16" fmla="*/ 428095 h 524497"/>
                <a:gd name="connsiteX17" fmla="*/ 292070 w 419177"/>
                <a:gd name="connsiteY17" fmla="*/ 428095 h 524497"/>
                <a:gd name="connsiteX18" fmla="*/ 297538 w 419177"/>
                <a:gd name="connsiteY18" fmla="*/ 433394 h 524497"/>
                <a:gd name="connsiteX19" fmla="*/ 300398 w 419177"/>
                <a:gd name="connsiteY19" fmla="*/ 425907 h 524497"/>
                <a:gd name="connsiteX20" fmla="*/ 304268 w 419177"/>
                <a:gd name="connsiteY20" fmla="*/ 424141 h 524497"/>
                <a:gd name="connsiteX21" fmla="*/ 305530 w 419177"/>
                <a:gd name="connsiteY21" fmla="*/ 418841 h 524497"/>
                <a:gd name="connsiteX22" fmla="*/ 303427 w 419177"/>
                <a:gd name="connsiteY22" fmla="*/ 418841 h 524497"/>
                <a:gd name="connsiteX23" fmla="*/ 299221 w 419177"/>
                <a:gd name="connsiteY23" fmla="*/ 416654 h 524497"/>
                <a:gd name="connsiteX24" fmla="*/ 300482 w 419177"/>
                <a:gd name="connsiteY24" fmla="*/ 413542 h 524497"/>
                <a:gd name="connsiteX25" fmla="*/ 297622 w 419177"/>
                <a:gd name="connsiteY25" fmla="*/ 411355 h 524497"/>
                <a:gd name="connsiteX26" fmla="*/ 276171 w 419177"/>
                <a:gd name="connsiteY26" fmla="*/ 415729 h 524497"/>
                <a:gd name="connsiteX27" fmla="*/ 266077 w 419177"/>
                <a:gd name="connsiteY27" fmla="*/ 418421 h 524497"/>
                <a:gd name="connsiteX28" fmla="*/ 263974 w 419177"/>
                <a:gd name="connsiteY28" fmla="*/ 425066 h 524497"/>
                <a:gd name="connsiteX29" fmla="*/ 263974 w 419177"/>
                <a:gd name="connsiteY29" fmla="*/ 425066 h 524497"/>
                <a:gd name="connsiteX30" fmla="*/ 673 w 419177"/>
                <a:gd name="connsiteY30" fmla="*/ 238653 h 524497"/>
                <a:gd name="connsiteX31" fmla="*/ 673 w 419177"/>
                <a:gd name="connsiteY31" fmla="*/ 238653 h 524497"/>
                <a:gd name="connsiteX32" fmla="*/ 673 w 419177"/>
                <a:gd name="connsiteY32" fmla="*/ 0 h 524497"/>
                <a:gd name="connsiteX33" fmla="*/ 673 w 419177"/>
                <a:gd name="connsiteY33" fmla="*/ 0 h 524497"/>
                <a:gd name="connsiteX34" fmla="*/ 313605 w 419177"/>
                <a:gd name="connsiteY34" fmla="*/ 1262 h 524497"/>
                <a:gd name="connsiteX35" fmla="*/ 313605 w 419177"/>
                <a:gd name="connsiteY35" fmla="*/ 1262 h 524497"/>
                <a:gd name="connsiteX36" fmla="*/ 419178 w 419177"/>
                <a:gd name="connsiteY36" fmla="*/ 1682 h 524497"/>
                <a:gd name="connsiteX37" fmla="*/ 419178 w 419177"/>
                <a:gd name="connsiteY37" fmla="*/ 125173 h 524497"/>
                <a:gd name="connsiteX38" fmla="*/ 419178 w 419177"/>
                <a:gd name="connsiteY38" fmla="*/ 125173 h 524497"/>
                <a:gd name="connsiteX39" fmla="*/ 418421 w 419177"/>
                <a:gd name="connsiteY39" fmla="*/ 341365 h 524497"/>
                <a:gd name="connsiteX40" fmla="*/ 418421 w 419177"/>
                <a:gd name="connsiteY40" fmla="*/ 341365 h 524497"/>
                <a:gd name="connsiteX41" fmla="*/ 418000 w 419177"/>
                <a:gd name="connsiteY41" fmla="*/ 524077 h 524497"/>
                <a:gd name="connsiteX42" fmla="*/ 418000 w 419177"/>
                <a:gd name="connsiteY42" fmla="*/ 524077 h 524497"/>
                <a:gd name="connsiteX43" fmla="*/ 413794 w 419177"/>
                <a:gd name="connsiteY43" fmla="*/ 523657 h 524497"/>
                <a:gd name="connsiteX44" fmla="*/ 407906 w 419177"/>
                <a:gd name="connsiteY44" fmla="*/ 524498 h 524497"/>
                <a:gd name="connsiteX45" fmla="*/ 402017 w 419177"/>
                <a:gd name="connsiteY45" fmla="*/ 519619 h 524497"/>
                <a:gd name="connsiteX46" fmla="*/ 391922 w 419177"/>
                <a:gd name="connsiteY46" fmla="*/ 504645 h 524497"/>
                <a:gd name="connsiteX47" fmla="*/ 388558 w 419177"/>
                <a:gd name="connsiteY47" fmla="*/ 499766 h 524497"/>
                <a:gd name="connsiteX48" fmla="*/ 386455 w 419177"/>
                <a:gd name="connsiteY48" fmla="*/ 496738 h 524497"/>
                <a:gd name="connsiteX49" fmla="*/ 382249 w 419177"/>
                <a:gd name="connsiteY49" fmla="*/ 496317 h 524497"/>
                <a:gd name="connsiteX50" fmla="*/ 375939 w 419177"/>
                <a:gd name="connsiteY50" fmla="*/ 483952 h 524497"/>
                <a:gd name="connsiteX51" fmla="*/ 377622 w 419177"/>
                <a:gd name="connsiteY51" fmla="*/ 481260 h 524497"/>
                <a:gd name="connsiteX52" fmla="*/ 372154 w 419177"/>
                <a:gd name="connsiteY52" fmla="*/ 473268 h 524497"/>
                <a:gd name="connsiteX53" fmla="*/ 380146 w 419177"/>
                <a:gd name="connsiteY53" fmla="*/ 463089 h 524497"/>
                <a:gd name="connsiteX54" fmla="*/ 380146 w 419177"/>
                <a:gd name="connsiteY54" fmla="*/ 457369 h 524497"/>
                <a:gd name="connsiteX55" fmla="*/ 370051 w 419177"/>
                <a:gd name="connsiteY55" fmla="*/ 430366 h 524497"/>
                <a:gd name="connsiteX56" fmla="*/ 363321 w 419177"/>
                <a:gd name="connsiteY56" fmla="*/ 424646 h 524497"/>
                <a:gd name="connsiteX57" fmla="*/ 354488 w 419177"/>
                <a:gd name="connsiteY57" fmla="*/ 412280 h 524497"/>
                <a:gd name="connsiteX58" fmla="*/ 352385 w 419177"/>
                <a:gd name="connsiteY58" fmla="*/ 409588 h 524497"/>
                <a:gd name="connsiteX59" fmla="*/ 352722 w 419177"/>
                <a:gd name="connsiteY59" fmla="*/ 407821 h 524497"/>
                <a:gd name="connsiteX60" fmla="*/ 356591 w 419177"/>
                <a:gd name="connsiteY60" fmla="*/ 406475 h 524497"/>
                <a:gd name="connsiteX61" fmla="*/ 359115 w 419177"/>
                <a:gd name="connsiteY61" fmla="*/ 408663 h 524497"/>
                <a:gd name="connsiteX62" fmla="*/ 357012 w 419177"/>
                <a:gd name="connsiteY62" fmla="*/ 414383 h 524497"/>
                <a:gd name="connsiteX63" fmla="*/ 358694 w 419177"/>
                <a:gd name="connsiteY63" fmla="*/ 416570 h 524497"/>
                <a:gd name="connsiteX64" fmla="*/ 362480 w 419177"/>
                <a:gd name="connsiteY64" fmla="*/ 405466 h 524497"/>
                <a:gd name="connsiteX65" fmla="*/ 357096 w 419177"/>
                <a:gd name="connsiteY65" fmla="*/ 398400 h 524497"/>
                <a:gd name="connsiteX66" fmla="*/ 349525 w 419177"/>
                <a:gd name="connsiteY66" fmla="*/ 402774 h 524497"/>
                <a:gd name="connsiteX67" fmla="*/ 344899 w 419177"/>
                <a:gd name="connsiteY67" fmla="*/ 402774 h 524497"/>
                <a:gd name="connsiteX68" fmla="*/ 338589 w 419177"/>
                <a:gd name="connsiteY68" fmla="*/ 407737 h 524497"/>
                <a:gd name="connsiteX69" fmla="*/ 325551 w 419177"/>
                <a:gd name="connsiteY69" fmla="*/ 413458 h 524497"/>
                <a:gd name="connsiteX70" fmla="*/ 319662 w 419177"/>
                <a:gd name="connsiteY70" fmla="*/ 412532 h 524497"/>
                <a:gd name="connsiteX71" fmla="*/ 319241 w 419177"/>
                <a:gd name="connsiteY71" fmla="*/ 411691 h 524497"/>
                <a:gd name="connsiteX72" fmla="*/ 324625 w 419177"/>
                <a:gd name="connsiteY72" fmla="*/ 406391 h 524497"/>
                <a:gd name="connsiteX73" fmla="*/ 332617 w 419177"/>
                <a:gd name="connsiteY73" fmla="*/ 386959 h 524497"/>
                <a:gd name="connsiteX74" fmla="*/ 335561 w 419177"/>
                <a:gd name="connsiteY74" fmla="*/ 377285 h 524497"/>
                <a:gd name="connsiteX75" fmla="*/ 326308 w 419177"/>
                <a:gd name="connsiteY75" fmla="*/ 363574 h 524497"/>
                <a:gd name="connsiteX76" fmla="*/ 322438 w 419177"/>
                <a:gd name="connsiteY76" fmla="*/ 352133 h 524497"/>
                <a:gd name="connsiteX77" fmla="*/ 319578 w 419177"/>
                <a:gd name="connsiteY77" fmla="*/ 345067 h 524497"/>
                <a:gd name="connsiteX78" fmla="*/ 314531 w 419177"/>
                <a:gd name="connsiteY78" fmla="*/ 353058 h 524497"/>
                <a:gd name="connsiteX79" fmla="*/ 309483 w 419177"/>
                <a:gd name="connsiteY79" fmla="*/ 366686 h 524497"/>
                <a:gd name="connsiteX80" fmla="*/ 306960 w 419177"/>
                <a:gd name="connsiteY80" fmla="*/ 378547 h 524497"/>
                <a:gd name="connsiteX81" fmla="*/ 306118 w 419177"/>
                <a:gd name="connsiteY81" fmla="*/ 383426 h 524497"/>
                <a:gd name="connsiteX82" fmla="*/ 302754 w 419177"/>
                <a:gd name="connsiteY82" fmla="*/ 388726 h 524497"/>
                <a:gd name="connsiteX83" fmla="*/ 296360 w 419177"/>
                <a:gd name="connsiteY83" fmla="*/ 387464 h 524497"/>
                <a:gd name="connsiteX84" fmla="*/ 275330 w 419177"/>
                <a:gd name="connsiteY84" fmla="*/ 396297 h 524497"/>
                <a:gd name="connsiteX85" fmla="*/ 274068 w 419177"/>
                <a:gd name="connsiteY85" fmla="*/ 396297 h 524497"/>
                <a:gd name="connsiteX86" fmla="*/ 274068 w 419177"/>
                <a:gd name="connsiteY86" fmla="*/ 394530 h 524497"/>
                <a:gd name="connsiteX87" fmla="*/ 276592 w 419177"/>
                <a:gd name="connsiteY87" fmla="*/ 388305 h 524497"/>
                <a:gd name="connsiteX88" fmla="*/ 279957 w 419177"/>
                <a:gd name="connsiteY88" fmla="*/ 380818 h 524497"/>
                <a:gd name="connsiteX89" fmla="*/ 285425 w 419177"/>
                <a:gd name="connsiteY89" fmla="*/ 379977 h 524497"/>
                <a:gd name="connsiteX90" fmla="*/ 290472 w 419177"/>
                <a:gd name="connsiteY90" fmla="*/ 379977 h 524497"/>
                <a:gd name="connsiteX91" fmla="*/ 296781 w 419177"/>
                <a:gd name="connsiteY91" fmla="*/ 367191 h 524497"/>
                <a:gd name="connsiteX92" fmla="*/ 295099 w 419177"/>
                <a:gd name="connsiteY92" fmla="*/ 357937 h 524497"/>
                <a:gd name="connsiteX93" fmla="*/ 297202 w 419177"/>
                <a:gd name="connsiteY93" fmla="*/ 349105 h 524497"/>
                <a:gd name="connsiteX94" fmla="*/ 296360 w 419177"/>
                <a:gd name="connsiteY94" fmla="*/ 346413 h 524497"/>
                <a:gd name="connsiteX95" fmla="*/ 299305 w 419177"/>
                <a:gd name="connsiteY95" fmla="*/ 339851 h 524497"/>
                <a:gd name="connsiteX96" fmla="*/ 298463 w 419177"/>
                <a:gd name="connsiteY96" fmla="*/ 338505 h 524497"/>
                <a:gd name="connsiteX97" fmla="*/ 301828 w 419177"/>
                <a:gd name="connsiteY97" fmla="*/ 333710 h 524497"/>
                <a:gd name="connsiteX98" fmla="*/ 300146 w 419177"/>
                <a:gd name="connsiteY98" fmla="*/ 332364 h 524497"/>
                <a:gd name="connsiteX99" fmla="*/ 306455 w 419177"/>
                <a:gd name="connsiteY99" fmla="*/ 326644 h 524497"/>
                <a:gd name="connsiteX100" fmla="*/ 309820 w 419177"/>
                <a:gd name="connsiteY100" fmla="*/ 322270 h 524497"/>
                <a:gd name="connsiteX101" fmla="*/ 312680 w 419177"/>
                <a:gd name="connsiteY101" fmla="*/ 319578 h 524497"/>
                <a:gd name="connsiteX102" fmla="*/ 308474 w 419177"/>
                <a:gd name="connsiteY102" fmla="*/ 307717 h 524497"/>
                <a:gd name="connsiteX103" fmla="*/ 308895 w 419177"/>
                <a:gd name="connsiteY103" fmla="*/ 305025 h 524497"/>
                <a:gd name="connsiteX104" fmla="*/ 308474 w 419177"/>
                <a:gd name="connsiteY104" fmla="*/ 304100 h 524497"/>
                <a:gd name="connsiteX105" fmla="*/ 308895 w 419177"/>
                <a:gd name="connsiteY105" fmla="*/ 303258 h 524497"/>
                <a:gd name="connsiteX106" fmla="*/ 313521 w 419177"/>
                <a:gd name="connsiteY106" fmla="*/ 301408 h 524497"/>
                <a:gd name="connsiteX107" fmla="*/ 314783 w 419177"/>
                <a:gd name="connsiteY107" fmla="*/ 302333 h 524497"/>
                <a:gd name="connsiteX108" fmla="*/ 315540 w 419177"/>
                <a:gd name="connsiteY108" fmla="*/ 301912 h 524497"/>
                <a:gd name="connsiteX109" fmla="*/ 315540 w 419177"/>
                <a:gd name="connsiteY109" fmla="*/ 300146 h 524497"/>
                <a:gd name="connsiteX110" fmla="*/ 312175 w 419177"/>
                <a:gd name="connsiteY110" fmla="*/ 293921 h 524497"/>
                <a:gd name="connsiteX111" fmla="*/ 305782 w 419177"/>
                <a:gd name="connsiteY111" fmla="*/ 273227 h 524497"/>
                <a:gd name="connsiteX112" fmla="*/ 305025 w 419177"/>
                <a:gd name="connsiteY112" fmla="*/ 280293 h 524497"/>
                <a:gd name="connsiteX113" fmla="*/ 305782 w 419177"/>
                <a:gd name="connsiteY113" fmla="*/ 286518 h 524497"/>
                <a:gd name="connsiteX114" fmla="*/ 304100 w 419177"/>
                <a:gd name="connsiteY114" fmla="*/ 293080 h 524497"/>
                <a:gd name="connsiteX115" fmla="*/ 299473 w 419177"/>
                <a:gd name="connsiteY115" fmla="*/ 293500 h 524497"/>
                <a:gd name="connsiteX116" fmla="*/ 296949 w 419177"/>
                <a:gd name="connsiteY116" fmla="*/ 298800 h 524497"/>
                <a:gd name="connsiteX117" fmla="*/ 294005 w 419177"/>
                <a:gd name="connsiteY117" fmla="*/ 299641 h 524497"/>
                <a:gd name="connsiteX118" fmla="*/ 293584 w 419177"/>
                <a:gd name="connsiteY118" fmla="*/ 304015 h 524497"/>
                <a:gd name="connsiteX119" fmla="*/ 291902 w 419177"/>
                <a:gd name="connsiteY119" fmla="*/ 306707 h 524497"/>
                <a:gd name="connsiteX120" fmla="*/ 291902 w 419177"/>
                <a:gd name="connsiteY120" fmla="*/ 312932 h 524497"/>
                <a:gd name="connsiteX121" fmla="*/ 288958 w 419177"/>
                <a:gd name="connsiteY121" fmla="*/ 316886 h 524497"/>
                <a:gd name="connsiteX122" fmla="*/ 281807 w 419177"/>
                <a:gd name="connsiteY122" fmla="*/ 326139 h 524497"/>
                <a:gd name="connsiteX123" fmla="*/ 275919 w 419177"/>
                <a:gd name="connsiteY123" fmla="*/ 325719 h 524497"/>
                <a:gd name="connsiteX124" fmla="*/ 273816 w 419177"/>
                <a:gd name="connsiteY124" fmla="*/ 328411 h 524497"/>
                <a:gd name="connsiteX125" fmla="*/ 270451 w 419177"/>
                <a:gd name="connsiteY125" fmla="*/ 331860 h 524497"/>
                <a:gd name="connsiteX126" fmla="*/ 265404 w 419177"/>
                <a:gd name="connsiteY126" fmla="*/ 333710 h 524497"/>
                <a:gd name="connsiteX127" fmla="*/ 258674 w 419177"/>
                <a:gd name="connsiteY127" fmla="*/ 339430 h 524497"/>
                <a:gd name="connsiteX128" fmla="*/ 252785 w 419177"/>
                <a:gd name="connsiteY128" fmla="*/ 350535 h 524497"/>
                <a:gd name="connsiteX129" fmla="*/ 247318 w 419177"/>
                <a:gd name="connsiteY129" fmla="*/ 357096 h 524497"/>
                <a:gd name="connsiteX130" fmla="*/ 247738 w 419177"/>
                <a:gd name="connsiteY130" fmla="*/ 359283 h 524497"/>
                <a:gd name="connsiteX131" fmla="*/ 243111 w 419177"/>
                <a:gd name="connsiteY131" fmla="*/ 362816 h 524497"/>
                <a:gd name="connsiteX132" fmla="*/ 238905 w 419177"/>
                <a:gd name="connsiteY132" fmla="*/ 370303 h 524497"/>
                <a:gd name="connsiteX133" fmla="*/ 239242 w 419177"/>
                <a:gd name="connsiteY133" fmla="*/ 371144 h 524497"/>
                <a:gd name="connsiteX134" fmla="*/ 237559 w 419177"/>
                <a:gd name="connsiteY134" fmla="*/ 374257 h 524497"/>
                <a:gd name="connsiteX135" fmla="*/ 237980 w 419177"/>
                <a:gd name="connsiteY135" fmla="*/ 376023 h 524497"/>
                <a:gd name="connsiteX136" fmla="*/ 242186 w 419177"/>
                <a:gd name="connsiteY136" fmla="*/ 374257 h 524497"/>
                <a:gd name="connsiteX137" fmla="*/ 241345 w 419177"/>
                <a:gd name="connsiteY137" fmla="*/ 380818 h 524497"/>
                <a:gd name="connsiteX138" fmla="*/ 232933 w 419177"/>
                <a:gd name="connsiteY138" fmla="*/ 376444 h 524497"/>
                <a:gd name="connsiteX139" fmla="*/ 231250 w 419177"/>
                <a:gd name="connsiteY139" fmla="*/ 380818 h 524497"/>
                <a:gd name="connsiteX140" fmla="*/ 230830 w 419177"/>
                <a:gd name="connsiteY140" fmla="*/ 380398 h 524497"/>
                <a:gd name="connsiteX141" fmla="*/ 226624 w 419177"/>
                <a:gd name="connsiteY141" fmla="*/ 371565 h 524497"/>
                <a:gd name="connsiteX142" fmla="*/ 224941 w 419177"/>
                <a:gd name="connsiteY142" fmla="*/ 367611 h 524497"/>
                <a:gd name="connsiteX143" fmla="*/ 225698 w 419177"/>
                <a:gd name="connsiteY143" fmla="*/ 367611 h 524497"/>
                <a:gd name="connsiteX144" fmla="*/ 225698 w 419177"/>
                <a:gd name="connsiteY144" fmla="*/ 365424 h 524497"/>
                <a:gd name="connsiteX145" fmla="*/ 222333 w 419177"/>
                <a:gd name="connsiteY145" fmla="*/ 356087 h 524497"/>
                <a:gd name="connsiteX146" fmla="*/ 221492 w 419177"/>
                <a:gd name="connsiteY146" fmla="*/ 349525 h 524497"/>
                <a:gd name="connsiteX147" fmla="*/ 218969 w 419177"/>
                <a:gd name="connsiteY147" fmla="*/ 345151 h 524497"/>
                <a:gd name="connsiteX148" fmla="*/ 219389 w 419177"/>
                <a:gd name="connsiteY148" fmla="*/ 343300 h 524497"/>
                <a:gd name="connsiteX149" fmla="*/ 217623 w 419177"/>
                <a:gd name="connsiteY149" fmla="*/ 338085 h 524497"/>
                <a:gd name="connsiteX150" fmla="*/ 214762 w 419177"/>
                <a:gd name="connsiteY150" fmla="*/ 332364 h 524497"/>
                <a:gd name="connsiteX151" fmla="*/ 209295 w 419177"/>
                <a:gd name="connsiteY151" fmla="*/ 327485 h 524497"/>
                <a:gd name="connsiteX152" fmla="*/ 205088 w 419177"/>
                <a:gd name="connsiteY152" fmla="*/ 321344 h 524497"/>
                <a:gd name="connsiteX153" fmla="*/ 202985 w 419177"/>
                <a:gd name="connsiteY153" fmla="*/ 308978 h 524497"/>
                <a:gd name="connsiteX154" fmla="*/ 199116 w 419177"/>
                <a:gd name="connsiteY154" fmla="*/ 304520 h 524497"/>
                <a:gd name="connsiteX155" fmla="*/ 199536 w 419177"/>
                <a:gd name="connsiteY155" fmla="*/ 303258 h 524497"/>
                <a:gd name="connsiteX156" fmla="*/ 189526 w 419177"/>
                <a:gd name="connsiteY156" fmla="*/ 300566 h 524497"/>
                <a:gd name="connsiteX157" fmla="*/ 180609 w 419177"/>
                <a:gd name="connsiteY157" fmla="*/ 294846 h 524497"/>
                <a:gd name="connsiteX158" fmla="*/ 180609 w 419177"/>
                <a:gd name="connsiteY158" fmla="*/ 293080 h 524497"/>
                <a:gd name="connsiteX159" fmla="*/ 181030 w 419177"/>
                <a:gd name="connsiteY159" fmla="*/ 291313 h 524497"/>
                <a:gd name="connsiteX160" fmla="*/ 177244 w 419177"/>
                <a:gd name="connsiteY160" fmla="*/ 289042 h 524497"/>
                <a:gd name="connsiteX161" fmla="*/ 180104 w 419177"/>
                <a:gd name="connsiteY161" fmla="*/ 283826 h 524497"/>
                <a:gd name="connsiteX162" fmla="*/ 181871 w 419177"/>
                <a:gd name="connsiteY162" fmla="*/ 286518 h 524497"/>
                <a:gd name="connsiteX163" fmla="*/ 184731 w 419177"/>
                <a:gd name="connsiteY163" fmla="*/ 280798 h 524497"/>
                <a:gd name="connsiteX164" fmla="*/ 178843 w 419177"/>
                <a:gd name="connsiteY164" fmla="*/ 270619 h 524497"/>
                <a:gd name="connsiteX165" fmla="*/ 169589 w 419177"/>
                <a:gd name="connsiteY165" fmla="*/ 274573 h 524497"/>
                <a:gd name="connsiteX166" fmla="*/ 168748 w 419177"/>
                <a:gd name="connsiteY166" fmla="*/ 273731 h 524497"/>
                <a:gd name="connsiteX167" fmla="*/ 170010 w 419177"/>
                <a:gd name="connsiteY167" fmla="*/ 271545 h 524497"/>
                <a:gd name="connsiteX168" fmla="*/ 169589 w 419177"/>
                <a:gd name="connsiteY168" fmla="*/ 269694 h 524497"/>
                <a:gd name="connsiteX169" fmla="*/ 171692 w 419177"/>
                <a:gd name="connsiteY169" fmla="*/ 271040 h 524497"/>
                <a:gd name="connsiteX170" fmla="*/ 172449 w 419177"/>
                <a:gd name="connsiteY170" fmla="*/ 270619 h 524497"/>
                <a:gd name="connsiteX171" fmla="*/ 164037 w 419177"/>
                <a:gd name="connsiteY171" fmla="*/ 259599 h 524497"/>
                <a:gd name="connsiteX172" fmla="*/ 160252 w 419177"/>
                <a:gd name="connsiteY172" fmla="*/ 255141 h 524497"/>
                <a:gd name="connsiteX173" fmla="*/ 157728 w 419177"/>
                <a:gd name="connsiteY173" fmla="*/ 257328 h 524497"/>
                <a:gd name="connsiteX174" fmla="*/ 155625 w 419177"/>
                <a:gd name="connsiteY174" fmla="*/ 256066 h 524497"/>
                <a:gd name="connsiteX175" fmla="*/ 150157 w 419177"/>
                <a:gd name="connsiteY175" fmla="*/ 260020 h 524497"/>
                <a:gd name="connsiteX176" fmla="*/ 141408 w 419177"/>
                <a:gd name="connsiteY176" fmla="*/ 255645 h 524497"/>
                <a:gd name="connsiteX177" fmla="*/ 137539 w 419177"/>
                <a:gd name="connsiteY177" fmla="*/ 254384 h 524497"/>
                <a:gd name="connsiteX178" fmla="*/ 122397 w 419177"/>
                <a:gd name="connsiteY178" fmla="*/ 247738 h 524497"/>
                <a:gd name="connsiteX179" fmla="*/ 117770 w 419177"/>
                <a:gd name="connsiteY179" fmla="*/ 251271 h 524497"/>
                <a:gd name="connsiteX180" fmla="*/ 110620 w 419177"/>
                <a:gd name="connsiteY180" fmla="*/ 252533 h 524497"/>
                <a:gd name="connsiteX181" fmla="*/ 98843 w 419177"/>
                <a:gd name="connsiteY181" fmla="*/ 240672 h 524497"/>
                <a:gd name="connsiteX182" fmla="*/ 85804 w 419177"/>
                <a:gd name="connsiteY182" fmla="*/ 232680 h 524497"/>
                <a:gd name="connsiteX183" fmla="*/ 76130 w 419177"/>
                <a:gd name="connsiteY183" fmla="*/ 227801 h 524497"/>
                <a:gd name="connsiteX184" fmla="*/ 70242 w 419177"/>
                <a:gd name="connsiteY184" fmla="*/ 231334 h 524497"/>
                <a:gd name="connsiteX185" fmla="*/ 60147 w 419177"/>
                <a:gd name="connsiteY185" fmla="*/ 234026 h 524497"/>
                <a:gd name="connsiteX186" fmla="*/ 50137 w 419177"/>
                <a:gd name="connsiteY186" fmla="*/ 233606 h 524497"/>
                <a:gd name="connsiteX187" fmla="*/ 41640 w 419177"/>
                <a:gd name="connsiteY187" fmla="*/ 234026 h 524497"/>
                <a:gd name="connsiteX188" fmla="*/ 26078 w 419177"/>
                <a:gd name="connsiteY188" fmla="*/ 234026 h 524497"/>
                <a:gd name="connsiteX189" fmla="*/ 4627 w 419177"/>
                <a:gd name="connsiteY189" fmla="*/ 238401 h 524497"/>
                <a:gd name="connsiteX190" fmla="*/ 0 w 419177"/>
                <a:gd name="connsiteY190" fmla="*/ 238401 h 524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Lst>
              <a:rect l="l" t="t" r="r" b="b"/>
              <a:pathLst>
                <a:path w="419177" h="524497">
                  <a:moveTo>
                    <a:pt x="313942" y="417411"/>
                  </a:moveTo>
                  <a:lnTo>
                    <a:pt x="313942" y="417411"/>
                  </a:lnTo>
                  <a:cubicBezTo>
                    <a:pt x="310998" y="417832"/>
                    <a:pt x="309736" y="419598"/>
                    <a:pt x="308053" y="421786"/>
                  </a:cubicBezTo>
                  <a:cubicBezTo>
                    <a:pt x="310156" y="424478"/>
                    <a:pt x="312680" y="424478"/>
                    <a:pt x="316045" y="424478"/>
                  </a:cubicBezTo>
                  <a:cubicBezTo>
                    <a:pt x="316886" y="424478"/>
                    <a:pt x="317307" y="423132"/>
                    <a:pt x="318568" y="422711"/>
                  </a:cubicBezTo>
                  <a:cubicBezTo>
                    <a:pt x="317307" y="420524"/>
                    <a:pt x="316045" y="418673"/>
                    <a:pt x="313942" y="417411"/>
                  </a:cubicBezTo>
                  <a:lnTo>
                    <a:pt x="313942" y="417411"/>
                  </a:lnTo>
                  <a:close/>
                  <a:moveTo>
                    <a:pt x="263889" y="424898"/>
                  </a:moveTo>
                  <a:lnTo>
                    <a:pt x="263889" y="424898"/>
                  </a:lnTo>
                  <a:cubicBezTo>
                    <a:pt x="263889" y="427085"/>
                    <a:pt x="266413" y="426665"/>
                    <a:pt x="267759" y="427590"/>
                  </a:cubicBezTo>
                  <a:cubicBezTo>
                    <a:pt x="269021" y="428431"/>
                    <a:pt x="269441" y="430198"/>
                    <a:pt x="270619" y="430198"/>
                  </a:cubicBezTo>
                  <a:lnTo>
                    <a:pt x="275246" y="430198"/>
                  </a:lnTo>
                  <a:lnTo>
                    <a:pt x="279116" y="431123"/>
                  </a:lnTo>
                  <a:cubicBezTo>
                    <a:pt x="281976" y="431123"/>
                    <a:pt x="283742" y="431123"/>
                    <a:pt x="286602" y="430702"/>
                  </a:cubicBezTo>
                  <a:cubicBezTo>
                    <a:pt x="286602" y="430282"/>
                    <a:pt x="287023" y="429861"/>
                    <a:pt x="287023" y="429441"/>
                  </a:cubicBezTo>
                  <a:cubicBezTo>
                    <a:pt x="287023" y="429020"/>
                    <a:pt x="286602" y="429020"/>
                    <a:pt x="286602" y="428515"/>
                  </a:cubicBezTo>
                  <a:lnTo>
                    <a:pt x="287443" y="428095"/>
                  </a:lnTo>
                  <a:lnTo>
                    <a:pt x="292070" y="428095"/>
                  </a:lnTo>
                  <a:cubicBezTo>
                    <a:pt x="293753" y="430282"/>
                    <a:pt x="295015" y="431628"/>
                    <a:pt x="297538" y="433394"/>
                  </a:cubicBezTo>
                  <a:cubicBezTo>
                    <a:pt x="298800" y="430282"/>
                    <a:pt x="300398" y="429020"/>
                    <a:pt x="300398" y="425907"/>
                  </a:cubicBezTo>
                  <a:cubicBezTo>
                    <a:pt x="300398" y="424141"/>
                    <a:pt x="303006" y="425066"/>
                    <a:pt x="304268" y="424141"/>
                  </a:cubicBezTo>
                  <a:cubicBezTo>
                    <a:pt x="305950" y="422879"/>
                    <a:pt x="305109" y="421028"/>
                    <a:pt x="305530" y="418841"/>
                  </a:cubicBezTo>
                  <a:lnTo>
                    <a:pt x="303427" y="418841"/>
                  </a:lnTo>
                  <a:cubicBezTo>
                    <a:pt x="301744" y="418841"/>
                    <a:pt x="299221" y="418841"/>
                    <a:pt x="299221" y="416654"/>
                  </a:cubicBezTo>
                  <a:cubicBezTo>
                    <a:pt x="299221" y="415392"/>
                    <a:pt x="300482" y="414888"/>
                    <a:pt x="300482" y="413542"/>
                  </a:cubicBezTo>
                  <a:cubicBezTo>
                    <a:pt x="300482" y="412280"/>
                    <a:pt x="298800" y="411355"/>
                    <a:pt x="297622" y="411355"/>
                  </a:cubicBezTo>
                  <a:cubicBezTo>
                    <a:pt x="289126" y="411355"/>
                    <a:pt x="284163" y="412701"/>
                    <a:pt x="276171" y="415729"/>
                  </a:cubicBezTo>
                  <a:cubicBezTo>
                    <a:pt x="272386" y="417579"/>
                    <a:pt x="269021" y="415729"/>
                    <a:pt x="266077" y="418421"/>
                  </a:cubicBezTo>
                  <a:cubicBezTo>
                    <a:pt x="264394" y="420271"/>
                    <a:pt x="263974" y="422459"/>
                    <a:pt x="263974" y="425066"/>
                  </a:cubicBezTo>
                  <a:lnTo>
                    <a:pt x="263974" y="425066"/>
                  </a:lnTo>
                  <a:close/>
                  <a:moveTo>
                    <a:pt x="673" y="238653"/>
                  </a:moveTo>
                  <a:lnTo>
                    <a:pt x="673" y="238653"/>
                  </a:lnTo>
                  <a:lnTo>
                    <a:pt x="673" y="0"/>
                  </a:lnTo>
                  <a:lnTo>
                    <a:pt x="673" y="0"/>
                  </a:lnTo>
                  <a:lnTo>
                    <a:pt x="313605" y="1262"/>
                  </a:lnTo>
                  <a:lnTo>
                    <a:pt x="313605" y="1262"/>
                  </a:lnTo>
                  <a:lnTo>
                    <a:pt x="419178" y="1682"/>
                  </a:lnTo>
                  <a:lnTo>
                    <a:pt x="419178" y="125173"/>
                  </a:lnTo>
                  <a:lnTo>
                    <a:pt x="419178" y="125173"/>
                  </a:lnTo>
                  <a:lnTo>
                    <a:pt x="418421" y="341365"/>
                  </a:lnTo>
                  <a:lnTo>
                    <a:pt x="418421" y="341365"/>
                  </a:lnTo>
                  <a:lnTo>
                    <a:pt x="418000" y="524077"/>
                  </a:lnTo>
                  <a:lnTo>
                    <a:pt x="418000" y="524077"/>
                  </a:lnTo>
                  <a:cubicBezTo>
                    <a:pt x="416738" y="523657"/>
                    <a:pt x="415477" y="523657"/>
                    <a:pt x="413794" y="523657"/>
                  </a:cubicBezTo>
                  <a:cubicBezTo>
                    <a:pt x="411607" y="523657"/>
                    <a:pt x="410429" y="524498"/>
                    <a:pt x="407906" y="524498"/>
                  </a:cubicBezTo>
                  <a:cubicBezTo>
                    <a:pt x="404961" y="524498"/>
                    <a:pt x="404120" y="521470"/>
                    <a:pt x="402017" y="519619"/>
                  </a:cubicBezTo>
                  <a:cubicBezTo>
                    <a:pt x="396549" y="515245"/>
                    <a:pt x="394867" y="511291"/>
                    <a:pt x="391922" y="504645"/>
                  </a:cubicBezTo>
                  <a:cubicBezTo>
                    <a:pt x="391081" y="502879"/>
                    <a:pt x="389819" y="501617"/>
                    <a:pt x="388558" y="499766"/>
                  </a:cubicBezTo>
                  <a:cubicBezTo>
                    <a:pt x="387801" y="498504"/>
                    <a:pt x="387801" y="497074"/>
                    <a:pt x="386455" y="496738"/>
                  </a:cubicBezTo>
                  <a:cubicBezTo>
                    <a:pt x="384772" y="496317"/>
                    <a:pt x="383595" y="497158"/>
                    <a:pt x="382249" y="496317"/>
                  </a:cubicBezTo>
                  <a:cubicBezTo>
                    <a:pt x="378884" y="492279"/>
                    <a:pt x="380146" y="487484"/>
                    <a:pt x="375939" y="483952"/>
                  </a:cubicBezTo>
                  <a:cubicBezTo>
                    <a:pt x="376276" y="482606"/>
                    <a:pt x="377622" y="482606"/>
                    <a:pt x="377622" y="481260"/>
                  </a:cubicBezTo>
                  <a:cubicBezTo>
                    <a:pt x="377622" y="477222"/>
                    <a:pt x="375939" y="474193"/>
                    <a:pt x="372154" y="473268"/>
                  </a:cubicBezTo>
                  <a:cubicBezTo>
                    <a:pt x="376781" y="471081"/>
                    <a:pt x="380146" y="468389"/>
                    <a:pt x="380146" y="463089"/>
                  </a:cubicBezTo>
                  <a:lnTo>
                    <a:pt x="380146" y="457369"/>
                  </a:lnTo>
                  <a:cubicBezTo>
                    <a:pt x="380146" y="446265"/>
                    <a:pt x="374257" y="440965"/>
                    <a:pt x="370051" y="430366"/>
                  </a:cubicBezTo>
                  <a:cubicBezTo>
                    <a:pt x="367948" y="427674"/>
                    <a:pt x="365424" y="427674"/>
                    <a:pt x="363321" y="424646"/>
                  </a:cubicBezTo>
                  <a:cubicBezTo>
                    <a:pt x="360377" y="419767"/>
                    <a:pt x="357433" y="417495"/>
                    <a:pt x="354488" y="412280"/>
                  </a:cubicBezTo>
                  <a:cubicBezTo>
                    <a:pt x="354068" y="411355"/>
                    <a:pt x="352385" y="410934"/>
                    <a:pt x="352385" y="409588"/>
                  </a:cubicBezTo>
                  <a:cubicBezTo>
                    <a:pt x="352385" y="408663"/>
                    <a:pt x="352385" y="408242"/>
                    <a:pt x="352722" y="407821"/>
                  </a:cubicBezTo>
                  <a:cubicBezTo>
                    <a:pt x="353984" y="407401"/>
                    <a:pt x="354909" y="406475"/>
                    <a:pt x="356591" y="406475"/>
                  </a:cubicBezTo>
                  <a:cubicBezTo>
                    <a:pt x="357853" y="406475"/>
                    <a:pt x="359115" y="407401"/>
                    <a:pt x="359115" y="408663"/>
                  </a:cubicBezTo>
                  <a:cubicBezTo>
                    <a:pt x="359115" y="410850"/>
                    <a:pt x="357012" y="412196"/>
                    <a:pt x="357012" y="414383"/>
                  </a:cubicBezTo>
                  <a:cubicBezTo>
                    <a:pt x="357012" y="415224"/>
                    <a:pt x="358274" y="415645"/>
                    <a:pt x="358694" y="416570"/>
                  </a:cubicBezTo>
                  <a:cubicBezTo>
                    <a:pt x="362901" y="415645"/>
                    <a:pt x="362480" y="410345"/>
                    <a:pt x="362480" y="405466"/>
                  </a:cubicBezTo>
                  <a:cubicBezTo>
                    <a:pt x="362480" y="402017"/>
                    <a:pt x="360377" y="398400"/>
                    <a:pt x="357096" y="398400"/>
                  </a:cubicBezTo>
                  <a:cubicBezTo>
                    <a:pt x="353815" y="398400"/>
                    <a:pt x="352470" y="401512"/>
                    <a:pt x="349525" y="402774"/>
                  </a:cubicBezTo>
                  <a:cubicBezTo>
                    <a:pt x="347843" y="403195"/>
                    <a:pt x="346581" y="402774"/>
                    <a:pt x="344899" y="402774"/>
                  </a:cubicBezTo>
                  <a:cubicBezTo>
                    <a:pt x="341954" y="403195"/>
                    <a:pt x="341534" y="406307"/>
                    <a:pt x="338589" y="407737"/>
                  </a:cubicBezTo>
                  <a:cubicBezTo>
                    <a:pt x="333879" y="410766"/>
                    <a:pt x="331019" y="412112"/>
                    <a:pt x="325551" y="413458"/>
                  </a:cubicBezTo>
                  <a:lnTo>
                    <a:pt x="319662" y="412532"/>
                  </a:lnTo>
                  <a:lnTo>
                    <a:pt x="319241" y="411691"/>
                  </a:lnTo>
                  <a:cubicBezTo>
                    <a:pt x="320503" y="408999"/>
                    <a:pt x="323448" y="408999"/>
                    <a:pt x="324625" y="406391"/>
                  </a:cubicBezTo>
                  <a:cubicBezTo>
                    <a:pt x="328495" y="399325"/>
                    <a:pt x="330093" y="394530"/>
                    <a:pt x="332617" y="386959"/>
                  </a:cubicBezTo>
                  <a:cubicBezTo>
                    <a:pt x="333879" y="383006"/>
                    <a:pt x="335561" y="381239"/>
                    <a:pt x="335561" y="377285"/>
                  </a:cubicBezTo>
                  <a:cubicBezTo>
                    <a:pt x="335561" y="370724"/>
                    <a:pt x="329673" y="368873"/>
                    <a:pt x="326308" y="363574"/>
                  </a:cubicBezTo>
                  <a:cubicBezTo>
                    <a:pt x="323784" y="359620"/>
                    <a:pt x="323784" y="356507"/>
                    <a:pt x="322438" y="352133"/>
                  </a:cubicBezTo>
                  <a:cubicBezTo>
                    <a:pt x="321681" y="349441"/>
                    <a:pt x="319914" y="348179"/>
                    <a:pt x="319578" y="345067"/>
                  </a:cubicBezTo>
                  <a:cubicBezTo>
                    <a:pt x="317054" y="347759"/>
                    <a:pt x="316634" y="349946"/>
                    <a:pt x="314531" y="353058"/>
                  </a:cubicBezTo>
                  <a:cubicBezTo>
                    <a:pt x="311166" y="357433"/>
                    <a:pt x="309904" y="360966"/>
                    <a:pt x="309483" y="366686"/>
                  </a:cubicBezTo>
                  <a:cubicBezTo>
                    <a:pt x="309483" y="371565"/>
                    <a:pt x="307801" y="374173"/>
                    <a:pt x="306960" y="378547"/>
                  </a:cubicBezTo>
                  <a:cubicBezTo>
                    <a:pt x="306960" y="380734"/>
                    <a:pt x="306118" y="381660"/>
                    <a:pt x="306118" y="383426"/>
                  </a:cubicBezTo>
                  <a:cubicBezTo>
                    <a:pt x="305698" y="386118"/>
                    <a:pt x="305361" y="388726"/>
                    <a:pt x="302754" y="388726"/>
                  </a:cubicBezTo>
                  <a:cubicBezTo>
                    <a:pt x="300146" y="388726"/>
                    <a:pt x="298884" y="387464"/>
                    <a:pt x="296360" y="387464"/>
                  </a:cubicBezTo>
                  <a:cubicBezTo>
                    <a:pt x="287528" y="387464"/>
                    <a:pt x="284247" y="396297"/>
                    <a:pt x="275330" y="396297"/>
                  </a:cubicBezTo>
                  <a:lnTo>
                    <a:pt x="274068" y="396297"/>
                  </a:lnTo>
                  <a:lnTo>
                    <a:pt x="274068" y="394530"/>
                  </a:lnTo>
                  <a:cubicBezTo>
                    <a:pt x="274068" y="391838"/>
                    <a:pt x="275751" y="390492"/>
                    <a:pt x="276592" y="388305"/>
                  </a:cubicBezTo>
                  <a:cubicBezTo>
                    <a:pt x="277854" y="385277"/>
                    <a:pt x="276928" y="382164"/>
                    <a:pt x="279957" y="380818"/>
                  </a:cubicBezTo>
                  <a:cubicBezTo>
                    <a:pt x="281723" y="379977"/>
                    <a:pt x="283322" y="379977"/>
                    <a:pt x="285425" y="379977"/>
                  </a:cubicBezTo>
                  <a:lnTo>
                    <a:pt x="290472" y="379977"/>
                  </a:lnTo>
                  <a:cubicBezTo>
                    <a:pt x="295940" y="379977"/>
                    <a:pt x="296781" y="372911"/>
                    <a:pt x="296781" y="367191"/>
                  </a:cubicBezTo>
                  <a:cubicBezTo>
                    <a:pt x="296781" y="363657"/>
                    <a:pt x="296024" y="361471"/>
                    <a:pt x="295099" y="357937"/>
                  </a:cubicBezTo>
                  <a:lnTo>
                    <a:pt x="297202" y="349105"/>
                  </a:lnTo>
                  <a:cubicBezTo>
                    <a:pt x="297202" y="348263"/>
                    <a:pt x="296360" y="347338"/>
                    <a:pt x="296360" y="346413"/>
                  </a:cubicBezTo>
                  <a:cubicBezTo>
                    <a:pt x="296360" y="343300"/>
                    <a:pt x="299305" y="342964"/>
                    <a:pt x="299305" y="339851"/>
                  </a:cubicBezTo>
                  <a:cubicBezTo>
                    <a:pt x="299305" y="339430"/>
                    <a:pt x="298463" y="339430"/>
                    <a:pt x="298463" y="338505"/>
                  </a:cubicBezTo>
                  <a:cubicBezTo>
                    <a:pt x="298463" y="336318"/>
                    <a:pt x="301828" y="335897"/>
                    <a:pt x="301828" y="333710"/>
                  </a:cubicBezTo>
                  <a:cubicBezTo>
                    <a:pt x="301828" y="332785"/>
                    <a:pt x="300987" y="332785"/>
                    <a:pt x="300146" y="332364"/>
                  </a:cubicBezTo>
                  <a:cubicBezTo>
                    <a:pt x="301828" y="329673"/>
                    <a:pt x="303931" y="328831"/>
                    <a:pt x="306455" y="326644"/>
                  </a:cubicBezTo>
                  <a:cubicBezTo>
                    <a:pt x="308137" y="325382"/>
                    <a:pt x="308137" y="323195"/>
                    <a:pt x="309820" y="322270"/>
                  </a:cubicBezTo>
                  <a:cubicBezTo>
                    <a:pt x="311082" y="321849"/>
                    <a:pt x="312680" y="321008"/>
                    <a:pt x="312680" y="319578"/>
                  </a:cubicBezTo>
                  <a:cubicBezTo>
                    <a:pt x="312680" y="314699"/>
                    <a:pt x="308474" y="312512"/>
                    <a:pt x="308474" y="307717"/>
                  </a:cubicBezTo>
                  <a:cubicBezTo>
                    <a:pt x="308474" y="306371"/>
                    <a:pt x="308895" y="306371"/>
                    <a:pt x="308895" y="305025"/>
                  </a:cubicBezTo>
                  <a:cubicBezTo>
                    <a:pt x="308895" y="304604"/>
                    <a:pt x="308474" y="304604"/>
                    <a:pt x="308474" y="304100"/>
                  </a:cubicBezTo>
                  <a:cubicBezTo>
                    <a:pt x="308474" y="304100"/>
                    <a:pt x="308617" y="303822"/>
                    <a:pt x="308895" y="303258"/>
                  </a:cubicBezTo>
                  <a:cubicBezTo>
                    <a:pt x="310577" y="303258"/>
                    <a:pt x="311418" y="301408"/>
                    <a:pt x="313521" y="301408"/>
                  </a:cubicBezTo>
                  <a:cubicBezTo>
                    <a:pt x="313942" y="301408"/>
                    <a:pt x="314362" y="302333"/>
                    <a:pt x="314783" y="302333"/>
                  </a:cubicBezTo>
                  <a:cubicBezTo>
                    <a:pt x="315120" y="302333"/>
                    <a:pt x="315540" y="301912"/>
                    <a:pt x="315540" y="301912"/>
                  </a:cubicBezTo>
                  <a:lnTo>
                    <a:pt x="315540" y="300146"/>
                  </a:lnTo>
                  <a:cubicBezTo>
                    <a:pt x="315540" y="297454"/>
                    <a:pt x="313017" y="296697"/>
                    <a:pt x="312175" y="293921"/>
                  </a:cubicBezTo>
                  <a:cubicBezTo>
                    <a:pt x="309231" y="286013"/>
                    <a:pt x="311334" y="279368"/>
                    <a:pt x="305782" y="273227"/>
                  </a:cubicBezTo>
                  <a:cubicBezTo>
                    <a:pt x="305361" y="275919"/>
                    <a:pt x="305025" y="277601"/>
                    <a:pt x="305025" y="280293"/>
                  </a:cubicBezTo>
                  <a:cubicBezTo>
                    <a:pt x="305025" y="282985"/>
                    <a:pt x="305782" y="284331"/>
                    <a:pt x="305782" y="286518"/>
                  </a:cubicBezTo>
                  <a:cubicBezTo>
                    <a:pt x="305782" y="289126"/>
                    <a:pt x="306203" y="291734"/>
                    <a:pt x="304100" y="293080"/>
                  </a:cubicBezTo>
                  <a:cubicBezTo>
                    <a:pt x="302838" y="294341"/>
                    <a:pt x="301155" y="293080"/>
                    <a:pt x="299473" y="293500"/>
                  </a:cubicBezTo>
                  <a:cubicBezTo>
                    <a:pt x="297791" y="294762"/>
                    <a:pt x="298632" y="297454"/>
                    <a:pt x="296949" y="298800"/>
                  </a:cubicBezTo>
                  <a:cubicBezTo>
                    <a:pt x="296108" y="299220"/>
                    <a:pt x="294846" y="298800"/>
                    <a:pt x="294005" y="299641"/>
                  </a:cubicBezTo>
                  <a:cubicBezTo>
                    <a:pt x="293248" y="300987"/>
                    <a:pt x="293584" y="302333"/>
                    <a:pt x="293584" y="304015"/>
                  </a:cubicBezTo>
                  <a:cubicBezTo>
                    <a:pt x="293248" y="304941"/>
                    <a:pt x="292323" y="305866"/>
                    <a:pt x="291902" y="306707"/>
                  </a:cubicBezTo>
                  <a:cubicBezTo>
                    <a:pt x="291481" y="309399"/>
                    <a:pt x="292743" y="310745"/>
                    <a:pt x="291902" y="312932"/>
                  </a:cubicBezTo>
                  <a:cubicBezTo>
                    <a:pt x="290640" y="314699"/>
                    <a:pt x="289378" y="315119"/>
                    <a:pt x="288958" y="316886"/>
                  </a:cubicBezTo>
                  <a:cubicBezTo>
                    <a:pt x="287275" y="321344"/>
                    <a:pt x="286434" y="326139"/>
                    <a:pt x="281807" y="326139"/>
                  </a:cubicBezTo>
                  <a:cubicBezTo>
                    <a:pt x="279704" y="326139"/>
                    <a:pt x="278443" y="325719"/>
                    <a:pt x="275919" y="325719"/>
                  </a:cubicBezTo>
                  <a:cubicBezTo>
                    <a:pt x="274657" y="325719"/>
                    <a:pt x="274657" y="326981"/>
                    <a:pt x="273816" y="328411"/>
                  </a:cubicBezTo>
                  <a:cubicBezTo>
                    <a:pt x="272975" y="329673"/>
                    <a:pt x="271713" y="330598"/>
                    <a:pt x="270451" y="331860"/>
                  </a:cubicBezTo>
                  <a:cubicBezTo>
                    <a:pt x="268768" y="333206"/>
                    <a:pt x="267591" y="332785"/>
                    <a:pt x="265404" y="333710"/>
                  </a:cubicBezTo>
                  <a:cubicBezTo>
                    <a:pt x="262544" y="334972"/>
                    <a:pt x="261618" y="337159"/>
                    <a:pt x="258674" y="339430"/>
                  </a:cubicBezTo>
                  <a:cubicBezTo>
                    <a:pt x="255309" y="342543"/>
                    <a:pt x="255309" y="346076"/>
                    <a:pt x="252785" y="350535"/>
                  </a:cubicBezTo>
                  <a:cubicBezTo>
                    <a:pt x="251524" y="353563"/>
                    <a:pt x="247318" y="353563"/>
                    <a:pt x="247318" y="357096"/>
                  </a:cubicBezTo>
                  <a:cubicBezTo>
                    <a:pt x="247318" y="358021"/>
                    <a:pt x="247738" y="358442"/>
                    <a:pt x="247738" y="359283"/>
                  </a:cubicBezTo>
                  <a:cubicBezTo>
                    <a:pt x="247738" y="361975"/>
                    <a:pt x="244794" y="361471"/>
                    <a:pt x="243111" y="362816"/>
                  </a:cubicBezTo>
                  <a:cubicBezTo>
                    <a:pt x="240167" y="364583"/>
                    <a:pt x="238905" y="367191"/>
                    <a:pt x="238905" y="370303"/>
                  </a:cubicBezTo>
                  <a:cubicBezTo>
                    <a:pt x="238905" y="370724"/>
                    <a:pt x="239242" y="370724"/>
                    <a:pt x="239242" y="371144"/>
                  </a:cubicBezTo>
                  <a:cubicBezTo>
                    <a:pt x="239242" y="372490"/>
                    <a:pt x="237559" y="372995"/>
                    <a:pt x="237559" y="374257"/>
                  </a:cubicBezTo>
                  <a:cubicBezTo>
                    <a:pt x="237559" y="375182"/>
                    <a:pt x="237980" y="375182"/>
                    <a:pt x="237980" y="376023"/>
                  </a:cubicBezTo>
                  <a:cubicBezTo>
                    <a:pt x="239662" y="375603"/>
                    <a:pt x="240924" y="375603"/>
                    <a:pt x="242186" y="374257"/>
                  </a:cubicBezTo>
                  <a:cubicBezTo>
                    <a:pt x="241766" y="376949"/>
                    <a:pt x="241345" y="378631"/>
                    <a:pt x="241345" y="380818"/>
                  </a:cubicBezTo>
                  <a:cubicBezTo>
                    <a:pt x="238485" y="378631"/>
                    <a:pt x="236802" y="376444"/>
                    <a:pt x="232933" y="376444"/>
                  </a:cubicBezTo>
                  <a:cubicBezTo>
                    <a:pt x="231671" y="376444"/>
                    <a:pt x="231671" y="379136"/>
                    <a:pt x="231250" y="380818"/>
                  </a:cubicBezTo>
                  <a:lnTo>
                    <a:pt x="230830" y="380398"/>
                  </a:lnTo>
                  <a:cubicBezTo>
                    <a:pt x="229147" y="376949"/>
                    <a:pt x="229147" y="374257"/>
                    <a:pt x="226624" y="371565"/>
                  </a:cubicBezTo>
                  <a:cubicBezTo>
                    <a:pt x="216108" y="360545"/>
                    <a:pt x="220735" y="367611"/>
                    <a:pt x="224941" y="367611"/>
                  </a:cubicBezTo>
                  <a:lnTo>
                    <a:pt x="225698" y="367611"/>
                  </a:lnTo>
                  <a:lnTo>
                    <a:pt x="225698" y="365424"/>
                  </a:lnTo>
                  <a:lnTo>
                    <a:pt x="222333" y="356087"/>
                  </a:lnTo>
                  <a:cubicBezTo>
                    <a:pt x="222333" y="353395"/>
                    <a:pt x="222670" y="351712"/>
                    <a:pt x="221492" y="349525"/>
                  </a:cubicBezTo>
                  <a:cubicBezTo>
                    <a:pt x="220651" y="347759"/>
                    <a:pt x="218969" y="347338"/>
                    <a:pt x="218969" y="345151"/>
                  </a:cubicBezTo>
                  <a:cubicBezTo>
                    <a:pt x="218969" y="344730"/>
                    <a:pt x="219389" y="344225"/>
                    <a:pt x="219389" y="343300"/>
                  </a:cubicBezTo>
                  <a:cubicBezTo>
                    <a:pt x="219389" y="341113"/>
                    <a:pt x="218127" y="340272"/>
                    <a:pt x="217623" y="338085"/>
                  </a:cubicBezTo>
                  <a:cubicBezTo>
                    <a:pt x="216865" y="335897"/>
                    <a:pt x="216865" y="333710"/>
                    <a:pt x="214762" y="332364"/>
                  </a:cubicBezTo>
                  <a:cubicBezTo>
                    <a:pt x="212239" y="331018"/>
                    <a:pt x="210556" y="330177"/>
                    <a:pt x="209295" y="327485"/>
                  </a:cubicBezTo>
                  <a:cubicBezTo>
                    <a:pt x="207612" y="324793"/>
                    <a:pt x="205930" y="323952"/>
                    <a:pt x="205088" y="321344"/>
                  </a:cubicBezTo>
                  <a:cubicBezTo>
                    <a:pt x="203406" y="316381"/>
                    <a:pt x="204668" y="313353"/>
                    <a:pt x="202985" y="308978"/>
                  </a:cubicBezTo>
                  <a:cubicBezTo>
                    <a:pt x="202144" y="306707"/>
                    <a:pt x="199116" y="306707"/>
                    <a:pt x="199116" y="304520"/>
                  </a:cubicBezTo>
                  <a:cubicBezTo>
                    <a:pt x="199116" y="304100"/>
                    <a:pt x="199536" y="303679"/>
                    <a:pt x="199536" y="303258"/>
                  </a:cubicBezTo>
                  <a:cubicBezTo>
                    <a:pt x="199536" y="299220"/>
                    <a:pt x="193227" y="301408"/>
                    <a:pt x="189526" y="300566"/>
                  </a:cubicBezTo>
                  <a:cubicBezTo>
                    <a:pt x="185236" y="300146"/>
                    <a:pt x="184479" y="294846"/>
                    <a:pt x="180609" y="294846"/>
                  </a:cubicBezTo>
                  <a:lnTo>
                    <a:pt x="180609" y="293080"/>
                  </a:lnTo>
                  <a:cubicBezTo>
                    <a:pt x="180609" y="292659"/>
                    <a:pt x="181030" y="292154"/>
                    <a:pt x="181030" y="291313"/>
                  </a:cubicBezTo>
                  <a:cubicBezTo>
                    <a:pt x="181030" y="289462"/>
                    <a:pt x="178927" y="289967"/>
                    <a:pt x="177244" y="289042"/>
                  </a:cubicBezTo>
                  <a:cubicBezTo>
                    <a:pt x="179347" y="287780"/>
                    <a:pt x="178927" y="286013"/>
                    <a:pt x="180104" y="283826"/>
                  </a:cubicBezTo>
                  <a:cubicBezTo>
                    <a:pt x="181366" y="284247"/>
                    <a:pt x="181366" y="285088"/>
                    <a:pt x="181871" y="286518"/>
                  </a:cubicBezTo>
                  <a:cubicBezTo>
                    <a:pt x="183133" y="284331"/>
                    <a:pt x="184731" y="283406"/>
                    <a:pt x="184731" y="280798"/>
                  </a:cubicBezTo>
                  <a:cubicBezTo>
                    <a:pt x="184731" y="275919"/>
                    <a:pt x="183469" y="270619"/>
                    <a:pt x="178843" y="270619"/>
                  </a:cubicBezTo>
                  <a:cubicBezTo>
                    <a:pt x="174637" y="270619"/>
                    <a:pt x="173375" y="273731"/>
                    <a:pt x="169589" y="274573"/>
                  </a:cubicBezTo>
                  <a:cubicBezTo>
                    <a:pt x="169169" y="274152"/>
                    <a:pt x="168748" y="274152"/>
                    <a:pt x="168748" y="273731"/>
                  </a:cubicBezTo>
                  <a:cubicBezTo>
                    <a:pt x="168748" y="272806"/>
                    <a:pt x="170010" y="272386"/>
                    <a:pt x="170010" y="271545"/>
                  </a:cubicBezTo>
                  <a:cubicBezTo>
                    <a:pt x="170010" y="270619"/>
                    <a:pt x="169589" y="270619"/>
                    <a:pt x="169589" y="269694"/>
                  </a:cubicBezTo>
                  <a:cubicBezTo>
                    <a:pt x="170346" y="270114"/>
                    <a:pt x="170851" y="270619"/>
                    <a:pt x="171692" y="271040"/>
                  </a:cubicBezTo>
                  <a:lnTo>
                    <a:pt x="172449" y="270619"/>
                  </a:lnTo>
                  <a:cubicBezTo>
                    <a:pt x="171188" y="265319"/>
                    <a:pt x="167066" y="264058"/>
                    <a:pt x="164037" y="259599"/>
                  </a:cubicBezTo>
                  <a:cubicBezTo>
                    <a:pt x="162775" y="257748"/>
                    <a:pt x="162355" y="255141"/>
                    <a:pt x="160252" y="255141"/>
                  </a:cubicBezTo>
                  <a:cubicBezTo>
                    <a:pt x="158990" y="255141"/>
                    <a:pt x="158990" y="257328"/>
                    <a:pt x="157728" y="257328"/>
                  </a:cubicBezTo>
                  <a:cubicBezTo>
                    <a:pt x="156887" y="257328"/>
                    <a:pt x="156466" y="256907"/>
                    <a:pt x="155625" y="256066"/>
                  </a:cubicBezTo>
                  <a:cubicBezTo>
                    <a:pt x="153522" y="257328"/>
                    <a:pt x="152681" y="260020"/>
                    <a:pt x="150157" y="260020"/>
                  </a:cubicBezTo>
                  <a:cubicBezTo>
                    <a:pt x="146456" y="260020"/>
                    <a:pt x="144773" y="257833"/>
                    <a:pt x="141408" y="255645"/>
                  </a:cubicBezTo>
                  <a:cubicBezTo>
                    <a:pt x="140147" y="254720"/>
                    <a:pt x="138885" y="255225"/>
                    <a:pt x="137539" y="254384"/>
                  </a:cubicBezTo>
                  <a:cubicBezTo>
                    <a:pt x="132155" y="250850"/>
                    <a:pt x="128706" y="247738"/>
                    <a:pt x="122397" y="247738"/>
                  </a:cubicBezTo>
                  <a:cubicBezTo>
                    <a:pt x="120294" y="247738"/>
                    <a:pt x="119453" y="249925"/>
                    <a:pt x="117770" y="251271"/>
                  </a:cubicBezTo>
                  <a:cubicBezTo>
                    <a:pt x="115247" y="252112"/>
                    <a:pt x="113144" y="252112"/>
                    <a:pt x="110620" y="252533"/>
                  </a:cubicBezTo>
                  <a:cubicBezTo>
                    <a:pt x="110199" y="245971"/>
                    <a:pt x="103470" y="245467"/>
                    <a:pt x="98843" y="240672"/>
                  </a:cubicBezTo>
                  <a:cubicBezTo>
                    <a:pt x="94216" y="237223"/>
                    <a:pt x="90851" y="235793"/>
                    <a:pt x="85804" y="232680"/>
                  </a:cubicBezTo>
                  <a:cubicBezTo>
                    <a:pt x="82019" y="230493"/>
                    <a:pt x="80420" y="227801"/>
                    <a:pt x="76130" y="227801"/>
                  </a:cubicBezTo>
                  <a:cubicBezTo>
                    <a:pt x="73691" y="227801"/>
                    <a:pt x="72345" y="229988"/>
                    <a:pt x="70242" y="231334"/>
                  </a:cubicBezTo>
                  <a:cubicBezTo>
                    <a:pt x="66877" y="233101"/>
                    <a:pt x="64353" y="234026"/>
                    <a:pt x="60147" y="234026"/>
                  </a:cubicBezTo>
                  <a:cubicBezTo>
                    <a:pt x="56361" y="234026"/>
                    <a:pt x="54258" y="233606"/>
                    <a:pt x="50137" y="233606"/>
                  </a:cubicBezTo>
                  <a:cubicBezTo>
                    <a:pt x="46772" y="233606"/>
                    <a:pt x="45089" y="234026"/>
                    <a:pt x="41640" y="234026"/>
                  </a:cubicBezTo>
                  <a:lnTo>
                    <a:pt x="26078" y="234026"/>
                  </a:lnTo>
                  <a:lnTo>
                    <a:pt x="4627" y="238401"/>
                  </a:lnTo>
                  <a:lnTo>
                    <a:pt x="0" y="238401"/>
                  </a:lnTo>
                  <a:close/>
                </a:path>
              </a:pathLst>
            </a:custGeom>
            <a:grpFill/>
            <a:ln w="8410" cap="flat">
              <a:solidFill>
                <a:srgbClr val="F59E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a:ea typeface="+mn-ea"/>
                <a:cs typeface="+mn-cs"/>
              </a:endParaRPr>
            </a:p>
          </p:txBody>
        </p:sp>
        <p:sp>
          <p:nvSpPr>
            <p:cNvPr id="529" name="Freeform: Shape 528">
              <a:extLst>
                <a:ext uri="{FF2B5EF4-FFF2-40B4-BE49-F238E27FC236}">
                  <a16:creationId xmlns:a16="http://schemas.microsoft.com/office/drawing/2014/main" id="{0D3756DA-DABE-1B88-BC52-006F9A17B656}"/>
                </a:ext>
              </a:extLst>
            </p:cNvPr>
            <p:cNvSpPr/>
            <p:nvPr/>
          </p:nvSpPr>
          <p:spPr>
            <a:xfrm>
              <a:off x="10019759" y="5411948"/>
              <a:ext cx="415113" cy="308965"/>
            </a:xfrm>
            <a:custGeom>
              <a:avLst/>
              <a:gdLst>
                <a:gd name="connsiteX0" fmla="*/ 149652 w 313184"/>
                <a:gd name="connsiteY0" fmla="*/ 200462 h 233100"/>
                <a:gd name="connsiteX1" fmla="*/ 149652 w 313184"/>
                <a:gd name="connsiteY1" fmla="*/ 200462 h 233100"/>
                <a:gd name="connsiteX2" fmla="*/ 146372 w 313184"/>
                <a:gd name="connsiteY2" fmla="*/ 203574 h 233100"/>
                <a:gd name="connsiteX3" fmla="*/ 150157 w 313184"/>
                <a:gd name="connsiteY3" fmla="*/ 203574 h 233100"/>
                <a:gd name="connsiteX4" fmla="*/ 149736 w 313184"/>
                <a:gd name="connsiteY4" fmla="*/ 200462 h 233100"/>
                <a:gd name="connsiteX5" fmla="*/ 149736 w 313184"/>
                <a:gd name="connsiteY5" fmla="*/ 200462 h 233100"/>
                <a:gd name="connsiteX6" fmla="*/ 0 w 313184"/>
                <a:gd name="connsiteY6" fmla="*/ 183217 h 233100"/>
                <a:gd name="connsiteX7" fmla="*/ 0 w 313184"/>
                <a:gd name="connsiteY7" fmla="*/ 183217 h 233100"/>
                <a:gd name="connsiteX8" fmla="*/ 421 w 313184"/>
                <a:gd name="connsiteY8" fmla="*/ 421 h 233100"/>
                <a:gd name="connsiteX9" fmla="*/ 421 w 313184"/>
                <a:gd name="connsiteY9" fmla="*/ 421 h 233100"/>
                <a:gd name="connsiteX10" fmla="*/ 2103 w 313184"/>
                <a:gd name="connsiteY10" fmla="*/ 0 h 233100"/>
                <a:gd name="connsiteX11" fmla="*/ 10515 w 313184"/>
                <a:gd name="connsiteY11" fmla="*/ 2608 h 233100"/>
                <a:gd name="connsiteX12" fmla="*/ 20610 w 313184"/>
                <a:gd name="connsiteY12" fmla="*/ 7907 h 233100"/>
                <a:gd name="connsiteX13" fmla="*/ 25236 w 313184"/>
                <a:gd name="connsiteY13" fmla="*/ 3028 h 233100"/>
                <a:gd name="connsiteX14" fmla="*/ 31966 w 313184"/>
                <a:gd name="connsiteY14" fmla="*/ 4374 h 233100"/>
                <a:gd name="connsiteX15" fmla="*/ 36257 w 313184"/>
                <a:gd name="connsiteY15" fmla="*/ 3954 h 233100"/>
                <a:gd name="connsiteX16" fmla="*/ 43323 w 313184"/>
                <a:gd name="connsiteY16" fmla="*/ 10094 h 233100"/>
                <a:gd name="connsiteX17" fmla="*/ 45089 w 313184"/>
                <a:gd name="connsiteY17" fmla="*/ 12786 h 233100"/>
                <a:gd name="connsiteX18" fmla="*/ 50137 w 313184"/>
                <a:gd name="connsiteY18" fmla="*/ 14974 h 233100"/>
                <a:gd name="connsiteX19" fmla="*/ 49295 w 313184"/>
                <a:gd name="connsiteY19" fmla="*/ 20273 h 233100"/>
                <a:gd name="connsiteX20" fmla="*/ 51819 w 313184"/>
                <a:gd name="connsiteY20" fmla="*/ 25152 h 233100"/>
                <a:gd name="connsiteX21" fmla="*/ 57707 w 313184"/>
                <a:gd name="connsiteY21" fmla="*/ 33564 h 233100"/>
                <a:gd name="connsiteX22" fmla="*/ 60652 w 313184"/>
                <a:gd name="connsiteY22" fmla="*/ 27340 h 233100"/>
                <a:gd name="connsiteX23" fmla="*/ 63596 w 313184"/>
                <a:gd name="connsiteY23" fmla="*/ 22460 h 233100"/>
                <a:gd name="connsiteX24" fmla="*/ 74952 w 313184"/>
                <a:gd name="connsiteY24" fmla="*/ 29611 h 233100"/>
                <a:gd name="connsiteX25" fmla="*/ 83365 w 313184"/>
                <a:gd name="connsiteY25" fmla="*/ 33985 h 233100"/>
                <a:gd name="connsiteX26" fmla="*/ 81598 w 313184"/>
                <a:gd name="connsiteY26" fmla="*/ 39285 h 233100"/>
                <a:gd name="connsiteX27" fmla="*/ 84542 w 313184"/>
                <a:gd name="connsiteY27" fmla="*/ 50305 h 233100"/>
                <a:gd name="connsiteX28" fmla="*/ 90851 w 313184"/>
                <a:gd name="connsiteY28" fmla="*/ 55184 h 233100"/>
                <a:gd name="connsiteX29" fmla="*/ 90851 w 313184"/>
                <a:gd name="connsiteY29" fmla="*/ 58296 h 233100"/>
                <a:gd name="connsiteX30" fmla="*/ 95478 w 313184"/>
                <a:gd name="connsiteY30" fmla="*/ 60483 h 233100"/>
                <a:gd name="connsiteX31" fmla="*/ 102208 w 313184"/>
                <a:gd name="connsiteY31" fmla="*/ 65362 h 233100"/>
                <a:gd name="connsiteX32" fmla="*/ 112723 w 313184"/>
                <a:gd name="connsiteY32" fmla="*/ 74616 h 233100"/>
                <a:gd name="connsiteX33" fmla="*/ 116508 w 313184"/>
                <a:gd name="connsiteY33" fmla="*/ 77728 h 233100"/>
                <a:gd name="connsiteX34" fmla="*/ 124500 w 313184"/>
                <a:gd name="connsiteY34" fmla="*/ 88328 h 233100"/>
                <a:gd name="connsiteX35" fmla="*/ 133333 w 313184"/>
                <a:gd name="connsiteY35" fmla="*/ 94132 h 233100"/>
                <a:gd name="connsiteX36" fmla="*/ 135015 w 313184"/>
                <a:gd name="connsiteY36" fmla="*/ 92786 h 233100"/>
                <a:gd name="connsiteX37" fmla="*/ 139726 w 313184"/>
                <a:gd name="connsiteY37" fmla="*/ 92365 h 233100"/>
                <a:gd name="connsiteX38" fmla="*/ 138464 w 313184"/>
                <a:gd name="connsiteY38" fmla="*/ 88412 h 233100"/>
                <a:gd name="connsiteX39" fmla="*/ 145194 w 313184"/>
                <a:gd name="connsiteY39" fmla="*/ 82187 h 233100"/>
                <a:gd name="connsiteX40" fmla="*/ 152765 w 313184"/>
                <a:gd name="connsiteY40" fmla="*/ 83112 h 233100"/>
                <a:gd name="connsiteX41" fmla="*/ 156971 w 313184"/>
                <a:gd name="connsiteY41" fmla="*/ 81345 h 233100"/>
                <a:gd name="connsiteX42" fmla="*/ 169589 w 313184"/>
                <a:gd name="connsiteY42" fmla="*/ 88412 h 233100"/>
                <a:gd name="connsiteX43" fmla="*/ 171272 w 313184"/>
                <a:gd name="connsiteY43" fmla="*/ 87486 h 233100"/>
                <a:gd name="connsiteX44" fmla="*/ 175478 w 313184"/>
                <a:gd name="connsiteY44" fmla="*/ 88832 h 233100"/>
                <a:gd name="connsiteX45" fmla="*/ 178001 w 313184"/>
                <a:gd name="connsiteY45" fmla="*/ 88412 h 233100"/>
                <a:gd name="connsiteX46" fmla="*/ 180525 w 313184"/>
                <a:gd name="connsiteY46" fmla="*/ 90178 h 233100"/>
                <a:gd name="connsiteX47" fmla="*/ 187675 w 313184"/>
                <a:gd name="connsiteY47" fmla="*/ 90599 h 233100"/>
                <a:gd name="connsiteX48" fmla="*/ 189442 w 313184"/>
                <a:gd name="connsiteY48" fmla="*/ 90599 h 233100"/>
                <a:gd name="connsiteX49" fmla="*/ 189442 w 313184"/>
                <a:gd name="connsiteY49" fmla="*/ 88832 h 233100"/>
                <a:gd name="connsiteX50" fmla="*/ 190704 w 313184"/>
                <a:gd name="connsiteY50" fmla="*/ 87907 h 233100"/>
                <a:gd name="connsiteX51" fmla="*/ 192807 w 313184"/>
                <a:gd name="connsiteY51" fmla="*/ 88328 h 233100"/>
                <a:gd name="connsiteX52" fmla="*/ 194910 w 313184"/>
                <a:gd name="connsiteY52" fmla="*/ 88328 h 233100"/>
                <a:gd name="connsiteX53" fmla="*/ 199116 w 313184"/>
                <a:gd name="connsiteY53" fmla="*/ 90515 h 233100"/>
                <a:gd name="connsiteX54" fmla="*/ 210556 w 313184"/>
                <a:gd name="connsiteY54" fmla="*/ 94048 h 233100"/>
                <a:gd name="connsiteX55" fmla="*/ 214342 w 313184"/>
                <a:gd name="connsiteY55" fmla="*/ 89589 h 233100"/>
                <a:gd name="connsiteX56" fmla="*/ 230325 w 313184"/>
                <a:gd name="connsiteY56" fmla="*/ 86140 h 233100"/>
                <a:gd name="connsiteX57" fmla="*/ 243364 w 313184"/>
                <a:gd name="connsiteY57" fmla="*/ 90515 h 233100"/>
                <a:gd name="connsiteX58" fmla="*/ 246224 w 313184"/>
                <a:gd name="connsiteY58" fmla="*/ 101114 h 233100"/>
                <a:gd name="connsiteX59" fmla="*/ 246224 w 313184"/>
                <a:gd name="connsiteY59" fmla="*/ 105068 h 233100"/>
                <a:gd name="connsiteX60" fmla="*/ 250851 w 313184"/>
                <a:gd name="connsiteY60" fmla="*/ 119621 h 233100"/>
                <a:gd name="connsiteX61" fmla="*/ 250514 w 313184"/>
                <a:gd name="connsiteY61" fmla="*/ 122733 h 233100"/>
                <a:gd name="connsiteX62" fmla="*/ 254720 w 313184"/>
                <a:gd name="connsiteY62" fmla="*/ 126182 h 233100"/>
                <a:gd name="connsiteX63" fmla="*/ 263132 w 313184"/>
                <a:gd name="connsiteY63" fmla="*/ 130641 h 233100"/>
                <a:gd name="connsiteX64" fmla="*/ 313185 w 313184"/>
                <a:gd name="connsiteY64" fmla="*/ 157139 h 233100"/>
                <a:gd name="connsiteX65" fmla="*/ 313185 w 313184"/>
                <a:gd name="connsiteY65" fmla="*/ 157139 h 233100"/>
                <a:gd name="connsiteX66" fmla="*/ 311082 w 313184"/>
                <a:gd name="connsiteY66" fmla="*/ 159326 h 233100"/>
                <a:gd name="connsiteX67" fmla="*/ 307717 w 313184"/>
                <a:gd name="connsiteY67" fmla="*/ 155877 h 233100"/>
                <a:gd name="connsiteX68" fmla="*/ 305614 w 313184"/>
                <a:gd name="connsiteY68" fmla="*/ 156719 h 233100"/>
                <a:gd name="connsiteX69" fmla="*/ 305614 w 313184"/>
                <a:gd name="connsiteY69" fmla="*/ 159831 h 233100"/>
                <a:gd name="connsiteX70" fmla="*/ 295099 w 313184"/>
                <a:gd name="connsiteY70" fmla="*/ 168664 h 233100"/>
                <a:gd name="connsiteX71" fmla="*/ 293837 w 313184"/>
                <a:gd name="connsiteY71" fmla="*/ 168664 h 233100"/>
                <a:gd name="connsiteX72" fmla="*/ 287948 w 313184"/>
                <a:gd name="connsiteY72" fmla="*/ 169589 h 233100"/>
                <a:gd name="connsiteX73" fmla="*/ 283742 w 313184"/>
                <a:gd name="connsiteY73" fmla="*/ 168664 h 233100"/>
                <a:gd name="connsiteX74" fmla="*/ 281555 w 313184"/>
                <a:gd name="connsiteY74" fmla="*/ 169589 h 233100"/>
                <a:gd name="connsiteX75" fmla="*/ 279116 w 313184"/>
                <a:gd name="connsiteY75" fmla="*/ 168664 h 233100"/>
                <a:gd name="connsiteX76" fmla="*/ 265572 w 313184"/>
                <a:gd name="connsiteY76" fmla="*/ 170851 h 233100"/>
                <a:gd name="connsiteX77" fmla="*/ 261787 w 313184"/>
                <a:gd name="connsiteY77" fmla="*/ 169589 h 233100"/>
                <a:gd name="connsiteX78" fmla="*/ 255898 w 313184"/>
                <a:gd name="connsiteY78" fmla="*/ 171356 h 233100"/>
                <a:gd name="connsiteX79" fmla="*/ 250514 w 313184"/>
                <a:gd name="connsiteY79" fmla="*/ 172702 h 233100"/>
                <a:gd name="connsiteX80" fmla="*/ 249252 w 313184"/>
                <a:gd name="connsiteY80" fmla="*/ 170514 h 233100"/>
                <a:gd name="connsiteX81" fmla="*/ 241345 w 313184"/>
                <a:gd name="connsiteY81" fmla="*/ 173963 h 233100"/>
                <a:gd name="connsiteX82" fmla="*/ 238401 w 313184"/>
                <a:gd name="connsiteY82" fmla="*/ 171776 h 233100"/>
                <a:gd name="connsiteX83" fmla="*/ 232092 w 313184"/>
                <a:gd name="connsiteY83" fmla="*/ 172702 h 233100"/>
                <a:gd name="connsiteX84" fmla="*/ 232092 w 313184"/>
                <a:gd name="connsiteY84" fmla="*/ 173963 h 233100"/>
                <a:gd name="connsiteX85" fmla="*/ 233353 w 313184"/>
                <a:gd name="connsiteY85" fmla="*/ 178422 h 233100"/>
                <a:gd name="connsiteX86" fmla="*/ 226203 w 313184"/>
                <a:gd name="connsiteY86" fmla="*/ 183637 h 233100"/>
                <a:gd name="connsiteX87" fmla="*/ 226203 w 313184"/>
                <a:gd name="connsiteY87" fmla="*/ 184563 h 233100"/>
                <a:gd name="connsiteX88" fmla="*/ 231671 w 313184"/>
                <a:gd name="connsiteY88" fmla="*/ 181871 h 233100"/>
                <a:gd name="connsiteX89" fmla="*/ 221997 w 313184"/>
                <a:gd name="connsiteY89" fmla="*/ 193816 h 233100"/>
                <a:gd name="connsiteX90" fmla="*/ 211902 w 313184"/>
                <a:gd name="connsiteY90" fmla="*/ 203490 h 233100"/>
                <a:gd name="connsiteX91" fmla="*/ 206434 w 313184"/>
                <a:gd name="connsiteY91" fmla="*/ 207528 h 233100"/>
                <a:gd name="connsiteX92" fmla="*/ 196845 w 313184"/>
                <a:gd name="connsiteY92" fmla="*/ 209295 h 233100"/>
                <a:gd name="connsiteX93" fmla="*/ 185825 w 313184"/>
                <a:gd name="connsiteY93" fmla="*/ 212744 h 233100"/>
                <a:gd name="connsiteX94" fmla="*/ 182544 w 313184"/>
                <a:gd name="connsiteY94" fmla="*/ 212744 h 233100"/>
                <a:gd name="connsiteX95" fmla="*/ 185068 w 313184"/>
                <a:gd name="connsiteY95" fmla="*/ 218548 h 233100"/>
                <a:gd name="connsiteX96" fmla="*/ 187171 w 313184"/>
                <a:gd name="connsiteY96" fmla="*/ 221660 h 233100"/>
                <a:gd name="connsiteX97" fmla="*/ 191377 w 313184"/>
                <a:gd name="connsiteY97" fmla="*/ 219894 h 233100"/>
                <a:gd name="connsiteX98" fmla="*/ 191377 w 313184"/>
                <a:gd name="connsiteY98" fmla="*/ 221156 h 233100"/>
                <a:gd name="connsiteX99" fmla="*/ 190535 w 313184"/>
                <a:gd name="connsiteY99" fmla="*/ 233101 h 233100"/>
                <a:gd name="connsiteX100" fmla="*/ 186329 w 313184"/>
                <a:gd name="connsiteY100" fmla="*/ 226035 h 233100"/>
                <a:gd name="connsiteX101" fmla="*/ 183385 w 313184"/>
                <a:gd name="connsiteY101" fmla="*/ 218969 h 233100"/>
                <a:gd name="connsiteX102" fmla="*/ 177076 w 313184"/>
                <a:gd name="connsiteY102" fmla="*/ 217202 h 233100"/>
                <a:gd name="connsiteX103" fmla="*/ 174973 w 313184"/>
                <a:gd name="connsiteY103" fmla="*/ 222501 h 233100"/>
                <a:gd name="connsiteX104" fmla="*/ 171608 w 313184"/>
                <a:gd name="connsiteY104" fmla="*/ 215856 h 233100"/>
                <a:gd name="connsiteX105" fmla="*/ 169505 w 313184"/>
                <a:gd name="connsiteY105" fmla="*/ 213164 h 233100"/>
                <a:gd name="connsiteX106" fmla="*/ 170767 w 313184"/>
                <a:gd name="connsiteY106" fmla="*/ 211902 h 233100"/>
                <a:gd name="connsiteX107" fmla="*/ 169505 w 313184"/>
                <a:gd name="connsiteY107" fmla="*/ 208790 h 233100"/>
                <a:gd name="connsiteX108" fmla="*/ 164878 w 313184"/>
                <a:gd name="connsiteY108" fmla="*/ 210977 h 233100"/>
                <a:gd name="connsiteX109" fmla="*/ 161934 w 313184"/>
                <a:gd name="connsiteY109" fmla="*/ 211398 h 233100"/>
                <a:gd name="connsiteX110" fmla="*/ 158653 w 313184"/>
                <a:gd name="connsiteY110" fmla="*/ 207023 h 233100"/>
                <a:gd name="connsiteX111" fmla="*/ 154784 w 313184"/>
                <a:gd name="connsiteY111" fmla="*/ 201723 h 233100"/>
                <a:gd name="connsiteX112" fmla="*/ 155625 w 313184"/>
                <a:gd name="connsiteY112" fmla="*/ 199032 h 233100"/>
                <a:gd name="connsiteX113" fmla="*/ 155204 w 313184"/>
                <a:gd name="connsiteY113" fmla="*/ 198106 h 233100"/>
                <a:gd name="connsiteX114" fmla="*/ 154784 w 313184"/>
                <a:gd name="connsiteY114" fmla="*/ 198106 h 233100"/>
                <a:gd name="connsiteX115" fmla="*/ 151924 w 313184"/>
                <a:gd name="connsiteY115" fmla="*/ 198527 h 233100"/>
                <a:gd name="connsiteX116" fmla="*/ 148054 w 313184"/>
                <a:gd name="connsiteY116" fmla="*/ 198106 h 233100"/>
                <a:gd name="connsiteX117" fmla="*/ 141745 w 313184"/>
                <a:gd name="connsiteY117" fmla="*/ 199957 h 233100"/>
                <a:gd name="connsiteX118" fmla="*/ 137960 w 313184"/>
                <a:gd name="connsiteY118" fmla="*/ 202649 h 233100"/>
                <a:gd name="connsiteX119" fmla="*/ 134090 w 313184"/>
                <a:gd name="connsiteY119" fmla="*/ 198190 h 233100"/>
                <a:gd name="connsiteX120" fmla="*/ 139137 w 313184"/>
                <a:gd name="connsiteY120" fmla="*/ 194741 h 233100"/>
                <a:gd name="connsiteX121" fmla="*/ 144184 w 313184"/>
                <a:gd name="connsiteY121" fmla="*/ 185068 h 233100"/>
                <a:gd name="connsiteX122" fmla="*/ 140820 w 313184"/>
                <a:gd name="connsiteY122" fmla="*/ 177076 h 233100"/>
                <a:gd name="connsiteX123" fmla="*/ 137539 w 313184"/>
                <a:gd name="connsiteY123" fmla="*/ 173122 h 233100"/>
                <a:gd name="connsiteX124" fmla="*/ 134174 w 313184"/>
                <a:gd name="connsiteY124" fmla="*/ 176151 h 233100"/>
                <a:gd name="connsiteX125" fmla="*/ 126603 w 313184"/>
                <a:gd name="connsiteY125" fmla="*/ 180609 h 233100"/>
                <a:gd name="connsiteX126" fmla="*/ 122397 w 313184"/>
                <a:gd name="connsiteY126" fmla="*/ 183637 h 233100"/>
                <a:gd name="connsiteX127" fmla="*/ 119873 w 313184"/>
                <a:gd name="connsiteY127" fmla="*/ 186329 h 233100"/>
                <a:gd name="connsiteX128" fmla="*/ 123659 w 313184"/>
                <a:gd name="connsiteY128" fmla="*/ 189021 h 233100"/>
                <a:gd name="connsiteX129" fmla="*/ 129547 w 313184"/>
                <a:gd name="connsiteY129" fmla="*/ 185909 h 233100"/>
                <a:gd name="connsiteX130" fmla="*/ 130388 w 313184"/>
                <a:gd name="connsiteY130" fmla="*/ 187255 h 233100"/>
                <a:gd name="connsiteX131" fmla="*/ 123995 w 313184"/>
                <a:gd name="connsiteY131" fmla="*/ 192554 h 233100"/>
                <a:gd name="connsiteX132" fmla="*/ 110536 w 313184"/>
                <a:gd name="connsiteY132" fmla="*/ 200462 h 233100"/>
                <a:gd name="connsiteX133" fmla="*/ 98338 w 313184"/>
                <a:gd name="connsiteY133" fmla="*/ 211986 h 233100"/>
                <a:gd name="connsiteX134" fmla="*/ 94553 w 313184"/>
                <a:gd name="connsiteY134" fmla="*/ 213753 h 233100"/>
                <a:gd name="connsiteX135" fmla="*/ 90683 w 313184"/>
                <a:gd name="connsiteY135" fmla="*/ 219557 h 233100"/>
                <a:gd name="connsiteX136" fmla="*/ 81430 w 313184"/>
                <a:gd name="connsiteY136" fmla="*/ 214678 h 233100"/>
                <a:gd name="connsiteX137" fmla="*/ 80168 w 313184"/>
                <a:gd name="connsiteY137" fmla="*/ 215604 h 233100"/>
                <a:gd name="connsiteX138" fmla="*/ 72597 w 313184"/>
                <a:gd name="connsiteY138" fmla="*/ 210304 h 233100"/>
                <a:gd name="connsiteX139" fmla="*/ 64185 w 313184"/>
                <a:gd name="connsiteY139" fmla="*/ 207192 h 233100"/>
                <a:gd name="connsiteX140" fmla="*/ 49464 w 313184"/>
                <a:gd name="connsiteY140" fmla="*/ 197013 h 233100"/>
                <a:gd name="connsiteX141" fmla="*/ 42734 w 313184"/>
                <a:gd name="connsiteY141" fmla="*/ 198779 h 233100"/>
                <a:gd name="connsiteX142" fmla="*/ 39790 w 313184"/>
                <a:gd name="connsiteY142" fmla="*/ 196592 h 233100"/>
                <a:gd name="connsiteX143" fmla="*/ 29274 w 313184"/>
                <a:gd name="connsiteY143" fmla="*/ 192218 h 233100"/>
                <a:gd name="connsiteX144" fmla="*/ 26414 w 313184"/>
                <a:gd name="connsiteY144" fmla="*/ 193480 h 233100"/>
                <a:gd name="connsiteX145" fmla="*/ 22208 w 313184"/>
                <a:gd name="connsiteY145" fmla="*/ 195330 h 233100"/>
                <a:gd name="connsiteX146" fmla="*/ 22545 w 313184"/>
                <a:gd name="connsiteY146" fmla="*/ 197517 h 233100"/>
                <a:gd name="connsiteX147" fmla="*/ 22545 w 313184"/>
                <a:gd name="connsiteY147" fmla="*/ 198779 h 233100"/>
                <a:gd name="connsiteX148" fmla="*/ 21283 w 313184"/>
                <a:gd name="connsiteY148" fmla="*/ 198779 h 233100"/>
                <a:gd name="connsiteX149" fmla="*/ 12450 w 313184"/>
                <a:gd name="connsiteY149" fmla="*/ 190872 h 233100"/>
                <a:gd name="connsiteX150" fmla="*/ 252 w 313184"/>
                <a:gd name="connsiteY150" fmla="*/ 183301 h 233100"/>
                <a:gd name="connsiteX151" fmla="*/ 252 w 313184"/>
                <a:gd name="connsiteY151" fmla="*/ 183301 h 23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313184" h="233100">
                  <a:moveTo>
                    <a:pt x="149652" y="200462"/>
                  </a:moveTo>
                  <a:lnTo>
                    <a:pt x="149652" y="200462"/>
                  </a:lnTo>
                  <a:cubicBezTo>
                    <a:pt x="147970" y="200882"/>
                    <a:pt x="147129" y="202312"/>
                    <a:pt x="146372" y="203574"/>
                  </a:cubicBezTo>
                  <a:lnTo>
                    <a:pt x="150157" y="203574"/>
                  </a:lnTo>
                  <a:cubicBezTo>
                    <a:pt x="150157" y="202733"/>
                    <a:pt x="149736" y="201808"/>
                    <a:pt x="149736" y="200462"/>
                  </a:cubicBezTo>
                  <a:lnTo>
                    <a:pt x="149736" y="200462"/>
                  </a:lnTo>
                  <a:close/>
                  <a:moveTo>
                    <a:pt x="0" y="183217"/>
                  </a:moveTo>
                  <a:lnTo>
                    <a:pt x="0" y="183217"/>
                  </a:lnTo>
                  <a:lnTo>
                    <a:pt x="421" y="421"/>
                  </a:lnTo>
                  <a:lnTo>
                    <a:pt x="421" y="421"/>
                  </a:lnTo>
                  <a:lnTo>
                    <a:pt x="2103" y="0"/>
                  </a:lnTo>
                  <a:cubicBezTo>
                    <a:pt x="5047" y="1766"/>
                    <a:pt x="7150" y="1262"/>
                    <a:pt x="10515" y="2608"/>
                  </a:cubicBezTo>
                  <a:cubicBezTo>
                    <a:pt x="14805" y="4458"/>
                    <a:pt x="15983" y="7907"/>
                    <a:pt x="20610" y="7907"/>
                  </a:cubicBezTo>
                  <a:cubicBezTo>
                    <a:pt x="23133" y="7907"/>
                    <a:pt x="22713" y="3028"/>
                    <a:pt x="25236" y="3028"/>
                  </a:cubicBezTo>
                  <a:cubicBezTo>
                    <a:pt x="27760" y="3028"/>
                    <a:pt x="29443" y="4374"/>
                    <a:pt x="31966" y="4374"/>
                  </a:cubicBezTo>
                  <a:cubicBezTo>
                    <a:pt x="33733" y="4374"/>
                    <a:pt x="34490" y="3954"/>
                    <a:pt x="36257" y="3954"/>
                  </a:cubicBezTo>
                  <a:cubicBezTo>
                    <a:pt x="39537" y="3954"/>
                    <a:pt x="41220" y="7066"/>
                    <a:pt x="43323" y="10094"/>
                  </a:cubicBezTo>
                  <a:cubicBezTo>
                    <a:pt x="43743" y="11020"/>
                    <a:pt x="44164" y="11945"/>
                    <a:pt x="45089" y="12786"/>
                  </a:cubicBezTo>
                  <a:cubicBezTo>
                    <a:pt x="46772" y="14132"/>
                    <a:pt x="50137" y="12786"/>
                    <a:pt x="50137" y="14974"/>
                  </a:cubicBezTo>
                  <a:cubicBezTo>
                    <a:pt x="50137" y="16824"/>
                    <a:pt x="49295" y="18086"/>
                    <a:pt x="49295" y="20273"/>
                  </a:cubicBezTo>
                  <a:cubicBezTo>
                    <a:pt x="49295" y="22460"/>
                    <a:pt x="50978" y="23386"/>
                    <a:pt x="51819" y="25152"/>
                  </a:cubicBezTo>
                  <a:cubicBezTo>
                    <a:pt x="53501" y="29190"/>
                    <a:pt x="53922" y="33564"/>
                    <a:pt x="57707" y="33564"/>
                  </a:cubicBezTo>
                  <a:cubicBezTo>
                    <a:pt x="60231" y="33564"/>
                    <a:pt x="60652" y="30115"/>
                    <a:pt x="60652" y="27340"/>
                  </a:cubicBezTo>
                  <a:cubicBezTo>
                    <a:pt x="61072" y="25152"/>
                    <a:pt x="63175" y="24732"/>
                    <a:pt x="63596" y="22460"/>
                  </a:cubicBezTo>
                  <a:cubicBezTo>
                    <a:pt x="65278" y="27760"/>
                    <a:pt x="70326" y="28265"/>
                    <a:pt x="74952" y="29611"/>
                  </a:cubicBezTo>
                  <a:cubicBezTo>
                    <a:pt x="78738" y="30452"/>
                    <a:pt x="80000" y="32639"/>
                    <a:pt x="83365" y="33985"/>
                  </a:cubicBezTo>
                  <a:cubicBezTo>
                    <a:pt x="82944" y="36172"/>
                    <a:pt x="81598" y="37098"/>
                    <a:pt x="81598" y="39285"/>
                  </a:cubicBezTo>
                  <a:cubicBezTo>
                    <a:pt x="81598" y="43659"/>
                    <a:pt x="81598" y="47192"/>
                    <a:pt x="84542" y="50305"/>
                  </a:cubicBezTo>
                  <a:cubicBezTo>
                    <a:pt x="86645" y="52492"/>
                    <a:pt x="90851" y="52071"/>
                    <a:pt x="90851" y="55184"/>
                  </a:cubicBezTo>
                  <a:lnTo>
                    <a:pt x="90851" y="58296"/>
                  </a:lnTo>
                  <a:cubicBezTo>
                    <a:pt x="90851" y="60483"/>
                    <a:pt x="93796" y="60063"/>
                    <a:pt x="95478" y="60483"/>
                  </a:cubicBezTo>
                  <a:cubicBezTo>
                    <a:pt x="98422" y="61409"/>
                    <a:pt x="99684" y="63596"/>
                    <a:pt x="102208" y="65362"/>
                  </a:cubicBezTo>
                  <a:cubicBezTo>
                    <a:pt x="106919" y="68475"/>
                    <a:pt x="110199" y="69737"/>
                    <a:pt x="112723" y="74616"/>
                  </a:cubicBezTo>
                  <a:cubicBezTo>
                    <a:pt x="113564" y="76467"/>
                    <a:pt x="115247" y="76467"/>
                    <a:pt x="116508" y="77728"/>
                  </a:cubicBezTo>
                  <a:cubicBezTo>
                    <a:pt x="119032" y="82103"/>
                    <a:pt x="120378" y="85215"/>
                    <a:pt x="124500" y="88328"/>
                  </a:cubicBezTo>
                  <a:cubicBezTo>
                    <a:pt x="127444" y="91020"/>
                    <a:pt x="129127" y="94132"/>
                    <a:pt x="133333" y="94132"/>
                  </a:cubicBezTo>
                  <a:cubicBezTo>
                    <a:pt x="134174" y="94132"/>
                    <a:pt x="134174" y="93207"/>
                    <a:pt x="135015" y="92786"/>
                  </a:cubicBezTo>
                  <a:cubicBezTo>
                    <a:pt x="136782" y="92365"/>
                    <a:pt x="137960" y="92786"/>
                    <a:pt x="139726" y="92365"/>
                  </a:cubicBezTo>
                  <a:cubicBezTo>
                    <a:pt x="139305" y="90599"/>
                    <a:pt x="138464" y="90178"/>
                    <a:pt x="138464" y="88412"/>
                  </a:cubicBezTo>
                  <a:cubicBezTo>
                    <a:pt x="138464" y="84879"/>
                    <a:pt x="141829" y="82187"/>
                    <a:pt x="145194" y="82187"/>
                  </a:cubicBezTo>
                  <a:cubicBezTo>
                    <a:pt x="148138" y="82187"/>
                    <a:pt x="149821" y="83112"/>
                    <a:pt x="152765" y="83112"/>
                  </a:cubicBezTo>
                  <a:cubicBezTo>
                    <a:pt x="154868" y="83112"/>
                    <a:pt x="155289" y="81345"/>
                    <a:pt x="156971" y="81345"/>
                  </a:cubicBezTo>
                  <a:cubicBezTo>
                    <a:pt x="162859" y="81345"/>
                    <a:pt x="164121" y="88412"/>
                    <a:pt x="169589" y="88412"/>
                  </a:cubicBezTo>
                  <a:cubicBezTo>
                    <a:pt x="170430" y="88412"/>
                    <a:pt x="170430" y="87486"/>
                    <a:pt x="171272" y="87486"/>
                  </a:cubicBezTo>
                  <a:cubicBezTo>
                    <a:pt x="173038" y="87486"/>
                    <a:pt x="173375" y="88832"/>
                    <a:pt x="175478" y="88832"/>
                  </a:cubicBezTo>
                  <a:cubicBezTo>
                    <a:pt x="176319" y="88832"/>
                    <a:pt x="176740" y="88412"/>
                    <a:pt x="178001" y="88412"/>
                  </a:cubicBezTo>
                  <a:cubicBezTo>
                    <a:pt x="179263" y="88412"/>
                    <a:pt x="179768" y="89674"/>
                    <a:pt x="180525" y="90178"/>
                  </a:cubicBezTo>
                  <a:cubicBezTo>
                    <a:pt x="183049" y="91104"/>
                    <a:pt x="185152" y="90599"/>
                    <a:pt x="187675" y="90599"/>
                  </a:cubicBezTo>
                  <a:lnTo>
                    <a:pt x="189442" y="90599"/>
                  </a:lnTo>
                  <a:lnTo>
                    <a:pt x="189442" y="88832"/>
                  </a:lnTo>
                  <a:cubicBezTo>
                    <a:pt x="189778" y="88412"/>
                    <a:pt x="190199" y="87907"/>
                    <a:pt x="190704" y="87907"/>
                  </a:cubicBezTo>
                  <a:cubicBezTo>
                    <a:pt x="191545" y="87907"/>
                    <a:pt x="191966" y="88328"/>
                    <a:pt x="192807" y="88328"/>
                  </a:cubicBezTo>
                  <a:lnTo>
                    <a:pt x="194910" y="88328"/>
                  </a:lnTo>
                  <a:cubicBezTo>
                    <a:pt x="196676" y="88328"/>
                    <a:pt x="197433" y="90094"/>
                    <a:pt x="199116" y="90515"/>
                  </a:cubicBezTo>
                  <a:cubicBezTo>
                    <a:pt x="203406" y="92281"/>
                    <a:pt x="205930" y="94048"/>
                    <a:pt x="210556" y="94048"/>
                  </a:cubicBezTo>
                  <a:cubicBezTo>
                    <a:pt x="212660" y="94048"/>
                    <a:pt x="212239" y="90010"/>
                    <a:pt x="214342" y="89589"/>
                  </a:cubicBezTo>
                  <a:cubicBezTo>
                    <a:pt x="220651" y="87823"/>
                    <a:pt x="224016" y="86140"/>
                    <a:pt x="230325" y="86140"/>
                  </a:cubicBezTo>
                  <a:cubicBezTo>
                    <a:pt x="235793" y="86140"/>
                    <a:pt x="239158" y="86982"/>
                    <a:pt x="243364" y="90515"/>
                  </a:cubicBezTo>
                  <a:cubicBezTo>
                    <a:pt x="246645" y="92702"/>
                    <a:pt x="246224" y="96656"/>
                    <a:pt x="246224" y="101114"/>
                  </a:cubicBezTo>
                  <a:lnTo>
                    <a:pt x="246224" y="105068"/>
                  </a:lnTo>
                  <a:cubicBezTo>
                    <a:pt x="246224" y="111293"/>
                    <a:pt x="250851" y="113480"/>
                    <a:pt x="250851" y="119621"/>
                  </a:cubicBezTo>
                  <a:cubicBezTo>
                    <a:pt x="250851" y="120967"/>
                    <a:pt x="250514" y="121387"/>
                    <a:pt x="250514" y="122733"/>
                  </a:cubicBezTo>
                  <a:cubicBezTo>
                    <a:pt x="250514" y="124921"/>
                    <a:pt x="252617" y="125425"/>
                    <a:pt x="254720" y="126182"/>
                  </a:cubicBezTo>
                  <a:cubicBezTo>
                    <a:pt x="258001" y="127528"/>
                    <a:pt x="259768" y="129295"/>
                    <a:pt x="263132" y="130641"/>
                  </a:cubicBezTo>
                  <a:lnTo>
                    <a:pt x="313185" y="157139"/>
                  </a:lnTo>
                  <a:lnTo>
                    <a:pt x="313185" y="157139"/>
                  </a:lnTo>
                  <a:cubicBezTo>
                    <a:pt x="313185" y="158065"/>
                    <a:pt x="312428" y="159326"/>
                    <a:pt x="311082" y="159326"/>
                  </a:cubicBezTo>
                  <a:cubicBezTo>
                    <a:pt x="308979" y="159326"/>
                    <a:pt x="308137" y="157560"/>
                    <a:pt x="307717" y="155877"/>
                  </a:cubicBezTo>
                  <a:cubicBezTo>
                    <a:pt x="306960" y="156298"/>
                    <a:pt x="306455" y="156719"/>
                    <a:pt x="305614" y="156719"/>
                  </a:cubicBezTo>
                  <a:cubicBezTo>
                    <a:pt x="302754" y="154027"/>
                    <a:pt x="303090" y="154531"/>
                    <a:pt x="305614" y="159831"/>
                  </a:cubicBezTo>
                  <a:cubicBezTo>
                    <a:pt x="305614" y="165635"/>
                    <a:pt x="299725" y="166393"/>
                    <a:pt x="295099" y="168664"/>
                  </a:cubicBezTo>
                  <a:lnTo>
                    <a:pt x="293837" y="168664"/>
                  </a:lnTo>
                  <a:cubicBezTo>
                    <a:pt x="291734" y="169084"/>
                    <a:pt x="290556" y="169589"/>
                    <a:pt x="287948" y="169589"/>
                  </a:cubicBezTo>
                  <a:cubicBezTo>
                    <a:pt x="286266" y="169589"/>
                    <a:pt x="285425" y="168664"/>
                    <a:pt x="283742" y="168664"/>
                  </a:cubicBezTo>
                  <a:cubicBezTo>
                    <a:pt x="282901" y="168664"/>
                    <a:pt x="282480" y="169589"/>
                    <a:pt x="281555" y="169589"/>
                  </a:cubicBezTo>
                  <a:cubicBezTo>
                    <a:pt x="280293" y="169589"/>
                    <a:pt x="280293" y="168664"/>
                    <a:pt x="279116" y="168664"/>
                  </a:cubicBezTo>
                  <a:cubicBezTo>
                    <a:pt x="274068" y="168664"/>
                    <a:pt x="271124" y="170851"/>
                    <a:pt x="265572" y="170851"/>
                  </a:cubicBezTo>
                  <a:cubicBezTo>
                    <a:pt x="263890" y="170851"/>
                    <a:pt x="262628" y="170851"/>
                    <a:pt x="261787" y="169589"/>
                  </a:cubicBezTo>
                  <a:cubicBezTo>
                    <a:pt x="260525" y="171356"/>
                    <a:pt x="258422" y="170851"/>
                    <a:pt x="255898" y="171356"/>
                  </a:cubicBezTo>
                  <a:cubicBezTo>
                    <a:pt x="253795" y="171776"/>
                    <a:pt x="252617" y="172702"/>
                    <a:pt x="250514" y="172702"/>
                  </a:cubicBezTo>
                  <a:cubicBezTo>
                    <a:pt x="249673" y="172702"/>
                    <a:pt x="249673" y="171356"/>
                    <a:pt x="249252" y="170514"/>
                  </a:cubicBezTo>
                  <a:cubicBezTo>
                    <a:pt x="247991" y="173543"/>
                    <a:pt x="244626" y="173963"/>
                    <a:pt x="241345" y="173963"/>
                  </a:cubicBezTo>
                  <a:cubicBezTo>
                    <a:pt x="240083" y="173963"/>
                    <a:pt x="239578" y="171776"/>
                    <a:pt x="238401" y="171776"/>
                  </a:cubicBezTo>
                  <a:cubicBezTo>
                    <a:pt x="235877" y="171776"/>
                    <a:pt x="234531" y="172197"/>
                    <a:pt x="232092" y="172702"/>
                  </a:cubicBezTo>
                  <a:lnTo>
                    <a:pt x="232092" y="173963"/>
                  </a:lnTo>
                  <a:cubicBezTo>
                    <a:pt x="232092" y="175730"/>
                    <a:pt x="232428" y="177076"/>
                    <a:pt x="233353" y="178422"/>
                  </a:cubicBezTo>
                  <a:cubicBezTo>
                    <a:pt x="230409" y="180188"/>
                    <a:pt x="226203" y="180188"/>
                    <a:pt x="226203" y="183637"/>
                  </a:cubicBezTo>
                  <a:lnTo>
                    <a:pt x="226203" y="184563"/>
                  </a:lnTo>
                  <a:cubicBezTo>
                    <a:pt x="228306" y="183217"/>
                    <a:pt x="229147" y="182376"/>
                    <a:pt x="231671" y="181871"/>
                  </a:cubicBezTo>
                  <a:cubicBezTo>
                    <a:pt x="227381" y="186245"/>
                    <a:pt x="226203" y="189358"/>
                    <a:pt x="221997" y="193816"/>
                  </a:cubicBezTo>
                  <a:cubicBezTo>
                    <a:pt x="218127" y="197854"/>
                    <a:pt x="216108" y="200041"/>
                    <a:pt x="211902" y="203490"/>
                  </a:cubicBezTo>
                  <a:cubicBezTo>
                    <a:pt x="209799" y="205341"/>
                    <a:pt x="208958" y="206603"/>
                    <a:pt x="206434" y="207528"/>
                  </a:cubicBezTo>
                  <a:cubicBezTo>
                    <a:pt x="202649" y="208790"/>
                    <a:pt x="200125" y="207949"/>
                    <a:pt x="196845" y="209295"/>
                  </a:cubicBezTo>
                  <a:cubicBezTo>
                    <a:pt x="192554" y="211061"/>
                    <a:pt x="190031" y="212744"/>
                    <a:pt x="185825" y="212744"/>
                  </a:cubicBezTo>
                  <a:lnTo>
                    <a:pt x="182544" y="212744"/>
                  </a:lnTo>
                  <a:cubicBezTo>
                    <a:pt x="182880" y="215015"/>
                    <a:pt x="183806" y="216277"/>
                    <a:pt x="185068" y="218548"/>
                  </a:cubicBezTo>
                  <a:cubicBezTo>
                    <a:pt x="185404" y="219894"/>
                    <a:pt x="185825" y="221660"/>
                    <a:pt x="187171" y="221660"/>
                  </a:cubicBezTo>
                  <a:cubicBezTo>
                    <a:pt x="188853" y="221660"/>
                    <a:pt x="190031" y="220735"/>
                    <a:pt x="191377" y="219894"/>
                  </a:cubicBezTo>
                  <a:lnTo>
                    <a:pt x="191377" y="221156"/>
                  </a:lnTo>
                  <a:cubicBezTo>
                    <a:pt x="191377" y="226035"/>
                    <a:pt x="190956" y="228642"/>
                    <a:pt x="190535" y="233101"/>
                  </a:cubicBezTo>
                  <a:cubicBezTo>
                    <a:pt x="187591" y="232260"/>
                    <a:pt x="187591" y="229147"/>
                    <a:pt x="186329" y="226035"/>
                  </a:cubicBezTo>
                  <a:cubicBezTo>
                    <a:pt x="185068" y="223343"/>
                    <a:pt x="183385" y="222081"/>
                    <a:pt x="183385" y="218969"/>
                  </a:cubicBezTo>
                  <a:cubicBezTo>
                    <a:pt x="180861" y="218548"/>
                    <a:pt x="179600" y="217202"/>
                    <a:pt x="177076" y="217202"/>
                  </a:cubicBezTo>
                  <a:cubicBezTo>
                    <a:pt x="174973" y="217202"/>
                    <a:pt x="175394" y="220230"/>
                    <a:pt x="174973" y="222501"/>
                  </a:cubicBezTo>
                  <a:cubicBezTo>
                    <a:pt x="172870" y="220230"/>
                    <a:pt x="172870" y="218464"/>
                    <a:pt x="171608" y="215856"/>
                  </a:cubicBezTo>
                  <a:cubicBezTo>
                    <a:pt x="170851" y="215015"/>
                    <a:pt x="169505" y="214594"/>
                    <a:pt x="169505" y="213164"/>
                  </a:cubicBezTo>
                  <a:cubicBezTo>
                    <a:pt x="169505" y="212323"/>
                    <a:pt x="170346" y="212323"/>
                    <a:pt x="170767" y="211902"/>
                  </a:cubicBezTo>
                  <a:cubicBezTo>
                    <a:pt x="170346" y="210556"/>
                    <a:pt x="170767" y="208790"/>
                    <a:pt x="169505" y="208790"/>
                  </a:cubicBezTo>
                  <a:cubicBezTo>
                    <a:pt x="167402" y="208790"/>
                    <a:pt x="166561" y="210556"/>
                    <a:pt x="164878" y="210977"/>
                  </a:cubicBezTo>
                  <a:cubicBezTo>
                    <a:pt x="163617" y="211398"/>
                    <a:pt x="163196" y="211398"/>
                    <a:pt x="161934" y="211398"/>
                  </a:cubicBezTo>
                  <a:cubicBezTo>
                    <a:pt x="159831" y="211398"/>
                    <a:pt x="159831" y="209210"/>
                    <a:pt x="158653" y="207023"/>
                  </a:cubicBezTo>
                  <a:cubicBezTo>
                    <a:pt x="156887" y="205257"/>
                    <a:pt x="154784" y="204331"/>
                    <a:pt x="154784" y="201723"/>
                  </a:cubicBezTo>
                  <a:cubicBezTo>
                    <a:pt x="154784" y="200798"/>
                    <a:pt x="155625" y="199957"/>
                    <a:pt x="155625" y="199032"/>
                  </a:cubicBezTo>
                  <a:cubicBezTo>
                    <a:pt x="155625" y="198611"/>
                    <a:pt x="155204" y="198611"/>
                    <a:pt x="155204" y="198106"/>
                  </a:cubicBezTo>
                  <a:lnTo>
                    <a:pt x="154784" y="198106"/>
                  </a:lnTo>
                  <a:cubicBezTo>
                    <a:pt x="153522" y="198106"/>
                    <a:pt x="153101" y="198527"/>
                    <a:pt x="151924" y="198527"/>
                  </a:cubicBezTo>
                  <a:lnTo>
                    <a:pt x="148054" y="198106"/>
                  </a:lnTo>
                  <a:cubicBezTo>
                    <a:pt x="145530" y="198106"/>
                    <a:pt x="143848" y="198106"/>
                    <a:pt x="141745" y="199957"/>
                  </a:cubicBezTo>
                  <a:cubicBezTo>
                    <a:pt x="140063" y="200798"/>
                    <a:pt x="139642" y="202649"/>
                    <a:pt x="137960" y="202649"/>
                  </a:cubicBezTo>
                  <a:cubicBezTo>
                    <a:pt x="135352" y="202649"/>
                    <a:pt x="134090" y="200378"/>
                    <a:pt x="134090" y="198190"/>
                  </a:cubicBezTo>
                  <a:cubicBezTo>
                    <a:pt x="134090" y="195499"/>
                    <a:pt x="137455" y="196424"/>
                    <a:pt x="139137" y="194741"/>
                  </a:cubicBezTo>
                  <a:cubicBezTo>
                    <a:pt x="142081" y="191629"/>
                    <a:pt x="144184" y="189442"/>
                    <a:pt x="144184" y="185068"/>
                  </a:cubicBezTo>
                  <a:cubicBezTo>
                    <a:pt x="144184" y="181534"/>
                    <a:pt x="142923" y="179768"/>
                    <a:pt x="140820" y="177076"/>
                  </a:cubicBezTo>
                  <a:cubicBezTo>
                    <a:pt x="139558" y="175309"/>
                    <a:pt x="139558" y="173122"/>
                    <a:pt x="137539" y="173122"/>
                  </a:cubicBezTo>
                  <a:cubicBezTo>
                    <a:pt x="135772" y="173122"/>
                    <a:pt x="135352" y="174889"/>
                    <a:pt x="134174" y="176151"/>
                  </a:cubicBezTo>
                  <a:cubicBezTo>
                    <a:pt x="131650" y="178001"/>
                    <a:pt x="129547" y="178422"/>
                    <a:pt x="126603" y="180609"/>
                  </a:cubicBezTo>
                  <a:cubicBezTo>
                    <a:pt x="124921" y="181450"/>
                    <a:pt x="123659" y="182376"/>
                    <a:pt x="122397" y="183637"/>
                  </a:cubicBezTo>
                  <a:cubicBezTo>
                    <a:pt x="121556" y="184983"/>
                    <a:pt x="119873" y="184983"/>
                    <a:pt x="119873" y="186329"/>
                  </a:cubicBezTo>
                  <a:cubicBezTo>
                    <a:pt x="119873" y="188096"/>
                    <a:pt x="121976" y="189021"/>
                    <a:pt x="123659" y="189021"/>
                  </a:cubicBezTo>
                  <a:cubicBezTo>
                    <a:pt x="126267" y="189021"/>
                    <a:pt x="127528" y="187255"/>
                    <a:pt x="129547" y="185909"/>
                  </a:cubicBezTo>
                  <a:cubicBezTo>
                    <a:pt x="129968" y="186329"/>
                    <a:pt x="130388" y="186834"/>
                    <a:pt x="130388" y="187255"/>
                  </a:cubicBezTo>
                  <a:cubicBezTo>
                    <a:pt x="130388" y="190788"/>
                    <a:pt x="127024" y="191208"/>
                    <a:pt x="123995" y="192554"/>
                  </a:cubicBezTo>
                  <a:cubicBezTo>
                    <a:pt x="119032" y="195583"/>
                    <a:pt x="116088" y="197854"/>
                    <a:pt x="110536" y="200462"/>
                  </a:cubicBezTo>
                  <a:cubicBezTo>
                    <a:pt x="104647" y="203574"/>
                    <a:pt x="103386" y="207949"/>
                    <a:pt x="98338" y="211986"/>
                  </a:cubicBezTo>
                  <a:cubicBezTo>
                    <a:pt x="97076" y="212828"/>
                    <a:pt x="95814" y="212828"/>
                    <a:pt x="94553" y="213753"/>
                  </a:cubicBezTo>
                  <a:cubicBezTo>
                    <a:pt x="92870" y="215604"/>
                    <a:pt x="93291" y="219557"/>
                    <a:pt x="90683" y="219557"/>
                  </a:cubicBezTo>
                  <a:cubicBezTo>
                    <a:pt x="86477" y="219557"/>
                    <a:pt x="85299" y="214678"/>
                    <a:pt x="81430" y="214678"/>
                  </a:cubicBezTo>
                  <a:cubicBezTo>
                    <a:pt x="81093" y="214678"/>
                    <a:pt x="80673" y="215604"/>
                    <a:pt x="80168" y="215604"/>
                  </a:cubicBezTo>
                  <a:cubicBezTo>
                    <a:pt x="76803" y="215604"/>
                    <a:pt x="75962" y="212070"/>
                    <a:pt x="72597" y="210304"/>
                  </a:cubicBezTo>
                  <a:cubicBezTo>
                    <a:pt x="69653" y="208958"/>
                    <a:pt x="67129" y="209379"/>
                    <a:pt x="64185" y="207192"/>
                  </a:cubicBezTo>
                  <a:cubicBezTo>
                    <a:pt x="58717" y="202817"/>
                    <a:pt x="56614" y="197013"/>
                    <a:pt x="49464" y="197013"/>
                  </a:cubicBezTo>
                  <a:cubicBezTo>
                    <a:pt x="46940" y="197013"/>
                    <a:pt x="45678" y="198779"/>
                    <a:pt x="42734" y="198779"/>
                  </a:cubicBezTo>
                  <a:cubicBezTo>
                    <a:pt x="41472" y="198779"/>
                    <a:pt x="40967" y="197517"/>
                    <a:pt x="39790" y="196592"/>
                  </a:cubicBezTo>
                  <a:cubicBezTo>
                    <a:pt x="36509" y="193900"/>
                    <a:pt x="33901" y="192218"/>
                    <a:pt x="29274" y="192218"/>
                  </a:cubicBezTo>
                  <a:cubicBezTo>
                    <a:pt x="28013" y="192218"/>
                    <a:pt x="27592" y="193143"/>
                    <a:pt x="26414" y="193480"/>
                  </a:cubicBezTo>
                  <a:cubicBezTo>
                    <a:pt x="24732" y="193900"/>
                    <a:pt x="22208" y="193480"/>
                    <a:pt x="22208" y="195330"/>
                  </a:cubicBezTo>
                  <a:cubicBezTo>
                    <a:pt x="22208" y="196172"/>
                    <a:pt x="22545" y="196592"/>
                    <a:pt x="22545" y="197517"/>
                  </a:cubicBezTo>
                  <a:lnTo>
                    <a:pt x="22545" y="198779"/>
                  </a:lnTo>
                  <a:lnTo>
                    <a:pt x="21283" y="198779"/>
                  </a:lnTo>
                  <a:cubicBezTo>
                    <a:pt x="17077" y="197013"/>
                    <a:pt x="15815" y="194405"/>
                    <a:pt x="12450" y="190872"/>
                  </a:cubicBezTo>
                  <a:cubicBezTo>
                    <a:pt x="8580" y="186413"/>
                    <a:pt x="5300" y="184226"/>
                    <a:pt x="252" y="183301"/>
                  </a:cubicBezTo>
                  <a:lnTo>
                    <a:pt x="252" y="183301"/>
                  </a:lnTo>
                  <a:close/>
                </a:path>
              </a:pathLst>
            </a:custGeom>
            <a:grpFill/>
            <a:ln w="8410" cap="flat">
              <a:solidFill>
                <a:srgbClr val="F59E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a:ea typeface="+mn-ea"/>
                <a:cs typeface="+mn-cs"/>
              </a:endParaRPr>
            </a:p>
          </p:txBody>
        </p:sp>
        <p:sp>
          <p:nvSpPr>
            <p:cNvPr id="530" name="Freeform: Shape 529">
              <a:extLst>
                <a:ext uri="{FF2B5EF4-FFF2-40B4-BE49-F238E27FC236}">
                  <a16:creationId xmlns:a16="http://schemas.microsoft.com/office/drawing/2014/main" id="{E20206D0-A84A-0091-CE6E-63BA3CD2C550}"/>
                </a:ext>
              </a:extLst>
            </p:cNvPr>
            <p:cNvSpPr/>
            <p:nvPr/>
          </p:nvSpPr>
          <p:spPr>
            <a:xfrm>
              <a:off x="10019536" y="5081798"/>
              <a:ext cx="581471" cy="540773"/>
            </a:xfrm>
            <a:custGeom>
              <a:avLst/>
              <a:gdLst>
                <a:gd name="connsiteX0" fmla="*/ 312932 w 438694"/>
                <a:gd name="connsiteY0" fmla="*/ 407737 h 407989"/>
                <a:gd name="connsiteX1" fmla="*/ 312932 w 438694"/>
                <a:gd name="connsiteY1" fmla="*/ 407737 h 407989"/>
                <a:gd name="connsiteX2" fmla="*/ 313353 w 438694"/>
                <a:gd name="connsiteY2" fmla="*/ 406476 h 407989"/>
                <a:gd name="connsiteX3" fmla="*/ 313353 w 438694"/>
                <a:gd name="connsiteY3" fmla="*/ 402943 h 407989"/>
                <a:gd name="connsiteX4" fmla="*/ 314194 w 438694"/>
                <a:gd name="connsiteY4" fmla="*/ 395456 h 407989"/>
                <a:gd name="connsiteX5" fmla="*/ 313774 w 438694"/>
                <a:gd name="connsiteY5" fmla="*/ 389231 h 407989"/>
                <a:gd name="connsiteX6" fmla="*/ 312091 w 438694"/>
                <a:gd name="connsiteY6" fmla="*/ 389231 h 407989"/>
                <a:gd name="connsiteX7" fmla="*/ 310325 w 438694"/>
                <a:gd name="connsiteY7" fmla="*/ 390156 h 407989"/>
                <a:gd name="connsiteX8" fmla="*/ 310325 w 438694"/>
                <a:gd name="connsiteY8" fmla="*/ 388390 h 407989"/>
                <a:gd name="connsiteX9" fmla="*/ 311586 w 438694"/>
                <a:gd name="connsiteY9" fmla="*/ 384015 h 407989"/>
                <a:gd name="connsiteX10" fmla="*/ 310745 w 438694"/>
                <a:gd name="connsiteY10" fmla="*/ 381828 h 407989"/>
                <a:gd name="connsiteX11" fmla="*/ 314110 w 438694"/>
                <a:gd name="connsiteY11" fmla="*/ 372490 h 407989"/>
                <a:gd name="connsiteX12" fmla="*/ 313689 w 438694"/>
                <a:gd name="connsiteY12" fmla="*/ 372070 h 407989"/>
                <a:gd name="connsiteX13" fmla="*/ 316549 w 438694"/>
                <a:gd name="connsiteY13" fmla="*/ 362816 h 407989"/>
                <a:gd name="connsiteX14" fmla="*/ 316549 w 438694"/>
                <a:gd name="connsiteY14" fmla="*/ 356676 h 407989"/>
                <a:gd name="connsiteX15" fmla="*/ 319073 w 438694"/>
                <a:gd name="connsiteY15" fmla="*/ 350030 h 407989"/>
                <a:gd name="connsiteX16" fmla="*/ 317391 w 438694"/>
                <a:gd name="connsiteY16" fmla="*/ 341702 h 407989"/>
                <a:gd name="connsiteX17" fmla="*/ 319914 w 438694"/>
                <a:gd name="connsiteY17" fmla="*/ 336823 h 407989"/>
                <a:gd name="connsiteX18" fmla="*/ 319073 w 438694"/>
                <a:gd name="connsiteY18" fmla="*/ 336402 h 407989"/>
                <a:gd name="connsiteX19" fmla="*/ 322017 w 438694"/>
                <a:gd name="connsiteY19" fmla="*/ 326728 h 407989"/>
                <a:gd name="connsiteX20" fmla="*/ 324541 w 438694"/>
                <a:gd name="connsiteY20" fmla="*/ 324037 h 407989"/>
                <a:gd name="connsiteX21" fmla="*/ 327065 w 438694"/>
                <a:gd name="connsiteY21" fmla="*/ 319157 h 407989"/>
                <a:gd name="connsiteX22" fmla="*/ 330430 w 438694"/>
                <a:gd name="connsiteY22" fmla="*/ 308979 h 407989"/>
                <a:gd name="connsiteX23" fmla="*/ 332953 w 438694"/>
                <a:gd name="connsiteY23" fmla="*/ 302754 h 407989"/>
                <a:gd name="connsiteX24" fmla="*/ 332953 w 438694"/>
                <a:gd name="connsiteY24" fmla="*/ 302754 h 407989"/>
                <a:gd name="connsiteX25" fmla="*/ 332112 w 438694"/>
                <a:gd name="connsiteY25" fmla="*/ 301492 h 407989"/>
                <a:gd name="connsiteX26" fmla="*/ 336318 w 438694"/>
                <a:gd name="connsiteY26" fmla="*/ 301071 h 407989"/>
                <a:gd name="connsiteX27" fmla="*/ 337159 w 438694"/>
                <a:gd name="connsiteY27" fmla="*/ 301071 h 407989"/>
                <a:gd name="connsiteX28" fmla="*/ 338421 w 438694"/>
                <a:gd name="connsiteY28" fmla="*/ 301492 h 407989"/>
                <a:gd name="connsiteX29" fmla="*/ 339262 w 438694"/>
                <a:gd name="connsiteY29" fmla="*/ 301071 h 407989"/>
                <a:gd name="connsiteX30" fmla="*/ 338001 w 438694"/>
                <a:gd name="connsiteY30" fmla="*/ 295351 h 407989"/>
                <a:gd name="connsiteX31" fmla="*/ 340104 w 438694"/>
                <a:gd name="connsiteY31" fmla="*/ 294005 h 407989"/>
                <a:gd name="connsiteX32" fmla="*/ 340524 w 438694"/>
                <a:gd name="connsiteY32" fmla="*/ 289631 h 407989"/>
                <a:gd name="connsiteX33" fmla="*/ 339767 w 438694"/>
                <a:gd name="connsiteY33" fmla="*/ 287444 h 407989"/>
                <a:gd name="connsiteX34" fmla="*/ 344394 w 438694"/>
                <a:gd name="connsiteY34" fmla="*/ 278106 h 407989"/>
                <a:gd name="connsiteX35" fmla="*/ 344394 w 438694"/>
                <a:gd name="connsiteY35" fmla="*/ 273732 h 407989"/>
                <a:gd name="connsiteX36" fmla="*/ 343132 w 438694"/>
                <a:gd name="connsiteY36" fmla="*/ 271545 h 407989"/>
                <a:gd name="connsiteX37" fmla="*/ 345656 w 438694"/>
                <a:gd name="connsiteY37" fmla="*/ 266666 h 407989"/>
                <a:gd name="connsiteX38" fmla="*/ 351965 w 438694"/>
                <a:gd name="connsiteY38" fmla="*/ 256992 h 407989"/>
                <a:gd name="connsiteX39" fmla="*/ 359536 w 438694"/>
                <a:gd name="connsiteY39" fmla="*/ 234447 h 407989"/>
                <a:gd name="connsiteX40" fmla="*/ 358274 w 438694"/>
                <a:gd name="connsiteY40" fmla="*/ 232680 h 407989"/>
                <a:gd name="connsiteX41" fmla="*/ 354404 w 438694"/>
                <a:gd name="connsiteY41" fmla="*/ 234447 h 407989"/>
                <a:gd name="connsiteX42" fmla="*/ 354404 w 438694"/>
                <a:gd name="connsiteY42" fmla="*/ 230493 h 407989"/>
                <a:gd name="connsiteX43" fmla="*/ 353142 w 438694"/>
                <a:gd name="connsiteY43" fmla="*/ 226455 h 407989"/>
                <a:gd name="connsiteX44" fmla="*/ 353563 w 438694"/>
                <a:gd name="connsiteY44" fmla="*/ 225614 h 407989"/>
                <a:gd name="connsiteX45" fmla="*/ 355666 w 438694"/>
                <a:gd name="connsiteY45" fmla="*/ 226876 h 407989"/>
                <a:gd name="connsiteX46" fmla="*/ 357769 w 438694"/>
                <a:gd name="connsiteY46" fmla="*/ 225614 h 407989"/>
                <a:gd name="connsiteX47" fmla="*/ 360293 w 438694"/>
                <a:gd name="connsiteY47" fmla="*/ 226876 h 407989"/>
                <a:gd name="connsiteX48" fmla="*/ 364078 w 438694"/>
                <a:gd name="connsiteY48" fmla="*/ 223763 h 407989"/>
                <a:gd name="connsiteX49" fmla="*/ 363658 w 438694"/>
                <a:gd name="connsiteY49" fmla="*/ 221997 h 407989"/>
                <a:gd name="connsiteX50" fmla="*/ 367527 w 438694"/>
                <a:gd name="connsiteY50" fmla="*/ 214510 h 407989"/>
                <a:gd name="connsiteX51" fmla="*/ 367527 w 438694"/>
                <a:gd name="connsiteY51" fmla="*/ 209211 h 407989"/>
                <a:gd name="connsiteX52" fmla="*/ 369210 w 438694"/>
                <a:gd name="connsiteY52" fmla="*/ 207444 h 407989"/>
                <a:gd name="connsiteX53" fmla="*/ 370471 w 438694"/>
                <a:gd name="connsiteY53" fmla="*/ 207444 h 407989"/>
                <a:gd name="connsiteX54" fmla="*/ 370471 w 438694"/>
                <a:gd name="connsiteY54" fmla="*/ 212323 h 407989"/>
                <a:gd name="connsiteX55" fmla="*/ 373332 w 438694"/>
                <a:gd name="connsiteY55" fmla="*/ 205257 h 407989"/>
                <a:gd name="connsiteX56" fmla="*/ 382249 w 438694"/>
                <a:gd name="connsiteY56" fmla="*/ 196003 h 407989"/>
                <a:gd name="connsiteX57" fmla="*/ 383006 w 438694"/>
                <a:gd name="connsiteY57" fmla="*/ 192470 h 407989"/>
                <a:gd name="connsiteX58" fmla="*/ 391502 w 438694"/>
                <a:gd name="connsiteY58" fmla="*/ 189358 h 407989"/>
                <a:gd name="connsiteX59" fmla="*/ 398231 w 438694"/>
                <a:gd name="connsiteY59" fmla="*/ 183638 h 407989"/>
                <a:gd name="connsiteX60" fmla="*/ 401176 w 438694"/>
                <a:gd name="connsiteY60" fmla="*/ 180104 h 407989"/>
                <a:gd name="connsiteX61" fmla="*/ 398652 w 438694"/>
                <a:gd name="connsiteY61" fmla="*/ 174805 h 407989"/>
                <a:gd name="connsiteX62" fmla="*/ 397811 w 438694"/>
                <a:gd name="connsiteY62" fmla="*/ 175225 h 407989"/>
                <a:gd name="connsiteX63" fmla="*/ 396970 w 438694"/>
                <a:gd name="connsiteY63" fmla="*/ 170346 h 407989"/>
                <a:gd name="connsiteX64" fmla="*/ 401681 w 438694"/>
                <a:gd name="connsiteY64" fmla="*/ 167234 h 407989"/>
                <a:gd name="connsiteX65" fmla="*/ 402943 w 438694"/>
                <a:gd name="connsiteY65" fmla="*/ 163280 h 407989"/>
                <a:gd name="connsiteX66" fmla="*/ 410093 w 438694"/>
                <a:gd name="connsiteY66" fmla="*/ 154027 h 407989"/>
                <a:gd name="connsiteX67" fmla="*/ 412616 w 438694"/>
                <a:gd name="connsiteY67" fmla="*/ 143427 h 407989"/>
                <a:gd name="connsiteX68" fmla="*/ 414720 w 438694"/>
                <a:gd name="connsiteY68" fmla="*/ 141240 h 407989"/>
                <a:gd name="connsiteX69" fmla="*/ 417243 w 438694"/>
                <a:gd name="connsiteY69" fmla="*/ 133754 h 407989"/>
                <a:gd name="connsiteX70" fmla="*/ 421029 w 438694"/>
                <a:gd name="connsiteY70" fmla="*/ 120126 h 407989"/>
                <a:gd name="connsiteX71" fmla="*/ 421029 w 438694"/>
                <a:gd name="connsiteY71" fmla="*/ 116088 h 407989"/>
                <a:gd name="connsiteX72" fmla="*/ 418926 w 438694"/>
                <a:gd name="connsiteY72" fmla="*/ 109022 h 407989"/>
                <a:gd name="connsiteX73" fmla="*/ 420608 w 438694"/>
                <a:gd name="connsiteY73" fmla="*/ 101030 h 407989"/>
                <a:gd name="connsiteX74" fmla="*/ 423973 w 438694"/>
                <a:gd name="connsiteY74" fmla="*/ 86477 h 407989"/>
                <a:gd name="connsiteX75" fmla="*/ 426496 w 438694"/>
                <a:gd name="connsiteY75" fmla="*/ 80336 h 407989"/>
                <a:gd name="connsiteX76" fmla="*/ 426496 w 438694"/>
                <a:gd name="connsiteY76" fmla="*/ 78065 h 407989"/>
                <a:gd name="connsiteX77" fmla="*/ 428600 w 438694"/>
                <a:gd name="connsiteY77" fmla="*/ 72849 h 407989"/>
                <a:gd name="connsiteX78" fmla="*/ 427758 w 438694"/>
                <a:gd name="connsiteY78" fmla="*/ 70999 h 407989"/>
                <a:gd name="connsiteX79" fmla="*/ 431123 w 438694"/>
                <a:gd name="connsiteY79" fmla="*/ 57371 h 407989"/>
                <a:gd name="connsiteX80" fmla="*/ 426496 w 438694"/>
                <a:gd name="connsiteY80" fmla="*/ 53333 h 407989"/>
                <a:gd name="connsiteX81" fmla="*/ 423973 w 438694"/>
                <a:gd name="connsiteY81" fmla="*/ 54259 h 407989"/>
                <a:gd name="connsiteX82" fmla="*/ 424393 w 438694"/>
                <a:gd name="connsiteY82" fmla="*/ 53333 h 407989"/>
                <a:gd name="connsiteX83" fmla="*/ 431544 w 438694"/>
                <a:gd name="connsiteY83" fmla="*/ 48118 h 407989"/>
                <a:gd name="connsiteX84" fmla="*/ 434488 w 438694"/>
                <a:gd name="connsiteY84" fmla="*/ 35331 h 407989"/>
                <a:gd name="connsiteX85" fmla="*/ 438694 w 438694"/>
                <a:gd name="connsiteY85" fmla="*/ 26414 h 407989"/>
                <a:gd name="connsiteX86" fmla="*/ 437012 w 438694"/>
                <a:gd name="connsiteY86" fmla="*/ 13207 h 407989"/>
                <a:gd name="connsiteX87" fmla="*/ 437769 w 438694"/>
                <a:gd name="connsiteY87" fmla="*/ 5216 h 407989"/>
                <a:gd name="connsiteX88" fmla="*/ 437012 w 438694"/>
                <a:gd name="connsiteY88" fmla="*/ 0 h 407989"/>
                <a:gd name="connsiteX89" fmla="*/ 437012 w 438694"/>
                <a:gd name="connsiteY89" fmla="*/ 0 h 407989"/>
                <a:gd name="connsiteX90" fmla="*/ 430618 w 438694"/>
                <a:gd name="connsiteY90" fmla="*/ 3533 h 407989"/>
                <a:gd name="connsiteX91" fmla="*/ 425992 w 438694"/>
                <a:gd name="connsiteY91" fmla="*/ 3954 h 407989"/>
                <a:gd name="connsiteX92" fmla="*/ 421786 w 438694"/>
                <a:gd name="connsiteY92" fmla="*/ 8412 h 407989"/>
                <a:gd name="connsiteX93" fmla="*/ 418841 w 438694"/>
                <a:gd name="connsiteY93" fmla="*/ 7487 h 407989"/>
                <a:gd name="connsiteX94" fmla="*/ 411691 w 438694"/>
                <a:gd name="connsiteY94" fmla="*/ 7907 h 407989"/>
                <a:gd name="connsiteX95" fmla="*/ 401681 w 438694"/>
                <a:gd name="connsiteY95" fmla="*/ 4374 h 407989"/>
                <a:gd name="connsiteX96" fmla="*/ 395287 w 438694"/>
                <a:gd name="connsiteY96" fmla="*/ 10179 h 407989"/>
                <a:gd name="connsiteX97" fmla="*/ 391081 w 438694"/>
                <a:gd name="connsiteY97" fmla="*/ 11104 h 407989"/>
                <a:gd name="connsiteX98" fmla="*/ 382249 w 438694"/>
                <a:gd name="connsiteY98" fmla="*/ 16320 h 407989"/>
                <a:gd name="connsiteX99" fmla="*/ 384772 w 438694"/>
                <a:gd name="connsiteY99" fmla="*/ 21283 h 407989"/>
                <a:gd name="connsiteX100" fmla="*/ 386455 w 438694"/>
                <a:gd name="connsiteY100" fmla="*/ 22545 h 407989"/>
                <a:gd name="connsiteX101" fmla="*/ 378463 w 438694"/>
                <a:gd name="connsiteY101" fmla="*/ 31798 h 407989"/>
                <a:gd name="connsiteX102" fmla="*/ 378042 w 438694"/>
                <a:gd name="connsiteY102" fmla="*/ 33985 h 407989"/>
                <a:gd name="connsiteX103" fmla="*/ 373079 w 438694"/>
                <a:gd name="connsiteY103" fmla="*/ 30957 h 407989"/>
                <a:gd name="connsiteX104" fmla="*/ 364583 w 438694"/>
                <a:gd name="connsiteY104" fmla="*/ 39790 h 407989"/>
                <a:gd name="connsiteX105" fmla="*/ 362901 w 438694"/>
                <a:gd name="connsiteY105" fmla="*/ 42902 h 407989"/>
                <a:gd name="connsiteX106" fmla="*/ 355330 w 438694"/>
                <a:gd name="connsiteY106" fmla="*/ 29611 h 407989"/>
                <a:gd name="connsiteX107" fmla="*/ 344814 w 438694"/>
                <a:gd name="connsiteY107" fmla="*/ 22124 h 407989"/>
                <a:gd name="connsiteX108" fmla="*/ 341870 w 438694"/>
                <a:gd name="connsiteY108" fmla="*/ 19432 h 407989"/>
                <a:gd name="connsiteX109" fmla="*/ 337243 w 438694"/>
                <a:gd name="connsiteY109" fmla="*/ 20778 h 407989"/>
                <a:gd name="connsiteX110" fmla="*/ 333374 w 438694"/>
                <a:gd name="connsiteY110" fmla="*/ 20778 h 407989"/>
                <a:gd name="connsiteX111" fmla="*/ 331691 w 438694"/>
                <a:gd name="connsiteY111" fmla="*/ 21199 h 407989"/>
                <a:gd name="connsiteX112" fmla="*/ 324541 w 438694"/>
                <a:gd name="connsiteY112" fmla="*/ 16236 h 407989"/>
                <a:gd name="connsiteX113" fmla="*/ 311082 w 438694"/>
                <a:gd name="connsiteY113" fmla="*/ 19769 h 407989"/>
                <a:gd name="connsiteX114" fmla="*/ 308137 w 438694"/>
                <a:gd name="connsiteY114" fmla="*/ 19348 h 407989"/>
                <a:gd name="connsiteX115" fmla="*/ 304352 w 438694"/>
                <a:gd name="connsiteY115" fmla="*/ 19348 h 407989"/>
                <a:gd name="connsiteX116" fmla="*/ 297959 w 438694"/>
                <a:gd name="connsiteY116" fmla="*/ 17581 h 407989"/>
                <a:gd name="connsiteX117" fmla="*/ 290472 w 438694"/>
                <a:gd name="connsiteY117" fmla="*/ 23386 h 407989"/>
                <a:gd name="connsiteX118" fmla="*/ 281555 w 438694"/>
                <a:gd name="connsiteY118" fmla="*/ 29527 h 407989"/>
                <a:gd name="connsiteX119" fmla="*/ 279452 w 438694"/>
                <a:gd name="connsiteY119" fmla="*/ 33901 h 407989"/>
                <a:gd name="connsiteX120" fmla="*/ 757 w 438694"/>
                <a:gd name="connsiteY120" fmla="*/ 34826 h 407989"/>
                <a:gd name="connsiteX121" fmla="*/ 757 w 438694"/>
                <a:gd name="connsiteY121" fmla="*/ 34826 h 407989"/>
                <a:gd name="connsiteX122" fmla="*/ 0 w 438694"/>
                <a:gd name="connsiteY122" fmla="*/ 251271 h 407989"/>
                <a:gd name="connsiteX123" fmla="*/ 0 w 438694"/>
                <a:gd name="connsiteY123" fmla="*/ 251271 h 407989"/>
                <a:gd name="connsiteX124" fmla="*/ 1682 w 438694"/>
                <a:gd name="connsiteY124" fmla="*/ 250851 h 407989"/>
                <a:gd name="connsiteX125" fmla="*/ 10095 w 438694"/>
                <a:gd name="connsiteY125" fmla="*/ 253458 h 407989"/>
                <a:gd name="connsiteX126" fmla="*/ 20189 w 438694"/>
                <a:gd name="connsiteY126" fmla="*/ 258758 h 407989"/>
                <a:gd name="connsiteX127" fmla="*/ 24816 w 438694"/>
                <a:gd name="connsiteY127" fmla="*/ 253879 h 407989"/>
                <a:gd name="connsiteX128" fmla="*/ 31546 w 438694"/>
                <a:gd name="connsiteY128" fmla="*/ 255225 h 407989"/>
                <a:gd name="connsiteX129" fmla="*/ 35836 w 438694"/>
                <a:gd name="connsiteY129" fmla="*/ 254804 h 407989"/>
                <a:gd name="connsiteX130" fmla="*/ 42902 w 438694"/>
                <a:gd name="connsiteY130" fmla="*/ 260945 h 407989"/>
                <a:gd name="connsiteX131" fmla="*/ 44669 w 438694"/>
                <a:gd name="connsiteY131" fmla="*/ 263637 h 407989"/>
                <a:gd name="connsiteX132" fmla="*/ 49716 w 438694"/>
                <a:gd name="connsiteY132" fmla="*/ 265824 h 407989"/>
                <a:gd name="connsiteX133" fmla="*/ 48875 w 438694"/>
                <a:gd name="connsiteY133" fmla="*/ 271124 h 407989"/>
                <a:gd name="connsiteX134" fmla="*/ 51398 w 438694"/>
                <a:gd name="connsiteY134" fmla="*/ 276003 h 407989"/>
                <a:gd name="connsiteX135" fmla="*/ 57287 w 438694"/>
                <a:gd name="connsiteY135" fmla="*/ 284415 h 407989"/>
                <a:gd name="connsiteX136" fmla="*/ 60231 w 438694"/>
                <a:gd name="connsiteY136" fmla="*/ 278190 h 407989"/>
                <a:gd name="connsiteX137" fmla="*/ 63175 w 438694"/>
                <a:gd name="connsiteY137" fmla="*/ 273311 h 407989"/>
                <a:gd name="connsiteX138" fmla="*/ 74532 w 438694"/>
                <a:gd name="connsiteY138" fmla="*/ 280461 h 407989"/>
                <a:gd name="connsiteX139" fmla="*/ 83028 w 438694"/>
                <a:gd name="connsiteY139" fmla="*/ 284836 h 407989"/>
                <a:gd name="connsiteX140" fmla="*/ 81261 w 438694"/>
                <a:gd name="connsiteY140" fmla="*/ 290136 h 407989"/>
                <a:gd name="connsiteX141" fmla="*/ 84206 w 438694"/>
                <a:gd name="connsiteY141" fmla="*/ 301155 h 407989"/>
                <a:gd name="connsiteX142" fmla="*/ 90515 w 438694"/>
                <a:gd name="connsiteY142" fmla="*/ 306034 h 407989"/>
                <a:gd name="connsiteX143" fmla="*/ 90515 w 438694"/>
                <a:gd name="connsiteY143" fmla="*/ 309147 h 407989"/>
                <a:gd name="connsiteX144" fmla="*/ 95142 w 438694"/>
                <a:gd name="connsiteY144" fmla="*/ 311334 h 407989"/>
                <a:gd name="connsiteX145" fmla="*/ 101871 w 438694"/>
                <a:gd name="connsiteY145" fmla="*/ 316213 h 407989"/>
                <a:gd name="connsiteX146" fmla="*/ 112471 w 438694"/>
                <a:gd name="connsiteY146" fmla="*/ 325466 h 407989"/>
                <a:gd name="connsiteX147" fmla="*/ 116256 w 438694"/>
                <a:gd name="connsiteY147" fmla="*/ 328579 h 407989"/>
                <a:gd name="connsiteX148" fmla="*/ 124248 w 438694"/>
                <a:gd name="connsiteY148" fmla="*/ 339178 h 407989"/>
                <a:gd name="connsiteX149" fmla="*/ 133080 w 438694"/>
                <a:gd name="connsiteY149" fmla="*/ 344983 h 407989"/>
                <a:gd name="connsiteX150" fmla="*/ 134763 w 438694"/>
                <a:gd name="connsiteY150" fmla="*/ 343637 h 407989"/>
                <a:gd name="connsiteX151" fmla="*/ 139474 w 438694"/>
                <a:gd name="connsiteY151" fmla="*/ 343216 h 407989"/>
                <a:gd name="connsiteX152" fmla="*/ 138212 w 438694"/>
                <a:gd name="connsiteY152" fmla="*/ 339263 h 407989"/>
                <a:gd name="connsiteX153" fmla="*/ 144941 w 438694"/>
                <a:gd name="connsiteY153" fmla="*/ 333037 h 407989"/>
                <a:gd name="connsiteX154" fmla="*/ 152512 w 438694"/>
                <a:gd name="connsiteY154" fmla="*/ 333963 h 407989"/>
                <a:gd name="connsiteX155" fmla="*/ 156718 w 438694"/>
                <a:gd name="connsiteY155" fmla="*/ 332196 h 407989"/>
                <a:gd name="connsiteX156" fmla="*/ 169337 w 438694"/>
                <a:gd name="connsiteY156" fmla="*/ 339263 h 407989"/>
                <a:gd name="connsiteX157" fmla="*/ 171019 w 438694"/>
                <a:gd name="connsiteY157" fmla="*/ 338337 h 407989"/>
                <a:gd name="connsiteX158" fmla="*/ 175225 w 438694"/>
                <a:gd name="connsiteY158" fmla="*/ 339683 h 407989"/>
                <a:gd name="connsiteX159" fmla="*/ 177749 w 438694"/>
                <a:gd name="connsiteY159" fmla="*/ 339263 h 407989"/>
                <a:gd name="connsiteX160" fmla="*/ 180273 w 438694"/>
                <a:gd name="connsiteY160" fmla="*/ 341029 h 407989"/>
                <a:gd name="connsiteX161" fmla="*/ 187423 w 438694"/>
                <a:gd name="connsiteY161" fmla="*/ 341450 h 407989"/>
                <a:gd name="connsiteX162" fmla="*/ 189189 w 438694"/>
                <a:gd name="connsiteY162" fmla="*/ 341450 h 407989"/>
                <a:gd name="connsiteX163" fmla="*/ 189189 w 438694"/>
                <a:gd name="connsiteY163" fmla="*/ 339683 h 407989"/>
                <a:gd name="connsiteX164" fmla="*/ 190451 w 438694"/>
                <a:gd name="connsiteY164" fmla="*/ 338758 h 407989"/>
                <a:gd name="connsiteX165" fmla="*/ 192554 w 438694"/>
                <a:gd name="connsiteY165" fmla="*/ 339178 h 407989"/>
                <a:gd name="connsiteX166" fmla="*/ 194657 w 438694"/>
                <a:gd name="connsiteY166" fmla="*/ 339178 h 407989"/>
                <a:gd name="connsiteX167" fmla="*/ 198863 w 438694"/>
                <a:gd name="connsiteY167" fmla="*/ 341366 h 407989"/>
                <a:gd name="connsiteX168" fmla="*/ 210304 w 438694"/>
                <a:gd name="connsiteY168" fmla="*/ 344899 h 407989"/>
                <a:gd name="connsiteX169" fmla="*/ 214089 w 438694"/>
                <a:gd name="connsiteY169" fmla="*/ 340440 h 407989"/>
                <a:gd name="connsiteX170" fmla="*/ 230072 w 438694"/>
                <a:gd name="connsiteY170" fmla="*/ 336907 h 407989"/>
                <a:gd name="connsiteX171" fmla="*/ 243195 w 438694"/>
                <a:gd name="connsiteY171" fmla="*/ 341281 h 407989"/>
                <a:gd name="connsiteX172" fmla="*/ 246056 w 438694"/>
                <a:gd name="connsiteY172" fmla="*/ 351881 h 407989"/>
                <a:gd name="connsiteX173" fmla="*/ 246056 w 438694"/>
                <a:gd name="connsiteY173" fmla="*/ 355835 h 407989"/>
                <a:gd name="connsiteX174" fmla="*/ 250682 w 438694"/>
                <a:gd name="connsiteY174" fmla="*/ 370387 h 407989"/>
                <a:gd name="connsiteX175" fmla="*/ 250346 w 438694"/>
                <a:gd name="connsiteY175" fmla="*/ 373500 h 407989"/>
                <a:gd name="connsiteX176" fmla="*/ 254552 w 438694"/>
                <a:gd name="connsiteY176" fmla="*/ 377033 h 407989"/>
                <a:gd name="connsiteX177" fmla="*/ 262964 w 438694"/>
                <a:gd name="connsiteY177" fmla="*/ 381491 h 407989"/>
                <a:gd name="connsiteX178" fmla="*/ 313101 w 438694"/>
                <a:gd name="connsiteY178" fmla="*/ 407990 h 407989"/>
                <a:gd name="connsiteX179" fmla="*/ 313101 w 438694"/>
                <a:gd name="connsiteY179" fmla="*/ 407990 h 407989"/>
                <a:gd name="connsiteX180" fmla="*/ 279200 w 438694"/>
                <a:gd name="connsiteY180" fmla="*/ 302165 h 407989"/>
                <a:gd name="connsiteX181" fmla="*/ 279200 w 438694"/>
                <a:gd name="connsiteY181" fmla="*/ 302165 h 407989"/>
                <a:gd name="connsiteX182" fmla="*/ 284247 w 438694"/>
                <a:gd name="connsiteY182" fmla="*/ 299473 h 407989"/>
                <a:gd name="connsiteX183" fmla="*/ 292743 w 438694"/>
                <a:gd name="connsiteY183" fmla="*/ 308306 h 407989"/>
                <a:gd name="connsiteX184" fmla="*/ 284752 w 438694"/>
                <a:gd name="connsiteY184" fmla="*/ 310998 h 407989"/>
                <a:gd name="connsiteX185" fmla="*/ 283490 w 438694"/>
                <a:gd name="connsiteY185" fmla="*/ 315877 h 407989"/>
                <a:gd name="connsiteX186" fmla="*/ 282228 w 438694"/>
                <a:gd name="connsiteY186" fmla="*/ 322102 h 407989"/>
                <a:gd name="connsiteX187" fmla="*/ 283069 w 438694"/>
                <a:gd name="connsiteY187" fmla="*/ 329589 h 407989"/>
                <a:gd name="connsiteX188" fmla="*/ 282649 w 438694"/>
                <a:gd name="connsiteY188" fmla="*/ 333122 h 407989"/>
                <a:gd name="connsiteX189" fmla="*/ 282228 w 438694"/>
                <a:gd name="connsiteY189" fmla="*/ 336234 h 407989"/>
                <a:gd name="connsiteX190" fmla="*/ 275078 w 438694"/>
                <a:gd name="connsiteY190" fmla="*/ 329673 h 407989"/>
                <a:gd name="connsiteX191" fmla="*/ 270030 w 438694"/>
                <a:gd name="connsiteY191" fmla="*/ 319999 h 407989"/>
                <a:gd name="connsiteX192" fmla="*/ 272554 w 438694"/>
                <a:gd name="connsiteY192" fmla="*/ 311586 h 407989"/>
                <a:gd name="connsiteX193" fmla="*/ 272554 w 438694"/>
                <a:gd name="connsiteY193" fmla="*/ 308474 h 407989"/>
                <a:gd name="connsiteX194" fmla="*/ 279284 w 438694"/>
                <a:gd name="connsiteY194" fmla="*/ 302333 h 407989"/>
                <a:gd name="connsiteX195" fmla="*/ 279284 w 438694"/>
                <a:gd name="connsiteY195" fmla="*/ 302333 h 407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438694" h="407989">
                  <a:moveTo>
                    <a:pt x="312932" y="407737"/>
                  </a:moveTo>
                  <a:lnTo>
                    <a:pt x="312932" y="407737"/>
                  </a:lnTo>
                  <a:cubicBezTo>
                    <a:pt x="313353" y="407317"/>
                    <a:pt x="313353" y="406812"/>
                    <a:pt x="313353" y="406476"/>
                  </a:cubicBezTo>
                  <a:lnTo>
                    <a:pt x="313353" y="402943"/>
                  </a:lnTo>
                  <a:cubicBezTo>
                    <a:pt x="313353" y="399830"/>
                    <a:pt x="314194" y="398063"/>
                    <a:pt x="314194" y="395456"/>
                  </a:cubicBezTo>
                  <a:cubicBezTo>
                    <a:pt x="314194" y="392848"/>
                    <a:pt x="313774" y="391502"/>
                    <a:pt x="313774" y="389231"/>
                  </a:cubicBezTo>
                  <a:lnTo>
                    <a:pt x="312091" y="389231"/>
                  </a:lnTo>
                  <a:cubicBezTo>
                    <a:pt x="311250" y="389231"/>
                    <a:pt x="311250" y="389651"/>
                    <a:pt x="310325" y="390156"/>
                  </a:cubicBezTo>
                  <a:lnTo>
                    <a:pt x="310325" y="388390"/>
                  </a:lnTo>
                  <a:lnTo>
                    <a:pt x="311586" y="384015"/>
                  </a:lnTo>
                  <a:cubicBezTo>
                    <a:pt x="311166" y="383090"/>
                    <a:pt x="310745" y="382669"/>
                    <a:pt x="310745" y="381828"/>
                  </a:cubicBezTo>
                  <a:cubicBezTo>
                    <a:pt x="310745" y="378295"/>
                    <a:pt x="314110" y="376528"/>
                    <a:pt x="314110" y="372490"/>
                  </a:cubicBezTo>
                  <a:cubicBezTo>
                    <a:pt x="314110" y="372070"/>
                    <a:pt x="313689" y="372070"/>
                    <a:pt x="313689" y="372070"/>
                  </a:cubicBezTo>
                  <a:cubicBezTo>
                    <a:pt x="313689" y="368116"/>
                    <a:pt x="316549" y="366350"/>
                    <a:pt x="316549" y="362816"/>
                  </a:cubicBezTo>
                  <a:lnTo>
                    <a:pt x="316549" y="356676"/>
                  </a:lnTo>
                  <a:cubicBezTo>
                    <a:pt x="316549" y="353984"/>
                    <a:pt x="319073" y="352638"/>
                    <a:pt x="319073" y="350030"/>
                  </a:cubicBezTo>
                  <a:cubicBezTo>
                    <a:pt x="319073" y="346497"/>
                    <a:pt x="317391" y="345151"/>
                    <a:pt x="317391" y="341702"/>
                  </a:cubicBezTo>
                  <a:cubicBezTo>
                    <a:pt x="317391" y="339515"/>
                    <a:pt x="319914" y="339010"/>
                    <a:pt x="319914" y="336823"/>
                  </a:cubicBezTo>
                  <a:cubicBezTo>
                    <a:pt x="319914" y="336402"/>
                    <a:pt x="319073" y="336823"/>
                    <a:pt x="319073" y="336402"/>
                  </a:cubicBezTo>
                  <a:cubicBezTo>
                    <a:pt x="319073" y="332449"/>
                    <a:pt x="322017" y="330598"/>
                    <a:pt x="322017" y="326728"/>
                  </a:cubicBezTo>
                  <a:cubicBezTo>
                    <a:pt x="323279" y="327149"/>
                    <a:pt x="324121" y="325803"/>
                    <a:pt x="324541" y="324037"/>
                  </a:cubicBezTo>
                  <a:cubicBezTo>
                    <a:pt x="325382" y="322270"/>
                    <a:pt x="327065" y="321345"/>
                    <a:pt x="327065" y="319157"/>
                  </a:cubicBezTo>
                  <a:cubicBezTo>
                    <a:pt x="327065" y="314783"/>
                    <a:pt x="329588" y="312932"/>
                    <a:pt x="330430" y="308979"/>
                  </a:cubicBezTo>
                  <a:cubicBezTo>
                    <a:pt x="330766" y="306791"/>
                    <a:pt x="331691" y="304604"/>
                    <a:pt x="332953" y="302754"/>
                  </a:cubicBezTo>
                  <a:lnTo>
                    <a:pt x="332953" y="302754"/>
                  </a:lnTo>
                  <a:cubicBezTo>
                    <a:pt x="332533" y="302333"/>
                    <a:pt x="332112" y="302333"/>
                    <a:pt x="332112" y="301492"/>
                  </a:cubicBezTo>
                  <a:cubicBezTo>
                    <a:pt x="332112" y="300230"/>
                    <a:pt x="335056" y="298379"/>
                    <a:pt x="336318" y="301071"/>
                  </a:cubicBezTo>
                  <a:lnTo>
                    <a:pt x="337159" y="301071"/>
                  </a:lnTo>
                  <a:cubicBezTo>
                    <a:pt x="337580" y="301071"/>
                    <a:pt x="337916" y="301492"/>
                    <a:pt x="338421" y="301492"/>
                  </a:cubicBezTo>
                  <a:cubicBezTo>
                    <a:pt x="338926" y="301492"/>
                    <a:pt x="339262" y="301071"/>
                    <a:pt x="339262" y="301071"/>
                  </a:cubicBezTo>
                  <a:cubicBezTo>
                    <a:pt x="338421" y="299305"/>
                    <a:pt x="338001" y="297959"/>
                    <a:pt x="338001" y="295351"/>
                  </a:cubicBezTo>
                  <a:cubicBezTo>
                    <a:pt x="338001" y="294426"/>
                    <a:pt x="339262" y="294005"/>
                    <a:pt x="340104" y="294005"/>
                  </a:cubicBezTo>
                  <a:cubicBezTo>
                    <a:pt x="342291" y="295351"/>
                    <a:pt x="342627" y="298884"/>
                    <a:pt x="340524" y="289631"/>
                  </a:cubicBezTo>
                  <a:cubicBezTo>
                    <a:pt x="340104" y="289210"/>
                    <a:pt x="340104" y="288285"/>
                    <a:pt x="339767" y="287444"/>
                  </a:cubicBezTo>
                  <a:cubicBezTo>
                    <a:pt x="342627" y="284752"/>
                    <a:pt x="344394" y="282144"/>
                    <a:pt x="344394" y="278106"/>
                  </a:cubicBezTo>
                  <a:lnTo>
                    <a:pt x="344394" y="273732"/>
                  </a:lnTo>
                  <a:cubicBezTo>
                    <a:pt x="344394" y="272890"/>
                    <a:pt x="343132" y="272470"/>
                    <a:pt x="343132" y="271545"/>
                  </a:cubicBezTo>
                  <a:cubicBezTo>
                    <a:pt x="343132" y="269358"/>
                    <a:pt x="344899" y="268516"/>
                    <a:pt x="345656" y="266666"/>
                  </a:cubicBezTo>
                  <a:cubicBezTo>
                    <a:pt x="347422" y="262712"/>
                    <a:pt x="349525" y="260525"/>
                    <a:pt x="351965" y="256992"/>
                  </a:cubicBezTo>
                  <a:cubicBezTo>
                    <a:pt x="357012" y="249505"/>
                    <a:pt x="359536" y="243784"/>
                    <a:pt x="359536" y="234447"/>
                  </a:cubicBezTo>
                  <a:cubicBezTo>
                    <a:pt x="359536" y="233606"/>
                    <a:pt x="359199" y="232680"/>
                    <a:pt x="358274" y="232680"/>
                  </a:cubicBezTo>
                  <a:cubicBezTo>
                    <a:pt x="356591" y="232680"/>
                    <a:pt x="356171" y="233942"/>
                    <a:pt x="354404" y="234447"/>
                  </a:cubicBezTo>
                  <a:lnTo>
                    <a:pt x="354404" y="230493"/>
                  </a:lnTo>
                  <a:cubicBezTo>
                    <a:pt x="354404" y="228643"/>
                    <a:pt x="353142" y="227801"/>
                    <a:pt x="353142" y="226455"/>
                  </a:cubicBezTo>
                  <a:cubicBezTo>
                    <a:pt x="353142" y="226035"/>
                    <a:pt x="353563" y="226035"/>
                    <a:pt x="353563" y="225614"/>
                  </a:cubicBezTo>
                  <a:cubicBezTo>
                    <a:pt x="354320" y="226035"/>
                    <a:pt x="354825" y="226876"/>
                    <a:pt x="355666" y="226876"/>
                  </a:cubicBezTo>
                  <a:cubicBezTo>
                    <a:pt x="356507" y="226876"/>
                    <a:pt x="356928" y="225614"/>
                    <a:pt x="357769" y="225614"/>
                  </a:cubicBezTo>
                  <a:cubicBezTo>
                    <a:pt x="358610" y="225614"/>
                    <a:pt x="359031" y="226876"/>
                    <a:pt x="360293" y="226876"/>
                  </a:cubicBezTo>
                  <a:cubicBezTo>
                    <a:pt x="361975" y="226876"/>
                    <a:pt x="364078" y="226035"/>
                    <a:pt x="364078" y="223763"/>
                  </a:cubicBezTo>
                  <a:cubicBezTo>
                    <a:pt x="364078" y="222922"/>
                    <a:pt x="363658" y="222922"/>
                    <a:pt x="363658" y="221997"/>
                  </a:cubicBezTo>
                  <a:cubicBezTo>
                    <a:pt x="363658" y="218464"/>
                    <a:pt x="367527" y="218043"/>
                    <a:pt x="367527" y="214510"/>
                  </a:cubicBezTo>
                  <a:lnTo>
                    <a:pt x="367527" y="209211"/>
                  </a:lnTo>
                  <a:cubicBezTo>
                    <a:pt x="367527" y="207949"/>
                    <a:pt x="368368" y="207444"/>
                    <a:pt x="369210" y="207444"/>
                  </a:cubicBezTo>
                  <a:lnTo>
                    <a:pt x="370471" y="207444"/>
                  </a:lnTo>
                  <a:cubicBezTo>
                    <a:pt x="370471" y="209211"/>
                    <a:pt x="370051" y="210556"/>
                    <a:pt x="370471" y="212323"/>
                  </a:cubicBezTo>
                  <a:cubicBezTo>
                    <a:pt x="371733" y="209631"/>
                    <a:pt x="371733" y="207949"/>
                    <a:pt x="373332" y="205257"/>
                  </a:cubicBezTo>
                  <a:cubicBezTo>
                    <a:pt x="375855" y="200882"/>
                    <a:pt x="379725" y="200378"/>
                    <a:pt x="382249" y="196003"/>
                  </a:cubicBezTo>
                  <a:cubicBezTo>
                    <a:pt x="382669" y="194657"/>
                    <a:pt x="382249" y="193816"/>
                    <a:pt x="383006" y="192470"/>
                  </a:cubicBezTo>
                  <a:cubicBezTo>
                    <a:pt x="384772" y="189358"/>
                    <a:pt x="388053" y="190704"/>
                    <a:pt x="391502" y="189358"/>
                  </a:cubicBezTo>
                  <a:cubicBezTo>
                    <a:pt x="394446" y="188096"/>
                    <a:pt x="395287" y="185404"/>
                    <a:pt x="398231" y="183638"/>
                  </a:cubicBezTo>
                  <a:cubicBezTo>
                    <a:pt x="399494" y="182712"/>
                    <a:pt x="401176" y="181871"/>
                    <a:pt x="401176" y="180104"/>
                  </a:cubicBezTo>
                  <a:cubicBezTo>
                    <a:pt x="401176" y="177917"/>
                    <a:pt x="400755" y="174805"/>
                    <a:pt x="398652" y="174805"/>
                  </a:cubicBezTo>
                  <a:cubicBezTo>
                    <a:pt x="398231" y="174805"/>
                    <a:pt x="398231" y="175225"/>
                    <a:pt x="397811" y="175225"/>
                  </a:cubicBezTo>
                  <a:cubicBezTo>
                    <a:pt x="397811" y="173459"/>
                    <a:pt x="396970" y="172533"/>
                    <a:pt x="396970" y="170346"/>
                  </a:cubicBezTo>
                  <a:cubicBezTo>
                    <a:pt x="396970" y="168159"/>
                    <a:pt x="400839" y="169084"/>
                    <a:pt x="401681" y="167234"/>
                  </a:cubicBezTo>
                  <a:cubicBezTo>
                    <a:pt x="402438" y="165467"/>
                    <a:pt x="402017" y="164542"/>
                    <a:pt x="402943" y="163280"/>
                  </a:cubicBezTo>
                  <a:cubicBezTo>
                    <a:pt x="405046" y="159326"/>
                    <a:pt x="408410" y="158401"/>
                    <a:pt x="410093" y="154027"/>
                  </a:cubicBezTo>
                  <a:cubicBezTo>
                    <a:pt x="411355" y="149989"/>
                    <a:pt x="412196" y="147802"/>
                    <a:pt x="412616" y="143427"/>
                  </a:cubicBezTo>
                  <a:cubicBezTo>
                    <a:pt x="413037" y="142502"/>
                    <a:pt x="413878" y="142166"/>
                    <a:pt x="414720" y="141240"/>
                  </a:cubicBezTo>
                  <a:cubicBezTo>
                    <a:pt x="416402" y="138548"/>
                    <a:pt x="416823" y="136866"/>
                    <a:pt x="417243" y="133754"/>
                  </a:cubicBezTo>
                  <a:cubicBezTo>
                    <a:pt x="418084" y="128454"/>
                    <a:pt x="421029" y="125341"/>
                    <a:pt x="421029" y="120126"/>
                  </a:cubicBezTo>
                  <a:lnTo>
                    <a:pt x="421029" y="116088"/>
                  </a:lnTo>
                  <a:cubicBezTo>
                    <a:pt x="418169" y="115667"/>
                    <a:pt x="418926" y="112134"/>
                    <a:pt x="418926" y="109022"/>
                  </a:cubicBezTo>
                  <a:cubicBezTo>
                    <a:pt x="418926" y="105909"/>
                    <a:pt x="420187" y="104143"/>
                    <a:pt x="420608" y="101030"/>
                  </a:cubicBezTo>
                  <a:cubicBezTo>
                    <a:pt x="422375" y="95310"/>
                    <a:pt x="422375" y="92197"/>
                    <a:pt x="423973" y="86477"/>
                  </a:cubicBezTo>
                  <a:cubicBezTo>
                    <a:pt x="424393" y="84290"/>
                    <a:pt x="426496" y="83365"/>
                    <a:pt x="426496" y="80336"/>
                  </a:cubicBezTo>
                  <a:lnTo>
                    <a:pt x="426496" y="78065"/>
                  </a:lnTo>
                  <a:cubicBezTo>
                    <a:pt x="426496" y="75878"/>
                    <a:pt x="428600" y="75037"/>
                    <a:pt x="428600" y="72849"/>
                  </a:cubicBezTo>
                  <a:cubicBezTo>
                    <a:pt x="428600" y="71924"/>
                    <a:pt x="427758" y="71503"/>
                    <a:pt x="427758" y="70999"/>
                  </a:cubicBezTo>
                  <a:cubicBezTo>
                    <a:pt x="427758" y="65194"/>
                    <a:pt x="431123" y="62671"/>
                    <a:pt x="431123" y="57371"/>
                  </a:cubicBezTo>
                  <a:cubicBezTo>
                    <a:pt x="431123" y="54679"/>
                    <a:pt x="429020" y="53333"/>
                    <a:pt x="426496" y="53333"/>
                  </a:cubicBezTo>
                  <a:cubicBezTo>
                    <a:pt x="425655" y="53333"/>
                    <a:pt x="424814" y="53754"/>
                    <a:pt x="423973" y="54259"/>
                  </a:cubicBezTo>
                  <a:lnTo>
                    <a:pt x="424393" y="53333"/>
                  </a:lnTo>
                  <a:cubicBezTo>
                    <a:pt x="425655" y="50305"/>
                    <a:pt x="429441" y="50641"/>
                    <a:pt x="431544" y="48118"/>
                  </a:cubicBezTo>
                  <a:cubicBezTo>
                    <a:pt x="434488" y="44080"/>
                    <a:pt x="432806" y="40126"/>
                    <a:pt x="434488" y="35331"/>
                  </a:cubicBezTo>
                  <a:cubicBezTo>
                    <a:pt x="435750" y="31798"/>
                    <a:pt x="438694" y="30031"/>
                    <a:pt x="438694" y="26414"/>
                  </a:cubicBezTo>
                  <a:cubicBezTo>
                    <a:pt x="438694" y="21199"/>
                    <a:pt x="437012" y="18086"/>
                    <a:pt x="437012" y="13207"/>
                  </a:cubicBezTo>
                  <a:cubicBezTo>
                    <a:pt x="437012" y="10095"/>
                    <a:pt x="437769" y="8328"/>
                    <a:pt x="437769" y="5216"/>
                  </a:cubicBezTo>
                  <a:cubicBezTo>
                    <a:pt x="437769" y="3449"/>
                    <a:pt x="437348" y="1683"/>
                    <a:pt x="437012" y="0"/>
                  </a:cubicBezTo>
                  <a:lnTo>
                    <a:pt x="437012" y="0"/>
                  </a:lnTo>
                  <a:cubicBezTo>
                    <a:pt x="434488" y="1683"/>
                    <a:pt x="433142" y="2608"/>
                    <a:pt x="430618" y="3533"/>
                  </a:cubicBezTo>
                  <a:cubicBezTo>
                    <a:pt x="428936" y="3954"/>
                    <a:pt x="427254" y="3113"/>
                    <a:pt x="425992" y="3954"/>
                  </a:cubicBezTo>
                  <a:cubicBezTo>
                    <a:pt x="423889" y="4879"/>
                    <a:pt x="423889" y="8412"/>
                    <a:pt x="421786" y="8412"/>
                  </a:cubicBezTo>
                  <a:cubicBezTo>
                    <a:pt x="420524" y="8412"/>
                    <a:pt x="420103" y="7487"/>
                    <a:pt x="418841" y="7487"/>
                  </a:cubicBezTo>
                  <a:cubicBezTo>
                    <a:pt x="416318" y="7066"/>
                    <a:pt x="414215" y="7907"/>
                    <a:pt x="411691" y="7907"/>
                  </a:cubicBezTo>
                  <a:cubicBezTo>
                    <a:pt x="407485" y="7907"/>
                    <a:pt x="405803" y="4374"/>
                    <a:pt x="401681" y="4374"/>
                  </a:cubicBezTo>
                  <a:cubicBezTo>
                    <a:pt x="398316" y="4374"/>
                    <a:pt x="397811" y="7907"/>
                    <a:pt x="395287" y="10179"/>
                  </a:cubicBezTo>
                  <a:cubicBezTo>
                    <a:pt x="394026" y="11104"/>
                    <a:pt x="392764" y="10179"/>
                    <a:pt x="391081" y="11104"/>
                  </a:cubicBezTo>
                  <a:cubicBezTo>
                    <a:pt x="387212" y="12366"/>
                    <a:pt x="386034" y="15058"/>
                    <a:pt x="382249" y="16320"/>
                  </a:cubicBezTo>
                  <a:cubicBezTo>
                    <a:pt x="383006" y="18591"/>
                    <a:pt x="383510" y="19853"/>
                    <a:pt x="384772" y="21283"/>
                  </a:cubicBezTo>
                  <a:cubicBezTo>
                    <a:pt x="385109" y="21704"/>
                    <a:pt x="386455" y="21704"/>
                    <a:pt x="386455" y="22545"/>
                  </a:cubicBezTo>
                  <a:cubicBezTo>
                    <a:pt x="386455" y="27424"/>
                    <a:pt x="383090" y="31798"/>
                    <a:pt x="378463" y="31798"/>
                  </a:cubicBezTo>
                  <a:cubicBezTo>
                    <a:pt x="378463" y="32723"/>
                    <a:pt x="378463" y="33144"/>
                    <a:pt x="378042" y="33985"/>
                  </a:cubicBezTo>
                  <a:cubicBezTo>
                    <a:pt x="375939" y="33985"/>
                    <a:pt x="375182" y="30957"/>
                    <a:pt x="373079" y="30957"/>
                  </a:cubicBezTo>
                  <a:cubicBezTo>
                    <a:pt x="368453" y="30957"/>
                    <a:pt x="366686" y="35331"/>
                    <a:pt x="364583" y="39790"/>
                  </a:cubicBezTo>
                  <a:cubicBezTo>
                    <a:pt x="363742" y="41051"/>
                    <a:pt x="364162" y="42902"/>
                    <a:pt x="362901" y="42902"/>
                  </a:cubicBezTo>
                  <a:cubicBezTo>
                    <a:pt x="357012" y="42902"/>
                    <a:pt x="360377" y="32303"/>
                    <a:pt x="355330" y="29611"/>
                  </a:cubicBezTo>
                  <a:cubicBezTo>
                    <a:pt x="350703" y="27424"/>
                    <a:pt x="349020" y="24732"/>
                    <a:pt x="344814" y="22124"/>
                  </a:cubicBezTo>
                  <a:cubicBezTo>
                    <a:pt x="343553" y="21283"/>
                    <a:pt x="343553" y="19432"/>
                    <a:pt x="341870" y="19432"/>
                  </a:cubicBezTo>
                  <a:cubicBezTo>
                    <a:pt x="340188" y="19432"/>
                    <a:pt x="339347" y="20778"/>
                    <a:pt x="337243" y="20778"/>
                  </a:cubicBezTo>
                  <a:lnTo>
                    <a:pt x="333374" y="20778"/>
                  </a:lnTo>
                  <a:cubicBezTo>
                    <a:pt x="333374" y="20778"/>
                    <a:pt x="332617" y="21199"/>
                    <a:pt x="331691" y="21199"/>
                  </a:cubicBezTo>
                  <a:cubicBezTo>
                    <a:pt x="328327" y="21199"/>
                    <a:pt x="327906" y="16236"/>
                    <a:pt x="324541" y="16236"/>
                  </a:cubicBezTo>
                  <a:cubicBezTo>
                    <a:pt x="319073" y="16236"/>
                    <a:pt x="316549" y="19769"/>
                    <a:pt x="311082" y="19769"/>
                  </a:cubicBezTo>
                  <a:cubicBezTo>
                    <a:pt x="309820" y="19769"/>
                    <a:pt x="309399" y="19348"/>
                    <a:pt x="308137" y="19348"/>
                  </a:cubicBezTo>
                  <a:lnTo>
                    <a:pt x="304352" y="19348"/>
                  </a:lnTo>
                  <a:cubicBezTo>
                    <a:pt x="301828" y="19348"/>
                    <a:pt x="300482" y="17581"/>
                    <a:pt x="297959" y="17581"/>
                  </a:cubicBezTo>
                  <a:cubicBezTo>
                    <a:pt x="294594" y="17581"/>
                    <a:pt x="293332" y="21115"/>
                    <a:pt x="290472" y="23386"/>
                  </a:cubicBezTo>
                  <a:cubicBezTo>
                    <a:pt x="287107" y="25994"/>
                    <a:pt x="284079" y="25994"/>
                    <a:pt x="281555" y="29527"/>
                  </a:cubicBezTo>
                  <a:cubicBezTo>
                    <a:pt x="280293" y="30873"/>
                    <a:pt x="281134" y="33565"/>
                    <a:pt x="279452" y="33901"/>
                  </a:cubicBezTo>
                  <a:lnTo>
                    <a:pt x="757" y="34826"/>
                  </a:lnTo>
                  <a:lnTo>
                    <a:pt x="757" y="34826"/>
                  </a:lnTo>
                  <a:lnTo>
                    <a:pt x="0" y="251271"/>
                  </a:lnTo>
                  <a:lnTo>
                    <a:pt x="0" y="251271"/>
                  </a:lnTo>
                  <a:lnTo>
                    <a:pt x="1682" y="250851"/>
                  </a:lnTo>
                  <a:cubicBezTo>
                    <a:pt x="4627" y="252617"/>
                    <a:pt x="6730" y="252112"/>
                    <a:pt x="10095" y="253458"/>
                  </a:cubicBezTo>
                  <a:cubicBezTo>
                    <a:pt x="14385" y="255309"/>
                    <a:pt x="15562" y="258758"/>
                    <a:pt x="20189" y="258758"/>
                  </a:cubicBezTo>
                  <a:cubicBezTo>
                    <a:pt x="22713" y="258758"/>
                    <a:pt x="22292" y="253879"/>
                    <a:pt x="24816" y="253879"/>
                  </a:cubicBezTo>
                  <a:cubicBezTo>
                    <a:pt x="27340" y="253879"/>
                    <a:pt x="29022" y="255225"/>
                    <a:pt x="31546" y="255225"/>
                  </a:cubicBezTo>
                  <a:cubicBezTo>
                    <a:pt x="33312" y="255225"/>
                    <a:pt x="34069" y="254804"/>
                    <a:pt x="35836" y="254804"/>
                  </a:cubicBezTo>
                  <a:cubicBezTo>
                    <a:pt x="39201" y="254804"/>
                    <a:pt x="40799" y="257917"/>
                    <a:pt x="42902" y="260945"/>
                  </a:cubicBezTo>
                  <a:cubicBezTo>
                    <a:pt x="43323" y="261871"/>
                    <a:pt x="43743" y="262796"/>
                    <a:pt x="44669" y="263637"/>
                  </a:cubicBezTo>
                  <a:cubicBezTo>
                    <a:pt x="46351" y="264983"/>
                    <a:pt x="49716" y="263637"/>
                    <a:pt x="49716" y="265824"/>
                  </a:cubicBezTo>
                  <a:cubicBezTo>
                    <a:pt x="49716" y="267675"/>
                    <a:pt x="48875" y="268937"/>
                    <a:pt x="48875" y="271124"/>
                  </a:cubicBezTo>
                  <a:cubicBezTo>
                    <a:pt x="48875" y="273311"/>
                    <a:pt x="50557" y="274236"/>
                    <a:pt x="51398" y="276003"/>
                  </a:cubicBezTo>
                  <a:cubicBezTo>
                    <a:pt x="53081" y="280041"/>
                    <a:pt x="53501" y="284415"/>
                    <a:pt x="57287" y="284415"/>
                  </a:cubicBezTo>
                  <a:cubicBezTo>
                    <a:pt x="59810" y="284415"/>
                    <a:pt x="60231" y="280882"/>
                    <a:pt x="60231" y="278190"/>
                  </a:cubicBezTo>
                  <a:cubicBezTo>
                    <a:pt x="60652" y="276003"/>
                    <a:pt x="62755" y="275582"/>
                    <a:pt x="63175" y="273311"/>
                  </a:cubicBezTo>
                  <a:cubicBezTo>
                    <a:pt x="64858" y="278611"/>
                    <a:pt x="69905" y="279116"/>
                    <a:pt x="74532" y="280461"/>
                  </a:cubicBezTo>
                  <a:cubicBezTo>
                    <a:pt x="78317" y="281303"/>
                    <a:pt x="79579" y="283490"/>
                    <a:pt x="83028" y="284836"/>
                  </a:cubicBezTo>
                  <a:cubicBezTo>
                    <a:pt x="82607" y="287023"/>
                    <a:pt x="81261" y="287948"/>
                    <a:pt x="81261" y="290136"/>
                  </a:cubicBezTo>
                  <a:cubicBezTo>
                    <a:pt x="81261" y="294510"/>
                    <a:pt x="81261" y="298043"/>
                    <a:pt x="84206" y="301155"/>
                  </a:cubicBezTo>
                  <a:cubicBezTo>
                    <a:pt x="86309" y="303342"/>
                    <a:pt x="90515" y="302922"/>
                    <a:pt x="90515" y="306034"/>
                  </a:cubicBezTo>
                  <a:lnTo>
                    <a:pt x="90515" y="309147"/>
                  </a:lnTo>
                  <a:cubicBezTo>
                    <a:pt x="90515" y="311334"/>
                    <a:pt x="93459" y="310914"/>
                    <a:pt x="95142" y="311334"/>
                  </a:cubicBezTo>
                  <a:cubicBezTo>
                    <a:pt x="98086" y="312260"/>
                    <a:pt x="99348" y="314447"/>
                    <a:pt x="101871" y="316213"/>
                  </a:cubicBezTo>
                  <a:cubicBezTo>
                    <a:pt x="106582" y="319326"/>
                    <a:pt x="109863" y="320588"/>
                    <a:pt x="112471" y="325466"/>
                  </a:cubicBezTo>
                  <a:cubicBezTo>
                    <a:pt x="113312" y="327317"/>
                    <a:pt x="114994" y="327317"/>
                    <a:pt x="116256" y="328579"/>
                  </a:cubicBezTo>
                  <a:cubicBezTo>
                    <a:pt x="118780" y="332953"/>
                    <a:pt x="120126" y="336066"/>
                    <a:pt x="124248" y="339178"/>
                  </a:cubicBezTo>
                  <a:cubicBezTo>
                    <a:pt x="127192" y="341870"/>
                    <a:pt x="128874" y="344983"/>
                    <a:pt x="133080" y="344983"/>
                  </a:cubicBezTo>
                  <a:cubicBezTo>
                    <a:pt x="133922" y="344983"/>
                    <a:pt x="133922" y="344058"/>
                    <a:pt x="134763" y="343637"/>
                  </a:cubicBezTo>
                  <a:cubicBezTo>
                    <a:pt x="136529" y="343216"/>
                    <a:pt x="137707" y="343637"/>
                    <a:pt x="139474" y="343216"/>
                  </a:cubicBezTo>
                  <a:cubicBezTo>
                    <a:pt x="139053" y="341450"/>
                    <a:pt x="138212" y="341029"/>
                    <a:pt x="138212" y="339263"/>
                  </a:cubicBezTo>
                  <a:cubicBezTo>
                    <a:pt x="138212" y="335729"/>
                    <a:pt x="141577" y="333037"/>
                    <a:pt x="144941" y="333037"/>
                  </a:cubicBezTo>
                  <a:cubicBezTo>
                    <a:pt x="147886" y="333037"/>
                    <a:pt x="149568" y="333963"/>
                    <a:pt x="152512" y="333963"/>
                  </a:cubicBezTo>
                  <a:cubicBezTo>
                    <a:pt x="154615" y="333963"/>
                    <a:pt x="155036" y="332196"/>
                    <a:pt x="156718" y="332196"/>
                  </a:cubicBezTo>
                  <a:cubicBezTo>
                    <a:pt x="162607" y="332196"/>
                    <a:pt x="163869" y="339263"/>
                    <a:pt x="169337" y="339263"/>
                  </a:cubicBezTo>
                  <a:cubicBezTo>
                    <a:pt x="170178" y="339263"/>
                    <a:pt x="170178" y="338337"/>
                    <a:pt x="171019" y="338337"/>
                  </a:cubicBezTo>
                  <a:cubicBezTo>
                    <a:pt x="172786" y="338337"/>
                    <a:pt x="173122" y="339683"/>
                    <a:pt x="175225" y="339683"/>
                  </a:cubicBezTo>
                  <a:cubicBezTo>
                    <a:pt x="176066" y="339683"/>
                    <a:pt x="176487" y="339263"/>
                    <a:pt x="177749" y="339263"/>
                  </a:cubicBezTo>
                  <a:cubicBezTo>
                    <a:pt x="179011" y="339263"/>
                    <a:pt x="179515" y="340524"/>
                    <a:pt x="180273" y="341029"/>
                  </a:cubicBezTo>
                  <a:cubicBezTo>
                    <a:pt x="182796" y="341954"/>
                    <a:pt x="184899" y="341450"/>
                    <a:pt x="187423" y="341450"/>
                  </a:cubicBezTo>
                  <a:lnTo>
                    <a:pt x="189189" y="341450"/>
                  </a:lnTo>
                  <a:lnTo>
                    <a:pt x="189189" y="339683"/>
                  </a:lnTo>
                  <a:cubicBezTo>
                    <a:pt x="189526" y="339263"/>
                    <a:pt x="189947" y="338758"/>
                    <a:pt x="190451" y="338758"/>
                  </a:cubicBezTo>
                  <a:cubicBezTo>
                    <a:pt x="191292" y="338758"/>
                    <a:pt x="191713" y="339178"/>
                    <a:pt x="192554" y="339178"/>
                  </a:cubicBezTo>
                  <a:lnTo>
                    <a:pt x="194657" y="339178"/>
                  </a:lnTo>
                  <a:cubicBezTo>
                    <a:pt x="196424" y="339178"/>
                    <a:pt x="197181" y="340945"/>
                    <a:pt x="198863" y="341366"/>
                  </a:cubicBezTo>
                  <a:cubicBezTo>
                    <a:pt x="203154" y="343132"/>
                    <a:pt x="205677" y="344899"/>
                    <a:pt x="210304" y="344899"/>
                  </a:cubicBezTo>
                  <a:cubicBezTo>
                    <a:pt x="212407" y="344899"/>
                    <a:pt x="211986" y="340861"/>
                    <a:pt x="214089" y="340440"/>
                  </a:cubicBezTo>
                  <a:cubicBezTo>
                    <a:pt x="220399" y="338674"/>
                    <a:pt x="223763" y="336907"/>
                    <a:pt x="230072" y="336907"/>
                  </a:cubicBezTo>
                  <a:cubicBezTo>
                    <a:pt x="235540" y="336907"/>
                    <a:pt x="238905" y="337748"/>
                    <a:pt x="243195" y="341281"/>
                  </a:cubicBezTo>
                  <a:cubicBezTo>
                    <a:pt x="246560" y="343469"/>
                    <a:pt x="246056" y="347422"/>
                    <a:pt x="246056" y="351881"/>
                  </a:cubicBezTo>
                  <a:lnTo>
                    <a:pt x="246056" y="355835"/>
                  </a:lnTo>
                  <a:cubicBezTo>
                    <a:pt x="246056" y="362059"/>
                    <a:pt x="250682" y="364247"/>
                    <a:pt x="250682" y="370387"/>
                  </a:cubicBezTo>
                  <a:cubicBezTo>
                    <a:pt x="250682" y="371733"/>
                    <a:pt x="250346" y="372154"/>
                    <a:pt x="250346" y="373500"/>
                  </a:cubicBezTo>
                  <a:cubicBezTo>
                    <a:pt x="250346" y="375687"/>
                    <a:pt x="252449" y="376192"/>
                    <a:pt x="254552" y="377033"/>
                  </a:cubicBezTo>
                  <a:cubicBezTo>
                    <a:pt x="257917" y="378379"/>
                    <a:pt x="259599" y="380146"/>
                    <a:pt x="262964" y="381491"/>
                  </a:cubicBezTo>
                  <a:lnTo>
                    <a:pt x="313101" y="407990"/>
                  </a:lnTo>
                  <a:lnTo>
                    <a:pt x="313101" y="407990"/>
                  </a:lnTo>
                  <a:close/>
                  <a:moveTo>
                    <a:pt x="279200" y="302165"/>
                  </a:moveTo>
                  <a:lnTo>
                    <a:pt x="279200" y="302165"/>
                  </a:lnTo>
                  <a:cubicBezTo>
                    <a:pt x="280966" y="300819"/>
                    <a:pt x="282144" y="299473"/>
                    <a:pt x="284247" y="299473"/>
                  </a:cubicBezTo>
                  <a:cubicBezTo>
                    <a:pt x="288874" y="299473"/>
                    <a:pt x="288537" y="306034"/>
                    <a:pt x="292743" y="308306"/>
                  </a:cubicBezTo>
                  <a:cubicBezTo>
                    <a:pt x="290220" y="310493"/>
                    <a:pt x="287275" y="308726"/>
                    <a:pt x="284752" y="310998"/>
                  </a:cubicBezTo>
                  <a:cubicBezTo>
                    <a:pt x="283490" y="311923"/>
                    <a:pt x="283910" y="314110"/>
                    <a:pt x="283490" y="315877"/>
                  </a:cubicBezTo>
                  <a:cubicBezTo>
                    <a:pt x="283069" y="318064"/>
                    <a:pt x="282228" y="319914"/>
                    <a:pt x="282228" y="322102"/>
                  </a:cubicBezTo>
                  <a:cubicBezTo>
                    <a:pt x="282228" y="325130"/>
                    <a:pt x="283069" y="326476"/>
                    <a:pt x="283069" y="329589"/>
                  </a:cubicBezTo>
                  <a:cubicBezTo>
                    <a:pt x="283069" y="330850"/>
                    <a:pt x="282649" y="331776"/>
                    <a:pt x="282649" y="333122"/>
                  </a:cubicBezTo>
                  <a:cubicBezTo>
                    <a:pt x="282649" y="334468"/>
                    <a:pt x="283490" y="336234"/>
                    <a:pt x="282228" y="336234"/>
                  </a:cubicBezTo>
                  <a:cubicBezTo>
                    <a:pt x="278442" y="336234"/>
                    <a:pt x="277181" y="332701"/>
                    <a:pt x="275078" y="329673"/>
                  </a:cubicBezTo>
                  <a:cubicBezTo>
                    <a:pt x="272554" y="326140"/>
                    <a:pt x="270030" y="324373"/>
                    <a:pt x="270030" y="319999"/>
                  </a:cubicBezTo>
                  <a:cubicBezTo>
                    <a:pt x="270030" y="316466"/>
                    <a:pt x="272554" y="315035"/>
                    <a:pt x="272554" y="311586"/>
                  </a:cubicBezTo>
                  <a:lnTo>
                    <a:pt x="272554" y="308474"/>
                  </a:lnTo>
                  <a:cubicBezTo>
                    <a:pt x="272554" y="304941"/>
                    <a:pt x="278442" y="306287"/>
                    <a:pt x="279284" y="302333"/>
                  </a:cubicBezTo>
                  <a:lnTo>
                    <a:pt x="279284" y="302333"/>
                  </a:lnTo>
                  <a:close/>
                </a:path>
              </a:pathLst>
            </a:custGeom>
            <a:grpFill/>
            <a:ln w="8410" cap="flat">
              <a:solidFill>
                <a:srgbClr val="F59E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a:ea typeface="+mn-ea"/>
                <a:cs typeface="+mn-cs"/>
              </a:endParaRPr>
            </a:p>
          </p:txBody>
        </p:sp>
        <p:sp>
          <p:nvSpPr>
            <p:cNvPr id="531" name="Freeform: Shape 530">
              <a:extLst>
                <a:ext uri="{FF2B5EF4-FFF2-40B4-BE49-F238E27FC236}">
                  <a16:creationId xmlns:a16="http://schemas.microsoft.com/office/drawing/2014/main" id="{9B74C7B8-2BBD-FD48-581C-DD29785AD655}"/>
                </a:ext>
              </a:extLst>
            </p:cNvPr>
            <p:cNvSpPr/>
            <p:nvPr/>
          </p:nvSpPr>
          <p:spPr>
            <a:xfrm>
              <a:off x="10151551" y="5751019"/>
              <a:ext cx="211737" cy="260351"/>
            </a:xfrm>
            <a:custGeom>
              <a:avLst/>
              <a:gdLst>
                <a:gd name="connsiteX0" fmla="*/ 145026 w 159746"/>
                <a:gd name="connsiteY0" fmla="*/ 133837 h 196423"/>
                <a:gd name="connsiteX1" fmla="*/ 145026 w 159746"/>
                <a:gd name="connsiteY1" fmla="*/ 133837 h 196423"/>
                <a:gd name="connsiteX2" fmla="*/ 140399 w 159746"/>
                <a:gd name="connsiteY2" fmla="*/ 144857 h 196423"/>
                <a:gd name="connsiteX3" fmla="*/ 142502 w 159746"/>
                <a:gd name="connsiteY3" fmla="*/ 150157 h 196423"/>
                <a:gd name="connsiteX4" fmla="*/ 139137 w 159746"/>
                <a:gd name="connsiteY4" fmla="*/ 158906 h 196423"/>
                <a:gd name="connsiteX5" fmla="*/ 144184 w 159746"/>
                <a:gd name="connsiteY5" fmla="*/ 162943 h 196423"/>
                <a:gd name="connsiteX6" fmla="*/ 142081 w 159746"/>
                <a:gd name="connsiteY6" fmla="*/ 166393 h 196423"/>
                <a:gd name="connsiteX7" fmla="*/ 142923 w 159746"/>
                <a:gd name="connsiteY7" fmla="*/ 172617 h 196423"/>
                <a:gd name="connsiteX8" fmla="*/ 142081 w 159746"/>
                <a:gd name="connsiteY8" fmla="*/ 174384 h 196423"/>
                <a:gd name="connsiteX9" fmla="*/ 139978 w 159746"/>
                <a:gd name="connsiteY9" fmla="*/ 170851 h 196423"/>
                <a:gd name="connsiteX10" fmla="*/ 137034 w 159746"/>
                <a:gd name="connsiteY10" fmla="*/ 174889 h 196423"/>
                <a:gd name="connsiteX11" fmla="*/ 134931 w 159746"/>
                <a:gd name="connsiteY11" fmla="*/ 173122 h 196423"/>
                <a:gd name="connsiteX12" fmla="*/ 134931 w 159746"/>
                <a:gd name="connsiteY12" fmla="*/ 169084 h 196423"/>
                <a:gd name="connsiteX13" fmla="*/ 131650 w 159746"/>
                <a:gd name="connsiteY13" fmla="*/ 168159 h 196423"/>
                <a:gd name="connsiteX14" fmla="*/ 132407 w 159746"/>
                <a:gd name="connsiteY14" fmla="*/ 165131 h 196423"/>
                <a:gd name="connsiteX15" fmla="*/ 133249 w 159746"/>
                <a:gd name="connsiteY15" fmla="*/ 165131 h 196423"/>
                <a:gd name="connsiteX16" fmla="*/ 137034 w 159746"/>
                <a:gd name="connsiteY16" fmla="*/ 168579 h 196423"/>
                <a:gd name="connsiteX17" fmla="*/ 139978 w 159746"/>
                <a:gd name="connsiteY17" fmla="*/ 166813 h 196423"/>
                <a:gd name="connsiteX18" fmla="*/ 129127 w 159746"/>
                <a:gd name="connsiteY18" fmla="*/ 157139 h 196423"/>
                <a:gd name="connsiteX19" fmla="*/ 126182 w 159746"/>
                <a:gd name="connsiteY19" fmla="*/ 164205 h 196423"/>
                <a:gd name="connsiteX20" fmla="*/ 124500 w 159746"/>
                <a:gd name="connsiteY20" fmla="*/ 161513 h 196423"/>
                <a:gd name="connsiteX21" fmla="*/ 120210 w 159746"/>
                <a:gd name="connsiteY21" fmla="*/ 166393 h 196423"/>
                <a:gd name="connsiteX22" fmla="*/ 120210 w 159746"/>
                <a:gd name="connsiteY22" fmla="*/ 168159 h 196423"/>
                <a:gd name="connsiteX23" fmla="*/ 118107 w 159746"/>
                <a:gd name="connsiteY23" fmla="*/ 167318 h 196423"/>
                <a:gd name="connsiteX24" fmla="*/ 119369 w 159746"/>
                <a:gd name="connsiteY24" fmla="*/ 173038 h 196423"/>
                <a:gd name="connsiteX25" fmla="*/ 117266 w 159746"/>
                <a:gd name="connsiteY25" fmla="*/ 179179 h 196423"/>
                <a:gd name="connsiteX26" fmla="*/ 112639 w 159746"/>
                <a:gd name="connsiteY26" fmla="*/ 176066 h 196423"/>
                <a:gd name="connsiteX27" fmla="*/ 112639 w 159746"/>
                <a:gd name="connsiteY27" fmla="*/ 175225 h 196423"/>
                <a:gd name="connsiteX28" fmla="*/ 108012 w 159746"/>
                <a:gd name="connsiteY28" fmla="*/ 174300 h 196423"/>
                <a:gd name="connsiteX29" fmla="*/ 110872 w 159746"/>
                <a:gd name="connsiteY29" fmla="*/ 180441 h 196423"/>
                <a:gd name="connsiteX30" fmla="*/ 109610 w 159746"/>
                <a:gd name="connsiteY30" fmla="*/ 182291 h 196423"/>
                <a:gd name="connsiteX31" fmla="*/ 110367 w 159746"/>
                <a:gd name="connsiteY31" fmla="*/ 183553 h 196423"/>
                <a:gd name="connsiteX32" fmla="*/ 106582 w 159746"/>
                <a:gd name="connsiteY32" fmla="*/ 188432 h 196423"/>
                <a:gd name="connsiteX33" fmla="*/ 102797 w 159746"/>
                <a:gd name="connsiteY33" fmla="*/ 196424 h 196423"/>
                <a:gd name="connsiteX34" fmla="*/ 93123 w 159746"/>
                <a:gd name="connsiteY34" fmla="*/ 192049 h 196423"/>
                <a:gd name="connsiteX35" fmla="*/ 85972 w 159746"/>
                <a:gd name="connsiteY35" fmla="*/ 192049 h 196423"/>
                <a:gd name="connsiteX36" fmla="*/ 83028 w 159746"/>
                <a:gd name="connsiteY36" fmla="*/ 191124 h 196423"/>
                <a:gd name="connsiteX37" fmla="*/ 77981 w 159746"/>
                <a:gd name="connsiteY37" fmla="*/ 194237 h 196423"/>
                <a:gd name="connsiteX38" fmla="*/ 74195 w 159746"/>
                <a:gd name="connsiteY38" fmla="*/ 185825 h 196423"/>
                <a:gd name="connsiteX39" fmla="*/ 67886 w 159746"/>
                <a:gd name="connsiteY39" fmla="*/ 177497 h 196423"/>
                <a:gd name="connsiteX40" fmla="*/ 57876 w 159746"/>
                <a:gd name="connsiteY40" fmla="*/ 163785 h 196423"/>
                <a:gd name="connsiteX41" fmla="*/ 54090 w 159746"/>
                <a:gd name="connsiteY41" fmla="*/ 150998 h 196423"/>
                <a:gd name="connsiteX42" fmla="*/ 51230 w 159746"/>
                <a:gd name="connsiteY42" fmla="*/ 145783 h 196423"/>
                <a:gd name="connsiteX43" fmla="*/ 50809 w 159746"/>
                <a:gd name="connsiteY43" fmla="*/ 139558 h 196423"/>
                <a:gd name="connsiteX44" fmla="*/ 47865 w 159746"/>
                <a:gd name="connsiteY44" fmla="*/ 128538 h 196423"/>
                <a:gd name="connsiteX45" fmla="*/ 48286 w 159746"/>
                <a:gd name="connsiteY45" fmla="*/ 128958 h 196423"/>
                <a:gd name="connsiteX46" fmla="*/ 54595 w 159746"/>
                <a:gd name="connsiteY46" fmla="*/ 135183 h 196423"/>
                <a:gd name="connsiteX47" fmla="*/ 56277 w 159746"/>
                <a:gd name="connsiteY47" fmla="*/ 138296 h 196423"/>
                <a:gd name="connsiteX48" fmla="*/ 59222 w 159746"/>
                <a:gd name="connsiteY48" fmla="*/ 140062 h 196423"/>
                <a:gd name="connsiteX49" fmla="*/ 59222 w 159746"/>
                <a:gd name="connsiteY49" fmla="*/ 138296 h 196423"/>
                <a:gd name="connsiteX50" fmla="*/ 53838 w 159746"/>
                <a:gd name="connsiteY50" fmla="*/ 128117 h 196423"/>
                <a:gd name="connsiteX51" fmla="*/ 49548 w 159746"/>
                <a:gd name="connsiteY51" fmla="*/ 122818 h 196423"/>
                <a:gd name="connsiteX52" fmla="*/ 37434 w 159746"/>
                <a:gd name="connsiteY52" fmla="*/ 97245 h 196423"/>
                <a:gd name="connsiteX53" fmla="*/ 32387 w 159746"/>
                <a:gd name="connsiteY53" fmla="*/ 87571 h 196423"/>
                <a:gd name="connsiteX54" fmla="*/ 33144 w 159746"/>
                <a:gd name="connsiteY54" fmla="*/ 86729 h 196423"/>
                <a:gd name="connsiteX55" fmla="*/ 28517 w 159746"/>
                <a:gd name="connsiteY55" fmla="*/ 69484 h 196423"/>
                <a:gd name="connsiteX56" fmla="*/ 27255 w 159746"/>
                <a:gd name="connsiteY56" fmla="*/ 67297 h 196423"/>
                <a:gd name="connsiteX57" fmla="*/ 30536 w 159746"/>
                <a:gd name="connsiteY57" fmla="*/ 58044 h 196423"/>
                <a:gd name="connsiteX58" fmla="*/ 29779 w 159746"/>
                <a:gd name="connsiteY58" fmla="*/ 52744 h 196423"/>
                <a:gd name="connsiteX59" fmla="*/ 30536 w 159746"/>
                <a:gd name="connsiteY59" fmla="*/ 52744 h 196423"/>
                <a:gd name="connsiteX60" fmla="*/ 31798 w 159746"/>
                <a:gd name="connsiteY60" fmla="*/ 54090 h 196423"/>
                <a:gd name="connsiteX61" fmla="*/ 38528 w 159746"/>
                <a:gd name="connsiteY61" fmla="*/ 55857 h 196423"/>
                <a:gd name="connsiteX62" fmla="*/ 43154 w 159746"/>
                <a:gd name="connsiteY62" fmla="*/ 58549 h 196423"/>
                <a:gd name="connsiteX63" fmla="*/ 46099 w 159746"/>
                <a:gd name="connsiteY63" fmla="*/ 57623 h 196423"/>
                <a:gd name="connsiteX64" fmla="*/ 55773 w 159746"/>
                <a:gd name="connsiteY64" fmla="*/ 61661 h 196423"/>
                <a:gd name="connsiteX65" fmla="*/ 75036 w 159746"/>
                <a:gd name="connsiteY65" fmla="*/ 70914 h 196423"/>
                <a:gd name="connsiteX66" fmla="*/ 85552 w 159746"/>
                <a:gd name="connsiteY66" fmla="*/ 74448 h 196423"/>
                <a:gd name="connsiteX67" fmla="*/ 89337 w 159746"/>
                <a:gd name="connsiteY67" fmla="*/ 74448 h 196423"/>
                <a:gd name="connsiteX68" fmla="*/ 95226 w 159746"/>
                <a:gd name="connsiteY68" fmla="*/ 77896 h 196423"/>
                <a:gd name="connsiteX69" fmla="*/ 98506 w 159746"/>
                <a:gd name="connsiteY69" fmla="*/ 70830 h 196423"/>
                <a:gd name="connsiteX70" fmla="*/ 103554 w 159746"/>
                <a:gd name="connsiteY70" fmla="*/ 73943 h 196423"/>
                <a:gd name="connsiteX71" fmla="*/ 109022 w 159746"/>
                <a:gd name="connsiteY71" fmla="*/ 80504 h 196423"/>
                <a:gd name="connsiteX72" fmla="*/ 105236 w 159746"/>
                <a:gd name="connsiteY72" fmla="*/ 69064 h 196423"/>
                <a:gd name="connsiteX73" fmla="*/ 105236 w 159746"/>
                <a:gd name="connsiteY73" fmla="*/ 67213 h 196423"/>
                <a:gd name="connsiteX74" fmla="*/ 105993 w 159746"/>
                <a:gd name="connsiteY74" fmla="*/ 67213 h 196423"/>
                <a:gd name="connsiteX75" fmla="*/ 112302 w 159746"/>
                <a:gd name="connsiteY75" fmla="*/ 69064 h 196423"/>
                <a:gd name="connsiteX76" fmla="*/ 117686 w 159746"/>
                <a:gd name="connsiteY76" fmla="*/ 65951 h 196423"/>
                <a:gd name="connsiteX77" fmla="*/ 121892 w 159746"/>
                <a:gd name="connsiteY77" fmla="*/ 68643 h 196423"/>
                <a:gd name="connsiteX78" fmla="*/ 130725 w 159746"/>
                <a:gd name="connsiteY78" fmla="*/ 59810 h 196423"/>
                <a:gd name="connsiteX79" fmla="*/ 137034 w 159746"/>
                <a:gd name="connsiteY79" fmla="*/ 62923 h 196423"/>
                <a:gd name="connsiteX80" fmla="*/ 142923 w 159746"/>
                <a:gd name="connsiteY80" fmla="*/ 56782 h 196423"/>
                <a:gd name="connsiteX81" fmla="*/ 155457 w 159746"/>
                <a:gd name="connsiteY81" fmla="*/ 66961 h 196423"/>
                <a:gd name="connsiteX82" fmla="*/ 152597 w 159746"/>
                <a:gd name="connsiteY82" fmla="*/ 70410 h 196423"/>
                <a:gd name="connsiteX83" fmla="*/ 152933 w 159746"/>
                <a:gd name="connsiteY83" fmla="*/ 71335 h 196423"/>
                <a:gd name="connsiteX84" fmla="*/ 152933 w 159746"/>
                <a:gd name="connsiteY84" fmla="*/ 77055 h 196423"/>
                <a:gd name="connsiteX85" fmla="*/ 154195 w 159746"/>
                <a:gd name="connsiteY85" fmla="*/ 81514 h 196423"/>
                <a:gd name="connsiteX86" fmla="*/ 153354 w 159746"/>
                <a:gd name="connsiteY86" fmla="*/ 86393 h 196423"/>
                <a:gd name="connsiteX87" fmla="*/ 153354 w 159746"/>
                <a:gd name="connsiteY87" fmla="*/ 90767 h 196423"/>
                <a:gd name="connsiteX88" fmla="*/ 155457 w 159746"/>
                <a:gd name="connsiteY88" fmla="*/ 97833 h 196423"/>
                <a:gd name="connsiteX89" fmla="*/ 153774 w 159746"/>
                <a:gd name="connsiteY89" fmla="*/ 104900 h 196423"/>
                <a:gd name="connsiteX90" fmla="*/ 154195 w 159746"/>
                <a:gd name="connsiteY90" fmla="*/ 111545 h 196423"/>
                <a:gd name="connsiteX91" fmla="*/ 152933 w 159746"/>
                <a:gd name="connsiteY91" fmla="*/ 117266 h 196423"/>
                <a:gd name="connsiteX92" fmla="*/ 154700 w 159746"/>
                <a:gd name="connsiteY92" fmla="*/ 120798 h 196423"/>
                <a:gd name="connsiteX93" fmla="*/ 151335 w 159746"/>
                <a:gd name="connsiteY93" fmla="*/ 119453 h 196423"/>
                <a:gd name="connsiteX94" fmla="*/ 151335 w 159746"/>
                <a:gd name="connsiteY94" fmla="*/ 118612 h 196423"/>
                <a:gd name="connsiteX95" fmla="*/ 151755 w 159746"/>
                <a:gd name="connsiteY95" fmla="*/ 115920 h 196423"/>
                <a:gd name="connsiteX96" fmla="*/ 146708 w 159746"/>
                <a:gd name="connsiteY96" fmla="*/ 125173 h 196423"/>
                <a:gd name="connsiteX97" fmla="*/ 144184 w 159746"/>
                <a:gd name="connsiteY97" fmla="*/ 133164 h 196423"/>
                <a:gd name="connsiteX98" fmla="*/ 144605 w 159746"/>
                <a:gd name="connsiteY98" fmla="*/ 134006 h 196423"/>
                <a:gd name="connsiteX99" fmla="*/ 144605 w 159746"/>
                <a:gd name="connsiteY99" fmla="*/ 134006 h 196423"/>
                <a:gd name="connsiteX100" fmla="*/ 121051 w 159746"/>
                <a:gd name="connsiteY100" fmla="*/ 180609 h 196423"/>
                <a:gd name="connsiteX101" fmla="*/ 121051 w 159746"/>
                <a:gd name="connsiteY101" fmla="*/ 180609 h 196423"/>
                <a:gd name="connsiteX102" fmla="*/ 120210 w 159746"/>
                <a:gd name="connsiteY102" fmla="*/ 180188 h 196423"/>
                <a:gd name="connsiteX103" fmla="*/ 116929 w 159746"/>
                <a:gd name="connsiteY103" fmla="*/ 185909 h 196423"/>
                <a:gd name="connsiteX104" fmla="*/ 119453 w 159746"/>
                <a:gd name="connsiteY104" fmla="*/ 190367 h 196423"/>
                <a:gd name="connsiteX105" fmla="*/ 121556 w 159746"/>
                <a:gd name="connsiteY105" fmla="*/ 185488 h 196423"/>
                <a:gd name="connsiteX106" fmla="*/ 121135 w 159746"/>
                <a:gd name="connsiteY106" fmla="*/ 183637 h 196423"/>
                <a:gd name="connsiteX107" fmla="*/ 121135 w 159746"/>
                <a:gd name="connsiteY107" fmla="*/ 180525 h 196423"/>
                <a:gd name="connsiteX108" fmla="*/ 121135 w 159746"/>
                <a:gd name="connsiteY108" fmla="*/ 180525 h 196423"/>
                <a:gd name="connsiteX109" fmla="*/ 148306 w 159746"/>
                <a:gd name="connsiteY109" fmla="*/ 146203 h 196423"/>
                <a:gd name="connsiteX110" fmla="*/ 148306 w 159746"/>
                <a:gd name="connsiteY110" fmla="*/ 146203 h 196423"/>
                <a:gd name="connsiteX111" fmla="*/ 148306 w 159746"/>
                <a:gd name="connsiteY111" fmla="*/ 145783 h 196423"/>
                <a:gd name="connsiteX112" fmla="*/ 147549 w 159746"/>
                <a:gd name="connsiteY112" fmla="*/ 145362 h 196423"/>
                <a:gd name="connsiteX113" fmla="*/ 146287 w 159746"/>
                <a:gd name="connsiteY113" fmla="*/ 149316 h 196423"/>
                <a:gd name="connsiteX114" fmla="*/ 147549 w 159746"/>
                <a:gd name="connsiteY114" fmla="*/ 149736 h 196423"/>
                <a:gd name="connsiteX115" fmla="*/ 148811 w 159746"/>
                <a:gd name="connsiteY115" fmla="*/ 149316 h 196423"/>
                <a:gd name="connsiteX116" fmla="*/ 148390 w 159746"/>
                <a:gd name="connsiteY116" fmla="*/ 146203 h 196423"/>
                <a:gd name="connsiteX117" fmla="*/ 148390 w 159746"/>
                <a:gd name="connsiteY117" fmla="*/ 146203 h 196423"/>
                <a:gd name="connsiteX118" fmla="*/ 37098 w 159746"/>
                <a:gd name="connsiteY118" fmla="*/ 50557 h 196423"/>
                <a:gd name="connsiteX119" fmla="*/ 37098 w 159746"/>
                <a:gd name="connsiteY119" fmla="*/ 50557 h 196423"/>
                <a:gd name="connsiteX120" fmla="*/ 36256 w 159746"/>
                <a:gd name="connsiteY120" fmla="*/ 53670 h 196423"/>
                <a:gd name="connsiteX121" fmla="*/ 37098 w 159746"/>
                <a:gd name="connsiteY121" fmla="*/ 54090 h 196423"/>
                <a:gd name="connsiteX122" fmla="*/ 40378 w 159746"/>
                <a:gd name="connsiteY122" fmla="*/ 51903 h 196423"/>
                <a:gd name="connsiteX123" fmla="*/ 37098 w 159746"/>
                <a:gd name="connsiteY123" fmla="*/ 50557 h 196423"/>
                <a:gd name="connsiteX124" fmla="*/ 37098 w 159746"/>
                <a:gd name="connsiteY124" fmla="*/ 50557 h 196423"/>
                <a:gd name="connsiteX125" fmla="*/ 138296 w 159746"/>
                <a:gd name="connsiteY125" fmla="*/ 12702 h 196423"/>
                <a:gd name="connsiteX126" fmla="*/ 138296 w 159746"/>
                <a:gd name="connsiteY126" fmla="*/ 12702 h 196423"/>
                <a:gd name="connsiteX127" fmla="*/ 141240 w 159746"/>
                <a:gd name="connsiteY127" fmla="*/ 18843 h 196423"/>
                <a:gd name="connsiteX128" fmla="*/ 140399 w 159746"/>
                <a:gd name="connsiteY128" fmla="*/ 19769 h 196423"/>
                <a:gd name="connsiteX129" fmla="*/ 140820 w 159746"/>
                <a:gd name="connsiteY129" fmla="*/ 20610 h 196423"/>
                <a:gd name="connsiteX130" fmla="*/ 145446 w 159746"/>
                <a:gd name="connsiteY130" fmla="*/ 26835 h 196423"/>
                <a:gd name="connsiteX131" fmla="*/ 147970 w 159746"/>
                <a:gd name="connsiteY131" fmla="*/ 32134 h 196423"/>
                <a:gd name="connsiteX132" fmla="*/ 151251 w 159746"/>
                <a:gd name="connsiteY132" fmla="*/ 29443 h 196423"/>
                <a:gd name="connsiteX133" fmla="*/ 154616 w 159746"/>
                <a:gd name="connsiteY133" fmla="*/ 30284 h 196423"/>
                <a:gd name="connsiteX134" fmla="*/ 154616 w 159746"/>
                <a:gd name="connsiteY134" fmla="*/ 25909 h 196423"/>
                <a:gd name="connsiteX135" fmla="*/ 152933 w 159746"/>
                <a:gd name="connsiteY135" fmla="*/ 25909 h 196423"/>
                <a:gd name="connsiteX136" fmla="*/ 152092 w 159746"/>
                <a:gd name="connsiteY136" fmla="*/ 25489 h 196423"/>
                <a:gd name="connsiteX137" fmla="*/ 153774 w 159746"/>
                <a:gd name="connsiteY137" fmla="*/ 22460 h 196423"/>
                <a:gd name="connsiteX138" fmla="*/ 153774 w 159746"/>
                <a:gd name="connsiteY138" fmla="*/ 18002 h 196423"/>
                <a:gd name="connsiteX139" fmla="*/ 141997 w 159746"/>
                <a:gd name="connsiteY139" fmla="*/ 6982 h 196423"/>
                <a:gd name="connsiteX140" fmla="*/ 138212 w 159746"/>
                <a:gd name="connsiteY140" fmla="*/ 12702 h 196423"/>
                <a:gd name="connsiteX141" fmla="*/ 138212 w 159746"/>
                <a:gd name="connsiteY141" fmla="*/ 12702 h 196423"/>
                <a:gd name="connsiteX142" fmla="*/ 150409 w 159746"/>
                <a:gd name="connsiteY142" fmla="*/ 36509 h 196423"/>
                <a:gd name="connsiteX143" fmla="*/ 150409 w 159746"/>
                <a:gd name="connsiteY143" fmla="*/ 36509 h 196423"/>
                <a:gd name="connsiteX144" fmla="*/ 147970 w 159746"/>
                <a:gd name="connsiteY144" fmla="*/ 36088 h 196423"/>
                <a:gd name="connsiteX145" fmla="*/ 144605 w 159746"/>
                <a:gd name="connsiteY145" fmla="*/ 38780 h 196423"/>
                <a:gd name="connsiteX146" fmla="*/ 149652 w 159746"/>
                <a:gd name="connsiteY146" fmla="*/ 40546 h 196423"/>
                <a:gd name="connsiteX147" fmla="*/ 154279 w 159746"/>
                <a:gd name="connsiteY147" fmla="*/ 39285 h 196423"/>
                <a:gd name="connsiteX148" fmla="*/ 156382 w 159746"/>
                <a:gd name="connsiteY148" fmla="*/ 42397 h 196423"/>
                <a:gd name="connsiteX149" fmla="*/ 159747 w 159746"/>
                <a:gd name="connsiteY149" fmla="*/ 39705 h 196423"/>
                <a:gd name="connsiteX150" fmla="*/ 156803 w 159746"/>
                <a:gd name="connsiteY150" fmla="*/ 34406 h 196423"/>
                <a:gd name="connsiteX151" fmla="*/ 155961 w 159746"/>
                <a:gd name="connsiteY151" fmla="*/ 33985 h 196423"/>
                <a:gd name="connsiteX152" fmla="*/ 150494 w 159746"/>
                <a:gd name="connsiteY152" fmla="*/ 36677 h 196423"/>
                <a:gd name="connsiteX153" fmla="*/ 150494 w 159746"/>
                <a:gd name="connsiteY153" fmla="*/ 36677 h 196423"/>
                <a:gd name="connsiteX154" fmla="*/ 149148 w 159746"/>
                <a:gd name="connsiteY154" fmla="*/ 45257 h 196423"/>
                <a:gd name="connsiteX155" fmla="*/ 149148 w 159746"/>
                <a:gd name="connsiteY155" fmla="*/ 45257 h 196423"/>
                <a:gd name="connsiteX156" fmla="*/ 149148 w 159746"/>
                <a:gd name="connsiteY156" fmla="*/ 46603 h 196423"/>
                <a:gd name="connsiteX157" fmla="*/ 152513 w 159746"/>
                <a:gd name="connsiteY157" fmla="*/ 43911 h 196423"/>
                <a:gd name="connsiteX158" fmla="*/ 149148 w 159746"/>
                <a:gd name="connsiteY158" fmla="*/ 45173 h 196423"/>
                <a:gd name="connsiteX159" fmla="*/ 149148 w 159746"/>
                <a:gd name="connsiteY159" fmla="*/ 45173 h 196423"/>
                <a:gd name="connsiteX160" fmla="*/ 34910 w 159746"/>
                <a:gd name="connsiteY160" fmla="*/ 40883 h 196423"/>
                <a:gd name="connsiteX161" fmla="*/ 38696 w 159746"/>
                <a:gd name="connsiteY161" fmla="*/ 40883 h 196423"/>
                <a:gd name="connsiteX162" fmla="*/ 38696 w 159746"/>
                <a:gd name="connsiteY162" fmla="*/ 38191 h 196423"/>
                <a:gd name="connsiteX163" fmla="*/ 34910 w 159746"/>
                <a:gd name="connsiteY163" fmla="*/ 40883 h 196423"/>
                <a:gd name="connsiteX164" fmla="*/ 34910 w 159746"/>
                <a:gd name="connsiteY164" fmla="*/ 40883 h 196423"/>
                <a:gd name="connsiteX165" fmla="*/ 5973 w 159746"/>
                <a:gd name="connsiteY165" fmla="*/ 1682 h 196423"/>
                <a:gd name="connsiteX166" fmla="*/ 5973 w 159746"/>
                <a:gd name="connsiteY166" fmla="*/ 1682 h 196423"/>
                <a:gd name="connsiteX167" fmla="*/ 4290 w 159746"/>
                <a:gd name="connsiteY167" fmla="*/ 421 h 196423"/>
                <a:gd name="connsiteX168" fmla="*/ 3870 w 159746"/>
                <a:gd name="connsiteY168" fmla="*/ 0 h 196423"/>
                <a:gd name="connsiteX169" fmla="*/ 3870 w 159746"/>
                <a:gd name="connsiteY169" fmla="*/ 3449 h 196423"/>
                <a:gd name="connsiteX170" fmla="*/ 925 w 159746"/>
                <a:gd name="connsiteY170" fmla="*/ 5636 h 196423"/>
                <a:gd name="connsiteX171" fmla="*/ 1767 w 159746"/>
                <a:gd name="connsiteY171" fmla="*/ 8748 h 196423"/>
                <a:gd name="connsiteX172" fmla="*/ 0 w 159746"/>
                <a:gd name="connsiteY172" fmla="*/ 14048 h 196423"/>
                <a:gd name="connsiteX173" fmla="*/ 0 w 159746"/>
                <a:gd name="connsiteY173" fmla="*/ 15815 h 196423"/>
                <a:gd name="connsiteX174" fmla="*/ 2103 w 159746"/>
                <a:gd name="connsiteY174" fmla="*/ 15815 h 196423"/>
                <a:gd name="connsiteX175" fmla="*/ 2103 w 159746"/>
                <a:gd name="connsiteY175" fmla="*/ 24648 h 196423"/>
                <a:gd name="connsiteX176" fmla="*/ 2944 w 159746"/>
                <a:gd name="connsiteY176" fmla="*/ 25068 h 196423"/>
                <a:gd name="connsiteX177" fmla="*/ 5047 w 159746"/>
                <a:gd name="connsiteY177" fmla="*/ 22797 h 196423"/>
                <a:gd name="connsiteX178" fmla="*/ 9674 w 159746"/>
                <a:gd name="connsiteY178" fmla="*/ 16656 h 196423"/>
                <a:gd name="connsiteX179" fmla="*/ 8412 w 159746"/>
                <a:gd name="connsiteY179" fmla="*/ 9590 h 196423"/>
                <a:gd name="connsiteX180" fmla="*/ 9169 w 159746"/>
                <a:gd name="connsiteY180" fmla="*/ 3365 h 196423"/>
                <a:gd name="connsiteX181" fmla="*/ 5888 w 159746"/>
                <a:gd name="connsiteY181" fmla="*/ 1598 h 196423"/>
                <a:gd name="connsiteX182" fmla="*/ 5888 w 159746"/>
                <a:gd name="connsiteY182" fmla="*/ 1598 h 196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Lst>
              <a:rect l="l" t="t" r="r" b="b"/>
              <a:pathLst>
                <a:path w="159746" h="196423">
                  <a:moveTo>
                    <a:pt x="145026" y="133837"/>
                  </a:moveTo>
                  <a:lnTo>
                    <a:pt x="145026" y="133837"/>
                  </a:lnTo>
                  <a:cubicBezTo>
                    <a:pt x="145026" y="138296"/>
                    <a:pt x="143764" y="141324"/>
                    <a:pt x="140399" y="144857"/>
                  </a:cubicBezTo>
                  <a:lnTo>
                    <a:pt x="142502" y="150157"/>
                  </a:lnTo>
                  <a:cubicBezTo>
                    <a:pt x="142081" y="153606"/>
                    <a:pt x="139137" y="155457"/>
                    <a:pt x="139137" y="158906"/>
                  </a:cubicBezTo>
                  <a:cubicBezTo>
                    <a:pt x="139137" y="161598"/>
                    <a:pt x="144184" y="160252"/>
                    <a:pt x="144184" y="162943"/>
                  </a:cubicBezTo>
                  <a:cubicBezTo>
                    <a:pt x="144184" y="164710"/>
                    <a:pt x="142923" y="165131"/>
                    <a:pt x="142081" y="166393"/>
                  </a:cubicBezTo>
                  <a:lnTo>
                    <a:pt x="142923" y="172617"/>
                  </a:lnTo>
                  <a:cubicBezTo>
                    <a:pt x="142923" y="173459"/>
                    <a:pt x="142502" y="173879"/>
                    <a:pt x="142081" y="174384"/>
                  </a:cubicBezTo>
                  <a:cubicBezTo>
                    <a:pt x="140820" y="173459"/>
                    <a:pt x="140399" y="172197"/>
                    <a:pt x="139978" y="170851"/>
                  </a:cubicBezTo>
                  <a:cubicBezTo>
                    <a:pt x="139137" y="172702"/>
                    <a:pt x="138717" y="174889"/>
                    <a:pt x="137034" y="174889"/>
                  </a:cubicBezTo>
                  <a:cubicBezTo>
                    <a:pt x="136277" y="174889"/>
                    <a:pt x="134931" y="173963"/>
                    <a:pt x="134931" y="173122"/>
                  </a:cubicBezTo>
                  <a:lnTo>
                    <a:pt x="134931" y="169084"/>
                  </a:lnTo>
                  <a:cubicBezTo>
                    <a:pt x="133669" y="169084"/>
                    <a:pt x="132828" y="169084"/>
                    <a:pt x="131650" y="168159"/>
                  </a:cubicBezTo>
                  <a:cubicBezTo>
                    <a:pt x="132407" y="167318"/>
                    <a:pt x="132407" y="166393"/>
                    <a:pt x="132407" y="165131"/>
                  </a:cubicBezTo>
                  <a:lnTo>
                    <a:pt x="133249" y="165131"/>
                  </a:lnTo>
                  <a:cubicBezTo>
                    <a:pt x="134510" y="166393"/>
                    <a:pt x="134931" y="168579"/>
                    <a:pt x="137034" y="168579"/>
                  </a:cubicBezTo>
                  <a:cubicBezTo>
                    <a:pt x="138296" y="168579"/>
                    <a:pt x="139978" y="168159"/>
                    <a:pt x="139978" y="166813"/>
                  </a:cubicBezTo>
                  <a:cubicBezTo>
                    <a:pt x="139978" y="161093"/>
                    <a:pt x="134510" y="157139"/>
                    <a:pt x="129127" y="157139"/>
                  </a:cubicBezTo>
                  <a:cubicBezTo>
                    <a:pt x="126182" y="157139"/>
                    <a:pt x="126182" y="172113"/>
                    <a:pt x="126182" y="164205"/>
                  </a:cubicBezTo>
                  <a:cubicBezTo>
                    <a:pt x="126182" y="163280"/>
                    <a:pt x="125762" y="161513"/>
                    <a:pt x="124500" y="161513"/>
                  </a:cubicBezTo>
                  <a:cubicBezTo>
                    <a:pt x="121976" y="161513"/>
                    <a:pt x="120210" y="163701"/>
                    <a:pt x="120210" y="166393"/>
                  </a:cubicBezTo>
                  <a:lnTo>
                    <a:pt x="120210" y="168159"/>
                  </a:lnTo>
                  <a:cubicBezTo>
                    <a:pt x="119453" y="167738"/>
                    <a:pt x="118948" y="167738"/>
                    <a:pt x="118107" y="167318"/>
                  </a:cubicBezTo>
                  <a:cubicBezTo>
                    <a:pt x="118527" y="169505"/>
                    <a:pt x="119369" y="170767"/>
                    <a:pt x="119369" y="173038"/>
                  </a:cubicBezTo>
                  <a:cubicBezTo>
                    <a:pt x="119369" y="175646"/>
                    <a:pt x="119789" y="179179"/>
                    <a:pt x="117266" y="179179"/>
                  </a:cubicBezTo>
                  <a:cubicBezTo>
                    <a:pt x="115078" y="179179"/>
                    <a:pt x="113480" y="178254"/>
                    <a:pt x="112639" y="176066"/>
                  </a:cubicBezTo>
                  <a:lnTo>
                    <a:pt x="112639" y="175225"/>
                  </a:lnTo>
                  <a:cubicBezTo>
                    <a:pt x="110872" y="175646"/>
                    <a:pt x="109695" y="174805"/>
                    <a:pt x="108012" y="174300"/>
                  </a:cubicBezTo>
                  <a:cubicBezTo>
                    <a:pt x="109695" y="176487"/>
                    <a:pt x="110872" y="177833"/>
                    <a:pt x="110872" y="180441"/>
                  </a:cubicBezTo>
                  <a:cubicBezTo>
                    <a:pt x="110872" y="181366"/>
                    <a:pt x="110452" y="181787"/>
                    <a:pt x="109610" y="182291"/>
                  </a:cubicBezTo>
                  <a:cubicBezTo>
                    <a:pt x="109610" y="182712"/>
                    <a:pt x="110367" y="183133"/>
                    <a:pt x="110367" y="183553"/>
                  </a:cubicBezTo>
                  <a:cubicBezTo>
                    <a:pt x="110367" y="185740"/>
                    <a:pt x="108264" y="186666"/>
                    <a:pt x="106582" y="188432"/>
                  </a:cubicBezTo>
                  <a:cubicBezTo>
                    <a:pt x="104900" y="191124"/>
                    <a:pt x="106161" y="196424"/>
                    <a:pt x="102797" y="196424"/>
                  </a:cubicBezTo>
                  <a:cubicBezTo>
                    <a:pt x="98506" y="196424"/>
                    <a:pt x="97329" y="192049"/>
                    <a:pt x="93123" y="192049"/>
                  </a:cubicBezTo>
                  <a:lnTo>
                    <a:pt x="85972" y="192049"/>
                  </a:lnTo>
                  <a:cubicBezTo>
                    <a:pt x="84710" y="192049"/>
                    <a:pt x="84290" y="191124"/>
                    <a:pt x="83028" y="191124"/>
                  </a:cubicBezTo>
                  <a:cubicBezTo>
                    <a:pt x="80925" y="191124"/>
                    <a:pt x="80504" y="194237"/>
                    <a:pt x="77981" y="194237"/>
                  </a:cubicBezTo>
                  <a:cubicBezTo>
                    <a:pt x="74700" y="194237"/>
                    <a:pt x="76298" y="188937"/>
                    <a:pt x="74195" y="185825"/>
                  </a:cubicBezTo>
                  <a:cubicBezTo>
                    <a:pt x="72092" y="182796"/>
                    <a:pt x="70410" y="180525"/>
                    <a:pt x="67886" y="177497"/>
                  </a:cubicBezTo>
                  <a:cubicBezTo>
                    <a:pt x="65447" y="171271"/>
                    <a:pt x="60820" y="170010"/>
                    <a:pt x="57876" y="163785"/>
                  </a:cubicBezTo>
                  <a:cubicBezTo>
                    <a:pt x="55352" y="158906"/>
                    <a:pt x="55352" y="155793"/>
                    <a:pt x="54090" y="150998"/>
                  </a:cubicBezTo>
                  <a:cubicBezTo>
                    <a:pt x="53333" y="148811"/>
                    <a:pt x="51987" y="147970"/>
                    <a:pt x="51230" y="145783"/>
                  </a:cubicBezTo>
                  <a:cubicBezTo>
                    <a:pt x="50389" y="143511"/>
                    <a:pt x="51230" y="142250"/>
                    <a:pt x="50809" y="139558"/>
                  </a:cubicBezTo>
                  <a:cubicBezTo>
                    <a:pt x="50389" y="135183"/>
                    <a:pt x="48286" y="132996"/>
                    <a:pt x="47865" y="128538"/>
                  </a:cubicBezTo>
                  <a:lnTo>
                    <a:pt x="48286" y="128958"/>
                  </a:lnTo>
                  <a:cubicBezTo>
                    <a:pt x="49968" y="132071"/>
                    <a:pt x="52071" y="132996"/>
                    <a:pt x="54595" y="135183"/>
                  </a:cubicBezTo>
                  <a:cubicBezTo>
                    <a:pt x="56698" y="136950"/>
                    <a:pt x="55015" y="142250"/>
                    <a:pt x="56277" y="138296"/>
                  </a:cubicBezTo>
                  <a:cubicBezTo>
                    <a:pt x="57539" y="138716"/>
                    <a:pt x="58044" y="139137"/>
                    <a:pt x="59222" y="140062"/>
                  </a:cubicBezTo>
                  <a:lnTo>
                    <a:pt x="59222" y="138296"/>
                  </a:lnTo>
                  <a:cubicBezTo>
                    <a:pt x="59222" y="133837"/>
                    <a:pt x="55436" y="132071"/>
                    <a:pt x="53838" y="128117"/>
                  </a:cubicBezTo>
                  <a:cubicBezTo>
                    <a:pt x="52997" y="125425"/>
                    <a:pt x="52071" y="122818"/>
                    <a:pt x="49548" y="122818"/>
                  </a:cubicBezTo>
                  <a:cubicBezTo>
                    <a:pt x="49548" y="111797"/>
                    <a:pt x="42061" y="107339"/>
                    <a:pt x="37434" y="97245"/>
                  </a:cubicBezTo>
                  <a:cubicBezTo>
                    <a:pt x="35247" y="93291"/>
                    <a:pt x="32387" y="91945"/>
                    <a:pt x="32387" y="87571"/>
                  </a:cubicBezTo>
                  <a:cubicBezTo>
                    <a:pt x="32387" y="87150"/>
                    <a:pt x="33144" y="87150"/>
                    <a:pt x="33144" y="86729"/>
                  </a:cubicBezTo>
                  <a:cubicBezTo>
                    <a:pt x="33144" y="80084"/>
                    <a:pt x="30284" y="76130"/>
                    <a:pt x="28517" y="69484"/>
                  </a:cubicBezTo>
                  <a:cubicBezTo>
                    <a:pt x="28517" y="68643"/>
                    <a:pt x="27255" y="68643"/>
                    <a:pt x="27255" y="67297"/>
                  </a:cubicBezTo>
                  <a:cubicBezTo>
                    <a:pt x="27255" y="63344"/>
                    <a:pt x="30200" y="62082"/>
                    <a:pt x="30536" y="58044"/>
                  </a:cubicBezTo>
                  <a:lnTo>
                    <a:pt x="29779" y="52744"/>
                  </a:lnTo>
                  <a:lnTo>
                    <a:pt x="30536" y="52744"/>
                  </a:lnTo>
                  <a:lnTo>
                    <a:pt x="31798" y="54090"/>
                  </a:lnTo>
                  <a:cubicBezTo>
                    <a:pt x="34322" y="55352"/>
                    <a:pt x="36004" y="55352"/>
                    <a:pt x="38528" y="55857"/>
                  </a:cubicBezTo>
                  <a:cubicBezTo>
                    <a:pt x="40631" y="56782"/>
                    <a:pt x="41051" y="58549"/>
                    <a:pt x="43154" y="58549"/>
                  </a:cubicBezTo>
                  <a:cubicBezTo>
                    <a:pt x="44416" y="58549"/>
                    <a:pt x="44837" y="57623"/>
                    <a:pt x="46099" y="57623"/>
                  </a:cubicBezTo>
                  <a:cubicBezTo>
                    <a:pt x="50305" y="57623"/>
                    <a:pt x="51903" y="60315"/>
                    <a:pt x="55773" y="61661"/>
                  </a:cubicBezTo>
                  <a:cubicBezTo>
                    <a:pt x="63259" y="65110"/>
                    <a:pt x="67550" y="67381"/>
                    <a:pt x="75036" y="70914"/>
                  </a:cubicBezTo>
                  <a:cubicBezTo>
                    <a:pt x="78822" y="72176"/>
                    <a:pt x="81346" y="74448"/>
                    <a:pt x="85552" y="74448"/>
                  </a:cubicBezTo>
                  <a:lnTo>
                    <a:pt x="89337" y="74448"/>
                  </a:lnTo>
                  <a:cubicBezTo>
                    <a:pt x="91861" y="74448"/>
                    <a:pt x="92702" y="76635"/>
                    <a:pt x="95226" y="77896"/>
                  </a:cubicBezTo>
                  <a:cubicBezTo>
                    <a:pt x="95646" y="74784"/>
                    <a:pt x="95646" y="70830"/>
                    <a:pt x="98506" y="70830"/>
                  </a:cubicBezTo>
                  <a:cubicBezTo>
                    <a:pt x="100694" y="70830"/>
                    <a:pt x="101871" y="72597"/>
                    <a:pt x="103554" y="73943"/>
                  </a:cubicBezTo>
                  <a:cubicBezTo>
                    <a:pt x="106077" y="76130"/>
                    <a:pt x="106919" y="77896"/>
                    <a:pt x="109022" y="80504"/>
                  </a:cubicBezTo>
                  <a:cubicBezTo>
                    <a:pt x="109863" y="82691"/>
                    <a:pt x="105236" y="70830"/>
                    <a:pt x="105236" y="69064"/>
                  </a:cubicBezTo>
                  <a:lnTo>
                    <a:pt x="105236" y="67213"/>
                  </a:lnTo>
                  <a:lnTo>
                    <a:pt x="105993" y="67213"/>
                  </a:lnTo>
                  <a:cubicBezTo>
                    <a:pt x="108517" y="67213"/>
                    <a:pt x="109779" y="69064"/>
                    <a:pt x="112302" y="69064"/>
                  </a:cubicBezTo>
                  <a:cubicBezTo>
                    <a:pt x="114826" y="69064"/>
                    <a:pt x="115583" y="65951"/>
                    <a:pt x="117686" y="65951"/>
                  </a:cubicBezTo>
                  <a:cubicBezTo>
                    <a:pt x="119453" y="65951"/>
                    <a:pt x="120210" y="68643"/>
                    <a:pt x="121892" y="68643"/>
                  </a:cubicBezTo>
                  <a:cubicBezTo>
                    <a:pt x="126519" y="68643"/>
                    <a:pt x="128706" y="64269"/>
                    <a:pt x="130725" y="59810"/>
                  </a:cubicBezTo>
                  <a:cubicBezTo>
                    <a:pt x="133249" y="61156"/>
                    <a:pt x="134006" y="62923"/>
                    <a:pt x="137034" y="62923"/>
                  </a:cubicBezTo>
                  <a:cubicBezTo>
                    <a:pt x="140399" y="62923"/>
                    <a:pt x="142923" y="60231"/>
                    <a:pt x="142923" y="56782"/>
                  </a:cubicBezTo>
                  <a:cubicBezTo>
                    <a:pt x="142923" y="53333"/>
                    <a:pt x="155457" y="63848"/>
                    <a:pt x="155457" y="66961"/>
                  </a:cubicBezTo>
                  <a:cubicBezTo>
                    <a:pt x="155457" y="68727"/>
                    <a:pt x="152597" y="68727"/>
                    <a:pt x="152597" y="70410"/>
                  </a:cubicBezTo>
                  <a:cubicBezTo>
                    <a:pt x="152597" y="70830"/>
                    <a:pt x="152933" y="70830"/>
                    <a:pt x="152933" y="71335"/>
                  </a:cubicBezTo>
                  <a:lnTo>
                    <a:pt x="152933" y="77055"/>
                  </a:lnTo>
                  <a:cubicBezTo>
                    <a:pt x="152933" y="78906"/>
                    <a:pt x="154195" y="79747"/>
                    <a:pt x="154195" y="81514"/>
                  </a:cubicBezTo>
                  <a:cubicBezTo>
                    <a:pt x="154195" y="83280"/>
                    <a:pt x="153354" y="84542"/>
                    <a:pt x="153354" y="86393"/>
                  </a:cubicBezTo>
                  <a:lnTo>
                    <a:pt x="153354" y="90767"/>
                  </a:lnTo>
                  <a:cubicBezTo>
                    <a:pt x="153354" y="93459"/>
                    <a:pt x="155457" y="94721"/>
                    <a:pt x="155457" y="97833"/>
                  </a:cubicBezTo>
                  <a:cubicBezTo>
                    <a:pt x="155457" y="100525"/>
                    <a:pt x="153774" y="102208"/>
                    <a:pt x="153774" y="104900"/>
                  </a:cubicBezTo>
                  <a:cubicBezTo>
                    <a:pt x="153774" y="107591"/>
                    <a:pt x="154195" y="108937"/>
                    <a:pt x="154195" y="111545"/>
                  </a:cubicBezTo>
                  <a:cubicBezTo>
                    <a:pt x="154195" y="113732"/>
                    <a:pt x="152933" y="114994"/>
                    <a:pt x="152933" y="117266"/>
                  </a:cubicBezTo>
                  <a:cubicBezTo>
                    <a:pt x="152933" y="118612"/>
                    <a:pt x="154195" y="119453"/>
                    <a:pt x="154700" y="120798"/>
                  </a:cubicBezTo>
                  <a:cubicBezTo>
                    <a:pt x="153438" y="120798"/>
                    <a:pt x="152933" y="119453"/>
                    <a:pt x="151335" y="119453"/>
                  </a:cubicBezTo>
                  <a:lnTo>
                    <a:pt x="151335" y="118612"/>
                  </a:lnTo>
                  <a:cubicBezTo>
                    <a:pt x="151335" y="117686"/>
                    <a:pt x="151755" y="117266"/>
                    <a:pt x="151755" y="115920"/>
                  </a:cubicBezTo>
                  <a:cubicBezTo>
                    <a:pt x="148390" y="117686"/>
                    <a:pt x="147549" y="121219"/>
                    <a:pt x="146708" y="125173"/>
                  </a:cubicBezTo>
                  <a:cubicBezTo>
                    <a:pt x="145867" y="128285"/>
                    <a:pt x="144184" y="129547"/>
                    <a:pt x="144184" y="133164"/>
                  </a:cubicBezTo>
                  <a:cubicBezTo>
                    <a:pt x="144184" y="133585"/>
                    <a:pt x="144605" y="133585"/>
                    <a:pt x="144605" y="134006"/>
                  </a:cubicBezTo>
                  <a:lnTo>
                    <a:pt x="144605" y="134006"/>
                  </a:lnTo>
                  <a:close/>
                  <a:moveTo>
                    <a:pt x="121051" y="180609"/>
                  </a:moveTo>
                  <a:lnTo>
                    <a:pt x="121051" y="180609"/>
                  </a:lnTo>
                  <a:cubicBezTo>
                    <a:pt x="120773" y="180331"/>
                    <a:pt x="120487" y="180188"/>
                    <a:pt x="120210" y="180188"/>
                  </a:cubicBezTo>
                  <a:cubicBezTo>
                    <a:pt x="117686" y="180188"/>
                    <a:pt x="118107" y="183637"/>
                    <a:pt x="116929" y="185909"/>
                  </a:cubicBezTo>
                  <a:cubicBezTo>
                    <a:pt x="118191" y="187254"/>
                    <a:pt x="118191" y="189021"/>
                    <a:pt x="119453" y="190367"/>
                  </a:cubicBezTo>
                  <a:cubicBezTo>
                    <a:pt x="121135" y="188517"/>
                    <a:pt x="120715" y="186834"/>
                    <a:pt x="121556" y="185488"/>
                  </a:cubicBezTo>
                  <a:lnTo>
                    <a:pt x="121135" y="183637"/>
                  </a:lnTo>
                  <a:lnTo>
                    <a:pt x="121135" y="180525"/>
                  </a:lnTo>
                  <a:lnTo>
                    <a:pt x="121135" y="180525"/>
                  </a:lnTo>
                  <a:close/>
                  <a:moveTo>
                    <a:pt x="148306" y="146203"/>
                  </a:moveTo>
                  <a:lnTo>
                    <a:pt x="148306" y="146203"/>
                  </a:lnTo>
                  <a:lnTo>
                    <a:pt x="148306" y="145783"/>
                  </a:lnTo>
                  <a:lnTo>
                    <a:pt x="147549" y="145362"/>
                  </a:lnTo>
                  <a:cubicBezTo>
                    <a:pt x="146708" y="147129"/>
                    <a:pt x="146708" y="148054"/>
                    <a:pt x="146287" y="149316"/>
                  </a:cubicBezTo>
                  <a:cubicBezTo>
                    <a:pt x="146708" y="149316"/>
                    <a:pt x="147129" y="149736"/>
                    <a:pt x="147549" y="149736"/>
                  </a:cubicBezTo>
                  <a:cubicBezTo>
                    <a:pt x="147970" y="149736"/>
                    <a:pt x="148306" y="149316"/>
                    <a:pt x="148811" y="149316"/>
                  </a:cubicBezTo>
                  <a:lnTo>
                    <a:pt x="148390" y="146203"/>
                  </a:lnTo>
                  <a:lnTo>
                    <a:pt x="148390" y="146203"/>
                  </a:lnTo>
                  <a:close/>
                  <a:moveTo>
                    <a:pt x="37098" y="50557"/>
                  </a:moveTo>
                  <a:lnTo>
                    <a:pt x="37098" y="50557"/>
                  </a:lnTo>
                  <a:cubicBezTo>
                    <a:pt x="36677" y="51903"/>
                    <a:pt x="36677" y="52744"/>
                    <a:pt x="36256" y="53670"/>
                  </a:cubicBezTo>
                  <a:lnTo>
                    <a:pt x="37098" y="54090"/>
                  </a:lnTo>
                  <a:cubicBezTo>
                    <a:pt x="38780" y="53670"/>
                    <a:pt x="39621" y="53165"/>
                    <a:pt x="40378" y="51903"/>
                  </a:cubicBezTo>
                  <a:cubicBezTo>
                    <a:pt x="39116" y="51482"/>
                    <a:pt x="38275" y="50978"/>
                    <a:pt x="37098" y="50557"/>
                  </a:cubicBezTo>
                  <a:lnTo>
                    <a:pt x="37098" y="50557"/>
                  </a:lnTo>
                  <a:close/>
                  <a:moveTo>
                    <a:pt x="138296" y="12702"/>
                  </a:moveTo>
                  <a:lnTo>
                    <a:pt x="138296" y="12702"/>
                  </a:lnTo>
                  <a:cubicBezTo>
                    <a:pt x="140399" y="13964"/>
                    <a:pt x="141240" y="16151"/>
                    <a:pt x="141240" y="18843"/>
                  </a:cubicBezTo>
                  <a:cubicBezTo>
                    <a:pt x="141240" y="19264"/>
                    <a:pt x="140820" y="19264"/>
                    <a:pt x="140399" y="19769"/>
                  </a:cubicBezTo>
                  <a:lnTo>
                    <a:pt x="140820" y="20610"/>
                  </a:lnTo>
                  <a:cubicBezTo>
                    <a:pt x="143680" y="20610"/>
                    <a:pt x="144100" y="23722"/>
                    <a:pt x="145446" y="26835"/>
                  </a:cubicBezTo>
                  <a:cubicBezTo>
                    <a:pt x="146203" y="29022"/>
                    <a:pt x="147129" y="29947"/>
                    <a:pt x="147970" y="32134"/>
                  </a:cubicBezTo>
                  <a:cubicBezTo>
                    <a:pt x="149652" y="31714"/>
                    <a:pt x="149652" y="29443"/>
                    <a:pt x="151251" y="29443"/>
                  </a:cubicBezTo>
                  <a:cubicBezTo>
                    <a:pt x="152513" y="29443"/>
                    <a:pt x="153354" y="29863"/>
                    <a:pt x="154616" y="30284"/>
                  </a:cubicBezTo>
                  <a:lnTo>
                    <a:pt x="154616" y="25909"/>
                  </a:lnTo>
                  <a:lnTo>
                    <a:pt x="152933" y="25909"/>
                  </a:lnTo>
                  <a:cubicBezTo>
                    <a:pt x="152513" y="25909"/>
                    <a:pt x="152513" y="25489"/>
                    <a:pt x="152092" y="25489"/>
                  </a:cubicBezTo>
                  <a:cubicBezTo>
                    <a:pt x="152933" y="24227"/>
                    <a:pt x="153774" y="23722"/>
                    <a:pt x="153774" y="22460"/>
                  </a:cubicBezTo>
                  <a:lnTo>
                    <a:pt x="153774" y="18002"/>
                  </a:lnTo>
                  <a:cubicBezTo>
                    <a:pt x="147465" y="18002"/>
                    <a:pt x="146624" y="11440"/>
                    <a:pt x="141997" y="6982"/>
                  </a:cubicBezTo>
                  <a:cubicBezTo>
                    <a:pt x="141240" y="9674"/>
                    <a:pt x="140315" y="11356"/>
                    <a:pt x="138212" y="12702"/>
                  </a:cubicBezTo>
                  <a:lnTo>
                    <a:pt x="138212" y="12702"/>
                  </a:lnTo>
                  <a:close/>
                  <a:moveTo>
                    <a:pt x="150409" y="36509"/>
                  </a:moveTo>
                  <a:lnTo>
                    <a:pt x="150409" y="36509"/>
                  </a:lnTo>
                  <a:cubicBezTo>
                    <a:pt x="149652" y="36509"/>
                    <a:pt x="148727" y="36088"/>
                    <a:pt x="147970" y="36088"/>
                  </a:cubicBezTo>
                  <a:cubicBezTo>
                    <a:pt x="146203" y="36088"/>
                    <a:pt x="144605" y="37434"/>
                    <a:pt x="144605" y="38780"/>
                  </a:cubicBezTo>
                  <a:cubicBezTo>
                    <a:pt x="146287" y="40042"/>
                    <a:pt x="147549" y="40546"/>
                    <a:pt x="149652" y="40546"/>
                  </a:cubicBezTo>
                  <a:cubicBezTo>
                    <a:pt x="151335" y="40546"/>
                    <a:pt x="152597" y="40126"/>
                    <a:pt x="154279" y="39285"/>
                  </a:cubicBezTo>
                  <a:cubicBezTo>
                    <a:pt x="155120" y="40126"/>
                    <a:pt x="155541" y="41051"/>
                    <a:pt x="156382" y="42397"/>
                  </a:cubicBezTo>
                  <a:cubicBezTo>
                    <a:pt x="157644" y="41472"/>
                    <a:pt x="158485" y="41051"/>
                    <a:pt x="159747" y="39705"/>
                  </a:cubicBezTo>
                  <a:cubicBezTo>
                    <a:pt x="158485" y="37855"/>
                    <a:pt x="157560" y="36593"/>
                    <a:pt x="156803" y="34406"/>
                  </a:cubicBezTo>
                  <a:lnTo>
                    <a:pt x="155961" y="33985"/>
                  </a:lnTo>
                  <a:cubicBezTo>
                    <a:pt x="154700" y="36172"/>
                    <a:pt x="152681" y="36677"/>
                    <a:pt x="150494" y="36677"/>
                  </a:cubicBezTo>
                  <a:lnTo>
                    <a:pt x="150494" y="36677"/>
                  </a:lnTo>
                  <a:close/>
                  <a:moveTo>
                    <a:pt x="149148" y="45257"/>
                  </a:moveTo>
                  <a:lnTo>
                    <a:pt x="149148" y="45257"/>
                  </a:lnTo>
                  <a:lnTo>
                    <a:pt x="149148" y="46603"/>
                  </a:lnTo>
                  <a:cubicBezTo>
                    <a:pt x="150830" y="46183"/>
                    <a:pt x="151671" y="45257"/>
                    <a:pt x="152513" y="43911"/>
                  </a:cubicBezTo>
                  <a:cubicBezTo>
                    <a:pt x="151251" y="43491"/>
                    <a:pt x="149148" y="43911"/>
                    <a:pt x="149148" y="45173"/>
                  </a:cubicBezTo>
                  <a:lnTo>
                    <a:pt x="149148" y="45173"/>
                  </a:lnTo>
                  <a:close/>
                  <a:moveTo>
                    <a:pt x="34910" y="40883"/>
                  </a:moveTo>
                  <a:lnTo>
                    <a:pt x="38696" y="40883"/>
                  </a:lnTo>
                  <a:lnTo>
                    <a:pt x="38696" y="38191"/>
                  </a:lnTo>
                  <a:cubicBezTo>
                    <a:pt x="37013" y="38612"/>
                    <a:pt x="36172" y="39958"/>
                    <a:pt x="34910" y="40883"/>
                  </a:cubicBezTo>
                  <a:lnTo>
                    <a:pt x="34910" y="40883"/>
                  </a:lnTo>
                  <a:close/>
                  <a:moveTo>
                    <a:pt x="5973" y="1682"/>
                  </a:moveTo>
                  <a:lnTo>
                    <a:pt x="5973" y="1682"/>
                  </a:lnTo>
                  <a:cubicBezTo>
                    <a:pt x="5552" y="1262"/>
                    <a:pt x="5131" y="757"/>
                    <a:pt x="4290" y="421"/>
                  </a:cubicBezTo>
                  <a:lnTo>
                    <a:pt x="3870" y="0"/>
                  </a:lnTo>
                  <a:cubicBezTo>
                    <a:pt x="3870" y="1262"/>
                    <a:pt x="4290" y="2187"/>
                    <a:pt x="3870" y="3449"/>
                  </a:cubicBezTo>
                  <a:cubicBezTo>
                    <a:pt x="3028" y="4795"/>
                    <a:pt x="925" y="4374"/>
                    <a:pt x="925" y="5636"/>
                  </a:cubicBezTo>
                  <a:cubicBezTo>
                    <a:pt x="925" y="6982"/>
                    <a:pt x="1767" y="7487"/>
                    <a:pt x="1767" y="8748"/>
                  </a:cubicBezTo>
                  <a:cubicBezTo>
                    <a:pt x="1767" y="10936"/>
                    <a:pt x="0" y="11861"/>
                    <a:pt x="0" y="14048"/>
                  </a:cubicBezTo>
                  <a:lnTo>
                    <a:pt x="0" y="15815"/>
                  </a:lnTo>
                  <a:lnTo>
                    <a:pt x="2103" y="15815"/>
                  </a:lnTo>
                  <a:lnTo>
                    <a:pt x="2103" y="24648"/>
                  </a:lnTo>
                  <a:cubicBezTo>
                    <a:pt x="2103" y="24648"/>
                    <a:pt x="2524" y="25068"/>
                    <a:pt x="2944" y="25068"/>
                  </a:cubicBezTo>
                  <a:cubicBezTo>
                    <a:pt x="4206" y="25068"/>
                    <a:pt x="4206" y="23722"/>
                    <a:pt x="5047" y="22797"/>
                  </a:cubicBezTo>
                  <a:cubicBezTo>
                    <a:pt x="7571" y="21535"/>
                    <a:pt x="9674" y="19769"/>
                    <a:pt x="9674" y="16656"/>
                  </a:cubicBezTo>
                  <a:cubicBezTo>
                    <a:pt x="9674" y="13543"/>
                    <a:pt x="8412" y="12282"/>
                    <a:pt x="8412" y="9590"/>
                  </a:cubicBezTo>
                  <a:cubicBezTo>
                    <a:pt x="8412" y="7403"/>
                    <a:pt x="9169" y="6057"/>
                    <a:pt x="9169" y="3365"/>
                  </a:cubicBezTo>
                  <a:cubicBezTo>
                    <a:pt x="9169" y="2103"/>
                    <a:pt x="7066" y="2103"/>
                    <a:pt x="5888" y="1598"/>
                  </a:cubicBezTo>
                  <a:lnTo>
                    <a:pt x="5888" y="1598"/>
                  </a:lnTo>
                  <a:close/>
                </a:path>
              </a:pathLst>
            </a:custGeom>
            <a:grpFill/>
            <a:ln w="8410" cap="flat">
              <a:solidFill>
                <a:srgbClr val="F59E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a:ea typeface="+mn-ea"/>
                <a:cs typeface="+mn-cs"/>
              </a:endParaRPr>
            </a:p>
          </p:txBody>
        </p:sp>
        <p:sp>
          <p:nvSpPr>
            <p:cNvPr id="532" name="Freeform: Shape 531">
              <a:extLst>
                <a:ext uri="{FF2B5EF4-FFF2-40B4-BE49-F238E27FC236}">
                  <a16:creationId xmlns:a16="http://schemas.microsoft.com/office/drawing/2014/main" id="{A2362DC0-6F3F-5AA7-CC5E-2CE0B18DF2F3}"/>
                </a:ext>
              </a:extLst>
            </p:cNvPr>
            <p:cNvSpPr/>
            <p:nvPr/>
          </p:nvSpPr>
          <p:spPr>
            <a:xfrm>
              <a:off x="8769400" y="5048904"/>
              <a:ext cx="412772" cy="432402"/>
            </a:xfrm>
            <a:custGeom>
              <a:avLst/>
              <a:gdLst>
                <a:gd name="connsiteX0" fmla="*/ 168 w 311418"/>
                <a:gd name="connsiteY0" fmla="*/ 0 h 326228"/>
                <a:gd name="connsiteX1" fmla="*/ 7319 w 311418"/>
                <a:gd name="connsiteY1" fmla="*/ 3281 h 326228"/>
                <a:gd name="connsiteX2" fmla="*/ 30031 w 311418"/>
                <a:gd name="connsiteY2" fmla="*/ 11945 h 326228"/>
                <a:gd name="connsiteX3" fmla="*/ 40294 w 311418"/>
                <a:gd name="connsiteY3" fmla="*/ 12786 h 326228"/>
                <a:gd name="connsiteX4" fmla="*/ 69064 w 311418"/>
                <a:gd name="connsiteY4" fmla="*/ 25320 h 326228"/>
                <a:gd name="connsiteX5" fmla="*/ 71503 w 311418"/>
                <a:gd name="connsiteY5" fmla="*/ 29022 h 326228"/>
                <a:gd name="connsiteX6" fmla="*/ 89758 w 311418"/>
                <a:gd name="connsiteY6" fmla="*/ 41556 h 326228"/>
                <a:gd name="connsiteX7" fmla="*/ 100441 w 311418"/>
                <a:gd name="connsiteY7" fmla="*/ 59306 h 326228"/>
                <a:gd name="connsiteX8" fmla="*/ 115078 w 311418"/>
                <a:gd name="connsiteY8" fmla="*/ 63427 h 326228"/>
                <a:gd name="connsiteX9" fmla="*/ 122649 w 311418"/>
                <a:gd name="connsiteY9" fmla="*/ 57960 h 326228"/>
                <a:gd name="connsiteX10" fmla="*/ 130809 w 311418"/>
                <a:gd name="connsiteY10" fmla="*/ 57791 h 326228"/>
                <a:gd name="connsiteX11" fmla="*/ 127108 w 311418"/>
                <a:gd name="connsiteY11" fmla="*/ 64185 h 326228"/>
                <a:gd name="connsiteX12" fmla="*/ 113312 w 311418"/>
                <a:gd name="connsiteY12" fmla="*/ 73775 h 326228"/>
                <a:gd name="connsiteX13" fmla="*/ 112639 w 311418"/>
                <a:gd name="connsiteY13" fmla="*/ 80168 h 326228"/>
                <a:gd name="connsiteX14" fmla="*/ 117938 w 311418"/>
                <a:gd name="connsiteY14" fmla="*/ 89758 h 326228"/>
                <a:gd name="connsiteX15" fmla="*/ 130136 w 311418"/>
                <a:gd name="connsiteY15" fmla="*/ 97749 h 326228"/>
                <a:gd name="connsiteX16" fmla="*/ 145699 w 311418"/>
                <a:gd name="connsiteY16" fmla="*/ 113648 h 326228"/>
                <a:gd name="connsiteX17" fmla="*/ 150157 w 311418"/>
                <a:gd name="connsiteY17" fmla="*/ 116845 h 326228"/>
                <a:gd name="connsiteX18" fmla="*/ 173795 w 311418"/>
                <a:gd name="connsiteY18" fmla="*/ 125425 h 326228"/>
                <a:gd name="connsiteX19" fmla="*/ 182796 w 311418"/>
                <a:gd name="connsiteY19" fmla="*/ 131061 h 326228"/>
                <a:gd name="connsiteX20" fmla="*/ 186498 w 311418"/>
                <a:gd name="connsiteY20" fmla="*/ 138128 h 326228"/>
                <a:gd name="connsiteX21" fmla="*/ 191629 w 311418"/>
                <a:gd name="connsiteY21" fmla="*/ 147213 h 326228"/>
                <a:gd name="connsiteX22" fmla="*/ 203406 w 311418"/>
                <a:gd name="connsiteY22" fmla="*/ 156803 h 326228"/>
                <a:gd name="connsiteX23" fmla="*/ 209631 w 311418"/>
                <a:gd name="connsiteY23" fmla="*/ 161429 h 326228"/>
                <a:gd name="connsiteX24" fmla="*/ 253374 w 311418"/>
                <a:gd name="connsiteY24" fmla="*/ 160588 h 326228"/>
                <a:gd name="connsiteX25" fmla="*/ 269526 w 311418"/>
                <a:gd name="connsiteY25" fmla="*/ 157055 h 326228"/>
                <a:gd name="connsiteX26" fmla="*/ 273395 w 311418"/>
                <a:gd name="connsiteY26" fmla="*/ 145867 h 326228"/>
                <a:gd name="connsiteX27" fmla="*/ 260440 w 311418"/>
                <a:gd name="connsiteY27" fmla="*/ 125257 h 326228"/>
                <a:gd name="connsiteX28" fmla="*/ 259852 w 311418"/>
                <a:gd name="connsiteY28" fmla="*/ 121051 h 326228"/>
                <a:gd name="connsiteX29" fmla="*/ 264058 w 311418"/>
                <a:gd name="connsiteY29" fmla="*/ 119873 h 326228"/>
                <a:gd name="connsiteX30" fmla="*/ 284499 w 311418"/>
                <a:gd name="connsiteY30" fmla="*/ 122649 h 326228"/>
                <a:gd name="connsiteX31" fmla="*/ 287023 w 311418"/>
                <a:gd name="connsiteY31" fmla="*/ 123406 h 326228"/>
                <a:gd name="connsiteX32" fmla="*/ 300146 w 311418"/>
                <a:gd name="connsiteY32" fmla="*/ 143343 h 326228"/>
                <a:gd name="connsiteX33" fmla="*/ 311418 w 311418"/>
                <a:gd name="connsiteY33" fmla="*/ 166393 h 326228"/>
                <a:gd name="connsiteX34" fmla="*/ 300819 w 311418"/>
                <a:gd name="connsiteY34" fmla="*/ 171356 h 326228"/>
                <a:gd name="connsiteX35" fmla="*/ 293080 w 311418"/>
                <a:gd name="connsiteY35" fmla="*/ 171440 h 326228"/>
                <a:gd name="connsiteX36" fmla="*/ 274405 w 311418"/>
                <a:gd name="connsiteY36" fmla="*/ 166897 h 326228"/>
                <a:gd name="connsiteX37" fmla="*/ 240504 w 311418"/>
                <a:gd name="connsiteY37" fmla="*/ 173291 h 326228"/>
                <a:gd name="connsiteX38" fmla="*/ 216445 w 311418"/>
                <a:gd name="connsiteY38" fmla="*/ 183048 h 326228"/>
                <a:gd name="connsiteX39" fmla="*/ 213248 w 311418"/>
                <a:gd name="connsiteY39" fmla="*/ 190620 h 326228"/>
                <a:gd name="connsiteX40" fmla="*/ 222081 w 311418"/>
                <a:gd name="connsiteY40" fmla="*/ 202901 h 326228"/>
                <a:gd name="connsiteX41" fmla="*/ 226035 w 311418"/>
                <a:gd name="connsiteY41" fmla="*/ 208117 h 326228"/>
                <a:gd name="connsiteX42" fmla="*/ 226960 w 311418"/>
                <a:gd name="connsiteY42" fmla="*/ 225698 h 326228"/>
                <a:gd name="connsiteX43" fmla="*/ 234531 w 311418"/>
                <a:gd name="connsiteY43" fmla="*/ 249673 h 326228"/>
                <a:gd name="connsiteX44" fmla="*/ 241513 w 311418"/>
                <a:gd name="connsiteY44" fmla="*/ 267843 h 326228"/>
                <a:gd name="connsiteX45" fmla="*/ 223595 w 311418"/>
                <a:gd name="connsiteY45" fmla="*/ 268768 h 326228"/>
                <a:gd name="connsiteX46" fmla="*/ 183637 w 311418"/>
                <a:gd name="connsiteY46" fmla="*/ 278779 h 326228"/>
                <a:gd name="connsiteX47" fmla="*/ 181619 w 311418"/>
                <a:gd name="connsiteY47" fmla="*/ 283658 h 326228"/>
                <a:gd name="connsiteX48" fmla="*/ 183385 w 311418"/>
                <a:gd name="connsiteY48" fmla="*/ 300987 h 326228"/>
                <a:gd name="connsiteX49" fmla="*/ 166224 w 311418"/>
                <a:gd name="connsiteY49" fmla="*/ 305950 h 326228"/>
                <a:gd name="connsiteX50" fmla="*/ 136109 w 311418"/>
                <a:gd name="connsiteY50" fmla="*/ 325214 h 326228"/>
                <a:gd name="connsiteX51" fmla="*/ 132660 w 311418"/>
                <a:gd name="connsiteY51" fmla="*/ 326224 h 326228"/>
                <a:gd name="connsiteX52" fmla="*/ 89842 w 311418"/>
                <a:gd name="connsiteY52" fmla="*/ 320419 h 326228"/>
                <a:gd name="connsiteX53" fmla="*/ 62250 w 311418"/>
                <a:gd name="connsiteY53" fmla="*/ 302669 h 326228"/>
                <a:gd name="connsiteX54" fmla="*/ 47529 w 311418"/>
                <a:gd name="connsiteY54" fmla="*/ 293669 h 326228"/>
                <a:gd name="connsiteX55" fmla="*/ 37350 w 311418"/>
                <a:gd name="connsiteY55" fmla="*/ 259010 h 326228"/>
                <a:gd name="connsiteX56" fmla="*/ 43154 w 311418"/>
                <a:gd name="connsiteY56" fmla="*/ 258001 h 326228"/>
                <a:gd name="connsiteX57" fmla="*/ 58380 w 311418"/>
                <a:gd name="connsiteY57" fmla="*/ 240840 h 326228"/>
                <a:gd name="connsiteX58" fmla="*/ 59642 w 311418"/>
                <a:gd name="connsiteY58" fmla="*/ 196929 h 326228"/>
                <a:gd name="connsiteX59" fmla="*/ 59895 w 311418"/>
                <a:gd name="connsiteY59" fmla="*/ 182460 h 326228"/>
                <a:gd name="connsiteX60" fmla="*/ 34826 w 311418"/>
                <a:gd name="connsiteY60" fmla="*/ 120798 h 326228"/>
                <a:gd name="connsiteX61" fmla="*/ 33985 w 311418"/>
                <a:gd name="connsiteY61" fmla="*/ 95142 h 326228"/>
                <a:gd name="connsiteX62" fmla="*/ 33565 w 311418"/>
                <a:gd name="connsiteY62" fmla="*/ 87823 h 326228"/>
                <a:gd name="connsiteX63" fmla="*/ 13712 w 311418"/>
                <a:gd name="connsiteY63" fmla="*/ 45678 h 326228"/>
                <a:gd name="connsiteX64" fmla="*/ 4879 w 311418"/>
                <a:gd name="connsiteY64" fmla="*/ 18591 h 326228"/>
                <a:gd name="connsiteX65" fmla="*/ 0 w 311418"/>
                <a:gd name="connsiteY65" fmla="*/ 168 h 32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11418" h="326228">
                  <a:moveTo>
                    <a:pt x="168" y="0"/>
                  </a:moveTo>
                  <a:cubicBezTo>
                    <a:pt x="2524" y="1009"/>
                    <a:pt x="3870" y="3365"/>
                    <a:pt x="7319" y="3281"/>
                  </a:cubicBezTo>
                  <a:cubicBezTo>
                    <a:pt x="15899" y="2944"/>
                    <a:pt x="23975" y="4879"/>
                    <a:pt x="30031" y="11945"/>
                  </a:cubicBezTo>
                  <a:cubicBezTo>
                    <a:pt x="32976" y="15394"/>
                    <a:pt x="36761" y="14469"/>
                    <a:pt x="40294" y="12786"/>
                  </a:cubicBezTo>
                  <a:cubicBezTo>
                    <a:pt x="51230" y="7739"/>
                    <a:pt x="65194" y="13880"/>
                    <a:pt x="69064" y="25320"/>
                  </a:cubicBezTo>
                  <a:cubicBezTo>
                    <a:pt x="69569" y="26751"/>
                    <a:pt x="70578" y="28938"/>
                    <a:pt x="71503" y="29022"/>
                  </a:cubicBezTo>
                  <a:cubicBezTo>
                    <a:pt x="80000" y="29779"/>
                    <a:pt x="82607" y="38696"/>
                    <a:pt x="89758" y="41556"/>
                  </a:cubicBezTo>
                  <a:cubicBezTo>
                    <a:pt x="97245" y="44584"/>
                    <a:pt x="97497" y="53081"/>
                    <a:pt x="100441" y="59306"/>
                  </a:cubicBezTo>
                  <a:cubicBezTo>
                    <a:pt x="105068" y="69400"/>
                    <a:pt x="106161" y="69905"/>
                    <a:pt x="115078" y="63427"/>
                  </a:cubicBezTo>
                  <a:cubicBezTo>
                    <a:pt x="117602" y="61577"/>
                    <a:pt x="119873" y="59306"/>
                    <a:pt x="122649" y="57960"/>
                  </a:cubicBezTo>
                  <a:cubicBezTo>
                    <a:pt x="125173" y="56698"/>
                    <a:pt x="128454" y="53838"/>
                    <a:pt x="130809" y="57791"/>
                  </a:cubicBezTo>
                  <a:cubicBezTo>
                    <a:pt x="132996" y="61324"/>
                    <a:pt x="129127" y="62586"/>
                    <a:pt x="127108" y="64185"/>
                  </a:cubicBezTo>
                  <a:cubicBezTo>
                    <a:pt x="122649" y="67550"/>
                    <a:pt x="118023" y="70746"/>
                    <a:pt x="113312" y="73775"/>
                  </a:cubicBezTo>
                  <a:cubicBezTo>
                    <a:pt x="110199" y="75793"/>
                    <a:pt x="109358" y="77728"/>
                    <a:pt x="112639" y="80168"/>
                  </a:cubicBezTo>
                  <a:cubicBezTo>
                    <a:pt x="115920" y="82607"/>
                    <a:pt x="116929" y="86140"/>
                    <a:pt x="117938" y="89758"/>
                  </a:cubicBezTo>
                  <a:cubicBezTo>
                    <a:pt x="119621" y="95983"/>
                    <a:pt x="120967" y="101703"/>
                    <a:pt x="130136" y="97749"/>
                  </a:cubicBezTo>
                  <a:cubicBezTo>
                    <a:pt x="134679" y="95814"/>
                    <a:pt x="145362" y="106582"/>
                    <a:pt x="145699" y="113648"/>
                  </a:cubicBezTo>
                  <a:cubicBezTo>
                    <a:pt x="145867" y="118107"/>
                    <a:pt x="146119" y="118359"/>
                    <a:pt x="150157" y="116845"/>
                  </a:cubicBezTo>
                  <a:cubicBezTo>
                    <a:pt x="160083" y="113228"/>
                    <a:pt x="166729" y="120883"/>
                    <a:pt x="173795" y="125425"/>
                  </a:cubicBezTo>
                  <a:cubicBezTo>
                    <a:pt x="176739" y="127276"/>
                    <a:pt x="178843" y="130641"/>
                    <a:pt x="182796" y="131061"/>
                  </a:cubicBezTo>
                  <a:cubicBezTo>
                    <a:pt x="187507" y="131566"/>
                    <a:pt x="188769" y="134090"/>
                    <a:pt x="186498" y="138128"/>
                  </a:cubicBezTo>
                  <a:cubicBezTo>
                    <a:pt x="183133" y="144100"/>
                    <a:pt x="187255" y="146540"/>
                    <a:pt x="191629" y="147213"/>
                  </a:cubicBezTo>
                  <a:cubicBezTo>
                    <a:pt x="197854" y="148138"/>
                    <a:pt x="202312" y="149905"/>
                    <a:pt x="203406" y="156803"/>
                  </a:cubicBezTo>
                  <a:cubicBezTo>
                    <a:pt x="203911" y="159999"/>
                    <a:pt x="206855" y="160420"/>
                    <a:pt x="209631" y="161429"/>
                  </a:cubicBezTo>
                  <a:cubicBezTo>
                    <a:pt x="224352" y="166645"/>
                    <a:pt x="238905" y="164373"/>
                    <a:pt x="253374" y="160588"/>
                  </a:cubicBezTo>
                  <a:cubicBezTo>
                    <a:pt x="258674" y="159158"/>
                    <a:pt x="264226" y="158064"/>
                    <a:pt x="269526" y="157055"/>
                  </a:cubicBezTo>
                  <a:cubicBezTo>
                    <a:pt x="279200" y="155288"/>
                    <a:pt x="277097" y="150662"/>
                    <a:pt x="273395" y="145867"/>
                  </a:cubicBezTo>
                  <a:cubicBezTo>
                    <a:pt x="268432" y="139390"/>
                    <a:pt x="268600" y="129715"/>
                    <a:pt x="260440" y="125257"/>
                  </a:cubicBezTo>
                  <a:cubicBezTo>
                    <a:pt x="259094" y="124500"/>
                    <a:pt x="258926" y="122565"/>
                    <a:pt x="259852" y="121051"/>
                  </a:cubicBezTo>
                  <a:cubicBezTo>
                    <a:pt x="260861" y="119369"/>
                    <a:pt x="262544" y="119705"/>
                    <a:pt x="264058" y="119873"/>
                  </a:cubicBezTo>
                  <a:cubicBezTo>
                    <a:pt x="270872" y="120715"/>
                    <a:pt x="277685" y="121640"/>
                    <a:pt x="284499" y="122649"/>
                  </a:cubicBezTo>
                  <a:cubicBezTo>
                    <a:pt x="285425" y="122818"/>
                    <a:pt x="287023" y="123238"/>
                    <a:pt x="287023" y="123406"/>
                  </a:cubicBezTo>
                  <a:cubicBezTo>
                    <a:pt x="286518" y="133080"/>
                    <a:pt x="296697" y="135856"/>
                    <a:pt x="300146" y="143343"/>
                  </a:cubicBezTo>
                  <a:cubicBezTo>
                    <a:pt x="303595" y="150914"/>
                    <a:pt x="301912" y="160840"/>
                    <a:pt x="311418" y="166393"/>
                  </a:cubicBezTo>
                  <a:cubicBezTo>
                    <a:pt x="307212" y="168075"/>
                    <a:pt x="301324" y="163112"/>
                    <a:pt x="300819" y="171356"/>
                  </a:cubicBezTo>
                  <a:cubicBezTo>
                    <a:pt x="300567" y="175478"/>
                    <a:pt x="295772" y="174636"/>
                    <a:pt x="293080" y="171440"/>
                  </a:cubicBezTo>
                  <a:cubicBezTo>
                    <a:pt x="287948" y="165383"/>
                    <a:pt x="281639" y="165215"/>
                    <a:pt x="274405" y="166897"/>
                  </a:cubicBezTo>
                  <a:cubicBezTo>
                    <a:pt x="263216" y="169505"/>
                    <a:pt x="251860" y="171692"/>
                    <a:pt x="240504" y="173291"/>
                  </a:cubicBezTo>
                  <a:cubicBezTo>
                    <a:pt x="231587" y="174636"/>
                    <a:pt x="224436" y="179600"/>
                    <a:pt x="216445" y="183048"/>
                  </a:cubicBezTo>
                  <a:cubicBezTo>
                    <a:pt x="212575" y="184731"/>
                    <a:pt x="214258" y="188096"/>
                    <a:pt x="213248" y="190620"/>
                  </a:cubicBezTo>
                  <a:cubicBezTo>
                    <a:pt x="209715" y="199873"/>
                    <a:pt x="205509" y="208117"/>
                    <a:pt x="222081" y="202901"/>
                  </a:cubicBezTo>
                  <a:cubicBezTo>
                    <a:pt x="224857" y="201976"/>
                    <a:pt x="225866" y="205509"/>
                    <a:pt x="226035" y="208117"/>
                  </a:cubicBezTo>
                  <a:cubicBezTo>
                    <a:pt x="226455" y="214005"/>
                    <a:pt x="227885" y="220062"/>
                    <a:pt x="226960" y="225698"/>
                  </a:cubicBezTo>
                  <a:cubicBezTo>
                    <a:pt x="225446" y="235288"/>
                    <a:pt x="228895" y="242439"/>
                    <a:pt x="234531" y="249673"/>
                  </a:cubicBezTo>
                  <a:cubicBezTo>
                    <a:pt x="238569" y="254888"/>
                    <a:pt x="244878" y="261534"/>
                    <a:pt x="241513" y="267843"/>
                  </a:cubicBezTo>
                  <a:cubicBezTo>
                    <a:pt x="237812" y="274825"/>
                    <a:pt x="229400" y="269778"/>
                    <a:pt x="223595" y="268768"/>
                  </a:cubicBezTo>
                  <a:cubicBezTo>
                    <a:pt x="208537" y="265992"/>
                    <a:pt x="196760" y="274994"/>
                    <a:pt x="183637" y="278779"/>
                  </a:cubicBezTo>
                  <a:cubicBezTo>
                    <a:pt x="181619" y="279368"/>
                    <a:pt x="179179" y="281555"/>
                    <a:pt x="181619" y="283658"/>
                  </a:cubicBezTo>
                  <a:cubicBezTo>
                    <a:pt x="187844" y="289042"/>
                    <a:pt x="183469" y="295183"/>
                    <a:pt x="183385" y="300987"/>
                  </a:cubicBezTo>
                  <a:cubicBezTo>
                    <a:pt x="176824" y="299893"/>
                    <a:pt x="172281" y="301492"/>
                    <a:pt x="166224" y="305950"/>
                  </a:cubicBezTo>
                  <a:cubicBezTo>
                    <a:pt x="156803" y="312848"/>
                    <a:pt x="150325" y="325466"/>
                    <a:pt x="136109" y="325214"/>
                  </a:cubicBezTo>
                  <a:cubicBezTo>
                    <a:pt x="134931" y="325214"/>
                    <a:pt x="133753" y="326307"/>
                    <a:pt x="132660" y="326224"/>
                  </a:cubicBezTo>
                  <a:cubicBezTo>
                    <a:pt x="118359" y="324457"/>
                    <a:pt x="103806" y="323532"/>
                    <a:pt x="89842" y="320419"/>
                  </a:cubicBezTo>
                  <a:cubicBezTo>
                    <a:pt x="78990" y="317980"/>
                    <a:pt x="69653" y="311502"/>
                    <a:pt x="62250" y="302669"/>
                  </a:cubicBezTo>
                  <a:cubicBezTo>
                    <a:pt x="58380" y="298043"/>
                    <a:pt x="53670" y="295183"/>
                    <a:pt x="47529" y="293669"/>
                  </a:cubicBezTo>
                  <a:cubicBezTo>
                    <a:pt x="34658" y="290556"/>
                    <a:pt x="29190" y="269778"/>
                    <a:pt x="37350" y="259010"/>
                  </a:cubicBezTo>
                  <a:cubicBezTo>
                    <a:pt x="39705" y="255898"/>
                    <a:pt x="41640" y="258085"/>
                    <a:pt x="43154" y="258001"/>
                  </a:cubicBezTo>
                  <a:cubicBezTo>
                    <a:pt x="53165" y="257412"/>
                    <a:pt x="60231" y="250766"/>
                    <a:pt x="58380" y="240840"/>
                  </a:cubicBezTo>
                  <a:cubicBezTo>
                    <a:pt x="55688" y="226035"/>
                    <a:pt x="60904" y="211566"/>
                    <a:pt x="59642" y="196929"/>
                  </a:cubicBezTo>
                  <a:cubicBezTo>
                    <a:pt x="59558" y="190199"/>
                    <a:pt x="62166" y="184899"/>
                    <a:pt x="59895" y="182460"/>
                  </a:cubicBezTo>
                  <a:cubicBezTo>
                    <a:pt x="49548" y="162691"/>
                    <a:pt x="37350" y="143680"/>
                    <a:pt x="34826" y="120798"/>
                  </a:cubicBezTo>
                  <a:cubicBezTo>
                    <a:pt x="33901" y="112302"/>
                    <a:pt x="31966" y="103722"/>
                    <a:pt x="33985" y="95142"/>
                  </a:cubicBezTo>
                  <a:cubicBezTo>
                    <a:pt x="34574" y="92702"/>
                    <a:pt x="34742" y="90094"/>
                    <a:pt x="33565" y="87823"/>
                  </a:cubicBezTo>
                  <a:cubicBezTo>
                    <a:pt x="26162" y="74111"/>
                    <a:pt x="23554" y="58128"/>
                    <a:pt x="13712" y="45678"/>
                  </a:cubicBezTo>
                  <a:cubicBezTo>
                    <a:pt x="7319" y="37518"/>
                    <a:pt x="3197" y="29274"/>
                    <a:pt x="4879" y="18591"/>
                  </a:cubicBezTo>
                  <a:cubicBezTo>
                    <a:pt x="5973" y="11945"/>
                    <a:pt x="2103" y="6141"/>
                    <a:pt x="0" y="168"/>
                  </a:cubicBezTo>
                  <a:close/>
                </a:path>
              </a:pathLst>
            </a:custGeom>
            <a:grpFill/>
            <a:ln w="8410" cap="flat">
              <a:solidFill>
                <a:srgbClr val="F59E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a:ea typeface="+mn-ea"/>
                <a:cs typeface="+mn-cs"/>
              </a:endParaRPr>
            </a:p>
          </p:txBody>
        </p:sp>
        <p:sp>
          <p:nvSpPr>
            <p:cNvPr id="536" name="Freeform: Shape 535">
              <a:extLst>
                <a:ext uri="{FF2B5EF4-FFF2-40B4-BE49-F238E27FC236}">
                  <a16:creationId xmlns:a16="http://schemas.microsoft.com/office/drawing/2014/main" id="{BB61AF87-9CB6-A1B2-0A0C-99C9462C05EE}"/>
                </a:ext>
              </a:extLst>
            </p:cNvPr>
            <p:cNvSpPr/>
            <p:nvPr/>
          </p:nvSpPr>
          <p:spPr>
            <a:xfrm>
              <a:off x="8856927" y="4636778"/>
              <a:ext cx="161897" cy="69279"/>
            </a:xfrm>
            <a:custGeom>
              <a:avLst/>
              <a:gdLst>
                <a:gd name="connsiteX0" fmla="*/ 122145 w 122144"/>
                <a:gd name="connsiteY0" fmla="*/ 439 h 52268"/>
                <a:gd name="connsiteX1" fmla="*/ 107928 w 122144"/>
                <a:gd name="connsiteY1" fmla="*/ 20880 h 52268"/>
                <a:gd name="connsiteX2" fmla="*/ 78485 w 122144"/>
                <a:gd name="connsiteY2" fmla="*/ 34508 h 52268"/>
                <a:gd name="connsiteX3" fmla="*/ 68727 w 122144"/>
                <a:gd name="connsiteY3" fmla="*/ 32068 h 52268"/>
                <a:gd name="connsiteX4" fmla="*/ 64017 w 122144"/>
                <a:gd name="connsiteY4" fmla="*/ 30806 h 52268"/>
                <a:gd name="connsiteX5" fmla="*/ 62502 w 122144"/>
                <a:gd name="connsiteY5" fmla="*/ 35517 h 52268"/>
                <a:gd name="connsiteX6" fmla="*/ 59895 w 122144"/>
                <a:gd name="connsiteY6" fmla="*/ 40817 h 52268"/>
                <a:gd name="connsiteX7" fmla="*/ 0 w 122144"/>
                <a:gd name="connsiteY7" fmla="*/ 51921 h 52268"/>
                <a:gd name="connsiteX8" fmla="*/ 14385 w 122144"/>
                <a:gd name="connsiteY8" fmla="*/ 40312 h 52268"/>
                <a:gd name="connsiteX9" fmla="*/ 17918 w 122144"/>
                <a:gd name="connsiteY9" fmla="*/ 36443 h 52268"/>
                <a:gd name="connsiteX10" fmla="*/ 26246 w 122144"/>
                <a:gd name="connsiteY10" fmla="*/ 29376 h 52268"/>
                <a:gd name="connsiteX11" fmla="*/ 27844 w 122144"/>
                <a:gd name="connsiteY11" fmla="*/ 27610 h 52268"/>
                <a:gd name="connsiteX12" fmla="*/ 31125 w 122144"/>
                <a:gd name="connsiteY12" fmla="*/ 22310 h 52268"/>
                <a:gd name="connsiteX13" fmla="*/ 35836 w 122144"/>
                <a:gd name="connsiteY13" fmla="*/ 28199 h 52268"/>
                <a:gd name="connsiteX14" fmla="*/ 39958 w 122144"/>
                <a:gd name="connsiteY14" fmla="*/ 31648 h 52268"/>
                <a:gd name="connsiteX15" fmla="*/ 51651 w 122144"/>
                <a:gd name="connsiteY15" fmla="*/ 33246 h 52268"/>
                <a:gd name="connsiteX16" fmla="*/ 70494 w 122144"/>
                <a:gd name="connsiteY16" fmla="*/ 24077 h 52268"/>
                <a:gd name="connsiteX17" fmla="*/ 77055 w 122144"/>
                <a:gd name="connsiteY17" fmla="*/ 19450 h 52268"/>
                <a:gd name="connsiteX18" fmla="*/ 116172 w 122144"/>
                <a:gd name="connsiteY18" fmla="*/ 1953 h 52268"/>
                <a:gd name="connsiteX19" fmla="*/ 122145 w 122144"/>
                <a:gd name="connsiteY19" fmla="*/ 439 h 52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2144" h="52268">
                  <a:moveTo>
                    <a:pt x="122145" y="439"/>
                  </a:moveTo>
                  <a:cubicBezTo>
                    <a:pt x="121640" y="10197"/>
                    <a:pt x="114994" y="15749"/>
                    <a:pt x="107928" y="20880"/>
                  </a:cubicBezTo>
                  <a:cubicBezTo>
                    <a:pt x="99095" y="27357"/>
                    <a:pt x="88580" y="30638"/>
                    <a:pt x="78485" y="34508"/>
                  </a:cubicBezTo>
                  <a:cubicBezTo>
                    <a:pt x="74784" y="35938"/>
                    <a:pt x="71251" y="36190"/>
                    <a:pt x="68727" y="32068"/>
                  </a:cubicBezTo>
                  <a:cubicBezTo>
                    <a:pt x="67718" y="30386"/>
                    <a:pt x="66035" y="29460"/>
                    <a:pt x="64017" y="30806"/>
                  </a:cubicBezTo>
                  <a:cubicBezTo>
                    <a:pt x="62334" y="31984"/>
                    <a:pt x="61409" y="33414"/>
                    <a:pt x="62502" y="35517"/>
                  </a:cubicBezTo>
                  <a:cubicBezTo>
                    <a:pt x="64017" y="38462"/>
                    <a:pt x="63091" y="40060"/>
                    <a:pt x="59895" y="40817"/>
                  </a:cubicBezTo>
                  <a:cubicBezTo>
                    <a:pt x="40126" y="45444"/>
                    <a:pt x="21030" y="54108"/>
                    <a:pt x="0" y="51921"/>
                  </a:cubicBezTo>
                  <a:cubicBezTo>
                    <a:pt x="3954" y="46958"/>
                    <a:pt x="8076" y="42331"/>
                    <a:pt x="14385" y="40312"/>
                  </a:cubicBezTo>
                  <a:cubicBezTo>
                    <a:pt x="15899" y="39807"/>
                    <a:pt x="18086" y="37536"/>
                    <a:pt x="17918" y="36443"/>
                  </a:cubicBezTo>
                  <a:cubicBezTo>
                    <a:pt x="16824" y="29292"/>
                    <a:pt x="18002" y="25507"/>
                    <a:pt x="26246" y="29376"/>
                  </a:cubicBezTo>
                  <a:cubicBezTo>
                    <a:pt x="26498" y="29460"/>
                    <a:pt x="27592" y="28367"/>
                    <a:pt x="27844" y="27610"/>
                  </a:cubicBezTo>
                  <a:cubicBezTo>
                    <a:pt x="28601" y="25591"/>
                    <a:pt x="27003" y="21974"/>
                    <a:pt x="31125" y="22310"/>
                  </a:cubicBezTo>
                  <a:cubicBezTo>
                    <a:pt x="34322" y="22647"/>
                    <a:pt x="35920" y="25002"/>
                    <a:pt x="35836" y="28199"/>
                  </a:cubicBezTo>
                  <a:cubicBezTo>
                    <a:pt x="35836" y="31143"/>
                    <a:pt x="37350" y="31984"/>
                    <a:pt x="39958" y="31648"/>
                  </a:cubicBezTo>
                  <a:cubicBezTo>
                    <a:pt x="43996" y="31227"/>
                    <a:pt x="47781" y="32489"/>
                    <a:pt x="51651" y="33246"/>
                  </a:cubicBezTo>
                  <a:cubicBezTo>
                    <a:pt x="59726" y="34844"/>
                    <a:pt x="64437" y="27526"/>
                    <a:pt x="70494" y="24077"/>
                  </a:cubicBezTo>
                  <a:cubicBezTo>
                    <a:pt x="72681" y="22815"/>
                    <a:pt x="74448" y="19786"/>
                    <a:pt x="77055" y="19450"/>
                  </a:cubicBezTo>
                  <a:cubicBezTo>
                    <a:pt x="91861" y="17431"/>
                    <a:pt x="105068" y="12131"/>
                    <a:pt x="116172" y="1953"/>
                  </a:cubicBezTo>
                  <a:cubicBezTo>
                    <a:pt x="117518" y="691"/>
                    <a:pt x="119705" y="-739"/>
                    <a:pt x="122145" y="439"/>
                  </a:cubicBezTo>
                  <a:close/>
                </a:path>
              </a:pathLst>
            </a:custGeom>
            <a:grpFill/>
            <a:ln w="8410" cap="flat">
              <a:solidFill>
                <a:srgbClr val="F59E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a:ea typeface="+mn-ea"/>
                <a:cs typeface="+mn-cs"/>
              </a:endParaRPr>
            </a:p>
          </p:txBody>
        </p:sp>
        <p:sp>
          <p:nvSpPr>
            <p:cNvPr id="576" name="Freeform: Shape 575">
              <a:extLst>
                <a:ext uri="{FF2B5EF4-FFF2-40B4-BE49-F238E27FC236}">
                  <a16:creationId xmlns:a16="http://schemas.microsoft.com/office/drawing/2014/main" id="{D834BC22-427B-7DBB-D737-9AF8DEF9CEA0}"/>
                </a:ext>
              </a:extLst>
            </p:cNvPr>
            <p:cNvSpPr/>
            <p:nvPr/>
          </p:nvSpPr>
          <p:spPr>
            <a:xfrm>
              <a:off x="8671100" y="4969851"/>
              <a:ext cx="4194" cy="28989"/>
            </a:xfrm>
            <a:custGeom>
              <a:avLst/>
              <a:gdLst>
                <a:gd name="connsiteX0" fmla="*/ 2407 w 3164"/>
                <a:gd name="connsiteY0" fmla="*/ 0 h 21871"/>
                <a:gd name="connsiteX1" fmla="*/ 3164 w 3164"/>
                <a:gd name="connsiteY1" fmla="*/ 3281 h 21871"/>
                <a:gd name="connsiteX2" fmla="*/ 1987 w 3164"/>
                <a:gd name="connsiteY2" fmla="*/ 21871 h 21871"/>
                <a:gd name="connsiteX3" fmla="*/ 52 w 3164"/>
                <a:gd name="connsiteY3" fmla="*/ 168 h 21871"/>
                <a:gd name="connsiteX4" fmla="*/ 2407 w 3164"/>
                <a:gd name="connsiteY4" fmla="*/ 0 h 21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4" h="21871">
                  <a:moveTo>
                    <a:pt x="2407" y="0"/>
                  </a:moveTo>
                  <a:cubicBezTo>
                    <a:pt x="2660" y="1093"/>
                    <a:pt x="3164" y="2187"/>
                    <a:pt x="3164" y="3281"/>
                  </a:cubicBezTo>
                  <a:cubicBezTo>
                    <a:pt x="3164" y="9422"/>
                    <a:pt x="3164" y="15646"/>
                    <a:pt x="1987" y="21871"/>
                  </a:cubicBezTo>
                  <a:cubicBezTo>
                    <a:pt x="-1042" y="14805"/>
                    <a:pt x="388" y="7402"/>
                    <a:pt x="52" y="168"/>
                  </a:cubicBezTo>
                  <a:lnTo>
                    <a:pt x="2407" y="0"/>
                  </a:lnTo>
                  <a:close/>
                </a:path>
              </a:pathLst>
            </a:custGeom>
            <a:grpFill/>
            <a:ln w="8410" cap="flat">
              <a:solidFill>
                <a:srgbClr val="F59E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a:ea typeface="+mn-ea"/>
                <a:cs typeface="+mn-cs"/>
              </a:endParaRPr>
            </a:p>
          </p:txBody>
        </p:sp>
        <p:sp>
          <p:nvSpPr>
            <p:cNvPr id="588" name="Freeform: Shape 587">
              <a:extLst>
                <a:ext uri="{FF2B5EF4-FFF2-40B4-BE49-F238E27FC236}">
                  <a16:creationId xmlns:a16="http://schemas.microsoft.com/office/drawing/2014/main" id="{53A0AA2A-B29D-035D-D29C-9AEC9F63F055}"/>
                </a:ext>
              </a:extLst>
            </p:cNvPr>
            <p:cNvSpPr/>
            <p:nvPr/>
          </p:nvSpPr>
          <p:spPr>
            <a:xfrm>
              <a:off x="8727921" y="5090829"/>
              <a:ext cx="1783" cy="1783"/>
            </a:xfrm>
            <a:custGeom>
              <a:avLst/>
              <a:gdLst>
                <a:gd name="connsiteX0" fmla="*/ 0 w 1345"/>
                <a:gd name="connsiteY0" fmla="*/ 0 h 1345"/>
                <a:gd name="connsiteX1" fmla="*/ 1346 w 1345"/>
                <a:gd name="connsiteY1" fmla="*/ 1346 h 1345"/>
                <a:gd name="connsiteX2" fmla="*/ 0 w 1345"/>
                <a:gd name="connsiteY2" fmla="*/ 0 h 1345"/>
              </a:gdLst>
              <a:ahLst/>
              <a:cxnLst>
                <a:cxn ang="0">
                  <a:pos x="connsiteX0" y="connsiteY0"/>
                </a:cxn>
                <a:cxn ang="0">
                  <a:pos x="connsiteX1" y="connsiteY1"/>
                </a:cxn>
                <a:cxn ang="0">
                  <a:pos x="connsiteX2" y="connsiteY2"/>
                </a:cxn>
              </a:cxnLst>
              <a:rect l="l" t="t" r="r" b="b"/>
              <a:pathLst>
                <a:path w="1345" h="1345">
                  <a:moveTo>
                    <a:pt x="0" y="0"/>
                  </a:moveTo>
                  <a:cubicBezTo>
                    <a:pt x="421" y="421"/>
                    <a:pt x="925" y="925"/>
                    <a:pt x="1346" y="1346"/>
                  </a:cubicBezTo>
                  <a:cubicBezTo>
                    <a:pt x="925" y="925"/>
                    <a:pt x="421" y="421"/>
                    <a:pt x="0" y="0"/>
                  </a:cubicBezTo>
                  <a:close/>
                </a:path>
              </a:pathLst>
            </a:custGeom>
            <a:grpFill/>
            <a:ln w="0" cap="flat">
              <a:solidFill>
                <a:srgbClr val="F59E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a:ea typeface="+mn-ea"/>
                <a:cs typeface="+mn-cs"/>
              </a:endParaRPr>
            </a:p>
          </p:txBody>
        </p:sp>
        <p:sp>
          <p:nvSpPr>
            <p:cNvPr id="589" name="Freeform: Shape 588">
              <a:extLst>
                <a:ext uri="{FF2B5EF4-FFF2-40B4-BE49-F238E27FC236}">
                  <a16:creationId xmlns:a16="http://schemas.microsoft.com/office/drawing/2014/main" id="{D197539A-6C64-D779-6DE4-7D910F158C5A}"/>
                </a:ext>
              </a:extLst>
            </p:cNvPr>
            <p:cNvSpPr/>
            <p:nvPr/>
          </p:nvSpPr>
          <p:spPr>
            <a:xfrm>
              <a:off x="9152174" y="4476131"/>
              <a:ext cx="32339" cy="48850"/>
            </a:xfrm>
            <a:custGeom>
              <a:avLst/>
              <a:gdLst>
                <a:gd name="connsiteX0" fmla="*/ 8500 w 24398"/>
                <a:gd name="connsiteY0" fmla="*/ 168 h 36855"/>
                <a:gd name="connsiteX1" fmla="*/ 15566 w 24398"/>
                <a:gd name="connsiteY1" fmla="*/ 1178 h 36855"/>
                <a:gd name="connsiteX2" fmla="*/ 12454 w 24398"/>
                <a:gd name="connsiteY2" fmla="*/ 6561 h 36855"/>
                <a:gd name="connsiteX3" fmla="*/ 13968 w 24398"/>
                <a:gd name="connsiteY3" fmla="*/ 14048 h 36855"/>
                <a:gd name="connsiteX4" fmla="*/ 19015 w 24398"/>
                <a:gd name="connsiteY4" fmla="*/ 17918 h 36855"/>
                <a:gd name="connsiteX5" fmla="*/ 20277 w 24398"/>
                <a:gd name="connsiteY5" fmla="*/ 27592 h 36855"/>
                <a:gd name="connsiteX6" fmla="*/ 15987 w 24398"/>
                <a:gd name="connsiteY6" fmla="*/ 36845 h 36855"/>
                <a:gd name="connsiteX7" fmla="*/ 7995 w 24398"/>
                <a:gd name="connsiteY7" fmla="*/ 26246 h 36855"/>
                <a:gd name="connsiteX8" fmla="*/ 1013 w 24398"/>
                <a:gd name="connsiteY8" fmla="*/ 13712 h 36855"/>
                <a:gd name="connsiteX9" fmla="*/ 2948 w 24398"/>
                <a:gd name="connsiteY9" fmla="*/ 8748 h 36855"/>
                <a:gd name="connsiteX10" fmla="*/ 8668 w 24398"/>
                <a:gd name="connsiteY10" fmla="*/ 0 h 36855"/>
                <a:gd name="connsiteX11" fmla="*/ 8500 w 24398"/>
                <a:gd name="connsiteY11" fmla="*/ 168 h 36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398" h="36855">
                  <a:moveTo>
                    <a:pt x="8500" y="168"/>
                  </a:moveTo>
                  <a:cubicBezTo>
                    <a:pt x="10771" y="841"/>
                    <a:pt x="13463" y="-673"/>
                    <a:pt x="15566" y="1178"/>
                  </a:cubicBezTo>
                  <a:cubicBezTo>
                    <a:pt x="16071" y="3870"/>
                    <a:pt x="13715" y="5047"/>
                    <a:pt x="12454" y="6561"/>
                  </a:cubicBezTo>
                  <a:cubicBezTo>
                    <a:pt x="9593" y="9926"/>
                    <a:pt x="9173" y="12197"/>
                    <a:pt x="13968" y="14048"/>
                  </a:cubicBezTo>
                  <a:cubicBezTo>
                    <a:pt x="15902" y="14805"/>
                    <a:pt x="18090" y="16235"/>
                    <a:pt x="19015" y="17918"/>
                  </a:cubicBezTo>
                  <a:cubicBezTo>
                    <a:pt x="20529" y="20694"/>
                    <a:pt x="29530" y="22713"/>
                    <a:pt x="20277" y="27592"/>
                  </a:cubicBezTo>
                  <a:cubicBezTo>
                    <a:pt x="17585" y="29022"/>
                    <a:pt x="21791" y="37182"/>
                    <a:pt x="15987" y="36845"/>
                  </a:cubicBezTo>
                  <a:cubicBezTo>
                    <a:pt x="11612" y="36593"/>
                    <a:pt x="10519" y="29947"/>
                    <a:pt x="7995" y="26246"/>
                  </a:cubicBezTo>
                  <a:cubicBezTo>
                    <a:pt x="5387" y="22292"/>
                    <a:pt x="5135" y="17077"/>
                    <a:pt x="1013" y="13712"/>
                  </a:cubicBezTo>
                  <a:cubicBezTo>
                    <a:pt x="-1763" y="11356"/>
                    <a:pt x="1938" y="10263"/>
                    <a:pt x="2948" y="8748"/>
                  </a:cubicBezTo>
                  <a:cubicBezTo>
                    <a:pt x="4798" y="5804"/>
                    <a:pt x="9593" y="4711"/>
                    <a:pt x="8668" y="0"/>
                  </a:cubicBezTo>
                  <a:cubicBezTo>
                    <a:pt x="8668" y="0"/>
                    <a:pt x="8500" y="168"/>
                    <a:pt x="8500" y="168"/>
                  </a:cubicBezTo>
                  <a:close/>
                </a:path>
              </a:pathLst>
            </a:custGeom>
            <a:grpFill/>
            <a:ln w="0" cap="flat">
              <a:solidFill>
                <a:srgbClr val="F59E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a:ea typeface="+mn-ea"/>
                <a:cs typeface="+mn-cs"/>
              </a:endParaRPr>
            </a:p>
          </p:txBody>
        </p:sp>
        <p:sp>
          <p:nvSpPr>
            <p:cNvPr id="590" name="Freeform: Shape 589">
              <a:extLst>
                <a:ext uri="{FF2B5EF4-FFF2-40B4-BE49-F238E27FC236}">
                  <a16:creationId xmlns:a16="http://schemas.microsoft.com/office/drawing/2014/main" id="{5EF78CC2-64B1-73F8-8E04-494B76E9629D}"/>
                </a:ext>
              </a:extLst>
            </p:cNvPr>
            <p:cNvSpPr/>
            <p:nvPr/>
          </p:nvSpPr>
          <p:spPr>
            <a:xfrm>
              <a:off x="8707204" y="5037977"/>
              <a:ext cx="13891" cy="22969"/>
            </a:xfrm>
            <a:custGeom>
              <a:avLst/>
              <a:gdLst>
                <a:gd name="connsiteX0" fmla="*/ 321 w 10480"/>
                <a:gd name="connsiteY0" fmla="*/ 168 h 17329"/>
                <a:gd name="connsiteX1" fmla="*/ 7050 w 10480"/>
                <a:gd name="connsiteY1" fmla="*/ 6309 h 17329"/>
                <a:gd name="connsiteX2" fmla="*/ 5957 w 10480"/>
                <a:gd name="connsiteY2" fmla="*/ 17329 h 17329"/>
                <a:gd name="connsiteX3" fmla="*/ 405 w 10480"/>
                <a:gd name="connsiteY3" fmla="*/ 0 h 17329"/>
                <a:gd name="connsiteX4" fmla="*/ 405 w 10480"/>
                <a:gd name="connsiteY4" fmla="*/ 168 h 17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0" h="17329">
                  <a:moveTo>
                    <a:pt x="321" y="168"/>
                  </a:moveTo>
                  <a:cubicBezTo>
                    <a:pt x="2592" y="2187"/>
                    <a:pt x="4779" y="4290"/>
                    <a:pt x="7050" y="6309"/>
                  </a:cubicBezTo>
                  <a:cubicBezTo>
                    <a:pt x="11509" y="10179"/>
                    <a:pt x="12098" y="13796"/>
                    <a:pt x="5957" y="17329"/>
                  </a:cubicBezTo>
                  <a:cubicBezTo>
                    <a:pt x="5031" y="11104"/>
                    <a:pt x="-1698" y="7150"/>
                    <a:pt x="405" y="0"/>
                  </a:cubicBezTo>
                  <a:lnTo>
                    <a:pt x="405" y="168"/>
                  </a:lnTo>
                  <a:close/>
                </a:path>
              </a:pathLst>
            </a:custGeom>
            <a:grpFill/>
            <a:ln w="0" cap="flat">
              <a:solidFill>
                <a:srgbClr val="F59E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a:ea typeface="+mn-ea"/>
                <a:cs typeface="+mn-cs"/>
              </a:endParaRPr>
            </a:p>
          </p:txBody>
        </p:sp>
        <p:sp>
          <p:nvSpPr>
            <p:cNvPr id="591" name="Freeform: Shape 590">
              <a:extLst>
                <a:ext uri="{FF2B5EF4-FFF2-40B4-BE49-F238E27FC236}">
                  <a16:creationId xmlns:a16="http://schemas.microsoft.com/office/drawing/2014/main" id="{520C52A8-526D-FECE-8B6A-7023EB604C80}"/>
                </a:ext>
              </a:extLst>
            </p:cNvPr>
            <p:cNvSpPr/>
            <p:nvPr/>
          </p:nvSpPr>
          <p:spPr>
            <a:xfrm>
              <a:off x="8704396" y="5037977"/>
              <a:ext cx="3344" cy="1003"/>
            </a:xfrm>
            <a:custGeom>
              <a:avLst/>
              <a:gdLst>
                <a:gd name="connsiteX0" fmla="*/ 2524 w 2523"/>
                <a:gd name="connsiteY0" fmla="*/ 0 h 757"/>
                <a:gd name="connsiteX1" fmla="*/ 336 w 2523"/>
                <a:gd name="connsiteY1" fmla="*/ 757 h 757"/>
                <a:gd name="connsiteX2" fmla="*/ 0 w 2523"/>
                <a:gd name="connsiteY2" fmla="*/ 0 h 757"/>
                <a:gd name="connsiteX3" fmla="*/ 2440 w 2523"/>
                <a:gd name="connsiteY3" fmla="*/ 252 h 757"/>
                <a:gd name="connsiteX4" fmla="*/ 2524 w 2523"/>
                <a:gd name="connsiteY4" fmla="*/ 0 h 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3" h="757">
                  <a:moveTo>
                    <a:pt x="2524" y="0"/>
                  </a:moveTo>
                  <a:cubicBezTo>
                    <a:pt x="1767" y="252"/>
                    <a:pt x="1094" y="505"/>
                    <a:pt x="336" y="757"/>
                  </a:cubicBezTo>
                  <a:cubicBezTo>
                    <a:pt x="336" y="757"/>
                    <a:pt x="84" y="252"/>
                    <a:pt x="0" y="0"/>
                  </a:cubicBezTo>
                  <a:cubicBezTo>
                    <a:pt x="841" y="0"/>
                    <a:pt x="1598" y="168"/>
                    <a:pt x="2440" y="252"/>
                  </a:cubicBezTo>
                  <a:cubicBezTo>
                    <a:pt x="2440" y="252"/>
                    <a:pt x="2524" y="0"/>
                    <a:pt x="2524" y="0"/>
                  </a:cubicBezTo>
                  <a:close/>
                </a:path>
              </a:pathLst>
            </a:custGeom>
            <a:grpFill/>
            <a:ln w="0" cap="flat">
              <a:solidFill>
                <a:srgbClr val="F59E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a:ea typeface="+mn-ea"/>
                <a:cs typeface="+mn-cs"/>
              </a:endParaRPr>
            </a:p>
          </p:txBody>
        </p:sp>
        <p:sp>
          <p:nvSpPr>
            <p:cNvPr id="592" name="Freeform: Shape 591">
              <a:extLst>
                <a:ext uri="{FF2B5EF4-FFF2-40B4-BE49-F238E27FC236}">
                  <a16:creationId xmlns:a16="http://schemas.microsoft.com/office/drawing/2014/main" id="{21BB1E94-0D17-3EF8-896B-2E63D8D41198}"/>
                </a:ext>
              </a:extLst>
            </p:cNvPr>
            <p:cNvSpPr/>
            <p:nvPr/>
          </p:nvSpPr>
          <p:spPr>
            <a:xfrm>
              <a:off x="10336083" y="5425662"/>
              <a:ext cx="106593" cy="101687"/>
            </a:xfrm>
            <a:custGeom>
              <a:avLst/>
              <a:gdLst>
                <a:gd name="connsiteX0" fmla="*/ 0 w 80420"/>
                <a:gd name="connsiteY0" fmla="*/ 0 h 76718"/>
                <a:gd name="connsiteX1" fmla="*/ 80420 w 80420"/>
                <a:gd name="connsiteY1" fmla="*/ 0 h 76718"/>
                <a:gd name="connsiteX2" fmla="*/ 80420 w 80420"/>
                <a:gd name="connsiteY2" fmla="*/ 76719 h 76718"/>
                <a:gd name="connsiteX3" fmla="*/ 0 w 80420"/>
                <a:gd name="connsiteY3" fmla="*/ 76719 h 76718"/>
              </a:gdLst>
              <a:ahLst/>
              <a:cxnLst>
                <a:cxn ang="0">
                  <a:pos x="connsiteX0" y="connsiteY0"/>
                </a:cxn>
                <a:cxn ang="0">
                  <a:pos x="connsiteX1" y="connsiteY1"/>
                </a:cxn>
                <a:cxn ang="0">
                  <a:pos x="connsiteX2" y="connsiteY2"/>
                </a:cxn>
                <a:cxn ang="0">
                  <a:pos x="connsiteX3" y="connsiteY3"/>
                </a:cxn>
              </a:cxnLst>
              <a:rect l="l" t="t" r="r" b="b"/>
              <a:pathLst>
                <a:path w="80420" h="76718">
                  <a:moveTo>
                    <a:pt x="0" y="0"/>
                  </a:moveTo>
                  <a:lnTo>
                    <a:pt x="80420" y="0"/>
                  </a:lnTo>
                  <a:lnTo>
                    <a:pt x="80420" y="76719"/>
                  </a:lnTo>
                  <a:lnTo>
                    <a:pt x="0" y="76719"/>
                  </a:lnTo>
                  <a:close/>
                </a:path>
              </a:pathLst>
            </a:custGeom>
            <a:grpFill/>
            <a:ln w="0" cap="flat">
              <a:solidFill>
                <a:srgbClr val="F59E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a:ea typeface="+mn-ea"/>
                <a:cs typeface="+mn-cs"/>
              </a:endParaRPr>
            </a:p>
          </p:txBody>
        </p:sp>
        <p:sp>
          <p:nvSpPr>
            <p:cNvPr id="593" name="Freeform: Shape 592">
              <a:extLst>
                <a:ext uri="{FF2B5EF4-FFF2-40B4-BE49-F238E27FC236}">
                  <a16:creationId xmlns:a16="http://schemas.microsoft.com/office/drawing/2014/main" id="{F2A3BF7F-1F1B-F053-44A5-07483F114830}"/>
                </a:ext>
              </a:extLst>
            </p:cNvPr>
            <p:cNvSpPr/>
            <p:nvPr/>
          </p:nvSpPr>
          <p:spPr>
            <a:xfrm>
              <a:off x="10782916" y="5424327"/>
              <a:ext cx="599765" cy="730995"/>
            </a:xfrm>
            <a:custGeom>
              <a:avLst/>
              <a:gdLst>
                <a:gd name="connsiteX0" fmla="*/ 452413 w 452496"/>
                <a:gd name="connsiteY0" fmla="*/ 134835 h 551503"/>
                <a:gd name="connsiteX1" fmla="*/ 452497 w 452496"/>
                <a:gd name="connsiteY1" fmla="*/ 177821 h 551503"/>
                <a:gd name="connsiteX2" fmla="*/ 409342 w 452496"/>
                <a:gd name="connsiteY2" fmla="*/ 204740 h 551503"/>
                <a:gd name="connsiteX3" fmla="*/ 398070 w 452496"/>
                <a:gd name="connsiteY3" fmla="*/ 214918 h 551503"/>
                <a:gd name="connsiteX4" fmla="*/ 363664 w 452496"/>
                <a:gd name="connsiteY4" fmla="*/ 278430 h 551503"/>
                <a:gd name="connsiteX5" fmla="*/ 350121 w 452496"/>
                <a:gd name="connsiteY5" fmla="*/ 296769 h 551503"/>
                <a:gd name="connsiteX6" fmla="*/ 311004 w 452496"/>
                <a:gd name="connsiteY6" fmla="*/ 299881 h 551503"/>
                <a:gd name="connsiteX7" fmla="*/ 299227 w 452496"/>
                <a:gd name="connsiteY7" fmla="*/ 321584 h 551503"/>
                <a:gd name="connsiteX8" fmla="*/ 253465 w 452496"/>
                <a:gd name="connsiteY8" fmla="*/ 363982 h 551503"/>
                <a:gd name="connsiteX9" fmla="*/ 252960 w 452496"/>
                <a:gd name="connsiteY9" fmla="*/ 383834 h 551503"/>
                <a:gd name="connsiteX10" fmla="*/ 262634 w 452496"/>
                <a:gd name="connsiteY10" fmla="*/ 397462 h 551503"/>
                <a:gd name="connsiteX11" fmla="*/ 246315 w 452496"/>
                <a:gd name="connsiteY11" fmla="*/ 401247 h 551503"/>
                <a:gd name="connsiteX12" fmla="*/ 235463 w 452496"/>
                <a:gd name="connsiteY12" fmla="*/ 403687 h 551503"/>
                <a:gd name="connsiteX13" fmla="*/ 186841 w 452496"/>
                <a:gd name="connsiteY13" fmla="*/ 454328 h 551503"/>
                <a:gd name="connsiteX14" fmla="*/ 165474 w 452496"/>
                <a:gd name="connsiteY14" fmla="*/ 494959 h 551503"/>
                <a:gd name="connsiteX15" fmla="*/ 109869 w 452496"/>
                <a:gd name="connsiteY15" fmla="*/ 548292 h 551503"/>
                <a:gd name="connsiteX16" fmla="*/ 79670 w 452496"/>
                <a:gd name="connsiteY16" fmla="*/ 546105 h 551503"/>
                <a:gd name="connsiteX17" fmla="*/ 68482 w 452496"/>
                <a:gd name="connsiteY17" fmla="*/ 540385 h 551503"/>
                <a:gd name="connsiteX18" fmla="*/ 30459 w 452496"/>
                <a:gd name="connsiteY18" fmla="*/ 531720 h 551503"/>
                <a:gd name="connsiteX19" fmla="*/ 1857 w 452496"/>
                <a:gd name="connsiteY19" fmla="*/ 509428 h 551503"/>
                <a:gd name="connsiteX20" fmla="*/ 10606 w 452496"/>
                <a:gd name="connsiteY20" fmla="*/ 486799 h 551503"/>
                <a:gd name="connsiteX21" fmla="*/ 143686 w 452496"/>
                <a:gd name="connsiteY21" fmla="*/ 362047 h 551503"/>
                <a:gd name="connsiteX22" fmla="*/ 179186 w 452496"/>
                <a:gd name="connsiteY22" fmla="*/ 316285 h 551503"/>
                <a:gd name="connsiteX23" fmla="*/ 197608 w 452496"/>
                <a:gd name="connsiteY23" fmla="*/ 303330 h 551503"/>
                <a:gd name="connsiteX24" fmla="*/ 207871 w 452496"/>
                <a:gd name="connsiteY24" fmla="*/ 291301 h 551503"/>
                <a:gd name="connsiteX25" fmla="*/ 240342 w 452496"/>
                <a:gd name="connsiteY25" fmla="*/ 260344 h 551503"/>
                <a:gd name="connsiteX26" fmla="*/ 264990 w 452496"/>
                <a:gd name="connsiteY26" fmla="*/ 271700 h 551503"/>
                <a:gd name="connsiteX27" fmla="*/ 274327 w 452496"/>
                <a:gd name="connsiteY27" fmla="*/ 265812 h 551503"/>
                <a:gd name="connsiteX28" fmla="*/ 284001 w 452496"/>
                <a:gd name="connsiteY28" fmla="*/ 261606 h 551503"/>
                <a:gd name="connsiteX29" fmla="*/ 287282 w 452496"/>
                <a:gd name="connsiteY29" fmla="*/ 271869 h 551503"/>
                <a:gd name="connsiteX30" fmla="*/ 294012 w 452496"/>
                <a:gd name="connsiteY30" fmla="*/ 282384 h 551503"/>
                <a:gd name="connsiteX31" fmla="*/ 306209 w 452496"/>
                <a:gd name="connsiteY31" fmla="*/ 273972 h 551503"/>
                <a:gd name="connsiteX32" fmla="*/ 321183 w 452496"/>
                <a:gd name="connsiteY32" fmla="*/ 232247 h 551503"/>
                <a:gd name="connsiteX33" fmla="*/ 315294 w 452496"/>
                <a:gd name="connsiteY33" fmla="*/ 220134 h 551503"/>
                <a:gd name="connsiteX34" fmla="*/ 289890 w 452496"/>
                <a:gd name="connsiteY34" fmla="*/ 208441 h 551503"/>
                <a:gd name="connsiteX35" fmla="*/ 286861 w 452496"/>
                <a:gd name="connsiteY35" fmla="*/ 190186 h 551503"/>
                <a:gd name="connsiteX36" fmla="*/ 301835 w 452496"/>
                <a:gd name="connsiteY36" fmla="*/ 153005 h 551503"/>
                <a:gd name="connsiteX37" fmla="*/ 263476 w 452496"/>
                <a:gd name="connsiteY37" fmla="*/ 45581 h 551503"/>
                <a:gd name="connsiteX38" fmla="*/ 237398 w 452496"/>
                <a:gd name="connsiteY38" fmla="*/ 13868 h 551503"/>
                <a:gd name="connsiteX39" fmla="*/ 232519 w 452496"/>
                <a:gd name="connsiteY39" fmla="*/ 2763 h 551503"/>
                <a:gd name="connsiteX40" fmla="*/ 244212 w 452496"/>
                <a:gd name="connsiteY40" fmla="*/ 2175 h 551503"/>
                <a:gd name="connsiteX41" fmla="*/ 300826 w 452496"/>
                <a:gd name="connsiteY41" fmla="*/ 19252 h 551503"/>
                <a:gd name="connsiteX42" fmla="*/ 311257 w 452496"/>
                <a:gd name="connsiteY42" fmla="*/ 33215 h 551503"/>
                <a:gd name="connsiteX43" fmla="*/ 311004 w 452496"/>
                <a:gd name="connsiteY43" fmla="*/ 77632 h 551503"/>
                <a:gd name="connsiteX44" fmla="*/ 322613 w 452496"/>
                <a:gd name="connsiteY44" fmla="*/ 98242 h 551503"/>
                <a:gd name="connsiteX45" fmla="*/ 351719 w 452496"/>
                <a:gd name="connsiteY45" fmla="*/ 86717 h 551503"/>
                <a:gd name="connsiteX46" fmla="*/ 358617 w 452496"/>
                <a:gd name="connsiteY46" fmla="*/ 102532 h 551503"/>
                <a:gd name="connsiteX47" fmla="*/ 394789 w 452496"/>
                <a:gd name="connsiteY47" fmla="*/ 129619 h 551503"/>
                <a:gd name="connsiteX48" fmla="*/ 412960 w 452496"/>
                <a:gd name="connsiteY48" fmla="*/ 116075 h 551503"/>
                <a:gd name="connsiteX49" fmla="*/ 434158 w 452496"/>
                <a:gd name="connsiteY49" fmla="*/ 115823 h 551503"/>
                <a:gd name="connsiteX50" fmla="*/ 452328 w 452496"/>
                <a:gd name="connsiteY50" fmla="*/ 134666 h 55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52496" h="551503">
                  <a:moveTo>
                    <a:pt x="452413" y="134835"/>
                  </a:moveTo>
                  <a:cubicBezTo>
                    <a:pt x="452413" y="149135"/>
                    <a:pt x="452413" y="163436"/>
                    <a:pt x="452497" y="177821"/>
                  </a:cubicBezTo>
                  <a:cubicBezTo>
                    <a:pt x="440972" y="191364"/>
                    <a:pt x="431130" y="207431"/>
                    <a:pt x="409342" y="204740"/>
                  </a:cubicBezTo>
                  <a:cubicBezTo>
                    <a:pt x="402360" y="203898"/>
                    <a:pt x="400678" y="210207"/>
                    <a:pt x="398070" y="214918"/>
                  </a:cubicBezTo>
                  <a:cubicBezTo>
                    <a:pt x="386545" y="236033"/>
                    <a:pt x="374937" y="257147"/>
                    <a:pt x="363664" y="278430"/>
                  </a:cubicBezTo>
                  <a:cubicBezTo>
                    <a:pt x="360047" y="285244"/>
                    <a:pt x="355841" y="291385"/>
                    <a:pt x="350121" y="296769"/>
                  </a:cubicBezTo>
                  <a:cubicBezTo>
                    <a:pt x="331530" y="314098"/>
                    <a:pt x="331614" y="314266"/>
                    <a:pt x="311004" y="299881"/>
                  </a:cubicBezTo>
                  <a:cubicBezTo>
                    <a:pt x="312434" y="310649"/>
                    <a:pt x="305536" y="315864"/>
                    <a:pt x="299227" y="321584"/>
                  </a:cubicBezTo>
                  <a:cubicBezTo>
                    <a:pt x="283917" y="335717"/>
                    <a:pt x="269196" y="350522"/>
                    <a:pt x="253465" y="363982"/>
                  </a:cubicBezTo>
                  <a:cubicBezTo>
                    <a:pt x="244884" y="371384"/>
                    <a:pt x="243034" y="376348"/>
                    <a:pt x="252960" y="383834"/>
                  </a:cubicBezTo>
                  <a:cubicBezTo>
                    <a:pt x="257335" y="387115"/>
                    <a:pt x="265158" y="390816"/>
                    <a:pt x="262634" y="397462"/>
                  </a:cubicBezTo>
                  <a:cubicBezTo>
                    <a:pt x="260027" y="404276"/>
                    <a:pt x="251951" y="400322"/>
                    <a:pt x="246315" y="401247"/>
                  </a:cubicBezTo>
                  <a:cubicBezTo>
                    <a:pt x="242613" y="401921"/>
                    <a:pt x="237734" y="401500"/>
                    <a:pt x="235463" y="403687"/>
                  </a:cubicBezTo>
                  <a:cubicBezTo>
                    <a:pt x="218807" y="420091"/>
                    <a:pt x="198281" y="432877"/>
                    <a:pt x="186841" y="454328"/>
                  </a:cubicBezTo>
                  <a:cubicBezTo>
                    <a:pt x="179690" y="467872"/>
                    <a:pt x="171110" y="480827"/>
                    <a:pt x="165474" y="494959"/>
                  </a:cubicBezTo>
                  <a:cubicBezTo>
                    <a:pt x="154875" y="521541"/>
                    <a:pt x="136957" y="538534"/>
                    <a:pt x="109869" y="548292"/>
                  </a:cubicBezTo>
                  <a:cubicBezTo>
                    <a:pt x="98177" y="552498"/>
                    <a:pt x="89260" y="553339"/>
                    <a:pt x="79670" y="546105"/>
                  </a:cubicBezTo>
                  <a:cubicBezTo>
                    <a:pt x="75043" y="545937"/>
                    <a:pt x="71510" y="543666"/>
                    <a:pt x="68482" y="540385"/>
                  </a:cubicBezTo>
                  <a:cubicBezTo>
                    <a:pt x="56116" y="536094"/>
                    <a:pt x="44255" y="531552"/>
                    <a:pt x="30459" y="531720"/>
                  </a:cubicBezTo>
                  <a:cubicBezTo>
                    <a:pt x="16494" y="531888"/>
                    <a:pt x="8671" y="519354"/>
                    <a:pt x="1857" y="509428"/>
                  </a:cubicBezTo>
                  <a:cubicBezTo>
                    <a:pt x="-4115" y="500763"/>
                    <a:pt x="5811" y="493865"/>
                    <a:pt x="10606" y="486799"/>
                  </a:cubicBezTo>
                  <a:cubicBezTo>
                    <a:pt x="45937" y="435569"/>
                    <a:pt x="89512" y="392920"/>
                    <a:pt x="143686" y="362047"/>
                  </a:cubicBezTo>
                  <a:cubicBezTo>
                    <a:pt x="162361" y="351363"/>
                    <a:pt x="170101" y="333614"/>
                    <a:pt x="179186" y="316285"/>
                  </a:cubicBezTo>
                  <a:cubicBezTo>
                    <a:pt x="183223" y="308630"/>
                    <a:pt x="187177" y="301732"/>
                    <a:pt x="197608" y="303330"/>
                  </a:cubicBezTo>
                  <a:cubicBezTo>
                    <a:pt x="207366" y="304760"/>
                    <a:pt x="207703" y="298703"/>
                    <a:pt x="207871" y="291301"/>
                  </a:cubicBezTo>
                  <a:cubicBezTo>
                    <a:pt x="208628" y="260007"/>
                    <a:pt x="208880" y="259503"/>
                    <a:pt x="240342" y="260344"/>
                  </a:cubicBezTo>
                  <a:cubicBezTo>
                    <a:pt x="249343" y="260596"/>
                    <a:pt x="263812" y="252941"/>
                    <a:pt x="264990" y="271700"/>
                  </a:cubicBezTo>
                  <a:cubicBezTo>
                    <a:pt x="269700" y="272121"/>
                    <a:pt x="271383" y="267915"/>
                    <a:pt x="274327" y="265812"/>
                  </a:cubicBezTo>
                  <a:cubicBezTo>
                    <a:pt x="277271" y="263625"/>
                    <a:pt x="279459" y="259419"/>
                    <a:pt x="284001" y="261606"/>
                  </a:cubicBezTo>
                  <a:cubicBezTo>
                    <a:pt x="288375" y="263709"/>
                    <a:pt x="287029" y="268167"/>
                    <a:pt x="287282" y="271869"/>
                  </a:cubicBezTo>
                  <a:cubicBezTo>
                    <a:pt x="287534" y="276579"/>
                    <a:pt x="286104" y="281963"/>
                    <a:pt x="294012" y="282384"/>
                  </a:cubicBezTo>
                  <a:cubicBezTo>
                    <a:pt x="300657" y="282720"/>
                    <a:pt x="304106" y="279944"/>
                    <a:pt x="306209" y="273972"/>
                  </a:cubicBezTo>
                  <a:cubicBezTo>
                    <a:pt x="311004" y="260007"/>
                    <a:pt x="315547" y="245875"/>
                    <a:pt x="321183" y="232247"/>
                  </a:cubicBezTo>
                  <a:cubicBezTo>
                    <a:pt x="324211" y="224844"/>
                    <a:pt x="321015" y="222573"/>
                    <a:pt x="315294" y="220134"/>
                  </a:cubicBezTo>
                  <a:cubicBezTo>
                    <a:pt x="306714" y="216517"/>
                    <a:pt x="298386" y="212395"/>
                    <a:pt x="289890" y="208441"/>
                  </a:cubicBezTo>
                  <a:cubicBezTo>
                    <a:pt x="279795" y="203814"/>
                    <a:pt x="277103" y="196832"/>
                    <a:pt x="286861" y="190186"/>
                  </a:cubicBezTo>
                  <a:cubicBezTo>
                    <a:pt x="300741" y="180765"/>
                    <a:pt x="299984" y="167390"/>
                    <a:pt x="301835" y="153005"/>
                  </a:cubicBezTo>
                  <a:cubicBezTo>
                    <a:pt x="307471" y="110103"/>
                    <a:pt x="295021" y="75024"/>
                    <a:pt x="263476" y="45581"/>
                  </a:cubicBezTo>
                  <a:cubicBezTo>
                    <a:pt x="253549" y="36328"/>
                    <a:pt x="245894" y="24635"/>
                    <a:pt x="237398" y="13868"/>
                  </a:cubicBezTo>
                  <a:cubicBezTo>
                    <a:pt x="234874" y="10671"/>
                    <a:pt x="229658" y="7643"/>
                    <a:pt x="232519" y="2763"/>
                  </a:cubicBezTo>
                  <a:cubicBezTo>
                    <a:pt x="235547" y="-2368"/>
                    <a:pt x="240258" y="997"/>
                    <a:pt x="244212" y="2175"/>
                  </a:cubicBezTo>
                  <a:cubicBezTo>
                    <a:pt x="263055" y="7895"/>
                    <a:pt x="281814" y="14036"/>
                    <a:pt x="300826" y="19252"/>
                  </a:cubicBezTo>
                  <a:cubicBezTo>
                    <a:pt x="308565" y="21439"/>
                    <a:pt x="311425" y="25308"/>
                    <a:pt x="311257" y="33215"/>
                  </a:cubicBezTo>
                  <a:cubicBezTo>
                    <a:pt x="310836" y="48021"/>
                    <a:pt x="311509" y="62826"/>
                    <a:pt x="311004" y="77632"/>
                  </a:cubicBezTo>
                  <a:cubicBezTo>
                    <a:pt x="310668" y="86969"/>
                    <a:pt x="313864" y="93531"/>
                    <a:pt x="322613" y="98242"/>
                  </a:cubicBezTo>
                  <a:cubicBezTo>
                    <a:pt x="326819" y="80660"/>
                    <a:pt x="340699" y="85960"/>
                    <a:pt x="351719" y="86717"/>
                  </a:cubicBezTo>
                  <a:cubicBezTo>
                    <a:pt x="361309" y="87390"/>
                    <a:pt x="358533" y="96475"/>
                    <a:pt x="358617" y="102532"/>
                  </a:cubicBezTo>
                  <a:cubicBezTo>
                    <a:pt x="359206" y="130376"/>
                    <a:pt x="367113" y="136264"/>
                    <a:pt x="394789" y="129619"/>
                  </a:cubicBezTo>
                  <a:cubicBezTo>
                    <a:pt x="402865" y="127684"/>
                    <a:pt x="407912" y="121543"/>
                    <a:pt x="412960" y="116075"/>
                  </a:cubicBezTo>
                  <a:cubicBezTo>
                    <a:pt x="420446" y="108000"/>
                    <a:pt x="426671" y="106738"/>
                    <a:pt x="434158" y="115823"/>
                  </a:cubicBezTo>
                  <a:cubicBezTo>
                    <a:pt x="439710" y="122553"/>
                    <a:pt x="447954" y="126675"/>
                    <a:pt x="452328" y="134666"/>
                  </a:cubicBezTo>
                  <a:close/>
                </a:path>
              </a:pathLst>
            </a:custGeom>
            <a:solidFill>
              <a:schemeClr val="accent2"/>
            </a:solidFill>
            <a:ln w="0" cap="flat">
              <a:solidFill>
                <a:srgbClr val="FFD94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a:ea typeface="+mn-ea"/>
                <a:cs typeface="+mn-cs"/>
              </a:endParaRPr>
            </a:p>
          </p:txBody>
        </p:sp>
        <p:sp>
          <p:nvSpPr>
            <p:cNvPr id="594" name="Freeform: Shape 593">
              <a:extLst>
                <a:ext uri="{FF2B5EF4-FFF2-40B4-BE49-F238E27FC236}">
                  <a16:creationId xmlns:a16="http://schemas.microsoft.com/office/drawing/2014/main" id="{E3B6D641-3BE7-E7A5-D3B4-470B82E0B240}"/>
                </a:ext>
              </a:extLst>
            </p:cNvPr>
            <p:cNvSpPr/>
            <p:nvPr/>
          </p:nvSpPr>
          <p:spPr>
            <a:xfrm>
              <a:off x="9161146" y="4511253"/>
              <a:ext cx="9045" cy="19846"/>
            </a:xfrm>
            <a:custGeom>
              <a:avLst/>
              <a:gdLst>
                <a:gd name="connsiteX0" fmla="*/ 1982 w 6824"/>
                <a:gd name="connsiteY0" fmla="*/ 14974 h 14973"/>
                <a:gd name="connsiteX1" fmla="*/ 1309 w 6824"/>
                <a:gd name="connsiteY1" fmla="*/ 0 h 14973"/>
                <a:gd name="connsiteX2" fmla="*/ 1982 w 6824"/>
                <a:gd name="connsiteY2" fmla="*/ 14974 h 14973"/>
              </a:gdLst>
              <a:ahLst/>
              <a:cxnLst>
                <a:cxn ang="0">
                  <a:pos x="connsiteX0" y="connsiteY0"/>
                </a:cxn>
                <a:cxn ang="0">
                  <a:pos x="connsiteX1" y="connsiteY1"/>
                </a:cxn>
                <a:cxn ang="0">
                  <a:pos x="connsiteX2" y="connsiteY2"/>
                </a:cxn>
              </a:cxnLst>
              <a:rect l="l" t="t" r="r" b="b"/>
              <a:pathLst>
                <a:path w="6824" h="14973">
                  <a:moveTo>
                    <a:pt x="1982" y="14974"/>
                  </a:moveTo>
                  <a:cubicBezTo>
                    <a:pt x="-625" y="9001"/>
                    <a:pt x="-457" y="4543"/>
                    <a:pt x="1309" y="0"/>
                  </a:cubicBezTo>
                  <a:cubicBezTo>
                    <a:pt x="8434" y="4097"/>
                    <a:pt x="8653" y="9085"/>
                    <a:pt x="1982" y="14974"/>
                  </a:cubicBezTo>
                  <a:close/>
                </a:path>
              </a:pathLst>
            </a:custGeom>
            <a:grpFill/>
            <a:ln w="0" cap="flat">
              <a:solidFill>
                <a:srgbClr val="F59E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a:ea typeface="+mn-ea"/>
                <a:cs typeface="+mn-cs"/>
              </a:endParaRPr>
            </a:p>
          </p:txBody>
        </p:sp>
      </p:grpSp>
      <p:cxnSp>
        <p:nvCxnSpPr>
          <p:cNvPr id="357" name="Straight Connector 356">
            <a:extLst>
              <a:ext uri="{FF2B5EF4-FFF2-40B4-BE49-F238E27FC236}">
                <a16:creationId xmlns:a16="http://schemas.microsoft.com/office/drawing/2014/main" id="{7E6BAA64-78A6-5B32-7885-8DDB668A3C6F}"/>
              </a:ext>
            </a:extLst>
          </p:cNvPr>
          <p:cNvCxnSpPr>
            <a:cxnSpLocks/>
          </p:cNvCxnSpPr>
          <p:nvPr/>
        </p:nvCxnSpPr>
        <p:spPr>
          <a:xfrm flipH="1">
            <a:off x="6204643" y="1540427"/>
            <a:ext cx="1658852" cy="3971950"/>
          </a:xfrm>
          <a:prstGeom prst="line">
            <a:avLst/>
          </a:prstGeom>
          <a:ln>
            <a:solidFill>
              <a:schemeClr val="bg2"/>
            </a:solidFill>
          </a:ln>
        </p:spPr>
        <p:style>
          <a:lnRef idx="1">
            <a:schemeClr val="accent6"/>
          </a:lnRef>
          <a:fillRef idx="0">
            <a:schemeClr val="accent6"/>
          </a:fillRef>
          <a:effectRef idx="0">
            <a:schemeClr val="accent6"/>
          </a:effectRef>
          <a:fontRef idx="minor">
            <a:schemeClr val="tx1"/>
          </a:fontRef>
        </p:style>
      </p:cxnSp>
      <p:grpSp>
        <p:nvGrpSpPr>
          <p:cNvPr id="23" name="Group 22">
            <a:extLst>
              <a:ext uri="{FF2B5EF4-FFF2-40B4-BE49-F238E27FC236}">
                <a16:creationId xmlns:a16="http://schemas.microsoft.com/office/drawing/2014/main" id="{664F3FE9-9D84-1873-DBC8-3210B6458843}"/>
              </a:ext>
            </a:extLst>
          </p:cNvPr>
          <p:cNvGrpSpPr/>
          <p:nvPr/>
        </p:nvGrpSpPr>
        <p:grpSpPr>
          <a:xfrm>
            <a:off x="4688875" y="2309942"/>
            <a:ext cx="2154404" cy="2196934"/>
            <a:chOff x="2387602" y="2359135"/>
            <a:chExt cx="2463365" cy="2511992"/>
          </a:xfrm>
        </p:grpSpPr>
        <p:sp>
          <p:nvSpPr>
            <p:cNvPr id="25" name="Freeform 2577">
              <a:extLst>
                <a:ext uri="{FF2B5EF4-FFF2-40B4-BE49-F238E27FC236}">
                  <a16:creationId xmlns:a16="http://schemas.microsoft.com/office/drawing/2014/main" id="{14F5AD42-72F3-2107-BA4B-65A5D88BDE9D}"/>
                </a:ext>
              </a:extLst>
            </p:cNvPr>
            <p:cNvSpPr>
              <a:spLocks/>
            </p:cNvSpPr>
            <p:nvPr>
              <p:custDataLst>
                <p:tags r:id="rId3"/>
              </p:custDataLst>
            </p:nvPr>
          </p:nvSpPr>
          <p:spPr bwMode="auto">
            <a:xfrm>
              <a:off x="3910551" y="4168002"/>
              <a:ext cx="235347" cy="264513"/>
            </a:xfrm>
            <a:custGeom>
              <a:avLst/>
              <a:gdLst>
                <a:gd name="T0" fmla="*/ 100 w 242"/>
                <a:gd name="T1" fmla="*/ 238 h 306"/>
                <a:gd name="T2" fmla="*/ 91 w 242"/>
                <a:gd name="T3" fmla="*/ 242 h 306"/>
                <a:gd name="T4" fmla="*/ 95 w 242"/>
                <a:gd name="T5" fmla="*/ 249 h 306"/>
                <a:gd name="T6" fmla="*/ 95 w 242"/>
                <a:gd name="T7" fmla="*/ 256 h 306"/>
                <a:gd name="T8" fmla="*/ 98 w 242"/>
                <a:gd name="T9" fmla="*/ 264 h 306"/>
                <a:gd name="T10" fmla="*/ 104 w 242"/>
                <a:gd name="T11" fmla="*/ 270 h 306"/>
                <a:gd name="T12" fmla="*/ 122 w 242"/>
                <a:gd name="T13" fmla="*/ 278 h 306"/>
                <a:gd name="T14" fmla="*/ 126 w 242"/>
                <a:gd name="T15" fmla="*/ 290 h 306"/>
                <a:gd name="T16" fmla="*/ 136 w 242"/>
                <a:gd name="T17" fmla="*/ 297 h 306"/>
                <a:gd name="T18" fmla="*/ 164 w 242"/>
                <a:gd name="T19" fmla="*/ 276 h 306"/>
                <a:gd name="T20" fmla="*/ 178 w 242"/>
                <a:gd name="T21" fmla="*/ 269 h 306"/>
                <a:gd name="T22" fmla="*/ 221 w 242"/>
                <a:gd name="T23" fmla="*/ 257 h 306"/>
                <a:gd name="T24" fmla="*/ 224 w 242"/>
                <a:gd name="T25" fmla="*/ 228 h 306"/>
                <a:gd name="T26" fmla="*/ 224 w 242"/>
                <a:gd name="T27" fmla="*/ 216 h 306"/>
                <a:gd name="T28" fmla="*/ 233 w 242"/>
                <a:gd name="T29" fmla="*/ 209 h 306"/>
                <a:gd name="T30" fmla="*/ 240 w 242"/>
                <a:gd name="T31" fmla="*/ 201 h 306"/>
                <a:gd name="T32" fmla="*/ 242 w 242"/>
                <a:gd name="T33" fmla="*/ 195 h 306"/>
                <a:gd name="T34" fmla="*/ 236 w 242"/>
                <a:gd name="T35" fmla="*/ 185 h 306"/>
                <a:gd name="T36" fmla="*/ 215 w 242"/>
                <a:gd name="T37" fmla="*/ 176 h 306"/>
                <a:gd name="T38" fmla="*/ 209 w 242"/>
                <a:gd name="T39" fmla="*/ 159 h 306"/>
                <a:gd name="T40" fmla="*/ 209 w 242"/>
                <a:gd name="T41" fmla="*/ 134 h 306"/>
                <a:gd name="T42" fmla="*/ 210 w 242"/>
                <a:gd name="T43" fmla="*/ 110 h 306"/>
                <a:gd name="T44" fmla="*/ 199 w 242"/>
                <a:gd name="T45" fmla="*/ 87 h 306"/>
                <a:gd name="T46" fmla="*/ 185 w 242"/>
                <a:gd name="T47" fmla="*/ 93 h 306"/>
                <a:gd name="T48" fmla="*/ 157 w 242"/>
                <a:gd name="T49" fmla="*/ 92 h 306"/>
                <a:gd name="T50" fmla="*/ 139 w 242"/>
                <a:gd name="T51" fmla="*/ 90 h 306"/>
                <a:gd name="T52" fmla="*/ 138 w 242"/>
                <a:gd name="T53" fmla="*/ 62 h 306"/>
                <a:gd name="T54" fmla="*/ 116 w 242"/>
                <a:gd name="T55" fmla="*/ 54 h 306"/>
                <a:gd name="T56" fmla="*/ 103 w 242"/>
                <a:gd name="T57" fmla="*/ 38 h 306"/>
                <a:gd name="T58" fmla="*/ 91 w 242"/>
                <a:gd name="T59" fmla="*/ 24 h 306"/>
                <a:gd name="T60" fmla="*/ 83 w 242"/>
                <a:gd name="T61" fmla="*/ 15 h 306"/>
                <a:gd name="T62" fmla="*/ 73 w 242"/>
                <a:gd name="T63" fmla="*/ 12 h 306"/>
                <a:gd name="T64" fmla="*/ 63 w 242"/>
                <a:gd name="T65" fmla="*/ 1 h 306"/>
                <a:gd name="T66" fmla="*/ 32 w 242"/>
                <a:gd name="T67" fmla="*/ 0 h 306"/>
                <a:gd name="T68" fmla="*/ 18 w 242"/>
                <a:gd name="T69" fmla="*/ 14 h 306"/>
                <a:gd name="T70" fmla="*/ 12 w 242"/>
                <a:gd name="T71" fmla="*/ 13 h 306"/>
                <a:gd name="T72" fmla="*/ 8 w 242"/>
                <a:gd name="T73" fmla="*/ 16 h 306"/>
                <a:gd name="T74" fmla="*/ 0 w 242"/>
                <a:gd name="T75" fmla="*/ 25 h 306"/>
                <a:gd name="T76" fmla="*/ 6 w 242"/>
                <a:gd name="T77" fmla="*/ 46 h 306"/>
                <a:gd name="T78" fmla="*/ 7 w 242"/>
                <a:gd name="T79" fmla="*/ 55 h 306"/>
                <a:gd name="T80" fmla="*/ 13 w 242"/>
                <a:gd name="T81" fmla="*/ 60 h 306"/>
                <a:gd name="T82" fmla="*/ 24 w 242"/>
                <a:gd name="T83" fmla="*/ 67 h 306"/>
                <a:gd name="T84" fmla="*/ 32 w 242"/>
                <a:gd name="T85" fmla="*/ 73 h 306"/>
                <a:gd name="T86" fmla="*/ 21 w 242"/>
                <a:gd name="T87" fmla="*/ 80 h 306"/>
                <a:gd name="T88" fmla="*/ 24 w 242"/>
                <a:gd name="T89" fmla="*/ 91 h 306"/>
                <a:gd name="T90" fmla="*/ 29 w 242"/>
                <a:gd name="T91" fmla="*/ 100 h 306"/>
                <a:gd name="T92" fmla="*/ 33 w 242"/>
                <a:gd name="T93" fmla="*/ 141 h 306"/>
                <a:gd name="T94" fmla="*/ 51 w 242"/>
                <a:gd name="T95" fmla="*/ 152 h 306"/>
                <a:gd name="T96" fmla="*/ 36 w 242"/>
                <a:gd name="T97" fmla="*/ 163 h 306"/>
                <a:gd name="T98" fmla="*/ 49 w 242"/>
                <a:gd name="T99" fmla="*/ 176 h 306"/>
                <a:gd name="T100" fmla="*/ 39 w 242"/>
                <a:gd name="T101" fmla="*/ 194 h 306"/>
                <a:gd name="T102" fmla="*/ 54 w 242"/>
                <a:gd name="T103" fmla="*/ 202 h 306"/>
                <a:gd name="T104" fmla="*/ 58 w 242"/>
                <a:gd name="T105" fmla="*/ 208 h 306"/>
                <a:gd name="T106" fmla="*/ 76 w 242"/>
                <a:gd name="T107" fmla="*/ 220 h 306"/>
                <a:gd name="T108" fmla="*/ 89 w 242"/>
                <a:gd name="T109" fmla="*/ 221 h 306"/>
                <a:gd name="T110" fmla="*/ 107 w 242"/>
                <a:gd name="T111" fmla="*/ 229 h 306"/>
                <a:gd name="T112" fmla="*/ 100 w 242"/>
                <a:gd name="T113" fmla="*/ 238 h 30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42"/>
                <a:gd name="T172" fmla="*/ 0 h 306"/>
                <a:gd name="T173" fmla="*/ 242 w 242"/>
                <a:gd name="T174" fmla="*/ 306 h 306"/>
                <a:gd name="connsiteX0" fmla="*/ 4132 w 10000"/>
                <a:gd name="connsiteY0" fmla="*/ 7778 h 10000"/>
                <a:gd name="connsiteX1" fmla="*/ 3760 w 10000"/>
                <a:gd name="connsiteY1" fmla="*/ 7908 h 10000"/>
                <a:gd name="connsiteX2" fmla="*/ 3926 w 10000"/>
                <a:gd name="connsiteY2" fmla="*/ 8137 h 10000"/>
                <a:gd name="connsiteX3" fmla="*/ 3926 w 10000"/>
                <a:gd name="connsiteY3" fmla="*/ 8366 h 10000"/>
                <a:gd name="connsiteX4" fmla="*/ 4050 w 10000"/>
                <a:gd name="connsiteY4" fmla="*/ 8627 h 10000"/>
                <a:gd name="connsiteX5" fmla="*/ 4298 w 10000"/>
                <a:gd name="connsiteY5" fmla="*/ 8824 h 10000"/>
                <a:gd name="connsiteX6" fmla="*/ 5041 w 10000"/>
                <a:gd name="connsiteY6" fmla="*/ 9085 h 10000"/>
                <a:gd name="connsiteX7" fmla="*/ 5207 w 10000"/>
                <a:gd name="connsiteY7" fmla="*/ 9477 h 10000"/>
                <a:gd name="connsiteX8" fmla="*/ 5620 w 10000"/>
                <a:gd name="connsiteY8" fmla="*/ 9706 h 10000"/>
                <a:gd name="connsiteX9" fmla="*/ 7211 w 10000"/>
                <a:gd name="connsiteY9" fmla="*/ 8089 h 10000"/>
                <a:gd name="connsiteX10" fmla="*/ 7355 w 10000"/>
                <a:gd name="connsiteY10" fmla="*/ 8791 h 10000"/>
                <a:gd name="connsiteX11" fmla="*/ 9132 w 10000"/>
                <a:gd name="connsiteY11" fmla="*/ 8399 h 10000"/>
                <a:gd name="connsiteX12" fmla="*/ 9256 w 10000"/>
                <a:gd name="connsiteY12" fmla="*/ 7451 h 10000"/>
                <a:gd name="connsiteX13" fmla="*/ 9256 w 10000"/>
                <a:gd name="connsiteY13" fmla="*/ 7059 h 10000"/>
                <a:gd name="connsiteX14" fmla="*/ 9628 w 10000"/>
                <a:gd name="connsiteY14" fmla="*/ 6830 h 10000"/>
                <a:gd name="connsiteX15" fmla="*/ 9917 w 10000"/>
                <a:gd name="connsiteY15" fmla="*/ 6569 h 10000"/>
                <a:gd name="connsiteX16" fmla="*/ 10000 w 10000"/>
                <a:gd name="connsiteY16" fmla="*/ 6373 h 10000"/>
                <a:gd name="connsiteX17" fmla="*/ 9752 w 10000"/>
                <a:gd name="connsiteY17" fmla="*/ 6046 h 10000"/>
                <a:gd name="connsiteX18" fmla="*/ 8884 w 10000"/>
                <a:gd name="connsiteY18" fmla="*/ 5752 h 10000"/>
                <a:gd name="connsiteX19" fmla="*/ 8636 w 10000"/>
                <a:gd name="connsiteY19" fmla="*/ 5196 h 10000"/>
                <a:gd name="connsiteX20" fmla="*/ 8636 w 10000"/>
                <a:gd name="connsiteY20" fmla="*/ 4379 h 10000"/>
                <a:gd name="connsiteX21" fmla="*/ 8678 w 10000"/>
                <a:gd name="connsiteY21" fmla="*/ 3595 h 10000"/>
                <a:gd name="connsiteX22" fmla="*/ 8223 w 10000"/>
                <a:gd name="connsiteY22" fmla="*/ 2843 h 10000"/>
                <a:gd name="connsiteX23" fmla="*/ 7645 w 10000"/>
                <a:gd name="connsiteY23" fmla="*/ 3039 h 10000"/>
                <a:gd name="connsiteX24" fmla="*/ 6488 w 10000"/>
                <a:gd name="connsiteY24" fmla="*/ 3007 h 10000"/>
                <a:gd name="connsiteX25" fmla="*/ 5744 w 10000"/>
                <a:gd name="connsiteY25" fmla="*/ 2941 h 10000"/>
                <a:gd name="connsiteX26" fmla="*/ 5702 w 10000"/>
                <a:gd name="connsiteY26" fmla="*/ 2026 h 10000"/>
                <a:gd name="connsiteX27" fmla="*/ 4793 w 10000"/>
                <a:gd name="connsiteY27" fmla="*/ 1765 h 10000"/>
                <a:gd name="connsiteX28" fmla="*/ 4256 w 10000"/>
                <a:gd name="connsiteY28" fmla="*/ 1242 h 10000"/>
                <a:gd name="connsiteX29" fmla="*/ 3760 w 10000"/>
                <a:gd name="connsiteY29" fmla="*/ 784 h 10000"/>
                <a:gd name="connsiteX30" fmla="*/ 3430 w 10000"/>
                <a:gd name="connsiteY30" fmla="*/ 490 h 10000"/>
                <a:gd name="connsiteX31" fmla="*/ 3017 w 10000"/>
                <a:gd name="connsiteY31" fmla="*/ 392 h 10000"/>
                <a:gd name="connsiteX32" fmla="*/ 2603 w 10000"/>
                <a:gd name="connsiteY32" fmla="*/ 33 h 10000"/>
                <a:gd name="connsiteX33" fmla="*/ 1322 w 10000"/>
                <a:gd name="connsiteY33" fmla="*/ 0 h 10000"/>
                <a:gd name="connsiteX34" fmla="*/ 744 w 10000"/>
                <a:gd name="connsiteY34" fmla="*/ 458 h 10000"/>
                <a:gd name="connsiteX35" fmla="*/ 496 w 10000"/>
                <a:gd name="connsiteY35" fmla="*/ 425 h 10000"/>
                <a:gd name="connsiteX36" fmla="*/ 331 w 10000"/>
                <a:gd name="connsiteY36" fmla="*/ 523 h 10000"/>
                <a:gd name="connsiteX37" fmla="*/ 0 w 10000"/>
                <a:gd name="connsiteY37" fmla="*/ 817 h 10000"/>
                <a:gd name="connsiteX38" fmla="*/ 248 w 10000"/>
                <a:gd name="connsiteY38" fmla="*/ 1503 h 10000"/>
                <a:gd name="connsiteX39" fmla="*/ 289 w 10000"/>
                <a:gd name="connsiteY39" fmla="*/ 1797 h 10000"/>
                <a:gd name="connsiteX40" fmla="*/ 537 w 10000"/>
                <a:gd name="connsiteY40" fmla="*/ 1961 h 10000"/>
                <a:gd name="connsiteX41" fmla="*/ 992 w 10000"/>
                <a:gd name="connsiteY41" fmla="*/ 2190 h 10000"/>
                <a:gd name="connsiteX42" fmla="*/ 1322 w 10000"/>
                <a:gd name="connsiteY42" fmla="*/ 2386 h 10000"/>
                <a:gd name="connsiteX43" fmla="*/ 868 w 10000"/>
                <a:gd name="connsiteY43" fmla="*/ 2614 h 10000"/>
                <a:gd name="connsiteX44" fmla="*/ 992 w 10000"/>
                <a:gd name="connsiteY44" fmla="*/ 2974 h 10000"/>
                <a:gd name="connsiteX45" fmla="*/ 1198 w 10000"/>
                <a:gd name="connsiteY45" fmla="*/ 3268 h 10000"/>
                <a:gd name="connsiteX46" fmla="*/ 1364 w 10000"/>
                <a:gd name="connsiteY46" fmla="*/ 4608 h 10000"/>
                <a:gd name="connsiteX47" fmla="*/ 2107 w 10000"/>
                <a:gd name="connsiteY47" fmla="*/ 4967 h 10000"/>
                <a:gd name="connsiteX48" fmla="*/ 1488 w 10000"/>
                <a:gd name="connsiteY48" fmla="*/ 5327 h 10000"/>
                <a:gd name="connsiteX49" fmla="*/ 2025 w 10000"/>
                <a:gd name="connsiteY49" fmla="*/ 5752 h 10000"/>
                <a:gd name="connsiteX50" fmla="*/ 1612 w 10000"/>
                <a:gd name="connsiteY50" fmla="*/ 6340 h 10000"/>
                <a:gd name="connsiteX51" fmla="*/ 2231 w 10000"/>
                <a:gd name="connsiteY51" fmla="*/ 6601 h 10000"/>
                <a:gd name="connsiteX52" fmla="*/ 2397 w 10000"/>
                <a:gd name="connsiteY52" fmla="*/ 6797 h 10000"/>
                <a:gd name="connsiteX53" fmla="*/ 3140 w 10000"/>
                <a:gd name="connsiteY53" fmla="*/ 7190 h 10000"/>
                <a:gd name="connsiteX54" fmla="*/ 3678 w 10000"/>
                <a:gd name="connsiteY54" fmla="*/ 7222 h 10000"/>
                <a:gd name="connsiteX55" fmla="*/ 4421 w 10000"/>
                <a:gd name="connsiteY55" fmla="*/ 7484 h 10000"/>
                <a:gd name="connsiteX56" fmla="*/ 4132 w 10000"/>
                <a:gd name="connsiteY56" fmla="*/ 7778 h 10000"/>
                <a:gd name="connsiteX0" fmla="*/ 4132 w 10000"/>
                <a:gd name="connsiteY0" fmla="*/ 7778 h 10000"/>
                <a:gd name="connsiteX1" fmla="*/ 3760 w 10000"/>
                <a:gd name="connsiteY1" fmla="*/ 7908 h 10000"/>
                <a:gd name="connsiteX2" fmla="*/ 3926 w 10000"/>
                <a:gd name="connsiteY2" fmla="*/ 8137 h 10000"/>
                <a:gd name="connsiteX3" fmla="*/ 3926 w 10000"/>
                <a:gd name="connsiteY3" fmla="*/ 8366 h 10000"/>
                <a:gd name="connsiteX4" fmla="*/ 4050 w 10000"/>
                <a:gd name="connsiteY4" fmla="*/ 8627 h 10000"/>
                <a:gd name="connsiteX5" fmla="*/ 4298 w 10000"/>
                <a:gd name="connsiteY5" fmla="*/ 8824 h 10000"/>
                <a:gd name="connsiteX6" fmla="*/ 5041 w 10000"/>
                <a:gd name="connsiteY6" fmla="*/ 9085 h 10000"/>
                <a:gd name="connsiteX7" fmla="*/ 5207 w 10000"/>
                <a:gd name="connsiteY7" fmla="*/ 9477 h 10000"/>
                <a:gd name="connsiteX8" fmla="*/ 6364 w 10000"/>
                <a:gd name="connsiteY8" fmla="*/ 7745 h 10000"/>
                <a:gd name="connsiteX9" fmla="*/ 7211 w 10000"/>
                <a:gd name="connsiteY9" fmla="*/ 8089 h 10000"/>
                <a:gd name="connsiteX10" fmla="*/ 7355 w 10000"/>
                <a:gd name="connsiteY10" fmla="*/ 8791 h 10000"/>
                <a:gd name="connsiteX11" fmla="*/ 9132 w 10000"/>
                <a:gd name="connsiteY11" fmla="*/ 8399 h 10000"/>
                <a:gd name="connsiteX12" fmla="*/ 9256 w 10000"/>
                <a:gd name="connsiteY12" fmla="*/ 7451 h 10000"/>
                <a:gd name="connsiteX13" fmla="*/ 9256 w 10000"/>
                <a:gd name="connsiteY13" fmla="*/ 7059 h 10000"/>
                <a:gd name="connsiteX14" fmla="*/ 9628 w 10000"/>
                <a:gd name="connsiteY14" fmla="*/ 6830 h 10000"/>
                <a:gd name="connsiteX15" fmla="*/ 9917 w 10000"/>
                <a:gd name="connsiteY15" fmla="*/ 6569 h 10000"/>
                <a:gd name="connsiteX16" fmla="*/ 10000 w 10000"/>
                <a:gd name="connsiteY16" fmla="*/ 6373 h 10000"/>
                <a:gd name="connsiteX17" fmla="*/ 9752 w 10000"/>
                <a:gd name="connsiteY17" fmla="*/ 6046 h 10000"/>
                <a:gd name="connsiteX18" fmla="*/ 8884 w 10000"/>
                <a:gd name="connsiteY18" fmla="*/ 5752 h 10000"/>
                <a:gd name="connsiteX19" fmla="*/ 8636 w 10000"/>
                <a:gd name="connsiteY19" fmla="*/ 5196 h 10000"/>
                <a:gd name="connsiteX20" fmla="*/ 8636 w 10000"/>
                <a:gd name="connsiteY20" fmla="*/ 4379 h 10000"/>
                <a:gd name="connsiteX21" fmla="*/ 8678 w 10000"/>
                <a:gd name="connsiteY21" fmla="*/ 3595 h 10000"/>
                <a:gd name="connsiteX22" fmla="*/ 8223 w 10000"/>
                <a:gd name="connsiteY22" fmla="*/ 2843 h 10000"/>
                <a:gd name="connsiteX23" fmla="*/ 7645 w 10000"/>
                <a:gd name="connsiteY23" fmla="*/ 3039 h 10000"/>
                <a:gd name="connsiteX24" fmla="*/ 6488 w 10000"/>
                <a:gd name="connsiteY24" fmla="*/ 3007 h 10000"/>
                <a:gd name="connsiteX25" fmla="*/ 5744 w 10000"/>
                <a:gd name="connsiteY25" fmla="*/ 2941 h 10000"/>
                <a:gd name="connsiteX26" fmla="*/ 5702 w 10000"/>
                <a:gd name="connsiteY26" fmla="*/ 2026 h 10000"/>
                <a:gd name="connsiteX27" fmla="*/ 4793 w 10000"/>
                <a:gd name="connsiteY27" fmla="*/ 1765 h 10000"/>
                <a:gd name="connsiteX28" fmla="*/ 4256 w 10000"/>
                <a:gd name="connsiteY28" fmla="*/ 1242 h 10000"/>
                <a:gd name="connsiteX29" fmla="*/ 3760 w 10000"/>
                <a:gd name="connsiteY29" fmla="*/ 784 h 10000"/>
                <a:gd name="connsiteX30" fmla="*/ 3430 w 10000"/>
                <a:gd name="connsiteY30" fmla="*/ 490 h 10000"/>
                <a:gd name="connsiteX31" fmla="*/ 3017 w 10000"/>
                <a:gd name="connsiteY31" fmla="*/ 392 h 10000"/>
                <a:gd name="connsiteX32" fmla="*/ 2603 w 10000"/>
                <a:gd name="connsiteY32" fmla="*/ 33 h 10000"/>
                <a:gd name="connsiteX33" fmla="*/ 1322 w 10000"/>
                <a:gd name="connsiteY33" fmla="*/ 0 h 10000"/>
                <a:gd name="connsiteX34" fmla="*/ 744 w 10000"/>
                <a:gd name="connsiteY34" fmla="*/ 458 h 10000"/>
                <a:gd name="connsiteX35" fmla="*/ 496 w 10000"/>
                <a:gd name="connsiteY35" fmla="*/ 425 h 10000"/>
                <a:gd name="connsiteX36" fmla="*/ 331 w 10000"/>
                <a:gd name="connsiteY36" fmla="*/ 523 h 10000"/>
                <a:gd name="connsiteX37" fmla="*/ 0 w 10000"/>
                <a:gd name="connsiteY37" fmla="*/ 817 h 10000"/>
                <a:gd name="connsiteX38" fmla="*/ 248 w 10000"/>
                <a:gd name="connsiteY38" fmla="*/ 1503 h 10000"/>
                <a:gd name="connsiteX39" fmla="*/ 289 w 10000"/>
                <a:gd name="connsiteY39" fmla="*/ 1797 h 10000"/>
                <a:gd name="connsiteX40" fmla="*/ 537 w 10000"/>
                <a:gd name="connsiteY40" fmla="*/ 1961 h 10000"/>
                <a:gd name="connsiteX41" fmla="*/ 992 w 10000"/>
                <a:gd name="connsiteY41" fmla="*/ 2190 h 10000"/>
                <a:gd name="connsiteX42" fmla="*/ 1322 w 10000"/>
                <a:gd name="connsiteY42" fmla="*/ 2386 h 10000"/>
                <a:gd name="connsiteX43" fmla="*/ 868 w 10000"/>
                <a:gd name="connsiteY43" fmla="*/ 2614 h 10000"/>
                <a:gd name="connsiteX44" fmla="*/ 992 w 10000"/>
                <a:gd name="connsiteY44" fmla="*/ 2974 h 10000"/>
                <a:gd name="connsiteX45" fmla="*/ 1198 w 10000"/>
                <a:gd name="connsiteY45" fmla="*/ 3268 h 10000"/>
                <a:gd name="connsiteX46" fmla="*/ 1364 w 10000"/>
                <a:gd name="connsiteY46" fmla="*/ 4608 h 10000"/>
                <a:gd name="connsiteX47" fmla="*/ 2107 w 10000"/>
                <a:gd name="connsiteY47" fmla="*/ 4967 h 10000"/>
                <a:gd name="connsiteX48" fmla="*/ 1488 w 10000"/>
                <a:gd name="connsiteY48" fmla="*/ 5327 h 10000"/>
                <a:gd name="connsiteX49" fmla="*/ 2025 w 10000"/>
                <a:gd name="connsiteY49" fmla="*/ 5752 h 10000"/>
                <a:gd name="connsiteX50" fmla="*/ 1612 w 10000"/>
                <a:gd name="connsiteY50" fmla="*/ 6340 h 10000"/>
                <a:gd name="connsiteX51" fmla="*/ 2231 w 10000"/>
                <a:gd name="connsiteY51" fmla="*/ 6601 h 10000"/>
                <a:gd name="connsiteX52" fmla="*/ 2397 w 10000"/>
                <a:gd name="connsiteY52" fmla="*/ 6797 h 10000"/>
                <a:gd name="connsiteX53" fmla="*/ 3140 w 10000"/>
                <a:gd name="connsiteY53" fmla="*/ 7190 h 10000"/>
                <a:gd name="connsiteX54" fmla="*/ 3678 w 10000"/>
                <a:gd name="connsiteY54" fmla="*/ 7222 h 10000"/>
                <a:gd name="connsiteX55" fmla="*/ 4421 w 10000"/>
                <a:gd name="connsiteY55" fmla="*/ 7484 h 10000"/>
                <a:gd name="connsiteX56" fmla="*/ 4132 w 10000"/>
                <a:gd name="connsiteY56" fmla="*/ 7778 h 10000"/>
                <a:gd name="connsiteX0" fmla="*/ 4132 w 10000"/>
                <a:gd name="connsiteY0" fmla="*/ 7778 h 9216"/>
                <a:gd name="connsiteX1" fmla="*/ 3760 w 10000"/>
                <a:gd name="connsiteY1" fmla="*/ 7908 h 9216"/>
                <a:gd name="connsiteX2" fmla="*/ 3926 w 10000"/>
                <a:gd name="connsiteY2" fmla="*/ 8137 h 9216"/>
                <a:gd name="connsiteX3" fmla="*/ 3926 w 10000"/>
                <a:gd name="connsiteY3" fmla="*/ 8366 h 9216"/>
                <a:gd name="connsiteX4" fmla="*/ 4050 w 10000"/>
                <a:gd name="connsiteY4" fmla="*/ 8627 h 9216"/>
                <a:gd name="connsiteX5" fmla="*/ 4298 w 10000"/>
                <a:gd name="connsiteY5" fmla="*/ 8824 h 9216"/>
                <a:gd name="connsiteX6" fmla="*/ 5041 w 10000"/>
                <a:gd name="connsiteY6" fmla="*/ 9085 h 9216"/>
                <a:gd name="connsiteX7" fmla="*/ 5765 w 10000"/>
                <a:gd name="connsiteY7" fmla="*/ 7075 h 9216"/>
                <a:gd name="connsiteX8" fmla="*/ 6364 w 10000"/>
                <a:gd name="connsiteY8" fmla="*/ 7745 h 9216"/>
                <a:gd name="connsiteX9" fmla="*/ 7211 w 10000"/>
                <a:gd name="connsiteY9" fmla="*/ 8089 h 9216"/>
                <a:gd name="connsiteX10" fmla="*/ 7355 w 10000"/>
                <a:gd name="connsiteY10" fmla="*/ 8791 h 9216"/>
                <a:gd name="connsiteX11" fmla="*/ 9132 w 10000"/>
                <a:gd name="connsiteY11" fmla="*/ 8399 h 9216"/>
                <a:gd name="connsiteX12" fmla="*/ 9256 w 10000"/>
                <a:gd name="connsiteY12" fmla="*/ 7451 h 9216"/>
                <a:gd name="connsiteX13" fmla="*/ 9256 w 10000"/>
                <a:gd name="connsiteY13" fmla="*/ 7059 h 9216"/>
                <a:gd name="connsiteX14" fmla="*/ 9628 w 10000"/>
                <a:gd name="connsiteY14" fmla="*/ 6830 h 9216"/>
                <a:gd name="connsiteX15" fmla="*/ 9917 w 10000"/>
                <a:gd name="connsiteY15" fmla="*/ 6569 h 9216"/>
                <a:gd name="connsiteX16" fmla="*/ 10000 w 10000"/>
                <a:gd name="connsiteY16" fmla="*/ 6373 h 9216"/>
                <a:gd name="connsiteX17" fmla="*/ 9752 w 10000"/>
                <a:gd name="connsiteY17" fmla="*/ 6046 h 9216"/>
                <a:gd name="connsiteX18" fmla="*/ 8884 w 10000"/>
                <a:gd name="connsiteY18" fmla="*/ 5752 h 9216"/>
                <a:gd name="connsiteX19" fmla="*/ 8636 w 10000"/>
                <a:gd name="connsiteY19" fmla="*/ 5196 h 9216"/>
                <a:gd name="connsiteX20" fmla="*/ 8636 w 10000"/>
                <a:gd name="connsiteY20" fmla="*/ 4379 h 9216"/>
                <a:gd name="connsiteX21" fmla="*/ 8678 w 10000"/>
                <a:gd name="connsiteY21" fmla="*/ 3595 h 9216"/>
                <a:gd name="connsiteX22" fmla="*/ 8223 w 10000"/>
                <a:gd name="connsiteY22" fmla="*/ 2843 h 9216"/>
                <a:gd name="connsiteX23" fmla="*/ 7645 w 10000"/>
                <a:gd name="connsiteY23" fmla="*/ 3039 h 9216"/>
                <a:gd name="connsiteX24" fmla="*/ 6488 w 10000"/>
                <a:gd name="connsiteY24" fmla="*/ 3007 h 9216"/>
                <a:gd name="connsiteX25" fmla="*/ 5744 w 10000"/>
                <a:gd name="connsiteY25" fmla="*/ 2941 h 9216"/>
                <a:gd name="connsiteX26" fmla="*/ 5702 w 10000"/>
                <a:gd name="connsiteY26" fmla="*/ 2026 h 9216"/>
                <a:gd name="connsiteX27" fmla="*/ 4793 w 10000"/>
                <a:gd name="connsiteY27" fmla="*/ 1765 h 9216"/>
                <a:gd name="connsiteX28" fmla="*/ 4256 w 10000"/>
                <a:gd name="connsiteY28" fmla="*/ 1242 h 9216"/>
                <a:gd name="connsiteX29" fmla="*/ 3760 w 10000"/>
                <a:gd name="connsiteY29" fmla="*/ 784 h 9216"/>
                <a:gd name="connsiteX30" fmla="*/ 3430 w 10000"/>
                <a:gd name="connsiteY30" fmla="*/ 490 h 9216"/>
                <a:gd name="connsiteX31" fmla="*/ 3017 w 10000"/>
                <a:gd name="connsiteY31" fmla="*/ 392 h 9216"/>
                <a:gd name="connsiteX32" fmla="*/ 2603 w 10000"/>
                <a:gd name="connsiteY32" fmla="*/ 33 h 9216"/>
                <a:gd name="connsiteX33" fmla="*/ 1322 w 10000"/>
                <a:gd name="connsiteY33" fmla="*/ 0 h 9216"/>
                <a:gd name="connsiteX34" fmla="*/ 744 w 10000"/>
                <a:gd name="connsiteY34" fmla="*/ 458 h 9216"/>
                <a:gd name="connsiteX35" fmla="*/ 496 w 10000"/>
                <a:gd name="connsiteY35" fmla="*/ 425 h 9216"/>
                <a:gd name="connsiteX36" fmla="*/ 331 w 10000"/>
                <a:gd name="connsiteY36" fmla="*/ 523 h 9216"/>
                <a:gd name="connsiteX37" fmla="*/ 0 w 10000"/>
                <a:gd name="connsiteY37" fmla="*/ 817 h 9216"/>
                <a:gd name="connsiteX38" fmla="*/ 248 w 10000"/>
                <a:gd name="connsiteY38" fmla="*/ 1503 h 9216"/>
                <a:gd name="connsiteX39" fmla="*/ 289 w 10000"/>
                <a:gd name="connsiteY39" fmla="*/ 1797 h 9216"/>
                <a:gd name="connsiteX40" fmla="*/ 537 w 10000"/>
                <a:gd name="connsiteY40" fmla="*/ 1961 h 9216"/>
                <a:gd name="connsiteX41" fmla="*/ 992 w 10000"/>
                <a:gd name="connsiteY41" fmla="*/ 2190 h 9216"/>
                <a:gd name="connsiteX42" fmla="*/ 1322 w 10000"/>
                <a:gd name="connsiteY42" fmla="*/ 2386 h 9216"/>
                <a:gd name="connsiteX43" fmla="*/ 868 w 10000"/>
                <a:gd name="connsiteY43" fmla="*/ 2614 h 9216"/>
                <a:gd name="connsiteX44" fmla="*/ 992 w 10000"/>
                <a:gd name="connsiteY44" fmla="*/ 2974 h 9216"/>
                <a:gd name="connsiteX45" fmla="*/ 1198 w 10000"/>
                <a:gd name="connsiteY45" fmla="*/ 3268 h 9216"/>
                <a:gd name="connsiteX46" fmla="*/ 1364 w 10000"/>
                <a:gd name="connsiteY46" fmla="*/ 4608 h 9216"/>
                <a:gd name="connsiteX47" fmla="*/ 2107 w 10000"/>
                <a:gd name="connsiteY47" fmla="*/ 4967 h 9216"/>
                <a:gd name="connsiteX48" fmla="*/ 1488 w 10000"/>
                <a:gd name="connsiteY48" fmla="*/ 5327 h 9216"/>
                <a:gd name="connsiteX49" fmla="*/ 2025 w 10000"/>
                <a:gd name="connsiteY49" fmla="*/ 5752 h 9216"/>
                <a:gd name="connsiteX50" fmla="*/ 1612 w 10000"/>
                <a:gd name="connsiteY50" fmla="*/ 6340 h 9216"/>
                <a:gd name="connsiteX51" fmla="*/ 2231 w 10000"/>
                <a:gd name="connsiteY51" fmla="*/ 6601 h 9216"/>
                <a:gd name="connsiteX52" fmla="*/ 2397 w 10000"/>
                <a:gd name="connsiteY52" fmla="*/ 6797 h 9216"/>
                <a:gd name="connsiteX53" fmla="*/ 3140 w 10000"/>
                <a:gd name="connsiteY53" fmla="*/ 7190 h 9216"/>
                <a:gd name="connsiteX54" fmla="*/ 3678 w 10000"/>
                <a:gd name="connsiteY54" fmla="*/ 7222 h 9216"/>
                <a:gd name="connsiteX55" fmla="*/ 4421 w 10000"/>
                <a:gd name="connsiteY55" fmla="*/ 7484 h 9216"/>
                <a:gd name="connsiteX56" fmla="*/ 4132 w 10000"/>
                <a:gd name="connsiteY56" fmla="*/ 7778 h 9216"/>
                <a:gd name="connsiteX0" fmla="*/ 4132 w 10000"/>
                <a:gd name="connsiteY0" fmla="*/ 8440 h 9752"/>
                <a:gd name="connsiteX1" fmla="*/ 3760 w 10000"/>
                <a:gd name="connsiteY1" fmla="*/ 8581 h 9752"/>
                <a:gd name="connsiteX2" fmla="*/ 3926 w 10000"/>
                <a:gd name="connsiteY2" fmla="*/ 8829 h 9752"/>
                <a:gd name="connsiteX3" fmla="*/ 3926 w 10000"/>
                <a:gd name="connsiteY3" fmla="*/ 9078 h 9752"/>
                <a:gd name="connsiteX4" fmla="*/ 4050 w 10000"/>
                <a:gd name="connsiteY4" fmla="*/ 9361 h 9752"/>
                <a:gd name="connsiteX5" fmla="*/ 4298 w 10000"/>
                <a:gd name="connsiteY5" fmla="*/ 9575 h 9752"/>
                <a:gd name="connsiteX6" fmla="*/ 5413 w 10000"/>
                <a:gd name="connsiteY6" fmla="*/ 7784 h 9752"/>
                <a:gd name="connsiteX7" fmla="*/ 5765 w 10000"/>
                <a:gd name="connsiteY7" fmla="*/ 7677 h 9752"/>
                <a:gd name="connsiteX8" fmla="*/ 6364 w 10000"/>
                <a:gd name="connsiteY8" fmla="*/ 8404 h 9752"/>
                <a:gd name="connsiteX9" fmla="*/ 7211 w 10000"/>
                <a:gd name="connsiteY9" fmla="*/ 8777 h 9752"/>
                <a:gd name="connsiteX10" fmla="*/ 7355 w 10000"/>
                <a:gd name="connsiteY10" fmla="*/ 9539 h 9752"/>
                <a:gd name="connsiteX11" fmla="*/ 9132 w 10000"/>
                <a:gd name="connsiteY11" fmla="*/ 9113 h 9752"/>
                <a:gd name="connsiteX12" fmla="*/ 9256 w 10000"/>
                <a:gd name="connsiteY12" fmla="*/ 8085 h 9752"/>
                <a:gd name="connsiteX13" fmla="*/ 9256 w 10000"/>
                <a:gd name="connsiteY13" fmla="*/ 7660 h 9752"/>
                <a:gd name="connsiteX14" fmla="*/ 9628 w 10000"/>
                <a:gd name="connsiteY14" fmla="*/ 7411 h 9752"/>
                <a:gd name="connsiteX15" fmla="*/ 9917 w 10000"/>
                <a:gd name="connsiteY15" fmla="*/ 7128 h 9752"/>
                <a:gd name="connsiteX16" fmla="*/ 10000 w 10000"/>
                <a:gd name="connsiteY16" fmla="*/ 6915 h 9752"/>
                <a:gd name="connsiteX17" fmla="*/ 9752 w 10000"/>
                <a:gd name="connsiteY17" fmla="*/ 6560 h 9752"/>
                <a:gd name="connsiteX18" fmla="*/ 8884 w 10000"/>
                <a:gd name="connsiteY18" fmla="*/ 6241 h 9752"/>
                <a:gd name="connsiteX19" fmla="*/ 8636 w 10000"/>
                <a:gd name="connsiteY19" fmla="*/ 5638 h 9752"/>
                <a:gd name="connsiteX20" fmla="*/ 8636 w 10000"/>
                <a:gd name="connsiteY20" fmla="*/ 4752 h 9752"/>
                <a:gd name="connsiteX21" fmla="*/ 8678 w 10000"/>
                <a:gd name="connsiteY21" fmla="*/ 3901 h 9752"/>
                <a:gd name="connsiteX22" fmla="*/ 8223 w 10000"/>
                <a:gd name="connsiteY22" fmla="*/ 3085 h 9752"/>
                <a:gd name="connsiteX23" fmla="*/ 7645 w 10000"/>
                <a:gd name="connsiteY23" fmla="*/ 3298 h 9752"/>
                <a:gd name="connsiteX24" fmla="*/ 6488 w 10000"/>
                <a:gd name="connsiteY24" fmla="*/ 3263 h 9752"/>
                <a:gd name="connsiteX25" fmla="*/ 5744 w 10000"/>
                <a:gd name="connsiteY25" fmla="*/ 3191 h 9752"/>
                <a:gd name="connsiteX26" fmla="*/ 5702 w 10000"/>
                <a:gd name="connsiteY26" fmla="*/ 2198 h 9752"/>
                <a:gd name="connsiteX27" fmla="*/ 4793 w 10000"/>
                <a:gd name="connsiteY27" fmla="*/ 1915 h 9752"/>
                <a:gd name="connsiteX28" fmla="*/ 4256 w 10000"/>
                <a:gd name="connsiteY28" fmla="*/ 1348 h 9752"/>
                <a:gd name="connsiteX29" fmla="*/ 3760 w 10000"/>
                <a:gd name="connsiteY29" fmla="*/ 851 h 9752"/>
                <a:gd name="connsiteX30" fmla="*/ 3430 w 10000"/>
                <a:gd name="connsiteY30" fmla="*/ 532 h 9752"/>
                <a:gd name="connsiteX31" fmla="*/ 3017 w 10000"/>
                <a:gd name="connsiteY31" fmla="*/ 425 h 9752"/>
                <a:gd name="connsiteX32" fmla="*/ 2603 w 10000"/>
                <a:gd name="connsiteY32" fmla="*/ 36 h 9752"/>
                <a:gd name="connsiteX33" fmla="*/ 1322 w 10000"/>
                <a:gd name="connsiteY33" fmla="*/ 0 h 9752"/>
                <a:gd name="connsiteX34" fmla="*/ 744 w 10000"/>
                <a:gd name="connsiteY34" fmla="*/ 497 h 9752"/>
                <a:gd name="connsiteX35" fmla="*/ 496 w 10000"/>
                <a:gd name="connsiteY35" fmla="*/ 461 h 9752"/>
                <a:gd name="connsiteX36" fmla="*/ 331 w 10000"/>
                <a:gd name="connsiteY36" fmla="*/ 567 h 9752"/>
                <a:gd name="connsiteX37" fmla="*/ 0 w 10000"/>
                <a:gd name="connsiteY37" fmla="*/ 887 h 9752"/>
                <a:gd name="connsiteX38" fmla="*/ 248 w 10000"/>
                <a:gd name="connsiteY38" fmla="*/ 1631 h 9752"/>
                <a:gd name="connsiteX39" fmla="*/ 289 w 10000"/>
                <a:gd name="connsiteY39" fmla="*/ 1950 h 9752"/>
                <a:gd name="connsiteX40" fmla="*/ 537 w 10000"/>
                <a:gd name="connsiteY40" fmla="*/ 2128 h 9752"/>
                <a:gd name="connsiteX41" fmla="*/ 992 w 10000"/>
                <a:gd name="connsiteY41" fmla="*/ 2376 h 9752"/>
                <a:gd name="connsiteX42" fmla="*/ 1322 w 10000"/>
                <a:gd name="connsiteY42" fmla="*/ 2589 h 9752"/>
                <a:gd name="connsiteX43" fmla="*/ 868 w 10000"/>
                <a:gd name="connsiteY43" fmla="*/ 2836 h 9752"/>
                <a:gd name="connsiteX44" fmla="*/ 992 w 10000"/>
                <a:gd name="connsiteY44" fmla="*/ 3227 h 9752"/>
                <a:gd name="connsiteX45" fmla="*/ 1198 w 10000"/>
                <a:gd name="connsiteY45" fmla="*/ 3546 h 9752"/>
                <a:gd name="connsiteX46" fmla="*/ 1364 w 10000"/>
                <a:gd name="connsiteY46" fmla="*/ 5000 h 9752"/>
                <a:gd name="connsiteX47" fmla="*/ 2107 w 10000"/>
                <a:gd name="connsiteY47" fmla="*/ 5390 h 9752"/>
                <a:gd name="connsiteX48" fmla="*/ 1488 w 10000"/>
                <a:gd name="connsiteY48" fmla="*/ 5780 h 9752"/>
                <a:gd name="connsiteX49" fmla="*/ 2025 w 10000"/>
                <a:gd name="connsiteY49" fmla="*/ 6241 h 9752"/>
                <a:gd name="connsiteX50" fmla="*/ 1612 w 10000"/>
                <a:gd name="connsiteY50" fmla="*/ 6879 h 9752"/>
                <a:gd name="connsiteX51" fmla="*/ 2231 w 10000"/>
                <a:gd name="connsiteY51" fmla="*/ 7163 h 9752"/>
                <a:gd name="connsiteX52" fmla="*/ 2397 w 10000"/>
                <a:gd name="connsiteY52" fmla="*/ 7375 h 9752"/>
                <a:gd name="connsiteX53" fmla="*/ 3140 w 10000"/>
                <a:gd name="connsiteY53" fmla="*/ 7802 h 9752"/>
                <a:gd name="connsiteX54" fmla="*/ 3678 w 10000"/>
                <a:gd name="connsiteY54" fmla="*/ 7836 h 9752"/>
                <a:gd name="connsiteX55" fmla="*/ 4421 w 10000"/>
                <a:gd name="connsiteY55" fmla="*/ 8121 h 9752"/>
                <a:gd name="connsiteX56" fmla="*/ 4132 w 10000"/>
                <a:gd name="connsiteY56" fmla="*/ 8440 h 9752"/>
                <a:gd name="connsiteX0" fmla="*/ 4132 w 10000"/>
                <a:gd name="connsiteY0" fmla="*/ 8655 h 9890"/>
                <a:gd name="connsiteX1" fmla="*/ 3760 w 10000"/>
                <a:gd name="connsiteY1" fmla="*/ 8799 h 9890"/>
                <a:gd name="connsiteX2" fmla="*/ 3926 w 10000"/>
                <a:gd name="connsiteY2" fmla="*/ 9054 h 9890"/>
                <a:gd name="connsiteX3" fmla="*/ 3926 w 10000"/>
                <a:gd name="connsiteY3" fmla="*/ 9309 h 9890"/>
                <a:gd name="connsiteX4" fmla="*/ 4050 w 10000"/>
                <a:gd name="connsiteY4" fmla="*/ 9599 h 9890"/>
                <a:gd name="connsiteX5" fmla="*/ 5042 w 10000"/>
                <a:gd name="connsiteY5" fmla="*/ 7636 h 9890"/>
                <a:gd name="connsiteX6" fmla="*/ 5413 w 10000"/>
                <a:gd name="connsiteY6" fmla="*/ 7982 h 9890"/>
                <a:gd name="connsiteX7" fmla="*/ 5765 w 10000"/>
                <a:gd name="connsiteY7" fmla="*/ 7872 h 9890"/>
                <a:gd name="connsiteX8" fmla="*/ 6364 w 10000"/>
                <a:gd name="connsiteY8" fmla="*/ 8618 h 9890"/>
                <a:gd name="connsiteX9" fmla="*/ 7211 w 10000"/>
                <a:gd name="connsiteY9" fmla="*/ 9000 h 9890"/>
                <a:gd name="connsiteX10" fmla="*/ 7355 w 10000"/>
                <a:gd name="connsiteY10" fmla="*/ 9782 h 9890"/>
                <a:gd name="connsiteX11" fmla="*/ 9132 w 10000"/>
                <a:gd name="connsiteY11" fmla="*/ 9345 h 9890"/>
                <a:gd name="connsiteX12" fmla="*/ 9256 w 10000"/>
                <a:gd name="connsiteY12" fmla="*/ 8291 h 9890"/>
                <a:gd name="connsiteX13" fmla="*/ 9256 w 10000"/>
                <a:gd name="connsiteY13" fmla="*/ 7855 h 9890"/>
                <a:gd name="connsiteX14" fmla="*/ 9628 w 10000"/>
                <a:gd name="connsiteY14" fmla="*/ 7599 h 9890"/>
                <a:gd name="connsiteX15" fmla="*/ 9917 w 10000"/>
                <a:gd name="connsiteY15" fmla="*/ 7309 h 9890"/>
                <a:gd name="connsiteX16" fmla="*/ 10000 w 10000"/>
                <a:gd name="connsiteY16" fmla="*/ 7091 h 9890"/>
                <a:gd name="connsiteX17" fmla="*/ 9752 w 10000"/>
                <a:gd name="connsiteY17" fmla="*/ 6727 h 9890"/>
                <a:gd name="connsiteX18" fmla="*/ 8884 w 10000"/>
                <a:gd name="connsiteY18" fmla="*/ 6400 h 9890"/>
                <a:gd name="connsiteX19" fmla="*/ 8636 w 10000"/>
                <a:gd name="connsiteY19" fmla="*/ 5781 h 9890"/>
                <a:gd name="connsiteX20" fmla="*/ 8636 w 10000"/>
                <a:gd name="connsiteY20" fmla="*/ 4873 h 9890"/>
                <a:gd name="connsiteX21" fmla="*/ 8678 w 10000"/>
                <a:gd name="connsiteY21" fmla="*/ 4000 h 9890"/>
                <a:gd name="connsiteX22" fmla="*/ 8223 w 10000"/>
                <a:gd name="connsiteY22" fmla="*/ 3163 h 9890"/>
                <a:gd name="connsiteX23" fmla="*/ 7645 w 10000"/>
                <a:gd name="connsiteY23" fmla="*/ 3382 h 9890"/>
                <a:gd name="connsiteX24" fmla="*/ 6488 w 10000"/>
                <a:gd name="connsiteY24" fmla="*/ 3346 h 9890"/>
                <a:gd name="connsiteX25" fmla="*/ 5744 w 10000"/>
                <a:gd name="connsiteY25" fmla="*/ 3272 h 9890"/>
                <a:gd name="connsiteX26" fmla="*/ 5702 w 10000"/>
                <a:gd name="connsiteY26" fmla="*/ 2254 h 9890"/>
                <a:gd name="connsiteX27" fmla="*/ 4793 w 10000"/>
                <a:gd name="connsiteY27" fmla="*/ 1964 h 9890"/>
                <a:gd name="connsiteX28" fmla="*/ 4256 w 10000"/>
                <a:gd name="connsiteY28" fmla="*/ 1382 h 9890"/>
                <a:gd name="connsiteX29" fmla="*/ 3760 w 10000"/>
                <a:gd name="connsiteY29" fmla="*/ 873 h 9890"/>
                <a:gd name="connsiteX30" fmla="*/ 3430 w 10000"/>
                <a:gd name="connsiteY30" fmla="*/ 546 h 9890"/>
                <a:gd name="connsiteX31" fmla="*/ 3017 w 10000"/>
                <a:gd name="connsiteY31" fmla="*/ 436 h 9890"/>
                <a:gd name="connsiteX32" fmla="*/ 2603 w 10000"/>
                <a:gd name="connsiteY32" fmla="*/ 37 h 9890"/>
                <a:gd name="connsiteX33" fmla="*/ 1322 w 10000"/>
                <a:gd name="connsiteY33" fmla="*/ 0 h 9890"/>
                <a:gd name="connsiteX34" fmla="*/ 744 w 10000"/>
                <a:gd name="connsiteY34" fmla="*/ 510 h 9890"/>
                <a:gd name="connsiteX35" fmla="*/ 496 w 10000"/>
                <a:gd name="connsiteY35" fmla="*/ 473 h 9890"/>
                <a:gd name="connsiteX36" fmla="*/ 331 w 10000"/>
                <a:gd name="connsiteY36" fmla="*/ 581 h 9890"/>
                <a:gd name="connsiteX37" fmla="*/ 0 w 10000"/>
                <a:gd name="connsiteY37" fmla="*/ 910 h 9890"/>
                <a:gd name="connsiteX38" fmla="*/ 248 w 10000"/>
                <a:gd name="connsiteY38" fmla="*/ 1672 h 9890"/>
                <a:gd name="connsiteX39" fmla="*/ 289 w 10000"/>
                <a:gd name="connsiteY39" fmla="*/ 2000 h 9890"/>
                <a:gd name="connsiteX40" fmla="*/ 537 w 10000"/>
                <a:gd name="connsiteY40" fmla="*/ 2182 h 9890"/>
                <a:gd name="connsiteX41" fmla="*/ 992 w 10000"/>
                <a:gd name="connsiteY41" fmla="*/ 2436 h 9890"/>
                <a:gd name="connsiteX42" fmla="*/ 1322 w 10000"/>
                <a:gd name="connsiteY42" fmla="*/ 2655 h 9890"/>
                <a:gd name="connsiteX43" fmla="*/ 868 w 10000"/>
                <a:gd name="connsiteY43" fmla="*/ 2908 h 9890"/>
                <a:gd name="connsiteX44" fmla="*/ 992 w 10000"/>
                <a:gd name="connsiteY44" fmla="*/ 3309 h 9890"/>
                <a:gd name="connsiteX45" fmla="*/ 1198 w 10000"/>
                <a:gd name="connsiteY45" fmla="*/ 3636 h 9890"/>
                <a:gd name="connsiteX46" fmla="*/ 1364 w 10000"/>
                <a:gd name="connsiteY46" fmla="*/ 5127 h 9890"/>
                <a:gd name="connsiteX47" fmla="*/ 2107 w 10000"/>
                <a:gd name="connsiteY47" fmla="*/ 5527 h 9890"/>
                <a:gd name="connsiteX48" fmla="*/ 1488 w 10000"/>
                <a:gd name="connsiteY48" fmla="*/ 5927 h 9890"/>
                <a:gd name="connsiteX49" fmla="*/ 2025 w 10000"/>
                <a:gd name="connsiteY49" fmla="*/ 6400 h 9890"/>
                <a:gd name="connsiteX50" fmla="*/ 1612 w 10000"/>
                <a:gd name="connsiteY50" fmla="*/ 7054 h 9890"/>
                <a:gd name="connsiteX51" fmla="*/ 2231 w 10000"/>
                <a:gd name="connsiteY51" fmla="*/ 7345 h 9890"/>
                <a:gd name="connsiteX52" fmla="*/ 2397 w 10000"/>
                <a:gd name="connsiteY52" fmla="*/ 7563 h 9890"/>
                <a:gd name="connsiteX53" fmla="*/ 3140 w 10000"/>
                <a:gd name="connsiteY53" fmla="*/ 8000 h 9890"/>
                <a:gd name="connsiteX54" fmla="*/ 3678 w 10000"/>
                <a:gd name="connsiteY54" fmla="*/ 8035 h 9890"/>
                <a:gd name="connsiteX55" fmla="*/ 4421 w 10000"/>
                <a:gd name="connsiteY55" fmla="*/ 8328 h 9890"/>
                <a:gd name="connsiteX56" fmla="*/ 4132 w 10000"/>
                <a:gd name="connsiteY56" fmla="*/ 8655 h 9890"/>
                <a:gd name="connsiteX0" fmla="*/ 4132 w 10000"/>
                <a:gd name="connsiteY0" fmla="*/ 8751 h 10000"/>
                <a:gd name="connsiteX1" fmla="*/ 3760 w 10000"/>
                <a:gd name="connsiteY1" fmla="*/ 8897 h 10000"/>
                <a:gd name="connsiteX2" fmla="*/ 3926 w 10000"/>
                <a:gd name="connsiteY2" fmla="*/ 9155 h 10000"/>
                <a:gd name="connsiteX3" fmla="*/ 3926 w 10000"/>
                <a:gd name="connsiteY3" fmla="*/ 9413 h 10000"/>
                <a:gd name="connsiteX4" fmla="*/ 4608 w 10000"/>
                <a:gd name="connsiteY4" fmla="*/ 7886 h 10000"/>
                <a:gd name="connsiteX5" fmla="*/ 5042 w 10000"/>
                <a:gd name="connsiteY5" fmla="*/ 7721 h 10000"/>
                <a:gd name="connsiteX6" fmla="*/ 5413 w 10000"/>
                <a:gd name="connsiteY6" fmla="*/ 8071 h 10000"/>
                <a:gd name="connsiteX7" fmla="*/ 5765 w 10000"/>
                <a:gd name="connsiteY7" fmla="*/ 7960 h 10000"/>
                <a:gd name="connsiteX8" fmla="*/ 6364 w 10000"/>
                <a:gd name="connsiteY8" fmla="*/ 8714 h 10000"/>
                <a:gd name="connsiteX9" fmla="*/ 7211 w 10000"/>
                <a:gd name="connsiteY9" fmla="*/ 9100 h 10000"/>
                <a:gd name="connsiteX10" fmla="*/ 7355 w 10000"/>
                <a:gd name="connsiteY10" fmla="*/ 9891 h 10000"/>
                <a:gd name="connsiteX11" fmla="*/ 9132 w 10000"/>
                <a:gd name="connsiteY11" fmla="*/ 9449 h 10000"/>
                <a:gd name="connsiteX12" fmla="*/ 9256 w 10000"/>
                <a:gd name="connsiteY12" fmla="*/ 8383 h 10000"/>
                <a:gd name="connsiteX13" fmla="*/ 9256 w 10000"/>
                <a:gd name="connsiteY13" fmla="*/ 7942 h 10000"/>
                <a:gd name="connsiteX14" fmla="*/ 9628 w 10000"/>
                <a:gd name="connsiteY14" fmla="*/ 7684 h 10000"/>
                <a:gd name="connsiteX15" fmla="*/ 9917 w 10000"/>
                <a:gd name="connsiteY15" fmla="*/ 7390 h 10000"/>
                <a:gd name="connsiteX16" fmla="*/ 10000 w 10000"/>
                <a:gd name="connsiteY16" fmla="*/ 7170 h 10000"/>
                <a:gd name="connsiteX17" fmla="*/ 9752 w 10000"/>
                <a:gd name="connsiteY17" fmla="*/ 6802 h 10000"/>
                <a:gd name="connsiteX18" fmla="*/ 8884 w 10000"/>
                <a:gd name="connsiteY18" fmla="*/ 6471 h 10000"/>
                <a:gd name="connsiteX19" fmla="*/ 8636 w 10000"/>
                <a:gd name="connsiteY19" fmla="*/ 5845 h 10000"/>
                <a:gd name="connsiteX20" fmla="*/ 8636 w 10000"/>
                <a:gd name="connsiteY20" fmla="*/ 4927 h 10000"/>
                <a:gd name="connsiteX21" fmla="*/ 8678 w 10000"/>
                <a:gd name="connsiteY21" fmla="*/ 4044 h 10000"/>
                <a:gd name="connsiteX22" fmla="*/ 8223 w 10000"/>
                <a:gd name="connsiteY22" fmla="*/ 3198 h 10000"/>
                <a:gd name="connsiteX23" fmla="*/ 7645 w 10000"/>
                <a:gd name="connsiteY23" fmla="*/ 3420 h 10000"/>
                <a:gd name="connsiteX24" fmla="*/ 6488 w 10000"/>
                <a:gd name="connsiteY24" fmla="*/ 3383 h 10000"/>
                <a:gd name="connsiteX25" fmla="*/ 5744 w 10000"/>
                <a:gd name="connsiteY25" fmla="*/ 3308 h 10000"/>
                <a:gd name="connsiteX26" fmla="*/ 5702 w 10000"/>
                <a:gd name="connsiteY26" fmla="*/ 2279 h 10000"/>
                <a:gd name="connsiteX27" fmla="*/ 4793 w 10000"/>
                <a:gd name="connsiteY27" fmla="*/ 1986 h 10000"/>
                <a:gd name="connsiteX28" fmla="*/ 4256 w 10000"/>
                <a:gd name="connsiteY28" fmla="*/ 1397 h 10000"/>
                <a:gd name="connsiteX29" fmla="*/ 3760 w 10000"/>
                <a:gd name="connsiteY29" fmla="*/ 883 h 10000"/>
                <a:gd name="connsiteX30" fmla="*/ 3430 w 10000"/>
                <a:gd name="connsiteY30" fmla="*/ 552 h 10000"/>
                <a:gd name="connsiteX31" fmla="*/ 3017 w 10000"/>
                <a:gd name="connsiteY31" fmla="*/ 441 h 10000"/>
                <a:gd name="connsiteX32" fmla="*/ 2603 w 10000"/>
                <a:gd name="connsiteY32" fmla="*/ 37 h 10000"/>
                <a:gd name="connsiteX33" fmla="*/ 1322 w 10000"/>
                <a:gd name="connsiteY33" fmla="*/ 0 h 10000"/>
                <a:gd name="connsiteX34" fmla="*/ 744 w 10000"/>
                <a:gd name="connsiteY34" fmla="*/ 516 h 10000"/>
                <a:gd name="connsiteX35" fmla="*/ 496 w 10000"/>
                <a:gd name="connsiteY35" fmla="*/ 478 h 10000"/>
                <a:gd name="connsiteX36" fmla="*/ 331 w 10000"/>
                <a:gd name="connsiteY36" fmla="*/ 587 h 10000"/>
                <a:gd name="connsiteX37" fmla="*/ 0 w 10000"/>
                <a:gd name="connsiteY37" fmla="*/ 920 h 10000"/>
                <a:gd name="connsiteX38" fmla="*/ 248 w 10000"/>
                <a:gd name="connsiteY38" fmla="*/ 1691 h 10000"/>
                <a:gd name="connsiteX39" fmla="*/ 289 w 10000"/>
                <a:gd name="connsiteY39" fmla="*/ 2022 h 10000"/>
                <a:gd name="connsiteX40" fmla="*/ 537 w 10000"/>
                <a:gd name="connsiteY40" fmla="*/ 2206 h 10000"/>
                <a:gd name="connsiteX41" fmla="*/ 992 w 10000"/>
                <a:gd name="connsiteY41" fmla="*/ 2463 h 10000"/>
                <a:gd name="connsiteX42" fmla="*/ 1322 w 10000"/>
                <a:gd name="connsiteY42" fmla="*/ 2685 h 10000"/>
                <a:gd name="connsiteX43" fmla="*/ 868 w 10000"/>
                <a:gd name="connsiteY43" fmla="*/ 2940 h 10000"/>
                <a:gd name="connsiteX44" fmla="*/ 992 w 10000"/>
                <a:gd name="connsiteY44" fmla="*/ 3346 h 10000"/>
                <a:gd name="connsiteX45" fmla="*/ 1198 w 10000"/>
                <a:gd name="connsiteY45" fmla="*/ 3676 h 10000"/>
                <a:gd name="connsiteX46" fmla="*/ 1364 w 10000"/>
                <a:gd name="connsiteY46" fmla="*/ 5184 h 10000"/>
                <a:gd name="connsiteX47" fmla="*/ 2107 w 10000"/>
                <a:gd name="connsiteY47" fmla="*/ 5588 h 10000"/>
                <a:gd name="connsiteX48" fmla="*/ 1488 w 10000"/>
                <a:gd name="connsiteY48" fmla="*/ 5993 h 10000"/>
                <a:gd name="connsiteX49" fmla="*/ 2025 w 10000"/>
                <a:gd name="connsiteY49" fmla="*/ 6471 h 10000"/>
                <a:gd name="connsiteX50" fmla="*/ 1612 w 10000"/>
                <a:gd name="connsiteY50" fmla="*/ 7132 h 10000"/>
                <a:gd name="connsiteX51" fmla="*/ 2231 w 10000"/>
                <a:gd name="connsiteY51" fmla="*/ 7427 h 10000"/>
                <a:gd name="connsiteX52" fmla="*/ 2397 w 10000"/>
                <a:gd name="connsiteY52" fmla="*/ 7647 h 10000"/>
                <a:gd name="connsiteX53" fmla="*/ 3140 w 10000"/>
                <a:gd name="connsiteY53" fmla="*/ 8089 h 10000"/>
                <a:gd name="connsiteX54" fmla="*/ 3678 w 10000"/>
                <a:gd name="connsiteY54" fmla="*/ 8124 h 10000"/>
                <a:gd name="connsiteX55" fmla="*/ 4421 w 10000"/>
                <a:gd name="connsiteY55" fmla="*/ 8421 h 10000"/>
                <a:gd name="connsiteX56" fmla="*/ 4132 w 10000"/>
                <a:gd name="connsiteY56" fmla="*/ 8751 h 10000"/>
                <a:gd name="connsiteX0" fmla="*/ 4132 w 10000"/>
                <a:gd name="connsiteY0" fmla="*/ 8751 h 10000"/>
                <a:gd name="connsiteX1" fmla="*/ 3760 w 10000"/>
                <a:gd name="connsiteY1" fmla="*/ 8897 h 10000"/>
                <a:gd name="connsiteX2" fmla="*/ 3926 w 10000"/>
                <a:gd name="connsiteY2" fmla="*/ 9155 h 10000"/>
                <a:gd name="connsiteX3" fmla="*/ 4732 w 10000"/>
                <a:gd name="connsiteY3" fmla="*/ 8255 h 10000"/>
                <a:gd name="connsiteX4" fmla="*/ 4608 w 10000"/>
                <a:gd name="connsiteY4" fmla="*/ 7886 h 10000"/>
                <a:gd name="connsiteX5" fmla="*/ 5042 w 10000"/>
                <a:gd name="connsiteY5" fmla="*/ 7721 h 10000"/>
                <a:gd name="connsiteX6" fmla="*/ 5413 w 10000"/>
                <a:gd name="connsiteY6" fmla="*/ 8071 h 10000"/>
                <a:gd name="connsiteX7" fmla="*/ 5765 w 10000"/>
                <a:gd name="connsiteY7" fmla="*/ 7960 h 10000"/>
                <a:gd name="connsiteX8" fmla="*/ 6364 w 10000"/>
                <a:gd name="connsiteY8" fmla="*/ 8714 h 10000"/>
                <a:gd name="connsiteX9" fmla="*/ 7211 w 10000"/>
                <a:gd name="connsiteY9" fmla="*/ 9100 h 10000"/>
                <a:gd name="connsiteX10" fmla="*/ 7355 w 10000"/>
                <a:gd name="connsiteY10" fmla="*/ 9891 h 10000"/>
                <a:gd name="connsiteX11" fmla="*/ 9132 w 10000"/>
                <a:gd name="connsiteY11" fmla="*/ 9449 h 10000"/>
                <a:gd name="connsiteX12" fmla="*/ 9256 w 10000"/>
                <a:gd name="connsiteY12" fmla="*/ 8383 h 10000"/>
                <a:gd name="connsiteX13" fmla="*/ 9256 w 10000"/>
                <a:gd name="connsiteY13" fmla="*/ 7942 h 10000"/>
                <a:gd name="connsiteX14" fmla="*/ 9628 w 10000"/>
                <a:gd name="connsiteY14" fmla="*/ 7684 h 10000"/>
                <a:gd name="connsiteX15" fmla="*/ 9917 w 10000"/>
                <a:gd name="connsiteY15" fmla="*/ 7390 h 10000"/>
                <a:gd name="connsiteX16" fmla="*/ 10000 w 10000"/>
                <a:gd name="connsiteY16" fmla="*/ 7170 h 10000"/>
                <a:gd name="connsiteX17" fmla="*/ 9752 w 10000"/>
                <a:gd name="connsiteY17" fmla="*/ 6802 h 10000"/>
                <a:gd name="connsiteX18" fmla="*/ 8884 w 10000"/>
                <a:gd name="connsiteY18" fmla="*/ 6471 h 10000"/>
                <a:gd name="connsiteX19" fmla="*/ 8636 w 10000"/>
                <a:gd name="connsiteY19" fmla="*/ 5845 h 10000"/>
                <a:gd name="connsiteX20" fmla="*/ 8636 w 10000"/>
                <a:gd name="connsiteY20" fmla="*/ 4927 h 10000"/>
                <a:gd name="connsiteX21" fmla="*/ 8678 w 10000"/>
                <a:gd name="connsiteY21" fmla="*/ 4044 h 10000"/>
                <a:gd name="connsiteX22" fmla="*/ 8223 w 10000"/>
                <a:gd name="connsiteY22" fmla="*/ 3198 h 10000"/>
                <a:gd name="connsiteX23" fmla="*/ 7645 w 10000"/>
                <a:gd name="connsiteY23" fmla="*/ 3420 h 10000"/>
                <a:gd name="connsiteX24" fmla="*/ 6488 w 10000"/>
                <a:gd name="connsiteY24" fmla="*/ 3383 h 10000"/>
                <a:gd name="connsiteX25" fmla="*/ 5744 w 10000"/>
                <a:gd name="connsiteY25" fmla="*/ 3308 h 10000"/>
                <a:gd name="connsiteX26" fmla="*/ 5702 w 10000"/>
                <a:gd name="connsiteY26" fmla="*/ 2279 h 10000"/>
                <a:gd name="connsiteX27" fmla="*/ 4793 w 10000"/>
                <a:gd name="connsiteY27" fmla="*/ 1986 h 10000"/>
                <a:gd name="connsiteX28" fmla="*/ 4256 w 10000"/>
                <a:gd name="connsiteY28" fmla="*/ 1397 h 10000"/>
                <a:gd name="connsiteX29" fmla="*/ 3760 w 10000"/>
                <a:gd name="connsiteY29" fmla="*/ 883 h 10000"/>
                <a:gd name="connsiteX30" fmla="*/ 3430 w 10000"/>
                <a:gd name="connsiteY30" fmla="*/ 552 h 10000"/>
                <a:gd name="connsiteX31" fmla="*/ 3017 w 10000"/>
                <a:gd name="connsiteY31" fmla="*/ 441 h 10000"/>
                <a:gd name="connsiteX32" fmla="*/ 2603 w 10000"/>
                <a:gd name="connsiteY32" fmla="*/ 37 h 10000"/>
                <a:gd name="connsiteX33" fmla="*/ 1322 w 10000"/>
                <a:gd name="connsiteY33" fmla="*/ 0 h 10000"/>
                <a:gd name="connsiteX34" fmla="*/ 744 w 10000"/>
                <a:gd name="connsiteY34" fmla="*/ 516 h 10000"/>
                <a:gd name="connsiteX35" fmla="*/ 496 w 10000"/>
                <a:gd name="connsiteY35" fmla="*/ 478 h 10000"/>
                <a:gd name="connsiteX36" fmla="*/ 331 w 10000"/>
                <a:gd name="connsiteY36" fmla="*/ 587 h 10000"/>
                <a:gd name="connsiteX37" fmla="*/ 0 w 10000"/>
                <a:gd name="connsiteY37" fmla="*/ 920 h 10000"/>
                <a:gd name="connsiteX38" fmla="*/ 248 w 10000"/>
                <a:gd name="connsiteY38" fmla="*/ 1691 h 10000"/>
                <a:gd name="connsiteX39" fmla="*/ 289 w 10000"/>
                <a:gd name="connsiteY39" fmla="*/ 2022 h 10000"/>
                <a:gd name="connsiteX40" fmla="*/ 537 w 10000"/>
                <a:gd name="connsiteY40" fmla="*/ 2206 h 10000"/>
                <a:gd name="connsiteX41" fmla="*/ 992 w 10000"/>
                <a:gd name="connsiteY41" fmla="*/ 2463 h 10000"/>
                <a:gd name="connsiteX42" fmla="*/ 1322 w 10000"/>
                <a:gd name="connsiteY42" fmla="*/ 2685 h 10000"/>
                <a:gd name="connsiteX43" fmla="*/ 868 w 10000"/>
                <a:gd name="connsiteY43" fmla="*/ 2940 h 10000"/>
                <a:gd name="connsiteX44" fmla="*/ 992 w 10000"/>
                <a:gd name="connsiteY44" fmla="*/ 3346 h 10000"/>
                <a:gd name="connsiteX45" fmla="*/ 1198 w 10000"/>
                <a:gd name="connsiteY45" fmla="*/ 3676 h 10000"/>
                <a:gd name="connsiteX46" fmla="*/ 1364 w 10000"/>
                <a:gd name="connsiteY46" fmla="*/ 5184 h 10000"/>
                <a:gd name="connsiteX47" fmla="*/ 2107 w 10000"/>
                <a:gd name="connsiteY47" fmla="*/ 5588 h 10000"/>
                <a:gd name="connsiteX48" fmla="*/ 1488 w 10000"/>
                <a:gd name="connsiteY48" fmla="*/ 5993 h 10000"/>
                <a:gd name="connsiteX49" fmla="*/ 2025 w 10000"/>
                <a:gd name="connsiteY49" fmla="*/ 6471 h 10000"/>
                <a:gd name="connsiteX50" fmla="*/ 1612 w 10000"/>
                <a:gd name="connsiteY50" fmla="*/ 7132 h 10000"/>
                <a:gd name="connsiteX51" fmla="*/ 2231 w 10000"/>
                <a:gd name="connsiteY51" fmla="*/ 7427 h 10000"/>
                <a:gd name="connsiteX52" fmla="*/ 2397 w 10000"/>
                <a:gd name="connsiteY52" fmla="*/ 7647 h 10000"/>
                <a:gd name="connsiteX53" fmla="*/ 3140 w 10000"/>
                <a:gd name="connsiteY53" fmla="*/ 8089 h 10000"/>
                <a:gd name="connsiteX54" fmla="*/ 3678 w 10000"/>
                <a:gd name="connsiteY54" fmla="*/ 8124 h 10000"/>
                <a:gd name="connsiteX55" fmla="*/ 4421 w 10000"/>
                <a:gd name="connsiteY55" fmla="*/ 8421 h 10000"/>
                <a:gd name="connsiteX56" fmla="*/ 4132 w 10000"/>
                <a:gd name="connsiteY56" fmla="*/ 8751 h 10000"/>
                <a:gd name="connsiteX0" fmla="*/ 4132 w 10000"/>
                <a:gd name="connsiteY0" fmla="*/ 8751 h 10000"/>
                <a:gd name="connsiteX1" fmla="*/ 3760 w 10000"/>
                <a:gd name="connsiteY1" fmla="*/ 8897 h 10000"/>
                <a:gd name="connsiteX2" fmla="*/ 4732 w 10000"/>
                <a:gd name="connsiteY2" fmla="*/ 8255 h 10000"/>
                <a:gd name="connsiteX3" fmla="*/ 4608 w 10000"/>
                <a:gd name="connsiteY3" fmla="*/ 7886 h 10000"/>
                <a:gd name="connsiteX4" fmla="*/ 5042 w 10000"/>
                <a:gd name="connsiteY4" fmla="*/ 7721 h 10000"/>
                <a:gd name="connsiteX5" fmla="*/ 5413 w 10000"/>
                <a:gd name="connsiteY5" fmla="*/ 8071 h 10000"/>
                <a:gd name="connsiteX6" fmla="*/ 5765 w 10000"/>
                <a:gd name="connsiteY6" fmla="*/ 7960 h 10000"/>
                <a:gd name="connsiteX7" fmla="*/ 6364 w 10000"/>
                <a:gd name="connsiteY7" fmla="*/ 8714 h 10000"/>
                <a:gd name="connsiteX8" fmla="*/ 7211 w 10000"/>
                <a:gd name="connsiteY8" fmla="*/ 9100 h 10000"/>
                <a:gd name="connsiteX9" fmla="*/ 7355 w 10000"/>
                <a:gd name="connsiteY9" fmla="*/ 9891 h 10000"/>
                <a:gd name="connsiteX10" fmla="*/ 9132 w 10000"/>
                <a:gd name="connsiteY10" fmla="*/ 9449 h 10000"/>
                <a:gd name="connsiteX11" fmla="*/ 9256 w 10000"/>
                <a:gd name="connsiteY11" fmla="*/ 8383 h 10000"/>
                <a:gd name="connsiteX12" fmla="*/ 9256 w 10000"/>
                <a:gd name="connsiteY12" fmla="*/ 7942 h 10000"/>
                <a:gd name="connsiteX13" fmla="*/ 9628 w 10000"/>
                <a:gd name="connsiteY13" fmla="*/ 7684 h 10000"/>
                <a:gd name="connsiteX14" fmla="*/ 9917 w 10000"/>
                <a:gd name="connsiteY14" fmla="*/ 7390 h 10000"/>
                <a:gd name="connsiteX15" fmla="*/ 10000 w 10000"/>
                <a:gd name="connsiteY15" fmla="*/ 7170 h 10000"/>
                <a:gd name="connsiteX16" fmla="*/ 9752 w 10000"/>
                <a:gd name="connsiteY16" fmla="*/ 6802 h 10000"/>
                <a:gd name="connsiteX17" fmla="*/ 8884 w 10000"/>
                <a:gd name="connsiteY17" fmla="*/ 6471 h 10000"/>
                <a:gd name="connsiteX18" fmla="*/ 8636 w 10000"/>
                <a:gd name="connsiteY18" fmla="*/ 5845 h 10000"/>
                <a:gd name="connsiteX19" fmla="*/ 8636 w 10000"/>
                <a:gd name="connsiteY19" fmla="*/ 4927 h 10000"/>
                <a:gd name="connsiteX20" fmla="*/ 8678 w 10000"/>
                <a:gd name="connsiteY20" fmla="*/ 4044 h 10000"/>
                <a:gd name="connsiteX21" fmla="*/ 8223 w 10000"/>
                <a:gd name="connsiteY21" fmla="*/ 3198 h 10000"/>
                <a:gd name="connsiteX22" fmla="*/ 7645 w 10000"/>
                <a:gd name="connsiteY22" fmla="*/ 3420 h 10000"/>
                <a:gd name="connsiteX23" fmla="*/ 6488 w 10000"/>
                <a:gd name="connsiteY23" fmla="*/ 3383 h 10000"/>
                <a:gd name="connsiteX24" fmla="*/ 5744 w 10000"/>
                <a:gd name="connsiteY24" fmla="*/ 3308 h 10000"/>
                <a:gd name="connsiteX25" fmla="*/ 5702 w 10000"/>
                <a:gd name="connsiteY25" fmla="*/ 2279 h 10000"/>
                <a:gd name="connsiteX26" fmla="*/ 4793 w 10000"/>
                <a:gd name="connsiteY26" fmla="*/ 1986 h 10000"/>
                <a:gd name="connsiteX27" fmla="*/ 4256 w 10000"/>
                <a:gd name="connsiteY27" fmla="*/ 1397 h 10000"/>
                <a:gd name="connsiteX28" fmla="*/ 3760 w 10000"/>
                <a:gd name="connsiteY28" fmla="*/ 883 h 10000"/>
                <a:gd name="connsiteX29" fmla="*/ 3430 w 10000"/>
                <a:gd name="connsiteY29" fmla="*/ 552 h 10000"/>
                <a:gd name="connsiteX30" fmla="*/ 3017 w 10000"/>
                <a:gd name="connsiteY30" fmla="*/ 441 h 10000"/>
                <a:gd name="connsiteX31" fmla="*/ 2603 w 10000"/>
                <a:gd name="connsiteY31" fmla="*/ 37 h 10000"/>
                <a:gd name="connsiteX32" fmla="*/ 1322 w 10000"/>
                <a:gd name="connsiteY32" fmla="*/ 0 h 10000"/>
                <a:gd name="connsiteX33" fmla="*/ 744 w 10000"/>
                <a:gd name="connsiteY33" fmla="*/ 516 h 10000"/>
                <a:gd name="connsiteX34" fmla="*/ 496 w 10000"/>
                <a:gd name="connsiteY34" fmla="*/ 478 h 10000"/>
                <a:gd name="connsiteX35" fmla="*/ 331 w 10000"/>
                <a:gd name="connsiteY35" fmla="*/ 587 h 10000"/>
                <a:gd name="connsiteX36" fmla="*/ 0 w 10000"/>
                <a:gd name="connsiteY36" fmla="*/ 920 h 10000"/>
                <a:gd name="connsiteX37" fmla="*/ 248 w 10000"/>
                <a:gd name="connsiteY37" fmla="*/ 1691 h 10000"/>
                <a:gd name="connsiteX38" fmla="*/ 289 w 10000"/>
                <a:gd name="connsiteY38" fmla="*/ 2022 h 10000"/>
                <a:gd name="connsiteX39" fmla="*/ 537 w 10000"/>
                <a:gd name="connsiteY39" fmla="*/ 2206 h 10000"/>
                <a:gd name="connsiteX40" fmla="*/ 992 w 10000"/>
                <a:gd name="connsiteY40" fmla="*/ 2463 h 10000"/>
                <a:gd name="connsiteX41" fmla="*/ 1322 w 10000"/>
                <a:gd name="connsiteY41" fmla="*/ 2685 h 10000"/>
                <a:gd name="connsiteX42" fmla="*/ 868 w 10000"/>
                <a:gd name="connsiteY42" fmla="*/ 2940 h 10000"/>
                <a:gd name="connsiteX43" fmla="*/ 992 w 10000"/>
                <a:gd name="connsiteY43" fmla="*/ 3346 h 10000"/>
                <a:gd name="connsiteX44" fmla="*/ 1198 w 10000"/>
                <a:gd name="connsiteY44" fmla="*/ 3676 h 10000"/>
                <a:gd name="connsiteX45" fmla="*/ 1364 w 10000"/>
                <a:gd name="connsiteY45" fmla="*/ 5184 h 10000"/>
                <a:gd name="connsiteX46" fmla="*/ 2107 w 10000"/>
                <a:gd name="connsiteY46" fmla="*/ 5588 h 10000"/>
                <a:gd name="connsiteX47" fmla="*/ 1488 w 10000"/>
                <a:gd name="connsiteY47" fmla="*/ 5993 h 10000"/>
                <a:gd name="connsiteX48" fmla="*/ 2025 w 10000"/>
                <a:gd name="connsiteY48" fmla="*/ 6471 h 10000"/>
                <a:gd name="connsiteX49" fmla="*/ 1612 w 10000"/>
                <a:gd name="connsiteY49" fmla="*/ 7132 h 10000"/>
                <a:gd name="connsiteX50" fmla="*/ 2231 w 10000"/>
                <a:gd name="connsiteY50" fmla="*/ 7427 h 10000"/>
                <a:gd name="connsiteX51" fmla="*/ 2397 w 10000"/>
                <a:gd name="connsiteY51" fmla="*/ 7647 h 10000"/>
                <a:gd name="connsiteX52" fmla="*/ 3140 w 10000"/>
                <a:gd name="connsiteY52" fmla="*/ 8089 h 10000"/>
                <a:gd name="connsiteX53" fmla="*/ 3678 w 10000"/>
                <a:gd name="connsiteY53" fmla="*/ 8124 h 10000"/>
                <a:gd name="connsiteX54" fmla="*/ 4421 w 10000"/>
                <a:gd name="connsiteY54" fmla="*/ 8421 h 10000"/>
                <a:gd name="connsiteX55" fmla="*/ 4132 w 10000"/>
                <a:gd name="connsiteY55" fmla="*/ 8751 h 10000"/>
                <a:gd name="connsiteX0" fmla="*/ 4132 w 10000"/>
                <a:gd name="connsiteY0" fmla="*/ 8751 h 10000"/>
                <a:gd name="connsiteX1" fmla="*/ 4732 w 10000"/>
                <a:gd name="connsiteY1" fmla="*/ 8255 h 10000"/>
                <a:gd name="connsiteX2" fmla="*/ 4608 w 10000"/>
                <a:gd name="connsiteY2" fmla="*/ 7886 h 10000"/>
                <a:gd name="connsiteX3" fmla="*/ 5042 w 10000"/>
                <a:gd name="connsiteY3" fmla="*/ 7721 h 10000"/>
                <a:gd name="connsiteX4" fmla="*/ 5413 w 10000"/>
                <a:gd name="connsiteY4" fmla="*/ 8071 h 10000"/>
                <a:gd name="connsiteX5" fmla="*/ 5765 w 10000"/>
                <a:gd name="connsiteY5" fmla="*/ 7960 h 10000"/>
                <a:gd name="connsiteX6" fmla="*/ 6364 w 10000"/>
                <a:gd name="connsiteY6" fmla="*/ 8714 h 10000"/>
                <a:gd name="connsiteX7" fmla="*/ 7211 w 10000"/>
                <a:gd name="connsiteY7" fmla="*/ 9100 h 10000"/>
                <a:gd name="connsiteX8" fmla="*/ 7355 w 10000"/>
                <a:gd name="connsiteY8" fmla="*/ 9891 h 10000"/>
                <a:gd name="connsiteX9" fmla="*/ 9132 w 10000"/>
                <a:gd name="connsiteY9" fmla="*/ 9449 h 10000"/>
                <a:gd name="connsiteX10" fmla="*/ 9256 w 10000"/>
                <a:gd name="connsiteY10" fmla="*/ 8383 h 10000"/>
                <a:gd name="connsiteX11" fmla="*/ 9256 w 10000"/>
                <a:gd name="connsiteY11" fmla="*/ 7942 h 10000"/>
                <a:gd name="connsiteX12" fmla="*/ 9628 w 10000"/>
                <a:gd name="connsiteY12" fmla="*/ 7684 h 10000"/>
                <a:gd name="connsiteX13" fmla="*/ 9917 w 10000"/>
                <a:gd name="connsiteY13" fmla="*/ 7390 h 10000"/>
                <a:gd name="connsiteX14" fmla="*/ 10000 w 10000"/>
                <a:gd name="connsiteY14" fmla="*/ 7170 h 10000"/>
                <a:gd name="connsiteX15" fmla="*/ 9752 w 10000"/>
                <a:gd name="connsiteY15" fmla="*/ 6802 h 10000"/>
                <a:gd name="connsiteX16" fmla="*/ 8884 w 10000"/>
                <a:gd name="connsiteY16" fmla="*/ 6471 h 10000"/>
                <a:gd name="connsiteX17" fmla="*/ 8636 w 10000"/>
                <a:gd name="connsiteY17" fmla="*/ 5845 h 10000"/>
                <a:gd name="connsiteX18" fmla="*/ 8636 w 10000"/>
                <a:gd name="connsiteY18" fmla="*/ 4927 h 10000"/>
                <a:gd name="connsiteX19" fmla="*/ 8678 w 10000"/>
                <a:gd name="connsiteY19" fmla="*/ 4044 h 10000"/>
                <a:gd name="connsiteX20" fmla="*/ 8223 w 10000"/>
                <a:gd name="connsiteY20" fmla="*/ 3198 h 10000"/>
                <a:gd name="connsiteX21" fmla="*/ 7645 w 10000"/>
                <a:gd name="connsiteY21" fmla="*/ 3420 h 10000"/>
                <a:gd name="connsiteX22" fmla="*/ 6488 w 10000"/>
                <a:gd name="connsiteY22" fmla="*/ 3383 h 10000"/>
                <a:gd name="connsiteX23" fmla="*/ 5744 w 10000"/>
                <a:gd name="connsiteY23" fmla="*/ 3308 h 10000"/>
                <a:gd name="connsiteX24" fmla="*/ 5702 w 10000"/>
                <a:gd name="connsiteY24" fmla="*/ 2279 h 10000"/>
                <a:gd name="connsiteX25" fmla="*/ 4793 w 10000"/>
                <a:gd name="connsiteY25" fmla="*/ 1986 h 10000"/>
                <a:gd name="connsiteX26" fmla="*/ 4256 w 10000"/>
                <a:gd name="connsiteY26" fmla="*/ 1397 h 10000"/>
                <a:gd name="connsiteX27" fmla="*/ 3760 w 10000"/>
                <a:gd name="connsiteY27" fmla="*/ 883 h 10000"/>
                <a:gd name="connsiteX28" fmla="*/ 3430 w 10000"/>
                <a:gd name="connsiteY28" fmla="*/ 552 h 10000"/>
                <a:gd name="connsiteX29" fmla="*/ 3017 w 10000"/>
                <a:gd name="connsiteY29" fmla="*/ 441 h 10000"/>
                <a:gd name="connsiteX30" fmla="*/ 2603 w 10000"/>
                <a:gd name="connsiteY30" fmla="*/ 37 h 10000"/>
                <a:gd name="connsiteX31" fmla="*/ 1322 w 10000"/>
                <a:gd name="connsiteY31" fmla="*/ 0 h 10000"/>
                <a:gd name="connsiteX32" fmla="*/ 744 w 10000"/>
                <a:gd name="connsiteY32" fmla="*/ 516 h 10000"/>
                <a:gd name="connsiteX33" fmla="*/ 496 w 10000"/>
                <a:gd name="connsiteY33" fmla="*/ 478 h 10000"/>
                <a:gd name="connsiteX34" fmla="*/ 331 w 10000"/>
                <a:gd name="connsiteY34" fmla="*/ 587 h 10000"/>
                <a:gd name="connsiteX35" fmla="*/ 0 w 10000"/>
                <a:gd name="connsiteY35" fmla="*/ 920 h 10000"/>
                <a:gd name="connsiteX36" fmla="*/ 248 w 10000"/>
                <a:gd name="connsiteY36" fmla="*/ 1691 h 10000"/>
                <a:gd name="connsiteX37" fmla="*/ 289 w 10000"/>
                <a:gd name="connsiteY37" fmla="*/ 2022 h 10000"/>
                <a:gd name="connsiteX38" fmla="*/ 537 w 10000"/>
                <a:gd name="connsiteY38" fmla="*/ 2206 h 10000"/>
                <a:gd name="connsiteX39" fmla="*/ 992 w 10000"/>
                <a:gd name="connsiteY39" fmla="*/ 2463 h 10000"/>
                <a:gd name="connsiteX40" fmla="*/ 1322 w 10000"/>
                <a:gd name="connsiteY40" fmla="*/ 2685 h 10000"/>
                <a:gd name="connsiteX41" fmla="*/ 868 w 10000"/>
                <a:gd name="connsiteY41" fmla="*/ 2940 h 10000"/>
                <a:gd name="connsiteX42" fmla="*/ 992 w 10000"/>
                <a:gd name="connsiteY42" fmla="*/ 3346 h 10000"/>
                <a:gd name="connsiteX43" fmla="*/ 1198 w 10000"/>
                <a:gd name="connsiteY43" fmla="*/ 3676 h 10000"/>
                <a:gd name="connsiteX44" fmla="*/ 1364 w 10000"/>
                <a:gd name="connsiteY44" fmla="*/ 5184 h 10000"/>
                <a:gd name="connsiteX45" fmla="*/ 2107 w 10000"/>
                <a:gd name="connsiteY45" fmla="*/ 5588 h 10000"/>
                <a:gd name="connsiteX46" fmla="*/ 1488 w 10000"/>
                <a:gd name="connsiteY46" fmla="*/ 5993 h 10000"/>
                <a:gd name="connsiteX47" fmla="*/ 2025 w 10000"/>
                <a:gd name="connsiteY47" fmla="*/ 6471 h 10000"/>
                <a:gd name="connsiteX48" fmla="*/ 1612 w 10000"/>
                <a:gd name="connsiteY48" fmla="*/ 7132 h 10000"/>
                <a:gd name="connsiteX49" fmla="*/ 2231 w 10000"/>
                <a:gd name="connsiteY49" fmla="*/ 7427 h 10000"/>
                <a:gd name="connsiteX50" fmla="*/ 2397 w 10000"/>
                <a:gd name="connsiteY50" fmla="*/ 7647 h 10000"/>
                <a:gd name="connsiteX51" fmla="*/ 3140 w 10000"/>
                <a:gd name="connsiteY51" fmla="*/ 8089 h 10000"/>
                <a:gd name="connsiteX52" fmla="*/ 3678 w 10000"/>
                <a:gd name="connsiteY52" fmla="*/ 8124 h 10000"/>
                <a:gd name="connsiteX53" fmla="*/ 4421 w 10000"/>
                <a:gd name="connsiteY53" fmla="*/ 8421 h 10000"/>
                <a:gd name="connsiteX54" fmla="*/ 4132 w 10000"/>
                <a:gd name="connsiteY54" fmla="*/ 8751 h 10000"/>
                <a:gd name="connsiteX0" fmla="*/ 4421 w 10000"/>
                <a:gd name="connsiteY0" fmla="*/ 8421 h 10000"/>
                <a:gd name="connsiteX1" fmla="*/ 4732 w 10000"/>
                <a:gd name="connsiteY1" fmla="*/ 8255 h 10000"/>
                <a:gd name="connsiteX2" fmla="*/ 4608 w 10000"/>
                <a:gd name="connsiteY2" fmla="*/ 7886 h 10000"/>
                <a:gd name="connsiteX3" fmla="*/ 5042 w 10000"/>
                <a:gd name="connsiteY3" fmla="*/ 7721 h 10000"/>
                <a:gd name="connsiteX4" fmla="*/ 5413 w 10000"/>
                <a:gd name="connsiteY4" fmla="*/ 8071 h 10000"/>
                <a:gd name="connsiteX5" fmla="*/ 5765 w 10000"/>
                <a:gd name="connsiteY5" fmla="*/ 7960 h 10000"/>
                <a:gd name="connsiteX6" fmla="*/ 6364 w 10000"/>
                <a:gd name="connsiteY6" fmla="*/ 8714 h 10000"/>
                <a:gd name="connsiteX7" fmla="*/ 7211 w 10000"/>
                <a:gd name="connsiteY7" fmla="*/ 9100 h 10000"/>
                <a:gd name="connsiteX8" fmla="*/ 7355 w 10000"/>
                <a:gd name="connsiteY8" fmla="*/ 9891 h 10000"/>
                <a:gd name="connsiteX9" fmla="*/ 9132 w 10000"/>
                <a:gd name="connsiteY9" fmla="*/ 9449 h 10000"/>
                <a:gd name="connsiteX10" fmla="*/ 9256 w 10000"/>
                <a:gd name="connsiteY10" fmla="*/ 8383 h 10000"/>
                <a:gd name="connsiteX11" fmla="*/ 9256 w 10000"/>
                <a:gd name="connsiteY11" fmla="*/ 7942 h 10000"/>
                <a:gd name="connsiteX12" fmla="*/ 9628 w 10000"/>
                <a:gd name="connsiteY12" fmla="*/ 7684 h 10000"/>
                <a:gd name="connsiteX13" fmla="*/ 9917 w 10000"/>
                <a:gd name="connsiteY13" fmla="*/ 7390 h 10000"/>
                <a:gd name="connsiteX14" fmla="*/ 10000 w 10000"/>
                <a:gd name="connsiteY14" fmla="*/ 7170 h 10000"/>
                <a:gd name="connsiteX15" fmla="*/ 9752 w 10000"/>
                <a:gd name="connsiteY15" fmla="*/ 6802 h 10000"/>
                <a:gd name="connsiteX16" fmla="*/ 8884 w 10000"/>
                <a:gd name="connsiteY16" fmla="*/ 6471 h 10000"/>
                <a:gd name="connsiteX17" fmla="*/ 8636 w 10000"/>
                <a:gd name="connsiteY17" fmla="*/ 5845 h 10000"/>
                <a:gd name="connsiteX18" fmla="*/ 8636 w 10000"/>
                <a:gd name="connsiteY18" fmla="*/ 4927 h 10000"/>
                <a:gd name="connsiteX19" fmla="*/ 8678 w 10000"/>
                <a:gd name="connsiteY19" fmla="*/ 4044 h 10000"/>
                <a:gd name="connsiteX20" fmla="*/ 8223 w 10000"/>
                <a:gd name="connsiteY20" fmla="*/ 3198 h 10000"/>
                <a:gd name="connsiteX21" fmla="*/ 7645 w 10000"/>
                <a:gd name="connsiteY21" fmla="*/ 3420 h 10000"/>
                <a:gd name="connsiteX22" fmla="*/ 6488 w 10000"/>
                <a:gd name="connsiteY22" fmla="*/ 3383 h 10000"/>
                <a:gd name="connsiteX23" fmla="*/ 5744 w 10000"/>
                <a:gd name="connsiteY23" fmla="*/ 3308 h 10000"/>
                <a:gd name="connsiteX24" fmla="*/ 5702 w 10000"/>
                <a:gd name="connsiteY24" fmla="*/ 2279 h 10000"/>
                <a:gd name="connsiteX25" fmla="*/ 4793 w 10000"/>
                <a:gd name="connsiteY25" fmla="*/ 1986 h 10000"/>
                <a:gd name="connsiteX26" fmla="*/ 4256 w 10000"/>
                <a:gd name="connsiteY26" fmla="*/ 1397 h 10000"/>
                <a:gd name="connsiteX27" fmla="*/ 3760 w 10000"/>
                <a:gd name="connsiteY27" fmla="*/ 883 h 10000"/>
                <a:gd name="connsiteX28" fmla="*/ 3430 w 10000"/>
                <a:gd name="connsiteY28" fmla="*/ 552 h 10000"/>
                <a:gd name="connsiteX29" fmla="*/ 3017 w 10000"/>
                <a:gd name="connsiteY29" fmla="*/ 441 h 10000"/>
                <a:gd name="connsiteX30" fmla="*/ 2603 w 10000"/>
                <a:gd name="connsiteY30" fmla="*/ 37 h 10000"/>
                <a:gd name="connsiteX31" fmla="*/ 1322 w 10000"/>
                <a:gd name="connsiteY31" fmla="*/ 0 h 10000"/>
                <a:gd name="connsiteX32" fmla="*/ 744 w 10000"/>
                <a:gd name="connsiteY32" fmla="*/ 516 h 10000"/>
                <a:gd name="connsiteX33" fmla="*/ 496 w 10000"/>
                <a:gd name="connsiteY33" fmla="*/ 478 h 10000"/>
                <a:gd name="connsiteX34" fmla="*/ 331 w 10000"/>
                <a:gd name="connsiteY34" fmla="*/ 587 h 10000"/>
                <a:gd name="connsiteX35" fmla="*/ 0 w 10000"/>
                <a:gd name="connsiteY35" fmla="*/ 920 h 10000"/>
                <a:gd name="connsiteX36" fmla="*/ 248 w 10000"/>
                <a:gd name="connsiteY36" fmla="*/ 1691 h 10000"/>
                <a:gd name="connsiteX37" fmla="*/ 289 w 10000"/>
                <a:gd name="connsiteY37" fmla="*/ 2022 h 10000"/>
                <a:gd name="connsiteX38" fmla="*/ 537 w 10000"/>
                <a:gd name="connsiteY38" fmla="*/ 2206 h 10000"/>
                <a:gd name="connsiteX39" fmla="*/ 992 w 10000"/>
                <a:gd name="connsiteY39" fmla="*/ 2463 h 10000"/>
                <a:gd name="connsiteX40" fmla="*/ 1322 w 10000"/>
                <a:gd name="connsiteY40" fmla="*/ 2685 h 10000"/>
                <a:gd name="connsiteX41" fmla="*/ 868 w 10000"/>
                <a:gd name="connsiteY41" fmla="*/ 2940 h 10000"/>
                <a:gd name="connsiteX42" fmla="*/ 992 w 10000"/>
                <a:gd name="connsiteY42" fmla="*/ 3346 h 10000"/>
                <a:gd name="connsiteX43" fmla="*/ 1198 w 10000"/>
                <a:gd name="connsiteY43" fmla="*/ 3676 h 10000"/>
                <a:gd name="connsiteX44" fmla="*/ 1364 w 10000"/>
                <a:gd name="connsiteY44" fmla="*/ 5184 h 10000"/>
                <a:gd name="connsiteX45" fmla="*/ 2107 w 10000"/>
                <a:gd name="connsiteY45" fmla="*/ 5588 h 10000"/>
                <a:gd name="connsiteX46" fmla="*/ 1488 w 10000"/>
                <a:gd name="connsiteY46" fmla="*/ 5993 h 10000"/>
                <a:gd name="connsiteX47" fmla="*/ 2025 w 10000"/>
                <a:gd name="connsiteY47" fmla="*/ 6471 h 10000"/>
                <a:gd name="connsiteX48" fmla="*/ 1612 w 10000"/>
                <a:gd name="connsiteY48" fmla="*/ 7132 h 10000"/>
                <a:gd name="connsiteX49" fmla="*/ 2231 w 10000"/>
                <a:gd name="connsiteY49" fmla="*/ 7427 h 10000"/>
                <a:gd name="connsiteX50" fmla="*/ 2397 w 10000"/>
                <a:gd name="connsiteY50" fmla="*/ 7647 h 10000"/>
                <a:gd name="connsiteX51" fmla="*/ 3140 w 10000"/>
                <a:gd name="connsiteY51" fmla="*/ 8089 h 10000"/>
                <a:gd name="connsiteX52" fmla="*/ 3678 w 10000"/>
                <a:gd name="connsiteY52" fmla="*/ 8124 h 10000"/>
                <a:gd name="connsiteX53" fmla="*/ 4421 w 10000"/>
                <a:gd name="connsiteY53" fmla="*/ 8421 h 10000"/>
                <a:gd name="connsiteX0" fmla="*/ 3678 w 10000"/>
                <a:gd name="connsiteY0" fmla="*/ 8124 h 10000"/>
                <a:gd name="connsiteX1" fmla="*/ 4732 w 10000"/>
                <a:gd name="connsiteY1" fmla="*/ 8255 h 10000"/>
                <a:gd name="connsiteX2" fmla="*/ 4608 w 10000"/>
                <a:gd name="connsiteY2" fmla="*/ 7886 h 10000"/>
                <a:gd name="connsiteX3" fmla="*/ 5042 w 10000"/>
                <a:gd name="connsiteY3" fmla="*/ 7721 h 10000"/>
                <a:gd name="connsiteX4" fmla="*/ 5413 w 10000"/>
                <a:gd name="connsiteY4" fmla="*/ 8071 h 10000"/>
                <a:gd name="connsiteX5" fmla="*/ 5765 w 10000"/>
                <a:gd name="connsiteY5" fmla="*/ 7960 h 10000"/>
                <a:gd name="connsiteX6" fmla="*/ 6364 w 10000"/>
                <a:gd name="connsiteY6" fmla="*/ 8714 h 10000"/>
                <a:gd name="connsiteX7" fmla="*/ 7211 w 10000"/>
                <a:gd name="connsiteY7" fmla="*/ 9100 h 10000"/>
                <a:gd name="connsiteX8" fmla="*/ 7355 w 10000"/>
                <a:gd name="connsiteY8" fmla="*/ 9891 h 10000"/>
                <a:gd name="connsiteX9" fmla="*/ 9132 w 10000"/>
                <a:gd name="connsiteY9" fmla="*/ 9449 h 10000"/>
                <a:gd name="connsiteX10" fmla="*/ 9256 w 10000"/>
                <a:gd name="connsiteY10" fmla="*/ 8383 h 10000"/>
                <a:gd name="connsiteX11" fmla="*/ 9256 w 10000"/>
                <a:gd name="connsiteY11" fmla="*/ 7942 h 10000"/>
                <a:gd name="connsiteX12" fmla="*/ 9628 w 10000"/>
                <a:gd name="connsiteY12" fmla="*/ 7684 h 10000"/>
                <a:gd name="connsiteX13" fmla="*/ 9917 w 10000"/>
                <a:gd name="connsiteY13" fmla="*/ 7390 h 10000"/>
                <a:gd name="connsiteX14" fmla="*/ 10000 w 10000"/>
                <a:gd name="connsiteY14" fmla="*/ 7170 h 10000"/>
                <a:gd name="connsiteX15" fmla="*/ 9752 w 10000"/>
                <a:gd name="connsiteY15" fmla="*/ 6802 h 10000"/>
                <a:gd name="connsiteX16" fmla="*/ 8884 w 10000"/>
                <a:gd name="connsiteY16" fmla="*/ 6471 h 10000"/>
                <a:gd name="connsiteX17" fmla="*/ 8636 w 10000"/>
                <a:gd name="connsiteY17" fmla="*/ 5845 h 10000"/>
                <a:gd name="connsiteX18" fmla="*/ 8636 w 10000"/>
                <a:gd name="connsiteY18" fmla="*/ 4927 h 10000"/>
                <a:gd name="connsiteX19" fmla="*/ 8678 w 10000"/>
                <a:gd name="connsiteY19" fmla="*/ 4044 h 10000"/>
                <a:gd name="connsiteX20" fmla="*/ 8223 w 10000"/>
                <a:gd name="connsiteY20" fmla="*/ 3198 h 10000"/>
                <a:gd name="connsiteX21" fmla="*/ 7645 w 10000"/>
                <a:gd name="connsiteY21" fmla="*/ 3420 h 10000"/>
                <a:gd name="connsiteX22" fmla="*/ 6488 w 10000"/>
                <a:gd name="connsiteY22" fmla="*/ 3383 h 10000"/>
                <a:gd name="connsiteX23" fmla="*/ 5744 w 10000"/>
                <a:gd name="connsiteY23" fmla="*/ 3308 h 10000"/>
                <a:gd name="connsiteX24" fmla="*/ 5702 w 10000"/>
                <a:gd name="connsiteY24" fmla="*/ 2279 h 10000"/>
                <a:gd name="connsiteX25" fmla="*/ 4793 w 10000"/>
                <a:gd name="connsiteY25" fmla="*/ 1986 h 10000"/>
                <a:gd name="connsiteX26" fmla="*/ 4256 w 10000"/>
                <a:gd name="connsiteY26" fmla="*/ 1397 h 10000"/>
                <a:gd name="connsiteX27" fmla="*/ 3760 w 10000"/>
                <a:gd name="connsiteY27" fmla="*/ 883 h 10000"/>
                <a:gd name="connsiteX28" fmla="*/ 3430 w 10000"/>
                <a:gd name="connsiteY28" fmla="*/ 552 h 10000"/>
                <a:gd name="connsiteX29" fmla="*/ 3017 w 10000"/>
                <a:gd name="connsiteY29" fmla="*/ 441 h 10000"/>
                <a:gd name="connsiteX30" fmla="*/ 2603 w 10000"/>
                <a:gd name="connsiteY30" fmla="*/ 37 h 10000"/>
                <a:gd name="connsiteX31" fmla="*/ 1322 w 10000"/>
                <a:gd name="connsiteY31" fmla="*/ 0 h 10000"/>
                <a:gd name="connsiteX32" fmla="*/ 744 w 10000"/>
                <a:gd name="connsiteY32" fmla="*/ 516 h 10000"/>
                <a:gd name="connsiteX33" fmla="*/ 496 w 10000"/>
                <a:gd name="connsiteY33" fmla="*/ 478 h 10000"/>
                <a:gd name="connsiteX34" fmla="*/ 331 w 10000"/>
                <a:gd name="connsiteY34" fmla="*/ 587 h 10000"/>
                <a:gd name="connsiteX35" fmla="*/ 0 w 10000"/>
                <a:gd name="connsiteY35" fmla="*/ 920 h 10000"/>
                <a:gd name="connsiteX36" fmla="*/ 248 w 10000"/>
                <a:gd name="connsiteY36" fmla="*/ 1691 h 10000"/>
                <a:gd name="connsiteX37" fmla="*/ 289 w 10000"/>
                <a:gd name="connsiteY37" fmla="*/ 2022 h 10000"/>
                <a:gd name="connsiteX38" fmla="*/ 537 w 10000"/>
                <a:gd name="connsiteY38" fmla="*/ 2206 h 10000"/>
                <a:gd name="connsiteX39" fmla="*/ 992 w 10000"/>
                <a:gd name="connsiteY39" fmla="*/ 2463 h 10000"/>
                <a:gd name="connsiteX40" fmla="*/ 1322 w 10000"/>
                <a:gd name="connsiteY40" fmla="*/ 2685 h 10000"/>
                <a:gd name="connsiteX41" fmla="*/ 868 w 10000"/>
                <a:gd name="connsiteY41" fmla="*/ 2940 h 10000"/>
                <a:gd name="connsiteX42" fmla="*/ 992 w 10000"/>
                <a:gd name="connsiteY42" fmla="*/ 3346 h 10000"/>
                <a:gd name="connsiteX43" fmla="*/ 1198 w 10000"/>
                <a:gd name="connsiteY43" fmla="*/ 3676 h 10000"/>
                <a:gd name="connsiteX44" fmla="*/ 1364 w 10000"/>
                <a:gd name="connsiteY44" fmla="*/ 5184 h 10000"/>
                <a:gd name="connsiteX45" fmla="*/ 2107 w 10000"/>
                <a:gd name="connsiteY45" fmla="*/ 5588 h 10000"/>
                <a:gd name="connsiteX46" fmla="*/ 1488 w 10000"/>
                <a:gd name="connsiteY46" fmla="*/ 5993 h 10000"/>
                <a:gd name="connsiteX47" fmla="*/ 2025 w 10000"/>
                <a:gd name="connsiteY47" fmla="*/ 6471 h 10000"/>
                <a:gd name="connsiteX48" fmla="*/ 1612 w 10000"/>
                <a:gd name="connsiteY48" fmla="*/ 7132 h 10000"/>
                <a:gd name="connsiteX49" fmla="*/ 2231 w 10000"/>
                <a:gd name="connsiteY49" fmla="*/ 7427 h 10000"/>
                <a:gd name="connsiteX50" fmla="*/ 2397 w 10000"/>
                <a:gd name="connsiteY50" fmla="*/ 7647 h 10000"/>
                <a:gd name="connsiteX51" fmla="*/ 3140 w 10000"/>
                <a:gd name="connsiteY51" fmla="*/ 8089 h 10000"/>
                <a:gd name="connsiteX52" fmla="*/ 3678 w 10000"/>
                <a:gd name="connsiteY52" fmla="*/ 8124 h 10000"/>
                <a:gd name="connsiteX0" fmla="*/ 3678 w 10000"/>
                <a:gd name="connsiteY0" fmla="*/ 8124 h 10000"/>
                <a:gd name="connsiteX1" fmla="*/ 4732 w 10000"/>
                <a:gd name="connsiteY1" fmla="*/ 8255 h 10000"/>
                <a:gd name="connsiteX2" fmla="*/ 4608 w 10000"/>
                <a:gd name="connsiteY2" fmla="*/ 7886 h 10000"/>
                <a:gd name="connsiteX3" fmla="*/ 4608 w 10000"/>
                <a:gd name="connsiteY3" fmla="*/ 8328 h 10000"/>
                <a:gd name="connsiteX4" fmla="*/ 5413 w 10000"/>
                <a:gd name="connsiteY4" fmla="*/ 8071 h 10000"/>
                <a:gd name="connsiteX5" fmla="*/ 5765 w 10000"/>
                <a:gd name="connsiteY5" fmla="*/ 7960 h 10000"/>
                <a:gd name="connsiteX6" fmla="*/ 6364 w 10000"/>
                <a:gd name="connsiteY6" fmla="*/ 8714 h 10000"/>
                <a:gd name="connsiteX7" fmla="*/ 7211 w 10000"/>
                <a:gd name="connsiteY7" fmla="*/ 9100 h 10000"/>
                <a:gd name="connsiteX8" fmla="*/ 7355 w 10000"/>
                <a:gd name="connsiteY8" fmla="*/ 9891 h 10000"/>
                <a:gd name="connsiteX9" fmla="*/ 9132 w 10000"/>
                <a:gd name="connsiteY9" fmla="*/ 9449 h 10000"/>
                <a:gd name="connsiteX10" fmla="*/ 9256 w 10000"/>
                <a:gd name="connsiteY10" fmla="*/ 8383 h 10000"/>
                <a:gd name="connsiteX11" fmla="*/ 9256 w 10000"/>
                <a:gd name="connsiteY11" fmla="*/ 7942 h 10000"/>
                <a:gd name="connsiteX12" fmla="*/ 9628 w 10000"/>
                <a:gd name="connsiteY12" fmla="*/ 7684 h 10000"/>
                <a:gd name="connsiteX13" fmla="*/ 9917 w 10000"/>
                <a:gd name="connsiteY13" fmla="*/ 7390 h 10000"/>
                <a:gd name="connsiteX14" fmla="*/ 10000 w 10000"/>
                <a:gd name="connsiteY14" fmla="*/ 7170 h 10000"/>
                <a:gd name="connsiteX15" fmla="*/ 9752 w 10000"/>
                <a:gd name="connsiteY15" fmla="*/ 6802 h 10000"/>
                <a:gd name="connsiteX16" fmla="*/ 8884 w 10000"/>
                <a:gd name="connsiteY16" fmla="*/ 6471 h 10000"/>
                <a:gd name="connsiteX17" fmla="*/ 8636 w 10000"/>
                <a:gd name="connsiteY17" fmla="*/ 5845 h 10000"/>
                <a:gd name="connsiteX18" fmla="*/ 8636 w 10000"/>
                <a:gd name="connsiteY18" fmla="*/ 4927 h 10000"/>
                <a:gd name="connsiteX19" fmla="*/ 8678 w 10000"/>
                <a:gd name="connsiteY19" fmla="*/ 4044 h 10000"/>
                <a:gd name="connsiteX20" fmla="*/ 8223 w 10000"/>
                <a:gd name="connsiteY20" fmla="*/ 3198 h 10000"/>
                <a:gd name="connsiteX21" fmla="*/ 7645 w 10000"/>
                <a:gd name="connsiteY21" fmla="*/ 3420 h 10000"/>
                <a:gd name="connsiteX22" fmla="*/ 6488 w 10000"/>
                <a:gd name="connsiteY22" fmla="*/ 3383 h 10000"/>
                <a:gd name="connsiteX23" fmla="*/ 5744 w 10000"/>
                <a:gd name="connsiteY23" fmla="*/ 3308 h 10000"/>
                <a:gd name="connsiteX24" fmla="*/ 5702 w 10000"/>
                <a:gd name="connsiteY24" fmla="*/ 2279 h 10000"/>
                <a:gd name="connsiteX25" fmla="*/ 4793 w 10000"/>
                <a:gd name="connsiteY25" fmla="*/ 1986 h 10000"/>
                <a:gd name="connsiteX26" fmla="*/ 4256 w 10000"/>
                <a:gd name="connsiteY26" fmla="*/ 1397 h 10000"/>
                <a:gd name="connsiteX27" fmla="*/ 3760 w 10000"/>
                <a:gd name="connsiteY27" fmla="*/ 883 h 10000"/>
                <a:gd name="connsiteX28" fmla="*/ 3430 w 10000"/>
                <a:gd name="connsiteY28" fmla="*/ 552 h 10000"/>
                <a:gd name="connsiteX29" fmla="*/ 3017 w 10000"/>
                <a:gd name="connsiteY29" fmla="*/ 441 h 10000"/>
                <a:gd name="connsiteX30" fmla="*/ 2603 w 10000"/>
                <a:gd name="connsiteY30" fmla="*/ 37 h 10000"/>
                <a:gd name="connsiteX31" fmla="*/ 1322 w 10000"/>
                <a:gd name="connsiteY31" fmla="*/ 0 h 10000"/>
                <a:gd name="connsiteX32" fmla="*/ 744 w 10000"/>
                <a:gd name="connsiteY32" fmla="*/ 516 h 10000"/>
                <a:gd name="connsiteX33" fmla="*/ 496 w 10000"/>
                <a:gd name="connsiteY33" fmla="*/ 478 h 10000"/>
                <a:gd name="connsiteX34" fmla="*/ 331 w 10000"/>
                <a:gd name="connsiteY34" fmla="*/ 587 h 10000"/>
                <a:gd name="connsiteX35" fmla="*/ 0 w 10000"/>
                <a:gd name="connsiteY35" fmla="*/ 920 h 10000"/>
                <a:gd name="connsiteX36" fmla="*/ 248 w 10000"/>
                <a:gd name="connsiteY36" fmla="*/ 1691 h 10000"/>
                <a:gd name="connsiteX37" fmla="*/ 289 w 10000"/>
                <a:gd name="connsiteY37" fmla="*/ 2022 h 10000"/>
                <a:gd name="connsiteX38" fmla="*/ 537 w 10000"/>
                <a:gd name="connsiteY38" fmla="*/ 2206 h 10000"/>
                <a:gd name="connsiteX39" fmla="*/ 992 w 10000"/>
                <a:gd name="connsiteY39" fmla="*/ 2463 h 10000"/>
                <a:gd name="connsiteX40" fmla="*/ 1322 w 10000"/>
                <a:gd name="connsiteY40" fmla="*/ 2685 h 10000"/>
                <a:gd name="connsiteX41" fmla="*/ 868 w 10000"/>
                <a:gd name="connsiteY41" fmla="*/ 2940 h 10000"/>
                <a:gd name="connsiteX42" fmla="*/ 992 w 10000"/>
                <a:gd name="connsiteY42" fmla="*/ 3346 h 10000"/>
                <a:gd name="connsiteX43" fmla="*/ 1198 w 10000"/>
                <a:gd name="connsiteY43" fmla="*/ 3676 h 10000"/>
                <a:gd name="connsiteX44" fmla="*/ 1364 w 10000"/>
                <a:gd name="connsiteY44" fmla="*/ 5184 h 10000"/>
                <a:gd name="connsiteX45" fmla="*/ 2107 w 10000"/>
                <a:gd name="connsiteY45" fmla="*/ 5588 h 10000"/>
                <a:gd name="connsiteX46" fmla="*/ 1488 w 10000"/>
                <a:gd name="connsiteY46" fmla="*/ 5993 h 10000"/>
                <a:gd name="connsiteX47" fmla="*/ 2025 w 10000"/>
                <a:gd name="connsiteY47" fmla="*/ 6471 h 10000"/>
                <a:gd name="connsiteX48" fmla="*/ 1612 w 10000"/>
                <a:gd name="connsiteY48" fmla="*/ 7132 h 10000"/>
                <a:gd name="connsiteX49" fmla="*/ 2231 w 10000"/>
                <a:gd name="connsiteY49" fmla="*/ 7427 h 10000"/>
                <a:gd name="connsiteX50" fmla="*/ 2397 w 10000"/>
                <a:gd name="connsiteY50" fmla="*/ 7647 h 10000"/>
                <a:gd name="connsiteX51" fmla="*/ 3140 w 10000"/>
                <a:gd name="connsiteY51" fmla="*/ 8089 h 10000"/>
                <a:gd name="connsiteX52" fmla="*/ 3678 w 10000"/>
                <a:gd name="connsiteY52" fmla="*/ 8124 h 10000"/>
                <a:gd name="connsiteX0" fmla="*/ 3678 w 10000"/>
                <a:gd name="connsiteY0" fmla="*/ 8124 h 10000"/>
                <a:gd name="connsiteX1" fmla="*/ 4732 w 10000"/>
                <a:gd name="connsiteY1" fmla="*/ 8255 h 10000"/>
                <a:gd name="connsiteX2" fmla="*/ 4608 w 10000"/>
                <a:gd name="connsiteY2" fmla="*/ 7886 h 10000"/>
                <a:gd name="connsiteX3" fmla="*/ 5413 w 10000"/>
                <a:gd name="connsiteY3" fmla="*/ 8071 h 10000"/>
                <a:gd name="connsiteX4" fmla="*/ 5765 w 10000"/>
                <a:gd name="connsiteY4" fmla="*/ 7960 h 10000"/>
                <a:gd name="connsiteX5" fmla="*/ 6364 w 10000"/>
                <a:gd name="connsiteY5" fmla="*/ 8714 h 10000"/>
                <a:gd name="connsiteX6" fmla="*/ 7211 w 10000"/>
                <a:gd name="connsiteY6" fmla="*/ 9100 h 10000"/>
                <a:gd name="connsiteX7" fmla="*/ 7355 w 10000"/>
                <a:gd name="connsiteY7" fmla="*/ 9891 h 10000"/>
                <a:gd name="connsiteX8" fmla="*/ 9132 w 10000"/>
                <a:gd name="connsiteY8" fmla="*/ 9449 h 10000"/>
                <a:gd name="connsiteX9" fmla="*/ 9256 w 10000"/>
                <a:gd name="connsiteY9" fmla="*/ 8383 h 10000"/>
                <a:gd name="connsiteX10" fmla="*/ 9256 w 10000"/>
                <a:gd name="connsiteY10" fmla="*/ 7942 h 10000"/>
                <a:gd name="connsiteX11" fmla="*/ 9628 w 10000"/>
                <a:gd name="connsiteY11" fmla="*/ 7684 h 10000"/>
                <a:gd name="connsiteX12" fmla="*/ 9917 w 10000"/>
                <a:gd name="connsiteY12" fmla="*/ 7390 h 10000"/>
                <a:gd name="connsiteX13" fmla="*/ 10000 w 10000"/>
                <a:gd name="connsiteY13" fmla="*/ 7170 h 10000"/>
                <a:gd name="connsiteX14" fmla="*/ 9752 w 10000"/>
                <a:gd name="connsiteY14" fmla="*/ 6802 h 10000"/>
                <a:gd name="connsiteX15" fmla="*/ 8884 w 10000"/>
                <a:gd name="connsiteY15" fmla="*/ 6471 h 10000"/>
                <a:gd name="connsiteX16" fmla="*/ 8636 w 10000"/>
                <a:gd name="connsiteY16" fmla="*/ 5845 h 10000"/>
                <a:gd name="connsiteX17" fmla="*/ 8636 w 10000"/>
                <a:gd name="connsiteY17" fmla="*/ 4927 h 10000"/>
                <a:gd name="connsiteX18" fmla="*/ 8678 w 10000"/>
                <a:gd name="connsiteY18" fmla="*/ 4044 h 10000"/>
                <a:gd name="connsiteX19" fmla="*/ 8223 w 10000"/>
                <a:gd name="connsiteY19" fmla="*/ 3198 h 10000"/>
                <a:gd name="connsiteX20" fmla="*/ 7645 w 10000"/>
                <a:gd name="connsiteY20" fmla="*/ 3420 h 10000"/>
                <a:gd name="connsiteX21" fmla="*/ 6488 w 10000"/>
                <a:gd name="connsiteY21" fmla="*/ 3383 h 10000"/>
                <a:gd name="connsiteX22" fmla="*/ 5744 w 10000"/>
                <a:gd name="connsiteY22" fmla="*/ 3308 h 10000"/>
                <a:gd name="connsiteX23" fmla="*/ 5702 w 10000"/>
                <a:gd name="connsiteY23" fmla="*/ 2279 h 10000"/>
                <a:gd name="connsiteX24" fmla="*/ 4793 w 10000"/>
                <a:gd name="connsiteY24" fmla="*/ 1986 h 10000"/>
                <a:gd name="connsiteX25" fmla="*/ 4256 w 10000"/>
                <a:gd name="connsiteY25" fmla="*/ 1397 h 10000"/>
                <a:gd name="connsiteX26" fmla="*/ 3760 w 10000"/>
                <a:gd name="connsiteY26" fmla="*/ 883 h 10000"/>
                <a:gd name="connsiteX27" fmla="*/ 3430 w 10000"/>
                <a:gd name="connsiteY27" fmla="*/ 552 h 10000"/>
                <a:gd name="connsiteX28" fmla="*/ 3017 w 10000"/>
                <a:gd name="connsiteY28" fmla="*/ 441 h 10000"/>
                <a:gd name="connsiteX29" fmla="*/ 2603 w 10000"/>
                <a:gd name="connsiteY29" fmla="*/ 37 h 10000"/>
                <a:gd name="connsiteX30" fmla="*/ 1322 w 10000"/>
                <a:gd name="connsiteY30" fmla="*/ 0 h 10000"/>
                <a:gd name="connsiteX31" fmla="*/ 744 w 10000"/>
                <a:gd name="connsiteY31" fmla="*/ 516 h 10000"/>
                <a:gd name="connsiteX32" fmla="*/ 496 w 10000"/>
                <a:gd name="connsiteY32" fmla="*/ 478 h 10000"/>
                <a:gd name="connsiteX33" fmla="*/ 331 w 10000"/>
                <a:gd name="connsiteY33" fmla="*/ 587 h 10000"/>
                <a:gd name="connsiteX34" fmla="*/ 0 w 10000"/>
                <a:gd name="connsiteY34" fmla="*/ 920 h 10000"/>
                <a:gd name="connsiteX35" fmla="*/ 248 w 10000"/>
                <a:gd name="connsiteY35" fmla="*/ 1691 h 10000"/>
                <a:gd name="connsiteX36" fmla="*/ 289 w 10000"/>
                <a:gd name="connsiteY36" fmla="*/ 2022 h 10000"/>
                <a:gd name="connsiteX37" fmla="*/ 537 w 10000"/>
                <a:gd name="connsiteY37" fmla="*/ 2206 h 10000"/>
                <a:gd name="connsiteX38" fmla="*/ 992 w 10000"/>
                <a:gd name="connsiteY38" fmla="*/ 2463 h 10000"/>
                <a:gd name="connsiteX39" fmla="*/ 1322 w 10000"/>
                <a:gd name="connsiteY39" fmla="*/ 2685 h 10000"/>
                <a:gd name="connsiteX40" fmla="*/ 868 w 10000"/>
                <a:gd name="connsiteY40" fmla="*/ 2940 h 10000"/>
                <a:gd name="connsiteX41" fmla="*/ 992 w 10000"/>
                <a:gd name="connsiteY41" fmla="*/ 3346 h 10000"/>
                <a:gd name="connsiteX42" fmla="*/ 1198 w 10000"/>
                <a:gd name="connsiteY42" fmla="*/ 3676 h 10000"/>
                <a:gd name="connsiteX43" fmla="*/ 1364 w 10000"/>
                <a:gd name="connsiteY43" fmla="*/ 5184 h 10000"/>
                <a:gd name="connsiteX44" fmla="*/ 2107 w 10000"/>
                <a:gd name="connsiteY44" fmla="*/ 5588 h 10000"/>
                <a:gd name="connsiteX45" fmla="*/ 1488 w 10000"/>
                <a:gd name="connsiteY45" fmla="*/ 5993 h 10000"/>
                <a:gd name="connsiteX46" fmla="*/ 2025 w 10000"/>
                <a:gd name="connsiteY46" fmla="*/ 6471 h 10000"/>
                <a:gd name="connsiteX47" fmla="*/ 1612 w 10000"/>
                <a:gd name="connsiteY47" fmla="*/ 7132 h 10000"/>
                <a:gd name="connsiteX48" fmla="*/ 2231 w 10000"/>
                <a:gd name="connsiteY48" fmla="*/ 7427 h 10000"/>
                <a:gd name="connsiteX49" fmla="*/ 2397 w 10000"/>
                <a:gd name="connsiteY49" fmla="*/ 7647 h 10000"/>
                <a:gd name="connsiteX50" fmla="*/ 3140 w 10000"/>
                <a:gd name="connsiteY50" fmla="*/ 8089 h 10000"/>
                <a:gd name="connsiteX51" fmla="*/ 3678 w 10000"/>
                <a:gd name="connsiteY51" fmla="*/ 8124 h 10000"/>
                <a:gd name="connsiteX0" fmla="*/ 3678 w 10000"/>
                <a:gd name="connsiteY0" fmla="*/ 8124 h 10000"/>
                <a:gd name="connsiteX1" fmla="*/ 4732 w 10000"/>
                <a:gd name="connsiteY1" fmla="*/ 8255 h 10000"/>
                <a:gd name="connsiteX2" fmla="*/ 5413 w 10000"/>
                <a:gd name="connsiteY2" fmla="*/ 8071 h 10000"/>
                <a:gd name="connsiteX3" fmla="*/ 5765 w 10000"/>
                <a:gd name="connsiteY3" fmla="*/ 7960 h 10000"/>
                <a:gd name="connsiteX4" fmla="*/ 6364 w 10000"/>
                <a:gd name="connsiteY4" fmla="*/ 8714 h 10000"/>
                <a:gd name="connsiteX5" fmla="*/ 7211 w 10000"/>
                <a:gd name="connsiteY5" fmla="*/ 9100 h 10000"/>
                <a:gd name="connsiteX6" fmla="*/ 7355 w 10000"/>
                <a:gd name="connsiteY6" fmla="*/ 9891 h 10000"/>
                <a:gd name="connsiteX7" fmla="*/ 9132 w 10000"/>
                <a:gd name="connsiteY7" fmla="*/ 9449 h 10000"/>
                <a:gd name="connsiteX8" fmla="*/ 9256 w 10000"/>
                <a:gd name="connsiteY8" fmla="*/ 8383 h 10000"/>
                <a:gd name="connsiteX9" fmla="*/ 9256 w 10000"/>
                <a:gd name="connsiteY9" fmla="*/ 7942 h 10000"/>
                <a:gd name="connsiteX10" fmla="*/ 9628 w 10000"/>
                <a:gd name="connsiteY10" fmla="*/ 7684 h 10000"/>
                <a:gd name="connsiteX11" fmla="*/ 9917 w 10000"/>
                <a:gd name="connsiteY11" fmla="*/ 7390 h 10000"/>
                <a:gd name="connsiteX12" fmla="*/ 10000 w 10000"/>
                <a:gd name="connsiteY12" fmla="*/ 7170 h 10000"/>
                <a:gd name="connsiteX13" fmla="*/ 9752 w 10000"/>
                <a:gd name="connsiteY13" fmla="*/ 6802 h 10000"/>
                <a:gd name="connsiteX14" fmla="*/ 8884 w 10000"/>
                <a:gd name="connsiteY14" fmla="*/ 6471 h 10000"/>
                <a:gd name="connsiteX15" fmla="*/ 8636 w 10000"/>
                <a:gd name="connsiteY15" fmla="*/ 5845 h 10000"/>
                <a:gd name="connsiteX16" fmla="*/ 8636 w 10000"/>
                <a:gd name="connsiteY16" fmla="*/ 4927 h 10000"/>
                <a:gd name="connsiteX17" fmla="*/ 8678 w 10000"/>
                <a:gd name="connsiteY17" fmla="*/ 4044 h 10000"/>
                <a:gd name="connsiteX18" fmla="*/ 8223 w 10000"/>
                <a:gd name="connsiteY18" fmla="*/ 3198 h 10000"/>
                <a:gd name="connsiteX19" fmla="*/ 7645 w 10000"/>
                <a:gd name="connsiteY19" fmla="*/ 3420 h 10000"/>
                <a:gd name="connsiteX20" fmla="*/ 6488 w 10000"/>
                <a:gd name="connsiteY20" fmla="*/ 3383 h 10000"/>
                <a:gd name="connsiteX21" fmla="*/ 5744 w 10000"/>
                <a:gd name="connsiteY21" fmla="*/ 3308 h 10000"/>
                <a:gd name="connsiteX22" fmla="*/ 5702 w 10000"/>
                <a:gd name="connsiteY22" fmla="*/ 2279 h 10000"/>
                <a:gd name="connsiteX23" fmla="*/ 4793 w 10000"/>
                <a:gd name="connsiteY23" fmla="*/ 1986 h 10000"/>
                <a:gd name="connsiteX24" fmla="*/ 4256 w 10000"/>
                <a:gd name="connsiteY24" fmla="*/ 1397 h 10000"/>
                <a:gd name="connsiteX25" fmla="*/ 3760 w 10000"/>
                <a:gd name="connsiteY25" fmla="*/ 883 h 10000"/>
                <a:gd name="connsiteX26" fmla="*/ 3430 w 10000"/>
                <a:gd name="connsiteY26" fmla="*/ 552 h 10000"/>
                <a:gd name="connsiteX27" fmla="*/ 3017 w 10000"/>
                <a:gd name="connsiteY27" fmla="*/ 441 h 10000"/>
                <a:gd name="connsiteX28" fmla="*/ 2603 w 10000"/>
                <a:gd name="connsiteY28" fmla="*/ 37 h 10000"/>
                <a:gd name="connsiteX29" fmla="*/ 1322 w 10000"/>
                <a:gd name="connsiteY29" fmla="*/ 0 h 10000"/>
                <a:gd name="connsiteX30" fmla="*/ 744 w 10000"/>
                <a:gd name="connsiteY30" fmla="*/ 516 h 10000"/>
                <a:gd name="connsiteX31" fmla="*/ 496 w 10000"/>
                <a:gd name="connsiteY31" fmla="*/ 478 h 10000"/>
                <a:gd name="connsiteX32" fmla="*/ 331 w 10000"/>
                <a:gd name="connsiteY32" fmla="*/ 587 h 10000"/>
                <a:gd name="connsiteX33" fmla="*/ 0 w 10000"/>
                <a:gd name="connsiteY33" fmla="*/ 920 h 10000"/>
                <a:gd name="connsiteX34" fmla="*/ 248 w 10000"/>
                <a:gd name="connsiteY34" fmla="*/ 1691 h 10000"/>
                <a:gd name="connsiteX35" fmla="*/ 289 w 10000"/>
                <a:gd name="connsiteY35" fmla="*/ 2022 h 10000"/>
                <a:gd name="connsiteX36" fmla="*/ 537 w 10000"/>
                <a:gd name="connsiteY36" fmla="*/ 2206 h 10000"/>
                <a:gd name="connsiteX37" fmla="*/ 992 w 10000"/>
                <a:gd name="connsiteY37" fmla="*/ 2463 h 10000"/>
                <a:gd name="connsiteX38" fmla="*/ 1322 w 10000"/>
                <a:gd name="connsiteY38" fmla="*/ 2685 h 10000"/>
                <a:gd name="connsiteX39" fmla="*/ 868 w 10000"/>
                <a:gd name="connsiteY39" fmla="*/ 2940 h 10000"/>
                <a:gd name="connsiteX40" fmla="*/ 992 w 10000"/>
                <a:gd name="connsiteY40" fmla="*/ 3346 h 10000"/>
                <a:gd name="connsiteX41" fmla="*/ 1198 w 10000"/>
                <a:gd name="connsiteY41" fmla="*/ 3676 h 10000"/>
                <a:gd name="connsiteX42" fmla="*/ 1364 w 10000"/>
                <a:gd name="connsiteY42" fmla="*/ 5184 h 10000"/>
                <a:gd name="connsiteX43" fmla="*/ 2107 w 10000"/>
                <a:gd name="connsiteY43" fmla="*/ 5588 h 10000"/>
                <a:gd name="connsiteX44" fmla="*/ 1488 w 10000"/>
                <a:gd name="connsiteY44" fmla="*/ 5993 h 10000"/>
                <a:gd name="connsiteX45" fmla="*/ 2025 w 10000"/>
                <a:gd name="connsiteY45" fmla="*/ 6471 h 10000"/>
                <a:gd name="connsiteX46" fmla="*/ 1612 w 10000"/>
                <a:gd name="connsiteY46" fmla="*/ 7132 h 10000"/>
                <a:gd name="connsiteX47" fmla="*/ 2231 w 10000"/>
                <a:gd name="connsiteY47" fmla="*/ 7427 h 10000"/>
                <a:gd name="connsiteX48" fmla="*/ 2397 w 10000"/>
                <a:gd name="connsiteY48" fmla="*/ 7647 h 10000"/>
                <a:gd name="connsiteX49" fmla="*/ 3140 w 10000"/>
                <a:gd name="connsiteY49" fmla="*/ 8089 h 10000"/>
                <a:gd name="connsiteX50" fmla="*/ 3678 w 10000"/>
                <a:gd name="connsiteY50" fmla="*/ 8124 h 10000"/>
                <a:gd name="connsiteX0" fmla="*/ 3678 w 10000"/>
                <a:gd name="connsiteY0" fmla="*/ 8124 h 10000"/>
                <a:gd name="connsiteX1" fmla="*/ 4608 w 10000"/>
                <a:gd name="connsiteY1" fmla="*/ 8586 h 10000"/>
                <a:gd name="connsiteX2" fmla="*/ 5413 w 10000"/>
                <a:gd name="connsiteY2" fmla="*/ 8071 h 10000"/>
                <a:gd name="connsiteX3" fmla="*/ 5765 w 10000"/>
                <a:gd name="connsiteY3" fmla="*/ 7960 h 10000"/>
                <a:gd name="connsiteX4" fmla="*/ 6364 w 10000"/>
                <a:gd name="connsiteY4" fmla="*/ 8714 h 10000"/>
                <a:gd name="connsiteX5" fmla="*/ 7211 w 10000"/>
                <a:gd name="connsiteY5" fmla="*/ 9100 h 10000"/>
                <a:gd name="connsiteX6" fmla="*/ 7355 w 10000"/>
                <a:gd name="connsiteY6" fmla="*/ 9891 h 10000"/>
                <a:gd name="connsiteX7" fmla="*/ 9132 w 10000"/>
                <a:gd name="connsiteY7" fmla="*/ 9449 h 10000"/>
                <a:gd name="connsiteX8" fmla="*/ 9256 w 10000"/>
                <a:gd name="connsiteY8" fmla="*/ 8383 h 10000"/>
                <a:gd name="connsiteX9" fmla="*/ 9256 w 10000"/>
                <a:gd name="connsiteY9" fmla="*/ 7942 h 10000"/>
                <a:gd name="connsiteX10" fmla="*/ 9628 w 10000"/>
                <a:gd name="connsiteY10" fmla="*/ 7684 h 10000"/>
                <a:gd name="connsiteX11" fmla="*/ 9917 w 10000"/>
                <a:gd name="connsiteY11" fmla="*/ 7390 h 10000"/>
                <a:gd name="connsiteX12" fmla="*/ 10000 w 10000"/>
                <a:gd name="connsiteY12" fmla="*/ 7170 h 10000"/>
                <a:gd name="connsiteX13" fmla="*/ 9752 w 10000"/>
                <a:gd name="connsiteY13" fmla="*/ 6802 h 10000"/>
                <a:gd name="connsiteX14" fmla="*/ 8884 w 10000"/>
                <a:gd name="connsiteY14" fmla="*/ 6471 h 10000"/>
                <a:gd name="connsiteX15" fmla="*/ 8636 w 10000"/>
                <a:gd name="connsiteY15" fmla="*/ 5845 h 10000"/>
                <a:gd name="connsiteX16" fmla="*/ 8636 w 10000"/>
                <a:gd name="connsiteY16" fmla="*/ 4927 h 10000"/>
                <a:gd name="connsiteX17" fmla="*/ 8678 w 10000"/>
                <a:gd name="connsiteY17" fmla="*/ 4044 h 10000"/>
                <a:gd name="connsiteX18" fmla="*/ 8223 w 10000"/>
                <a:gd name="connsiteY18" fmla="*/ 3198 h 10000"/>
                <a:gd name="connsiteX19" fmla="*/ 7645 w 10000"/>
                <a:gd name="connsiteY19" fmla="*/ 3420 h 10000"/>
                <a:gd name="connsiteX20" fmla="*/ 6488 w 10000"/>
                <a:gd name="connsiteY20" fmla="*/ 3383 h 10000"/>
                <a:gd name="connsiteX21" fmla="*/ 5744 w 10000"/>
                <a:gd name="connsiteY21" fmla="*/ 3308 h 10000"/>
                <a:gd name="connsiteX22" fmla="*/ 5702 w 10000"/>
                <a:gd name="connsiteY22" fmla="*/ 2279 h 10000"/>
                <a:gd name="connsiteX23" fmla="*/ 4793 w 10000"/>
                <a:gd name="connsiteY23" fmla="*/ 1986 h 10000"/>
                <a:gd name="connsiteX24" fmla="*/ 4256 w 10000"/>
                <a:gd name="connsiteY24" fmla="*/ 1397 h 10000"/>
                <a:gd name="connsiteX25" fmla="*/ 3760 w 10000"/>
                <a:gd name="connsiteY25" fmla="*/ 883 h 10000"/>
                <a:gd name="connsiteX26" fmla="*/ 3430 w 10000"/>
                <a:gd name="connsiteY26" fmla="*/ 552 h 10000"/>
                <a:gd name="connsiteX27" fmla="*/ 3017 w 10000"/>
                <a:gd name="connsiteY27" fmla="*/ 441 h 10000"/>
                <a:gd name="connsiteX28" fmla="*/ 2603 w 10000"/>
                <a:gd name="connsiteY28" fmla="*/ 37 h 10000"/>
                <a:gd name="connsiteX29" fmla="*/ 1322 w 10000"/>
                <a:gd name="connsiteY29" fmla="*/ 0 h 10000"/>
                <a:gd name="connsiteX30" fmla="*/ 744 w 10000"/>
                <a:gd name="connsiteY30" fmla="*/ 516 h 10000"/>
                <a:gd name="connsiteX31" fmla="*/ 496 w 10000"/>
                <a:gd name="connsiteY31" fmla="*/ 478 h 10000"/>
                <a:gd name="connsiteX32" fmla="*/ 331 w 10000"/>
                <a:gd name="connsiteY32" fmla="*/ 587 h 10000"/>
                <a:gd name="connsiteX33" fmla="*/ 0 w 10000"/>
                <a:gd name="connsiteY33" fmla="*/ 920 h 10000"/>
                <a:gd name="connsiteX34" fmla="*/ 248 w 10000"/>
                <a:gd name="connsiteY34" fmla="*/ 1691 h 10000"/>
                <a:gd name="connsiteX35" fmla="*/ 289 w 10000"/>
                <a:gd name="connsiteY35" fmla="*/ 2022 h 10000"/>
                <a:gd name="connsiteX36" fmla="*/ 537 w 10000"/>
                <a:gd name="connsiteY36" fmla="*/ 2206 h 10000"/>
                <a:gd name="connsiteX37" fmla="*/ 992 w 10000"/>
                <a:gd name="connsiteY37" fmla="*/ 2463 h 10000"/>
                <a:gd name="connsiteX38" fmla="*/ 1322 w 10000"/>
                <a:gd name="connsiteY38" fmla="*/ 2685 h 10000"/>
                <a:gd name="connsiteX39" fmla="*/ 868 w 10000"/>
                <a:gd name="connsiteY39" fmla="*/ 2940 h 10000"/>
                <a:gd name="connsiteX40" fmla="*/ 992 w 10000"/>
                <a:gd name="connsiteY40" fmla="*/ 3346 h 10000"/>
                <a:gd name="connsiteX41" fmla="*/ 1198 w 10000"/>
                <a:gd name="connsiteY41" fmla="*/ 3676 h 10000"/>
                <a:gd name="connsiteX42" fmla="*/ 1364 w 10000"/>
                <a:gd name="connsiteY42" fmla="*/ 5184 h 10000"/>
                <a:gd name="connsiteX43" fmla="*/ 2107 w 10000"/>
                <a:gd name="connsiteY43" fmla="*/ 5588 h 10000"/>
                <a:gd name="connsiteX44" fmla="*/ 1488 w 10000"/>
                <a:gd name="connsiteY44" fmla="*/ 5993 h 10000"/>
                <a:gd name="connsiteX45" fmla="*/ 2025 w 10000"/>
                <a:gd name="connsiteY45" fmla="*/ 6471 h 10000"/>
                <a:gd name="connsiteX46" fmla="*/ 1612 w 10000"/>
                <a:gd name="connsiteY46" fmla="*/ 7132 h 10000"/>
                <a:gd name="connsiteX47" fmla="*/ 2231 w 10000"/>
                <a:gd name="connsiteY47" fmla="*/ 7427 h 10000"/>
                <a:gd name="connsiteX48" fmla="*/ 2397 w 10000"/>
                <a:gd name="connsiteY48" fmla="*/ 7647 h 10000"/>
                <a:gd name="connsiteX49" fmla="*/ 3140 w 10000"/>
                <a:gd name="connsiteY49" fmla="*/ 8089 h 10000"/>
                <a:gd name="connsiteX50" fmla="*/ 3678 w 10000"/>
                <a:gd name="connsiteY50" fmla="*/ 8124 h 10000"/>
                <a:gd name="connsiteX0" fmla="*/ 3678 w 10000"/>
                <a:gd name="connsiteY0" fmla="*/ 8124 h 10000"/>
                <a:gd name="connsiteX1" fmla="*/ 4608 w 10000"/>
                <a:gd name="connsiteY1" fmla="*/ 8586 h 10000"/>
                <a:gd name="connsiteX2" fmla="*/ 5413 w 10000"/>
                <a:gd name="connsiteY2" fmla="*/ 8071 h 10000"/>
                <a:gd name="connsiteX3" fmla="*/ 5765 w 10000"/>
                <a:gd name="connsiteY3" fmla="*/ 7960 h 10000"/>
                <a:gd name="connsiteX4" fmla="*/ 6364 w 10000"/>
                <a:gd name="connsiteY4" fmla="*/ 8714 h 10000"/>
                <a:gd name="connsiteX5" fmla="*/ 7211 w 10000"/>
                <a:gd name="connsiteY5" fmla="*/ 9100 h 10000"/>
                <a:gd name="connsiteX6" fmla="*/ 7355 w 10000"/>
                <a:gd name="connsiteY6" fmla="*/ 9891 h 10000"/>
                <a:gd name="connsiteX7" fmla="*/ 9132 w 10000"/>
                <a:gd name="connsiteY7" fmla="*/ 9449 h 10000"/>
                <a:gd name="connsiteX8" fmla="*/ 9256 w 10000"/>
                <a:gd name="connsiteY8" fmla="*/ 8383 h 10000"/>
                <a:gd name="connsiteX9" fmla="*/ 9256 w 10000"/>
                <a:gd name="connsiteY9" fmla="*/ 7942 h 10000"/>
                <a:gd name="connsiteX10" fmla="*/ 9628 w 10000"/>
                <a:gd name="connsiteY10" fmla="*/ 7684 h 10000"/>
                <a:gd name="connsiteX11" fmla="*/ 9917 w 10000"/>
                <a:gd name="connsiteY11" fmla="*/ 7390 h 10000"/>
                <a:gd name="connsiteX12" fmla="*/ 10000 w 10000"/>
                <a:gd name="connsiteY12" fmla="*/ 7170 h 10000"/>
                <a:gd name="connsiteX13" fmla="*/ 9752 w 10000"/>
                <a:gd name="connsiteY13" fmla="*/ 6802 h 10000"/>
                <a:gd name="connsiteX14" fmla="*/ 8884 w 10000"/>
                <a:gd name="connsiteY14" fmla="*/ 6471 h 10000"/>
                <a:gd name="connsiteX15" fmla="*/ 8636 w 10000"/>
                <a:gd name="connsiteY15" fmla="*/ 5845 h 10000"/>
                <a:gd name="connsiteX16" fmla="*/ 8636 w 10000"/>
                <a:gd name="connsiteY16" fmla="*/ 4927 h 10000"/>
                <a:gd name="connsiteX17" fmla="*/ 8678 w 10000"/>
                <a:gd name="connsiteY17" fmla="*/ 4044 h 10000"/>
                <a:gd name="connsiteX18" fmla="*/ 8223 w 10000"/>
                <a:gd name="connsiteY18" fmla="*/ 3198 h 10000"/>
                <a:gd name="connsiteX19" fmla="*/ 7645 w 10000"/>
                <a:gd name="connsiteY19" fmla="*/ 3420 h 10000"/>
                <a:gd name="connsiteX20" fmla="*/ 6488 w 10000"/>
                <a:gd name="connsiteY20" fmla="*/ 3383 h 10000"/>
                <a:gd name="connsiteX21" fmla="*/ 5744 w 10000"/>
                <a:gd name="connsiteY21" fmla="*/ 3308 h 10000"/>
                <a:gd name="connsiteX22" fmla="*/ 5702 w 10000"/>
                <a:gd name="connsiteY22" fmla="*/ 2279 h 10000"/>
                <a:gd name="connsiteX23" fmla="*/ 4793 w 10000"/>
                <a:gd name="connsiteY23" fmla="*/ 1986 h 10000"/>
                <a:gd name="connsiteX24" fmla="*/ 4256 w 10000"/>
                <a:gd name="connsiteY24" fmla="*/ 1397 h 10000"/>
                <a:gd name="connsiteX25" fmla="*/ 3760 w 10000"/>
                <a:gd name="connsiteY25" fmla="*/ 883 h 10000"/>
                <a:gd name="connsiteX26" fmla="*/ 3430 w 10000"/>
                <a:gd name="connsiteY26" fmla="*/ 552 h 10000"/>
                <a:gd name="connsiteX27" fmla="*/ 3017 w 10000"/>
                <a:gd name="connsiteY27" fmla="*/ 441 h 10000"/>
                <a:gd name="connsiteX28" fmla="*/ 2603 w 10000"/>
                <a:gd name="connsiteY28" fmla="*/ 37 h 10000"/>
                <a:gd name="connsiteX29" fmla="*/ 1322 w 10000"/>
                <a:gd name="connsiteY29" fmla="*/ 0 h 10000"/>
                <a:gd name="connsiteX30" fmla="*/ 744 w 10000"/>
                <a:gd name="connsiteY30" fmla="*/ 516 h 10000"/>
                <a:gd name="connsiteX31" fmla="*/ 496 w 10000"/>
                <a:gd name="connsiteY31" fmla="*/ 478 h 10000"/>
                <a:gd name="connsiteX32" fmla="*/ 331 w 10000"/>
                <a:gd name="connsiteY32" fmla="*/ 587 h 10000"/>
                <a:gd name="connsiteX33" fmla="*/ 0 w 10000"/>
                <a:gd name="connsiteY33" fmla="*/ 920 h 10000"/>
                <a:gd name="connsiteX34" fmla="*/ 248 w 10000"/>
                <a:gd name="connsiteY34" fmla="*/ 1691 h 10000"/>
                <a:gd name="connsiteX35" fmla="*/ 289 w 10000"/>
                <a:gd name="connsiteY35" fmla="*/ 2022 h 10000"/>
                <a:gd name="connsiteX36" fmla="*/ 537 w 10000"/>
                <a:gd name="connsiteY36" fmla="*/ 2206 h 10000"/>
                <a:gd name="connsiteX37" fmla="*/ 992 w 10000"/>
                <a:gd name="connsiteY37" fmla="*/ 2463 h 10000"/>
                <a:gd name="connsiteX38" fmla="*/ 1322 w 10000"/>
                <a:gd name="connsiteY38" fmla="*/ 2685 h 10000"/>
                <a:gd name="connsiteX39" fmla="*/ 868 w 10000"/>
                <a:gd name="connsiteY39" fmla="*/ 2940 h 10000"/>
                <a:gd name="connsiteX40" fmla="*/ 992 w 10000"/>
                <a:gd name="connsiteY40" fmla="*/ 3346 h 10000"/>
                <a:gd name="connsiteX41" fmla="*/ 1198 w 10000"/>
                <a:gd name="connsiteY41" fmla="*/ 3676 h 10000"/>
                <a:gd name="connsiteX42" fmla="*/ 1364 w 10000"/>
                <a:gd name="connsiteY42" fmla="*/ 5184 h 10000"/>
                <a:gd name="connsiteX43" fmla="*/ 2107 w 10000"/>
                <a:gd name="connsiteY43" fmla="*/ 5588 h 10000"/>
                <a:gd name="connsiteX44" fmla="*/ 1488 w 10000"/>
                <a:gd name="connsiteY44" fmla="*/ 5993 h 10000"/>
                <a:gd name="connsiteX45" fmla="*/ 2025 w 10000"/>
                <a:gd name="connsiteY45" fmla="*/ 6471 h 10000"/>
                <a:gd name="connsiteX46" fmla="*/ 1612 w 10000"/>
                <a:gd name="connsiteY46" fmla="*/ 7132 h 10000"/>
                <a:gd name="connsiteX47" fmla="*/ 2231 w 10000"/>
                <a:gd name="connsiteY47" fmla="*/ 7427 h 10000"/>
                <a:gd name="connsiteX48" fmla="*/ 2397 w 10000"/>
                <a:gd name="connsiteY48" fmla="*/ 7647 h 10000"/>
                <a:gd name="connsiteX49" fmla="*/ 3140 w 10000"/>
                <a:gd name="connsiteY49" fmla="*/ 8089 h 10000"/>
                <a:gd name="connsiteX50" fmla="*/ 3678 w 10000"/>
                <a:gd name="connsiteY50" fmla="*/ 8124 h 10000"/>
                <a:gd name="connsiteX0" fmla="*/ 3678 w 10000"/>
                <a:gd name="connsiteY0" fmla="*/ 8124 h 10000"/>
                <a:gd name="connsiteX1" fmla="*/ 4608 w 10000"/>
                <a:gd name="connsiteY1" fmla="*/ 8586 h 10000"/>
                <a:gd name="connsiteX2" fmla="*/ 5413 w 10000"/>
                <a:gd name="connsiteY2" fmla="*/ 8071 h 10000"/>
                <a:gd name="connsiteX3" fmla="*/ 5765 w 10000"/>
                <a:gd name="connsiteY3" fmla="*/ 7960 h 10000"/>
                <a:gd name="connsiteX4" fmla="*/ 6364 w 10000"/>
                <a:gd name="connsiteY4" fmla="*/ 8714 h 10000"/>
                <a:gd name="connsiteX5" fmla="*/ 7211 w 10000"/>
                <a:gd name="connsiteY5" fmla="*/ 9100 h 10000"/>
                <a:gd name="connsiteX6" fmla="*/ 7355 w 10000"/>
                <a:gd name="connsiteY6" fmla="*/ 9891 h 10000"/>
                <a:gd name="connsiteX7" fmla="*/ 9132 w 10000"/>
                <a:gd name="connsiteY7" fmla="*/ 9449 h 10000"/>
                <a:gd name="connsiteX8" fmla="*/ 9256 w 10000"/>
                <a:gd name="connsiteY8" fmla="*/ 8383 h 10000"/>
                <a:gd name="connsiteX9" fmla="*/ 9256 w 10000"/>
                <a:gd name="connsiteY9" fmla="*/ 7942 h 10000"/>
                <a:gd name="connsiteX10" fmla="*/ 9628 w 10000"/>
                <a:gd name="connsiteY10" fmla="*/ 7684 h 10000"/>
                <a:gd name="connsiteX11" fmla="*/ 9917 w 10000"/>
                <a:gd name="connsiteY11" fmla="*/ 7390 h 10000"/>
                <a:gd name="connsiteX12" fmla="*/ 10000 w 10000"/>
                <a:gd name="connsiteY12" fmla="*/ 7170 h 10000"/>
                <a:gd name="connsiteX13" fmla="*/ 9752 w 10000"/>
                <a:gd name="connsiteY13" fmla="*/ 6802 h 10000"/>
                <a:gd name="connsiteX14" fmla="*/ 8884 w 10000"/>
                <a:gd name="connsiteY14" fmla="*/ 6471 h 10000"/>
                <a:gd name="connsiteX15" fmla="*/ 8636 w 10000"/>
                <a:gd name="connsiteY15" fmla="*/ 5845 h 10000"/>
                <a:gd name="connsiteX16" fmla="*/ 8636 w 10000"/>
                <a:gd name="connsiteY16" fmla="*/ 4927 h 10000"/>
                <a:gd name="connsiteX17" fmla="*/ 8678 w 10000"/>
                <a:gd name="connsiteY17" fmla="*/ 4044 h 10000"/>
                <a:gd name="connsiteX18" fmla="*/ 8223 w 10000"/>
                <a:gd name="connsiteY18" fmla="*/ 3198 h 10000"/>
                <a:gd name="connsiteX19" fmla="*/ 7645 w 10000"/>
                <a:gd name="connsiteY19" fmla="*/ 3420 h 10000"/>
                <a:gd name="connsiteX20" fmla="*/ 6488 w 10000"/>
                <a:gd name="connsiteY20" fmla="*/ 3383 h 10000"/>
                <a:gd name="connsiteX21" fmla="*/ 5744 w 10000"/>
                <a:gd name="connsiteY21" fmla="*/ 3308 h 10000"/>
                <a:gd name="connsiteX22" fmla="*/ 5702 w 10000"/>
                <a:gd name="connsiteY22" fmla="*/ 2279 h 10000"/>
                <a:gd name="connsiteX23" fmla="*/ 4793 w 10000"/>
                <a:gd name="connsiteY23" fmla="*/ 1986 h 10000"/>
                <a:gd name="connsiteX24" fmla="*/ 4256 w 10000"/>
                <a:gd name="connsiteY24" fmla="*/ 1397 h 10000"/>
                <a:gd name="connsiteX25" fmla="*/ 3760 w 10000"/>
                <a:gd name="connsiteY25" fmla="*/ 883 h 10000"/>
                <a:gd name="connsiteX26" fmla="*/ 3430 w 10000"/>
                <a:gd name="connsiteY26" fmla="*/ 552 h 10000"/>
                <a:gd name="connsiteX27" fmla="*/ 3017 w 10000"/>
                <a:gd name="connsiteY27" fmla="*/ 441 h 10000"/>
                <a:gd name="connsiteX28" fmla="*/ 2603 w 10000"/>
                <a:gd name="connsiteY28" fmla="*/ 37 h 10000"/>
                <a:gd name="connsiteX29" fmla="*/ 1322 w 10000"/>
                <a:gd name="connsiteY29" fmla="*/ 0 h 10000"/>
                <a:gd name="connsiteX30" fmla="*/ 744 w 10000"/>
                <a:gd name="connsiteY30" fmla="*/ 516 h 10000"/>
                <a:gd name="connsiteX31" fmla="*/ 496 w 10000"/>
                <a:gd name="connsiteY31" fmla="*/ 478 h 10000"/>
                <a:gd name="connsiteX32" fmla="*/ 331 w 10000"/>
                <a:gd name="connsiteY32" fmla="*/ 587 h 10000"/>
                <a:gd name="connsiteX33" fmla="*/ 0 w 10000"/>
                <a:gd name="connsiteY33" fmla="*/ 920 h 10000"/>
                <a:gd name="connsiteX34" fmla="*/ 248 w 10000"/>
                <a:gd name="connsiteY34" fmla="*/ 1691 h 10000"/>
                <a:gd name="connsiteX35" fmla="*/ 289 w 10000"/>
                <a:gd name="connsiteY35" fmla="*/ 2022 h 10000"/>
                <a:gd name="connsiteX36" fmla="*/ 537 w 10000"/>
                <a:gd name="connsiteY36" fmla="*/ 2206 h 10000"/>
                <a:gd name="connsiteX37" fmla="*/ 992 w 10000"/>
                <a:gd name="connsiteY37" fmla="*/ 2463 h 10000"/>
                <a:gd name="connsiteX38" fmla="*/ 1322 w 10000"/>
                <a:gd name="connsiteY38" fmla="*/ 2685 h 10000"/>
                <a:gd name="connsiteX39" fmla="*/ 868 w 10000"/>
                <a:gd name="connsiteY39" fmla="*/ 2940 h 10000"/>
                <a:gd name="connsiteX40" fmla="*/ 992 w 10000"/>
                <a:gd name="connsiteY40" fmla="*/ 3346 h 10000"/>
                <a:gd name="connsiteX41" fmla="*/ 1198 w 10000"/>
                <a:gd name="connsiteY41" fmla="*/ 3676 h 10000"/>
                <a:gd name="connsiteX42" fmla="*/ 1364 w 10000"/>
                <a:gd name="connsiteY42" fmla="*/ 5184 h 10000"/>
                <a:gd name="connsiteX43" fmla="*/ 2107 w 10000"/>
                <a:gd name="connsiteY43" fmla="*/ 5588 h 10000"/>
                <a:gd name="connsiteX44" fmla="*/ 1488 w 10000"/>
                <a:gd name="connsiteY44" fmla="*/ 5993 h 10000"/>
                <a:gd name="connsiteX45" fmla="*/ 2025 w 10000"/>
                <a:gd name="connsiteY45" fmla="*/ 6471 h 10000"/>
                <a:gd name="connsiteX46" fmla="*/ 1612 w 10000"/>
                <a:gd name="connsiteY46" fmla="*/ 7132 h 10000"/>
                <a:gd name="connsiteX47" fmla="*/ 2231 w 10000"/>
                <a:gd name="connsiteY47" fmla="*/ 7427 h 10000"/>
                <a:gd name="connsiteX48" fmla="*/ 2397 w 10000"/>
                <a:gd name="connsiteY48" fmla="*/ 7647 h 10000"/>
                <a:gd name="connsiteX49" fmla="*/ 3140 w 10000"/>
                <a:gd name="connsiteY49" fmla="*/ 8089 h 10000"/>
                <a:gd name="connsiteX50" fmla="*/ 3678 w 10000"/>
                <a:gd name="connsiteY50" fmla="*/ 8124 h 10000"/>
                <a:gd name="connsiteX0" fmla="*/ 3678 w 10000"/>
                <a:gd name="connsiteY0" fmla="*/ 8124 h 10000"/>
                <a:gd name="connsiteX1" fmla="*/ 4608 w 10000"/>
                <a:gd name="connsiteY1" fmla="*/ 8586 h 10000"/>
                <a:gd name="connsiteX2" fmla="*/ 5413 w 10000"/>
                <a:gd name="connsiteY2" fmla="*/ 8071 h 10000"/>
                <a:gd name="connsiteX3" fmla="*/ 5765 w 10000"/>
                <a:gd name="connsiteY3" fmla="*/ 7960 h 10000"/>
                <a:gd name="connsiteX4" fmla="*/ 6550 w 10000"/>
                <a:gd name="connsiteY4" fmla="*/ 8604 h 10000"/>
                <a:gd name="connsiteX5" fmla="*/ 7211 w 10000"/>
                <a:gd name="connsiteY5" fmla="*/ 9100 h 10000"/>
                <a:gd name="connsiteX6" fmla="*/ 7355 w 10000"/>
                <a:gd name="connsiteY6" fmla="*/ 9891 h 10000"/>
                <a:gd name="connsiteX7" fmla="*/ 9132 w 10000"/>
                <a:gd name="connsiteY7" fmla="*/ 9449 h 10000"/>
                <a:gd name="connsiteX8" fmla="*/ 9256 w 10000"/>
                <a:gd name="connsiteY8" fmla="*/ 8383 h 10000"/>
                <a:gd name="connsiteX9" fmla="*/ 9256 w 10000"/>
                <a:gd name="connsiteY9" fmla="*/ 7942 h 10000"/>
                <a:gd name="connsiteX10" fmla="*/ 9628 w 10000"/>
                <a:gd name="connsiteY10" fmla="*/ 7684 h 10000"/>
                <a:gd name="connsiteX11" fmla="*/ 9917 w 10000"/>
                <a:gd name="connsiteY11" fmla="*/ 7390 h 10000"/>
                <a:gd name="connsiteX12" fmla="*/ 10000 w 10000"/>
                <a:gd name="connsiteY12" fmla="*/ 7170 h 10000"/>
                <a:gd name="connsiteX13" fmla="*/ 9752 w 10000"/>
                <a:gd name="connsiteY13" fmla="*/ 6802 h 10000"/>
                <a:gd name="connsiteX14" fmla="*/ 8884 w 10000"/>
                <a:gd name="connsiteY14" fmla="*/ 6471 h 10000"/>
                <a:gd name="connsiteX15" fmla="*/ 8636 w 10000"/>
                <a:gd name="connsiteY15" fmla="*/ 5845 h 10000"/>
                <a:gd name="connsiteX16" fmla="*/ 8636 w 10000"/>
                <a:gd name="connsiteY16" fmla="*/ 4927 h 10000"/>
                <a:gd name="connsiteX17" fmla="*/ 8678 w 10000"/>
                <a:gd name="connsiteY17" fmla="*/ 4044 h 10000"/>
                <a:gd name="connsiteX18" fmla="*/ 8223 w 10000"/>
                <a:gd name="connsiteY18" fmla="*/ 3198 h 10000"/>
                <a:gd name="connsiteX19" fmla="*/ 7645 w 10000"/>
                <a:gd name="connsiteY19" fmla="*/ 3420 h 10000"/>
                <a:gd name="connsiteX20" fmla="*/ 6488 w 10000"/>
                <a:gd name="connsiteY20" fmla="*/ 3383 h 10000"/>
                <a:gd name="connsiteX21" fmla="*/ 5744 w 10000"/>
                <a:gd name="connsiteY21" fmla="*/ 3308 h 10000"/>
                <a:gd name="connsiteX22" fmla="*/ 5702 w 10000"/>
                <a:gd name="connsiteY22" fmla="*/ 2279 h 10000"/>
                <a:gd name="connsiteX23" fmla="*/ 4793 w 10000"/>
                <a:gd name="connsiteY23" fmla="*/ 1986 h 10000"/>
                <a:gd name="connsiteX24" fmla="*/ 4256 w 10000"/>
                <a:gd name="connsiteY24" fmla="*/ 1397 h 10000"/>
                <a:gd name="connsiteX25" fmla="*/ 3760 w 10000"/>
                <a:gd name="connsiteY25" fmla="*/ 883 h 10000"/>
                <a:gd name="connsiteX26" fmla="*/ 3430 w 10000"/>
                <a:gd name="connsiteY26" fmla="*/ 552 h 10000"/>
                <a:gd name="connsiteX27" fmla="*/ 3017 w 10000"/>
                <a:gd name="connsiteY27" fmla="*/ 441 h 10000"/>
                <a:gd name="connsiteX28" fmla="*/ 2603 w 10000"/>
                <a:gd name="connsiteY28" fmla="*/ 37 h 10000"/>
                <a:gd name="connsiteX29" fmla="*/ 1322 w 10000"/>
                <a:gd name="connsiteY29" fmla="*/ 0 h 10000"/>
                <a:gd name="connsiteX30" fmla="*/ 744 w 10000"/>
                <a:gd name="connsiteY30" fmla="*/ 516 h 10000"/>
                <a:gd name="connsiteX31" fmla="*/ 496 w 10000"/>
                <a:gd name="connsiteY31" fmla="*/ 478 h 10000"/>
                <a:gd name="connsiteX32" fmla="*/ 331 w 10000"/>
                <a:gd name="connsiteY32" fmla="*/ 587 h 10000"/>
                <a:gd name="connsiteX33" fmla="*/ 0 w 10000"/>
                <a:gd name="connsiteY33" fmla="*/ 920 h 10000"/>
                <a:gd name="connsiteX34" fmla="*/ 248 w 10000"/>
                <a:gd name="connsiteY34" fmla="*/ 1691 h 10000"/>
                <a:gd name="connsiteX35" fmla="*/ 289 w 10000"/>
                <a:gd name="connsiteY35" fmla="*/ 2022 h 10000"/>
                <a:gd name="connsiteX36" fmla="*/ 537 w 10000"/>
                <a:gd name="connsiteY36" fmla="*/ 2206 h 10000"/>
                <a:gd name="connsiteX37" fmla="*/ 992 w 10000"/>
                <a:gd name="connsiteY37" fmla="*/ 2463 h 10000"/>
                <a:gd name="connsiteX38" fmla="*/ 1322 w 10000"/>
                <a:gd name="connsiteY38" fmla="*/ 2685 h 10000"/>
                <a:gd name="connsiteX39" fmla="*/ 868 w 10000"/>
                <a:gd name="connsiteY39" fmla="*/ 2940 h 10000"/>
                <a:gd name="connsiteX40" fmla="*/ 992 w 10000"/>
                <a:gd name="connsiteY40" fmla="*/ 3346 h 10000"/>
                <a:gd name="connsiteX41" fmla="*/ 1198 w 10000"/>
                <a:gd name="connsiteY41" fmla="*/ 3676 h 10000"/>
                <a:gd name="connsiteX42" fmla="*/ 1364 w 10000"/>
                <a:gd name="connsiteY42" fmla="*/ 5184 h 10000"/>
                <a:gd name="connsiteX43" fmla="*/ 2107 w 10000"/>
                <a:gd name="connsiteY43" fmla="*/ 5588 h 10000"/>
                <a:gd name="connsiteX44" fmla="*/ 1488 w 10000"/>
                <a:gd name="connsiteY44" fmla="*/ 5993 h 10000"/>
                <a:gd name="connsiteX45" fmla="*/ 2025 w 10000"/>
                <a:gd name="connsiteY45" fmla="*/ 6471 h 10000"/>
                <a:gd name="connsiteX46" fmla="*/ 1612 w 10000"/>
                <a:gd name="connsiteY46" fmla="*/ 7132 h 10000"/>
                <a:gd name="connsiteX47" fmla="*/ 2231 w 10000"/>
                <a:gd name="connsiteY47" fmla="*/ 7427 h 10000"/>
                <a:gd name="connsiteX48" fmla="*/ 2397 w 10000"/>
                <a:gd name="connsiteY48" fmla="*/ 7647 h 10000"/>
                <a:gd name="connsiteX49" fmla="*/ 3140 w 10000"/>
                <a:gd name="connsiteY49" fmla="*/ 8089 h 10000"/>
                <a:gd name="connsiteX50" fmla="*/ 3678 w 10000"/>
                <a:gd name="connsiteY50" fmla="*/ 812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0000" h="10000">
                  <a:moveTo>
                    <a:pt x="3678" y="8124"/>
                  </a:moveTo>
                  <a:cubicBezTo>
                    <a:pt x="3943" y="8152"/>
                    <a:pt x="4453" y="8626"/>
                    <a:pt x="4608" y="8586"/>
                  </a:cubicBezTo>
                  <a:cubicBezTo>
                    <a:pt x="4897" y="8577"/>
                    <a:pt x="5241" y="8120"/>
                    <a:pt x="5413" y="8071"/>
                  </a:cubicBezTo>
                  <a:cubicBezTo>
                    <a:pt x="5496" y="8218"/>
                    <a:pt x="5765" y="7960"/>
                    <a:pt x="5765" y="7960"/>
                  </a:cubicBezTo>
                  <a:cubicBezTo>
                    <a:pt x="5806" y="8548"/>
                    <a:pt x="6488" y="8566"/>
                    <a:pt x="6550" y="8604"/>
                  </a:cubicBezTo>
                  <a:cubicBezTo>
                    <a:pt x="6364" y="8750"/>
                    <a:pt x="6467" y="9210"/>
                    <a:pt x="7211" y="9100"/>
                  </a:cubicBezTo>
                  <a:cubicBezTo>
                    <a:pt x="7376" y="8916"/>
                    <a:pt x="7149" y="10000"/>
                    <a:pt x="7355" y="9891"/>
                  </a:cubicBezTo>
                  <a:cubicBezTo>
                    <a:pt x="7810" y="9632"/>
                    <a:pt x="8595" y="9523"/>
                    <a:pt x="9132" y="9449"/>
                  </a:cubicBezTo>
                  <a:cubicBezTo>
                    <a:pt x="9380" y="9118"/>
                    <a:pt x="9174" y="8751"/>
                    <a:pt x="9256" y="8383"/>
                  </a:cubicBezTo>
                  <a:cubicBezTo>
                    <a:pt x="9215" y="8199"/>
                    <a:pt x="9132" y="8089"/>
                    <a:pt x="9256" y="7942"/>
                  </a:cubicBezTo>
                  <a:cubicBezTo>
                    <a:pt x="9339" y="7831"/>
                    <a:pt x="9628" y="7684"/>
                    <a:pt x="9628" y="7684"/>
                  </a:cubicBezTo>
                  <a:cubicBezTo>
                    <a:pt x="9711" y="7574"/>
                    <a:pt x="9835" y="7501"/>
                    <a:pt x="9917" y="7390"/>
                  </a:cubicBezTo>
                  <a:cubicBezTo>
                    <a:pt x="9959" y="7315"/>
                    <a:pt x="10000" y="7170"/>
                    <a:pt x="10000" y="7170"/>
                  </a:cubicBezTo>
                  <a:cubicBezTo>
                    <a:pt x="9959" y="6985"/>
                    <a:pt x="10000" y="6876"/>
                    <a:pt x="9752" y="6802"/>
                  </a:cubicBezTo>
                  <a:cubicBezTo>
                    <a:pt x="9380" y="6545"/>
                    <a:pt x="9421" y="6508"/>
                    <a:pt x="8884" y="6471"/>
                  </a:cubicBezTo>
                  <a:cubicBezTo>
                    <a:pt x="8678" y="6361"/>
                    <a:pt x="8760" y="6029"/>
                    <a:pt x="8636" y="5845"/>
                  </a:cubicBezTo>
                  <a:cubicBezTo>
                    <a:pt x="8554" y="5515"/>
                    <a:pt x="8264" y="5147"/>
                    <a:pt x="8636" y="4927"/>
                  </a:cubicBezTo>
                  <a:cubicBezTo>
                    <a:pt x="8719" y="4523"/>
                    <a:pt x="9215" y="4117"/>
                    <a:pt x="8678" y="4044"/>
                  </a:cubicBezTo>
                  <a:cubicBezTo>
                    <a:pt x="8843" y="3824"/>
                    <a:pt x="8554" y="3308"/>
                    <a:pt x="8223" y="3198"/>
                  </a:cubicBezTo>
                  <a:cubicBezTo>
                    <a:pt x="8017" y="3236"/>
                    <a:pt x="7810" y="3308"/>
                    <a:pt x="7645" y="3420"/>
                  </a:cubicBezTo>
                  <a:cubicBezTo>
                    <a:pt x="7479" y="3824"/>
                    <a:pt x="7025" y="3420"/>
                    <a:pt x="6488" y="3383"/>
                  </a:cubicBezTo>
                  <a:cubicBezTo>
                    <a:pt x="6198" y="3383"/>
                    <a:pt x="5950" y="3530"/>
                    <a:pt x="5744" y="3308"/>
                  </a:cubicBezTo>
                  <a:cubicBezTo>
                    <a:pt x="5661" y="3089"/>
                    <a:pt x="5744" y="2537"/>
                    <a:pt x="5702" y="2279"/>
                  </a:cubicBezTo>
                  <a:cubicBezTo>
                    <a:pt x="5496" y="1986"/>
                    <a:pt x="4876" y="2060"/>
                    <a:pt x="4793" y="1986"/>
                  </a:cubicBezTo>
                  <a:cubicBezTo>
                    <a:pt x="4669" y="1764"/>
                    <a:pt x="4421" y="1508"/>
                    <a:pt x="4256" y="1397"/>
                  </a:cubicBezTo>
                  <a:cubicBezTo>
                    <a:pt x="4132" y="1213"/>
                    <a:pt x="3967" y="956"/>
                    <a:pt x="3760" y="883"/>
                  </a:cubicBezTo>
                  <a:cubicBezTo>
                    <a:pt x="3678" y="771"/>
                    <a:pt x="3554" y="625"/>
                    <a:pt x="3430" y="552"/>
                  </a:cubicBezTo>
                  <a:cubicBezTo>
                    <a:pt x="3306" y="478"/>
                    <a:pt x="3017" y="441"/>
                    <a:pt x="3017" y="441"/>
                  </a:cubicBezTo>
                  <a:cubicBezTo>
                    <a:pt x="2893" y="293"/>
                    <a:pt x="2769" y="110"/>
                    <a:pt x="2603" y="37"/>
                  </a:cubicBezTo>
                  <a:cubicBezTo>
                    <a:pt x="2066" y="0"/>
                    <a:pt x="1777" y="37"/>
                    <a:pt x="1322" y="0"/>
                  </a:cubicBezTo>
                  <a:cubicBezTo>
                    <a:pt x="1074" y="110"/>
                    <a:pt x="950" y="293"/>
                    <a:pt x="744" y="516"/>
                  </a:cubicBezTo>
                  <a:cubicBezTo>
                    <a:pt x="620" y="587"/>
                    <a:pt x="579" y="478"/>
                    <a:pt x="496" y="478"/>
                  </a:cubicBezTo>
                  <a:cubicBezTo>
                    <a:pt x="413" y="478"/>
                    <a:pt x="413" y="516"/>
                    <a:pt x="331" y="587"/>
                  </a:cubicBezTo>
                  <a:cubicBezTo>
                    <a:pt x="289" y="771"/>
                    <a:pt x="0" y="736"/>
                    <a:pt x="0" y="920"/>
                  </a:cubicBezTo>
                  <a:cubicBezTo>
                    <a:pt x="0" y="1102"/>
                    <a:pt x="83" y="1470"/>
                    <a:pt x="248" y="1691"/>
                  </a:cubicBezTo>
                  <a:cubicBezTo>
                    <a:pt x="289" y="1838"/>
                    <a:pt x="331" y="1838"/>
                    <a:pt x="289" y="2022"/>
                  </a:cubicBezTo>
                  <a:cubicBezTo>
                    <a:pt x="331" y="2095"/>
                    <a:pt x="537" y="2060"/>
                    <a:pt x="537" y="2206"/>
                  </a:cubicBezTo>
                  <a:cubicBezTo>
                    <a:pt x="826" y="2243"/>
                    <a:pt x="868" y="2390"/>
                    <a:pt x="992" y="2463"/>
                  </a:cubicBezTo>
                  <a:cubicBezTo>
                    <a:pt x="1116" y="2537"/>
                    <a:pt x="1322" y="2610"/>
                    <a:pt x="1322" y="2685"/>
                  </a:cubicBezTo>
                  <a:cubicBezTo>
                    <a:pt x="1074" y="2905"/>
                    <a:pt x="1116" y="2795"/>
                    <a:pt x="868" y="2940"/>
                  </a:cubicBezTo>
                  <a:cubicBezTo>
                    <a:pt x="785" y="3125"/>
                    <a:pt x="744" y="3271"/>
                    <a:pt x="992" y="3346"/>
                  </a:cubicBezTo>
                  <a:cubicBezTo>
                    <a:pt x="1033" y="3456"/>
                    <a:pt x="1198" y="3676"/>
                    <a:pt x="1198" y="3676"/>
                  </a:cubicBezTo>
                  <a:cubicBezTo>
                    <a:pt x="1157" y="4081"/>
                    <a:pt x="909" y="4927"/>
                    <a:pt x="1364" y="5184"/>
                  </a:cubicBezTo>
                  <a:cubicBezTo>
                    <a:pt x="1446" y="5441"/>
                    <a:pt x="1818" y="5515"/>
                    <a:pt x="2107" y="5588"/>
                  </a:cubicBezTo>
                  <a:cubicBezTo>
                    <a:pt x="2273" y="5993"/>
                    <a:pt x="1818" y="5993"/>
                    <a:pt x="1488" y="5993"/>
                  </a:cubicBezTo>
                  <a:cubicBezTo>
                    <a:pt x="1529" y="6213"/>
                    <a:pt x="1818" y="6361"/>
                    <a:pt x="2025" y="6471"/>
                  </a:cubicBezTo>
                  <a:cubicBezTo>
                    <a:pt x="2149" y="6692"/>
                    <a:pt x="2521" y="6802"/>
                    <a:pt x="1612" y="7132"/>
                  </a:cubicBezTo>
                  <a:cubicBezTo>
                    <a:pt x="1612" y="7280"/>
                    <a:pt x="2107" y="7353"/>
                    <a:pt x="2231" y="7427"/>
                  </a:cubicBezTo>
                  <a:cubicBezTo>
                    <a:pt x="2355" y="7537"/>
                    <a:pt x="2273" y="7574"/>
                    <a:pt x="2397" y="7647"/>
                  </a:cubicBezTo>
                  <a:cubicBezTo>
                    <a:pt x="2438" y="7905"/>
                    <a:pt x="3264" y="7868"/>
                    <a:pt x="3140" y="8089"/>
                  </a:cubicBezTo>
                  <a:cubicBezTo>
                    <a:pt x="3719" y="7905"/>
                    <a:pt x="3512" y="8124"/>
                    <a:pt x="3678" y="8124"/>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8" name="Freeform 2578">
              <a:extLst>
                <a:ext uri="{FF2B5EF4-FFF2-40B4-BE49-F238E27FC236}">
                  <a16:creationId xmlns:a16="http://schemas.microsoft.com/office/drawing/2014/main" id="{A57247FB-313A-9709-D209-4EBE847BE9E8}"/>
                </a:ext>
              </a:extLst>
            </p:cNvPr>
            <p:cNvSpPr>
              <a:spLocks/>
            </p:cNvSpPr>
            <p:nvPr>
              <p:custDataLst>
                <p:tags r:id="rId4"/>
              </p:custDataLst>
            </p:nvPr>
          </p:nvSpPr>
          <p:spPr bwMode="auto">
            <a:xfrm>
              <a:off x="3913468" y="4355697"/>
              <a:ext cx="103086" cy="116701"/>
            </a:xfrm>
            <a:custGeom>
              <a:avLst/>
              <a:gdLst>
                <a:gd name="T0" fmla="*/ 98 w 106"/>
                <a:gd name="T1" fmla="*/ 45 h 120"/>
                <a:gd name="T2" fmla="*/ 88 w 106"/>
                <a:gd name="T3" fmla="*/ 48 h 120"/>
                <a:gd name="T4" fmla="*/ 92 w 106"/>
                <a:gd name="T5" fmla="*/ 56 h 120"/>
                <a:gd name="T6" fmla="*/ 92 w 106"/>
                <a:gd name="T7" fmla="*/ 70 h 120"/>
                <a:gd name="T8" fmla="*/ 80 w 106"/>
                <a:gd name="T9" fmla="*/ 71 h 120"/>
                <a:gd name="T10" fmla="*/ 73 w 106"/>
                <a:gd name="T11" fmla="*/ 61 h 120"/>
                <a:gd name="T12" fmla="*/ 67 w 106"/>
                <a:gd name="T13" fmla="*/ 70 h 120"/>
                <a:gd name="T14" fmla="*/ 60 w 106"/>
                <a:gd name="T15" fmla="*/ 82 h 120"/>
                <a:gd name="T16" fmla="*/ 53 w 106"/>
                <a:gd name="T17" fmla="*/ 97 h 120"/>
                <a:gd name="T18" fmla="*/ 60 w 106"/>
                <a:gd name="T19" fmla="*/ 101 h 120"/>
                <a:gd name="T20" fmla="*/ 61 w 106"/>
                <a:gd name="T21" fmla="*/ 120 h 120"/>
                <a:gd name="T22" fmla="*/ 41 w 106"/>
                <a:gd name="T23" fmla="*/ 107 h 120"/>
                <a:gd name="T24" fmla="*/ 14 w 106"/>
                <a:gd name="T25" fmla="*/ 88 h 120"/>
                <a:gd name="T26" fmla="*/ 2 w 106"/>
                <a:gd name="T27" fmla="*/ 83 h 120"/>
                <a:gd name="T28" fmla="*/ 2 w 106"/>
                <a:gd name="T29" fmla="*/ 64 h 120"/>
                <a:gd name="T30" fmla="*/ 2 w 106"/>
                <a:gd name="T31" fmla="*/ 46 h 120"/>
                <a:gd name="T32" fmla="*/ 8 w 106"/>
                <a:gd name="T33" fmla="*/ 37 h 120"/>
                <a:gd name="T34" fmla="*/ 12 w 106"/>
                <a:gd name="T35" fmla="*/ 27 h 120"/>
                <a:gd name="T36" fmla="*/ 19 w 106"/>
                <a:gd name="T37" fmla="*/ 19 h 120"/>
                <a:gd name="T38" fmla="*/ 27 w 106"/>
                <a:gd name="T39" fmla="*/ 21 h 120"/>
                <a:gd name="T40" fmla="*/ 30 w 106"/>
                <a:gd name="T41" fmla="*/ 16 h 120"/>
                <a:gd name="T42" fmla="*/ 21 w 106"/>
                <a:gd name="T43" fmla="*/ 6 h 120"/>
                <a:gd name="T44" fmla="*/ 36 w 106"/>
                <a:gd name="T45" fmla="*/ 0 h 120"/>
                <a:gd name="T46" fmla="*/ 51 w 106"/>
                <a:gd name="T47" fmla="*/ 9 h 120"/>
                <a:gd name="T48" fmla="*/ 55 w 106"/>
                <a:gd name="T49" fmla="*/ 15 h 120"/>
                <a:gd name="T50" fmla="*/ 73 w 106"/>
                <a:gd name="T51" fmla="*/ 27 h 120"/>
                <a:gd name="T52" fmla="*/ 86 w 106"/>
                <a:gd name="T53" fmla="*/ 28 h 120"/>
                <a:gd name="T54" fmla="*/ 104 w 106"/>
                <a:gd name="T55" fmla="*/ 36 h 120"/>
                <a:gd name="T56" fmla="*/ 98 w 106"/>
                <a:gd name="T57" fmla="*/ 45 h 12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06"/>
                <a:gd name="T88" fmla="*/ 0 h 120"/>
                <a:gd name="T89" fmla="*/ 106 w 106"/>
                <a:gd name="T90" fmla="*/ 120 h 120"/>
                <a:gd name="connsiteX0" fmla="*/ 9245 w 10000"/>
                <a:gd name="connsiteY0" fmla="*/ 3750 h 10000"/>
                <a:gd name="connsiteX1" fmla="*/ 8679 w 10000"/>
                <a:gd name="connsiteY1" fmla="*/ 4667 h 10000"/>
                <a:gd name="connsiteX2" fmla="*/ 8679 w 10000"/>
                <a:gd name="connsiteY2" fmla="*/ 5833 h 10000"/>
                <a:gd name="connsiteX3" fmla="*/ 7547 w 10000"/>
                <a:gd name="connsiteY3" fmla="*/ 5917 h 10000"/>
                <a:gd name="connsiteX4" fmla="*/ 6887 w 10000"/>
                <a:gd name="connsiteY4" fmla="*/ 5083 h 10000"/>
                <a:gd name="connsiteX5" fmla="*/ 6321 w 10000"/>
                <a:gd name="connsiteY5" fmla="*/ 5833 h 10000"/>
                <a:gd name="connsiteX6" fmla="*/ 5660 w 10000"/>
                <a:gd name="connsiteY6" fmla="*/ 6833 h 10000"/>
                <a:gd name="connsiteX7" fmla="*/ 5000 w 10000"/>
                <a:gd name="connsiteY7" fmla="*/ 8083 h 10000"/>
                <a:gd name="connsiteX8" fmla="*/ 5660 w 10000"/>
                <a:gd name="connsiteY8" fmla="*/ 8417 h 10000"/>
                <a:gd name="connsiteX9" fmla="*/ 5755 w 10000"/>
                <a:gd name="connsiteY9" fmla="*/ 10000 h 10000"/>
                <a:gd name="connsiteX10" fmla="*/ 3868 w 10000"/>
                <a:gd name="connsiteY10" fmla="*/ 8917 h 10000"/>
                <a:gd name="connsiteX11" fmla="*/ 1321 w 10000"/>
                <a:gd name="connsiteY11" fmla="*/ 7333 h 10000"/>
                <a:gd name="connsiteX12" fmla="*/ 189 w 10000"/>
                <a:gd name="connsiteY12" fmla="*/ 6917 h 10000"/>
                <a:gd name="connsiteX13" fmla="*/ 189 w 10000"/>
                <a:gd name="connsiteY13" fmla="*/ 5333 h 10000"/>
                <a:gd name="connsiteX14" fmla="*/ 189 w 10000"/>
                <a:gd name="connsiteY14" fmla="*/ 3833 h 10000"/>
                <a:gd name="connsiteX15" fmla="*/ 755 w 10000"/>
                <a:gd name="connsiteY15" fmla="*/ 3083 h 10000"/>
                <a:gd name="connsiteX16" fmla="*/ 1132 w 10000"/>
                <a:gd name="connsiteY16" fmla="*/ 2250 h 10000"/>
                <a:gd name="connsiteX17" fmla="*/ 1792 w 10000"/>
                <a:gd name="connsiteY17" fmla="*/ 1583 h 10000"/>
                <a:gd name="connsiteX18" fmla="*/ 2547 w 10000"/>
                <a:gd name="connsiteY18" fmla="*/ 1750 h 10000"/>
                <a:gd name="connsiteX19" fmla="*/ 2830 w 10000"/>
                <a:gd name="connsiteY19" fmla="*/ 1333 h 10000"/>
                <a:gd name="connsiteX20" fmla="*/ 1981 w 10000"/>
                <a:gd name="connsiteY20" fmla="*/ 500 h 10000"/>
                <a:gd name="connsiteX21" fmla="*/ 3396 w 10000"/>
                <a:gd name="connsiteY21" fmla="*/ 0 h 10000"/>
                <a:gd name="connsiteX22" fmla="*/ 4811 w 10000"/>
                <a:gd name="connsiteY22" fmla="*/ 750 h 10000"/>
                <a:gd name="connsiteX23" fmla="*/ 5189 w 10000"/>
                <a:gd name="connsiteY23" fmla="*/ 1250 h 10000"/>
                <a:gd name="connsiteX24" fmla="*/ 6887 w 10000"/>
                <a:gd name="connsiteY24" fmla="*/ 2250 h 10000"/>
                <a:gd name="connsiteX25" fmla="*/ 8113 w 10000"/>
                <a:gd name="connsiteY25" fmla="*/ 2333 h 10000"/>
                <a:gd name="connsiteX26" fmla="*/ 9811 w 10000"/>
                <a:gd name="connsiteY26" fmla="*/ 3000 h 10000"/>
                <a:gd name="connsiteX27" fmla="*/ 9245 w 10000"/>
                <a:gd name="connsiteY27" fmla="*/ 375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000" h="10000">
                  <a:moveTo>
                    <a:pt x="9245" y="3750"/>
                  </a:moveTo>
                  <a:cubicBezTo>
                    <a:pt x="9056" y="4028"/>
                    <a:pt x="8773" y="4320"/>
                    <a:pt x="8679" y="4667"/>
                  </a:cubicBezTo>
                  <a:lnTo>
                    <a:pt x="8679" y="5833"/>
                  </a:lnTo>
                  <a:cubicBezTo>
                    <a:pt x="8491" y="6083"/>
                    <a:pt x="7830" y="6000"/>
                    <a:pt x="7547" y="5917"/>
                  </a:cubicBezTo>
                  <a:cubicBezTo>
                    <a:pt x="7264" y="5833"/>
                    <a:pt x="7075" y="5083"/>
                    <a:pt x="6887" y="5083"/>
                  </a:cubicBezTo>
                  <a:cubicBezTo>
                    <a:pt x="6698" y="5083"/>
                    <a:pt x="6509" y="5583"/>
                    <a:pt x="6321" y="5833"/>
                  </a:cubicBezTo>
                  <a:cubicBezTo>
                    <a:pt x="6132" y="6083"/>
                    <a:pt x="5849" y="6500"/>
                    <a:pt x="5660" y="6833"/>
                  </a:cubicBezTo>
                  <a:cubicBezTo>
                    <a:pt x="5377" y="7250"/>
                    <a:pt x="5000" y="7750"/>
                    <a:pt x="5000" y="8083"/>
                  </a:cubicBezTo>
                  <a:cubicBezTo>
                    <a:pt x="5000" y="8333"/>
                    <a:pt x="5566" y="8083"/>
                    <a:pt x="5660" y="8417"/>
                  </a:cubicBezTo>
                  <a:cubicBezTo>
                    <a:pt x="5755" y="8750"/>
                    <a:pt x="6038" y="9917"/>
                    <a:pt x="5755" y="10000"/>
                  </a:cubicBezTo>
                  <a:cubicBezTo>
                    <a:pt x="4340" y="9583"/>
                    <a:pt x="4528" y="9417"/>
                    <a:pt x="3868" y="8917"/>
                  </a:cubicBezTo>
                  <a:cubicBezTo>
                    <a:pt x="3113" y="8500"/>
                    <a:pt x="1887" y="7667"/>
                    <a:pt x="1321" y="7333"/>
                  </a:cubicBezTo>
                  <a:cubicBezTo>
                    <a:pt x="755" y="7000"/>
                    <a:pt x="377" y="7250"/>
                    <a:pt x="189" y="6917"/>
                  </a:cubicBezTo>
                  <a:cubicBezTo>
                    <a:pt x="0" y="6583"/>
                    <a:pt x="189" y="5833"/>
                    <a:pt x="189" y="5333"/>
                  </a:cubicBezTo>
                  <a:cubicBezTo>
                    <a:pt x="189" y="4833"/>
                    <a:pt x="94" y="4167"/>
                    <a:pt x="189" y="3833"/>
                  </a:cubicBezTo>
                  <a:cubicBezTo>
                    <a:pt x="283" y="3500"/>
                    <a:pt x="566" y="3333"/>
                    <a:pt x="755" y="3083"/>
                  </a:cubicBezTo>
                  <a:cubicBezTo>
                    <a:pt x="943" y="2833"/>
                    <a:pt x="943" y="2500"/>
                    <a:pt x="1132" y="2250"/>
                  </a:cubicBezTo>
                  <a:cubicBezTo>
                    <a:pt x="1321" y="2000"/>
                    <a:pt x="1509" y="1667"/>
                    <a:pt x="1792" y="1583"/>
                  </a:cubicBezTo>
                  <a:cubicBezTo>
                    <a:pt x="1981" y="1500"/>
                    <a:pt x="2358" y="1750"/>
                    <a:pt x="2547" y="1750"/>
                  </a:cubicBezTo>
                  <a:cubicBezTo>
                    <a:pt x="2736" y="1750"/>
                    <a:pt x="2925" y="1500"/>
                    <a:pt x="2830" y="1333"/>
                  </a:cubicBezTo>
                  <a:cubicBezTo>
                    <a:pt x="2736" y="1083"/>
                    <a:pt x="1887" y="750"/>
                    <a:pt x="1981" y="500"/>
                  </a:cubicBezTo>
                  <a:cubicBezTo>
                    <a:pt x="2075" y="333"/>
                    <a:pt x="3019" y="0"/>
                    <a:pt x="3396" y="0"/>
                  </a:cubicBezTo>
                  <a:cubicBezTo>
                    <a:pt x="3396" y="417"/>
                    <a:pt x="4528" y="500"/>
                    <a:pt x="4811" y="750"/>
                  </a:cubicBezTo>
                  <a:cubicBezTo>
                    <a:pt x="5094" y="917"/>
                    <a:pt x="4906" y="1000"/>
                    <a:pt x="5189" y="1250"/>
                  </a:cubicBezTo>
                  <a:cubicBezTo>
                    <a:pt x="5283" y="1833"/>
                    <a:pt x="7264" y="1750"/>
                    <a:pt x="6887" y="2250"/>
                  </a:cubicBezTo>
                  <a:cubicBezTo>
                    <a:pt x="8208" y="1833"/>
                    <a:pt x="7736" y="2333"/>
                    <a:pt x="8113" y="2333"/>
                  </a:cubicBezTo>
                  <a:cubicBezTo>
                    <a:pt x="8491" y="2500"/>
                    <a:pt x="9623" y="2750"/>
                    <a:pt x="9811" y="3000"/>
                  </a:cubicBezTo>
                  <a:cubicBezTo>
                    <a:pt x="10000" y="3167"/>
                    <a:pt x="9340" y="3583"/>
                    <a:pt x="9245" y="3750"/>
                  </a:cubicBezTo>
                  <a:close/>
                </a:path>
              </a:pathLst>
            </a:custGeom>
            <a:solidFill>
              <a:schemeClr val="accent2"/>
            </a:solidFill>
            <a:ln w="3175">
              <a:solidFill>
                <a:schemeClr val="accent2"/>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4" name="Freeform 175">
              <a:extLst>
                <a:ext uri="{FF2B5EF4-FFF2-40B4-BE49-F238E27FC236}">
                  <a16:creationId xmlns:a16="http://schemas.microsoft.com/office/drawing/2014/main" id="{770825C5-8101-443A-96EE-1C2FB7590494}"/>
                </a:ext>
              </a:extLst>
            </p:cNvPr>
            <p:cNvSpPr>
              <a:spLocks/>
            </p:cNvSpPr>
            <p:nvPr>
              <p:custDataLst>
                <p:tags r:id="rId5"/>
              </p:custDataLst>
            </p:nvPr>
          </p:nvSpPr>
          <p:spPr bwMode="auto">
            <a:xfrm>
              <a:off x="4001479" y="4373689"/>
              <a:ext cx="86069" cy="99196"/>
            </a:xfrm>
            <a:custGeom>
              <a:avLst/>
              <a:gdLst>
                <a:gd name="connsiteX0" fmla="*/ 21431 w 128587"/>
                <a:gd name="connsiteY0" fmla="*/ 88106 h 130969"/>
                <a:gd name="connsiteX1" fmla="*/ 50006 w 128587"/>
                <a:gd name="connsiteY1" fmla="*/ 88106 h 130969"/>
                <a:gd name="connsiteX2" fmla="*/ 52387 w 128587"/>
                <a:gd name="connsiteY2" fmla="*/ 130969 h 130969"/>
                <a:gd name="connsiteX3" fmla="*/ 88106 w 128587"/>
                <a:gd name="connsiteY3" fmla="*/ 92869 h 130969"/>
                <a:gd name="connsiteX4" fmla="*/ 121444 w 128587"/>
                <a:gd name="connsiteY4" fmla="*/ 92869 h 130969"/>
                <a:gd name="connsiteX5" fmla="*/ 128587 w 128587"/>
                <a:gd name="connsiteY5" fmla="*/ 47625 h 130969"/>
                <a:gd name="connsiteX6" fmla="*/ 100012 w 128587"/>
                <a:gd name="connsiteY6" fmla="*/ 45244 h 130969"/>
                <a:gd name="connsiteX7" fmla="*/ 100012 w 128587"/>
                <a:gd name="connsiteY7" fmla="*/ 19050 h 130969"/>
                <a:gd name="connsiteX8" fmla="*/ 66675 w 128587"/>
                <a:gd name="connsiteY8" fmla="*/ 0 h 130969"/>
                <a:gd name="connsiteX9" fmla="*/ 38100 w 128587"/>
                <a:gd name="connsiteY9" fmla="*/ 16669 h 130969"/>
                <a:gd name="connsiteX10" fmla="*/ 0 w 128587"/>
                <a:gd name="connsiteY10" fmla="*/ 40481 h 130969"/>
                <a:gd name="connsiteX11" fmla="*/ 21431 w 128587"/>
                <a:gd name="connsiteY11" fmla="*/ 88106 h 130969"/>
                <a:gd name="connsiteX0" fmla="*/ 21431 w 128587"/>
                <a:gd name="connsiteY0" fmla="*/ 88106 h 130969"/>
                <a:gd name="connsiteX1" fmla="*/ 50006 w 128587"/>
                <a:gd name="connsiteY1" fmla="*/ 88106 h 130969"/>
                <a:gd name="connsiteX2" fmla="*/ 52387 w 128587"/>
                <a:gd name="connsiteY2" fmla="*/ 130969 h 130969"/>
                <a:gd name="connsiteX3" fmla="*/ 88106 w 128587"/>
                <a:gd name="connsiteY3" fmla="*/ 92869 h 130969"/>
                <a:gd name="connsiteX4" fmla="*/ 121444 w 128587"/>
                <a:gd name="connsiteY4" fmla="*/ 92869 h 130969"/>
                <a:gd name="connsiteX5" fmla="*/ 128587 w 128587"/>
                <a:gd name="connsiteY5" fmla="*/ 47625 h 130969"/>
                <a:gd name="connsiteX6" fmla="*/ 104775 w 128587"/>
                <a:gd name="connsiteY6" fmla="*/ 33338 h 130969"/>
                <a:gd name="connsiteX7" fmla="*/ 100012 w 128587"/>
                <a:gd name="connsiteY7" fmla="*/ 19050 h 130969"/>
                <a:gd name="connsiteX8" fmla="*/ 66675 w 128587"/>
                <a:gd name="connsiteY8" fmla="*/ 0 h 130969"/>
                <a:gd name="connsiteX9" fmla="*/ 38100 w 128587"/>
                <a:gd name="connsiteY9" fmla="*/ 16669 h 130969"/>
                <a:gd name="connsiteX10" fmla="*/ 0 w 128587"/>
                <a:gd name="connsiteY10" fmla="*/ 40481 h 130969"/>
                <a:gd name="connsiteX11" fmla="*/ 21431 w 128587"/>
                <a:gd name="connsiteY11" fmla="*/ 88106 h 130969"/>
                <a:gd name="connsiteX0" fmla="*/ 21431 w 133350"/>
                <a:gd name="connsiteY0" fmla="*/ 88106 h 130969"/>
                <a:gd name="connsiteX1" fmla="*/ 50006 w 133350"/>
                <a:gd name="connsiteY1" fmla="*/ 88106 h 130969"/>
                <a:gd name="connsiteX2" fmla="*/ 52387 w 133350"/>
                <a:gd name="connsiteY2" fmla="*/ 130969 h 130969"/>
                <a:gd name="connsiteX3" fmla="*/ 88106 w 133350"/>
                <a:gd name="connsiteY3" fmla="*/ 92869 h 130969"/>
                <a:gd name="connsiteX4" fmla="*/ 133350 w 133350"/>
                <a:gd name="connsiteY4" fmla="*/ 80963 h 130969"/>
                <a:gd name="connsiteX5" fmla="*/ 128587 w 133350"/>
                <a:gd name="connsiteY5" fmla="*/ 47625 h 130969"/>
                <a:gd name="connsiteX6" fmla="*/ 104775 w 133350"/>
                <a:gd name="connsiteY6" fmla="*/ 33338 h 130969"/>
                <a:gd name="connsiteX7" fmla="*/ 100012 w 133350"/>
                <a:gd name="connsiteY7" fmla="*/ 19050 h 130969"/>
                <a:gd name="connsiteX8" fmla="*/ 66675 w 133350"/>
                <a:gd name="connsiteY8" fmla="*/ 0 h 130969"/>
                <a:gd name="connsiteX9" fmla="*/ 38100 w 133350"/>
                <a:gd name="connsiteY9" fmla="*/ 16669 h 130969"/>
                <a:gd name="connsiteX10" fmla="*/ 0 w 133350"/>
                <a:gd name="connsiteY10" fmla="*/ 40481 h 130969"/>
                <a:gd name="connsiteX11" fmla="*/ 21431 w 133350"/>
                <a:gd name="connsiteY11" fmla="*/ 88106 h 130969"/>
                <a:gd name="connsiteX0" fmla="*/ 21431 w 133350"/>
                <a:gd name="connsiteY0" fmla="*/ 88106 h 130969"/>
                <a:gd name="connsiteX1" fmla="*/ 50006 w 133350"/>
                <a:gd name="connsiteY1" fmla="*/ 88106 h 130969"/>
                <a:gd name="connsiteX2" fmla="*/ 52387 w 133350"/>
                <a:gd name="connsiteY2" fmla="*/ 130969 h 130969"/>
                <a:gd name="connsiteX3" fmla="*/ 88106 w 133350"/>
                <a:gd name="connsiteY3" fmla="*/ 92869 h 130969"/>
                <a:gd name="connsiteX4" fmla="*/ 133350 w 133350"/>
                <a:gd name="connsiteY4" fmla="*/ 80963 h 130969"/>
                <a:gd name="connsiteX5" fmla="*/ 128587 w 133350"/>
                <a:gd name="connsiteY5" fmla="*/ 47625 h 130969"/>
                <a:gd name="connsiteX6" fmla="*/ 104775 w 133350"/>
                <a:gd name="connsiteY6" fmla="*/ 33338 h 130969"/>
                <a:gd name="connsiteX7" fmla="*/ 100012 w 133350"/>
                <a:gd name="connsiteY7" fmla="*/ 19050 h 130969"/>
                <a:gd name="connsiteX8" fmla="*/ 66675 w 133350"/>
                <a:gd name="connsiteY8" fmla="*/ 0 h 130969"/>
                <a:gd name="connsiteX9" fmla="*/ 16669 w 133350"/>
                <a:gd name="connsiteY9" fmla="*/ 16669 h 130969"/>
                <a:gd name="connsiteX10" fmla="*/ 0 w 133350"/>
                <a:gd name="connsiteY10" fmla="*/ 40481 h 130969"/>
                <a:gd name="connsiteX11" fmla="*/ 21431 w 133350"/>
                <a:gd name="connsiteY11" fmla="*/ 88106 h 130969"/>
                <a:gd name="connsiteX0" fmla="*/ 21431 w 133350"/>
                <a:gd name="connsiteY0" fmla="*/ 88106 h 130969"/>
                <a:gd name="connsiteX1" fmla="*/ 50006 w 133350"/>
                <a:gd name="connsiteY1" fmla="*/ 88106 h 130969"/>
                <a:gd name="connsiteX2" fmla="*/ 52387 w 133350"/>
                <a:gd name="connsiteY2" fmla="*/ 130969 h 130969"/>
                <a:gd name="connsiteX3" fmla="*/ 88106 w 133350"/>
                <a:gd name="connsiteY3" fmla="*/ 92869 h 130969"/>
                <a:gd name="connsiteX4" fmla="*/ 133350 w 133350"/>
                <a:gd name="connsiteY4" fmla="*/ 80963 h 130969"/>
                <a:gd name="connsiteX5" fmla="*/ 128587 w 133350"/>
                <a:gd name="connsiteY5" fmla="*/ 47625 h 130969"/>
                <a:gd name="connsiteX6" fmla="*/ 104775 w 133350"/>
                <a:gd name="connsiteY6" fmla="*/ 33338 h 130969"/>
                <a:gd name="connsiteX7" fmla="*/ 100012 w 133350"/>
                <a:gd name="connsiteY7" fmla="*/ 19050 h 130969"/>
                <a:gd name="connsiteX8" fmla="*/ 66675 w 133350"/>
                <a:gd name="connsiteY8" fmla="*/ 0 h 130969"/>
                <a:gd name="connsiteX9" fmla="*/ 16669 w 133350"/>
                <a:gd name="connsiteY9" fmla="*/ 16669 h 130969"/>
                <a:gd name="connsiteX10" fmla="*/ 0 w 133350"/>
                <a:gd name="connsiteY10" fmla="*/ 40481 h 130969"/>
                <a:gd name="connsiteX11" fmla="*/ 14286 w 133350"/>
                <a:gd name="connsiteY11" fmla="*/ 69056 h 130969"/>
                <a:gd name="connsiteX12" fmla="*/ 21431 w 133350"/>
                <a:gd name="connsiteY12" fmla="*/ 88106 h 130969"/>
                <a:gd name="connsiteX0" fmla="*/ 21433 w 133352"/>
                <a:gd name="connsiteY0" fmla="*/ 88106 h 130969"/>
                <a:gd name="connsiteX1" fmla="*/ 50008 w 133352"/>
                <a:gd name="connsiteY1" fmla="*/ 88106 h 130969"/>
                <a:gd name="connsiteX2" fmla="*/ 52389 w 133352"/>
                <a:gd name="connsiteY2" fmla="*/ 130969 h 130969"/>
                <a:gd name="connsiteX3" fmla="*/ 88108 w 133352"/>
                <a:gd name="connsiteY3" fmla="*/ 92869 h 130969"/>
                <a:gd name="connsiteX4" fmla="*/ 133352 w 133352"/>
                <a:gd name="connsiteY4" fmla="*/ 80963 h 130969"/>
                <a:gd name="connsiteX5" fmla="*/ 128589 w 133352"/>
                <a:gd name="connsiteY5" fmla="*/ 47625 h 130969"/>
                <a:gd name="connsiteX6" fmla="*/ 104777 w 133352"/>
                <a:gd name="connsiteY6" fmla="*/ 33338 h 130969"/>
                <a:gd name="connsiteX7" fmla="*/ 100014 w 133352"/>
                <a:gd name="connsiteY7" fmla="*/ 19050 h 130969"/>
                <a:gd name="connsiteX8" fmla="*/ 66677 w 133352"/>
                <a:gd name="connsiteY8" fmla="*/ 0 h 130969"/>
                <a:gd name="connsiteX9" fmla="*/ 16671 w 133352"/>
                <a:gd name="connsiteY9" fmla="*/ 16669 h 130969"/>
                <a:gd name="connsiteX10" fmla="*/ 2 w 133352"/>
                <a:gd name="connsiteY10" fmla="*/ 40481 h 130969"/>
                <a:gd name="connsiteX11" fmla="*/ 0 w 133352"/>
                <a:gd name="connsiteY11" fmla="*/ 61912 h 130969"/>
                <a:gd name="connsiteX12" fmla="*/ 21433 w 133352"/>
                <a:gd name="connsiteY12" fmla="*/ 88106 h 130969"/>
                <a:gd name="connsiteX0" fmla="*/ 21433 w 133352"/>
                <a:gd name="connsiteY0" fmla="*/ 88106 h 147638"/>
                <a:gd name="connsiteX1" fmla="*/ 50008 w 133352"/>
                <a:gd name="connsiteY1" fmla="*/ 88106 h 147638"/>
                <a:gd name="connsiteX2" fmla="*/ 54770 w 133352"/>
                <a:gd name="connsiteY2" fmla="*/ 147638 h 147638"/>
                <a:gd name="connsiteX3" fmla="*/ 88108 w 133352"/>
                <a:gd name="connsiteY3" fmla="*/ 92869 h 147638"/>
                <a:gd name="connsiteX4" fmla="*/ 133352 w 133352"/>
                <a:gd name="connsiteY4" fmla="*/ 80963 h 147638"/>
                <a:gd name="connsiteX5" fmla="*/ 128589 w 133352"/>
                <a:gd name="connsiteY5" fmla="*/ 47625 h 147638"/>
                <a:gd name="connsiteX6" fmla="*/ 104777 w 133352"/>
                <a:gd name="connsiteY6" fmla="*/ 33338 h 147638"/>
                <a:gd name="connsiteX7" fmla="*/ 100014 w 133352"/>
                <a:gd name="connsiteY7" fmla="*/ 19050 h 147638"/>
                <a:gd name="connsiteX8" fmla="*/ 66677 w 133352"/>
                <a:gd name="connsiteY8" fmla="*/ 0 h 147638"/>
                <a:gd name="connsiteX9" fmla="*/ 16671 w 133352"/>
                <a:gd name="connsiteY9" fmla="*/ 16669 h 147638"/>
                <a:gd name="connsiteX10" fmla="*/ 2 w 133352"/>
                <a:gd name="connsiteY10" fmla="*/ 40481 h 147638"/>
                <a:gd name="connsiteX11" fmla="*/ 0 w 133352"/>
                <a:gd name="connsiteY11" fmla="*/ 61912 h 147638"/>
                <a:gd name="connsiteX12" fmla="*/ 21433 w 133352"/>
                <a:gd name="connsiteY12" fmla="*/ 88106 h 147638"/>
                <a:gd name="connsiteX0" fmla="*/ 21433 w 133352"/>
                <a:gd name="connsiteY0" fmla="*/ 102394 h 161926"/>
                <a:gd name="connsiteX1" fmla="*/ 50008 w 133352"/>
                <a:gd name="connsiteY1" fmla="*/ 102394 h 161926"/>
                <a:gd name="connsiteX2" fmla="*/ 54770 w 133352"/>
                <a:gd name="connsiteY2" fmla="*/ 161926 h 161926"/>
                <a:gd name="connsiteX3" fmla="*/ 88108 w 133352"/>
                <a:gd name="connsiteY3" fmla="*/ 107157 h 161926"/>
                <a:gd name="connsiteX4" fmla="*/ 133352 w 133352"/>
                <a:gd name="connsiteY4" fmla="*/ 95251 h 161926"/>
                <a:gd name="connsiteX5" fmla="*/ 128589 w 133352"/>
                <a:gd name="connsiteY5" fmla="*/ 61913 h 161926"/>
                <a:gd name="connsiteX6" fmla="*/ 104777 w 133352"/>
                <a:gd name="connsiteY6" fmla="*/ 47626 h 161926"/>
                <a:gd name="connsiteX7" fmla="*/ 100014 w 133352"/>
                <a:gd name="connsiteY7" fmla="*/ 33338 h 161926"/>
                <a:gd name="connsiteX8" fmla="*/ 69058 w 133352"/>
                <a:gd name="connsiteY8" fmla="*/ 0 h 161926"/>
                <a:gd name="connsiteX9" fmla="*/ 16671 w 133352"/>
                <a:gd name="connsiteY9" fmla="*/ 30957 h 161926"/>
                <a:gd name="connsiteX10" fmla="*/ 2 w 133352"/>
                <a:gd name="connsiteY10" fmla="*/ 54769 h 161926"/>
                <a:gd name="connsiteX11" fmla="*/ 0 w 133352"/>
                <a:gd name="connsiteY11" fmla="*/ 76200 h 161926"/>
                <a:gd name="connsiteX12" fmla="*/ 21433 w 133352"/>
                <a:gd name="connsiteY12" fmla="*/ 102394 h 161926"/>
                <a:gd name="connsiteX0" fmla="*/ 21433 w 140496"/>
                <a:gd name="connsiteY0" fmla="*/ 102394 h 161926"/>
                <a:gd name="connsiteX1" fmla="*/ 50008 w 140496"/>
                <a:gd name="connsiteY1" fmla="*/ 102394 h 161926"/>
                <a:gd name="connsiteX2" fmla="*/ 54770 w 140496"/>
                <a:gd name="connsiteY2" fmla="*/ 161926 h 161926"/>
                <a:gd name="connsiteX3" fmla="*/ 88108 w 140496"/>
                <a:gd name="connsiteY3" fmla="*/ 107157 h 161926"/>
                <a:gd name="connsiteX4" fmla="*/ 133352 w 140496"/>
                <a:gd name="connsiteY4" fmla="*/ 95251 h 161926"/>
                <a:gd name="connsiteX5" fmla="*/ 140496 w 140496"/>
                <a:gd name="connsiteY5" fmla="*/ 59531 h 161926"/>
                <a:gd name="connsiteX6" fmla="*/ 104777 w 140496"/>
                <a:gd name="connsiteY6" fmla="*/ 47626 h 161926"/>
                <a:gd name="connsiteX7" fmla="*/ 100014 w 140496"/>
                <a:gd name="connsiteY7" fmla="*/ 33338 h 161926"/>
                <a:gd name="connsiteX8" fmla="*/ 69058 w 140496"/>
                <a:gd name="connsiteY8" fmla="*/ 0 h 161926"/>
                <a:gd name="connsiteX9" fmla="*/ 16671 w 140496"/>
                <a:gd name="connsiteY9" fmla="*/ 30957 h 161926"/>
                <a:gd name="connsiteX10" fmla="*/ 2 w 140496"/>
                <a:gd name="connsiteY10" fmla="*/ 54769 h 161926"/>
                <a:gd name="connsiteX11" fmla="*/ 0 w 140496"/>
                <a:gd name="connsiteY11" fmla="*/ 76200 h 161926"/>
                <a:gd name="connsiteX12" fmla="*/ 21433 w 140496"/>
                <a:gd name="connsiteY12" fmla="*/ 102394 h 161926"/>
                <a:gd name="connsiteX0" fmla="*/ 21433 w 140496"/>
                <a:gd name="connsiteY0" fmla="*/ 102394 h 161926"/>
                <a:gd name="connsiteX1" fmla="*/ 43658 w 140496"/>
                <a:gd name="connsiteY1" fmla="*/ 111919 h 161926"/>
                <a:gd name="connsiteX2" fmla="*/ 54770 w 140496"/>
                <a:gd name="connsiteY2" fmla="*/ 161926 h 161926"/>
                <a:gd name="connsiteX3" fmla="*/ 88108 w 140496"/>
                <a:gd name="connsiteY3" fmla="*/ 107157 h 161926"/>
                <a:gd name="connsiteX4" fmla="*/ 133352 w 140496"/>
                <a:gd name="connsiteY4" fmla="*/ 95251 h 161926"/>
                <a:gd name="connsiteX5" fmla="*/ 140496 w 140496"/>
                <a:gd name="connsiteY5" fmla="*/ 59531 h 161926"/>
                <a:gd name="connsiteX6" fmla="*/ 104777 w 140496"/>
                <a:gd name="connsiteY6" fmla="*/ 47626 h 161926"/>
                <a:gd name="connsiteX7" fmla="*/ 100014 w 140496"/>
                <a:gd name="connsiteY7" fmla="*/ 33338 h 161926"/>
                <a:gd name="connsiteX8" fmla="*/ 69058 w 140496"/>
                <a:gd name="connsiteY8" fmla="*/ 0 h 161926"/>
                <a:gd name="connsiteX9" fmla="*/ 16671 w 140496"/>
                <a:gd name="connsiteY9" fmla="*/ 30957 h 161926"/>
                <a:gd name="connsiteX10" fmla="*/ 2 w 140496"/>
                <a:gd name="connsiteY10" fmla="*/ 54769 h 161926"/>
                <a:gd name="connsiteX11" fmla="*/ 0 w 140496"/>
                <a:gd name="connsiteY11" fmla="*/ 76200 h 161926"/>
                <a:gd name="connsiteX12" fmla="*/ 21433 w 140496"/>
                <a:gd name="connsiteY12" fmla="*/ 102394 h 161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0496" h="161926">
                  <a:moveTo>
                    <a:pt x="21433" y="102394"/>
                  </a:moveTo>
                  <a:lnTo>
                    <a:pt x="43658" y="111919"/>
                  </a:lnTo>
                  <a:lnTo>
                    <a:pt x="54770" y="161926"/>
                  </a:lnTo>
                  <a:lnTo>
                    <a:pt x="88108" y="107157"/>
                  </a:lnTo>
                  <a:lnTo>
                    <a:pt x="133352" y="95251"/>
                  </a:lnTo>
                  <a:lnTo>
                    <a:pt x="140496" y="59531"/>
                  </a:lnTo>
                  <a:lnTo>
                    <a:pt x="104777" y="47626"/>
                  </a:lnTo>
                  <a:lnTo>
                    <a:pt x="100014" y="33338"/>
                  </a:lnTo>
                  <a:lnTo>
                    <a:pt x="69058" y="0"/>
                  </a:lnTo>
                  <a:lnTo>
                    <a:pt x="16671" y="30957"/>
                  </a:lnTo>
                  <a:lnTo>
                    <a:pt x="2" y="54769"/>
                  </a:lnTo>
                  <a:cubicBezTo>
                    <a:pt x="1" y="61913"/>
                    <a:pt x="1" y="69056"/>
                    <a:pt x="0" y="76200"/>
                  </a:cubicBezTo>
                  <a:lnTo>
                    <a:pt x="21433" y="102394"/>
                  </a:lnTo>
                  <a:close/>
                </a:path>
              </a:pathLst>
            </a:custGeom>
            <a:solidFill>
              <a:schemeClr val="accent2"/>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36" name="Group 2449">
              <a:extLst>
                <a:ext uri="{FF2B5EF4-FFF2-40B4-BE49-F238E27FC236}">
                  <a16:creationId xmlns:a16="http://schemas.microsoft.com/office/drawing/2014/main" id="{E7E69C4D-D3BE-9A94-8225-336976B4FCA2}"/>
                </a:ext>
              </a:extLst>
            </p:cNvPr>
            <p:cNvGrpSpPr>
              <a:grpSpLocks noChangeAspect="1"/>
            </p:cNvGrpSpPr>
            <p:nvPr>
              <p:custDataLst>
                <p:tags r:id="rId6"/>
              </p:custDataLst>
            </p:nvPr>
          </p:nvGrpSpPr>
          <p:grpSpPr bwMode="auto">
            <a:xfrm>
              <a:off x="3912495" y="3173125"/>
              <a:ext cx="220760" cy="158520"/>
              <a:chOff x="3131" y="2031"/>
              <a:chExt cx="227" cy="163"/>
            </a:xfrm>
          </p:grpSpPr>
          <p:sp>
            <p:nvSpPr>
              <p:cNvPr id="201" name="Freeform 2450">
                <a:extLst>
                  <a:ext uri="{FF2B5EF4-FFF2-40B4-BE49-F238E27FC236}">
                    <a16:creationId xmlns:a16="http://schemas.microsoft.com/office/drawing/2014/main" id="{9BF1287F-E268-686F-3769-BFBAFB7F8767}"/>
                  </a:ext>
                </a:extLst>
              </p:cNvPr>
              <p:cNvSpPr>
                <a:spLocks noChangeAspect="1"/>
              </p:cNvSpPr>
              <p:nvPr/>
            </p:nvSpPr>
            <p:spPr bwMode="auto">
              <a:xfrm>
                <a:off x="3131" y="2103"/>
                <a:ext cx="40" cy="31"/>
              </a:xfrm>
              <a:custGeom>
                <a:avLst/>
                <a:gdLst>
                  <a:gd name="T0" fmla="*/ 18 w 40"/>
                  <a:gd name="T1" fmla="*/ 1 h 31"/>
                  <a:gd name="T2" fmla="*/ 26 w 40"/>
                  <a:gd name="T3" fmla="*/ 4 h 31"/>
                  <a:gd name="T4" fmla="*/ 36 w 40"/>
                  <a:gd name="T5" fmla="*/ 13 h 31"/>
                  <a:gd name="T6" fmla="*/ 26 w 40"/>
                  <a:gd name="T7" fmla="*/ 25 h 31"/>
                  <a:gd name="T8" fmla="*/ 16 w 40"/>
                  <a:gd name="T9" fmla="*/ 30 h 31"/>
                  <a:gd name="T10" fmla="*/ 12 w 40"/>
                  <a:gd name="T11" fmla="*/ 19 h 31"/>
                  <a:gd name="T12" fmla="*/ 0 w 40"/>
                  <a:gd name="T13" fmla="*/ 23 h 31"/>
                  <a:gd name="T14" fmla="*/ 15 w 40"/>
                  <a:gd name="T15" fmla="*/ 12 h 31"/>
                  <a:gd name="T16" fmla="*/ 18 w 40"/>
                  <a:gd name="T17" fmla="*/ 1 h 31"/>
                  <a:gd name="T18" fmla="*/ 22 w 40"/>
                  <a:gd name="T19" fmla="*/ 3 h 31"/>
                  <a:gd name="T20" fmla="*/ 18 w 40"/>
                  <a:gd name="T21" fmla="*/ 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0"/>
                  <a:gd name="T34" fmla="*/ 0 h 31"/>
                  <a:gd name="T35" fmla="*/ 40 w 40"/>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0" h="31">
                    <a:moveTo>
                      <a:pt x="18" y="1"/>
                    </a:moveTo>
                    <a:cubicBezTo>
                      <a:pt x="21" y="2"/>
                      <a:pt x="24" y="2"/>
                      <a:pt x="26" y="4"/>
                    </a:cubicBezTo>
                    <a:cubicBezTo>
                      <a:pt x="32" y="9"/>
                      <a:pt x="29" y="11"/>
                      <a:pt x="36" y="13"/>
                    </a:cubicBezTo>
                    <a:cubicBezTo>
                      <a:pt x="40" y="22"/>
                      <a:pt x="32" y="21"/>
                      <a:pt x="26" y="25"/>
                    </a:cubicBezTo>
                    <a:cubicBezTo>
                      <a:pt x="22" y="31"/>
                      <a:pt x="25" y="31"/>
                      <a:pt x="16" y="30"/>
                    </a:cubicBezTo>
                    <a:cubicBezTo>
                      <a:pt x="15" y="26"/>
                      <a:pt x="14" y="23"/>
                      <a:pt x="12" y="19"/>
                    </a:cubicBezTo>
                    <a:cubicBezTo>
                      <a:pt x="5" y="21"/>
                      <a:pt x="6" y="24"/>
                      <a:pt x="0" y="23"/>
                    </a:cubicBezTo>
                    <a:cubicBezTo>
                      <a:pt x="4" y="16"/>
                      <a:pt x="7" y="15"/>
                      <a:pt x="15" y="12"/>
                    </a:cubicBezTo>
                    <a:cubicBezTo>
                      <a:pt x="17" y="9"/>
                      <a:pt x="16" y="4"/>
                      <a:pt x="18" y="1"/>
                    </a:cubicBezTo>
                    <a:cubicBezTo>
                      <a:pt x="19" y="0"/>
                      <a:pt x="22" y="3"/>
                      <a:pt x="22" y="3"/>
                    </a:cubicBezTo>
                    <a:cubicBezTo>
                      <a:pt x="22" y="3"/>
                      <a:pt x="19" y="2"/>
                      <a:pt x="18" y="1"/>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11" name="Freeform 2451">
                <a:extLst>
                  <a:ext uri="{FF2B5EF4-FFF2-40B4-BE49-F238E27FC236}">
                    <a16:creationId xmlns:a16="http://schemas.microsoft.com/office/drawing/2014/main" id="{59CF4413-96B0-6B67-8C40-BAFB37701F29}"/>
                  </a:ext>
                </a:extLst>
              </p:cNvPr>
              <p:cNvSpPr>
                <a:spLocks noChangeAspect="1"/>
              </p:cNvSpPr>
              <p:nvPr/>
            </p:nvSpPr>
            <p:spPr bwMode="auto">
              <a:xfrm>
                <a:off x="3131" y="2136"/>
                <a:ext cx="52" cy="58"/>
              </a:xfrm>
              <a:custGeom>
                <a:avLst/>
                <a:gdLst>
                  <a:gd name="T0" fmla="*/ 35 w 52"/>
                  <a:gd name="T1" fmla="*/ 3 h 58"/>
                  <a:gd name="T2" fmla="*/ 51 w 52"/>
                  <a:gd name="T3" fmla="*/ 10 h 58"/>
                  <a:gd name="T4" fmla="*/ 44 w 52"/>
                  <a:gd name="T5" fmla="*/ 15 h 58"/>
                  <a:gd name="T6" fmla="*/ 33 w 52"/>
                  <a:gd name="T7" fmla="*/ 33 h 58"/>
                  <a:gd name="T8" fmla="*/ 18 w 52"/>
                  <a:gd name="T9" fmla="*/ 34 h 58"/>
                  <a:gd name="T10" fmla="*/ 11 w 52"/>
                  <a:gd name="T11" fmla="*/ 58 h 58"/>
                  <a:gd name="T12" fmla="*/ 14 w 52"/>
                  <a:gd name="T13" fmla="*/ 44 h 58"/>
                  <a:gd name="T14" fmla="*/ 0 w 52"/>
                  <a:gd name="T15" fmla="*/ 33 h 58"/>
                  <a:gd name="T16" fmla="*/ 15 w 52"/>
                  <a:gd name="T17" fmla="*/ 13 h 58"/>
                  <a:gd name="T18" fmla="*/ 35 w 52"/>
                  <a:gd name="T19" fmla="*/ 3 h 5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2"/>
                  <a:gd name="T31" fmla="*/ 0 h 58"/>
                  <a:gd name="T32" fmla="*/ 52 w 52"/>
                  <a:gd name="T33" fmla="*/ 58 h 5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2" h="58">
                    <a:moveTo>
                      <a:pt x="35" y="3"/>
                    </a:moveTo>
                    <a:cubicBezTo>
                      <a:pt x="41" y="4"/>
                      <a:pt x="45" y="8"/>
                      <a:pt x="51" y="10"/>
                    </a:cubicBezTo>
                    <a:cubicBezTo>
                      <a:pt x="49" y="19"/>
                      <a:pt x="52" y="10"/>
                      <a:pt x="44" y="15"/>
                    </a:cubicBezTo>
                    <a:cubicBezTo>
                      <a:pt x="38" y="19"/>
                      <a:pt x="41" y="30"/>
                      <a:pt x="33" y="33"/>
                    </a:cubicBezTo>
                    <a:cubicBezTo>
                      <a:pt x="29" y="30"/>
                      <a:pt x="18" y="34"/>
                      <a:pt x="18" y="34"/>
                    </a:cubicBezTo>
                    <a:cubicBezTo>
                      <a:pt x="15" y="42"/>
                      <a:pt x="18" y="53"/>
                      <a:pt x="11" y="58"/>
                    </a:cubicBezTo>
                    <a:cubicBezTo>
                      <a:pt x="3" y="55"/>
                      <a:pt x="10" y="47"/>
                      <a:pt x="14" y="44"/>
                    </a:cubicBezTo>
                    <a:cubicBezTo>
                      <a:pt x="11" y="32"/>
                      <a:pt x="6" y="42"/>
                      <a:pt x="0" y="33"/>
                    </a:cubicBezTo>
                    <a:cubicBezTo>
                      <a:pt x="2" y="24"/>
                      <a:pt x="5" y="16"/>
                      <a:pt x="15" y="13"/>
                    </a:cubicBezTo>
                    <a:cubicBezTo>
                      <a:pt x="18" y="0"/>
                      <a:pt x="17" y="3"/>
                      <a:pt x="35" y="3"/>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12" name="Freeform 2452">
                <a:extLst>
                  <a:ext uri="{FF2B5EF4-FFF2-40B4-BE49-F238E27FC236}">
                    <a16:creationId xmlns:a16="http://schemas.microsoft.com/office/drawing/2014/main" id="{12839FF9-17CA-31D3-1E20-8C5DA9B7CDFA}"/>
                  </a:ext>
                </a:extLst>
              </p:cNvPr>
              <p:cNvSpPr>
                <a:spLocks noChangeAspect="1"/>
              </p:cNvSpPr>
              <p:nvPr/>
            </p:nvSpPr>
            <p:spPr bwMode="auto">
              <a:xfrm>
                <a:off x="3177" y="2031"/>
                <a:ext cx="181" cy="157"/>
              </a:xfrm>
              <a:custGeom>
                <a:avLst/>
                <a:gdLst>
                  <a:gd name="T0" fmla="*/ 176 w 181"/>
                  <a:gd name="T1" fmla="*/ 145 h 157"/>
                  <a:gd name="T2" fmla="*/ 181 w 181"/>
                  <a:gd name="T3" fmla="*/ 121 h 157"/>
                  <a:gd name="T4" fmla="*/ 169 w 181"/>
                  <a:gd name="T5" fmla="*/ 101 h 157"/>
                  <a:gd name="T6" fmla="*/ 157 w 181"/>
                  <a:gd name="T7" fmla="*/ 82 h 157"/>
                  <a:gd name="T8" fmla="*/ 139 w 181"/>
                  <a:gd name="T9" fmla="*/ 58 h 157"/>
                  <a:gd name="T10" fmla="*/ 155 w 181"/>
                  <a:gd name="T11" fmla="*/ 45 h 157"/>
                  <a:gd name="T12" fmla="*/ 166 w 181"/>
                  <a:gd name="T13" fmla="*/ 41 h 157"/>
                  <a:gd name="T14" fmla="*/ 173 w 181"/>
                  <a:gd name="T15" fmla="*/ 21 h 157"/>
                  <a:gd name="T16" fmla="*/ 169 w 181"/>
                  <a:gd name="T17" fmla="*/ 5 h 157"/>
                  <a:gd name="T18" fmla="*/ 168 w 181"/>
                  <a:gd name="T19" fmla="*/ 1 h 157"/>
                  <a:gd name="T20" fmla="*/ 157 w 181"/>
                  <a:gd name="T21" fmla="*/ 7 h 157"/>
                  <a:gd name="T22" fmla="*/ 139 w 181"/>
                  <a:gd name="T23" fmla="*/ 12 h 157"/>
                  <a:gd name="T24" fmla="*/ 74 w 181"/>
                  <a:gd name="T25" fmla="*/ 18 h 157"/>
                  <a:gd name="T26" fmla="*/ 50 w 181"/>
                  <a:gd name="T27" fmla="*/ 33 h 157"/>
                  <a:gd name="T28" fmla="*/ 20 w 181"/>
                  <a:gd name="T29" fmla="*/ 49 h 157"/>
                  <a:gd name="T30" fmla="*/ 11 w 181"/>
                  <a:gd name="T31" fmla="*/ 55 h 157"/>
                  <a:gd name="T32" fmla="*/ 2 w 181"/>
                  <a:gd name="T33" fmla="*/ 65 h 157"/>
                  <a:gd name="T34" fmla="*/ 10 w 181"/>
                  <a:gd name="T35" fmla="*/ 89 h 157"/>
                  <a:gd name="T36" fmla="*/ 17 w 181"/>
                  <a:gd name="T37" fmla="*/ 101 h 157"/>
                  <a:gd name="T38" fmla="*/ 26 w 181"/>
                  <a:gd name="T39" fmla="*/ 111 h 157"/>
                  <a:gd name="T40" fmla="*/ 53 w 181"/>
                  <a:gd name="T41" fmla="*/ 114 h 157"/>
                  <a:gd name="T42" fmla="*/ 54 w 181"/>
                  <a:gd name="T43" fmla="*/ 126 h 157"/>
                  <a:gd name="T44" fmla="*/ 58 w 181"/>
                  <a:gd name="T45" fmla="*/ 132 h 157"/>
                  <a:gd name="T46" fmla="*/ 58 w 181"/>
                  <a:gd name="T47" fmla="*/ 144 h 157"/>
                  <a:gd name="T48" fmla="*/ 85 w 181"/>
                  <a:gd name="T49" fmla="*/ 131 h 157"/>
                  <a:gd name="T50" fmla="*/ 109 w 181"/>
                  <a:gd name="T51" fmla="*/ 138 h 157"/>
                  <a:gd name="T52" fmla="*/ 119 w 181"/>
                  <a:gd name="T53" fmla="*/ 147 h 157"/>
                  <a:gd name="T54" fmla="*/ 128 w 181"/>
                  <a:gd name="T55" fmla="*/ 150 h 157"/>
                  <a:gd name="T56" fmla="*/ 146 w 181"/>
                  <a:gd name="T57" fmla="*/ 154 h 157"/>
                  <a:gd name="T58" fmla="*/ 176 w 181"/>
                  <a:gd name="T59" fmla="*/ 145 h 15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81"/>
                  <a:gd name="T91" fmla="*/ 0 h 157"/>
                  <a:gd name="T92" fmla="*/ 181 w 181"/>
                  <a:gd name="T93" fmla="*/ 157 h 15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81" h="157">
                    <a:moveTo>
                      <a:pt x="176" y="145"/>
                    </a:moveTo>
                    <a:cubicBezTo>
                      <a:pt x="165" y="141"/>
                      <a:pt x="179" y="128"/>
                      <a:pt x="181" y="121"/>
                    </a:cubicBezTo>
                    <a:cubicBezTo>
                      <a:pt x="179" y="111"/>
                      <a:pt x="178" y="107"/>
                      <a:pt x="169" y="101"/>
                    </a:cubicBezTo>
                    <a:cubicBezTo>
                      <a:pt x="166" y="95"/>
                      <a:pt x="162" y="87"/>
                      <a:pt x="157" y="82"/>
                    </a:cubicBezTo>
                    <a:cubicBezTo>
                      <a:pt x="154" y="73"/>
                      <a:pt x="142" y="68"/>
                      <a:pt x="139" y="58"/>
                    </a:cubicBezTo>
                    <a:cubicBezTo>
                      <a:pt x="140" y="45"/>
                      <a:pt x="143" y="46"/>
                      <a:pt x="155" y="45"/>
                    </a:cubicBezTo>
                    <a:cubicBezTo>
                      <a:pt x="158" y="43"/>
                      <a:pt x="166" y="41"/>
                      <a:pt x="166" y="41"/>
                    </a:cubicBezTo>
                    <a:cubicBezTo>
                      <a:pt x="169" y="37"/>
                      <a:pt x="172" y="27"/>
                      <a:pt x="173" y="21"/>
                    </a:cubicBezTo>
                    <a:cubicBezTo>
                      <a:pt x="175" y="15"/>
                      <a:pt x="174" y="8"/>
                      <a:pt x="169" y="5"/>
                    </a:cubicBezTo>
                    <a:cubicBezTo>
                      <a:pt x="169" y="4"/>
                      <a:pt x="169" y="1"/>
                      <a:pt x="168" y="1"/>
                    </a:cubicBezTo>
                    <a:cubicBezTo>
                      <a:pt x="164" y="0"/>
                      <a:pt x="157" y="7"/>
                      <a:pt x="157" y="7"/>
                    </a:cubicBezTo>
                    <a:cubicBezTo>
                      <a:pt x="153" y="18"/>
                      <a:pt x="157" y="13"/>
                      <a:pt x="139" y="12"/>
                    </a:cubicBezTo>
                    <a:cubicBezTo>
                      <a:pt x="116" y="14"/>
                      <a:pt x="98" y="17"/>
                      <a:pt x="74" y="18"/>
                    </a:cubicBezTo>
                    <a:cubicBezTo>
                      <a:pt x="69" y="26"/>
                      <a:pt x="58" y="28"/>
                      <a:pt x="50" y="33"/>
                    </a:cubicBezTo>
                    <a:cubicBezTo>
                      <a:pt x="40" y="39"/>
                      <a:pt x="29" y="43"/>
                      <a:pt x="20" y="49"/>
                    </a:cubicBezTo>
                    <a:cubicBezTo>
                      <a:pt x="17" y="53"/>
                      <a:pt x="15" y="52"/>
                      <a:pt x="11" y="55"/>
                    </a:cubicBezTo>
                    <a:cubicBezTo>
                      <a:pt x="10" y="58"/>
                      <a:pt x="5" y="63"/>
                      <a:pt x="2" y="65"/>
                    </a:cubicBezTo>
                    <a:cubicBezTo>
                      <a:pt x="0" y="74"/>
                      <a:pt x="2" y="84"/>
                      <a:pt x="10" y="89"/>
                    </a:cubicBezTo>
                    <a:cubicBezTo>
                      <a:pt x="11" y="94"/>
                      <a:pt x="13" y="98"/>
                      <a:pt x="17" y="101"/>
                    </a:cubicBezTo>
                    <a:cubicBezTo>
                      <a:pt x="18" y="106"/>
                      <a:pt x="21" y="109"/>
                      <a:pt x="26" y="111"/>
                    </a:cubicBezTo>
                    <a:cubicBezTo>
                      <a:pt x="31" y="118"/>
                      <a:pt x="46" y="113"/>
                      <a:pt x="53" y="114"/>
                    </a:cubicBezTo>
                    <a:cubicBezTo>
                      <a:pt x="60" y="119"/>
                      <a:pt x="47" y="116"/>
                      <a:pt x="54" y="126"/>
                    </a:cubicBezTo>
                    <a:cubicBezTo>
                      <a:pt x="55" y="128"/>
                      <a:pt x="58" y="132"/>
                      <a:pt x="58" y="132"/>
                    </a:cubicBezTo>
                    <a:cubicBezTo>
                      <a:pt x="58" y="136"/>
                      <a:pt x="55" y="141"/>
                      <a:pt x="58" y="144"/>
                    </a:cubicBezTo>
                    <a:cubicBezTo>
                      <a:pt x="62" y="144"/>
                      <a:pt x="77" y="132"/>
                      <a:pt x="85" y="131"/>
                    </a:cubicBezTo>
                    <a:cubicBezTo>
                      <a:pt x="93" y="132"/>
                      <a:pt x="101" y="131"/>
                      <a:pt x="109" y="138"/>
                    </a:cubicBezTo>
                    <a:cubicBezTo>
                      <a:pt x="110" y="141"/>
                      <a:pt x="115" y="145"/>
                      <a:pt x="119" y="147"/>
                    </a:cubicBezTo>
                    <a:cubicBezTo>
                      <a:pt x="122" y="148"/>
                      <a:pt x="128" y="150"/>
                      <a:pt x="128" y="150"/>
                    </a:cubicBezTo>
                    <a:cubicBezTo>
                      <a:pt x="135" y="157"/>
                      <a:pt x="134" y="155"/>
                      <a:pt x="146" y="154"/>
                    </a:cubicBezTo>
                    <a:cubicBezTo>
                      <a:pt x="160" y="149"/>
                      <a:pt x="151" y="150"/>
                      <a:pt x="176" y="145"/>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grpSp>
          <p:nvGrpSpPr>
            <p:cNvPr id="42" name="Group 41">
              <a:extLst>
                <a:ext uri="{FF2B5EF4-FFF2-40B4-BE49-F238E27FC236}">
                  <a16:creationId xmlns:a16="http://schemas.microsoft.com/office/drawing/2014/main" id="{9E75F6F1-57B2-A242-E7B3-C355851A1AA9}"/>
                </a:ext>
              </a:extLst>
            </p:cNvPr>
            <p:cNvGrpSpPr>
              <a:grpSpLocks/>
            </p:cNvGrpSpPr>
            <p:nvPr/>
          </p:nvGrpSpPr>
          <p:grpSpPr>
            <a:xfrm>
              <a:off x="4000994" y="4414047"/>
              <a:ext cx="447355" cy="443465"/>
              <a:chOff x="5503754" y="4730485"/>
              <a:chExt cx="658673" cy="652946"/>
            </a:xfrm>
          </p:grpSpPr>
          <p:sp>
            <p:nvSpPr>
              <p:cNvPr id="612" name="Freeform 2455">
                <a:extLst>
                  <a:ext uri="{FF2B5EF4-FFF2-40B4-BE49-F238E27FC236}">
                    <a16:creationId xmlns:a16="http://schemas.microsoft.com/office/drawing/2014/main" id="{F00E0DE6-C1C2-02F5-71A4-839A91584E64}"/>
                  </a:ext>
                </a:extLst>
              </p:cNvPr>
              <p:cNvSpPr>
                <a:spLocks noChangeAspect="1"/>
              </p:cNvSpPr>
              <p:nvPr/>
            </p:nvSpPr>
            <p:spPr bwMode="auto">
              <a:xfrm>
                <a:off x="5840250" y="5349065"/>
                <a:ext cx="21478" cy="34366"/>
              </a:xfrm>
              <a:custGeom>
                <a:avLst/>
                <a:gdLst>
                  <a:gd name="T0" fmla="*/ 3 w 15"/>
                  <a:gd name="T1" fmla="*/ 0 h 24"/>
                  <a:gd name="T2" fmla="*/ 14 w 15"/>
                  <a:gd name="T3" fmla="*/ 8 h 24"/>
                  <a:gd name="T4" fmla="*/ 10 w 15"/>
                  <a:gd name="T5" fmla="*/ 18 h 24"/>
                  <a:gd name="T6" fmla="*/ 6 w 15"/>
                  <a:gd name="T7" fmla="*/ 24 h 24"/>
                  <a:gd name="T8" fmla="*/ 0 w 15"/>
                  <a:gd name="T9" fmla="*/ 12 h 24"/>
                  <a:gd name="T10" fmla="*/ 3 w 15"/>
                  <a:gd name="T11" fmla="*/ 0 h 24"/>
                  <a:gd name="T12" fmla="*/ 0 60000 65536"/>
                  <a:gd name="T13" fmla="*/ 0 60000 65536"/>
                  <a:gd name="T14" fmla="*/ 0 60000 65536"/>
                  <a:gd name="T15" fmla="*/ 0 60000 65536"/>
                  <a:gd name="T16" fmla="*/ 0 60000 65536"/>
                  <a:gd name="T17" fmla="*/ 0 60000 65536"/>
                  <a:gd name="T18" fmla="*/ 0 w 15"/>
                  <a:gd name="T19" fmla="*/ 0 h 24"/>
                  <a:gd name="T20" fmla="*/ 15 w 15"/>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15" h="24">
                    <a:moveTo>
                      <a:pt x="3" y="0"/>
                    </a:moveTo>
                    <a:cubicBezTo>
                      <a:pt x="11" y="1"/>
                      <a:pt x="13" y="0"/>
                      <a:pt x="14" y="8"/>
                    </a:cubicBezTo>
                    <a:cubicBezTo>
                      <a:pt x="12" y="19"/>
                      <a:pt x="15" y="12"/>
                      <a:pt x="10" y="18"/>
                    </a:cubicBezTo>
                    <a:cubicBezTo>
                      <a:pt x="9" y="20"/>
                      <a:pt x="6" y="24"/>
                      <a:pt x="6" y="24"/>
                    </a:cubicBezTo>
                    <a:cubicBezTo>
                      <a:pt x="3" y="21"/>
                      <a:pt x="0" y="12"/>
                      <a:pt x="0" y="12"/>
                    </a:cubicBezTo>
                    <a:cubicBezTo>
                      <a:pt x="1" y="8"/>
                      <a:pt x="2" y="4"/>
                      <a:pt x="3" y="0"/>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613" name="Freeform 2456">
                <a:extLst>
                  <a:ext uri="{FF2B5EF4-FFF2-40B4-BE49-F238E27FC236}">
                    <a16:creationId xmlns:a16="http://schemas.microsoft.com/office/drawing/2014/main" id="{4DF4B9D8-F1E5-D6A4-0484-A4B0A29E411D}"/>
                  </a:ext>
                </a:extLst>
              </p:cNvPr>
              <p:cNvSpPr>
                <a:spLocks noChangeAspect="1"/>
              </p:cNvSpPr>
              <p:nvPr/>
            </p:nvSpPr>
            <p:spPr bwMode="auto">
              <a:xfrm>
                <a:off x="5503754" y="5032615"/>
                <a:ext cx="48685" cy="41525"/>
              </a:xfrm>
              <a:custGeom>
                <a:avLst/>
                <a:gdLst>
                  <a:gd name="T0" fmla="*/ 16 w 34"/>
                  <a:gd name="T1" fmla="*/ 1 h 29"/>
                  <a:gd name="T2" fmla="*/ 14 w 34"/>
                  <a:gd name="T3" fmla="*/ 13 h 29"/>
                  <a:gd name="T4" fmla="*/ 23 w 34"/>
                  <a:gd name="T5" fmla="*/ 19 h 29"/>
                  <a:gd name="T6" fmla="*/ 34 w 34"/>
                  <a:gd name="T7" fmla="*/ 26 h 29"/>
                  <a:gd name="T8" fmla="*/ 23 w 34"/>
                  <a:gd name="T9" fmla="*/ 17 h 29"/>
                  <a:gd name="T10" fmla="*/ 19 w 34"/>
                  <a:gd name="T11" fmla="*/ 2 h 29"/>
                  <a:gd name="T12" fmla="*/ 11 w 34"/>
                  <a:gd name="T13" fmla="*/ 0 h 29"/>
                  <a:gd name="T14" fmla="*/ 16 w 34"/>
                  <a:gd name="T15" fmla="*/ 1 h 29"/>
                  <a:gd name="T16" fmla="*/ 0 60000 65536"/>
                  <a:gd name="T17" fmla="*/ 0 60000 65536"/>
                  <a:gd name="T18" fmla="*/ 0 60000 65536"/>
                  <a:gd name="T19" fmla="*/ 0 60000 65536"/>
                  <a:gd name="T20" fmla="*/ 0 60000 65536"/>
                  <a:gd name="T21" fmla="*/ 0 60000 65536"/>
                  <a:gd name="T22" fmla="*/ 0 60000 65536"/>
                  <a:gd name="T23" fmla="*/ 0 60000 65536"/>
                  <a:gd name="T24" fmla="*/ 0 w 34"/>
                  <a:gd name="T25" fmla="*/ 0 h 29"/>
                  <a:gd name="T26" fmla="*/ 34 w 34"/>
                  <a:gd name="T27" fmla="*/ 29 h 2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4" h="29">
                    <a:moveTo>
                      <a:pt x="16" y="1"/>
                    </a:moveTo>
                    <a:cubicBezTo>
                      <a:pt x="2" y="3"/>
                      <a:pt x="0" y="8"/>
                      <a:pt x="14" y="13"/>
                    </a:cubicBezTo>
                    <a:cubicBezTo>
                      <a:pt x="17" y="16"/>
                      <a:pt x="20" y="17"/>
                      <a:pt x="23" y="19"/>
                    </a:cubicBezTo>
                    <a:cubicBezTo>
                      <a:pt x="26" y="28"/>
                      <a:pt x="25" y="29"/>
                      <a:pt x="34" y="26"/>
                    </a:cubicBezTo>
                    <a:cubicBezTo>
                      <a:pt x="33" y="22"/>
                      <a:pt x="27" y="21"/>
                      <a:pt x="23" y="17"/>
                    </a:cubicBezTo>
                    <a:cubicBezTo>
                      <a:pt x="22" y="14"/>
                      <a:pt x="21" y="4"/>
                      <a:pt x="19" y="2"/>
                    </a:cubicBezTo>
                    <a:cubicBezTo>
                      <a:pt x="17" y="0"/>
                      <a:pt x="11" y="0"/>
                      <a:pt x="11" y="0"/>
                    </a:cubicBezTo>
                    <a:cubicBezTo>
                      <a:pt x="11" y="0"/>
                      <a:pt x="14" y="1"/>
                      <a:pt x="16" y="1"/>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614" name="Freeform 2457">
                <a:extLst>
                  <a:ext uri="{FF2B5EF4-FFF2-40B4-BE49-F238E27FC236}">
                    <a16:creationId xmlns:a16="http://schemas.microsoft.com/office/drawing/2014/main" id="{1F432D75-20C5-67B4-7495-4B4D71DA975D}"/>
                  </a:ext>
                </a:extLst>
              </p:cNvPr>
              <p:cNvSpPr>
                <a:spLocks noChangeAspect="1"/>
              </p:cNvSpPr>
              <p:nvPr/>
            </p:nvSpPr>
            <p:spPr bwMode="auto">
              <a:xfrm>
                <a:off x="5596827" y="5121393"/>
                <a:ext cx="22910" cy="32934"/>
              </a:xfrm>
              <a:custGeom>
                <a:avLst/>
                <a:gdLst>
                  <a:gd name="T0" fmla="*/ 8 w 16"/>
                  <a:gd name="T1" fmla="*/ 0 h 23"/>
                  <a:gd name="T2" fmla="*/ 15 w 16"/>
                  <a:gd name="T3" fmla="*/ 8 h 23"/>
                  <a:gd name="T4" fmla="*/ 8 w 16"/>
                  <a:gd name="T5" fmla="*/ 23 h 23"/>
                  <a:gd name="T6" fmla="*/ 0 w 16"/>
                  <a:gd name="T7" fmla="*/ 16 h 23"/>
                  <a:gd name="T8" fmla="*/ 8 w 16"/>
                  <a:gd name="T9" fmla="*/ 0 h 23"/>
                  <a:gd name="T10" fmla="*/ 0 60000 65536"/>
                  <a:gd name="T11" fmla="*/ 0 60000 65536"/>
                  <a:gd name="T12" fmla="*/ 0 60000 65536"/>
                  <a:gd name="T13" fmla="*/ 0 60000 65536"/>
                  <a:gd name="T14" fmla="*/ 0 60000 65536"/>
                  <a:gd name="T15" fmla="*/ 0 w 16"/>
                  <a:gd name="T16" fmla="*/ 0 h 23"/>
                  <a:gd name="T17" fmla="*/ 16 w 16"/>
                  <a:gd name="T18" fmla="*/ 23 h 23"/>
                </a:gdLst>
                <a:ahLst/>
                <a:cxnLst>
                  <a:cxn ang="T10">
                    <a:pos x="T0" y="T1"/>
                  </a:cxn>
                  <a:cxn ang="T11">
                    <a:pos x="T2" y="T3"/>
                  </a:cxn>
                  <a:cxn ang="T12">
                    <a:pos x="T4" y="T5"/>
                  </a:cxn>
                  <a:cxn ang="T13">
                    <a:pos x="T6" y="T7"/>
                  </a:cxn>
                  <a:cxn ang="T14">
                    <a:pos x="T8" y="T9"/>
                  </a:cxn>
                </a:cxnLst>
                <a:rect l="T15" t="T16" r="T17" b="T18"/>
                <a:pathLst>
                  <a:path w="16" h="23">
                    <a:moveTo>
                      <a:pt x="8" y="0"/>
                    </a:moveTo>
                    <a:cubicBezTo>
                      <a:pt x="11" y="3"/>
                      <a:pt x="14" y="4"/>
                      <a:pt x="15" y="8"/>
                    </a:cubicBezTo>
                    <a:cubicBezTo>
                      <a:pt x="14" y="19"/>
                      <a:pt x="16" y="20"/>
                      <a:pt x="8" y="23"/>
                    </a:cubicBezTo>
                    <a:cubicBezTo>
                      <a:pt x="2" y="22"/>
                      <a:pt x="5" y="19"/>
                      <a:pt x="0" y="16"/>
                    </a:cubicBezTo>
                    <a:cubicBezTo>
                      <a:pt x="1" y="13"/>
                      <a:pt x="8" y="0"/>
                      <a:pt x="8" y="0"/>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615" name="Freeform 2458">
                <a:extLst>
                  <a:ext uri="{FF2B5EF4-FFF2-40B4-BE49-F238E27FC236}">
                    <a16:creationId xmlns:a16="http://schemas.microsoft.com/office/drawing/2014/main" id="{A8F270F8-887E-57F0-D9F0-31B0A61F5DD5}"/>
                  </a:ext>
                </a:extLst>
              </p:cNvPr>
              <p:cNvSpPr>
                <a:spLocks noChangeAspect="1"/>
              </p:cNvSpPr>
              <p:nvPr/>
            </p:nvSpPr>
            <p:spPr bwMode="auto">
              <a:xfrm>
                <a:off x="5588236" y="5152895"/>
                <a:ext cx="44389" cy="51548"/>
              </a:xfrm>
              <a:custGeom>
                <a:avLst/>
                <a:gdLst>
                  <a:gd name="T0" fmla="*/ 16 w 31"/>
                  <a:gd name="T1" fmla="*/ 6 h 36"/>
                  <a:gd name="T2" fmla="*/ 24 w 31"/>
                  <a:gd name="T3" fmla="*/ 13 h 36"/>
                  <a:gd name="T4" fmla="*/ 27 w 31"/>
                  <a:gd name="T5" fmla="*/ 24 h 36"/>
                  <a:gd name="T6" fmla="*/ 24 w 31"/>
                  <a:gd name="T7" fmla="*/ 36 h 36"/>
                  <a:gd name="T8" fmla="*/ 14 w 31"/>
                  <a:gd name="T9" fmla="*/ 34 h 36"/>
                  <a:gd name="T10" fmla="*/ 8 w 31"/>
                  <a:gd name="T11" fmla="*/ 36 h 36"/>
                  <a:gd name="T12" fmla="*/ 0 w 31"/>
                  <a:gd name="T13" fmla="*/ 28 h 36"/>
                  <a:gd name="T14" fmla="*/ 11 w 31"/>
                  <a:gd name="T15" fmla="*/ 19 h 36"/>
                  <a:gd name="T16" fmla="*/ 12 w 31"/>
                  <a:gd name="T17" fmla="*/ 2 h 36"/>
                  <a:gd name="T18" fmla="*/ 16 w 31"/>
                  <a:gd name="T19" fmla="*/ 6 h 3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1"/>
                  <a:gd name="T31" fmla="*/ 0 h 36"/>
                  <a:gd name="T32" fmla="*/ 31 w 31"/>
                  <a:gd name="T33" fmla="*/ 36 h 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1" h="36">
                    <a:moveTo>
                      <a:pt x="16" y="6"/>
                    </a:moveTo>
                    <a:cubicBezTo>
                      <a:pt x="20" y="8"/>
                      <a:pt x="23" y="9"/>
                      <a:pt x="24" y="13"/>
                    </a:cubicBezTo>
                    <a:cubicBezTo>
                      <a:pt x="23" y="19"/>
                      <a:pt x="21" y="22"/>
                      <a:pt x="27" y="24"/>
                    </a:cubicBezTo>
                    <a:cubicBezTo>
                      <a:pt x="28" y="29"/>
                      <a:pt x="31" y="34"/>
                      <a:pt x="24" y="36"/>
                    </a:cubicBezTo>
                    <a:cubicBezTo>
                      <a:pt x="21" y="35"/>
                      <a:pt x="17" y="34"/>
                      <a:pt x="14" y="34"/>
                    </a:cubicBezTo>
                    <a:cubicBezTo>
                      <a:pt x="12" y="34"/>
                      <a:pt x="8" y="36"/>
                      <a:pt x="8" y="36"/>
                    </a:cubicBezTo>
                    <a:cubicBezTo>
                      <a:pt x="5" y="31"/>
                      <a:pt x="3" y="33"/>
                      <a:pt x="0" y="28"/>
                    </a:cubicBezTo>
                    <a:cubicBezTo>
                      <a:pt x="3" y="23"/>
                      <a:pt x="6" y="21"/>
                      <a:pt x="11" y="19"/>
                    </a:cubicBezTo>
                    <a:cubicBezTo>
                      <a:pt x="11" y="13"/>
                      <a:pt x="11" y="8"/>
                      <a:pt x="12" y="2"/>
                    </a:cubicBezTo>
                    <a:cubicBezTo>
                      <a:pt x="12" y="0"/>
                      <a:pt x="16" y="4"/>
                      <a:pt x="16" y="6"/>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616" name="Freeform 2459">
                <a:extLst>
                  <a:ext uri="{FF2B5EF4-FFF2-40B4-BE49-F238E27FC236}">
                    <a16:creationId xmlns:a16="http://schemas.microsoft.com/office/drawing/2014/main" id="{B25467DE-D216-FE0F-344C-5C63659DF4E7}"/>
                  </a:ext>
                </a:extLst>
              </p:cNvPr>
              <p:cNvSpPr>
                <a:spLocks noChangeAspect="1"/>
              </p:cNvSpPr>
              <p:nvPr/>
            </p:nvSpPr>
            <p:spPr bwMode="auto">
              <a:xfrm>
                <a:off x="5618306" y="5214466"/>
                <a:ext cx="37229" cy="31502"/>
              </a:xfrm>
              <a:custGeom>
                <a:avLst/>
                <a:gdLst>
                  <a:gd name="T0" fmla="*/ 5 w 26"/>
                  <a:gd name="T1" fmla="*/ 4 h 22"/>
                  <a:gd name="T2" fmla="*/ 26 w 26"/>
                  <a:gd name="T3" fmla="*/ 15 h 22"/>
                  <a:gd name="T4" fmla="*/ 18 w 26"/>
                  <a:gd name="T5" fmla="*/ 22 h 22"/>
                  <a:gd name="T6" fmla="*/ 13 w 26"/>
                  <a:gd name="T7" fmla="*/ 21 h 22"/>
                  <a:gd name="T8" fmla="*/ 11 w 26"/>
                  <a:gd name="T9" fmla="*/ 18 h 22"/>
                  <a:gd name="T10" fmla="*/ 2 w 26"/>
                  <a:gd name="T11" fmla="*/ 15 h 22"/>
                  <a:gd name="T12" fmla="*/ 5 w 26"/>
                  <a:gd name="T13" fmla="*/ 5 h 22"/>
                  <a:gd name="T14" fmla="*/ 5 w 26"/>
                  <a:gd name="T15" fmla="*/ 4 h 22"/>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22"/>
                  <a:gd name="T26" fmla="*/ 26 w 26"/>
                  <a:gd name="T27" fmla="*/ 22 h 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22">
                    <a:moveTo>
                      <a:pt x="5" y="4"/>
                    </a:moveTo>
                    <a:cubicBezTo>
                      <a:pt x="15" y="5"/>
                      <a:pt x="17" y="12"/>
                      <a:pt x="26" y="15"/>
                    </a:cubicBezTo>
                    <a:cubicBezTo>
                      <a:pt x="24" y="20"/>
                      <a:pt x="24" y="21"/>
                      <a:pt x="18" y="22"/>
                    </a:cubicBezTo>
                    <a:cubicBezTo>
                      <a:pt x="16" y="22"/>
                      <a:pt x="14" y="22"/>
                      <a:pt x="13" y="21"/>
                    </a:cubicBezTo>
                    <a:cubicBezTo>
                      <a:pt x="12" y="20"/>
                      <a:pt x="12" y="19"/>
                      <a:pt x="11" y="18"/>
                    </a:cubicBezTo>
                    <a:cubicBezTo>
                      <a:pt x="8" y="16"/>
                      <a:pt x="2" y="15"/>
                      <a:pt x="2" y="15"/>
                    </a:cubicBezTo>
                    <a:cubicBezTo>
                      <a:pt x="0" y="10"/>
                      <a:pt x="1" y="8"/>
                      <a:pt x="5" y="5"/>
                    </a:cubicBezTo>
                    <a:cubicBezTo>
                      <a:pt x="6" y="0"/>
                      <a:pt x="6" y="0"/>
                      <a:pt x="5" y="4"/>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617" name="Freeform 2460">
                <a:extLst>
                  <a:ext uri="{FF2B5EF4-FFF2-40B4-BE49-F238E27FC236}">
                    <a16:creationId xmlns:a16="http://schemas.microsoft.com/office/drawing/2014/main" id="{47D1DC2F-743F-E888-06A2-3787B9EBC656}"/>
                  </a:ext>
                </a:extLst>
              </p:cNvPr>
              <p:cNvSpPr>
                <a:spLocks noChangeAspect="1"/>
              </p:cNvSpPr>
              <p:nvPr/>
            </p:nvSpPr>
            <p:spPr bwMode="auto">
              <a:xfrm>
                <a:off x="5800157" y="5064117"/>
                <a:ext cx="113120" cy="73027"/>
              </a:xfrm>
              <a:custGeom>
                <a:avLst/>
                <a:gdLst>
                  <a:gd name="T0" fmla="*/ 12 w 79"/>
                  <a:gd name="T1" fmla="*/ 3 h 51"/>
                  <a:gd name="T2" fmla="*/ 28 w 79"/>
                  <a:gd name="T3" fmla="*/ 10 h 51"/>
                  <a:gd name="T4" fmla="*/ 49 w 79"/>
                  <a:gd name="T5" fmla="*/ 21 h 51"/>
                  <a:gd name="T6" fmla="*/ 64 w 79"/>
                  <a:gd name="T7" fmla="*/ 19 h 51"/>
                  <a:gd name="T8" fmla="*/ 76 w 79"/>
                  <a:gd name="T9" fmla="*/ 33 h 51"/>
                  <a:gd name="T10" fmla="*/ 79 w 79"/>
                  <a:gd name="T11" fmla="*/ 44 h 51"/>
                  <a:gd name="T12" fmla="*/ 74 w 79"/>
                  <a:gd name="T13" fmla="*/ 51 h 51"/>
                  <a:gd name="T14" fmla="*/ 68 w 79"/>
                  <a:gd name="T15" fmla="*/ 49 h 51"/>
                  <a:gd name="T16" fmla="*/ 54 w 79"/>
                  <a:gd name="T17" fmla="*/ 44 h 51"/>
                  <a:gd name="T18" fmla="*/ 43 w 79"/>
                  <a:gd name="T19" fmla="*/ 36 h 51"/>
                  <a:gd name="T20" fmla="*/ 31 w 79"/>
                  <a:gd name="T21" fmla="*/ 30 h 51"/>
                  <a:gd name="T22" fmla="*/ 14 w 79"/>
                  <a:gd name="T23" fmla="*/ 24 h 51"/>
                  <a:gd name="T24" fmla="*/ 5 w 79"/>
                  <a:gd name="T25" fmla="*/ 19 h 51"/>
                  <a:gd name="T26" fmla="*/ 0 w 79"/>
                  <a:gd name="T27" fmla="*/ 10 h 51"/>
                  <a:gd name="T28" fmla="*/ 10 w 79"/>
                  <a:gd name="T29" fmla="*/ 0 h 51"/>
                  <a:gd name="T30" fmla="*/ 12 w 79"/>
                  <a:gd name="T31" fmla="*/ 3 h 5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9"/>
                  <a:gd name="T49" fmla="*/ 0 h 51"/>
                  <a:gd name="T50" fmla="*/ 79 w 79"/>
                  <a:gd name="T51" fmla="*/ 51 h 5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9" h="51">
                    <a:moveTo>
                      <a:pt x="12" y="3"/>
                    </a:moveTo>
                    <a:cubicBezTo>
                      <a:pt x="25" y="4"/>
                      <a:pt x="21" y="3"/>
                      <a:pt x="28" y="10"/>
                    </a:cubicBezTo>
                    <a:cubicBezTo>
                      <a:pt x="30" y="20"/>
                      <a:pt x="40" y="20"/>
                      <a:pt x="49" y="21"/>
                    </a:cubicBezTo>
                    <a:cubicBezTo>
                      <a:pt x="54" y="22"/>
                      <a:pt x="64" y="19"/>
                      <a:pt x="64" y="19"/>
                    </a:cubicBezTo>
                    <a:cubicBezTo>
                      <a:pt x="72" y="21"/>
                      <a:pt x="71" y="28"/>
                      <a:pt x="76" y="33"/>
                    </a:cubicBezTo>
                    <a:cubicBezTo>
                      <a:pt x="77" y="37"/>
                      <a:pt x="79" y="44"/>
                      <a:pt x="79" y="44"/>
                    </a:cubicBezTo>
                    <a:cubicBezTo>
                      <a:pt x="78" y="47"/>
                      <a:pt x="79" y="51"/>
                      <a:pt x="74" y="51"/>
                    </a:cubicBezTo>
                    <a:cubicBezTo>
                      <a:pt x="72" y="51"/>
                      <a:pt x="68" y="49"/>
                      <a:pt x="68" y="49"/>
                    </a:cubicBezTo>
                    <a:cubicBezTo>
                      <a:pt x="66" y="43"/>
                      <a:pt x="60" y="45"/>
                      <a:pt x="54" y="44"/>
                    </a:cubicBezTo>
                    <a:cubicBezTo>
                      <a:pt x="49" y="42"/>
                      <a:pt x="49" y="38"/>
                      <a:pt x="43" y="36"/>
                    </a:cubicBezTo>
                    <a:cubicBezTo>
                      <a:pt x="40" y="33"/>
                      <a:pt x="31" y="30"/>
                      <a:pt x="31" y="30"/>
                    </a:cubicBezTo>
                    <a:cubicBezTo>
                      <a:pt x="26" y="25"/>
                      <a:pt x="21" y="25"/>
                      <a:pt x="14" y="24"/>
                    </a:cubicBezTo>
                    <a:cubicBezTo>
                      <a:pt x="11" y="22"/>
                      <a:pt x="8" y="21"/>
                      <a:pt x="5" y="19"/>
                    </a:cubicBezTo>
                    <a:cubicBezTo>
                      <a:pt x="4" y="14"/>
                      <a:pt x="1" y="14"/>
                      <a:pt x="0" y="10"/>
                    </a:cubicBezTo>
                    <a:cubicBezTo>
                      <a:pt x="4" y="4"/>
                      <a:pt x="4" y="2"/>
                      <a:pt x="10" y="0"/>
                    </a:cubicBezTo>
                    <a:cubicBezTo>
                      <a:pt x="17" y="1"/>
                      <a:pt x="18" y="0"/>
                      <a:pt x="12" y="3"/>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618" name="Freeform 2461">
                <a:extLst>
                  <a:ext uri="{FF2B5EF4-FFF2-40B4-BE49-F238E27FC236}">
                    <a16:creationId xmlns:a16="http://schemas.microsoft.com/office/drawing/2014/main" id="{4D3FA775-A06B-CD99-C779-27BD33AED16F}"/>
                  </a:ext>
                </a:extLst>
              </p:cNvPr>
              <p:cNvSpPr>
                <a:spLocks noChangeAspect="1"/>
              </p:cNvSpPr>
              <p:nvPr/>
            </p:nvSpPr>
            <p:spPr bwMode="auto">
              <a:xfrm>
                <a:off x="5910413" y="5135712"/>
                <a:ext cx="48685" cy="31502"/>
              </a:xfrm>
              <a:custGeom>
                <a:avLst/>
                <a:gdLst>
                  <a:gd name="T0" fmla="*/ 6 w 34"/>
                  <a:gd name="T1" fmla="*/ 0 h 22"/>
                  <a:gd name="T2" fmla="*/ 27 w 34"/>
                  <a:gd name="T3" fmla="*/ 0 h 22"/>
                  <a:gd name="T4" fmla="*/ 26 w 34"/>
                  <a:gd name="T5" fmla="*/ 14 h 22"/>
                  <a:gd name="T6" fmla="*/ 9 w 34"/>
                  <a:gd name="T7" fmla="*/ 19 h 22"/>
                  <a:gd name="T8" fmla="*/ 2 w 34"/>
                  <a:gd name="T9" fmla="*/ 7 h 22"/>
                  <a:gd name="T10" fmla="*/ 6 w 34"/>
                  <a:gd name="T11" fmla="*/ 0 h 22"/>
                  <a:gd name="T12" fmla="*/ 0 60000 65536"/>
                  <a:gd name="T13" fmla="*/ 0 60000 65536"/>
                  <a:gd name="T14" fmla="*/ 0 60000 65536"/>
                  <a:gd name="T15" fmla="*/ 0 60000 65536"/>
                  <a:gd name="T16" fmla="*/ 0 60000 65536"/>
                  <a:gd name="T17" fmla="*/ 0 60000 65536"/>
                  <a:gd name="T18" fmla="*/ 0 w 34"/>
                  <a:gd name="T19" fmla="*/ 0 h 22"/>
                  <a:gd name="T20" fmla="*/ 34 w 34"/>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34" h="22">
                    <a:moveTo>
                      <a:pt x="6" y="0"/>
                    </a:moveTo>
                    <a:cubicBezTo>
                      <a:pt x="14" y="2"/>
                      <a:pt x="19" y="2"/>
                      <a:pt x="27" y="0"/>
                    </a:cubicBezTo>
                    <a:cubicBezTo>
                      <a:pt x="34" y="2"/>
                      <a:pt x="30" y="10"/>
                      <a:pt x="26" y="14"/>
                    </a:cubicBezTo>
                    <a:cubicBezTo>
                      <a:pt x="23" y="22"/>
                      <a:pt x="16" y="20"/>
                      <a:pt x="9" y="19"/>
                    </a:cubicBezTo>
                    <a:cubicBezTo>
                      <a:pt x="6" y="15"/>
                      <a:pt x="6" y="11"/>
                      <a:pt x="2" y="7"/>
                    </a:cubicBezTo>
                    <a:cubicBezTo>
                      <a:pt x="0" y="2"/>
                      <a:pt x="0" y="5"/>
                      <a:pt x="6" y="0"/>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619" name="Freeform 2462">
                <a:extLst>
                  <a:ext uri="{FF2B5EF4-FFF2-40B4-BE49-F238E27FC236}">
                    <a16:creationId xmlns:a16="http://schemas.microsoft.com/office/drawing/2014/main" id="{1721E951-148B-F514-BC4B-2C42D967E91D}"/>
                  </a:ext>
                </a:extLst>
              </p:cNvPr>
              <p:cNvSpPr>
                <a:spLocks noChangeAspect="1"/>
              </p:cNvSpPr>
              <p:nvPr/>
            </p:nvSpPr>
            <p:spPr bwMode="auto">
              <a:xfrm>
                <a:off x="5949074" y="5154327"/>
                <a:ext cx="35797" cy="25774"/>
              </a:xfrm>
              <a:custGeom>
                <a:avLst/>
                <a:gdLst>
                  <a:gd name="T0" fmla="*/ 9 w 25"/>
                  <a:gd name="T1" fmla="*/ 0 h 18"/>
                  <a:gd name="T2" fmla="*/ 20 w 25"/>
                  <a:gd name="T3" fmla="*/ 1 h 18"/>
                  <a:gd name="T4" fmla="*/ 24 w 25"/>
                  <a:gd name="T5" fmla="*/ 10 h 18"/>
                  <a:gd name="T6" fmla="*/ 23 w 25"/>
                  <a:gd name="T7" fmla="*/ 17 h 18"/>
                  <a:gd name="T8" fmla="*/ 20 w 25"/>
                  <a:gd name="T9" fmla="*/ 13 h 18"/>
                  <a:gd name="T10" fmla="*/ 11 w 25"/>
                  <a:gd name="T11" fmla="*/ 9 h 18"/>
                  <a:gd name="T12" fmla="*/ 9 w 25"/>
                  <a:gd name="T13" fmla="*/ 0 h 18"/>
                  <a:gd name="T14" fmla="*/ 0 60000 65536"/>
                  <a:gd name="T15" fmla="*/ 0 60000 65536"/>
                  <a:gd name="T16" fmla="*/ 0 60000 65536"/>
                  <a:gd name="T17" fmla="*/ 0 60000 65536"/>
                  <a:gd name="T18" fmla="*/ 0 60000 65536"/>
                  <a:gd name="T19" fmla="*/ 0 60000 65536"/>
                  <a:gd name="T20" fmla="*/ 0 60000 65536"/>
                  <a:gd name="T21" fmla="*/ 0 w 25"/>
                  <a:gd name="T22" fmla="*/ 0 h 18"/>
                  <a:gd name="T23" fmla="*/ 25 w 25"/>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18">
                    <a:moveTo>
                      <a:pt x="9" y="0"/>
                    </a:moveTo>
                    <a:cubicBezTo>
                      <a:pt x="13" y="0"/>
                      <a:pt x="16" y="0"/>
                      <a:pt x="20" y="1"/>
                    </a:cubicBezTo>
                    <a:cubicBezTo>
                      <a:pt x="23" y="2"/>
                      <a:pt x="24" y="10"/>
                      <a:pt x="24" y="10"/>
                    </a:cubicBezTo>
                    <a:cubicBezTo>
                      <a:pt x="24" y="12"/>
                      <a:pt x="25" y="16"/>
                      <a:pt x="23" y="17"/>
                    </a:cubicBezTo>
                    <a:cubicBezTo>
                      <a:pt x="22" y="18"/>
                      <a:pt x="21" y="14"/>
                      <a:pt x="20" y="13"/>
                    </a:cubicBezTo>
                    <a:cubicBezTo>
                      <a:pt x="18" y="11"/>
                      <a:pt x="11" y="9"/>
                      <a:pt x="11" y="9"/>
                    </a:cubicBezTo>
                    <a:cubicBezTo>
                      <a:pt x="8" y="5"/>
                      <a:pt x="0" y="2"/>
                      <a:pt x="9" y="0"/>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620" name="Freeform 2463">
                <a:extLst>
                  <a:ext uri="{FF2B5EF4-FFF2-40B4-BE49-F238E27FC236}">
                    <a16:creationId xmlns:a16="http://schemas.microsoft.com/office/drawing/2014/main" id="{461CBBE4-3B46-DB3C-6927-FB447F503695}"/>
                  </a:ext>
                </a:extLst>
              </p:cNvPr>
              <p:cNvSpPr>
                <a:spLocks noChangeAspect="1"/>
              </p:cNvSpPr>
              <p:nvPr/>
            </p:nvSpPr>
            <p:spPr bwMode="auto">
              <a:xfrm>
                <a:off x="6116606" y="5127121"/>
                <a:ext cx="45821" cy="27206"/>
              </a:xfrm>
              <a:custGeom>
                <a:avLst/>
                <a:gdLst>
                  <a:gd name="T0" fmla="*/ 29 w 32"/>
                  <a:gd name="T1" fmla="*/ 2 h 19"/>
                  <a:gd name="T2" fmla="*/ 17 w 32"/>
                  <a:gd name="T3" fmla="*/ 6 h 19"/>
                  <a:gd name="T4" fmla="*/ 3 w 32"/>
                  <a:gd name="T5" fmla="*/ 8 h 19"/>
                  <a:gd name="T6" fmla="*/ 14 w 32"/>
                  <a:gd name="T7" fmla="*/ 19 h 19"/>
                  <a:gd name="T8" fmla="*/ 23 w 32"/>
                  <a:gd name="T9" fmla="*/ 10 h 19"/>
                  <a:gd name="T10" fmla="*/ 31 w 32"/>
                  <a:gd name="T11" fmla="*/ 8 h 19"/>
                  <a:gd name="T12" fmla="*/ 29 w 32"/>
                  <a:gd name="T13" fmla="*/ 2 h 19"/>
                  <a:gd name="T14" fmla="*/ 0 60000 65536"/>
                  <a:gd name="T15" fmla="*/ 0 60000 65536"/>
                  <a:gd name="T16" fmla="*/ 0 60000 65536"/>
                  <a:gd name="T17" fmla="*/ 0 60000 65536"/>
                  <a:gd name="T18" fmla="*/ 0 60000 65536"/>
                  <a:gd name="T19" fmla="*/ 0 60000 65536"/>
                  <a:gd name="T20" fmla="*/ 0 60000 65536"/>
                  <a:gd name="T21" fmla="*/ 0 w 32"/>
                  <a:gd name="T22" fmla="*/ 0 h 19"/>
                  <a:gd name="T23" fmla="*/ 32 w 32"/>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19">
                    <a:moveTo>
                      <a:pt x="29" y="2"/>
                    </a:moveTo>
                    <a:cubicBezTo>
                      <a:pt x="20" y="0"/>
                      <a:pt x="23" y="4"/>
                      <a:pt x="17" y="6"/>
                    </a:cubicBezTo>
                    <a:cubicBezTo>
                      <a:pt x="12" y="5"/>
                      <a:pt x="8" y="6"/>
                      <a:pt x="3" y="8"/>
                    </a:cubicBezTo>
                    <a:cubicBezTo>
                      <a:pt x="0" y="19"/>
                      <a:pt x="3" y="18"/>
                      <a:pt x="14" y="19"/>
                    </a:cubicBezTo>
                    <a:cubicBezTo>
                      <a:pt x="26" y="17"/>
                      <a:pt x="15" y="15"/>
                      <a:pt x="23" y="10"/>
                    </a:cubicBezTo>
                    <a:cubicBezTo>
                      <a:pt x="25" y="9"/>
                      <a:pt x="29" y="10"/>
                      <a:pt x="31" y="8"/>
                    </a:cubicBezTo>
                    <a:cubicBezTo>
                      <a:pt x="32" y="6"/>
                      <a:pt x="30" y="4"/>
                      <a:pt x="29" y="2"/>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621" name="Freeform 2464">
                <a:extLst>
                  <a:ext uri="{FF2B5EF4-FFF2-40B4-BE49-F238E27FC236}">
                    <a16:creationId xmlns:a16="http://schemas.microsoft.com/office/drawing/2014/main" id="{856033DE-8736-FA46-09D0-9A90DB90C4EF}"/>
                  </a:ext>
                </a:extLst>
              </p:cNvPr>
              <p:cNvSpPr>
                <a:spLocks noChangeAspect="1"/>
              </p:cNvSpPr>
              <p:nvPr/>
            </p:nvSpPr>
            <p:spPr bwMode="auto">
              <a:xfrm>
                <a:off x="5648376" y="5157191"/>
                <a:ext cx="227672" cy="207625"/>
              </a:xfrm>
              <a:custGeom>
                <a:avLst/>
                <a:gdLst>
                  <a:gd name="T0" fmla="*/ 47 w 159"/>
                  <a:gd name="T1" fmla="*/ 3 h 145"/>
                  <a:gd name="T2" fmla="*/ 39 w 159"/>
                  <a:gd name="T3" fmla="*/ 13 h 145"/>
                  <a:gd name="T4" fmla="*/ 21 w 159"/>
                  <a:gd name="T5" fmla="*/ 20 h 145"/>
                  <a:gd name="T6" fmla="*/ 11 w 159"/>
                  <a:gd name="T7" fmla="*/ 34 h 145"/>
                  <a:gd name="T8" fmla="*/ 0 w 159"/>
                  <a:gd name="T9" fmla="*/ 40 h 145"/>
                  <a:gd name="T10" fmla="*/ 17 w 159"/>
                  <a:gd name="T11" fmla="*/ 46 h 145"/>
                  <a:gd name="T12" fmla="*/ 24 w 159"/>
                  <a:gd name="T13" fmla="*/ 55 h 145"/>
                  <a:gd name="T14" fmla="*/ 36 w 159"/>
                  <a:gd name="T15" fmla="*/ 61 h 145"/>
                  <a:gd name="T16" fmla="*/ 44 w 159"/>
                  <a:gd name="T17" fmla="*/ 70 h 145"/>
                  <a:gd name="T18" fmla="*/ 47 w 159"/>
                  <a:gd name="T19" fmla="*/ 81 h 145"/>
                  <a:gd name="T20" fmla="*/ 53 w 159"/>
                  <a:gd name="T21" fmla="*/ 101 h 145"/>
                  <a:gd name="T22" fmla="*/ 64 w 159"/>
                  <a:gd name="T23" fmla="*/ 121 h 145"/>
                  <a:gd name="T24" fmla="*/ 68 w 159"/>
                  <a:gd name="T25" fmla="*/ 109 h 145"/>
                  <a:gd name="T26" fmla="*/ 74 w 159"/>
                  <a:gd name="T27" fmla="*/ 98 h 145"/>
                  <a:gd name="T28" fmla="*/ 82 w 159"/>
                  <a:gd name="T29" fmla="*/ 106 h 145"/>
                  <a:gd name="T30" fmla="*/ 98 w 159"/>
                  <a:gd name="T31" fmla="*/ 116 h 145"/>
                  <a:gd name="T32" fmla="*/ 108 w 159"/>
                  <a:gd name="T33" fmla="*/ 145 h 145"/>
                  <a:gd name="T34" fmla="*/ 117 w 159"/>
                  <a:gd name="T35" fmla="*/ 106 h 145"/>
                  <a:gd name="T36" fmla="*/ 131 w 159"/>
                  <a:gd name="T37" fmla="*/ 121 h 145"/>
                  <a:gd name="T38" fmla="*/ 147 w 159"/>
                  <a:gd name="T39" fmla="*/ 129 h 145"/>
                  <a:gd name="T40" fmla="*/ 150 w 159"/>
                  <a:gd name="T41" fmla="*/ 123 h 145"/>
                  <a:gd name="T42" fmla="*/ 137 w 159"/>
                  <a:gd name="T43" fmla="*/ 113 h 145"/>
                  <a:gd name="T44" fmla="*/ 140 w 159"/>
                  <a:gd name="T45" fmla="*/ 106 h 145"/>
                  <a:gd name="T46" fmla="*/ 138 w 159"/>
                  <a:gd name="T47" fmla="*/ 99 h 145"/>
                  <a:gd name="T48" fmla="*/ 129 w 159"/>
                  <a:gd name="T49" fmla="*/ 89 h 145"/>
                  <a:gd name="T50" fmla="*/ 120 w 159"/>
                  <a:gd name="T51" fmla="*/ 77 h 145"/>
                  <a:gd name="T52" fmla="*/ 111 w 159"/>
                  <a:gd name="T53" fmla="*/ 61 h 145"/>
                  <a:gd name="T54" fmla="*/ 108 w 159"/>
                  <a:gd name="T55" fmla="*/ 52 h 145"/>
                  <a:gd name="T56" fmla="*/ 111 w 159"/>
                  <a:gd name="T57" fmla="*/ 47 h 145"/>
                  <a:gd name="T58" fmla="*/ 130 w 159"/>
                  <a:gd name="T59" fmla="*/ 55 h 145"/>
                  <a:gd name="T60" fmla="*/ 137 w 159"/>
                  <a:gd name="T61" fmla="*/ 70 h 145"/>
                  <a:gd name="T62" fmla="*/ 153 w 159"/>
                  <a:gd name="T63" fmla="*/ 53 h 145"/>
                  <a:gd name="T64" fmla="*/ 136 w 159"/>
                  <a:gd name="T65" fmla="*/ 43 h 145"/>
                  <a:gd name="T66" fmla="*/ 118 w 159"/>
                  <a:gd name="T67" fmla="*/ 22 h 145"/>
                  <a:gd name="T68" fmla="*/ 111 w 159"/>
                  <a:gd name="T69" fmla="*/ 17 h 145"/>
                  <a:gd name="T70" fmla="*/ 105 w 159"/>
                  <a:gd name="T71" fmla="*/ 21 h 145"/>
                  <a:gd name="T72" fmla="*/ 99 w 159"/>
                  <a:gd name="T73" fmla="*/ 13 h 145"/>
                  <a:gd name="T74" fmla="*/ 90 w 159"/>
                  <a:gd name="T75" fmla="*/ 9 h 145"/>
                  <a:gd name="T76" fmla="*/ 81 w 159"/>
                  <a:gd name="T77" fmla="*/ 13 h 145"/>
                  <a:gd name="T78" fmla="*/ 59 w 159"/>
                  <a:gd name="T79" fmla="*/ 7 h 145"/>
                  <a:gd name="T80" fmla="*/ 47 w 159"/>
                  <a:gd name="T81" fmla="*/ 4 h 145"/>
                  <a:gd name="T82" fmla="*/ 39 w 159"/>
                  <a:gd name="T83" fmla="*/ 9 h 14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59"/>
                  <a:gd name="T127" fmla="*/ 0 h 145"/>
                  <a:gd name="T128" fmla="*/ 159 w 159"/>
                  <a:gd name="T129" fmla="*/ 145 h 14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59" h="145">
                    <a:moveTo>
                      <a:pt x="47" y="3"/>
                    </a:moveTo>
                    <a:cubicBezTo>
                      <a:pt x="41" y="5"/>
                      <a:pt x="42" y="10"/>
                      <a:pt x="39" y="13"/>
                    </a:cubicBezTo>
                    <a:cubicBezTo>
                      <a:pt x="34" y="18"/>
                      <a:pt x="28" y="18"/>
                      <a:pt x="21" y="20"/>
                    </a:cubicBezTo>
                    <a:cubicBezTo>
                      <a:pt x="20" y="27"/>
                      <a:pt x="18" y="32"/>
                      <a:pt x="11" y="34"/>
                    </a:cubicBezTo>
                    <a:cubicBezTo>
                      <a:pt x="7" y="38"/>
                      <a:pt x="5" y="38"/>
                      <a:pt x="0" y="40"/>
                    </a:cubicBezTo>
                    <a:cubicBezTo>
                      <a:pt x="5" y="47"/>
                      <a:pt x="7" y="45"/>
                      <a:pt x="17" y="46"/>
                    </a:cubicBezTo>
                    <a:cubicBezTo>
                      <a:pt x="18" y="50"/>
                      <a:pt x="24" y="55"/>
                      <a:pt x="24" y="55"/>
                    </a:cubicBezTo>
                    <a:cubicBezTo>
                      <a:pt x="27" y="60"/>
                      <a:pt x="30" y="59"/>
                      <a:pt x="36" y="61"/>
                    </a:cubicBezTo>
                    <a:cubicBezTo>
                      <a:pt x="40" y="63"/>
                      <a:pt x="42" y="66"/>
                      <a:pt x="44" y="70"/>
                    </a:cubicBezTo>
                    <a:cubicBezTo>
                      <a:pt x="45" y="74"/>
                      <a:pt x="46" y="77"/>
                      <a:pt x="47" y="81"/>
                    </a:cubicBezTo>
                    <a:cubicBezTo>
                      <a:pt x="46" y="93"/>
                      <a:pt x="42" y="97"/>
                      <a:pt x="53" y="101"/>
                    </a:cubicBezTo>
                    <a:cubicBezTo>
                      <a:pt x="54" y="110"/>
                      <a:pt x="55" y="118"/>
                      <a:pt x="64" y="121"/>
                    </a:cubicBezTo>
                    <a:cubicBezTo>
                      <a:pt x="72" y="118"/>
                      <a:pt x="73" y="116"/>
                      <a:pt x="68" y="109"/>
                    </a:cubicBezTo>
                    <a:cubicBezTo>
                      <a:pt x="69" y="102"/>
                      <a:pt x="68" y="101"/>
                      <a:pt x="74" y="98"/>
                    </a:cubicBezTo>
                    <a:cubicBezTo>
                      <a:pt x="79" y="90"/>
                      <a:pt x="81" y="102"/>
                      <a:pt x="82" y="106"/>
                    </a:cubicBezTo>
                    <a:cubicBezTo>
                      <a:pt x="94" y="103"/>
                      <a:pt x="96" y="104"/>
                      <a:pt x="98" y="116"/>
                    </a:cubicBezTo>
                    <a:cubicBezTo>
                      <a:pt x="95" y="125"/>
                      <a:pt x="100" y="139"/>
                      <a:pt x="108" y="145"/>
                    </a:cubicBezTo>
                    <a:cubicBezTo>
                      <a:pt x="108" y="136"/>
                      <a:pt x="102" y="109"/>
                      <a:pt x="117" y="106"/>
                    </a:cubicBezTo>
                    <a:cubicBezTo>
                      <a:pt x="125" y="100"/>
                      <a:pt x="127" y="117"/>
                      <a:pt x="131" y="121"/>
                    </a:cubicBezTo>
                    <a:cubicBezTo>
                      <a:pt x="136" y="126"/>
                      <a:pt x="141" y="127"/>
                      <a:pt x="147" y="129"/>
                    </a:cubicBezTo>
                    <a:cubicBezTo>
                      <a:pt x="153" y="128"/>
                      <a:pt x="158" y="126"/>
                      <a:pt x="150" y="123"/>
                    </a:cubicBezTo>
                    <a:cubicBezTo>
                      <a:pt x="146" y="118"/>
                      <a:pt x="142" y="116"/>
                      <a:pt x="137" y="113"/>
                    </a:cubicBezTo>
                    <a:cubicBezTo>
                      <a:pt x="134" y="108"/>
                      <a:pt x="135" y="107"/>
                      <a:pt x="140" y="106"/>
                    </a:cubicBezTo>
                    <a:cubicBezTo>
                      <a:pt x="143" y="102"/>
                      <a:pt x="143" y="101"/>
                      <a:pt x="138" y="99"/>
                    </a:cubicBezTo>
                    <a:cubicBezTo>
                      <a:pt x="136" y="94"/>
                      <a:pt x="132" y="93"/>
                      <a:pt x="129" y="89"/>
                    </a:cubicBezTo>
                    <a:cubicBezTo>
                      <a:pt x="127" y="83"/>
                      <a:pt x="125" y="80"/>
                      <a:pt x="120" y="77"/>
                    </a:cubicBezTo>
                    <a:cubicBezTo>
                      <a:pt x="118" y="70"/>
                      <a:pt x="114" y="67"/>
                      <a:pt x="111" y="61"/>
                    </a:cubicBezTo>
                    <a:cubicBezTo>
                      <a:pt x="110" y="58"/>
                      <a:pt x="108" y="52"/>
                      <a:pt x="108" y="52"/>
                    </a:cubicBezTo>
                    <a:cubicBezTo>
                      <a:pt x="109" y="50"/>
                      <a:pt x="109" y="48"/>
                      <a:pt x="111" y="47"/>
                    </a:cubicBezTo>
                    <a:cubicBezTo>
                      <a:pt x="112" y="47"/>
                      <a:pt x="125" y="53"/>
                      <a:pt x="130" y="55"/>
                    </a:cubicBezTo>
                    <a:cubicBezTo>
                      <a:pt x="132" y="60"/>
                      <a:pt x="132" y="67"/>
                      <a:pt x="137" y="70"/>
                    </a:cubicBezTo>
                    <a:cubicBezTo>
                      <a:pt x="139" y="54"/>
                      <a:pt x="143" y="60"/>
                      <a:pt x="153" y="53"/>
                    </a:cubicBezTo>
                    <a:cubicBezTo>
                      <a:pt x="159" y="44"/>
                      <a:pt x="140" y="43"/>
                      <a:pt x="136" y="43"/>
                    </a:cubicBezTo>
                    <a:cubicBezTo>
                      <a:pt x="123" y="36"/>
                      <a:pt x="134" y="24"/>
                      <a:pt x="118" y="22"/>
                    </a:cubicBezTo>
                    <a:cubicBezTo>
                      <a:pt x="116" y="20"/>
                      <a:pt x="114" y="16"/>
                      <a:pt x="111" y="17"/>
                    </a:cubicBezTo>
                    <a:cubicBezTo>
                      <a:pt x="109" y="18"/>
                      <a:pt x="105" y="21"/>
                      <a:pt x="105" y="21"/>
                    </a:cubicBezTo>
                    <a:cubicBezTo>
                      <a:pt x="101" y="18"/>
                      <a:pt x="102" y="16"/>
                      <a:pt x="99" y="13"/>
                    </a:cubicBezTo>
                    <a:cubicBezTo>
                      <a:pt x="97" y="11"/>
                      <a:pt x="90" y="9"/>
                      <a:pt x="90" y="9"/>
                    </a:cubicBezTo>
                    <a:cubicBezTo>
                      <a:pt x="83" y="11"/>
                      <a:pt x="86" y="10"/>
                      <a:pt x="81" y="13"/>
                    </a:cubicBezTo>
                    <a:cubicBezTo>
                      <a:pt x="75" y="11"/>
                      <a:pt x="65" y="11"/>
                      <a:pt x="59" y="7"/>
                    </a:cubicBezTo>
                    <a:cubicBezTo>
                      <a:pt x="57" y="0"/>
                      <a:pt x="52" y="2"/>
                      <a:pt x="47" y="4"/>
                    </a:cubicBezTo>
                    <a:cubicBezTo>
                      <a:pt x="45" y="7"/>
                      <a:pt x="39" y="9"/>
                      <a:pt x="39" y="9"/>
                    </a:cubicBezTo>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623" name="Freeform 2465">
                <a:extLst>
                  <a:ext uri="{FF2B5EF4-FFF2-40B4-BE49-F238E27FC236}">
                    <a16:creationId xmlns:a16="http://schemas.microsoft.com/office/drawing/2014/main" id="{37852A5D-566F-C1E6-5F7C-DBDA42556943}"/>
                  </a:ext>
                </a:extLst>
              </p:cNvPr>
              <p:cNvSpPr>
                <a:spLocks noChangeAspect="1"/>
              </p:cNvSpPr>
              <p:nvPr/>
            </p:nvSpPr>
            <p:spPr bwMode="auto">
              <a:xfrm>
                <a:off x="5878911" y="4859356"/>
                <a:ext cx="27206" cy="24342"/>
              </a:xfrm>
              <a:custGeom>
                <a:avLst/>
                <a:gdLst>
                  <a:gd name="T0" fmla="*/ 16 w 19"/>
                  <a:gd name="T1" fmla="*/ 0 h 17"/>
                  <a:gd name="T2" fmla="*/ 6 w 19"/>
                  <a:gd name="T3" fmla="*/ 3 h 17"/>
                  <a:gd name="T4" fmla="*/ 1 w 19"/>
                  <a:gd name="T5" fmla="*/ 9 h 17"/>
                  <a:gd name="T6" fmla="*/ 12 w 19"/>
                  <a:gd name="T7" fmla="*/ 17 h 17"/>
                  <a:gd name="T8" fmla="*/ 17 w 19"/>
                  <a:gd name="T9" fmla="*/ 15 h 17"/>
                  <a:gd name="T10" fmla="*/ 19 w 19"/>
                  <a:gd name="T11" fmla="*/ 9 h 17"/>
                  <a:gd name="T12" fmla="*/ 16 w 19"/>
                  <a:gd name="T13" fmla="*/ 0 h 17"/>
                  <a:gd name="T14" fmla="*/ 0 60000 65536"/>
                  <a:gd name="T15" fmla="*/ 0 60000 65536"/>
                  <a:gd name="T16" fmla="*/ 0 60000 65536"/>
                  <a:gd name="T17" fmla="*/ 0 60000 65536"/>
                  <a:gd name="T18" fmla="*/ 0 60000 65536"/>
                  <a:gd name="T19" fmla="*/ 0 60000 65536"/>
                  <a:gd name="T20" fmla="*/ 0 60000 65536"/>
                  <a:gd name="T21" fmla="*/ 0 w 19"/>
                  <a:gd name="T22" fmla="*/ 0 h 17"/>
                  <a:gd name="T23" fmla="*/ 19 w 19"/>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7">
                    <a:moveTo>
                      <a:pt x="16" y="0"/>
                    </a:moveTo>
                    <a:cubicBezTo>
                      <a:pt x="13" y="1"/>
                      <a:pt x="9" y="2"/>
                      <a:pt x="6" y="3"/>
                    </a:cubicBezTo>
                    <a:cubicBezTo>
                      <a:pt x="5" y="5"/>
                      <a:pt x="2" y="6"/>
                      <a:pt x="1" y="9"/>
                    </a:cubicBezTo>
                    <a:cubicBezTo>
                      <a:pt x="0" y="13"/>
                      <a:pt x="9" y="15"/>
                      <a:pt x="12" y="17"/>
                    </a:cubicBezTo>
                    <a:cubicBezTo>
                      <a:pt x="14" y="16"/>
                      <a:pt x="16" y="16"/>
                      <a:pt x="17" y="15"/>
                    </a:cubicBezTo>
                    <a:cubicBezTo>
                      <a:pt x="18" y="13"/>
                      <a:pt x="19" y="9"/>
                      <a:pt x="19" y="9"/>
                    </a:cubicBezTo>
                    <a:cubicBezTo>
                      <a:pt x="19" y="7"/>
                      <a:pt x="16" y="0"/>
                      <a:pt x="16" y="0"/>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632" name="Freeform 2466">
                <a:extLst>
                  <a:ext uri="{FF2B5EF4-FFF2-40B4-BE49-F238E27FC236}">
                    <a16:creationId xmlns:a16="http://schemas.microsoft.com/office/drawing/2014/main" id="{E98DB413-8711-9D83-6A41-8D55DA2E8868}"/>
                  </a:ext>
                </a:extLst>
              </p:cNvPr>
              <p:cNvSpPr>
                <a:spLocks noChangeAspect="1"/>
              </p:cNvSpPr>
              <p:nvPr/>
            </p:nvSpPr>
            <p:spPr bwMode="auto">
              <a:xfrm>
                <a:off x="5959098" y="4867947"/>
                <a:ext cx="24342" cy="18615"/>
              </a:xfrm>
              <a:custGeom>
                <a:avLst/>
                <a:gdLst>
                  <a:gd name="T0" fmla="*/ 15 w 17"/>
                  <a:gd name="T1" fmla="*/ 3 h 13"/>
                  <a:gd name="T2" fmla="*/ 11 w 17"/>
                  <a:gd name="T3" fmla="*/ 13 h 13"/>
                  <a:gd name="T4" fmla="*/ 15 w 17"/>
                  <a:gd name="T5" fmla="*/ 3 h 13"/>
                  <a:gd name="T6" fmla="*/ 0 60000 65536"/>
                  <a:gd name="T7" fmla="*/ 0 60000 65536"/>
                  <a:gd name="T8" fmla="*/ 0 60000 65536"/>
                  <a:gd name="T9" fmla="*/ 0 w 17"/>
                  <a:gd name="T10" fmla="*/ 0 h 13"/>
                  <a:gd name="T11" fmla="*/ 17 w 17"/>
                  <a:gd name="T12" fmla="*/ 13 h 13"/>
                </a:gdLst>
                <a:ahLst/>
                <a:cxnLst>
                  <a:cxn ang="T6">
                    <a:pos x="T0" y="T1"/>
                  </a:cxn>
                  <a:cxn ang="T7">
                    <a:pos x="T2" y="T3"/>
                  </a:cxn>
                  <a:cxn ang="T8">
                    <a:pos x="T4" y="T5"/>
                  </a:cxn>
                </a:cxnLst>
                <a:rect l="T9" t="T10" r="T11" b="T12"/>
                <a:pathLst>
                  <a:path w="17" h="13">
                    <a:moveTo>
                      <a:pt x="15" y="3"/>
                    </a:moveTo>
                    <a:cubicBezTo>
                      <a:pt x="3" y="0"/>
                      <a:pt x="0" y="9"/>
                      <a:pt x="11" y="13"/>
                    </a:cubicBezTo>
                    <a:cubicBezTo>
                      <a:pt x="17" y="11"/>
                      <a:pt x="15" y="8"/>
                      <a:pt x="15" y="3"/>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077" name="Freeform 2467">
                <a:extLst>
                  <a:ext uri="{FF2B5EF4-FFF2-40B4-BE49-F238E27FC236}">
                    <a16:creationId xmlns:a16="http://schemas.microsoft.com/office/drawing/2014/main" id="{89187630-C274-E0CC-B045-BCADD95338D3}"/>
                  </a:ext>
                </a:extLst>
              </p:cNvPr>
              <p:cNvSpPr>
                <a:spLocks noChangeAspect="1"/>
              </p:cNvSpPr>
              <p:nvPr/>
            </p:nvSpPr>
            <p:spPr bwMode="auto">
              <a:xfrm>
                <a:off x="5929028" y="4928087"/>
                <a:ext cx="42957" cy="34366"/>
              </a:xfrm>
              <a:custGeom>
                <a:avLst/>
                <a:gdLst>
                  <a:gd name="T0" fmla="*/ 29 w 30"/>
                  <a:gd name="T1" fmla="*/ 0 h 24"/>
                  <a:gd name="T2" fmla="*/ 25 w 30"/>
                  <a:gd name="T3" fmla="*/ 9 h 24"/>
                  <a:gd name="T4" fmla="*/ 16 w 30"/>
                  <a:gd name="T5" fmla="*/ 6 h 24"/>
                  <a:gd name="T6" fmla="*/ 10 w 30"/>
                  <a:gd name="T7" fmla="*/ 13 h 24"/>
                  <a:gd name="T8" fmla="*/ 28 w 30"/>
                  <a:gd name="T9" fmla="*/ 19 h 24"/>
                  <a:gd name="T10" fmla="*/ 29 w 30"/>
                  <a:gd name="T11" fmla="*/ 0 h 24"/>
                  <a:gd name="T12" fmla="*/ 0 60000 65536"/>
                  <a:gd name="T13" fmla="*/ 0 60000 65536"/>
                  <a:gd name="T14" fmla="*/ 0 60000 65536"/>
                  <a:gd name="T15" fmla="*/ 0 60000 65536"/>
                  <a:gd name="T16" fmla="*/ 0 60000 65536"/>
                  <a:gd name="T17" fmla="*/ 0 60000 65536"/>
                  <a:gd name="T18" fmla="*/ 0 w 30"/>
                  <a:gd name="T19" fmla="*/ 0 h 24"/>
                  <a:gd name="T20" fmla="*/ 30 w 30"/>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30" h="24">
                    <a:moveTo>
                      <a:pt x="29" y="0"/>
                    </a:moveTo>
                    <a:cubicBezTo>
                      <a:pt x="28" y="3"/>
                      <a:pt x="26" y="6"/>
                      <a:pt x="25" y="9"/>
                    </a:cubicBezTo>
                    <a:cubicBezTo>
                      <a:pt x="22" y="8"/>
                      <a:pt x="16" y="6"/>
                      <a:pt x="16" y="6"/>
                    </a:cubicBezTo>
                    <a:cubicBezTo>
                      <a:pt x="10" y="7"/>
                      <a:pt x="0" y="8"/>
                      <a:pt x="10" y="13"/>
                    </a:cubicBezTo>
                    <a:cubicBezTo>
                      <a:pt x="12" y="24"/>
                      <a:pt x="16" y="20"/>
                      <a:pt x="28" y="19"/>
                    </a:cubicBezTo>
                    <a:cubicBezTo>
                      <a:pt x="30" y="12"/>
                      <a:pt x="30" y="7"/>
                      <a:pt x="29" y="0"/>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92" name="Freeform 2468">
                <a:extLst>
                  <a:ext uri="{FF2B5EF4-FFF2-40B4-BE49-F238E27FC236}">
                    <a16:creationId xmlns:a16="http://schemas.microsoft.com/office/drawing/2014/main" id="{FF95FFB8-9937-811F-0993-63609366F3F4}"/>
                  </a:ext>
                </a:extLst>
              </p:cNvPr>
              <p:cNvSpPr>
                <a:spLocks noChangeAspect="1"/>
              </p:cNvSpPr>
              <p:nvPr/>
            </p:nvSpPr>
            <p:spPr bwMode="auto">
              <a:xfrm>
                <a:off x="6029261" y="5221626"/>
                <a:ext cx="22910" cy="31502"/>
              </a:xfrm>
              <a:custGeom>
                <a:avLst/>
                <a:gdLst>
                  <a:gd name="T0" fmla="*/ 6 w 16"/>
                  <a:gd name="T1" fmla="*/ 0 h 22"/>
                  <a:gd name="T2" fmla="*/ 16 w 16"/>
                  <a:gd name="T3" fmla="*/ 11 h 22"/>
                  <a:gd name="T4" fmla="*/ 7 w 16"/>
                  <a:gd name="T5" fmla="*/ 22 h 22"/>
                  <a:gd name="T6" fmla="*/ 7 w 16"/>
                  <a:gd name="T7" fmla="*/ 5 h 22"/>
                  <a:gd name="T8" fmla="*/ 6 w 16"/>
                  <a:gd name="T9" fmla="*/ 0 h 22"/>
                  <a:gd name="T10" fmla="*/ 0 60000 65536"/>
                  <a:gd name="T11" fmla="*/ 0 60000 65536"/>
                  <a:gd name="T12" fmla="*/ 0 60000 65536"/>
                  <a:gd name="T13" fmla="*/ 0 60000 65536"/>
                  <a:gd name="T14" fmla="*/ 0 60000 65536"/>
                  <a:gd name="T15" fmla="*/ 0 w 16"/>
                  <a:gd name="T16" fmla="*/ 0 h 22"/>
                  <a:gd name="T17" fmla="*/ 16 w 16"/>
                  <a:gd name="T18" fmla="*/ 22 h 22"/>
                </a:gdLst>
                <a:ahLst/>
                <a:cxnLst>
                  <a:cxn ang="T10">
                    <a:pos x="T0" y="T1"/>
                  </a:cxn>
                  <a:cxn ang="T11">
                    <a:pos x="T2" y="T3"/>
                  </a:cxn>
                  <a:cxn ang="T12">
                    <a:pos x="T4" y="T5"/>
                  </a:cxn>
                  <a:cxn ang="T13">
                    <a:pos x="T6" y="T7"/>
                  </a:cxn>
                  <a:cxn ang="T14">
                    <a:pos x="T8" y="T9"/>
                  </a:cxn>
                </a:cxnLst>
                <a:rect l="T15" t="T16" r="T17" b="T18"/>
                <a:pathLst>
                  <a:path w="16" h="22">
                    <a:moveTo>
                      <a:pt x="6" y="0"/>
                    </a:moveTo>
                    <a:cubicBezTo>
                      <a:pt x="13" y="2"/>
                      <a:pt x="14" y="4"/>
                      <a:pt x="16" y="11"/>
                    </a:cubicBezTo>
                    <a:cubicBezTo>
                      <a:pt x="14" y="19"/>
                      <a:pt x="13" y="18"/>
                      <a:pt x="7" y="22"/>
                    </a:cubicBezTo>
                    <a:cubicBezTo>
                      <a:pt x="5" y="15"/>
                      <a:pt x="0" y="12"/>
                      <a:pt x="7" y="5"/>
                    </a:cubicBezTo>
                    <a:cubicBezTo>
                      <a:pt x="8" y="1"/>
                      <a:pt x="9" y="3"/>
                      <a:pt x="6" y="0"/>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93" name="Freeform 2469">
                <a:extLst>
                  <a:ext uri="{FF2B5EF4-FFF2-40B4-BE49-F238E27FC236}">
                    <a16:creationId xmlns:a16="http://schemas.microsoft.com/office/drawing/2014/main" id="{1866CDEC-B691-EC8A-DBF3-52768DACD268}"/>
                  </a:ext>
                </a:extLst>
              </p:cNvPr>
              <p:cNvSpPr>
                <a:spLocks noChangeAspect="1"/>
              </p:cNvSpPr>
              <p:nvPr/>
            </p:nvSpPr>
            <p:spPr bwMode="auto">
              <a:xfrm>
                <a:off x="6022101" y="4975340"/>
                <a:ext cx="64435" cy="48685"/>
              </a:xfrm>
              <a:custGeom>
                <a:avLst/>
                <a:gdLst>
                  <a:gd name="T0" fmla="*/ 26 w 45"/>
                  <a:gd name="T1" fmla="*/ 0 h 34"/>
                  <a:gd name="T2" fmla="*/ 35 w 45"/>
                  <a:gd name="T3" fmla="*/ 10 h 34"/>
                  <a:gd name="T4" fmla="*/ 41 w 45"/>
                  <a:gd name="T5" fmla="*/ 14 h 34"/>
                  <a:gd name="T6" fmla="*/ 45 w 45"/>
                  <a:gd name="T7" fmla="*/ 23 h 34"/>
                  <a:gd name="T8" fmla="*/ 32 w 45"/>
                  <a:gd name="T9" fmla="*/ 33 h 34"/>
                  <a:gd name="T10" fmla="*/ 23 w 45"/>
                  <a:gd name="T11" fmla="*/ 32 h 34"/>
                  <a:gd name="T12" fmla="*/ 29 w 45"/>
                  <a:gd name="T13" fmla="*/ 17 h 34"/>
                  <a:gd name="T14" fmla="*/ 19 w 45"/>
                  <a:gd name="T15" fmla="*/ 12 h 34"/>
                  <a:gd name="T16" fmla="*/ 8 w 45"/>
                  <a:gd name="T17" fmla="*/ 28 h 34"/>
                  <a:gd name="T18" fmla="*/ 0 w 45"/>
                  <a:gd name="T19" fmla="*/ 18 h 34"/>
                  <a:gd name="T20" fmla="*/ 11 w 45"/>
                  <a:gd name="T21" fmla="*/ 11 h 34"/>
                  <a:gd name="T22" fmla="*/ 17 w 45"/>
                  <a:gd name="T23" fmla="*/ 8 h 34"/>
                  <a:gd name="T24" fmla="*/ 26 w 45"/>
                  <a:gd name="T25" fmla="*/ 0 h 3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5"/>
                  <a:gd name="T40" fmla="*/ 0 h 34"/>
                  <a:gd name="T41" fmla="*/ 45 w 45"/>
                  <a:gd name="T42" fmla="*/ 34 h 3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5" h="34">
                    <a:moveTo>
                      <a:pt x="26" y="0"/>
                    </a:moveTo>
                    <a:cubicBezTo>
                      <a:pt x="27" y="4"/>
                      <a:pt x="31" y="8"/>
                      <a:pt x="35" y="10"/>
                    </a:cubicBezTo>
                    <a:cubicBezTo>
                      <a:pt x="37" y="11"/>
                      <a:pt x="41" y="14"/>
                      <a:pt x="41" y="14"/>
                    </a:cubicBezTo>
                    <a:cubicBezTo>
                      <a:pt x="43" y="17"/>
                      <a:pt x="45" y="23"/>
                      <a:pt x="45" y="23"/>
                    </a:cubicBezTo>
                    <a:cubicBezTo>
                      <a:pt x="43" y="29"/>
                      <a:pt x="37" y="31"/>
                      <a:pt x="32" y="33"/>
                    </a:cubicBezTo>
                    <a:cubicBezTo>
                      <a:pt x="29" y="33"/>
                      <a:pt x="25" y="34"/>
                      <a:pt x="23" y="32"/>
                    </a:cubicBezTo>
                    <a:cubicBezTo>
                      <a:pt x="19" y="28"/>
                      <a:pt x="29" y="17"/>
                      <a:pt x="29" y="17"/>
                    </a:cubicBezTo>
                    <a:cubicBezTo>
                      <a:pt x="26" y="10"/>
                      <a:pt x="26" y="11"/>
                      <a:pt x="19" y="12"/>
                    </a:cubicBezTo>
                    <a:cubicBezTo>
                      <a:pt x="17" y="19"/>
                      <a:pt x="16" y="26"/>
                      <a:pt x="8" y="28"/>
                    </a:cubicBezTo>
                    <a:cubicBezTo>
                      <a:pt x="4" y="27"/>
                      <a:pt x="0" y="18"/>
                      <a:pt x="0" y="18"/>
                    </a:cubicBezTo>
                    <a:cubicBezTo>
                      <a:pt x="2" y="12"/>
                      <a:pt x="5" y="12"/>
                      <a:pt x="11" y="11"/>
                    </a:cubicBezTo>
                    <a:cubicBezTo>
                      <a:pt x="13" y="10"/>
                      <a:pt x="15" y="10"/>
                      <a:pt x="17" y="8"/>
                    </a:cubicBezTo>
                    <a:cubicBezTo>
                      <a:pt x="21" y="4"/>
                      <a:pt x="19" y="0"/>
                      <a:pt x="26" y="0"/>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94" name="Freeform 2470">
                <a:extLst>
                  <a:ext uri="{FF2B5EF4-FFF2-40B4-BE49-F238E27FC236}">
                    <a16:creationId xmlns:a16="http://schemas.microsoft.com/office/drawing/2014/main" id="{BE7DBE10-6755-2B47-F59F-EB974ED6EA79}"/>
                  </a:ext>
                </a:extLst>
              </p:cNvPr>
              <p:cNvSpPr>
                <a:spLocks noChangeAspect="1"/>
              </p:cNvSpPr>
              <p:nvPr/>
            </p:nvSpPr>
            <p:spPr bwMode="auto">
              <a:xfrm>
                <a:off x="6033556" y="5061253"/>
                <a:ext cx="38661" cy="50116"/>
              </a:xfrm>
              <a:custGeom>
                <a:avLst/>
                <a:gdLst>
                  <a:gd name="T0" fmla="*/ 13 w 27"/>
                  <a:gd name="T1" fmla="*/ 4 h 35"/>
                  <a:gd name="T2" fmla="*/ 25 w 27"/>
                  <a:gd name="T3" fmla="*/ 14 h 35"/>
                  <a:gd name="T4" fmla="*/ 16 w 27"/>
                  <a:gd name="T5" fmla="*/ 35 h 35"/>
                  <a:gd name="T6" fmla="*/ 7 w 27"/>
                  <a:gd name="T7" fmla="*/ 29 h 35"/>
                  <a:gd name="T8" fmla="*/ 0 w 27"/>
                  <a:gd name="T9" fmla="*/ 10 h 35"/>
                  <a:gd name="T10" fmla="*/ 13 w 27"/>
                  <a:gd name="T11" fmla="*/ 4 h 35"/>
                  <a:gd name="T12" fmla="*/ 0 60000 65536"/>
                  <a:gd name="T13" fmla="*/ 0 60000 65536"/>
                  <a:gd name="T14" fmla="*/ 0 60000 65536"/>
                  <a:gd name="T15" fmla="*/ 0 60000 65536"/>
                  <a:gd name="T16" fmla="*/ 0 60000 65536"/>
                  <a:gd name="T17" fmla="*/ 0 60000 65536"/>
                  <a:gd name="T18" fmla="*/ 0 w 27"/>
                  <a:gd name="T19" fmla="*/ 0 h 35"/>
                  <a:gd name="T20" fmla="*/ 27 w 27"/>
                  <a:gd name="T21" fmla="*/ 35 h 35"/>
                </a:gdLst>
                <a:ahLst/>
                <a:cxnLst>
                  <a:cxn ang="T12">
                    <a:pos x="T0" y="T1"/>
                  </a:cxn>
                  <a:cxn ang="T13">
                    <a:pos x="T2" y="T3"/>
                  </a:cxn>
                  <a:cxn ang="T14">
                    <a:pos x="T4" y="T5"/>
                  </a:cxn>
                  <a:cxn ang="T15">
                    <a:pos x="T6" y="T7"/>
                  </a:cxn>
                  <a:cxn ang="T16">
                    <a:pos x="T8" y="T9"/>
                  </a:cxn>
                  <a:cxn ang="T17">
                    <a:pos x="T10" y="T11"/>
                  </a:cxn>
                </a:cxnLst>
                <a:rect l="T18" t="T19" r="T20" b="T21"/>
                <a:pathLst>
                  <a:path w="27" h="35">
                    <a:moveTo>
                      <a:pt x="13" y="4"/>
                    </a:moveTo>
                    <a:cubicBezTo>
                      <a:pt x="18" y="5"/>
                      <a:pt x="22" y="10"/>
                      <a:pt x="25" y="14"/>
                    </a:cubicBezTo>
                    <a:cubicBezTo>
                      <a:pt x="24" y="24"/>
                      <a:pt x="26" y="32"/>
                      <a:pt x="16" y="35"/>
                    </a:cubicBezTo>
                    <a:cubicBezTo>
                      <a:pt x="11" y="34"/>
                      <a:pt x="10" y="33"/>
                      <a:pt x="7" y="29"/>
                    </a:cubicBezTo>
                    <a:cubicBezTo>
                      <a:pt x="17" y="23"/>
                      <a:pt x="7" y="13"/>
                      <a:pt x="0" y="10"/>
                    </a:cubicBezTo>
                    <a:cubicBezTo>
                      <a:pt x="3" y="0"/>
                      <a:pt x="27" y="9"/>
                      <a:pt x="13" y="4"/>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95" name="Freeform 2474">
                <a:extLst>
                  <a:ext uri="{FF2B5EF4-FFF2-40B4-BE49-F238E27FC236}">
                    <a16:creationId xmlns:a16="http://schemas.microsoft.com/office/drawing/2014/main" id="{93595A26-A004-E7C5-59F2-6655C7F446D9}"/>
                  </a:ext>
                </a:extLst>
              </p:cNvPr>
              <p:cNvSpPr>
                <a:spLocks noChangeAspect="1"/>
              </p:cNvSpPr>
              <p:nvPr/>
            </p:nvSpPr>
            <p:spPr bwMode="auto">
              <a:xfrm>
                <a:off x="6075081" y="5151463"/>
                <a:ext cx="30070" cy="25774"/>
              </a:xfrm>
              <a:custGeom>
                <a:avLst/>
                <a:gdLst>
                  <a:gd name="T0" fmla="*/ 17 w 21"/>
                  <a:gd name="T1" fmla="*/ 2 h 18"/>
                  <a:gd name="T2" fmla="*/ 8 w 21"/>
                  <a:gd name="T3" fmla="*/ 7 h 18"/>
                  <a:gd name="T4" fmla="*/ 0 w 21"/>
                  <a:gd name="T5" fmla="*/ 17 h 18"/>
                  <a:gd name="T6" fmla="*/ 10 w 21"/>
                  <a:gd name="T7" fmla="*/ 13 h 18"/>
                  <a:gd name="T8" fmla="*/ 19 w 21"/>
                  <a:gd name="T9" fmla="*/ 5 h 18"/>
                  <a:gd name="T10" fmla="*/ 17 w 21"/>
                  <a:gd name="T11" fmla="*/ 2 h 18"/>
                  <a:gd name="T12" fmla="*/ 0 60000 65536"/>
                  <a:gd name="T13" fmla="*/ 0 60000 65536"/>
                  <a:gd name="T14" fmla="*/ 0 60000 65536"/>
                  <a:gd name="T15" fmla="*/ 0 60000 65536"/>
                  <a:gd name="T16" fmla="*/ 0 60000 65536"/>
                  <a:gd name="T17" fmla="*/ 0 60000 65536"/>
                  <a:gd name="T18" fmla="*/ 0 w 21"/>
                  <a:gd name="T19" fmla="*/ 0 h 18"/>
                  <a:gd name="T20" fmla="*/ 21 w 21"/>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1" h="18">
                    <a:moveTo>
                      <a:pt x="17" y="2"/>
                    </a:moveTo>
                    <a:cubicBezTo>
                      <a:pt x="13" y="3"/>
                      <a:pt x="12" y="6"/>
                      <a:pt x="8" y="7"/>
                    </a:cubicBezTo>
                    <a:cubicBezTo>
                      <a:pt x="6" y="13"/>
                      <a:pt x="3" y="11"/>
                      <a:pt x="0" y="17"/>
                    </a:cubicBezTo>
                    <a:cubicBezTo>
                      <a:pt x="6" y="18"/>
                      <a:pt x="5" y="16"/>
                      <a:pt x="10" y="13"/>
                    </a:cubicBezTo>
                    <a:cubicBezTo>
                      <a:pt x="13" y="9"/>
                      <a:pt x="15" y="9"/>
                      <a:pt x="19" y="5"/>
                    </a:cubicBezTo>
                    <a:cubicBezTo>
                      <a:pt x="20" y="0"/>
                      <a:pt x="21" y="1"/>
                      <a:pt x="17" y="2"/>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96" name="Freeform 2476">
                <a:extLst>
                  <a:ext uri="{FF2B5EF4-FFF2-40B4-BE49-F238E27FC236}">
                    <a16:creationId xmlns:a16="http://schemas.microsoft.com/office/drawing/2014/main" id="{8C71F944-33CD-FE2B-0A4B-6558A207C400}"/>
                  </a:ext>
                </a:extLst>
              </p:cNvPr>
              <p:cNvSpPr>
                <a:spLocks noChangeAspect="1"/>
              </p:cNvSpPr>
              <p:nvPr/>
            </p:nvSpPr>
            <p:spPr bwMode="auto">
              <a:xfrm>
                <a:off x="5561030" y="4730485"/>
                <a:ext cx="471094" cy="459639"/>
              </a:xfrm>
              <a:custGeom>
                <a:avLst/>
                <a:gdLst>
                  <a:gd name="T0" fmla="*/ 312 w 329"/>
                  <a:gd name="T1" fmla="*/ 75 h 321"/>
                  <a:gd name="T2" fmla="*/ 321 w 329"/>
                  <a:gd name="T3" fmla="*/ 57 h 321"/>
                  <a:gd name="T4" fmla="*/ 305 w 329"/>
                  <a:gd name="T5" fmla="*/ 5 h 321"/>
                  <a:gd name="T6" fmla="*/ 304 w 329"/>
                  <a:gd name="T7" fmla="*/ 26 h 321"/>
                  <a:gd name="T8" fmla="*/ 250 w 329"/>
                  <a:gd name="T9" fmla="*/ 49 h 321"/>
                  <a:gd name="T10" fmla="*/ 216 w 329"/>
                  <a:gd name="T11" fmla="*/ 42 h 321"/>
                  <a:gd name="T12" fmla="*/ 187 w 329"/>
                  <a:gd name="T13" fmla="*/ 47 h 321"/>
                  <a:gd name="T14" fmla="*/ 178 w 329"/>
                  <a:gd name="T15" fmla="*/ 59 h 321"/>
                  <a:gd name="T16" fmla="*/ 132 w 329"/>
                  <a:gd name="T17" fmla="*/ 67 h 321"/>
                  <a:gd name="T18" fmla="*/ 75 w 329"/>
                  <a:gd name="T19" fmla="*/ 103 h 321"/>
                  <a:gd name="T20" fmla="*/ 22 w 329"/>
                  <a:gd name="T21" fmla="*/ 126 h 321"/>
                  <a:gd name="T22" fmla="*/ 35 w 329"/>
                  <a:gd name="T23" fmla="*/ 149 h 321"/>
                  <a:gd name="T24" fmla="*/ 19 w 329"/>
                  <a:gd name="T25" fmla="*/ 157 h 321"/>
                  <a:gd name="T26" fmla="*/ 4 w 329"/>
                  <a:gd name="T27" fmla="*/ 188 h 321"/>
                  <a:gd name="T28" fmla="*/ 4 w 329"/>
                  <a:gd name="T29" fmla="*/ 233 h 321"/>
                  <a:gd name="T30" fmla="*/ 19 w 329"/>
                  <a:gd name="T31" fmla="*/ 245 h 321"/>
                  <a:gd name="T32" fmla="*/ 43 w 329"/>
                  <a:gd name="T33" fmla="*/ 254 h 321"/>
                  <a:gd name="T34" fmla="*/ 43 w 329"/>
                  <a:gd name="T35" fmla="*/ 269 h 321"/>
                  <a:gd name="T36" fmla="*/ 66 w 329"/>
                  <a:gd name="T37" fmla="*/ 302 h 321"/>
                  <a:gd name="T38" fmla="*/ 90 w 329"/>
                  <a:gd name="T39" fmla="*/ 302 h 321"/>
                  <a:gd name="T40" fmla="*/ 154 w 329"/>
                  <a:gd name="T41" fmla="*/ 295 h 321"/>
                  <a:gd name="T42" fmla="*/ 178 w 329"/>
                  <a:gd name="T43" fmla="*/ 301 h 321"/>
                  <a:gd name="T44" fmla="*/ 198 w 329"/>
                  <a:gd name="T45" fmla="*/ 308 h 321"/>
                  <a:gd name="T46" fmla="*/ 231 w 329"/>
                  <a:gd name="T47" fmla="*/ 319 h 321"/>
                  <a:gd name="T48" fmla="*/ 239 w 329"/>
                  <a:gd name="T49" fmla="*/ 312 h 321"/>
                  <a:gd name="T50" fmla="*/ 216 w 329"/>
                  <a:gd name="T51" fmla="*/ 277 h 321"/>
                  <a:gd name="T52" fmla="*/ 135 w 329"/>
                  <a:gd name="T53" fmla="*/ 253 h 321"/>
                  <a:gd name="T54" fmla="*/ 156 w 329"/>
                  <a:gd name="T55" fmla="*/ 234 h 321"/>
                  <a:gd name="T56" fmla="*/ 180 w 329"/>
                  <a:gd name="T57" fmla="*/ 222 h 321"/>
                  <a:gd name="T58" fmla="*/ 157 w 329"/>
                  <a:gd name="T59" fmla="*/ 197 h 321"/>
                  <a:gd name="T60" fmla="*/ 144 w 329"/>
                  <a:gd name="T61" fmla="*/ 180 h 321"/>
                  <a:gd name="T62" fmla="*/ 127 w 329"/>
                  <a:gd name="T63" fmla="*/ 162 h 321"/>
                  <a:gd name="T64" fmla="*/ 130 w 329"/>
                  <a:gd name="T65" fmla="*/ 125 h 321"/>
                  <a:gd name="T66" fmla="*/ 147 w 329"/>
                  <a:gd name="T67" fmla="*/ 135 h 321"/>
                  <a:gd name="T68" fmla="*/ 177 w 329"/>
                  <a:gd name="T69" fmla="*/ 168 h 321"/>
                  <a:gd name="T70" fmla="*/ 177 w 329"/>
                  <a:gd name="T71" fmla="*/ 144 h 321"/>
                  <a:gd name="T72" fmla="*/ 172 w 329"/>
                  <a:gd name="T73" fmla="*/ 137 h 321"/>
                  <a:gd name="T74" fmla="*/ 199 w 329"/>
                  <a:gd name="T75" fmla="*/ 144 h 321"/>
                  <a:gd name="T76" fmla="*/ 207 w 329"/>
                  <a:gd name="T77" fmla="*/ 135 h 321"/>
                  <a:gd name="T78" fmla="*/ 228 w 329"/>
                  <a:gd name="T79" fmla="*/ 141 h 321"/>
                  <a:gd name="T80" fmla="*/ 199 w 329"/>
                  <a:gd name="T81" fmla="*/ 121 h 321"/>
                  <a:gd name="T82" fmla="*/ 186 w 329"/>
                  <a:gd name="T83" fmla="*/ 105 h 321"/>
                  <a:gd name="T84" fmla="*/ 217 w 329"/>
                  <a:gd name="T85" fmla="*/ 87 h 321"/>
                  <a:gd name="T86" fmla="*/ 257 w 329"/>
                  <a:gd name="T87" fmla="*/ 77 h 321"/>
                  <a:gd name="T88" fmla="*/ 297 w 329"/>
                  <a:gd name="T89" fmla="*/ 75 h 32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29"/>
                  <a:gd name="T136" fmla="*/ 0 h 321"/>
                  <a:gd name="T137" fmla="*/ 329 w 329"/>
                  <a:gd name="T138" fmla="*/ 321 h 32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29" h="321">
                    <a:moveTo>
                      <a:pt x="310" y="79"/>
                    </a:moveTo>
                    <a:cubicBezTo>
                      <a:pt x="311" y="78"/>
                      <a:pt x="311" y="76"/>
                      <a:pt x="312" y="75"/>
                    </a:cubicBezTo>
                    <a:cubicBezTo>
                      <a:pt x="313" y="74"/>
                      <a:pt x="314" y="74"/>
                      <a:pt x="315" y="73"/>
                    </a:cubicBezTo>
                    <a:cubicBezTo>
                      <a:pt x="318" y="69"/>
                      <a:pt x="318" y="62"/>
                      <a:pt x="321" y="57"/>
                    </a:cubicBezTo>
                    <a:cubicBezTo>
                      <a:pt x="317" y="41"/>
                      <a:pt x="321" y="36"/>
                      <a:pt x="329" y="24"/>
                    </a:cubicBezTo>
                    <a:cubicBezTo>
                      <a:pt x="326" y="15"/>
                      <a:pt x="310" y="8"/>
                      <a:pt x="305" y="5"/>
                    </a:cubicBezTo>
                    <a:cubicBezTo>
                      <a:pt x="301" y="0"/>
                      <a:pt x="299" y="0"/>
                      <a:pt x="297" y="6"/>
                    </a:cubicBezTo>
                    <a:cubicBezTo>
                      <a:pt x="299" y="13"/>
                      <a:pt x="302" y="19"/>
                      <a:pt x="304" y="26"/>
                    </a:cubicBezTo>
                    <a:cubicBezTo>
                      <a:pt x="302" y="37"/>
                      <a:pt x="297" y="36"/>
                      <a:pt x="287" y="37"/>
                    </a:cubicBezTo>
                    <a:cubicBezTo>
                      <a:pt x="273" y="48"/>
                      <a:pt x="271" y="48"/>
                      <a:pt x="250" y="49"/>
                    </a:cubicBezTo>
                    <a:cubicBezTo>
                      <a:pt x="243" y="49"/>
                      <a:pt x="235" y="50"/>
                      <a:pt x="228" y="47"/>
                    </a:cubicBezTo>
                    <a:cubicBezTo>
                      <a:pt x="224" y="45"/>
                      <a:pt x="216" y="42"/>
                      <a:pt x="216" y="42"/>
                    </a:cubicBezTo>
                    <a:cubicBezTo>
                      <a:pt x="213" y="39"/>
                      <a:pt x="203" y="37"/>
                      <a:pt x="203" y="37"/>
                    </a:cubicBezTo>
                    <a:cubicBezTo>
                      <a:pt x="197" y="38"/>
                      <a:pt x="192" y="43"/>
                      <a:pt x="187" y="47"/>
                    </a:cubicBezTo>
                    <a:cubicBezTo>
                      <a:pt x="185" y="49"/>
                      <a:pt x="181" y="53"/>
                      <a:pt x="181" y="53"/>
                    </a:cubicBezTo>
                    <a:cubicBezTo>
                      <a:pt x="180" y="55"/>
                      <a:pt x="180" y="58"/>
                      <a:pt x="178" y="59"/>
                    </a:cubicBezTo>
                    <a:cubicBezTo>
                      <a:pt x="176" y="60"/>
                      <a:pt x="172" y="61"/>
                      <a:pt x="172" y="61"/>
                    </a:cubicBezTo>
                    <a:cubicBezTo>
                      <a:pt x="155" y="60"/>
                      <a:pt x="147" y="62"/>
                      <a:pt x="132" y="67"/>
                    </a:cubicBezTo>
                    <a:cubicBezTo>
                      <a:pt x="126" y="92"/>
                      <a:pt x="119" y="89"/>
                      <a:pt x="90" y="90"/>
                    </a:cubicBezTo>
                    <a:cubicBezTo>
                      <a:pt x="82" y="97"/>
                      <a:pt x="79" y="99"/>
                      <a:pt x="75" y="103"/>
                    </a:cubicBezTo>
                    <a:cubicBezTo>
                      <a:pt x="71" y="108"/>
                      <a:pt x="71" y="110"/>
                      <a:pt x="64" y="113"/>
                    </a:cubicBezTo>
                    <a:cubicBezTo>
                      <a:pt x="51" y="119"/>
                      <a:pt x="36" y="121"/>
                      <a:pt x="22" y="126"/>
                    </a:cubicBezTo>
                    <a:cubicBezTo>
                      <a:pt x="31" y="128"/>
                      <a:pt x="27" y="133"/>
                      <a:pt x="31" y="140"/>
                    </a:cubicBezTo>
                    <a:cubicBezTo>
                      <a:pt x="33" y="143"/>
                      <a:pt x="35" y="149"/>
                      <a:pt x="35" y="149"/>
                    </a:cubicBezTo>
                    <a:cubicBezTo>
                      <a:pt x="33" y="155"/>
                      <a:pt x="36" y="150"/>
                      <a:pt x="27" y="153"/>
                    </a:cubicBezTo>
                    <a:cubicBezTo>
                      <a:pt x="24" y="154"/>
                      <a:pt x="19" y="157"/>
                      <a:pt x="19" y="157"/>
                    </a:cubicBezTo>
                    <a:cubicBezTo>
                      <a:pt x="22" y="163"/>
                      <a:pt x="22" y="179"/>
                      <a:pt x="16" y="183"/>
                    </a:cubicBezTo>
                    <a:cubicBezTo>
                      <a:pt x="12" y="185"/>
                      <a:pt x="4" y="188"/>
                      <a:pt x="4" y="188"/>
                    </a:cubicBezTo>
                    <a:cubicBezTo>
                      <a:pt x="2" y="193"/>
                      <a:pt x="0" y="193"/>
                      <a:pt x="3" y="198"/>
                    </a:cubicBezTo>
                    <a:cubicBezTo>
                      <a:pt x="2" y="205"/>
                      <a:pt x="6" y="224"/>
                      <a:pt x="4" y="233"/>
                    </a:cubicBezTo>
                    <a:cubicBezTo>
                      <a:pt x="5" y="238"/>
                      <a:pt x="15" y="240"/>
                      <a:pt x="15" y="240"/>
                    </a:cubicBezTo>
                    <a:cubicBezTo>
                      <a:pt x="17" y="241"/>
                      <a:pt x="17" y="244"/>
                      <a:pt x="19" y="245"/>
                    </a:cubicBezTo>
                    <a:cubicBezTo>
                      <a:pt x="22" y="246"/>
                      <a:pt x="31" y="248"/>
                      <a:pt x="34" y="249"/>
                    </a:cubicBezTo>
                    <a:cubicBezTo>
                      <a:pt x="37" y="251"/>
                      <a:pt x="40" y="252"/>
                      <a:pt x="43" y="254"/>
                    </a:cubicBezTo>
                    <a:cubicBezTo>
                      <a:pt x="47" y="260"/>
                      <a:pt x="51" y="260"/>
                      <a:pt x="57" y="261"/>
                    </a:cubicBezTo>
                    <a:cubicBezTo>
                      <a:pt x="49" y="263"/>
                      <a:pt x="46" y="262"/>
                      <a:pt x="43" y="269"/>
                    </a:cubicBezTo>
                    <a:cubicBezTo>
                      <a:pt x="44" y="273"/>
                      <a:pt x="44" y="283"/>
                      <a:pt x="47" y="287"/>
                    </a:cubicBezTo>
                    <a:cubicBezTo>
                      <a:pt x="52" y="293"/>
                      <a:pt x="60" y="296"/>
                      <a:pt x="66" y="302"/>
                    </a:cubicBezTo>
                    <a:cubicBezTo>
                      <a:pt x="67" y="306"/>
                      <a:pt x="69" y="306"/>
                      <a:pt x="73" y="305"/>
                    </a:cubicBezTo>
                    <a:cubicBezTo>
                      <a:pt x="80" y="298"/>
                      <a:pt x="79" y="298"/>
                      <a:pt x="90" y="302"/>
                    </a:cubicBezTo>
                    <a:cubicBezTo>
                      <a:pt x="98" y="301"/>
                      <a:pt x="100" y="297"/>
                      <a:pt x="108" y="294"/>
                    </a:cubicBezTo>
                    <a:cubicBezTo>
                      <a:pt x="124" y="296"/>
                      <a:pt x="138" y="296"/>
                      <a:pt x="154" y="295"/>
                    </a:cubicBezTo>
                    <a:cubicBezTo>
                      <a:pt x="160" y="294"/>
                      <a:pt x="168" y="293"/>
                      <a:pt x="174" y="295"/>
                    </a:cubicBezTo>
                    <a:cubicBezTo>
                      <a:pt x="176" y="296"/>
                      <a:pt x="176" y="300"/>
                      <a:pt x="178" y="301"/>
                    </a:cubicBezTo>
                    <a:cubicBezTo>
                      <a:pt x="187" y="299"/>
                      <a:pt x="185" y="303"/>
                      <a:pt x="183" y="311"/>
                    </a:cubicBezTo>
                    <a:cubicBezTo>
                      <a:pt x="185" y="321"/>
                      <a:pt x="193" y="310"/>
                      <a:pt x="198" y="308"/>
                    </a:cubicBezTo>
                    <a:cubicBezTo>
                      <a:pt x="212" y="309"/>
                      <a:pt x="211" y="311"/>
                      <a:pt x="221" y="315"/>
                    </a:cubicBezTo>
                    <a:cubicBezTo>
                      <a:pt x="224" y="316"/>
                      <a:pt x="231" y="319"/>
                      <a:pt x="231" y="319"/>
                    </a:cubicBezTo>
                    <a:cubicBezTo>
                      <a:pt x="234" y="319"/>
                      <a:pt x="238" y="320"/>
                      <a:pt x="241" y="318"/>
                    </a:cubicBezTo>
                    <a:cubicBezTo>
                      <a:pt x="243" y="317"/>
                      <a:pt x="239" y="312"/>
                      <a:pt x="239" y="312"/>
                    </a:cubicBezTo>
                    <a:cubicBezTo>
                      <a:pt x="238" y="298"/>
                      <a:pt x="235" y="297"/>
                      <a:pt x="226" y="288"/>
                    </a:cubicBezTo>
                    <a:cubicBezTo>
                      <a:pt x="225" y="285"/>
                      <a:pt x="220" y="278"/>
                      <a:pt x="216" y="277"/>
                    </a:cubicBezTo>
                    <a:cubicBezTo>
                      <a:pt x="212" y="269"/>
                      <a:pt x="205" y="271"/>
                      <a:pt x="197" y="270"/>
                    </a:cubicBezTo>
                    <a:cubicBezTo>
                      <a:pt x="180" y="257"/>
                      <a:pt x="154" y="259"/>
                      <a:pt x="135" y="253"/>
                    </a:cubicBezTo>
                    <a:cubicBezTo>
                      <a:pt x="139" y="245"/>
                      <a:pt x="150" y="248"/>
                      <a:pt x="159" y="247"/>
                    </a:cubicBezTo>
                    <a:cubicBezTo>
                      <a:pt x="162" y="242"/>
                      <a:pt x="161" y="237"/>
                      <a:pt x="156" y="234"/>
                    </a:cubicBezTo>
                    <a:cubicBezTo>
                      <a:pt x="154" y="231"/>
                      <a:pt x="153" y="228"/>
                      <a:pt x="151" y="225"/>
                    </a:cubicBezTo>
                    <a:cubicBezTo>
                      <a:pt x="156" y="217"/>
                      <a:pt x="171" y="223"/>
                      <a:pt x="180" y="222"/>
                    </a:cubicBezTo>
                    <a:cubicBezTo>
                      <a:pt x="179" y="218"/>
                      <a:pt x="178" y="216"/>
                      <a:pt x="174" y="215"/>
                    </a:cubicBezTo>
                    <a:cubicBezTo>
                      <a:pt x="172" y="208"/>
                      <a:pt x="164" y="199"/>
                      <a:pt x="157" y="197"/>
                    </a:cubicBezTo>
                    <a:cubicBezTo>
                      <a:pt x="156" y="193"/>
                      <a:pt x="154" y="193"/>
                      <a:pt x="150" y="191"/>
                    </a:cubicBezTo>
                    <a:cubicBezTo>
                      <a:pt x="148" y="185"/>
                      <a:pt x="149" y="183"/>
                      <a:pt x="144" y="180"/>
                    </a:cubicBezTo>
                    <a:cubicBezTo>
                      <a:pt x="142" y="177"/>
                      <a:pt x="136" y="175"/>
                      <a:pt x="136" y="175"/>
                    </a:cubicBezTo>
                    <a:cubicBezTo>
                      <a:pt x="133" y="171"/>
                      <a:pt x="131" y="166"/>
                      <a:pt x="127" y="162"/>
                    </a:cubicBezTo>
                    <a:cubicBezTo>
                      <a:pt x="125" y="157"/>
                      <a:pt x="124" y="152"/>
                      <a:pt x="121" y="147"/>
                    </a:cubicBezTo>
                    <a:cubicBezTo>
                      <a:pt x="122" y="136"/>
                      <a:pt x="120" y="128"/>
                      <a:pt x="130" y="125"/>
                    </a:cubicBezTo>
                    <a:cubicBezTo>
                      <a:pt x="132" y="122"/>
                      <a:pt x="138" y="120"/>
                      <a:pt x="138" y="120"/>
                    </a:cubicBezTo>
                    <a:cubicBezTo>
                      <a:pt x="150" y="122"/>
                      <a:pt x="152" y="127"/>
                      <a:pt x="147" y="135"/>
                    </a:cubicBezTo>
                    <a:cubicBezTo>
                      <a:pt x="150" y="145"/>
                      <a:pt x="161" y="139"/>
                      <a:pt x="169" y="144"/>
                    </a:cubicBezTo>
                    <a:cubicBezTo>
                      <a:pt x="170" y="150"/>
                      <a:pt x="170" y="166"/>
                      <a:pt x="177" y="168"/>
                    </a:cubicBezTo>
                    <a:cubicBezTo>
                      <a:pt x="186" y="167"/>
                      <a:pt x="197" y="168"/>
                      <a:pt x="187" y="162"/>
                    </a:cubicBezTo>
                    <a:cubicBezTo>
                      <a:pt x="185" y="156"/>
                      <a:pt x="181" y="149"/>
                      <a:pt x="177" y="144"/>
                    </a:cubicBezTo>
                    <a:cubicBezTo>
                      <a:pt x="174" y="141"/>
                      <a:pt x="166" y="133"/>
                      <a:pt x="169" y="135"/>
                    </a:cubicBezTo>
                    <a:cubicBezTo>
                      <a:pt x="170" y="136"/>
                      <a:pt x="171" y="136"/>
                      <a:pt x="172" y="137"/>
                    </a:cubicBezTo>
                    <a:cubicBezTo>
                      <a:pt x="178" y="147"/>
                      <a:pt x="194" y="153"/>
                      <a:pt x="205" y="156"/>
                    </a:cubicBezTo>
                    <a:cubicBezTo>
                      <a:pt x="215" y="153"/>
                      <a:pt x="207" y="147"/>
                      <a:pt x="199" y="144"/>
                    </a:cubicBezTo>
                    <a:cubicBezTo>
                      <a:pt x="197" y="138"/>
                      <a:pt x="195" y="138"/>
                      <a:pt x="190" y="135"/>
                    </a:cubicBezTo>
                    <a:cubicBezTo>
                      <a:pt x="195" y="131"/>
                      <a:pt x="201" y="134"/>
                      <a:pt x="207" y="135"/>
                    </a:cubicBezTo>
                    <a:cubicBezTo>
                      <a:pt x="210" y="140"/>
                      <a:pt x="217" y="140"/>
                      <a:pt x="222" y="143"/>
                    </a:cubicBezTo>
                    <a:cubicBezTo>
                      <a:pt x="224" y="142"/>
                      <a:pt x="227" y="142"/>
                      <a:pt x="228" y="141"/>
                    </a:cubicBezTo>
                    <a:cubicBezTo>
                      <a:pt x="230" y="139"/>
                      <a:pt x="225" y="136"/>
                      <a:pt x="223" y="135"/>
                    </a:cubicBezTo>
                    <a:cubicBezTo>
                      <a:pt x="215" y="131"/>
                      <a:pt x="207" y="124"/>
                      <a:pt x="199" y="121"/>
                    </a:cubicBezTo>
                    <a:cubicBezTo>
                      <a:pt x="197" y="117"/>
                      <a:pt x="196" y="114"/>
                      <a:pt x="192" y="113"/>
                    </a:cubicBezTo>
                    <a:cubicBezTo>
                      <a:pt x="191" y="109"/>
                      <a:pt x="187" y="109"/>
                      <a:pt x="186" y="105"/>
                    </a:cubicBezTo>
                    <a:cubicBezTo>
                      <a:pt x="188" y="96"/>
                      <a:pt x="197" y="98"/>
                      <a:pt x="205" y="97"/>
                    </a:cubicBezTo>
                    <a:cubicBezTo>
                      <a:pt x="211" y="95"/>
                      <a:pt x="212" y="90"/>
                      <a:pt x="217" y="87"/>
                    </a:cubicBezTo>
                    <a:cubicBezTo>
                      <a:pt x="222" y="84"/>
                      <a:pt x="232" y="83"/>
                      <a:pt x="237" y="83"/>
                    </a:cubicBezTo>
                    <a:cubicBezTo>
                      <a:pt x="243" y="79"/>
                      <a:pt x="250" y="78"/>
                      <a:pt x="257" y="77"/>
                    </a:cubicBezTo>
                    <a:cubicBezTo>
                      <a:pt x="262" y="74"/>
                      <a:pt x="268" y="73"/>
                      <a:pt x="274" y="72"/>
                    </a:cubicBezTo>
                    <a:cubicBezTo>
                      <a:pt x="282" y="73"/>
                      <a:pt x="297" y="75"/>
                      <a:pt x="297" y="75"/>
                    </a:cubicBezTo>
                    <a:cubicBezTo>
                      <a:pt x="301" y="78"/>
                      <a:pt x="305" y="79"/>
                      <a:pt x="310" y="79"/>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43" name="Freeform 2477">
              <a:extLst>
                <a:ext uri="{FF2B5EF4-FFF2-40B4-BE49-F238E27FC236}">
                  <a16:creationId xmlns:a16="http://schemas.microsoft.com/office/drawing/2014/main" id="{E2A0DFB1-8C35-FBFF-4846-B019FDE1B229}"/>
                </a:ext>
              </a:extLst>
            </p:cNvPr>
            <p:cNvSpPr>
              <a:spLocks noChangeAspect="1"/>
            </p:cNvSpPr>
            <p:nvPr>
              <p:custDataLst>
                <p:tags r:id="rId7"/>
              </p:custDataLst>
            </p:nvPr>
          </p:nvSpPr>
          <p:spPr bwMode="auto">
            <a:xfrm>
              <a:off x="3796767" y="3928765"/>
              <a:ext cx="261605" cy="138096"/>
            </a:xfrm>
            <a:custGeom>
              <a:avLst/>
              <a:gdLst>
                <a:gd name="T0" fmla="*/ 254 w 270"/>
                <a:gd name="T1" fmla="*/ 67 h 142"/>
                <a:gd name="T2" fmla="*/ 266 w 270"/>
                <a:gd name="T3" fmla="*/ 26 h 142"/>
                <a:gd name="T4" fmla="*/ 270 w 270"/>
                <a:gd name="T5" fmla="*/ 16 h 142"/>
                <a:gd name="T6" fmla="*/ 216 w 270"/>
                <a:gd name="T7" fmla="*/ 0 h 142"/>
                <a:gd name="T8" fmla="*/ 185 w 270"/>
                <a:gd name="T9" fmla="*/ 9 h 142"/>
                <a:gd name="T10" fmla="*/ 171 w 270"/>
                <a:gd name="T11" fmla="*/ 9 h 142"/>
                <a:gd name="T12" fmla="*/ 147 w 270"/>
                <a:gd name="T13" fmla="*/ 18 h 142"/>
                <a:gd name="T14" fmla="*/ 136 w 270"/>
                <a:gd name="T15" fmla="*/ 25 h 142"/>
                <a:gd name="T16" fmla="*/ 126 w 270"/>
                <a:gd name="T17" fmla="*/ 18 h 142"/>
                <a:gd name="T18" fmla="*/ 113 w 270"/>
                <a:gd name="T19" fmla="*/ 7 h 142"/>
                <a:gd name="T20" fmla="*/ 108 w 270"/>
                <a:gd name="T21" fmla="*/ 2 h 142"/>
                <a:gd name="T22" fmla="*/ 101 w 270"/>
                <a:gd name="T23" fmla="*/ 14 h 142"/>
                <a:gd name="T24" fmla="*/ 86 w 270"/>
                <a:gd name="T25" fmla="*/ 8 h 142"/>
                <a:gd name="T26" fmla="*/ 70 w 270"/>
                <a:gd name="T27" fmla="*/ 13 h 142"/>
                <a:gd name="T28" fmla="*/ 63 w 270"/>
                <a:gd name="T29" fmla="*/ 22 h 142"/>
                <a:gd name="T30" fmla="*/ 54 w 270"/>
                <a:gd name="T31" fmla="*/ 36 h 142"/>
                <a:gd name="T32" fmla="*/ 47 w 270"/>
                <a:gd name="T33" fmla="*/ 46 h 142"/>
                <a:gd name="T34" fmla="*/ 41 w 270"/>
                <a:gd name="T35" fmla="*/ 57 h 142"/>
                <a:gd name="T36" fmla="*/ 6 w 270"/>
                <a:gd name="T37" fmla="*/ 69 h 142"/>
                <a:gd name="T38" fmla="*/ 0 w 270"/>
                <a:gd name="T39" fmla="*/ 92 h 142"/>
                <a:gd name="T40" fmla="*/ 6 w 270"/>
                <a:gd name="T41" fmla="*/ 103 h 142"/>
                <a:gd name="T42" fmla="*/ 10 w 270"/>
                <a:gd name="T43" fmla="*/ 124 h 142"/>
                <a:gd name="T44" fmla="*/ 23 w 270"/>
                <a:gd name="T45" fmla="*/ 128 h 142"/>
                <a:gd name="T46" fmla="*/ 26 w 270"/>
                <a:gd name="T47" fmla="*/ 129 h 142"/>
                <a:gd name="T48" fmla="*/ 35 w 270"/>
                <a:gd name="T49" fmla="*/ 135 h 142"/>
                <a:gd name="T50" fmla="*/ 41 w 270"/>
                <a:gd name="T51" fmla="*/ 142 h 142"/>
                <a:gd name="T52" fmla="*/ 92 w 270"/>
                <a:gd name="T53" fmla="*/ 139 h 142"/>
                <a:gd name="T54" fmla="*/ 101 w 270"/>
                <a:gd name="T55" fmla="*/ 130 h 142"/>
                <a:gd name="T56" fmla="*/ 124 w 270"/>
                <a:gd name="T57" fmla="*/ 108 h 142"/>
                <a:gd name="T58" fmla="*/ 134 w 270"/>
                <a:gd name="T59" fmla="*/ 100 h 142"/>
                <a:gd name="T60" fmla="*/ 138 w 270"/>
                <a:gd name="T61" fmla="*/ 96 h 142"/>
                <a:gd name="T62" fmla="*/ 147 w 270"/>
                <a:gd name="T63" fmla="*/ 99 h 142"/>
                <a:gd name="T64" fmla="*/ 164 w 270"/>
                <a:gd name="T65" fmla="*/ 96 h 142"/>
                <a:gd name="T66" fmla="*/ 186 w 270"/>
                <a:gd name="T67" fmla="*/ 66 h 142"/>
                <a:gd name="T68" fmla="*/ 212 w 270"/>
                <a:gd name="T69" fmla="*/ 66 h 142"/>
                <a:gd name="T70" fmla="*/ 228 w 270"/>
                <a:gd name="T71" fmla="*/ 67 h 142"/>
                <a:gd name="T72" fmla="*/ 237 w 270"/>
                <a:gd name="T73" fmla="*/ 72 h 142"/>
                <a:gd name="T74" fmla="*/ 254 w 270"/>
                <a:gd name="T75" fmla="*/ 67 h 14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70"/>
                <a:gd name="T115" fmla="*/ 0 h 142"/>
                <a:gd name="T116" fmla="*/ 270 w 270"/>
                <a:gd name="T117" fmla="*/ 142 h 14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70" h="142">
                  <a:moveTo>
                    <a:pt x="254" y="67"/>
                  </a:moveTo>
                  <a:cubicBezTo>
                    <a:pt x="257" y="58"/>
                    <a:pt x="256" y="33"/>
                    <a:pt x="266" y="26"/>
                  </a:cubicBezTo>
                  <a:cubicBezTo>
                    <a:pt x="267" y="22"/>
                    <a:pt x="269" y="20"/>
                    <a:pt x="270" y="16"/>
                  </a:cubicBezTo>
                  <a:cubicBezTo>
                    <a:pt x="251" y="13"/>
                    <a:pt x="234" y="4"/>
                    <a:pt x="216" y="0"/>
                  </a:cubicBezTo>
                  <a:cubicBezTo>
                    <a:pt x="202" y="1"/>
                    <a:pt x="197" y="5"/>
                    <a:pt x="185" y="9"/>
                  </a:cubicBezTo>
                  <a:cubicBezTo>
                    <a:pt x="182" y="17"/>
                    <a:pt x="176" y="11"/>
                    <a:pt x="171" y="9"/>
                  </a:cubicBezTo>
                  <a:cubicBezTo>
                    <a:pt x="158" y="10"/>
                    <a:pt x="154" y="9"/>
                    <a:pt x="147" y="18"/>
                  </a:cubicBezTo>
                  <a:cubicBezTo>
                    <a:pt x="146" y="27"/>
                    <a:pt x="145" y="26"/>
                    <a:pt x="136" y="25"/>
                  </a:cubicBezTo>
                  <a:cubicBezTo>
                    <a:pt x="133" y="23"/>
                    <a:pt x="126" y="18"/>
                    <a:pt x="126" y="18"/>
                  </a:cubicBezTo>
                  <a:cubicBezTo>
                    <a:pt x="124" y="12"/>
                    <a:pt x="117" y="11"/>
                    <a:pt x="113" y="7"/>
                  </a:cubicBezTo>
                  <a:cubicBezTo>
                    <a:pt x="112" y="5"/>
                    <a:pt x="112" y="1"/>
                    <a:pt x="108" y="2"/>
                  </a:cubicBezTo>
                  <a:cubicBezTo>
                    <a:pt x="108" y="2"/>
                    <a:pt x="104" y="12"/>
                    <a:pt x="101" y="14"/>
                  </a:cubicBezTo>
                  <a:cubicBezTo>
                    <a:pt x="96" y="23"/>
                    <a:pt x="91" y="11"/>
                    <a:pt x="86" y="8"/>
                  </a:cubicBezTo>
                  <a:cubicBezTo>
                    <a:pt x="80" y="9"/>
                    <a:pt x="76" y="12"/>
                    <a:pt x="70" y="13"/>
                  </a:cubicBezTo>
                  <a:cubicBezTo>
                    <a:pt x="69" y="17"/>
                    <a:pt x="63" y="22"/>
                    <a:pt x="63" y="22"/>
                  </a:cubicBezTo>
                  <a:cubicBezTo>
                    <a:pt x="62" y="28"/>
                    <a:pt x="58" y="32"/>
                    <a:pt x="54" y="36"/>
                  </a:cubicBezTo>
                  <a:cubicBezTo>
                    <a:pt x="52" y="41"/>
                    <a:pt x="52" y="44"/>
                    <a:pt x="47" y="46"/>
                  </a:cubicBezTo>
                  <a:cubicBezTo>
                    <a:pt x="45" y="52"/>
                    <a:pt x="46" y="54"/>
                    <a:pt x="41" y="57"/>
                  </a:cubicBezTo>
                  <a:cubicBezTo>
                    <a:pt x="32" y="70"/>
                    <a:pt x="22" y="68"/>
                    <a:pt x="6" y="69"/>
                  </a:cubicBezTo>
                  <a:cubicBezTo>
                    <a:pt x="1" y="76"/>
                    <a:pt x="3" y="84"/>
                    <a:pt x="0" y="92"/>
                  </a:cubicBezTo>
                  <a:cubicBezTo>
                    <a:pt x="2" y="98"/>
                    <a:pt x="4" y="98"/>
                    <a:pt x="6" y="103"/>
                  </a:cubicBezTo>
                  <a:cubicBezTo>
                    <a:pt x="4" y="109"/>
                    <a:pt x="3" y="120"/>
                    <a:pt x="10" y="124"/>
                  </a:cubicBezTo>
                  <a:cubicBezTo>
                    <a:pt x="14" y="126"/>
                    <a:pt x="19" y="127"/>
                    <a:pt x="23" y="128"/>
                  </a:cubicBezTo>
                  <a:cubicBezTo>
                    <a:pt x="24" y="128"/>
                    <a:pt x="26" y="129"/>
                    <a:pt x="26" y="129"/>
                  </a:cubicBezTo>
                  <a:cubicBezTo>
                    <a:pt x="29" y="132"/>
                    <a:pt x="32" y="133"/>
                    <a:pt x="35" y="135"/>
                  </a:cubicBezTo>
                  <a:cubicBezTo>
                    <a:pt x="36" y="139"/>
                    <a:pt x="39" y="138"/>
                    <a:pt x="41" y="142"/>
                  </a:cubicBezTo>
                  <a:cubicBezTo>
                    <a:pt x="58" y="141"/>
                    <a:pt x="75" y="140"/>
                    <a:pt x="92" y="139"/>
                  </a:cubicBezTo>
                  <a:cubicBezTo>
                    <a:pt x="97" y="137"/>
                    <a:pt x="99" y="135"/>
                    <a:pt x="101" y="130"/>
                  </a:cubicBezTo>
                  <a:cubicBezTo>
                    <a:pt x="99" y="106"/>
                    <a:pt x="99" y="109"/>
                    <a:pt x="124" y="108"/>
                  </a:cubicBezTo>
                  <a:cubicBezTo>
                    <a:pt x="129" y="106"/>
                    <a:pt x="131" y="104"/>
                    <a:pt x="134" y="100"/>
                  </a:cubicBezTo>
                  <a:cubicBezTo>
                    <a:pt x="135" y="98"/>
                    <a:pt x="135" y="96"/>
                    <a:pt x="138" y="96"/>
                  </a:cubicBezTo>
                  <a:cubicBezTo>
                    <a:pt x="141" y="96"/>
                    <a:pt x="147" y="99"/>
                    <a:pt x="147" y="99"/>
                  </a:cubicBezTo>
                  <a:cubicBezTo>
                    <a:pt x="153" y="98"/>
                    <a:pt x="164" y="96"/>
                    <a:pt x="164" y="96"/>
                  </a:cubicBezTo>
                  <a:cubicBezTo>
                    <a:pt x="169" y="82"/>
                    <a:pt x="169" y="70"/>
                    <a:pt x="186" y="66"/>
                  </a:cubicBezTo>
                  <a:cubicBezTo>
                    <a:pt x="195" y="67"/>
                    <a:pt x="203" y="69"/>
                    <a:pt x="212" y="66"/>
                  </a:cubicBezTo>
                  <a:cubicBezTo>
                    <a:pt x="217" y="66"/>
                    <a:pt x="223" y="66"/>
                    <a:pt x="228" y="67"/>
                  </a:cubicBezTo>
                  <a:cubicBezTo>
                    <a:pt x="231" y="67"/>
                    <a:pt x="237" y="72"/>
                    <a:pt x="237" y="72"/>
                  </a:cubicBezTo>
                  <a:cubicBezTo>
                    <a:pt x="238" y="72"/>
                    <a:pt x="254" y="72"/>
                    <a:pt x="254" y="67"/>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45" name="Group 2478">
              <a:extLst>
                <a:ext uri="{FF2B5EF4-FFF2-40B4-BE49-F238E27FC236}">
                  <a16:creationId xmlns:a16="http://schemas.microsoft.com/office/drawing/2014/main" id="{9E3F4AEA-83E5-9844-4D45-C1B0CD665AB6}"/>
                </a:ext>
              </a:extLst>
            </p:cNvPr>
            <p:cNvGrpSpPr>
              <a:grpSpLocks noChangeAspect="1"/>
            </p:cNvGrpSpPr>
            <p:nvPr>
              <p:custDataLst>
                <p:tags r:id="rId8"/>
              </p:custDataLst>
            </p:nvPr>
          </p:nvGrpSpPr>
          <p:grpSpPr bwMode="auto">
            <a:xfrm>
              <a:off x="3648946" y="4158277"/>
              <a:ext cx="292725" cy="281056"/>
              <a:chOff x="2859" y="3044"/>
              <a:chExt cx="302" cy="289"/>
            </a:xfrm>
          </p:grpSpPr>
          <p:sp>
            <p:nvSpPr>
              <p:cNvPr id="585" name="Freeform 2479">
                <a:extLst>
                  <a:ext uri="{FF2B5EF4-FFF2-40B4-BE49-F238E27FC236}">
                    <a16:creationId xmlns:a16="http://schemas.microsoft.com/office/drawing/2014/main" id="{587B02ED-378A-E32A-F6CC-2A689C79EB1A}"/>
                  </a:ext>
                </a:extLst>
              </p:cNvPr>
              <p:cNvSpPr>
                <a:spLocks noChangeAspect="1"/>
              </p:cNvSpPr>
              <p:nvPr/>
            </p:nvSpPr>
            <p:spPr bwMode="auto">
              <a:xfrm>
                <a:off x="2901" y="3158"/>
                <a:ext cx="24" cy="49"/>
              </a:xfrm>
              <a:custGeom>
                <a:avLst/>
                <a:gdLst>
                  <a:gd name="T0" fmla="*/ 0 w 24"/>
                  <a:gd name="T1" fmla="*/ 0 h 49"/>
                  <a:gd name="T2" fmla="*/ 16 w 24"/>
                  <a:gd name="T3" fmla="*/ 43 h 49"/>
                  <a:gd name="T4" fmla="*/ 22 w 24"/>
                  <a:gd name="T5" fmla="*/ 43 h 49"/>
                  <a:gd name="T6" fmla="*/ 14 w 24"/>
                  <a:gd name="T7" fmla="*/ 10 h 49"/>
                  <a:gd name="T8" fmla="*/ 0 w 24"/>
                  <a:gd name="T9" fmla="*/ 0 h 49"/>
                  <a:gd name="T10" fmla="*/ 0 60000 65536"/>
                  <a:gd name="T11" fmla="*/ 0 60000 65536"/>
                  <a:gd name="T12" fmla="*/ 0 60000 65536"/>
                  <a:gd name="T13" fmla="*/ 0 60000 65536"/>
                  <a:gd name="T14" fmla="*/ 0 60000 65536"/>
                  <a:gd name="T15" fmla="*/ 0 w 24"/>
                  <a:gd name="T16" fmla="*/ 0 h 49"/>
                  <a:gd name="T17" fmla="*/ 24 w 24"/>
                  <a:gd name="T18" fmla="*/ 49 h 49"/>
                </a:gdLst>
                <a:ahLst/>
                <a:cxnLst>
                  <a:cxn ang="T10">
                    <a:pos x="T0" y="T1"/>
                  </a:cxn>
                  <a:cxn ang="T11">
                    <a:pos x="T2" y="T3"/>
                  </a:cxn>
                  <a:cxn ang="T12">
                    <a:pos x="T4" y="T5"/>
                  </a:cxn>
                  <a:cxn ang="T13">
                    <a:pos x="T6" y="T7"/>
                  </a:cxn>
                  <a:cxn ang="T14">
                    <a:pos x="T8" y="T9"/>
                  </a:cxn>
                </a:cxnLst>
                <a:rect l="T15" t="T16" r="T17" b="T18"/>
                <a:pathLst>
                  <a:path w="24" h="49">
                    <a:moveTo>
                      <a:pt x="0" y="0"/>
                    </a:moveTo>
                    <a:cubicBezTo>
                      <a:pt x="2" y="12"/>
                      <a:pt x="7" y="34"/>
                      <a:pt x="16" y="43"/>
                    </a:cubicBezTo>
                    <a:cubicBezTo>
                      <a:pt x="18" y="49"/>
                      <a:pt x="19" y="49"/>
                      <a:pt x="22" y="43"/>
                    </a:cubicBezTo>
                    <a:cubicBezTo>
                      <a:pt x="21" y="34"/>
                      <a:pt x="24" y="17"/>
                      <a:pt x="14" y="10"/>
                    </a:cubicBezTo>
                    <a:cubicBezTo>
                      <a:pt x="11" y="5"/>
                      <a:pt x="6" y="0"/>
                      <a:pt x="0" y="0"/>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586" name="Freeform 2480">
                <a:extLst>
                  <a:ext uri="{FF2B5EF4-FFF2-40B4-BE49-F238E27FC236}">
                    <a16:creationId xmlns:a16="http://schemas.microsoft.com/office/drawing/2014/main" id="{5B21B3F8-4BA1-B97F-1F59-E5E8AA25BB73}"/>
                  </a:ext>
                </a:extLst>
              </p:cNvPr>
              <p:cNvSpPr>
                <a:spLocks noChangeAspect="1"/>
              </p:cNvSpPr>
              <p:nvPr/>
            </p:nvSpPr>
            <p:spPr bwMode="auto">
              <a:xfrm>
                <a:off x="2933" y="3220"/>
                <a:ext cx="39" cy="37"/>
              </a:xfrm>
              <a:custGeom>
                <a:avLst/>
                <a:gdLst>
                  <a:gd name="T0" fmla="*/ 0 w 39"/>
                  <a:gd name="T1" fmla="*/ 0 h 37"/>
                  <a:gd name="T2" fmla="*/ 20 w 39"/>
                  <a:gd name="T3" fmla="*/ 11 h 37"/>
                  <a:gd name="T4" fmla="*/ 26 w 39"/>
                  <a:gd name="T5" fmla="*/ 15 h 37"/>
                  <a:gd name="T6" fmla="*/ 36 w 39"/>
                  <a:gd name="T7" fmla="*/ 33 h 37"/>
                  <a:gd name="T8" fmla="*/ 38 w 39"/>
                  <a:gd name="T9" fmla="*/ 36 h 37"/>
                  <a:gd name="T10" fmla="*/ 34 w 39"/>
                  <a:gd name="T11" fmla="*/ 35 h 37"/>
                  <a:gd name="T12" fmla="*/ 0 w 39"/>
                  <a:gd name="T13" fmla="*/ 0 h 37"/>
                  <a:gd name="T14" fmla="*/ 0 60000 65536"/>
                  <a:gd name="T15" fmla="*/ 0 60000 65536"/>
                  <a:gd name="T16" fmla="*/ 0 60000 65536"/>
                  <a:gd name="T17" fmla="*/ 0 60000 65536"/>
                  <a:gd name="T18" fmla="*/ 0 60000 65536"/>
                  <a:gd name="T19" fmla="*/ 0 60000 65536"/>
                  <a:gd name="T20" fmla="*/ 0 60000 65536"/>
                  <a:gd name="T21" fmla="*/ 0 w 39"/>
                  <a:gd name="T22" fmla="*/ 0 h 37"/>
                  <a:gd name="T23" fmla="*/ 39 w 39"/>
                  <a:gd name="T24" fmla="*/ 37 h 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37">
                    <a:moveTo>
                      <a:pt x="0" y="0"/>
                    </a:moveTo>
                    <a:cubicBezTo>
                      <a:pt x="8" y="3"/>
                      <a:pt x="12" y="8"/>
                      <a:pt x="20" y="11"/>
                    </a:cubicBezTo>
                    <a:cubicBezTo>
                      <a:pt x="22" y="13"/>
                      <a:pt x="24" y="13"/>
                      <a:pt x="26" y="15"/>
                    </a:cubicBezTo>
                    <a:cubicBezTo>
                      <a:pt x="31" y="20"/>
                      <a:pt x="33" y="27"/>
                      <a:pt x="36" y="33"/>
                    </a:cubicBezTo>
                    <a:cubicBezTo>
                      <a:pt x="37" y="34"/>
                      <a:pt x="39" y="35"/>
                      <a:pt x="38" y="36"/>
                    </a:cubicBezTo>
                    <a:cubicBezTo>
                      <a:pt x="37" y="37"/>
                      <a:pt x="35" y="35"/>
                      <a:pt x="34" y="35"/>
                    </a:cubicBezTo>
                    <a:cubicBezTo>
                      <a:pt x="28" y="29"/>
                      <a:pt x="2" y="4"/>
                      <a:pt x="0" y="0"/>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587" name="Freeform 2481">
                <a:extLst>
                  <a:ext uri="{FF2B5EF4-FFF2-40B4-BE49-F238E27FC236}">
                    <a16:creationId xmlns:a16="http://schemas.microsoft.com/office/drawing/2014/main" id="{80466CDD-4C01-4FEE-2A5E-07A4296E68EA}"/>
                  </a:ext>
                </a:extLst>
              </p:cNvPr>
              <p:cNvSpPr>
                <a:spLocks noChangeAspect="1"/>
              </p:cNvSpPr>
              <p:nvPr/>
            </p:nvSpPr>
            <p:spPr bwMode="auto">
              <a:xfrm>
                <a:off x="2926" y="3185"/>
                <a:ext cx="31" cy="34"/>
              </a:xfrm>
              <a:custGeom>
                <a:avLst/>
                <a:gdLst>
                  <a:gd name="T0" fmla="*/ 5 w 31"/>
                  <a:gd name="T1" fmla="*/ 2 h 34"/>
                  <a:gd name="T2" fmla="*/ 27 w 31"/>
                  <a:gd name="T3" fmla="*/ 23 h 34"/>
                  <a:gd name="T4" fmla="*/ 21 w 31"/>
                  <a:gd name="T5" fmla="*/ 27 h 34"/>
                  <a:gd name="T6" fmla="*/ 10 w 31"/>
                  <a:gd name="T7" fmla="*/ 13 h 34"/>
                  <a:gd name="T8" fmla="*/ 5 w 31"/>
                  <a:gd name="T9" fmla="*/ 2 h 34"/>
                  <a:gd name="T10" fmla="*/ 0 60000 65536"/>
                  <a:gd name="T11" fmla="*/ 0 60000 65536"/>
                  <a:gd name="T12" fmla="*/ 0 60000 65536"/>
                  <a:gd name="T13" fmla="*/ 0 60000 65536"/>
                  <a:gd name="T14" fmla="*/ 0 60000 65536"/>
                  <a:gd name="T15" fmla="*/ 0 w 31"/>
                  <a:gd name="T16" fmla="*/ 0 h 34"/>
                  <a:gd name="T17" fmla="*/ 31 w 31"/>
                  <a:gd name="T18" fmla="*/ 34 h 34"/>
                </a:gdLst>
                <a:ahLst/>
                <a:cxnLst>
                  <a:cxn ang="T10">
                    <a:pos x="T0" y="T1"/>
                  </a:cxn>
                  <a:cxn ang="T11">
                    <a:pos x="T2" y="T3"/>
                  </a:cxn>
                  <a:cxn ang="T12">
                    <a:pos x="T4" y="T5"/>
                  </a:cxn>
                  <a:cxn ang="T13">
                    <a:pos x="T6" y="T7"/>
                  </a:cxn>
                  <a:cxn ang="T14">
                    <a:pos x="T8" y="T9"/>
                  </a:cxn>
                </a:cxnLst>
                <a:rect l="T15" t="T16" r="T17" b="T18"/>
                <a:pathLst>
                  <a:path w="31" h="34">
                    <a:moveTo>
                      <a:pt x="5" y="2"/>
                    </a:moveTo>
                    <a:cubicBezTo>
                      <a:pt x="13" y="8"/>
                      <a:pt x="19" y="17"/>
                      <a:pt x="27" y="23"/>
                    </a:cubicBezTo>
                    <a:cubicBezTo>
                      <a:pt x="31" y="34"/>
                      <a:pt x="31" y="33"/>
                      <a:pt x="21" y="27"/>
                    </a:cubicBezTo>
                    <a:cubicBezTo>
                      <a:pt x="18" y="21"/>
                      <a:pt x="15" y="16"/>
                      <a:pt x="10" y="13"/>
                    </a:cubicBezTo>
                    <a:cubicBezTo>
                      <a:pt x="9" y="11"/>
                      <a:pt x="0" y="0"/>
                      <a:pt x="5" y="2"/>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604" name="Freeform 2482">
                <a:extLst>
                  <a:ext uri="{FF2B5EF4-FFF2-40B4-BE49-F238E27FC236}">
                    <a16:creationId xmlns:a16="http://schemas.microsoft.com/office/drawing/2014/main" id="{12EA38B9-BFB8-E84A-1C2F-7086DD51AC25}"/>
                  </a:ext>
                </a:extLst>
              </p:cNvPr>
              <p:cNvSpPr>
                <a:spLocks noChangeAspect="1"/>
              </p:cNvSpPr>
              <p:nvPr/>
            </p:nvSpPr>
            <p:spPr bwMode="auto">
              <a:xfrm>
                <a:off x="3023" y="3273"/>
                <a:ext cx="27" cy="13"/>
              </a:xfrm>
              <a:custGeom>
                <a:avLst/>
                <a:gdLst>
                  <a:gd name="T0" fmla="*/ 0 w 27"/>
                  <a:gd name="T1" fmla="*/ 0 h 13"/>
                  <a:gd name="T2" fmla="*/ 11 w 27"/>
                  <a:gd name="T3" fmla="*/ 6 h 13"/>
                  <a:gd name="T4" fmla="*/ 27 w 27"/>
                  <a:gd name="T5" fmla="*/ 4 h 13"/>
                  <a:gd name="T6" fmla="*/ 12 w 27"/>
                  <a:gd name="T7" fmla="*/ 13 h 13"/>
                  <a:gd name="T8" fmla="*/ 0 w 27"/>
                  <a:gd name="T9" fmla="*/ 0 h 13"/>
                  <a:gd name="T10" fmla="*/ 0 60000 65536"/>
                  <a:gd name="T11" fmla="*/ 0 60000 65536"/>
                  <a:gd name="T12" fmla="*/ 0 60000 65536"/>
                  <a:gd name="T13" fmla="*/ 0 60000 65536"/>
                  <a:gd name="T14" fmla="*/ 0 60000 65536"/>
                  <a:gd name="T15" fmla="*/ 0 w 27"/>
                  <a:gd name="T16" fmla="*/ 0 h 13"/>
                  <a:gd name="T17" fmla="*/ 27 w 27"/>
                  <a:gd name="T18" fmla="*/ 13 h 13"/>
                </a:gdLst>
                <a:ahLst/>
                <a:cxnLst>
                  <a:cxn ang="T10">
                    <a:pos x="T0" y="T1"/>
                  </a:cxn>
                  <a:cxn ang="T11">
                    <a:pos x="T2" y="T3"/>
                  </a:cxn>
                  <a:cxn ang="T12">
                    <a:pos x="T4" y="T5"/>
                  </a:cxn>
                  <a:cxn ang="T13">
                    <a:pos x="T6" y="T7"/>
                  </a:cxn>
                  <a:cxn ang="T14">
                    <a:pos x="T8" y="T9"/>
                  </a:cxn>
                </a:cxnLst>
                <a:rect l="T15" t="T16" r="T17" b="T18"/>
                <a:pathLst>
                  <a:path w="27" h="13">
                    <a:moveTo>
                      <a:pt x="0" y="0"/>
                    </a:moveTo>
                    <a:cubicBezTo>
                      <a:pt x="3" y="3"/>
                      <a:pt x="11" y="6"/>
                      <a:pt x="11" y="6"/>
                    </a:cubicBezTo>
                    <a:cubicBezTo>
                      <a:pt x="17" y="5"/>
                      <a:pt x="22" y="3"/>
                      <a:pt x="27" y="4"/>
                    </a:cubicBezTo>
                    <a:cubicBezTo>
                      <a:pt x="24" y="12"/>
                      <a:pt x="19" y="12"/>
                      <a:pt x="12" y="13"/>
                    </a:cubicBezTo>
                    <a:cubicBezTo>
                      <a:pt x="5" y="11"/>
                      <a:pt x="0" y="8"/>
                      <a:pt x="0" y="0"/>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605" name="Freeform 2483">
                <a:extLst>
                  <a:ext uri="{FF2B5EF4-FFF2-40B4-BE49-F238E27FC236}">
                    <a16:creationId xmlns:a16="http://schemas.microsoft.com/office/drawing/2014/main" id="{8B966A10-16CF-9984-8BE3-561C01FBBF7D}"/>
                  </a:ext>
                </a:extLst>
              </p:cNvPr>
              <p:cNvSpPr>
                <a:spLocks noChangeAspect="1"/>
              </p:cNvSpPr>
              <p:nvPr/>
            </p:nvSpPr>
            <p:spPr bwMode="auto">
              <a:xfrm>
                <a:off x="3008" y="3284"/>
                <a:ext cx="55" cy="11"/>
              </a:xfrm>
              <a:custGeom>
                <a:avLst/>
                <a:gdLst>
                  <a:gd name="T0" fmla="*/ 12 w 55"/>
                  <a:gd name="T1" fmla="*/ 4 h 11"/>
                  <a:gd name="T2" fmla="*/ 55 w 55"/>
                  <a:gd name="T3" fmla="*/ 4 h 11"/>
                  <a:gd name="T4" fmla="*/ 31 w 55"/>
                  <a:gd name="T5" fmla="*/ 8 h 11"/>
                  <a:gd name="T6" fmla="*/ 12 w 55"/>
                  <a:gd name="T7" fmla="*/ 4 h 11"/>
                  <a:gd name="T8" fmla="*/ 0 60000 65536"/>
                  <a:gd name="T9" fmla="*/ 0 60000 65536"/>
                  <a:gd name="T10" fmla="*/ 0 60000 65536"/>
                  <a:gd name="T11" fmla="*/ 0 60000 65536"/>
                  <a:gd name="T12" fmla="*/ 0 w 55"/>
                  <a:gd name="T13" fmla="*/ 0 h 11"/>
                  <a:gd name="T14" fmla="*/ 55 w 55"/>
                  <a:gd name="T15" fmla="*/ 11 h 11"/>
                </a:gdLst>
                <a:ahLst/>
                <a:cxnLst>
                  <a:cxn ang="T8">
                    <a:pos x="T0" y="T1"/>
                  </a:cxn>
                  <a:cxn ang="T9">
                    <a:pos x="T2" y="T3"/>
                  </a:cxn>
                  <a:cxn ang="T10">
                    <a:pos x="T4" y="T5"/>
                  </a:cxn>
                  <a:cxn ang="T11">
                    <a:pos x="T6" y="T7"/>
                  </a:cxn>
                </a:cxnLst>
                <a:rect l="T12" t="T13" r="T14" b="T15"/>
                <a:pathLst>
                  <a:path w="55" h="11">
                    <a:moveTo>
                      <a:pt x="12" y="4"/>
                    </a:moveTo>
                    <a:cubicBezTo>
                      <a:pt x="27" y="0"/>
                      <a:pt x="39" y="2"/>
                      <a:pt x="55" y="4"/>
                    </a:cubicBezTo>
                    <a:cubicBezTo>
                      <a:pt x="53" y="11"/>
                      <a:pt x="38" y="7"/>
                      <a:pt x="31" y="8"/>
                    </a:cubicBezTo>
                    <a:cubicBezTo>
                      <a:pt x="25" y="7"/>
                      <a:pt x="0" y="11"/>
                      <a:pt x="12" y="4"/>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606" name="Freeform 2484">
                <a:extLst>
                  <a:ext uri="{FF2B5EF4-FFF2-40B4-BE49-F238E27FC236}">
                    <a16:creationId xmlns:a16="http://schemas.microsoft.com/office/drawing/2014/main" id="{1F45D45C-338C-D369-689E-A9D514562C05}"/>
                  </a:ext>
                </a:extLst>
              </p:cNvPr>
              <p:cNvSpPr>
                <a:spLocks noChangeAspect="1"/>
              </p:cNvSpPr>
              <p:nvPr/>
            </p:nvSpPr>
            <p:spPr bwMode="auto">
              <a:xfrm>
                <a:off x="3032" y="3300"/>
                <a:ext cx="33" cy="9"/>
              </a:xfrm>
              <a:custGeom>
                <a:avLst/>
                <a:gdLst>
                  <a:gd name="T0" fmla="*/ 5 w 33"/>
                  <a:gd name="T1" fmla="*/ 2 h 9"/>
                  <a:gd name="T2" fmla="*/ 30 w 33"/>
                  <a:gd name="T3" fmla="*/ 2 h 9"/>
                  <a:gd name="T4" fmla="*/ 19 w 33"/>
                  <a:gd name="T5" fmla="*/ 9 h 9"/>
                  <a:gd name="T6" fmla="*/ 5 w 33"/>
                  <a:gd name="T7" fmla="*/ 8 h 9"/>
                  <a:gd name="T8" fmla="*/ 5 w 33"/>
                  <a:gd name="T9" fmla="*/ 2 h 9"/>
                  <a:gd name="T10" fmla="*/ 0 60000 65536"/>
                  <a:gd name="T11" fmla="*/ 0 60000 65536"/>
                  <a:gd name="T12" fmla="*/ 0 60000 65536"/>
                  <a:gd name="T13" fmla="*/ 0 60000 65536"/>
                  <a:gd name="T14" fmla="*/ 0 60000 65536"/>
                  <a:gd name="T15" fmla="*/ 0 w 33"/>
                  <a:gd name="T16" fmla="*/ 0 h 9"/>
                  <a:gd name="T17" fmla="*/ 33 w 33"/>
                  <a:gd name="T18" fmla="*/ 9 h 9"/>
                </a:gdLst>
                <a:ahLst/>
                <a:cxnLst>
                  <a:cxn ang="T10">
                    <a:pos x="T0" y="T1"/>
                  </a:cxn>
                  <a:cxn ang="T11">
                    <a:pos x="T2" y="T3"/>
                  </a:cxn>
                  <a:cxn ang="T12">
                    <a:pos x="T4" y="T5"/>
                  </a:cxn>
                  <a:cxn ang="T13">
                    <a:pos x="T6" y="T7"/>
                  </a:cxn>
                  <a:cxn ang="T14">
                    <a:pos x="T8" y="T9"/>
                  </a:cxn>
                </a:cxnLst>
                <a:rect l="T15" t="T16" r="T17" b="T18"/>
                <a:pathLst>
                  <a:path w="33" h="9">
                    <a:moveTo>
                      <a:pt x="5" y="2"/>
                    </a:moveTo>
                    <a:cubicBezTo>
                      <a:pt x="6" y="2"/>
                      <a:pt x="27" y="0"/>
                      <a:pt x="30" y="2"/>
                    </a:cubicBezTo>
                    <a:cubicBezTo>
                      <a:pt x="33" y="4"/>
                      <a:pt x="19" y="9"/>
                      <a:pt x="19" y="9"/>
                    </a:cubicBezTo>
                    <a:cubicBezTo>
                      <a:pt x="14" y="9"/>
                      <a:pt x="9" y="9"/>
                      <a:pt x="5" y="8"/>
                    </a:cubicBezTo>
                    <a:cubicBezTo>
                      <a:pt x="0" y="6"/>
                      <a:pt x="5" y="0"/>
                      <a:pt x="5" y="2"/>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607" name="Freeform 2485">
                <a:extLst>
                  <a:ext uri="{FF2B5EF4-FFF2-40B4-BE49-F238E27FC236}">
                    <a16:creationId xmlns:a16="http://schemas.microsoft.com/office/drawing/2014/main" id="{C77D97A9-0DEC-0862-B225-FF9C9D3A550D}"/>
                  </a:ext>
                </a:extLst>
              </p:cNvPr>
              <p:cNvSpPr>
                <a:spLocks noChangeAspect="1"/>
              </p:cNvSpPr>
              <p:nvPr/>
            </p:nvSpPr>
            <p:spPr bwMode="auto">
              <a:xfrm>
                <a:off x="3074" y="3312"/>
                <a:ext cx="20" cy="10"/>
              </a:xfrm>
              <a:custGeom>
                <a:avLst/>
                <a:gdLst>
                  <a:gd name="T0" fmla="*/ 0 w 20"/>
                  <a:gd name="T1" fmla="*/ 2 h 10"/>
                  <a:gd name="T2" fmla="*/ 20 w 20"/>
                  <a:gd name="T3" fmla="*/ 4 h 10"/>
                  <a:gd name="T4" fmla="*/ 0 w 20"/>
                  <a:gd name="T5" fmla="*/ 2 h 10"/>
                  <a:gd name="T6" fmla="*/ 0 60000 65536"/>
                  <a:gd name="T7" fmla="*/ 0 60000 65536"/>
                  <a:gd name="T8" fmla="*/ 0 60000 65536"/>
                  <a:gd name="T9" fmla="*/ 0 w 20"/>
                  <a:gd name="T10" fmla="*/ 0 h 10"/>
                  <a:gd name="T11" fmla="*/ 20 w 20"/>
                  <a:gd name="T12" fmla="*/ 10 h 10"/>
                </a:gdLst>
                <a:ahLst/>
                <a:cxnLst>
                  <a:cxn ang="T6">
                    <a:pos x="T0" y="T1"/>
                  </a:cxn>
                  <a:cxn ang="T7">
                    <a:pos x="T2" y="T3"/>
                  </a:cxn>
                  <a:cxn ang="T8">
                    <a:pos x="T4" y="T5"/>
                  </a:cxn>
                </a:cxnLst>
                <a:rect l="T9" t="T10" r="T11" b="T12"/>
                <a:pathLst>
                  <a:path w="20" h="10">
                    <a:moveTo>
                      <a:pt x="0" y="2"/>
                    </a:moveTo>
                    <a:cubicBezTo>
                      <a:pt x="6" y="0"/>
                      <a:pt x="14" y="2"/>
                      <a:pt x="20" y="4"/>
                    </a:cubicBezTo>
                    <a:cubicBezTo>
                      <a:pt x="20" y="4"/>
                      <a:pt x="0" y="10"/>
                      <a:pt x="0" y="2"/>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611" name="Freeform 2486">
                <a:extLst>
                  <a:ext uri="{FF2B5EF4-FFF2-40B4-BE49-F238E27FC236}">
                    <a16:creationId xmlns:a16="http://schemas.microsoft.com/office/drawing/2014/main" id="{3B1EBC7A-9E3D-D6DF-BC30-44CA3D8E3917}"/>
                  </a:ext>
                </a:extLst>
              </p:cNvPr>
              <p:cNvSpPr>
                <a:spLocks noChangeAspect="1"/>
              </p:cNvSpPr>
              <p:nvPr/>
            </p:nvSpPr>
            <p:spPr bwMode="auto">
              <a:xfrm>
                <a:off x="2859" y="3044"/>
                <a:ext cx="302" cy="289"/>
              </a:xfrm>
              <a:custGeom>
                <a:avLst/>
                <a:gdLst>
                  <a:gd name="T0" fmla="*/ 248 w 302"/>
                  <a:gd name="T1" fmla="*/ 268 h 289"/>
                  <a:gd name="T2" fmla="*/ 235 w 302"/>
                  <a:gd name="T3" fmla="*/ 256 h 289"/>
                  <a:gd name="T4" fmla="*/ 220 w 302"/>
                  <a:gd name="T5" fmla="*/ 244 h 289"/>
                  <a:gd name="T6" fmla="*/ 192 w 302"/>
                  <a:gd name="T7" fmla="*/ 215 h 289"/>
                  <a:gd name="T8" fmla="*/ 170 w 302"/>
                  <a:gd name="T9" fmla="*/ 193 h 289"/>
                  <a:gd name="T10" fmla="*/ 131 w 302"/>
                  <a:gd name="T11" fmla="*/ 140 h 289"/>
                  <a:gd name="T12" fmla="*/ 119 w 302"/>
                  <a:gd name="T13" fmla="*/ 98 h 289"/>
                  <a:gd name="T14" fmla="*/ 158 w 302"/>
                  <a:gd name="T15" fmla="*/ 101 h 289"/>
                  <a:gd name="T16" fmla="*/ 196 w 302"/>
                  <a:gd name="T17" fmla="*/ 101 h 289"/>
                  <a:gd name="T18" fmla="*/ 244 w 302"/>
                  <a:gd name="T19" fmla="*/ 94 h 289"/>
                  <a:gd name="T20" fmla="*/ 277 w 302"/>
                  <a:gd name="T21" fmla="*/ 110 h 289"/>
                  <a:gd name="T22" fmla="*/ 293 w 302"/>
                  <a:gd name="T23" fmla="*/ 91 h 289"/>
                  <a:gd name="T24" fmla="*/ 295 w 302"/>
                  <a:gd name="T25" fmla="*/ 77 h 289"/>
                  <a:gd name="T26" fmla="*/ 283 w 302"/>
                  <a:gd name="T27" fmla="*/ 67 h 289"/>
                  <a:gd name="T28" fmla="*/ 275 w 302"/>
                  <a:gd name="T29" fmla="*/ 53 h 289"/>
                  <a:gd name="T30" fmla="*/ 250 w 302"/>
                  <a:gd name="T31" fmla="*/ 44 h 289"/>
                  <a:gd name="T32" fmla="*/ 204 w 302"/>
                  <a:gd name="T33" fmla="*/ 44 h 289"/>
                  <a:gd name="T34" fmla="*/ 186 w 302"/>
                  <a:gd name="T35" fmla="*/ 30 h 289"/>
                  <a:gd name="T36" fmla="*/ 145 w 302"/>
                  <a:gd name="T37" fmla="*/ 4 h 289"/>
                  <a:gd name="T38" fmla="*/ 133 w 302"/>
                  <a:gd name="T39" fmla="*/ 7 h 289"/>
                  <a:gd name="T40" fmla="*/ 109 w 302"/>
                  <a:gd name="T41" fmla="*/ 25 h 289"/>
                  <a:gd name="T42" fmla="*/ 91 w 302"/>
                  <a:gd name="T43" fmla="*/ 64 h 289"/>
                  <a:gd name="T44" fmla="*/ 85 w 302"/>
                  <a:gd name="T45" fmla="*/ 90 h 289"/>
                  <a:gd name="T46" fmla="*/ 62 w 302"/>
                  <a:gd name="T47" fmla="*/ 86 h 289"/>
                  <a:gd name="T48" fmla="*/ 54 w 302"/>
                  <a:gd name="T49" fmla="*/ 76 h 289"/>
                  <a:gd name="T50" fmla="*/ 47 w 302"/>
                  <a:gd name="T51" fmla="*/ 88 h 289"/>
                  <a:gd name="T52" fmla="*/ 34 w 302"/>
                  <a:gd name="T53" fmla="*/ 89 h 289"/>
                  <a:gd name="T54" fmla="*/ 20 w 302"/>
                  <a:gd name="T55" fmla="*/ 89 h 289"/>
                  <a:gd name="T56" fmla="*/ 1 w 302"/>
                  <a:gd name="T57" fmla="*/ 95 h 289"/>
                  <a:gd name="T58" fmla="*/ 16 w 302"/>
                  <a:gd name="T59" fmla="*/ 122 h 289"/>
                  <a:gd name="T60" fmla="*/ 34 w 302"/>
                  <a:gd name="T61" fmla="*/ 115 h 289"/>
                  <a:gd name="T62" fmla="*/ 52 w 302"/>
                  <a:gd name="T63" fmla="*/ 97 h 289"/>
                  <a:gd name="T64" fmla="*/ 76 w 302"/>
                  <a:gd name="T65" fmla="*/ 112 h 289"/>
                  <a:gd name="T66" fmla="*/ 88 w 302"/>
                  <a:gd name="T67" fmla="*/ 145 h 289"/>
                  <a:gd name="T68" fmla="*/ 103 w 302"/>
                  <a:gd name="T69" fmla="*/ 168 h 289"/>
                  <a:gd name="T70" fmla="*/ 121 w 302"/>
                  <a:gd name="T71" fmla="*/ 199 h 289"/>
                  <a:gd name="T72" fmla="*/ 192 w 302"/>
                  <a:gd name="T73" fmla="*/ 229 h 289"/>
                  <a:gd name="T74" fmla="*/ 209 w 302"/>
                  <a:gd name="T75" fmla="*/ 246 h 289"/>
                  <a:gd name="T76" fmla="*/ 239 w 302"/>
                  <a:gd name="T77" fmla="*/ 266 h 289"/>
                  <a:gd name="T78" fmla="*/ 262 w 302"/>
                  <a:gd name="T79" fmla="*/ 278 h 289"/>
                  <a:gd name="T80" fmla="*/ 275 w 302"/>
                  <a:gd name="T81" fmla="*/ 289 h 28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02"/>
                  <a:gd name="T124" fmla="*/ 0 h 289"/>
                  <a:gd name="T125" fmla="*/ 302 w 302"/>
                  <a:gd name="T126" fmla="*/ 289 h 28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02" h="289">
                    <a:moveTo>
                      <a:pt x="275" y="289"/>
                    </a:moveTo>
                    <a:cubicBezTo>
                      <a:pt x="272" y="273"/>
                      <a:pt x="260" y="274"/>
                      <a:pt x="248" y="268"/>
                    </a:cubicBezTo>
                    <a:cubicBezTo>
                      <a:pt x="246" y="265"/>
                      <a:pt x="243" y="262"/>
                      <a:pt x="241" y="260"/>
                    </a:cubicBezTo>
                    <a:cubicBezTo>
                      <a:pt x="239" y="258"/>
                      <a:pt x="235" y="256"/>
                      <a:pt x="235" y="256"/>
                    </a:cubicBezTo>
                    <a:cubicBezTo>
                      <a:pt x="233" y="251"/>
                      <a:pt x="231" y="248"/>
                      <a:pt x="226" y="246"/>
                    </a:cubicBezTo>
                    <a:cubicBezTo>
                      <a:pt x="224" y="245"/>
                      <a:pt x="220" y="244"/>
                      <a:pt x="220" y="244"/>
                    </a:cubicBezTo>
                    <a:cubicBezTo>
                      <a:pt x="213" y="237"/>
                      <a:pt x="210" y="232"/>
                      <a:pt x="204" y="223"/>
                    </a:cubicBezTo>
                    <a:cubicBezTo>
                      <a:pt x="199" y="218"/>
                      <a:pt x="196" y="218"/>
                      <a:pt x="192" y="215"/>
                    </a:cubicBezTo>
                    <a:cubicBezTo>
                      <a:pt x="190" y="206"/>
                      <a:pt x="189" y="204"/>
                      <a:pt x="180" y="203"/>
                    </a:cubicBezTo>
                    <a:cubicBezTo>
                      <a:pt x="175" y="201"/>
                      <a:pt x="175" y="196"/>
                      <a:pt x="170" y="193"/>
                    </a:cubicBezTo>
                    <a:cubicBezTo>
                      <a:pt x="158" y="185"/>
                      <a:pt x="152" y="173"/>
                      <a:pt x="145" y="162"/>
                    </a:cubicBezTo>
                    <a:cubicBezTo>
                      <a:pt x="141" y="154"/>
                      <a:pt x="137" y="146"/>
                      <a:pt x="131" y="140"/>
                    </a:cubicBezTo>
                    <a:cubicBezTo>
                      <a:pt x="127" y="136"/>
                      <a:pt x="119" y="131"/>
                      <a:pt x="119" y="131"/>
                    </a:cubicBezTo>
                    <a:cubicBezTo>
                      <a:pt x="115" y="120"/>
                      <a:pt x="115" y="110"/>
                      <a:pt x="119" y="98"/>
                    </a:cubicBezTo>
                    <a:cubicBezTo>
                      <a:pt x="129" y="100"/>
                      <a:pt x="132" y="105"/>
                      <a:pt x="140" y="110"/>
                    </a:cubicBezTo>
                    <a:cubicBezTo>
                      <a:pt x="153" y="109"/>
                      <a:pt x="150" y="107"/>
                      <a:pt x="158" y="101"/>
                    </a:cubicBezTo>
                    <a:cubicBezTo>
                      <a:pt x="160" y="98"/>
                      <a:pt x="162" y="96"/>
                      <a:pt x="166" y="95"/>
                    </a:cubicBezTo>
                    <a:cubicBezTo>
                      <a:pt x="181" y="96"/>
                      <a:pt x="184" y="97"/>
                      <a:pt x="196" y="101"/>
                    </a:cubicBezTo>
                    <a:cubicBezTo>
                      <a:pt x="209" y="100"/>
                      <a:pt x="219" y="98"/>
                      <a:pt x="232" y="97"/>
                    </a:cubicBezTo>
                    <a:cubicBezTo>
                      <a:pt x="236" y="96"/>
                      <a:pt x="244" y="94"/>
                      <a:pt x="244" y="94"/>
                    </a:cubicBezTo>
                    <a:cubicBezTo>
                      <a:pt x="250" y="96"/>
                      <a:pt x="262" y="96"/>
                      <a:pt x="268" y="97"/>
                    </a:cubicBezTo>
                    <a:cubicBezTo>
                      <a:pt x="274" y="103"/>
                      <a:pt x="269" y="109"/>
                      <a:pt x="277" y="110"/>
                    </a:cubicBezTo>
                    <a:cubicBezTo>
                      <a:pt x="284" y="113"/>
                      <a:pt x="286" y="111"/>
                      <a:pt x="292" y="107"/>
                    </a:cubicBezTo>
                    <a:cubicBezTo>
                      <a:pt x="293" y="102"/>
                      <a:pt x="290" y="96"/>
                      <a:pt x="293" y="91"/>
                    </a:cubicBezTo>
                    <a:cubicBezTo>
                      <a:pt x="295" y="88"/>
                      <a:pt x="302" y="84"/>
                      <a:pt x="302" y="84"/>
                    </a:cubicBezTo>
                    <a:cubicBezTo>
                      <a:pt x="301" y="79"/>
                      <a:pt x="300" y="79"/>
                      <a:pt x="295" y="77"/>
                    </a:cubicBezTo>
                    <a:cubicBezTo>
                      <a:pt x="293" y="73"/>
                      <a:pt x="288" y="71"/>
                      <a:pt x="284" y="70"/>
                    </a:cubicBezTo>
                    <a:cubicBezTo>
                      <a:pt x="284" y="69"/>
                      <a:pt x="284" y="68"/>
                      <a:pt x="283" y="67"/>
                    </a:cubicBezTo>
                    <a:cubicBezTo>
                      <a:pt x="282" y="66"/>
                      <a:pt x="280" y="67"/>
                      <a:pt x="280" y="66"/>
                    </a:cubicBezTo>
                    <a:cubicBezTo>
                      <a:pt x="274" y="51"/>
                      <a:pt x="282" y="58"/>
                      <a:pt x="275" y="53"/>
                    </a:cubicBezTo>
                    <a:cubicBezTo>
                      <a:pt x="272" y="44"/>
                      <a:pt x="272" y="47"/>
                      <a:pt x="271" y="34"/>
                    </a:cubicBezTo>
                    <a:cubicBezTo>
                      <a:pt x="263" y="37"/>
                      <a:pt x="258" y="41"/>
                      <a:pt x="250" y="44"/>
                    </a:cubicBezTo>
                    <a:cubicBezTo>
                      <a:pt x="248" y="45"/>
                      <a:pt x="244" y="48"/>
                      <a:pt x="244" y="48"/>
                    </a:cubicBezTo>
                    <a:cubicBezTo>
                      <a:pt x="230" y="47"/>
                      <a:pt x="218" y="46"/>
                      <a:pt x="204" y="44"/>
                    </a:cubicBezTo>
                    <a:cubicBezTo>
                      <a:pt x="201" y="41"/>
                      <a:pt x="200" y="36"/>
                      <a:pt x="196" y="35"/>
                    </a:cubicBezTo>
                    <a:cubicBezTo>
                      <a:pt x="193" y="31"/>
                      <a:pt x="191" y="31"/>
                      <a:pt x="186" y="30"/>
                    </a:cubicBezTo>
                    <a:cubicBezTo>
                      <a:pt x="183" y="22"/>
                      <a:pt x="163" y="16"/>
                      <a:pt x="155" y="13"/>
                    </a:cubicBezTo>
                    <a:cubicBezTo>
                      <a:pt x="150" y="6"/>
                      <a:pt x="150" y="6"/>
                      <a:pt x="145" y="4"/>
                    </a:cubicBezTo>
                    <a:cubicBezTo>
                      <a:pt x="145" y="4"/>
                      <a:pt x="141" y="0"/>
                      <a:pt x="139" y="1"/>
                    </a:cubicBezTo>
                    <a:cubicBezTo>
                      <a:pt x="137" y="2"/>
                      <a:pt x="133" y="7"/>
                      <a:pt x="133" y="7"/>
                    </a:cubicBezTo>
                    <a:cubicBezTo>
                      <a:pt x="132" y="13"/>
                      <a:pt x="126" y="19"/>
                      <a:pt x="119" y="22"/>
                    </a:cubicBezTo>
                    <a:cubicBezTo>
                      <a:pt x="116" y="23"/>
                      <a:pt x="109" y="25"/>
                      <a:pt x="109" y="25"/>
                    </a:cubicBezTo>
                    <a:cubicBezTo>
                      <a:pt x="104" y="32"/>
                      <a:pt x="107" y="41"/>
                      <a:pt x="110" y="49"/>
                    </a:cubicBezTo>
                    <a:cubicBezTo>
                      <a:pt x="108" y="54"/>
                      <a:pt x="96" y="58"/>
                      <a:pt x="91" y="64"/>
                    </a:cubicBezTo>
                    <a:cubicBezTo>
                      <a:pt x="93" y="71"/>
                      <a:pt x="94" y="74"/>
                      <a:pt x="95" y="82"/>
                    </a:cubicBezTo>
                    <a:cubicBezTo>
                      <a:pt x="92" y="84"/>
                      <a:pt x="88" y="89"/>
                      <a:pt x="85" y="90"/>
                    </a:cubicBezTo>
                    <a:cubicBezTo>
                      <a:pt x="78" y="89"/>
                      <a:pt x="78" y="89"/>
                      <a:pt x="76" y="83"/>
                    </a:cubicBezTo>
                    <a:cubicBezTo>
                      <a:pt x="71" y="84"/>
                      <a:pt x="67" y="85"/>
                      <a:pt x="62" y="86"/>
                    </a:cubicBezTo>
                    <a:cubicBezTo>
                      <a:pt x="52" y="84"/>
                      <a:pt x="63" y="88"/>
                      <a:pt x="56" y="72"/>
                    </a:cubicBezTo>
                    <a:cubicBezTo>
                      <a:pt x="55" y="71"/>
                      <a:pt x="55" y="75"/>
                      <a:pt x="54" y="76"/>
                    </a:cubicBezTo>
                    <a:cubicBezTo>
                      <a:pt x="52" y="79"/>
                      <a:pt x="52" y="79"/>
                      <a:pt x="49" y="82"/>
                    </a:cubicBezTo>
                    <a:cubicBezTo>
                      <a:pt x="48" y="84"/>
                      <a:pt x="48" y="86"/>
                      <a:pt x="47" y="88"/>
                    </a:cubicBezTo>
                    <a:cubicBezTo>
                      <a:pt x="46" y="90"/>
                      <a:pt x="41" y="90"/>
                      <a:pt x="41" y="90"/>
                    </a:cubicBezTo>
                    <a:cubicBezTo>
                      <a:pt x="39" y="90"/>
                      <a:pt x="36" y="90"/>
                      <a:pt x="34" y="89"/>
                    </a:cubicBezTo>
                    <a:cubicBezTo>
                      <a:pt x="33" y="89"/>
                      <a:pt x="33" y="86"/>
                      <a:pt x="32" y="86"/>
                    </a:cubicBezTo>
                    <a:cubicBezTo>
                      <a:pt x="28" y="86"/>
                      <a:pt x="20" y="89"/>
                      <a:pt x="20" y="89"/>
                    </a:cubicBezTo>
                    <a:cubicBezTo>
                      <a:pt x="15" y="92"/>
                      <a:pt x="10" y="95"/>
                      <a:pt x="5" y="96"/>
                    </a:cubicBezTo>
                    <a:cubicBezTo>
                      <a:pt x="4" y="96"/>
                      <a:pt x="0" y="95"/>
                      <a:pt x="1" y="95"/>
                    </a:cubicBezTo>
                    <a:cubicBezTo>
                      <a:pt x="3" y="95"/>
                      <a:pt x="5" y="94"/>
                      <a:pt x="6" y="96"/>
                    </a:cubicBezTo>
                    <a:cubicBezTo>
                      <a:pt x="12" y="113"/>
                      <a:pt x="3" y="113"/>
                      <a:pt x="16" y="122"/>
                    </a:cubicBezTo>
                    <a:cubicBezTo>
                      <a:pt x="18" y="127"/>
                      <a:pt x="18" y="133"/>
                      <a:pt x="22" y="136"/>
                    </a:cubicBezTo>
                    <a:cubicBezTo>
                      <a:pt x="30" y="132"/>
                      <a:pt x="30" y="123"/>
                      <a:pt x="34" y="115"/>
                    </a:cubicBezTo>
                    <a:cubicBezTo>
                      <a:pt x="35" y="109"/>
                      <a:pt x="35" y="104"/>
                      <a:pt x="40" y="101"/>
                    </a:cubicBezTo>
                    <a:cubicBezTo>
                      <a:pt x="45" y="94"/>
                      <a:pt x="44" y="94"/>
                      <a:pt x="52" y="97"/>
                    </a:cubicBezTo>
                    <a:cubicBezTo>
                      <a:pt x="55" y="101"/>
                      <a:pt x="64" y="104"/>
                      <a:pt x="64" y="104"/>
                    </a:cubicBezTo>
                    <a:cubicBezTo>
                      <a:pt x="67" y="108"/>
                      <a:pt x="72" y="109"/>
                      <a:pt x="76" y="112"/>
                    </a:cubicBezTo>
                    <a:cubicBezTo>
                      <a:pt x="78" y="113"/>
                      <a:pt x="82" y="114"/>
                      <a:pt x="82" y="114"/>
                    </a:cubicBezTo>
                    <a:cubicBezTo>
                      <a:pt x="75" y="123"/>
                      <a:pt x="78" y="138"/>
                      <a:pt x="88" y="145"/>
                    </a:cubicBezTo>
                    <a:cubicBezTo>
                      <a:pt x="90" y="151"/>
                      <a:pt x="90" y="153"/>
                      <a:pt x="95" y="156"/>
                    </a:cubicBezTo>
                    <a:cubicBezTo>
                      <a:pt x="96" y="161"/>
                      <a:pt x="98" y="165"/>
                      <a:pt x="103" y="168"/>
                    </a:cubicBezTo>
                    <a:cubicBezTo>
                      <a:pt x="104" y="174"/>
                      <a:pt x="107" y="186"/>
                      <a:pt x="112" y="191"/>
                    </a:cubicBezTo>
                    <a:cubicBezTo>
                      <a:pt x="115" y="194"/>
                      <a:pt x="121" y="199"/>
                      <a:pt x="121" y="199"/>
                    </a:cubicBezTo>
                    <a:cubicBezTo>
                      <a:pt x="122" y="203"/>
                      <a:pt x="126" y="208"/>
                      <a:pt x="130" y="210"/>
                    </a:cubicBezTo>
                    <a:cubicBezTo>
                      <a:pt x="136" y="233"/>
                      <a:pt x="173" y="228"/>
                      <a:pt x="192" y="229"/>
                    </a:cubicBezTo>
                    <a:cubicBezTo>
                      <a:pt x="195" y="231"/>
                      <a:pt x="202" y="236"/>
                      <a:pt x="202" y="236"/>
                    </a:cubicBezTo>
                    <a:cubicBezTo>
                      <a:pt x="203" y="240"/>
                      <a:pt x="205" y="245"/>
                      <a:pt x="209" y="246"/>
                    </a:cubicBezTo>
                    <a:cubicBezTo>
                      <a:pt x="212" y="252"/>
                      <a:pt x="221" y="257"/>
                      <a:pt x="226" y="262"/>
                    </a:cubicBezTo>
                    <a:cubicBezTo>
                      <a:pt x="229" y="265"/>
                      <a:pt x="239" y="266"/>
                      <a:pt x="239" y="266"/>
                    </a:cubicBezTo>
                    <a:cubicBezTo>
                      <a:pt x="242" y="270"/>
                      <a:pt x="246" y="274"/>
                      <a:pt x="251" y="275"/>
                    </a:cubicBezTo>
                    <a:cubicBezTo>
                      <a:pt x="255" y="276"/>
                      <a:pt x="262" y="278"/>
                      <a:pt x="262" y="278"/>
                    </a:cubicBezTo>
                    <a:cubicBezTo>
                      <a:pt x="264" y="280"/>
                      <a:pt x="265" y="281"/>
                      <a:pt x="266" y="282"/>
                    </a:cubicBezTo>
                    <a:lnTo>
                      <a:pt x="275" y="289"/>
                    </a:ln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grpSp>
          <p:nvGrpSpPr>
            <p:cNvPr id="46" name="Group 2487">
              <a:extLst>
                <a:ext uri="{FF2B5EF4-FFF2-40B4-BE49-F238E27FC236}">
                  <a16:creationId xmlns:a16="http://schemas.microsoft.com/office/drawing/2014/main" id="{DFE6421D-AFB5-09A7-908C-C3910C659005}"/>
                </a:ext>
              </a:extLst>
            </p:cNvPr>
            <p:cNvGrpSpPr>
              <a:grpSpLocks/>
            </p:cNvGrpSpPr>
            <p:nvPr>
              <p:custDataLst>
                <p:tags r:id="rId9"/>
              </p:custDataLst>
            </p:nvPr>
          </p:nvGrpSpPr>
          <p:grpSpPr bwMode="auto">
            <a:xfrm>
              <a:off x="3298843" y="4134937"/>
              <a:ext cx="640884" cy="736190"/>
              <a:chOff x="1971" y="6871"/>
              <a:chExt cx="2639" cy="3027"/>
            </a:xfrm>
          </p:grpSpPr>
          <p:sp>
            <p:nvSpPr>
              <p:cNvPr id="580" name="Freeform 2488">
                <a:extLst>
                  <a:ext uri="{FF2B5EF4-FFF2-40B4-BE49-F238E27FC236}">
                    <a16:creationId xmlns:a16="http://schemas.microsoft.com/office/drawing/2014/main" id="{9D906E2C-6577-90D5-5629-18F8FCA1199C}"/>
                  </a:ext>
                </a:extLst>
              </p:cNvPr>
              <p:cNvSpPr>
                <a:spLocks noChangeAspect="1"/>
              </p:cNvSpPr>
              <p:nvPr/>
            </p:nvSpPr>
            <p:spPr bwMode="auto">
              <a:xfrm>
                <a:off x="3259" y="9410"/>
                <a:ext cx="764" cy="488"/>
              </a:xfrm>
              <a:custGeom>
                <a:avLst/>
                <a:gdLst>
                  <a:gd name="T0" fmla="*/ 180 w 191"/>
                  <a:gd name="T1" fmla="*/ 0 h 122"/>
                  <a:gd name="T2" fmla="*/ 165 w 191"/>
                  <a:gd name="T3" fmla="*/ 8 h 122"/>
                  <a:gd name="T4" fmla="*/ 156 w 191"/>
                  <a:gd name="T5" fmla="*/ 14 h 122"/>
                  <a:gd name="T6" fmla="*/ 135 w 191"/>
                  <a:gd name="T7" fmla="*/ 13 h 122"/>
                  <a:gd name="T8" fmla="*/ 114 w 191"/>
                  <a:gd name="T9" fmla="*/ 25 h 122"/>
                  <a:gd name="T10" fmla="*/ 97 w 191"/>
                  <a:gd name="T11" fmla="*/ 24 h 122"/>
                  <a:gd name="T12" fmla="*/ 78 w 191"/>
                  <a:gd name="T13" fmla="*/ 33 h 122"/>
                  <a:gd name="T14" fmla="*/ 63 w 191"/>
                  <a:gd name="T15" fmla="*/ 26 h 122"/>
                  <a:gd name="T16" fmla="*/ 62 w 191"/>
                  <a:gd name="T17" fmla="*/ 21 h 122"/>
                  <a:gd name="T18" fmla="*/ 58 w 191"/>
                  <a:gd name="T19" fmla="*/ 20 h 122"/>
                  <a:gd name="T20" fmla="*/ 52 w 191"/>
                  <a:gd name="T21" fmla="*/ 13 h 122"/>
                  <a:gd name="T22" fmla="*/ 38 w 191"/>
                  <a:gd name="T23" fmla="*/ 18 h 122"/>
                  <a:gd name="T24" fmla="*/ 30 w 191"/>
                  <a:gd name="T25" fmla="*/ 27 h 122"/>
                  <a:gd name="T26" fmla="*/ 18 w 191"/>
                  <a:gd name="T27" fmla="*/ 19 h 122"/>
                  <a:gd name="T28" fmla="*/ 3 w 191"/>
                  <a:gd name="T29" fmla="*/ 27 h 122"/>
                  <a:gd name="T30" fmla="*/ 0 w 191"/>
                  <a:gd name="T31" fmla="*/ 33 h 122"/>
                  <a:gd name="T32" fmla="*/ 2 w 191"/>
                  <a:gd name="T33" fmla="*/ 39 h 122"/>
                  <a:gd name="T34" fmla="*/ 3 w 191"/>
                  <a:gd name="T35" fmla="*/ 55 h 122"/>
                  <a:gd name="T36" fmla="*/ 9 w 191"/>
                  <a:gd name="T37" fmla="*/ 57 h 122"/>
                  <a:gd name="T38" fmla="*/ 18 w 191"/>
                  <a:gd name="T39" fmla="*/ 66 h 122"/>
                  <a:gd name="T40" fmla="*/ 36 w 191"/>
                  <a:gd name="T41" fmla="*/ 65 h 122"/>
                  <a:gd name="T42" fmla="*/ 46 w 191"/>
                  <a:gd name="T43" fmla="*/ 69 h 122"/>
                  <a:gd name="T44" fmla="*/ 55 w 191"/>
                  <a:gd name="T45" fmla="*/ 73 h 122"/>
                  <a:gd name="T46" fmla="*/ 72 w 191"/>
                  <a:gd name="T47" fmla="*/ 85 h 122"/>
                  <a:gd name="T48" fmla="*/ 82 w 191"/>
                  <a:gd name="T49" fmla="*/ 92 h 122"/>
                  <a:gd name="T50" fmla="*/ 111 w 191"/>
                  <a:gd name="T51" fmla="*/ 95 h 122"/>
                  <a:gd name="T52" fmla="*/ 121 w 191"/>
                  <a:gd name="T53" fmla="*/ 103 h 122"/>
                  <a:gd name="T54" fmla="*/ 136 w 191"/>
                  <a:gd name="T55" fmla="*/ 120 h 122"/>
                  <a:gd name="T56" fmla="*/ 164 w 191"/>
                  <a:gd name="T57" fmla="*/ 122 h 122"/>
                  <a:gd name="T58" fmla="*/ 164 w 191"/>
                  <a:gd name="T59" fmla="*/ 111 h 122"/>
                  <a:gd name="T60" fmla="*/ 169 w 191"/>
                  <a:gd name="T61" fmla="*/ 102 h 122"/>
                  <a:gd name="T62" fmla="*/ 177 w 191"/>
                  <a:gd name="T63" fmla="*/ 92 h 122"/>
                  <a:gd name="T64" fmla="*/ 171 w 191"/>
                  <a:gd name="T65" fmla="*/ 84 h 122"/>
                  <a:gd name="T66" fmla="*/ 160 w 191"/>
                  <a:gd name="T67" fmla="*/ 73 h 122"/>
                  <a:gd name="T68" fmla="*/ 164 w 191"/>
                  <a:gd name="T69" fmla="*/ 56 h 122"/>
                  <a:gd name="T70" fmla="*/ 168 w 191"/>
                  <a:gd name="T71" fmla="*/ 50 h 122"/>
                  <a:gd name="T72" fmla="*/ 184 w 191"/>
                  <a:gd name="T73" fmla="*/ 18 h 122"/>
                  <a:gd name="T74" fmla="*/ 180 w 191"/>
                  <a:gd name="T75" fmla="*/ 0 h 12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91"/>
                  <a:gd name="T115" fmla="*/ 0 h 122"/>
                  <a:gd name="T116" fmla="*/ 191 w 191"/>
                  <a:gd name="T117" fmla="*/ 122 h 12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91" h="122">
                    <a:moveTo>
                      <a:pt x="180" y="0"/>
                    </a:moveTo>
                    <a:cubicBezTo>
                      <a:pt x="174" y="2"/>
                      <a:pt x="171" y="6"/>
                      <a:pt x="165" y="8"/>
                    </a:cubicBezTo>
                    <a:cubicBezTo>
                      <a:pt x="162" y="11"/>
                      <a:pt x="159" y="12"/>
                      <a:pt x="156" y="14"/>
                    </a:cubicBezTo>
                    <a:cubicBezTo>
                      <a:pt x="149" y="13"/>
                      <a:pt x="142" y="11"/>
                      <a:pt x="135" y="13"/>
                    </a:cubicBezTo>
                    <a:cubicBezTo>
                      <a:pt x="129" y="21"/>
                      <a:pt x="124" y="24"/>
                      <a:pt x="114" y="25"/>
                    </a:cubicBezTo>
                    <a:cubicBezTo>
                      <a:pt x="107" y="27"/>
                      <a:pt x="104" y="26"/>
                      <a:pt x="97" y="24"/>
                    </a:cubicBezTo>
                    <a:cubicBezTo>
                      <a:pt x="89" y="25"/>
                      <a:pt x="86" y="30"/>
                      <a:pt x="78" y="33"/>
                    </a:cubicBezTo>
                    <a:cubicBezTo>
                      <a:pt x="71" y="31"/>
                      <a:pt x="72" y="27"/>
                      <a:pt x="63" y="26"/>
                    </a:cubicBezTo>
                    <a:cubicBezTo>
                      <a:pt x="63" y="24"/>
                      <a:pt x="63" y="22"/>
                      <a:pt x="62" y="21"/>
                    </a:cubicBezTo>
                    <a:cubicBezTo>
                      <a:pt x="61" y="20"/>
                      <a:pt x="59" y="21"/>
                      <a:pt x="58" y="20"/>
                    </a:cubicBezTo>
                    <a:cubicBezTo>
                      <a:pt x="51" y="11"/>
                      <a:pt x="61" y="15"/>
                      <a:pt x="52" y="13"/>
                    </a:cubicBezTo>
                    <a:cubicBezTo>
                      <a:pt x="46" y="15"/>
                      <a:pt x="45" y="17"/>
                      <a:pt x="38" y="18"/>
                    </a:cubicBezTo>
                    <a:cubicBezTo>
                      <a:pt x="36" y="24"/>
                      <a:pt x="36" y="25"/>
                      <a:pt x="30" y="27"/>
                    </a:cubicBezTo>
                    <a:cubicBezTo>
                      <a:pt x="21" y="26"/>
                      <a:pt x="25" y="21"/>
                      <a:pt x="18" y="19"/>
                    </a:cubicBezTo>
                    <a:cubicBezTo>
                      <a:pt x="13" y="28"/>
                      <a:pt x="18" y="26"/>
                      <a:pt x="3" y="27"/>
                    </a:cubicBezTo>
                    <a:cubicBezTo>
                      <a:pt x="2" y="28"/>
                      <a:pt x="0" y="31"/>
                      <a:pt x="0" y="33"/>
                    </a:cubicBezTo>
                    <a:cubicBezTo>
                      <a:pt x="0" y="35"/>
                      <a:pt x="2" y="39"/>
                      <a:pt x="2" y="39"/>
                    </a:cubicBezTo>
                    <a:cubicBezTo>
                      <a:pt x="2" y="44"/>
                      <a:pt x="1" y="50"/>
                      <a:pt x="3" y="55"/>
                    </a:cubicBezTo>
                    <a:cubicBezTo>
                      <a:pt x="4" y="57"/>
                      <a:pt x="9" y="57"/>
                      <a:pt x="9" y="57"/>
                    </a:cubicBezTo>
                    <a:cubicBezTo>
                      <a:pt x="11" y="62"/>
                      <a:pt x="13" y="64"/>
                      <a:pt x="18" y="66"/>
                    </a:cubicBezTo>
                    <a:cubicBezTo>
                      <a:pt x="28" y="64"/>
                      <a:pt x="25" y="63"/>
                      <a:pt x="36" y="65"/>
                    </a:cubicBezTo>
                    <a:cubicBezTo>
                      <a:pt x="39" y="67"/>
                      <a:pt x="42" y="68"/>
                      <a:pt x="46" y="69"/>
                    </a:cubicBezTo>
                    <a:cubicBezTo>
                      <a:pt x="49" y="71"/>
                      <a:pt x="55" y="73"/>
                      <a:pt x="55" y="73"/>
                    </a:cubicBezTo>
                    <a:cubicBezTo>
                      <a:pt x="58" y="84"/>
                      <a:pt x="61" y="84"/>
                      <a:pt x="72" y="85"/>
                    </a:cubicBezTo>
                    <a:cubicBezTo>
                      <a:pt x="78" y="87"/>
                      <a:pt x="77" y="91"/>
                      <a:pt x="82" y="92"/>
                    </a:cubicBezTo>
                    <a:cubicBezTo>
                      <a:pt x="91" y="95"/>
                      <a:pt x="101" y="94"/>
                      <a:pt x="111" y="95"/>
                    </a:cubicBezTo>
                    <a:cubicBezTo>
                      <a:pt x="113" y="101"/>
                      <a:pt x="116" y="100"/>
                      <a:pt x="121" y="103"/>
                    </a:cubicBezTo>
                    <a:cubicBezTo>
                      <a:pt x="123" y="113"/>
                      <a:pt x="126" y="117"/>
                      <a:pt x="136" y="120"/>
                    </a:cubicBezTo>
                    <a:cubicBezTo>
                      <a:pt x="150" y="118"/>
                      <a:pt x="150" y="119"/>
                      <a:pt x="164" y="122"/>
                    </a:cubicBezTo>
                    <a:cubicBezTo>
                      <a:pt x="166" y="119"/>
                      <a:pt x="164" y="111"/>
                      <a:pt x="164" y="111"/>
                    </a:cubicBezTo>
                    <a:cubicBezTo>
                      <a:pt x="165" y="106"/>
                      <a:pt x="165" y="105"/>
                      <a:pt x="169" y="102"/>
                    </a:cubicBezTo>
                    <a:cubicBezTo>
                      <a:pt x="172" y="98"/>
                      <a:pt x="175" y="98"/>
                      <a:pt x="177" y="92"/>
                    </a:cubicBezTo>
                    <a:cubicBezTo>
                      <a:pt x="176" y="88"/>
                      <a:pt x="174" y="86"/>
                      <a:pt x="171" y="84"/>
                    </a:cubicBezTo>
                    <a:cubicBezTo>
                      <a:pt x="168" y="75"/>
                      <a:pt x="170" y="75"/>
                      <a:pt x="160" y="73"/>
                    </a:cubicBezTo>
                    <a:cubicBezTo>
                      <a:pt x="162" y="68"/>
                      <a:pt x="162" y="61"/>
                      <a:pt x="164" y="56"/>
                    </a:cubicBezTo>
                    <a:cubicBezTo>
                      <a:pt x="165" y="54"/>
                      <a:pt x="168" y="50"/>
                      <a:pt x="168" y="50"/>
                    </a:cubicBezTo>
                    <a:cubicBezTo>
                      <a:pt x="170" y="21"/>
                      <a:pt x="169" y="33"/>
                      <a:pt x="184" y="18"/>
                    </a:cubicBezTo>
                    <a:cubicBezTo>
                      <a:pt x="186" y="1"/>
                      <a:pt x="191" y="5"/>
                      <a:pt x="180" y="0"/>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581" name="Group 2489">
                <a:extLst>
                  <a:ext uri="{FF2B5EF4-FFF2-40B4-BE49-F238E27FC236}">
                    <a16:creationId xmlns:a16="http://schemas.microsoft.com/office/drawing/2014/main" id="{329F4BB5-0507-3496-8E77-1C878038BBB6}"/>
                  </a:ext>
                </a:extLst>
              </p:cNvPr>
              <p:cNvGrpSpPr>
                <a:grpSpLocks noChangeAspect="1"/>
              </p:cNvGrpSpPr>
              <p:nvPr/>
            </p:nvGrpSpPr>
            <p:grpSpPr bwMode="auto">
              <a:xfrm>
                <a:off x="1971" y="6871"/>
                <a:ext cx="2639" cy="2667"/>
                <a:chOff x="2499" y="3020"/>
                <a:chExt cx="660" cy="667"/>
              </a:xfrm>
            </p:grpSpPr>
            <p:sp>
              <p:nvSpPr>
                <p:cNvPr id="582" name="Freeform 2490">
                  <a:extLst>
                    <a:ext uri="{FF2B5EF4-FFF2-40B4-BE49-F238E27FC236}">
                      <a16:creationId xmlns:a16="http://schemas.microsoft.com/office/drawing/2014/main" id="{649CB95A-EE4B-19F5-2E7E-CFE7C9C99AEA}"/>
                    </a:ext>
                  </a:extLst>
                </p:cNvPr>
                <p:cNvSpPr>
                  <a:spLocks noChangeAspect="1"/>
                </p:cNvSpPr>
                <p:nvPr/>
              </p:nvSpPr>
              <p:spPr bwMode="auto">
                <a:xfrm>
                  <a:off x="2575" y="3447"/>
                  <a:ext cx="92" cy="181"/>
                </a:xfrm>
                <a:custGeom>
                  <a:avLst/>
                  <a:gdLst>
                    <a:gd name="T0" fmla="*/ 61 w 92"/>
                    <a:gd name="T1" fmla="*/ 0 h 181"/>
                    <a:gd name="T2" fmla="*/ 52 w 92"/>
                    <a:gd name="T3" fmla="*/ 6 h 181"/>
                    <a:gd name="T4" fmla="*/ 45 w 92"/>
                    <a:gd name="T5" fmla="*/ 13 h 181"/>
                    <a:gd name="T6" fmla="*/ 33 w 92"/>
                    <a:gd name="T7" fmla="*/ 24 h 181"/>
                    <a:gd name="T8" fmla="*/ 21 w 92"/>
                    <a:gd name="T9" fmla="*/ 30 h 181"/>
                    <a:gd name="T10" fmla="*/ 10 w 92"/>
                    <a:gd name="T11" fmla="*/ 29 h 181"/>
                    <a:gd name="T12" fmla="*/ 3 w 92"/>
                    <a:gd name="T13" fmla="*/ 18 h 181"/>
                    <a:gd name="T14" fmla="*/ 0 w 92"/>
                    <a:gd name="T15" fmla="*/ 36 h 181"/>
                    <a:gd name="T16" fmla="*/ 7 w 92"/>
                    <a:gd name="T17" fmla="*/ 49 h 181"/>
                    <a:gd name="T18" fmla="*/ 13 w 92"/>
                    <a:gd name="T19" fmla="*/ 58 h 181"/>
                    <a:gd name="T20" fmla="*/ 18 w 92"/>
                    <a:gd name="T21" fmla="*/ 76 h 181"/>
                    <a:gd name="T22" fmla="*/ 21 w 92"/>
                    <a:gd name="T23" fmla="*/ 106 h 181"/>
                    <a:gd name="T24" fmla="*/ 15 w 92"/>
                    <a:gd name="T25" fmla="*/ 118 h 181"/>
                    <a:gd name="T26" fmla="*/ 12 w 92"/>
                    <a:gd name="T27" fmla="*/ 132 h 181"/>
                    <a:gd name="T28" fmla="*/ 14 w 92"/>
                    <a:gd name="T29" fmla="*/ 145 h 181"/>
                    <a:gd name="T30" fmla="*/ 8 w 92"/>
                    <a:gd name="T31" fmla="*/ 154 h 181"/>
                    <a:gd name="T32" fmla="*/ 8 w 92"/>
                    <a:gd name="T33" fmla="*/ 168 h 181"/>
                    <a:gd name="T34" fmla="*/ 18 w 92"/>
                    <a:gd name="T35" fmla="*/ 165 h 181"/>
                    <a:gd name="T36" fmla="*/ 24 w 92"/>
                    <a:gd name="T37" fmla="*/ 177 h 181"/>
                    <a:gd name="T38" fmla="*/ 36 w 92"/>
                    <a:gd name="T39" fmla="*/ 180 h 181"/>
                    <a:gd name="T40" fmla="*/ 48 w 92"/>
                    <a:gd name="T41" fmla="*/ 159 h 181"/>
                    <a:gd name="T42" fmla="*/ 55 w 92"/>
                    <a:gd name="T43" fmla="*/ 154 h 181"/>
                    <a:gd name="T44" fmla="*/ 72 w 92"/>
                    <a:gd name="T45" fmla="*/ 160 h 181"/>
                    <a:gd name="T46" fmla="*/ 84 w 92"/>
                    <a:gd name="T47" fmla="*/ 145 h 181"/>
                    <a:gd name="T48" fmla="*/ 91 w 92"/>
                    <a:gd name="T49" fmla="*/ 96 h 181"/>
                    <a:gd name="T50" fmla="*/ 81 w 92"/>
                    <a:gd name="T51" fmla="*/ 72 h 181"/>
                    <a:gd name="T52" fmla="*/ 86 w 92"/>
                    <a:gd name="T53" fmla="*/ 63 h 181"/>
                    <a:gd name="T54" fmla="*/ 90 w 92"/>
                    <a:gd name="T55" fmla="*/ 57 h 181"/>
                    <a:gd name="T56" fmla="*/ 90 w 92"/>
                    <a:gd name="T57" fmla="*/ 28 h 181"/>
                    <a:gd name="T58" fmla="*/ 79 w 92"/>
                    <a:gd name="T59" fmla="*/ 21 h 181"/>
                    <a:gd name="T60" fmla="*/ 79 w 92"/>
                    <a:gd name="T61" fmla="*/ 4 h 181"/>
                    <a:gd name="T62" fmla="*/ 61 w 92"/>
                    <a:gd name="T63" fmla="*/ 0 h 18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2"/>
                    <a:gd name="T97" fmla="*/ 0 h 181"/>
                    <a:gd name="T98" fmla="*/ 92 w 92"/>
                    <a:gd name="T99" fmla="*/ 181 h 18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2" h="181">
                      <a:moveTo>
                        <a:pt x="61" y="0"/>
                      </a:moveTo>
                      <a:cubicBezTo>
                        <a:pt x="58" y="3"/>
                        <a:pt x="55" y="4"/>
                        <a:pt x="52" y="6"/>
                      </a:cubicBezTo>
                      <a:cubicBezTo>
                        <a:pt x="47" y="13"/>
                        <a:pt x="50" y="11"/>
                        <a:pt x="45" y="13"/>
                      </a:cubicBezTo>
                      <a:cubicBezTo>
                        <a:pt x="44" y="17"/>
                        <a:pt x="38" y="22"/>
                        <a:pt x="33" y="24"/>
                      </a:cubicBezTo>
                      <a:cubicBezTo>
                        <a:pt x="30" y="28"/>
                        <a:pt x="26" y="29"/>
                        <a:pt x="21" y="30"/>
                      </a:cubicBezTo>
                      <a:cubicBezTo>
                        <a:pt x="17" y="30"/>
                        <a:pt x="13" y="30"/>
                        <a:pt x="10" y="29"/>
                      </a:cubicBezTo>
                      <a:cubicBezTo>
                        <a:pt x="4" y="27"/>
                        <a:pt x="9" y="20"/>
                        <a:pt x="3" y="18"/>
                      </a:cubicBezTo>
                      <a:cubicBezTo>
                        <a:pt x="2" y="24"/>
                        <a:pt x="2" y="30"/>
                        <a:pt x="0" y="36"/>
                      </a:cubicBezTo>
                      <a:cubicBezTo>
                        <a:pt x="1" y="40"/>
                        <a:pt x="3" y="48"/>
                        <a:pt x="7" y="49"/>
                      </a:cubicBezTo>
                      <a:cubicBezTo>
                        <a:pt x="8" y="53"/>
                        <a:pt x="10" y="55"/>
                        <a:pt x="13" y="58"/>
                      </a:cubicBezTo>
                      <a:cubicBezTo>
                        <a:pt x="15" y="64"/>
                        <a:pt x="15" y="70"/>
                        <a:pt x="18" y="76"/>
                      </a:cubicBezTo>
                      <a:cubicBezTo>
                        <a:pt x="15" y="93"/>
                        <a:pt x="16" y="92"/>
                        <a:pt x="21" y="106"/>
                      </a:cubicBezTo>
                      <a:cubicBezTo>
                        <a:pt x="20" y="110"/>
                        <a:pt x="16" y="114"/>
                        <a:pt x="15" y="118"/>
                      </a:cubicBezTo>
                      <a:cubicBezTo>
                        <a:pt x="16" y="124"/>
                        <a:pt x="18" y="128"/>
                        <a:pt x="12" y="132"/>
                      </a:cubicBezTo>
                      <a:cubicBezTo>
                        <a:pt x="9" y="137"/>
                        <a:pt x="11" y="140"/>
                        <a:pt x="14" y="145"/>
                      </a:cubicBezTo>
                      <a:cubicBezTo>
                        <a:pt x="12" y="148"/>
                        <a:pt x="9" y="150"/>
                        <a:pt x="8" y="154"/>
                      </a:cubicBezTo>
                      <a:cubicBezTo>
                        <a:pt x="10" y="160"/>
                        <a:pt x="10" y="162"/>
                        <a:pt x="8" y="168"/>
                      </a:cubicBezTo>
                      <a:cubicBezTo>
                        <a:pt x="11" y="169"/>
                        <a:pt x="18" y="165"/>
                        <a:pt x="18" y="165"/>
                      </a:cubicBezTo>
                      <a:cubicBezTo>
                        <a:pt x="23" y="157"/>
                        <a:pt x="23" y="175"/>
                        <a:pt x="24" y="177"/>
                      </a:cubicBezTo>
                      <a:cubicBezTo>
                        <a:pt x="25" y="181"/>
                        <a:pt x="32" y="179"/>
                        <a:pt x="36" y="180"/>
                      </a:cubicBezTo>
                      <a:cubicBezTo>
                        <a:pt x="52" y="178"/>
                        <a:pt x="36" y="167"/>
                        <a:pt x="48" y="159"/>
                      </a:cubicBezTo>
                      <a:cubicBezTo>
                        <a:pt x="49" y="156"/>
                        <a:pt x="55" y="154"/>
                        <a:pt x="55" y="154"/>
                      </a:cubicBezTo>
                      <a:cubicBezTo>
                        <a:pt x="63" y="155"/>
                        <a:pt x="65" y="158"/>
                        <a:pt x="72" y="160"/>
                      </a:cubicBezTo>
                      <a:cubicBezTo>
                        <a:pt x="81" y="158"/>
                        <a:pt x="80" y="151"/>
                        <a:pt x="84" y="145"/>
                      </a:cubicBezTo>
                      <a:cubicBezTo>
                        <a:pt x="86" y="128"/>
                        <a:pt x="88" y="112"/>
                        <a:pt x="91" y="96"/>
                      </a:cubicBezTo>
                      <a:cubicBezTo>
                        <a:pt x="90" y="86"/>
                        <a:pt x="86" y="81"/>
                        <a:pt x="81" y="72"/>
                      </a:cubicBezTo>
                      <a:cubicBezTo>
                        <a:pt x="83" y="61"/>
                        <a:pt x="80" y="70"/>
                        <a:pt x="86" y="63"/>
                      </a:cubicBezTo>
                      <a:cubicBezTo>
                        <a:pt x="88" y="61"/>
                        <a:pt x="90" y="57"/>
                        <a:pt x="90" y="57"/>
                      </a:cubicBezTo>
                      <a:cubicBezTo>
                        <a:pt x="91" y="55"/>
                        <a:pt x="92" y="34"/>
                        <a:pt x="90" y="28"/>
                      </a:cubicBezTo>
                      <a:lnTo>
                        <a:pt x="79" y="21"/>
                      </a:lnTo>
                      <a:lnTo>
                        <a:pt x="79" y="4"/>
                      </a:lnTo>
                      <a:lnTo>
                        <a:pt x="61" y="0"/>
                      </a:ln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583" name="Freeform 2491">
                  <a:extLst>
                    <a:ext uri="{FF2B5EF4-FFF2-40B4-BE49-F238E27FC236}">
                      <a16:creationId xmlns:a16="http://schemas.microsoft.com/office/drawing/2014/main" id="{462B59DA-B6FD-0A2E-5382-631CA1A8FCE7}"/>
                    </a:ext>
                  </a:extLst>
                </p:cNvPr>
                <p:cNvSpPr>
                  <a:spLocks noChangeAspect="1"/>
                </p:cNvSpPr>
                <p:nvPr/>
              </p:nvSpPr>
              <p:spPr bwMode="auto">
                <a:xfrm>
                  <a:off x="2686" y="3330"/>
                  <a:ext cx="17" cy="14"/>
                </a:xfrm>
                <a:custGeom>
                  <a:avLst/>
                  <a:gdLst>
                    <a:gd name="T0" fmla="*/ 0 w 17"/>
                    <a:gd name="T1" fmla="*/ 3 h 14"/>
                    <a:gd name="T2" fmla="*/ 16 w 17"/>
                    <a:gd name="T3" fmla="*/ 2 h 14"/>
                    <a:gd name="T4" fmla="*/ 15 w 17"/>
                    <a:gd name="T5" fmla="*/ 14 h 14"/>
                    <a:gd name="T6" fmla="*/ 0 w 17"/>
                    <a:gd name="T7" fmla="*/ 3 h 14"/>
                    <a:gd name="T8" fmla="*/ 0 60000 65536"/>
                    <a:gd name="T9" fmla="*/ 0 60000 65536"/>
                    <a:gd name="T10" fmla="*/ 0 60000 65536"/>
                    <a:gd name="T11" fmla="*/ 0 60000 65536"/>
                    <a:gd name="T12" fmla="*/ 0 w 17"/>
                    <a:gd name="T13" fmla="*/ 0 h 14"/>
                    <a:gd name="T14" fmla="*/ 17 w 17"/>
                    <a:gd name="T15" fmla="*/ 14 h 14"/>
                  </a:gdLst>
                  <a:ahLst/>
                  <a:cxnLst>
                    <a:cxn ang="T8">
                      <a:pos x="T0" y="T1"/>
                    </a:cxn>
                    <a:cxn ang="T9">
                      <a:pos x="T2" y="T3"/>
                    </a:cxn>
                    <a:cxn ang="T10">
                      <a:pos x="T4" y="T5"/>
                    </a:cxn>
                    <a:cxn ang="T11">
                      <a:pos x="T6" y="T7"/>
                    </a:cxn>
                  </a:cxnLst>
                  <a:rect l="T12" t="T13" r="T14" b="T15"/>
                  <a:pathLst>
                    <a:path w="17" h="14">
                      <a:moveTo>
                        <a:pt x="0" y="3"/>
                      </a:moveTo>
                      <a:cubicBezTo>
                        <a:pt x="5" y="3"/>
                        <a:pt x="11" y="0"/>
                        <a:pt x="16" y="2"/>
                      </a:cubicBezTo>
                      <a:cubicBezTo>
                        <a:pt x="16" y="6"/>
                        <a:pt x="17" y="10"/>
                        <a:pt x="15" y="14"/>
                      </a:cubicBezTo>
                      <a:cubicBezTo>
                        <a:pt x="12" y="14"/>
                        <a:pt x="0" y="5"/>
                        <a:pt x="0" y="3"/>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584" name="Freeform 2492">
                  <a:extLst>
                    <a:ext uri="{FF2B5EF4-FFF2-40B4-BE49-F238E27FC236}">
                      <a16:creationId xmlns:a16="http://schemas.microsoft.com/office/drawing/2014/main" id="{3B66BF53-0DBC-8B0B-BDCA-C35CAF194B61}"/>
                    </a:ext>
                  </a:extLst>
                </p:cNvPr>
                <p:cNvSpPr>
                  <a:spLocks noChangeAspect="1"/>
                </p:cNvSpPr>
                <p:nvPr/>
              </p:nvSpPr>
              <p:spPr bwMode="auto">
                <a:xfrm>
                  <a:off x="2499" y="3020"/>
                  <a:ext cx="660" cy="667"/>
                </a:xfrm>
                <a:custGeom>
                  <a:avLst/>
                  <a:gdLst>
                    <a:gd name="T0" fmla="*/ 355 w 660"/>
                    <a:gd name="T1" fmla="*/ 73 h 667"/>
                    <a:gd name="T2" fmla="*/ 353 w 660"/>
                    <a:gd name="T3" fmla="*/ 58 h 667"/>
                    <a:gd name="T4" fmla="*/ 302 w 660"/>
                    <a:gd name="T5" fmla="*/ 24 h 667"/>
                    <a:gd name="T6" fmla="*/ 280 w 660"/>
                    <a:gd name="T7" fmla="*/ 0 h 667"/>
                    <a:gd name="T8" fmla="*/ 211 w 660"/>
                    <a:gd name="T9" fmla="*/ 14 h 667"/>
                    <a:gd name="T10" fmla="*/ 184 w 660"/>
                    <a:gd name="T11" fmla="*/ 48 h 667"/>
                    <a:gd name="T12" fmla="*/ 155 w 660"/>
                    <a:gd name="T13" fmla="*/ 52 h 667"/>
                    <a:gd name="T14" fmla="*/ 137 w 660"/>
                    <a:gd name="T15" fmla="*/ 62 h 667"/>
                    <a:gd name="T16" fmla="*/ 118 w 660"/>
                    <a:gd name="T17" fmla="*/ 80 h 667"/>
                    <a:gd name="T18" fmla="*/ 88 w 660"/>
                    <a:gd name="T19" fmla="*/ 62 h 667"/>
                    <a:gd name="T20" fmla="*/ 53 w 660"/>
                    <a:gd name="T21" fmla="*/ 80 h 667"/>
                    <a:gd name="T22" fmla="*/ 22 w 660"/>
                    <a:gd name="T23" fmla="*/ 91 h 667"/>
                    <a:gd name="T24" fmla="*/ 5 w 660"/>
                    <a:gd name="T25" fmla="*/ 150 h 667"/>
                    <a:gd name="T26" fmla="*/ 32 w 660"/>
                    <a:gd name="T27" fmla="*/ 212 h 667"/>
                    <a:gd name="T28" fmla="*/ 64 w 660"/>
                    <a:gd name="T29" fmla="*/ 238 h 667"/>
                    <a:gd name="T30" fmla="*/ 100 w 660"/>
                    <a:gd name="T31" fmla="*/ 208 h 667"/>
                    <a:gd name="T32" fmla="*/ 131 w 660"/>
                    <a:gd name="T33" fmla="*/ 194 h 667"/>
                    <a:gd name="T34" fmla="*/ 176 w 660"/>
                    <a:gd name="T35" fmla="*/ 218 h 667"/>
                    <a:gd name="T36" fmla="*/ 236 w 660"/>
                    <a:gd name="T37" fmla="*/ 323 h 667"/>
                    <a:gd name="T38" fmla="*/ 266 w 660"/>
                    <a:gd name="T39" fmla="*/ 350 h 667"/>
                    <a:gd name="T40" fmla="*/ 335 w 660"/>
                    <a:gd name="T41" fmla="*/ 409 h 667"/>
                    <a:gd name="T42" fmla="*/ 388 w 660"/>
                    <a:gd name="T43" fmla="*/ 420 h 667"/>
                    <a:gd name="T44" fmla="*/ 424 w 660"/>
                    <a:gd name="T45" fmla="*/ 454 h 667"/>
                    <a:gd name="T46" fmla="*/ 502 w 660"/>
                    <a:gd name="T47" fmla="*/ 503 h 667"/>
                    <a:gd name="T48" fmla="*/ 535 w 660"/>
                    <a:gd name="T49" fmla="*/ 571 h 667"/>
                    <a:gd name="T50" fmla="*/ 527 w 660"/>
                    <a:gd name="T51" fmla="*/ 662 h 667"/>
                    <a:gd name="T52" fmla="*/ 551 w 660"/>
                    <a:gd name="T53" fmla="*/ 638 h 667"/>
                    <a:gd name="T54" fmla="*/ 592 w 660"/>
                    <a:gd name="T55" fmla="*/ 582 h 667"/>
                    <a:gd name="T56" fmla="*/ 557 w 660"/>
                    <a:gd name="T57" fmla="*/ 526 h 667"/>
                    <a:gd name="T58" fmla="*/ 583 w 660"/>
                    <a:gd name="T59" fmla="*/ 467 h 667"/>
                    <a:gd name="T60" fmla="*/ 635 w 660"/>
                    <a:gd name="T61" fmla="*/ 498 h 667"/>
                    <a:gd name="T62" fmla="*/ 659 w 660"/>
                    <a:gd name="T63" fmla="*/ 469 h 667"/>
                    <a:gd name="T64" fmla="*/ 608 w 660"/>
                    <a:gd name="T65" fmla="*/ 437 h 667"/>
                    <a:gd name="T66" fmla="*/ 566 w 660"/>
                    <a:gd name="T67" fmla="*/ 424 h 667"/>
                    <a:gd name="T68" fmla="*/ 516 w 660"/>
                    <a:gd name="T69" fmla="*/ 377 h 667"/>
                    <a:gd name="T70" fmla="*/ 469 w 660"/>
                    <a:gd name="T71" fmla="*/ 367 h 667"/>
                    <a:gd name="T72" fmla="*/ 398 w 660"/>
                    <a:gd name="T73" fmla="*/ 323 h 667"/>
                    <a:gd name="T74" fmla="*/ 350 w 660"/>
                    <a:gd name="T75" fmla="*/ 244 h 667"/>
                    <a:gd name="T76" fmla="*/ 314 w 660"/>
                    <a:gd name="T77" fmla="*/ 217 h 667"/>
                    <a:gd name="T78" fmla="*/ 305 w 660"/>
                    <a:gd name="T79" fmla="*/ 168 h 667"/>
                    <a:gd name="T80" fmla="*/ 299 w 660"/>
                    <a:gd name="T81" fmla="*/ 142 h 667"/>
                    <a:gd name="T82" fmla="*/ 336 w 660"/>
                    <a:gd name="T83" fmla="*/ 107 h 66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60"/>
                    <a:gd name="T127" fmla="*/ 0 h 667"/>
                    <a:gd name="T128" fmla="*/ 660 w 660"/>
                    <a:gd name="T129" fmla="*/ 667 h 66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60" h="667">
                      <a:moveTo>
                        <a:pt x="359" y="90"/>
                      </a:moveTo>
                      <a:cubicBezTo>
                        <a:pt x="360" y="87"/>
                        <a:pt x="362" y="80"/>
                        <a:pt x="362" y="80"/>
                      </a:cubicBezTo>
                      <a:cubicBezTo>
                        <a:pt x="360" y="75"/>
                        <a:pt x="360" y="74"/>
                        <a:pt x="355" y="73"/>
                      </a:cubicBezTo>
                      <a:cubicBezTo>
                        <a:pt x="354" y="71"/>
                        <a:pt x="356" y="69"/>
                        <a:pt x="357" y="68"/>
                      </a:cubicBezTo>
                      <a:cubicBezTo>
                        <a:pt x="358" y="67"/>
                        <a:pt x="361" y="66"/>
                        <a:pt x="360" y="64"/>
                      </a:cubicBezTo>
                      <a:cubicBezTo>
                        <a:pt x="359" y="61"/>
                        <a:pt x="353" y="58"/>
                        <a:pt x="353" y="58"/>
                      </a:cubicBezTo>
                      <a:cubicBezTo>
                        <a:pt x="352" y="54"/>
                        <a:pt x="365" y="41"/>
                        <a:pt x="358" y="36"/>
                      </a:cubicBezTo>
                      <a:cubicBezTo>
                        <a:pt x="345" y="32"/>
                        <a:pt x="327" y="33"/>
                        <a:pt x="314" y="30"/>
                      </a:cubicBezTo>
                      <a:cubicBezTo>
                        <a:pt x="310" y="28"/>
                        <a:pt x="302" y="24"/>
                        <a:pt x="302" y="24"/>
                      </a:cubicBezTo>
                      <a:cubicBezTo>
                        <a:pt x="299" y="21"/>
                        <a:pt x="294" y="14"/>
                        <a:pt x="294" y="14"/>
                      </a:cubicBezTo>
                      <a:cubicBezTo>
                        <a:pt x="293" y="10"/>
                        <a:pt x="293" y="7"/>
                        <a:pt x="289" y="6"/>
                      </a:cubicBezTo>
                      <a:cubicBezTo>
                        <a:pt x="286" y="1"/>
                        <a:pt x="285" y="1"/>
                        <a:pt x="280" y="0"/>
                      </a:cubicBezTo>
                      <a:cubicBezTo>
                        <a:pt x="266" y="5"/>
                        <a:pt x="257" y="6"/>
                        <a:pt x="241" y="7"/>
                      </a:cubicBezTo>
                      <a:cubicBezTo>
                        <a:pt x="238" y="11"/>
                        <a:pt x="236" y="15"/>
                        <a:pt x="233" y="19"/>
                      </a:cubicBezTo>
                      <a:cubicBezTo>
                        <a:pt x="224" y="18"/>
                        <a:pt x="219" y="18"/>
                        <a:pt x="211" y="14"/>
                      </a:cubicBezTo>
                      <a:cubicBezTo>
                        <a:pt x="199" y="19"/>
                        <a:pt x="206" y="22"/>
                        <a:pt x="200" y="31"/>
                      </a:cubicBezTo>
                      <a:cubicBezTo>
                        <a:pt x="198" y="38"/>
                        <a:pt x="195" y="36"/>
                        <a:pt x="188" y="37"/>
                      </a:cubicBezTo>
                      <a:cubicBezTo>
                        <a:pt x="187" y="41"/>
                        <a:pt x="185" y="44"/>
                        <a:pt x="184" y="48"/>
                      </a:cubicBezTo>
                      <a:cubicBezTo>
                        <a:pt x="182" y="51"/>
                        <a:pt x="177" y="51"/>
                        <a:pt x="174" y="53"/>
                      </a:cubicBezTo>
                      <a:cubicBezTo>
                        <a:pt x="171" y="54"/>
                        <a:pt x="164" y="61"/>
                        <a:pt x="164" y="61"/>
                      </a:cubicBezTo>
                      <a:cubicBezTo>
                        <a:pt x="162" y="54"/>
                        <a:pt x="162" y="54"/>
                        <a:pt x="155" y="52"/>
                      </a:cubicBezTo>
                      <a:cubicBezTo>
                        <a:pt x="154" y="50"/>
                        <a:pt x="154" y="48"/>
                        <a:pt x="151" y="48"/>
                      </a:cubicBezTo>
                      <a:cubicBezTo>
                        <a:pt x="149" y="48"/>
                        <a:pt x="145" y="50"/>
                        <a:pt x="145" y="50"/>
                      </a:cubicBezTo>
                      <a:cubicBezTo>
                        <a:pt x="143" y="55"/>
                        <a:pt x="141" y="58"/>
                        <a:pt x="137" y="62"/>
                      </a:cubicBezTo>
                      <a:cubicBezTo>
                        <a:pt x="135" y="69"/>
                        <a:pt x="131" y="75"/>
                        <a:pt x="128" y="82"/>
                      </a:cubicBezTo>
                      <a:cubicBezTo>
                        <a:pt x="126" y="86"/>
                        <a:pt x="124" y="94"/>
                        <a:pt x="124" y="94"/>
                      </a:cubicBezTo>
                      <a:cubicBezTo>
                        <a:pt x="122" y="92"/>
                        <a:pt x="118" y="80"/>
                        <a:pt x="118" y="80"/>
                      </a:cubicBezTo>
                      <a:cubicBezTo>
                        <a:pt x="117" y="71"/>
                        <a:pt x="119" y="68"/>
                        <a:pt x="110" y="66"/>
                      </a:cubicBezTo>
                      <a:cubicBezTo>
                        <a:pt x="108" y="59"/>
                        <a:pt x="107" y="55"/>
                        <a:pt x="100" y="53"/>
                      </a:cubicBezTo>
                      <a:cubicBezTo>
                        <a:pt x="95" y="55"/>
                        <a:pt x="94" y="60"/>
                        <a:pt x="88" y="62"/>
                      </a:cubicBezTo>
                      <a:cubicBezTo>
                        <a:pt x="85" y="66"/>
                        <a:pt x="85" y="72"/>
                        <a:pt x="82" y="76"/>
                      </a:cubicBezTo>
                      <a:cubicBezTo>
                        <a:pt x="80" y="79"/>
                        <a:pt x="73" y="80"/>
                        <a:pt x="73" y="80"/>
                      </a:cubicBezTo>
                      <a:cubicBezTo>
                        <a:pt x="65" y="79"/>
                        <a:pt x="61" y="78"/>
                        <a:pt x="53" y="80"/>
                      </a:cubicBezTo>
                      <a:cubicBezTo>
                        <a:pt x="48" y="81"/>
                        <a:pt x="40" y="85"/>
                        <a:pt x="40" y="85"/>
                      </a:cubicBezTo>
                      <a:cubicBezTo>
                        <a:pt x="34" y="84"/>
                        <a:pt x="28" y="81"/>
                        <a:pt x="23" y="85"/>
                      </a:cubicBezTo>
                      <a:cubicBezTo>
                        <a:pt x="25" y="92"/>
                        <a:pt x="24" y="86"/>
                        <a:pt x="22" y="91"/>
                      </a:cubicBezTo>
                      <a:cubicBezTo>
                        <a:pt x="23" y="101"/>
                        <a:pt x="26" y="117"/>
                        <a:pt x="32" y="125"/>
                      </a:cubicBezTo>
                      <a:cubicBezTo>
                        <a:pt x="19" y="136"/>
                        <a:pt x="18" y="139"/>
                        <a:pt x="2" y="140"/>
                      </a:cubicBezTo>
                      <a:cubicBezTo>
                        <a:pt x="0" y="145"/>
                        <a:pt x="0" y="148"/>
                        <a:pt x="5" y="150"/>
                      </a:cubicBezTo>
                      <a:cubicBezTo>
                        <a:pt x="7" y="159"/>
                        <a:pt x="16" y="157"/>
                        <a:pt x="25" y="158"/>
                      </a:cubicBezTo>
                      <a:cubicBezTo>
                        <a:pt x="30" y="165"/>
                        <a:pt x="20" y="179"/>
                        <a:pt x="17" y="186"/>
                      </a:cubicBezTo>
                      <a:cubicBezTo>
                        <a:pt x="19" y="199"/>
                        <a:pt x="21" y="205"/>
                        <a:pt x="32" y="212"/>
                      </a:cubicBezTo>
                      <a:cubicBezTo>
                        <a:pt x="41" y="211"/>
                        <a:pt x="51" y="209"/>
                        <a:pt x="59" y="214"/>
                      </a:cubicBezTo>
                      <a:cubicBezTo>
                        <a:pt x="62" y="219"/>
                        <a:pt x="56" y="232"/>
                        <a:pt x="50" y="234"/>
                      </a:cubicBezTo>
                      <a:cubicBezTo>
                        <a:pt x="46" y="243"/>
                        <a:pt x="58" y="239"/>
                        <a:pt x="64" y="238"/>
                      </a:cubicBezTo>
                      <a:cubicBezTo>
                        <a:pt x="70" y="234"/>
                        <a:pt x="78" y="234"/>
                        <a:pt x="83" y="230"/>
                      </a:cubicBezTo>
                      <a:cubicBezTo>
                        <a:pt x="86" y="228"/>
                        <a:pt x="90" y="221"/>
                        <a:pt x="90" y="221"/>
                      </a:cubicBezTo>
                      <a:cubicBezTo>
                        <a:pt x="91" y="217"/>
                        <a:pt x="95" y="210"/>
                        <a:pt x="100" y="208"/>
                      </a:cubicBezTo>
                      <a:cubicBezTo>
                        <a:pt x="102" y="205"/>
                        <a:pt x="105" y="202"/>
                        <a:pt x="107" y="200"/>
                      </a:cubicBezTo>
                      <a:cubicBezTo>
                        <a:pt x="109" y="198"/>
                        <a:pt x="113" y="196"/>
                        <a:pt x="113" y="196"/>
                      </a:cubicBezTo>
                      <a:cubicBezTo>
                        <a:pt x="118" y="189"/>
                        <a:pt x="115" y="191"/>
                        <a:pt x="131" y="194"/>
                      </a:cubicBezTo>
                      <a:cubicBezTo>
                        <a:pt x="136" y="195"/>
                        <a:pt x="141" y="201"/>
                        <a:pt x="145" y="203"/>
                      </a:cubicBezTo>
                      <a:cubicBezTo>
                        <a:pt x="151" y="206"/>
                        <a:pt x="160" y="209"/>
                        <a:pt x="166" y="210"/>
                      </a:cubicBezTo>
                      <a:cubicBezTo>
                        <a:pt x="170" y="213"/>
                        <a:pt x="172" y="215"/>
                        <a:pt x="176" y="218"/>
                      </a:cubicBezTo>
                      <a:cubicBezTo>
                        <a:pt x="180" y="224"/>
                        <a:pt x="187" y="227"/>
                        <a:pt x="190" y="235"/>
                      </a:cubicBezTo>
                      <a:cubicBezTo>
                        <a:pt x="205" y="250"/>
                        <a:pt x="194" y="277"/>
                        <a:pt x="212" y="289"/>
                      </a:cubicBezTo>
                      <a:cubicBezTo>
                        <a:pt x="219" y="304"/>
                        <a:pt x="230" y="314"/>
                        <a:pt x="236" y="323"/>
                      </a:cubicBezTo>
                      <a:cubicBezTo>
                        <a:pt x="238" y="326"/>
                        <a:pt x="248" y="341"/>
                        <a:pt x="250" y="342"/>
                      </a:cubicBezTo>
                      <a:cubicBezTo>
                        <a:pt x="252" y="343"/>
                        <a:pt x="256" y="344"/>
                        <a:pt x="256" y="344"/>
                      </a:cubicBezTo>
                      <a:cubicBezTo>
                        <a:pt x="259" y="347"/>
                        <a:pt x="263" y="348"/>
                        <a:pt x="266" y="350"/>
                      </a:cubicBezTo>
                      <a:cubicBezTo>
                        <a:pt x="272" y="355"/>
                        <a:pt x="285" y="364"/>
                        <a:pt x="294" y="372"/>
                      </a:cubicBezTo>
                      <a:cubicBezTo>
                        <a:pt x="304" y="377"/>
                        <a:pt x="311" y="392"/>
                        <a:pt x="322" y="398"/>
                      </a:cubicBezTo>
                      <a:cubicBezTo>
                        <a:pt x="324" y="404"/>
                        <a:pt x="329" y="407"/>
                        <a:pt x="335" y="409"/>
                      </a:cubicBezTo>
                      <a:cubicBezTo>
                        <a:pt x="340" y="417"/>
                        <a:pt x="345" y="419"/>
                        <a:pt x="352" y="424"/>
                      </a:cubicBezTo>
                      <a:cubicBezTo>
                        <a:pt x="365" y="422"/>
                        <a:pt x="364" y="421"/>
                        <a:pt x="373" y="418"/>
                      </a:cubicBezTo>
                      <a:cubicBezTo>
                        <a:pt x="378" y="418"/>
                        <a:pt x="384" y="416"/>
                        <a:pt x="388" y="420"/>
                      </a:cubicBezTo>
                      <a:cubicBezTo>
                        <a:pt x="391" y="423"/>
                        <a:pt x="395" y="428"/>
                        <a:pt x="395" y="428"/>
                      </a:cubicBezTo>
                      <a:cubicBezTo>
                        <a:pt x="397" y="435"/>
                        <a:pt x="398" y="442"/>
                        <a:pt x="400" y="449"/>
                      </a:cubicBezTo>
                      <a:cubicBezTo>
                        <a:pt x="405" y="453"/>
                        <a:pt x="415" y="452"/>
                        <a:pt x="424" y="454"/>
                      </a:cubicBezTo>
                      <a:cubicBezTo>
                        <a:pt x="432" y="460"/>
                        <a:pt x="442" y="458"/>
                        <a:pt x="452" y="460"/>
                      </a:cubicBezTo>
                      <a:cubicBezTo>
                        <a:pt x="457" y="468"/>
                        <a:pt x="458" y="489"/>
                        <a:pt x="467" y="492"/>
                      </a:cubicBezTo>
                      <a:cubicBezTo>
                        <a:pt x="475" y="503"/>
                        <a:pt x="489" y="501"/>
                        <a:pt x="502" y="503"/>
                      </a:cubicBezTo>
                      <a:cubicBezTo>
                        <a:pt x="508" y="511"/>
                        <a:pt x="514" y="524"/>
                        <a:pt x="516" y="534"/>
                      </a:cubicBezTo>
                      <a:cubicBezTo>
                        <a:pt x="517" y="539"/>
                        <a:pt x="522" y="547"/>
                        <a:pt x="522" y="547"/>
                      </a:cubicBezTo>
                      <a:cubicBezTo>
                        <a:pt x="524" y="553"/>
                        <a:pt x="530" y="566"/>
                        <a:pt x="535" y="571"/>
                      </a:cubicBezTo>
                      <a:cubicBezTo>
                        <a:pt x="539" y="584"/>
                        <a:pt x="534" y="599"/>
                        <a:pt x="523" y="607"/>
                      </a:cubicBezTo>
                      <a:cubicBezTo>
                        <a:pt x="519" y="620"/>
                        <a:pt x="516" y="633"/>
                        <a:pt x="515" y="647"/>
                      </a:cubicBezTo>
                      <a:cubicBezTo>
                        <a:pt x="516" y="658"/>
                        <a:pt x="517" y="659"/>
                        <a:pt x="527" y="662"/>
                      </a:cubicBezTo>
                      <a:cubicBezTo>
                        <a:pt x="534" y="661"/>
                        <a:pt x="531" y="667"/>
                        <a:pt x="535" y="662"/>
                      </a:cubicBezTo>
                      <a:cubicBezTo>
                        <a:pt x="536" y="658"/>
                        <a:pt x="538" y="656"/>
                        <a:pt x="541" y="653"/>
                      </a:cubicBezTo>
                      <a:cubicBezTo>
                        <a:pt x="543" y="648"/>
                        <a:pt x="547" y="642"/>
                        <a:pt x="551" y="638"/>
                      </a:cubicBezTo>
                      <a:cubicBezTo>
                        <a:pt x="553" y="631"/>
                        <a:pt x="559" y="627"/>
                        <a:pt x="560" y="620"/>
                      </a:cubicBezTo>
                      <a:cubicBezTo>
                        <a:pt x="562" y="606"/>
                        <a:pt x="566" y="589"/>
                        <a:pt x="582" y="586"/>
                      </a:cubicBezTo>
                      <a:cubicBezTo>
                        <a:pt x="585" y="584"/>
                        <a:pt x="592" y="582"/>
                        <a:pt x="592" y="582"/>
                      </a:cubicBezTo>
                      <a:cubicBezTo>
                        <a:pt x="592" y="581"/>
                        <a:pt x="595" y="576"/>
                        <a:pt x="595" y="575"/>
                      </a:cubicBezTo>
                      <a:cubicBezTo>
                        <a:pt x="595" y="568"/>
                        <a:pt x="595" y="561"/>
                        <a:pt x="594" y="554"/>
                      </a:cubicBezTo>
                      <a:cubicBezTo>
                        <a:pt x="592" y="532"/>
                        <a:pt x="571" y="535"/>
                        <a:pt x="557" y="526"/>
                      </a:cubicBezTo>
                      <a:cubicBezTo>
                        <a:pt x="556" y="523"/>
                        <a:pt x="554" y="520"/>
                        <a:pt x="553" y="517"/>
                      </a:cubicBezTo>
                      <a:cubicBezTo>
                        <a:pt x="554" y="494"/>
                        <a:pt x="556" y="491"/>
                        <a:pt x="563" y="479"/>
                      </a:cubicBezTo>
                      <a:cubicBezTo>
                        <a:pt x="566" y="471"/>
                        <a:pt x="575" y="468"/>
                        <a:pt x="583" y="467"/>
                      </a:cubicBezTo>
                      <a:cubicBezTo>
                        <a:pt x="595" y="468"/>
                        <a:pt x="592" y="471"/>
                        <a:pt x="601" y="474"/>
                      </a:cubicBezTo>
                      <a:cubicBezTo>
                        <a:pt x="607" y="474"/>
                        <a:pt x="628" y="469"/>
                        <a:pt x="630" y="478"/>
                      </a:cubicBezTo>
                      <a:cubicBezTo>
                        <a:pt x="629" y="484"/>
                        <a:pt x="627" y="495"/>
                        <a:pt x="635" y="498"/>
                      </a:cubicBezTo>
                      <a:cubicBezTo>
                        <a:pt x="639" y="506"/>
                        <a:pt x="649" y="504"/>
                        <a:pt x="656" y="509"/>
                      </a:cubicBezTo>
                      <a:cubicBezTo>
                        <a:pt x="659" y="501"/>
                        <a:pt x="659" y="498"/>
                        <a:pt x="660" y="490"/>
                      </a:cubicBezTo>
                      <a:cubicBezTo>
                        <a:pt x="660" y="483"/>
                        <a:pt x="660" y="476"/>
                        <a:pt x="659" y="469"/>
                      </a:cubicBezTo>
                      <a:cubicBezTo>
                        <a:pt x="658" y="464"/>
                        <a:pt x="644" y="462"/>
                        <a:pt x="644" y="462"/>
                      </a:cubicBezTo>
                      <a:cubicBezTo>
                        <a:pt x="638" y="450"/>
                        <a:pt x="632" y="450"/>
                        <a:pt x="622" y="443"/>
                      </a:cubicBezTo>
                      <a:cubicBezTo>
                        <a:pt x="618" y="440"/>
                        <a:pt x="608" y="437"/>
                        <a:pt x="608" y="437"/>
                      </a:cubicBezTo>
                      <a:cubicBezTo>
                        <a:pt x="604" y="434"/>
                        <a:pt x="595" y="431"/>
                        <a:pt x="595" y="431"/>
                      </a:cubicBezTo>
                      <a:cubicBezTo>
                        <a:pt x="591" y="425"/>
                        <a:pt x="584" y="427"/>
                        <a:pt x="578" y="426"/>
                      </a:cubicBezTo>
                      <a:cubicBezTo>
                        <a:pt x="574" y="425"/>
                        <a:pt x="570" y="425"/>
                        <a:pt x="566" y="424"/>
                      </a:cubicBezTo>
                      <a:cubicBezTo>
                        <a:pt x="556" y="420"/>
                        <a:pt x="527" y="408"/>
                        <a:pt x="518" y="403"/>
                      </a:cubicBezTo>
                      <a:cubicBezTo>
                        <a:pt x="512" y="401"/>
                        <a:pt x="512" y="399"/>
                        <a:pt x="509" y="394"/>
                      </a:cubicBezTo>
                      <a:cubicBezTo>
                        <a:pt x="511" y="388"/>
                        <a:pt x="513" y="383"/>
                        <a:pt x="516" y="377"/>
                      </a:cubicBezTo>
                      <a:cubicBezTo>
                        <a:pt x="517" y="375"/>
                        <a:pt x="520" y="362"/>
                        <a:pt x="520" y="362"/>
                      </a:cubicBezTo>
                      <a:cubicBezTo>
                        <a:pt x="518" y="351"/>
                        <a:pt x="509" y="361"/>
                        <a:pt x="499" y="360"/>
                      </a:cubicBezTo>
                      <a:cubicBezTo>
                        <a:pt x="485" y="362"/>
                        <a:pt x="483" y="368"/>
                        <a:pt x="469" y="367"/>
                      </a:cubicBezTo>
                      <a:cubicBezTo>
                        <a:pt x="457" y="363"/>
                        <a:pt x="434" y="351"/>
                        <a:pt x="422" y="347"/>
                      </a:cubicBezTo>
                      <a:cubicBezTo>
                        <a:pt x="417" y="342"/>
                        <a:pt x="412" y="339"/>
                        <a:pt x="407" y="334"/>
                      </a:cubicBezTo>
                      <a:cubicBezTo>
                        <a:pt x="406" y="330"/>
                        <a:pt x="402" y="325"/>
                        <a:pt x="398" y="323"/>
                      </a:cubicBezTo>
                      <a:cubicBezTo>
                        <a:pt x="387" y="307"/>
                        <a:pt x="395" y="279"/>
                        <a:pt x="378" y="268"/>
                      </a:cubicBezTo>
                      <a:cubicBezTo>
                        <a:pt x="377" y="264"/>
                        <a:pt x="365" y="254"/>
                        <a:pt x="361" y="253"/>
                      </a:cubicBezTo>
                      <a:cubicBezTo>
                        <a:pt x="358" y="249"/>
                        <a:pt x="350" y="244"/>
                        <a:pt x="350" y="244"/>
                      </a:cubicBezTo>
                      <a:cubicBezTo>
                        <a:pt x="347" y="239"/>
                        <a:pt x="341" y="235"/>
                        <a:pt x="335" y="233"/>
                      </a:cubicBezTo>
                      <a:cubicBezTo>
                        <a:pt x="332" y="230"/>
                        <a:pt x="330" y="227"/>
                        <a:pt x="326" y="226"/>
                      </a:cubicBezTo>
                      <a:cubicBezTo>
                        <a:pt x="323" y="222"/>
                        <a:pt x="319" y="218"/>
                        <a:pt x="314" y="217"/>
                      </a:cubicBezTo>
                      <a:cubicBezTo>
                        <a:pt x="310" y="215"/>
                        <a:pt x="311" y="212"/>
                        <a:pt x="307" y="210"/>
                      </a:cubicBezTo>
                      <a:cubicBezTo>
                        <a:pt x="306" y="202"/>
                        <a:pt x="304" y="194"/>
                        <a:pt x="301" y="187"/>
                      </a:cubicBezTo>
                      <a:cubicBezTo>
                        <a:pt x="305" y="155"/>
                        <a:pt x="302" y="181"/>
                        <a:pt x="305" y="168"/>
                      </a:cubicBezTo>
                      <a:cubicBezTo>
                        <a:pt x="306" y="165"/>
                        <a:pt x="307" y="158"/>
                        <a:pt x="307" y="158"/>
                      </a:cubicBezTo>
                      <a:cubicBezTo>
                        <a:pt x="307" y="155"/>
                        <a:pt x="307" y="151"/>
                        <a:pt x="305" y="148"/>
                      </a:cubicBezTo>
                      <a:cubicBezTo>
                        <a:pt x="303" y="146"/>
                        <a:pt x="299" y="142"/>
                        <a:pt x="299" y="142"/>
                      </a:cubicBezTo>
                      <a:cubicBezTo>
                        <a:pt x="298" y="138"/>
                        <a:pt x="295" y="137"/>
                        <a:pt x="294" y="133"/>
                      </a:cubicBezTo>
                      <a:cubicBezTo>
                        <a:pt x="296" y="126"/>
                        <a:pt x="294" y="128"/>
                        <a:pt x="299" y="125"/>
                      </a:cubicBezTo>
                      <a:cubicBezTo>
                        <a:pt x="303" y="114"/>
                        <a:pt x="326" y="109"/>
                        <a:pt x="336" y="107"/>
                      </a:cubicBezTo>
                      <a:cubicBezTo>
                        <a:pt x="339" y="105"/>
                        <a:pt x="346" y="100"/>
                        <a:pt x="346" y="100"/>
                      </a:cubicBezTo>
                      <a:cubicBezTo>
                        <a:pt x="349" y="96"/>
                        <a:pt x="354" y="92"/>
                        <a:pt x="359" y="90"/>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grpSp>
        <p:grpSp>
          <p:nvGrpSpPr>
            <p:cNvPr id="47" name="Group 2493">
              <a:extLst>
                <a:ext uri="{FF2B5EF4-FFF2-40B4-BE49-F238E27FC236}">
                  <a16:creationId xmlns:a16="http://schemas.microsoft.com/office/drawing/2014/main" id="{4611B6A3-0DBE-7957-3247-CD96E0694415}"/>
                </a:ext>
              </a:extLst>
            </p:cNvPr>
            <p:cNvGrpSpPr>
              <a:grpSpLocks noChangeAspect="1"/>
            </p:cNvGrpSpPr>
            <p:nvPr>
              <p:custDataLst>
                <p:tags r:id="rId10"/>
              </p:custDataLst>
            </p:nvPr>
          </p:nvGrpSpPr>
          <p:grpSpPr bwMode="auto">
            <a:xfrm>
              <a:off x="2471237" y="4256501"/>
              <a:ext cx="687565" cy="573780"/>
              <a:chOff x="1648" y="3145"/>
              <a:chExt cx="707" cy="590"/>
            </a:xfrm>
          </p:grpSpPr>
          <p:sp>
            <p:nvSpPr>
              <p:cNvPr id="190" name="Freeform 2494">
                <a:extLst>
                  <a:ext uri="{FF2B5EF4-FFF2-40B4-BE49-F238E27FC236}">
                    <a16:creationId xmlns:a16="http://schemas.microsoft.com/office/drawing/2014/main" id="{A9D39596-75F8-C93F-0A30-055BA1612F41}"/>
                  </a:ext>
                </a:extLst>
              </p:cNvPr>
              <p:cNvSpPr>
                <a:spLocks noChangeAspect="1"/>
              </p:cNvSpPr>
              <p:nvPr/>
            </p:nvSpPr>
            <p:spPr bwMode="auto">
              <a:xfrm>
                <a:off x="2167" y="3576"/>
                <a:ext cx="27" cy="21"/>
              </a:xfrm>
              <a:custGeom>
                <a:avLst/>
                <a:gdLst>
                  <a:gd name="T0" fmla="*/ 25 w 27"/>
                  <a:gd name="T1" fmla="*/ 0 h 21"/>
                  <a:gd name="T2" fmla="*/ 0 w 27"/>
                  <a:gd name="T3" fmla="*/ 10 h 21"/>
                  <a:gd name="T4" fmla="*/ 10 w 27"/>
                  <a:gd name="T5" fmla="*/ 20 h 21"/>
                  <a:gd name="T6" fmla="*/ 27 w 27"/>
                  <a:gd name="T7" fmla="*/ 15 h 21"/>
                  <a:gd name="T8" fmla="*/ 19 w 27"/>
                  <a:gd name="T9" fmla="*/ 1 h 21"/>
                  <a:gd name="T10" fmla="*/ 9 w 27"/>
                  <a:gd name="T11" fmla="*/ 3 h 21"/>
                  <a:gd name="T12" fmla="*/ 0 60000 65536"/>
                  <a:gd name="T13" fmla="*/ 0 60000 65536"/>
                  <a:gd name="T14" fmla="*/ 0 60000 65536"/>
                  <a:gd name="T15" fmla="*/ 0 60000 65536"/>
                  <a:gd name="T16" fmla="*/ 0 60000 65536"/>
                  <a:gd name="T17" fmla="*/ 0 60000 65536"/>
                  <a:gd name="T18" fmla="*/ 0 w 27"/>
                  <a:gd name="T19" fmla="*/ 0 h 21"/>
                  <a:gd name="T20" fmla="*/ 27 w 27"/>
                  <a:gd name="T21" fmla="*/ 21 h 21"/>
                </a:gdLst>
                <a:ahLst/>
                <a:cxnLst>
                  <a:cxn ang="T12">
                    <a:pos x="T0" y="T1"/>
                  </a:cxn>
                  <a:cxn ang="T13">
                    <a:pos x="T2" y="T3"/>
                  </a:cxn>
                  <a:cxn ang="T14">
                    <a:pos x="T4" y="T5"/>
                  </a:cxn>
                  <a:cxn ang="T15">
                    <a:pos x="T6" y="T7"/>
                  </a:cxn>
                  <a:cxn ang="T16">
                    <a:pos x="T8" y="T9"/>
                  </a:cxn>
                  <a:cxn ang="T17">
                    <a:pos x="T10" y="T11"/>
                  </a:cxn>
                </a:cxnLst>
                <a:rect l="T18" t="T19" r="T20" b="T21"/>
                <a:pathLst>
                  <a:path w="27" h="21">
                    <a:moveTo>
                      <a:pt x="25" y="0"/>
                    </a:moveTo>
                    <a:cubicBezTo>
                      <a:pt x="5" y="2"/>
                      <a:pt x="12" y="2"/>
                      <a:pt x="0" y="10"/>
                    </a:cubicBezTo>
                    <a:cubicBezTo>
                      <a:pt x="1" y="15"/>
                      <a:pt x="10" y="20"/>
                      <a:pt x="10" y="20"/>
                    </a:cubicBezTo>
                    <a:cubicBezTo>
                      <a:pt x="16" y="19"/>
                      <a:pt x="23" y="21"/>
                      <a:pt x="27" y="15"/>
                    </a:cubicBezTo>
                    <a:cubicBezTo>
                      <a:pt x="25" y="10"/>
                      <a:pt x="24" y="3"/>
                      <a:pt x="19" y="1"/>
                    </a:cubicBezTo>
                    <a:cubicBezTo>
                      <a:pt x="16" y="2"/>
                      <a:pt x="9" y="3"/>
                      <a:pt x="9" y="3"/>
                    </a:cubicBezTo>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91" name="Freeform 2495">
                <a:extLst>
                  <a:ext uri="{FF2B5EF4-FFF2-40B4-BE49-F238E27FC236}">
                    <a16:creationId xmlns:a16="http://schemas.microsoft.com/office/drawing/2014/main" id="{13C6A3DD-6F4F-99F1-8929-5DF837433A13}"/>
                  </a:ext>
                </a:extLst>
              </p:cNvPr>
              <p:cNvSpPr>
                <a:spLocks noChangeAspect="1"/>
              </p:cNvSpPr>
              <p:nvPr/>
            </p:nvSpPr>
            <p:spPr bwMode="auto">
              <a:xfrm>
                <a:off x="2178" y="3606"/>
                <a:ext cx="23" cy="9"/>
              </a:xfrm>
              <a:custGeom>
                <a:avLst/>
                <a:gdLst>
                  <a:gd name="T0" fmla="*/ 1 w 23"/>
                  <a:gd name="T1" fmla="*/ 0 h 9"/>
                  <a:gd name="T2" fmla="*/ 3 w 23"/>
                  <a:gd name="T3" fmla="*/ 7 h 9"/>
                  <a:gd name="T4" fmla="*/ 1 w 23"/>
                  <a:gd name="T5" fmla="*/ 0 h 9"/>
                  <a:gd name="T6" fmla="*/ 0 60000 65536"/>
                  <a:gd name="T7" fmla="*/ 0 60000 65536"/>
                  <a:gd name="T8" fmla="*/ 0 60000 65536"/>
                  <a:gd name="T9" fmla="*/ 0 w 23"/>
                  <a:gd name="T10" fmla="*/ 0 h 9"/>
                  <a:gd name="T11" fmla="*/ 23 w 23"/>
                  <a:gd name="T12" fmla="*/ 9 h 9"/>
                </a:gdLst>
                <a:ahLst/>
                <a:cxnLst>
                  <a:cxn ang="T6">
                    <a:pos x="T0" y="T1"/>
                  </a:cxn>
                  <a:cxn ang="T7">
                    <a:pos x="T2" y="T3"/>
                  </a:cxn>
                  <a:cxn ang="T8">
                    <a:pos x="T4" y="T5"/>
                  </a:cxn>
                </a:cxnLst>
                <a:rect l="T9" t="T10" r="T11" b="T12"/>
                <a:pathLst>
                  <a:path w="23" h="9">
                    <a:moveTo>
                      <a:pt x="1" y="0"/>
                    </a:moveTo>
                    <a:cubicBezTo>
                      <a:pt x="23" y="2"/>
                      <a:pt x="19" y="9"/>
                      <a:pt x="3" y="7"/>
                    </a:cubicBezTo>
                    <a:cubicBezTo>
                      <a:pt x="0" y="3"/>
                      <a:pt x="1" y="5"/>
                      <a:pt x="1" y="0"/>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577" name="Freeform 2496">
                <a:extLst>
                  <a:ext uri="{FF2B5EF4-FFF2-40B4-BE49-F238E27FC236}">
                    <a16:creationId xmlns:a16="http://schemas.microsoft.com/office/drawing/2014/main" id="{786CA2BA-B8BF-CC00-F37B-6E17D182B895}"/>
                  </a:ext>
                </a:extLst>
              </p:cNvPr>
              <p:cNvSpPr>
                <a:spLocks noChangeAspect="1"/>
              </p:cNvSpPr>
              <p:nvPr/>
            </p:nvSpPr>
            <p:spPr bwMode="auto">
              <a:xfrm>
                <a:off x="2239" y="3523"/>
                <a:ext cx="64" cy="50"/>
              </a:xfrm>
              <a:custGeom>
                <a:avLst/>
                <a:gdLst>
                  <a:gd name="T0" fmla="*/ 3 w 64"/>
                  <a:gd name="T1" fmla="*/ 19 h 50"/>
                  <a:gd name="T2" fmla="*/ 18 w 64"/>
                  <a:gd name="T3" fmla="*/ 14 h 50"/>
                  <a:gd name="T4" fmla="*/ 30 w 64"/>
                  <a:gd name="T5" fmla="*/ 6 h 50"/>
                  <a:gd name="T6" fmla="*/ 44 w 64"/>
                  <a:gd name="T7" fmla="*/ 0 h 50"/>
                  <a:gd name="T8" fmla="*/ 52 w 64"/>
                  <a:gd name="T9" fmla="*/ 21 h 50"/>
                  <a:gd name="T10" fmla="*/ 64 w 64"/>
                  <a:gd name="T11" fmla="*/ 18 h 50"/>
                  <a:gd name="T12" fmla="*/ 58 w 64"/>
                  <a:gd name="T13" fmla="*/ 32 h 50"/>
                  <a:gd name="T14" fmla="*/ 56 w 64"/>
                  <a:gd name="T15" fmla="*/ 35 h 50"/>
                  <a:gd name="T16" fmla="*/ 52 w 64"/>
                  <a:gd name="T17" fmla="*/ 37 h 50"/>
                  <a:gd name="T18" fmla="*/ 40 w 64"/>
                  <a:gd name="T19" fmla="*/ 50 h 50"/>
                  <a:gd name="T20" fmla="*/ 26 w 64"/>
                  <a:gd name="T21" fmla="*/ 42 h 50"/>
                  <a:gd name="T22" fmla="*/ 19 w 64"/>
                  <a:gd name="T23" fmla="*/ 31 h 50"/>
                  <a:gd name="T24" fmla="*/ 0 w 64"/>
                  <a:gd name="T25" fmla="*/ 25 h 50"/>
                  <a:gd name="T26" fmla="*/ 15 w 64"/>
                  <a:gd name="T27" fmla="*/ 15 h 50"/>
                  <a:gd name="T28" fmla="*/ 18 w 64"/>
                  <a:gd name="T29" fmla="*/ 14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4"/>
                  <a:gd name="T46" fmla="*/ 0 h 50"/>
                  <a:gd name="T47" fmla="*/ 64 w 64"/>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4" h="50">
                    <a:moveTo>
                      <a:pt x="3" y="19"/>
                    </a:moveTo>
                    <a:cubicBezTo>
                      <a:pt x="8" y="17"/>
                      <a:pt x="13" y="16"/>
                      <a:pt x="18" y="14"/>
                    </a:cubicBezTo>
                    <a:cubicBezTo>
                      <a:pt x="23" y="12"/>
                      <a:pt x="25" y="8"/>
                      <a:pt x="30" y="6"/>
                    </a:cubicBezTo>
                    <a:cubicBezTo>
                      <a:pt x="33" y="2"/>
                      <a:pt x="44" y="0"/>
                      <a:pt x="44" y="0"/>
                    </a:cubicBezTo>
                    <a:cubicBezTo>
                      <a:pt x="55" y="3"/>
                      <a:pt x="43" y="15"/>
                      <a:pt x="52" y="21"/>
                    </a:cubicBezTo>
                    <a:cubicBezTo>
                      <a:pt x="60" y="16"/>
                      <a:pt x="56" y="17"/>
                      <a:pt x="64" y="18"/>
                    </a:cubicBezTo>
                    <a:cubicBezTo>
                      <a:pt x="63" y="24"/>
                      <a:pt x="63" y="29"/>
                      <a:pt x="58" y="32"/>
                    </a:cubicBezTo>
                    <a:cubicBezTo>
                      <a:pt x="57" y="33"/>
                      <a:pt x="57" y="34"/>
                      <a:pt x="56" y="35"/>
                    </a:cubicBezTo>
                    <a:cubicBezTo>
                      <a:pt x="55" y="36"/>
                      <a:pt x="53" y="36"/>
                      <a:pt x="52" y="37"/>
                    </a:cubicBezTo>
                    <a:cubicBezTo>
                      <a:pt x="45" y="45"/>
                      <a:pt x="52" y="44"/>
                      <a:pt x="40" y="50"/>
                    </a:cubicBezTo>
                    <a:cubicBezTo>
                      <a:pt x="35" y="46"/>
                      <a:pt x="33" y="43"/>
                      <a:pt x="26" y="42"/>
                    </a:cubicBezTo>
                    <a:cubicBezTo>
                      <a:pt x="24" y="36"/>
                      <a:pt x="24" y="34"/>
                      <a:pt x="19" y="31"/>
                    </a:cubicBezTo>
                    <a:cubicBezTo>
                      <a:pt x="3" y="32"/>
                      <a:pt x="0" y="38"/>
                      <a:pt x="0" y="25"/>
                    </a:cubicBezTo>
                    <a:cubicBezTo>
                      <a:pt x="0" y="19"/>
                      <a:pt x="10" y="17"/>
                      <a:pt x="15" y="15"/>
                    </a:cubicBezTo>
                    <a:cubicBezTo>
                      <a:pt x="16" y="15"/>
                      <a:pt x="18" y="14"/>
                      <a:pt x="18" y="14"/>
                    </a:cubicBezTo>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578" name="Freeform 2497">
                <a:extLst>
                  <a:ext uri="{FF2B5EF4-FFF2-40B4-BE49-F238E27FC236}">
                    <a16:creationId xmlns:a16="http://schemas.microsoft.com/office/drawing/2014/main" id="{E44DC3C2-B5C7-F615-3D83-C267E6FCA11D}"/>
                  </a:ext>
                </a:extLst>
              </p:cNvPr>
              <p:cNvSpPr>
                <a:spLocks noChangeAspect="1"/>
              </p:cNvSpPr>
              <p:nvPr/>
            </p:nvSpPr>
            <p:spPr bwMode="auto">
              <a:xfrm>
                <a:off x="2324" y="3522"/>
                <a:ext cx="31" cy="24"/>
              </a:xfrm>
              <a:custGeom>
                <a:avLst/>
                <a:gdLst>
                  <a:gd name="T0" fmla="*/ 1 w 31"/>
                  <a:gd name="T1" fmla="*/ 0 h 24"/>
                  <a:gd name="T2" fmla="*/ 24 w 31"/>
                  <a:gd name="T3" fmla="*/ 1 h 24"/>
                  <a:gd name="T4" fmla="*/ 29 w 31"/>
                  <a:gd name="T5" fmla="*/ 21 h 24"/>
                  <a:gd name="T6" fmla="*/ 19 w 31"/>
                  <a:gd name="T7" fmla="*/ 13 h 24"/>
                  <a:gd name="T8" fmla="*/ 6 w 31"/>
                  <a:gd name="T9" fmla="*/ 10 h 24"/>
                  <a:gd name="T10" fmla="*/ 1 w 31"/>
                  <a:gd name="T11" fmla="*/ 0 h 24"/>
                  <a:gd name="T12" fmla="*/ 0 60000 65536"/>
                  <a:gd name="T13" fmla="*/ 0 60000 65536"/>
                  <a:gd name="T14" fmla="*/ 0 60000 65536"/>
                  <a:gd name="T15" fmla="*/ 0 60000 65536"/>
                  <a:gd name="T16" fmla="*/ 0 60000 65536"/>
                  <a:gd name="T17" fmla="*/ 0 60000 65536"/>
                  <a:gd name="T18" fmla="*/ 0 w 31"/>
                  <a:gd name="T19" fmla="*/ 0 h 24"/>
                  <a:gd name="T20" fmla="*/ 31 w 31"/>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31" h="24">
                    <a:moveTo>
                      <a:pt x="1" y="0"/>
                    </a:moveTo>
                    <a:cubicBezTo>
                      <a:pt x="9" y="0"/>
                      <a:pt x="16" y="0"/>
                      <a:pt x="24" y="1"/>
                    </a:cubicBezTo>
                    <a:cubicBezTo>
                      <a:pt x="31" y="2"/>
                      <a:pt x="29" y="21"/>
                      <a:pt x="29" y="21"/>
                    </a:cubicBezTo>
                    <a:cubicBezTo>
                      <a:pt x="21" y="24"/>
                      <a:pt x="24" y="16"/>
                      <a:pt x="19" y="13"/>
                    </a:cubicBezTo>
                    <a:cubicBezTo>
                      <a:pt x="15" y="11"/>
                      <a:pt x="10" y="11"/>
                      <a:pt x="6" y="10"/>
                    </a:cubicBezTo>
                    <a:cubicBezTo>
                      <a:pt x="0" y="6"/>
                      <a:pt x="0" y="9"/>
                      <a:pt x="1" y="0"/>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579" name="Freeform 2498">
                <a:extLst>
                  <a:ext uri="{FF2B5EF4-FFF2-40B4-BE49-F238E27FC236}">
                    <a16:creationId xmlns:a16="http://schemas.microsoft.com/office/drawing/2014/main" id="{8456306F-A2DE-1129-8EC7-690199350E99}"/>
                  </a:ext>
                </a:extLst>
              </p:cNvPr>
              <p:cNvSpPr>
                <a:spLocks noChangeAspect="1"/>
              </p:cNvSpPr>
              <p:nvPr/>
            </p:nvSpPr>
            <p:spPr bwMode="auto">
              <a:xfrm>
                <a:off x="1648" y="3145"/>
                <a:ext cx="665" cy="590"/>
              </a:xfrm>
              <a:custGeom>
                <a:avLst/>
                <a:gdLst>
                  <a:gd name="T0" fmla="*/ 395 w 665"/>
                  <a:gd name="T1" fmla="*/ 96 h 590"/>
                  <a:gd name="T2" fmla="*/ 361 w 665"/>
                  <a:gd name="T3" fmla="*/ 90 h 590"/>
                  <a:gd name="T4" fmla="*/ 337 w 665"/>
                  <a:gd name="T5" fmla="*/ 86 h 590"/>
                  <a:gd name="T6" fmla="*/ 310 w 665"/>
                  <a:gd name="T7" fmla="*/ 71 h 590"/>
                  <a:gd name="T8" fmla="*/ 258 w 665"/>
                  <a:gd name="T9" fmla="*/ 61 h 590"/>
                  <a:gd name="T10" fmla="*/ 220 w 665"/>
                  <a:gd name="T11" fmla="*/ 53 h 590"/>
                  <a:gd name="T12" fmla="*/ 137 w 665"/>
                  <a:gd name="T13" fmla="*/ 26 h 590"/>
                  <a:gd name="T14" fmla="*/ 90 w 665"/>
                  <a:gd name="T15" fmla="*/ 2 h 590"/>
                  <a:gd name="T16" fmla="*/ 66 w 665"/>
                  <a:gd name="T17" fmla="*/ 18 h 590"/>
                  <a:gd name="T18" fmla="*/ 40 w 665"/>
                  <a:gd name="T19" fmla="*/ 23 h 590"/>
                  <a:gd name="T20" fmla="*/ 15 w 665"/>
                  <a:gd name="T21" fmla="*/ 20 h 590"/>
                  <a:gd name="T22" fmla="*/ 12 w 665"/>
                  <a:gd name="T23" fmla="*/ 102 h 590"/>
                  <a:gd name="T24" fmla="*/ 29 w 665"/>
                  <a:gd name="T25" fmla="*/ 115 h 590"/>
                  <a:gd name="T26" fmla="*/ 43 w 665"/>
                  <a:gd name="T27" fmla="*/ 133 h 590"/>
                  <a:gd name="T28" fmla="*/ 129 w 665"/>
                  <a:gd name="T29" fmla="*/ 147 h 590"/>
                  <a:gd name="T30" fmla="*/ 138 w 665"/>
                  <a:gd name="T31" fmla="*/ 182 h 590"/>
                  <a:gd name="T32" fmla="*/ 99 w 665"/>
                  <a:gd name="T33" fmla="*/ 212 h 590"/>
                  <a:gd name="T34" fmla="*/ 91 w 665"/>
                  <a:gd name="T35" fmla="*/ 247 h 590"/>
                  <a:gd name="T36" fmla="*/ 82 w 665"/>
                  <a:gd name="T37" fmla="*/ 275 h 590"/>
                  <a:gd name="T38" fmla="*/ 63 w 665"/>
                  <a:gd name="T39" fmla="*/ 303 h 590"/>
                  <a:gd name="T40" fmla="*/ 45 w 665"/>
                  <a:gd name="T41" fmla="*/ 309 h 590"/>
                  <a:gd name="T42" fmla="*/ 48 w 665"/>
                  <a:gd name="T43" fmla="*/ 362 h 590"/>
                  <a:gd name="T44" fmla="*/ 34 w 665"/>
                  <a:gd name="T45" fmla="*/ 392 h 590"/>
                  <a:gd name="T46" fmla="*/ 40 w 665"/>
                  <a:gd name="T47" fmla="*/ 409 h 590"/>
                  <a:gd name="T48" fmla="*/ 23 w 665"/>
                  <a:gd name="T49" fmla="*/ 428 h 590"/>
                  <a:gd name="T50" fmla="*/ 0 w 665"/>
                  <a:gd name="T51" fmla="*/ 461 h 590"/>
                  <a:gd name="T52" fmla="*/ 34 w 665"/>
                  <a:gd name="T53" fmla="*/ 492 h 590"/>
                  <a:gd name="T54" fmla="*/ 57 w 665"/>
                  <a:gd name="T55" fmla="*/ 537 h 590"/>
                  <a:gd name="T56" fmla="*/ 75 w 665"/>
                  <a:gd name="T57" fmla="*/ 590 h 590"/>
                  <a:gd name="T58" fmla="*/ 124 w 665"/>
                  <a:gd name="T59" fmla="*/ 572 h 590"/>
                  <a:gd name="T60" fmla="*/ 186 w 665"/>
                  <a:gd name="T61" fmla="*/ 554 h 590"/>
                  <a:gd name="T62" fmla="*/ 281 w 665"/>
                  <a:gd name="T63" fmla="*/ 567 h 590"/>
                  <a:gd name="T64" fmla="*/ 336 w 665"/>
                  <a:gd name="T65" fmla="*/ 537 h 590"/>
                  <a:gd name="T66" fmla="*/ 402 w 665"/>
                  <a:gd name="T67" fmla="*/ 518 h 590"/>
                  <a:gd name="T68" fmla="*/ 438 w 665"/>
                  <a:gd name="T69" fmla="*/ 455 h 590"/>
                  <a:gd name="T70" fmla="*/ 450 w 665"/>
                  <a:gd name="T71" fmla="*/ 425 h 590"/>
                  <a:gd name="T72" fmla="*/ 435 w 665"/>
                  <a:gd name="T73" fmla="*/ 405 h 590"/>
                  <a:gd name="T74" fmla="*/ 456 w 665"/>
                  <a:gd name="T75" fmla="*/ 371 h 590"/>
                  <a:gd name="T76" fmla="*/ 480 w 665"/>
                  <a:gd name="T77" fmla="*/ 341 h 590"/>
                  <a:gd name="T78" fmla="*/ 497 w 665"/>
                  <a:gd name="T79" fmla="*/ 315 h 590"/>
                  <a:gd name="T80" fmla="*/ 522 w 665"/>
                  <a:gd name="T81" fmla="*/ 297 h 590"/>
                  <a:gd name="T82" fmla="*/ 549 w 665"/>
                  <a:gd name="T83" fmla="*/ 281 h 590"/>
                  <a:gd name="T84" fmla="*/ 607 w 665"/>
                  <a:gd name="T85" fmla="*/ 267 h 590"/>
                  <a:gd name="T86" fmla="*/ 640 w 665"/>
                  <a:gd name="T87" fmla="*/ 251 h 590"/>
                  <a:gd name="T88" fmla="*/ 659 w 665"/>
                  <a:gd name="T89" fmla="*/ 191 h 590"/>
                  <a:gd name="T90" fmla="*/ 598 w 665"/>
                  <a:gd name="T91" fmla="*/ 193 h 590"/>
                  <a:gd name="T92" fmla="*/ 569 w 665"/>
                  <a:gd name="T93" fmla="*/ 170 h 590"/>
                  <a:gd name="T94" fmla="*/ 531 w 665"/>
                  <a:gd name="T95" fmla="*/ 162 h 590"/>
                  <a:gd name="T96" fmla="*/ 504 w 665"/>
                  <a:gd name="T97" fmla="*/ 159 h 590"/>
                  <a:gd name="T98" fmla="*/ 467 w 665"/>
                  <a:gd name="T99" fmla="*/ 143 h 590"/>
                  <a:gd name="T100" fmla="*/ 437 w 665"/>
                  <a:gd name="T101" fmla="*/ 131 h 590"/>
                  <a:gd name="T102" fmla="*/ 418 w 665"/>
                  <a:gd name="T103" fmla="*/ 89 h 59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65"/>
                  <a:gd name="T157" fmla="*/ 0 h 590"/>
                  <a:gd name="T158" fmla="*/ 665 w 665"/>
                  <a:gd name="T159" fmla="*/ 590 h 59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65" h="590">
                    <a:moveTo>
                      <a:pt x="418" y="89"/>
                    </a:moveTo>
                    <a:cubicBezTo>
                      <a:pt x="411" y="90"/>
                      <a:pt x="402" y="95"/>
                      <a:pt x="395" y="96"/>
                    </a:cubicBezTo>
                    <a:cubicBezTo>
                      <a:pt x="384" y="95"/>
                      <a:pt x="382" y="94"/>
                      <a:pt x="373" y="92"/>
                    </a:cubicBezTo>
                    <a:cubicBezTo>
                      <a:pt x="369" y="91"/>
                      <a:pt x="361" y="90"/>
                      <a:pt x="361" y="90"/>
                    </a:cubicBezTo>
                    <a:cubicBezTo>
                      <a:pt x="358" y="86"/>
                      <a:pt x="356" y="84"/>
                      <a:pt x="351" y="83"/>
                    </a:cubicBezTo>
                    <a:cubicBezTo>
                      <a:pt x="346" y="84"/>
                      <a:pt x="337" y="86"/>
                      <a:pt x="337" y="86"/>
                    </a:cubicBezTo>
                    <a:cubicBezTo>
                      <a:pt x="332" y="84"/>
                      <a:pt x="332" y="78"/>
                      <a:pt x="327" y="75"/>
                    </a:cubicBezTo>
                    <a:cubicBezTo>
                      <a:pt x="323" y="73"/>
                      <a:pt x="315" y="72"/>
                      <a:pt x="310" y="71"/>
                    </a:cubicBezTo>
                    <a:cubicBezTo>
                      <a:pt x="302" y="70"/>
                      <a:pt x="285" y="68"/>
                      <a:pt x="285" y="68"/>
                    </a:cubicBezTo>
                    <a:cubicBezTo>
                      <a:pt x="274" y="64"/>
                      <a:pt x="271" y="62"/>
                      <a:pt x="258" y="61"/>
                    </a:cubicBezTo>
                    <a:cubicBezTo>
                      <a:pt x="249" y="58"/>
                      <a:pt x="240" y="57"/>
                      <a:pt x="231" y="56"/>
                    </a:cubicBezTo>
                    <a:cubicBezTo>
                      <a:pt x="227" y="55"/>
                      <a:pt x="224" y="54"/>
                      <a:pt x="220" y="53"/>
                    </a:cubicBezTo>
                    <a:cubicBezTo>
                      <a:pt x="210" y="43"/>
                      <a:pt x="202" y="37"/>
                      <a:pt x="187" y="35"/>
                    </a:cubicBezTo>
                    <a:cubicBezTo>
                      <a:pt x="168" y="29"/>
                      <a:pt x="160" y="27"/>
                      <a:pt x="137" y="26"/>
                    </a:cubicBezTo>
                    <a:cubicBezTo>
                      <a:pt x="128" y="24"/>
                      <a:pt x="125" y="15"/>
                      <a:pt x="115" y="13"/>
                    </a:cubicBezTo>
                    <a:cubicBezTo>
                      <a:pt x="103" y="5"/>
                      <a:pt x="107" y="3"/>
                      <a:pt x="90" y="2"/>
                    </a:cubicBezTo>
                    <a:cubicBezTo>
                      <a:pt x="84" y="0"/>
                      <a:pt x="84" y="4"/>
                      <a:pt x="79" y="7"/>
                    </a:cubicBezTo>
                    <a:cubicBezTo>
                      <a:pt x="77" y="12"/>
                      <a:pt x="71" y="17"/>
                      <a:pt x="66" y="18"/>
                    </a:cubicBezTo>
                    <a:cubicBezTo>
                      <a:pt x="62" y="21"/>
                      <a:pt x="59" y="24"/>
                      <a:pt x="54" y="26"/>
                    </a:cubicBezTo>
                    <a:cubicBezTo>
                      <a:pt x="49" y="25"/>
                      <a:pt x="45" y="25"/>
                      <a:pt x="40" y="23"/>
                    </a:cubicBezTo>
                    <a:cubicBezTo>
                      <a:pt x="38" y="18"/>
                      <a:pt x="33" y="18"/>
                      <a:pt x="28" y="17"/>
                    </a:cubicBezTo>
                    <a:cubicBezTo>
                      <a:pt x="24" y="18"/>
                      <a:pt x="15" y="20"/>
                      <a:pt x="15" y="20"/>
                    </a:cubicBezTo>
                    <a:cubicBezTo>
                      <a:pt x="6" y="33"/>
                      <a:pt x="14" y="53"/>
                      <a:pt x="16" y="68"/>
                    </a:cubicBezTo>
                    <a:cubicBezTo>
                      <a:pt x="15" y="91"/>
                      <a:pt x="15" y="87"/>
                      <a:pt x="12" y="102"/>
                    </a:cubicBezTo>
                    <a:cubicBezTo>
                      <a:pt x="12" y="109"/>
                      <a:pt x="7" y="121"/>
                      <a:pt x="16" y="119"/>
                    </a:cubicBezTo>
                    <a:cubicBezTo>
                      <a:pt x="23" y="120"/>
                      <a:pt x="24" y="116"/>
                      <a:pt x="29" y="115"/>
                    </a:cubicBezTo>
                    <a:cubicBezTo>
                      <a:pt x="42" y="116"/>
                      <a:pt x="45" y="111"/>
                      <a:pt x="49" y="122"/>
                    </a:cubicBezTo>
                    <a:cubicBezTo>
                      <a:pt x="48" y="127"/>
                      <a:pt x="47" y="130"/>
                      <a:pt x="43" y="133"/>
                    </a:cubicBezTo>
                    <a:cubicBezTo>
                      <a:pt x="55" y="141"/>
                      <a:pt x="67" y="139"/>
                      <a:pt x="81" y="141"/>
                    </a:cubicBezTo>
                    <a:cubicBezTo>
                      <a:pt x="97" y="140"/>
                      <a:pt x="117" y="135"/>
                      <a:pt x="129" y="147"/>
                    </a:cubicBezTo>
                    <a:cubicBezTo>
                      <a:pt x="133" y="158"/>
                      <a:pt x="130" y="164"/>
                      <a:pt x="141" y="170"/>
                    </a:cubicBezTo>
                    <a:cubicBezTo>
                      <a:pt x="142" y="175"/>
                      <a:pt x="142" y="178"/>
                      <a:pt x="138" y="182"/>
                    </a:cubicBezTo>
                    <a:cubicBezTo>
                      <a:pt x="133" y="196"/>
                      <a:pt x="121" y="196"/>
                      <a:pt x="109" y="199"/>
                    </a:cubicBezTo>
                    <a:cubicBezTo>
                      <a:pt x="105" y="204"/>
                      <a:pt x="102" y="207"/>
                      <a:pt x="99" y="212"/>
                    </a:cubicBezTo>
                    <a:cubicBezTo>
                      <a:pt x="98" y="217"/>
                      <a:pt x="95" y="227"/>
                      <a:pt x="95" y="227"/>
                    </a:cubicBezTo>
                    <a:cubicBezTo>
                      <a:pt x="94" y="237"/>
                      <a:pt x="95" y="239"/>
                      <a:pt x="91" y="247"/>
                    </a:cubicBezTo>
                    <a:cubicBezTo>
                      <a:pt x="90" y="255"/>
                      <a:pt x="91" y="263"/>
                      <a:pt x="82" y="266"/>
                    </a:cubicBezTo>
                    <a:cubicBezTo>
                      <a:pt x="78" y="270"/>
                      <a:pt x="80" y="270"/>
                      <a:pt x="82" y="275"/>
                    </a:cubicBezTo>
                    <a:cubicBezTo>
                      <a:pt x="81" y="282"/>
                      <a:pt x="78" y="291"/>
                      <a:pt x="73" y="296"/>
                    </a:cubicBezTo>
                    <a:cubicBezTo>
                      <a:pt x="72" y="300"/>
                      <a:pt x="63" y="303"/>
                      <a:pt x="63" y="303"/>
                    </a:cubicBezTo>
                    <a:cubicBezTo>
                      <a:pt x="59" y="302"/>
                      <a:pt x="55" y="301"/>
                      <a:pt x="51" y="300"/>
                    </a:cubicBezTo>
                    <a:cubicBezTo>
                      <a:pt x="40" y="301"/>
                      <a:pt x="41" y="301"/>
                      <a:pt x="45" y="309"/>
                    </a:cubicBezTo>
                    <a:cubicBezTo>
                      <a:pt x="45" y="316"/>
                      <a:pt x="54" y="336"/>
                      <a:pt x="54" y="345"/>
                    </a:cubicBezTo>
                    <a:cubicBezTo>
                      <a:pt x="65" y="351"/>
                      <a:pt x="54" y="358"/>
                      <a:pt x="48" y="362"/>
                    </a:cubicBezTo>
                    <a:cubicBezTo>
                      <a:pt x="44" y="369"/>
                      <a:pt x="40" y="375"/>
                      <a:pt x="37" y="383"/>
                    </a:cubicBezTo>
                    <a:cubicBezTo>
                      <a:pt x="36" y="386"/>
                      <a:pt x="35" y="389"/>
                      <a:pt x="34" y="392"/>
                    </a:cubicBezTo>
                    <a:cubicBezTo>
                      <a:pt x="34" y="393"/>
                      <a:pt x="33" y="395"/>
                      <a:pt x="33" y="395"/>
                    </a:cubicBezTo>
                    <a:cubicBezTo>
                      <a:pt x="35" y="401"/>
                      <a:pt x="35" y="405"/>
                      <a:pt x="40" y="409"/>
                    </a:cubicBezTo>
                    <a:cubicBezTo>
                      <a:pt x="43" y="415"/>
                      <a:pt x="48" y="416"/>
                      <a:pt x="39" y="422"/>
                    </a:cubicBezTo>
                    <a:cubicBezTo>
                      <a:pt x="35" y="427"/>
                      <a:pt x="29" y="427"/>
                      <a:pt x="23" y="428"/>
                    </a:cubicBezTo>
                    <a:cubicBezTo>
                      <a:pt x="21" y="435"/>
                      <a:pt x="24" y="427"/>
                      <a:pt x="13" y="434"/>
                    </a:cubicBezTo>
                    <a:cubicBezTo>
                      <a:pt x="12" y="435"/>
                      <a:pt x="1" y="458"/>
                      <a:pt x="0" y="461"/>
                    </a:cubicBezTo>
                    <a:cubicBezTo>
                      <a:pt x="1" y="470"/>
                      <a:pt x="2" y="466"/>
                      <a:pt x="4" y="483"/>
                    </a:cubicBezTo>
                    <a:cubicBezTo>
                      <a:pt x="21" y="477"/>
                      <a:pt x="25" y="483"/>
                      <a:pt x="34" y="492"/>
                    </a:cubicBezTo>
                    <a:cubicBezTo>
                      <a:pt x="37" y="500"/>
                      <a:pt x="39" y="510"/>
                      <a:pt x="46" y="515"/>
                    </a:cubicBezTo>
                    <a:cubicBezTo>
                      <a:pt x="51" y="522"/>
                      <a:pt x="52" y="530"/>
                      <a:pt x="57" y="537"/>
                    </a:cubicBezTo>
                    <a:cubicBezTo>
                      <a:pt x="59" y="550"/>
                      <a:pt x="58" y="545"/>
                      <a:pt x="60" y="552"/>
                    </a:cubicBezTo>
                    <a:cubicBezTo>
                      <a:pt x="62" y="565"/>
                      <a:pt x="68" y="579"/>
                      <a:pt x="75" y="590"/>
                    </a:cubicBezTo>
                    <a:cubicBezTo>
                      <a:pt x="87" y="587"/>
                      <a:pt x="97" y="579"/>
                      <a:pt x="111" y="577"/>
                    </a:cubicBezTo>
                    <a:cubicBezTo>
                      <a:pt x="116" y="575"/>
                      <a:pt x="120" y="573"/>
                      <a:pt x="124" y="572"/>
                    </a:cubicBezTo>
                    <a:cubicBezTo>
                      <a:pt x="133" y="563"/>
                      <a:pt x="142" y="565"/>
                      <a:pt x="155" y="564"/>
                    </a:cubicBezTo>
                    <a:cubicBezTo>
                      <a:pt x="166" y="561"/>
                      <a:pt x="175" y="555"/>
                      <a:pt x="186" y="554"/>
                    </a:cubicBezTo>
                    <a:cubicBezTo>
                      <a:pt x="198" y="555"/>
                      <a:pt x="204" y="560"/>
                      <a:pt x="216" y="561"/>
                    </a:cubicBezTo>
                    <a:cubicBezTo>
                      <a:pt x="236" y="569"/>
                      <a:pt x="260" y="566"/>
                      <a:pt x="281" y="567"/>
                    </a:cubicBezTo>
                    <a:cubicBezTo>
                      <a:pt x="302" y="566"/>
                      <a:pt x="289" y="572"/>
                      <a:pt x="309" y="569"/>
                    </a:cubicBezTo>
                    <a:cubicBezTo>
                      <a:pt x="312" y="567"/>
                      <a:pt x="336" y="537"/>
                      <a:pt x="336" y="537"/>
                    </a:cubicBezTo>
                    <a:cubicBezTo>
                      <a:pt x="340" y="526"/>
                      <a:pt x="358" y="529"/>
                      <a:pt x="370" y="527"/>
                    </a:cubicBezTo>
                    <a:cubicBezTo>
                      <a:pt x="394" y="528"/>
                      <a:pt x="396" y="531"/>
                      <a:pt x="402" y="518"/>
                    </a:cubicBezTo>
                    <a:cubicBezTo>
                      <a:pt x="400" y="507"/>
                      <a:pt x="404" y="486"/>
                      <a:pt x="414" y="483"/>
                    </a:cubicBezTo>
                    <a:cubicBezTo>
                      <a:pt x="421" y="474"/>
                      <a:pt x="431" y="462"/>
                      <a:pt x="438" y="455"/>
                    </a:cubicBezTo>
                    <a:cubicBezTo>
                      <a:pt x="440" y="449"/>
                      <a:pt x="455" y="453"/>
                      <a:pt x="459" y="447"/>
                    </a:cubicBezTo>
                    <a:cubicBezTo>
                      <a:pt x="458" y="439"/>
                      <a:pt x="459" y="428"/>
                      <a:pt x="450" y="425"/>
                    </a:cubicBezTo>
                    <a:cubicBezTo>
                      <a:pt x="448" y="421"/>
                      <a:pt x="443" y="418"/>
                      <a:pt x="439" y="415"/>
                    </a:cubicBezTo>
                    <a:cubicBezTo>
                      <a:pt x="437" y="412"/>
                      <a:pt x="435" y="405"/>
                      <a:pt x="435" y="405"/>
                    </a:cubicBezTo>
                    <a:cubicBezTo>
                      <a:pt x="438" y="394"/>
                      <a:pt x="439" y="390"/>
                      <a:pt x="445" y="381"/>
                    </a:cubicBezTo>
                    <a:cubicBezTo>
                      <a:pt x="448" y="377"/>
                      <a:pt x="456" y="371"/>
                      <a:pt x="456" y="371"/>
                    </a:cubicBezTo>
                    <a:cubicBezTo>
                      <a:pt x="458" y="365"/>
                      <a:pt x="466" y="355"/>
                      <a:pt x="471" y="350"/>
                    </a:cubicBezTo>
                    <a:cubicBezTo>
                      <a:pt x="474" y="347"/>
                      <a:pt x="480" y="341"/>
                      <a:pt x="480" y="341"/>
                    </a:cubicBezTo>
                    <a:cubicBezTo>
                      <a:pt x="481" y="337"/>
                      <a:pt x="486" y="333"/>
                      <a:pt x="489" y="330"/>
                    </a:cubicBezTo>
                    <a:cubicBezTo>
                      <a:pt x="491" y="325"/>
                      <a:pt x="492" y="317"/>
                      <a:pt x="497" y="315"/>
                    </a:cubicBezTo>
                    <a:cubicBezTo>
                      <a:pt x="499" y="310"/>
                      <a:pt x="505" y="306"/>
                      <a:pt x="509" y="303"/>
                    </a:cubicBezTo>
                    <a:cubicBezTo>
                      <a:pt x="511" y="300"/>
                      <a:pt x="519" y="300"/>
                      <a:pt x="522" y="297"/>
                    </a:cubicBezTo>
                    <a:cubicBezTo>
                      <a:pt x="524" y="295"/>
                      <a:pt x="528" y="293"/>
                      <a:pt x="528" y="293"/>
                    </a:cubicBezTo>
                    <a:cubicBezTo>
                      <a:pt x="530" y="286"/>
                      <a:pt x="542" y="282"/>
                      <a:pt x="549" y="281"/>
                    </a:cubicBezTo>
                    <a:cubicBezTo>
                      <a:pt x="560" y="276"/>
                      <a:pt x="574" y="277"/>
                      <a:pt x="586" y="275"/>
                    </a:cubicBezTo>
                    <a:cubicBezTo>
                      <a:pt x="592" y="271"/>
                      <a:pt x="600" y="270"/>
                      <a:pt x="607" y="267"/>
                    </a:cubicBezTo>
                    <a:cubicBezTo>
                      <a:pt x="610" y="266"/>
                      <a:pt x="616" y="264"/>
                      <a:pt x="616" y="264"/>
                    </a:cubicBezTo>
                    <a:cubicBezTo>
                      <a:pt x="621" y="259"/>
                      <a:pt x="633" y="254"/>
                      <a:pt x="640" y="251"/>
                    </a:cubicBezTo>
                    <a:cubicBezTo>
                      <a:pt x="643" y="247"/>
                      <a:pt x="650" y="243"/>
                      <a:pt x="654" y="240"/>
                    </a:cubicBezTo>
                    <a:cubicBezTo>
                      <a:pt x="665" y="218"/>
                      <a:pt x="665" y="199"/>
                      <a:pt x="659" y="191"/>
                    </a:cubicBezTo>
                    <a:lnTo>
                      <a:pt x="616" y="194"/>
                    </a:lnTo>
                    <a:lnTo>
                      <a:pt x="598" y="193"/>
                    </a:lnTo>
                    <a:lnTo>
                      <a:pt x="593" y="179"/>
                    </a:lnTo>
                    <a:lnTo>
                      <a:pt x="569" y="170"/>
                    </a:lnTo>
                    <a:lnTo>
                      <a:pt x="539" y="153"/>
                    </a:lnTo>
                    <a:lnTo>
                      <a:pt x="531" y="162"/>
                    </a:lnTo>
                    <a:lnTo>
                      <a:pt x="519" y="164"/>
                    </a:lnTo>
                    <a:lnTo>
                      <a:pt x="504" y="159"/>
                    </a:lnTo>
                    <a:lnTo>
                      <a:pt x="486" y="156"/>
                    </a:lnTo>
                    <a:lnTo>
                      <a:pt x="467" y="143"/>
                    </a:lnTo>
                    <a:lnTo>
                      <a:pt x="455" y="131"/>
                    </a:lnTo>
                    <a:lnTo>
                      <a:pt x="437" y="131"/>
                    </a:lnTo>
                    <a:lnTo>
                      <a:pt x="419" y="110"/>
                    </a:lnTo>
                    <a:lnTo>
                      <a:pt x="418" y="89"/>
                    </a:ln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grpSp>
          <p:nvGrpSpPr>
            <p:cNvPr id="49" name="Group 2499">
              <a:extLst>
                <a:ext uri="{FF2B5EF4-FFF2-40B4-BE49-F238E27FC236}">
                  <a16:creationId xmlns:a16="http://schemas.microsoft.com/office/drawing/2014/main" id="{5C2D4B1A-84FD-E226-4B67-AF85186D8DD0}"/>
                </a:ext>
              </a:extLst>
            </p:cNvPr>
            <p:cNvGrpSpPr>
              <a:grpSpLocks/>
            </p:cNvGrpSpPr>
            <p:nvPr>
              <p:custDataLst>
                <p:tags r:id="rId11"/>
              </p:custDataLst>
            </p:nvPr>
          </p:nvGrpSpPr>
          <p:grpSpPr bwMode="auto">
            <a:xfrm>
              <a:off x="3292035" y="3575745"/>
              <a:ext cx="406509" cy="542660"/>
              <a:chOff x="2491" y="2445"/>
              <a:chExt cx="418" cy="558"/>
            </a:xfrm>
          </p:grpSpPr>
          <p:grpSp>
            <p:nvGrpSpPr>
              <p:cNvPr id="183" name="Group 2500">
                <a:extLst>
                  <a:ext uri="{FF2B5EF4-FFF2-40B4-BE49-F238E27FC236}">
                    <a16:creationId xmlns:a16="http://schemas.microsoft.com/office/drawing/2014/main" id="{F70536BF-FA11-08A0-FEC4-7AD2AC7121E8}"/>
                  </a:ext>
                </a:extLst>
              </p:cNvPr>
              <p:cNvGrpSpPr>
                <a:grpSpLocks noChangeAspect="1"/>
              </p:cNvGrpSpPr>
              <p:nvPr/>
            </p:nvGrpSpPr>
            <p:grpSpPr bwMode="auto">
              <a:xfrm>
                <a:off x="2491" y="2445"/>
                <a:ext cx="418" cy="558"/>
                <a:chOff x="2492" y="2445"/>
                <a:chExt cx="418" cy="558"/>
              </a:xfrm>
            </p:grpSpPr>
            <p:sp>
              <p:nvSpPr>
                <p:cNvPr id="187" name="Freeform 2501">
                  <a:extLst>
                    <a:ext uri="{FF2B5EF4-FFF2-40B4-BE49-F238E27FC236}">
                      <a16:creationId xmlns:a16="http://schemas.microsoft.com/office/drawing/2014/main" id="{6FA06136-F2F7-675E-52DF-5B6C44297956}"/>
                    </a:ext>
                  </a:extLst>
                </p:cNvPr>
                <p:cNvSpPr>
                  <a:spLocks noChangeAspect="1"/>
                </p:cNvSpPr>
                <p:nvPr/>
              </p:nvSpPr>
              <p:spPr bwMode="auto">
                <a:xfrm>
                  <a:off x="2606" y="2445"/>
                  <a:ext cx="12" cy="31"/>
                </a:xfrm>
                <a:custGeom>
                  <a:avLst/>
                  <a:gdLst>
                    <a:gd name="T0" fmla="*/ 6 w 12"/>
                    <a:gd name="T1" fmla="*/ 0 h 31"/>
                    <a:gd name="T2" fmla="*/ 0 w 12"/>
                    <a:gd name="T3" fmla="*/ 12 h 31"/>
                    <a:gd name="T4" fmla="*/ 3 w 12"/>
                    <a:gd name="T5" fmla="*/ 31 h 31"/>
                    <a:gd name="T6" fmla="*/ 6 w 12"/>
                    <a:gd name="T7" fmla="*/ 0 h 31"/>
                    <a:gd name="T8" fmla="*/ 0 60000 65536"/>
                    <a:gd name="T9" fmla="*/ 0 60000 65536"/>
                    <a:gd name="T10" fmla="*/ 0 60000 65536"/>
                    <a:gd name="T11" fmla="*/ 0 60000 65536"/>
                    <a:gd name="T12" fmla="*/ 0 w 12"/>
                    <a:gd name="T13" fmla="*/ 0 h 31"/>
                    <a:gd name="T14" fmla="*/ 12 w 12"/>
                    <a:gd name="T15" fmla="*/ 31 h 31"/>
                  </a:gdLst>
                  <a:ahLst/>
                  <a:cxnLst>
                    <a:cxn ang="T8">
                      <a:pos x="T0" y="T1"/>
                    </a:cxn>
                    <a:cxn ang="T9">
                      <a:pos x="T2" y="T3"/>
                    </a:cxn>
                    <a:cxn ang="T10">
                      <a:pos x="T4" y="T5"/>
                    </a:cxn>
                    <a:cxn ang="T11">
                      <a:pos x="T6" y="T7"/>
                    </a:cxn>
                  </a:cxnLst>
                  <a:rect l="T12" t="T13" r="T14" b="T15"/>
                  <a:pathLst>
                    <a:path w="12" h="31">
                      <a:moveTo>
                        <a:pt x="6" y="0"/>
                      </a:moveTo>
                      <a:cubicBezTo>
                        <a:pt x="5" y="4"/>
                        <a:pt x="0" y="12"/>
                        <a:pt x="0" y="12"/>
                      </a:cubicBezTo>
                      <a:cubicBezTo>
                        <a:pt x="1" y="18"/>
                        <a:pt x="2" y="25"/>
                        <a:pt x="3" y="31"/>
                      </a:cubicBezTo>
                      <a:cubicBezTo>
                        <a:pt x="12" y="22"/>
                        <a:pt x="8" y="11"/>
                        <a:pt x="6" y="0"/>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89" name="Freeform 2502">
                  <a:extLst>
                    <a:ext uri="{FF2B5EF4-FFF2-40B4-BE49-F238E27FC236}">
                      <a16:creationId xmlns:a16="http://schemas.microsoft.com/office/drawing/2014/main" id="{A98E1ECC-5395-44B2-3196-B811B3CB6E43}"/>
                    </a:ext>
                  </a:extLst>
                </p:cNvPr>
                <p:cNvSpPr>
                  <a:spLocks noChangeAspect="1"/>
                </p:cNvSpPr>
                <p:nvPr/>
              </p:nvSpPr>
              <p:spPr bwMode="auto">
                <a:xfrm>
                  <a:off x="2492" y="2450"/>
                  <a:ext cx="418" cy="553"/>
                </a:xfrm>
                <a:custGeom>
                  <a:avLst/>
                  <a:gdLst>
                    <a:gd name="T0" fmla="*/ 351 w 418"/>
                    <a:gd name="T1" fmla="*/ 427 h 553"/>
                    <a:gd name="T2" fmla="*/ 335 w 418"/>
                    <a:gd name="T3" fmla="*/ 412 h 553"/>
                    <a:gd name="T4" fmla="*/ 320 w 418"/>
                    <a:gd name="T5" fmla="*/ 398 h 553"/>
                    <a:gd name="T6" fmla="*/ 303 w 418"/>
                    <a:gd name="T7" fmla="*/ 379 h 553"/>
                    <a:gd name="T8" fmla="*/ 287 w 418"/>
                    <a:gd name="T9" fmla="*/ 344 h 553"/>
                    <a:gd name="T10" fmla="*/ 313 w 418"/>
                    <a:gd name="T11" fmla="*/ 328 h 553"/>
                    <a:gd name="T12" fmla="*/ 354 w 418"/>
                    <a:gd name="T13" fmla="*/ 306 h 553"/>
                    <a:gd name="T14" fmla="*/ 371 w 418"/>
                    <a:gd name="T15" fmla="*/ 298 h 553"/>
                    <a:gd name="T16" fmla="*/ 398 w 418"/>
                    <a:gd name="T17" fmla="*/ 287 h 553"/>
                    <a:gd name="T18" fmla="*/ 411 w 418"/>
                    <a:gd name="T19" fmla="*/ 263 h 553"/>
                    <a:gd name="T20" fmla="*/ 411 w 418"/>
                    <a:gd name="T21" fmla="*/ 242 h 553"/>
                    <a:gd name="T22" fmla="*/ 393 w 418"/>
                    <a:gd name="T23" fmla="*/ 214 h 553"/>
                    <a:gd name="T24" fmla="*/ 392 w 418"/>
                    <a:gd name="T25" fmla="*/ 172 h 553"/>
                    <a:gd name="T26" fmla="*/ 381 w 418"/>
                    <a:gd name="T27" fmla="*/ 154 h 553"/>
                    <a:gd name="T28" fmla="*/ 371 w 418"/>
                    <a:gd name="T29" fmla="*/ 137 h 553"/>
                    <a:gd name="T30" fmla="*/ 371 w 418"/>
                    <a:gd name="T31" fmla="*/ 86 h 553"/>
                    <a:gd name="T32" fmla="*/ 345 w 418"/>
                    <a:gd name="T33" fmla="*/ 59 h 553"/>
                    <a:gd name="T34" fmla="*/ 326 w 418"/>
                    <a:gd name="T35" fmla="*/ 44 h 553"/>
                    <a:gd name="T36" fmla="*/ 303 w 418"/>
                    <a:gd name="T37" fmla="*/ 38 h 553"/>
                    <a:gd name="T38" fmla="*/ 254 w 418"/>
                    <a:gd name="T39" fmla="*/ 61 h 553"/>
                    <a:gd name="T40" fmla="*/ 233 w 418"/>
                    <a:gd name="T41" fmla="*/ 44 h 553"/>
                    <a:gd name="T42" fmla="*/ 195 w 418"/>
                    <a:gd name="T43" fmla="*/ 37 h 553"/>
                    <a:gd name="T44" fmla="*/ 162 w 418"/>
                    <a:gd name="T45" fmla="*/ 6 h 553"/>
                    <a:gd name="T46" fmla="*/ 129 w 418"/>
                    <a:gd name="T47" fmla="*/ 1 h 553"/>
                    <a:gd name="T48" fmla="*/ 138 w 418"/>
                    <a:gd name="T49" fmla="*/ 18 h 553"/>
                    <a:gd name="T50" fmla="*/ 141 w 418"/>
                    <a:gd name="T51" fmla="*/ 46 h 553"/>
                    <a:gd name="T52" fmla="*/ 131 w 418"/>
                    <a:gd name="T53" fmla="*/ 79 h 553"/>
                    <a:gd name="T54" fmla="*/ 117 w 418"/>
                    <a:gd name="T55" fmla="*/ 103 h 553"/>
                    <a:gd name="T56" fmla="*/ 92 w 418"/>
                    <a:gd name="T57" fmla="*/ 86 h 553"/>
                    <a:gd name="T58" fmla="*/ 63 w 418"/>
                    <a:gd name="T59" fmla="*/ 113 h 553"/>
                    <a:gd name="T60" fmla="*/ 63 w 418"/>
                    <a:gd name="T61" fmla="*/ 145 h 553"/>
                    <a:gd name="T62" fmla="*/ 51 w 418"/>
                    <a:gd name="T63" fmla="*/ 167 h 553"/>
                    <a:gd name="T64" fmla="*/ 39 w 418"/>
                    <a:gd name="T65" fmla="*/ 164 h 553"/>
                    <a:gd name="T66" fmla="*/ 57 w 418"/>
                    <a:gd name="T67" fmla="*/ 185 h 553"/>
                    <a:gd name="T68" fmla="*/ 44 w 418"/>
                    <a:gd name="T69" fmla="*/ 200 h 553"/>
                    <a:gd name="T70" fmla="*/ 9 w 418"/>
                    <a:gd name="T71" fmla="*/ 220 h 553"/>
                    <a:gd name="T72" fmla="*/ 13 w 418"/>
                    <a:gd name="T73" fmla="*/ 242 h 553"/>
                    <a:gd name="T74" fmla="*/ 0 w 418"/>
                    <a:gd name="T75" fmla="*/ 280 h 553"/>
                    <a:gd name="T76" fmla="*/ 3 w 418"/>
                    <a:gd name="T77" fmla="*/ 295 h 553"/>
                    <a:gd name="T78" fmla="*/ 18 w 418"/>
                    <a:gd name="T79" fmla="*/ 328 h 553"/>
                    <a:gd name="T80" fmla="*/ 7 w 418"/>
                    <a:gd name="T81" fmla="*/ 350 h 553"/>
                    <a:gd name="T82" fmla="*/ 18 w 418"/>
                    <a:gd name="T83" fmla="*/ 392 h 553"/>
                    <a:gd name="T84" fmla="*/ 65 w 418"/>
                    <a:gd name="T85" fmla="*/ 415 h 553"/>
                    <a:gd name="T86" fmla="*/ 102 w 418"/>
                    <a:gd name="T87" fmla="*/ 434 h 553"/>
                    <a:gd name="T88" fmla="*/ 81 w 418"/>
                    <a:gd name="T89" fmla="*/ 455 h 553"/>
                    <a:gd name="T90" fmla="*/ 66 w 418"/>
                    <a:gd name="T91" fmla="*/ 509 h 553"/>
                    <a:gd name="T92" fmla="*/ 111 w 418"/>
                    <a:gd name="T93" fmla="*/ 532 h 553"/>
                    <a:gd name="T94" fmla="*/ 111 w 418"/>
                    <a:gd name="T95" fmla="*/ 514 h 553"/>
                    <a:gd name="T96" fmla="*/ 134 w 418"/>
                    <a:gd name="T97" fmla="*/ 528 h 553"/>
                    <a:gd name="T98" fmla="*/ 157 w 418"/>
                    <a:gd name="T99" fmla="*/ 526 h 553"/>
                    <a:gd name="T100" fmla="*/ 188 w 418"/>
                    <a:gd name="T101" fmla="*/ 541 h 553"/>
                    <a:gd name="T102" fmla="*/ 204 w 418"/>
                    <a:gd name="T103" fmla="*/ 553 h 553"/>
                    <a:gd name="T104" fmla="*/ 231 w 418"/>
                    <a:gd name="T105" fmla="*/ 542 h 553"/>
                    <a:gd name="T106" fmla="*/ 258 w 418"/>
                    <a:gd name="T107" fmla="*/ 540 h 553"/>
                    <a:gd name="T108" fmla="*/ 299 w 418"/>
                    <a:gd name="T109" fmla="*/ 523 h 553"/>
                    <a:gd name="T110" fmla="*/ 324 w 418"/>
                    <a:gd name="T111" fmla="*/ 527 h 553"/>
                    <a:gd name="T112" fmla="*/ 333 w 418"/>
                    <a:gd name="T113" fmla="*/ 522 h 553"/>
                    <a:gd name="T114" fmla="*/ 320 w 418"/>
                    <a:gd name="T115" fmla="*/ 490 h 553"/>
                    <a:gd name="T116" fmla="*/ 348 w 418"/>
                    <a:gd name="T117" fmla="*/ 473 h 553"/>
                    <a:gd name="T118" fmla="*/ 369 w 418"/>
                    <a:gd name="T119" fmla="*/ 444 h 55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18"/>
                    <a:gd name="T181" fmla="*/ 0 h 553"/>
                    <a:gd name="T182" fmla="*/ 418 w 418"/>
                    <a:gd name="T183" fmla="*/ 553 h 55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18" h="553">
                      <a:moveTo>
                        <a:pt x="369" y="444"/>
                      </a:moveTo>
                      <a:cubicBezTo>
                        <a:pt x="366" y="430"/>
                        <a:pt x="362" y="428"/>
                        <a:pt x="351" y="427"/>
                      </a:cubicBezTo>
                      <a:cubicBezTo>
                        <a:pt x="349" y="423"/>
                        <a:pt x="345" y="421"/>
                        <a:pt x="342" y="418"/>
                      </a:cubicBezTo>
                      <a:cubicBezTo>
                        <a:pt x="340" y="413"/>
                        <a:pt x="339" y="414"/>
                        <a:pt x="335" y="412"/>
                      </a:cubicBezTo>
                      <a:cubicBezTo>
                        <a:pt x="332" y="410"/>
                        <a:pt x="326" y="406"/>
                        <a:pt x="326" y="406"/>
                      </a:cubicBezTo>
                      <a:cubicBezTo>
                        <a:pt x="325" y="403"/>
                        <a:pt x="322" y="400"/>
                        <a:pt x="320" y="398"/>
                      </a:cubicBezTo>
                      <a:cubicBezTo>
                        <a:pt x="318" y="396"/>
                        <a:pt x="314" y="394"/>
                        <a:pt x="314" y="394"/>
                      </a:cubicBezTo>
                      <a:cubicBezTo>
                        <a:pt x="312" y="389"/>
                        <a:pt x="306" y="385"/>
                        <a:pt x="303" y="379"/>
                      </a:cubicBezTo>
                      <a:cubicBezTo>
                        <a:pt x="301" y="369"/>
                        <a:pt x="305" y="357"/>
                        <a:pt x="294" y="353"/>
                      </a:cubicBezTo>
                      <a:cubicBezTo>
                        <a:pt x="287" y="346"/>
                        <a:pt x="289" y="350"/>
                        <a:pt x="287" y="344"/>
                      </a:cubicBezTo>
                      <a:cubicBezTo>
                        <a:pt x="288" y="335"/>
                        <a:pt x="295" y="335"/>
                        <a:pt x="303" y="330"/>
                      </a:cubicBezTo>
                      <a:cubicBezTo>
                        <a:pt x="306" y="328"/>
                        <a:pt x="313" y="328"/>
                        <a:pt x="313" y="328"/>
                      </a:cubicBezTo>
                      <a:cubicBezTo>
                        <a:pt x="314" y="326"/>
                        <a:pt x="339" y="311"/>
                        <a:pt x="343" y="310"/>
                      </a:cubicBezTo>
                      <a:cubicBezTo>
                        <a:pt x="344" y="310"/>
                        <a:pt x="353" y="306"/>
                        <a:pt x="354" y="306"/>
                      </a:cubicBezTo>
                      <a:cubicBezTo>
                        <a:pt x="356" y="305"/>
                        <a:pt x="360" y="304"/>
                        <a:pt x="360" y="304"/>
                      </a:cubicBezTo>
                      <a:cubicBezTo>
                        <a:pt x="361" y="300"/>
                        <a:pt x="371" y="298"/>
                        <a:pt x="371" y="298"/>
                      </a:cubicBezTo>
                      <a:cubicBezTo>
                        <a:pt x="375" y="294"/>
                        <a:pt x="381" y="284"/>
                        <a:pt x="384" y="283"/>
                      </a:cubicBezTo>
                      <a:cubicBezTo>
                        <a:pt x="390" y="284"/>
                        <a:pt x="393" y="285"/>
                        <a:pt x="398" y="287"/>
                      </a:cubicBezTo>
                      <a:cubicBezTo>
                        <a:pt x="407" y="286"/>
                        <a:pt x="409" y="286"/>
                        <a:pt x="416" y="282"/>
                      </a:cubicBezTo>
                      <a:cubicBezTo>
                        <a:pt x="418" y="275"/>
                        <a:pt x="417" y="267"/>
                        <a:pt x="411" y="263"/>
                      </a:cubicBezTo>
                      <a:cubicBezTo>
                        <a:pt x="410" y="258"/>
                        <a:pt x="408" y="252"/>
                        <a:pt x="414" y="250"/>
                      </a:cubicBezTo>
                      <a:cubicBezTo>
                        <a:pt x="417" y="246"/>
                        <a:pt x="418" y="240"/>
                        <a:pt x="411" y="242"/>
                      </a:cubicBezTo>
                      <a:cubicBezTo>
                        <a:pt x="403" y="241"/>
                        <a:pt x="398" y="243"/>
                        <a:pt x="395" y="236"/>
                      </a:cubicBezTo>
                      <a:cubicBezTo>
                        <a:pt x="392" y="222"/>
                        <a:pt x="395" y="224"/>
                        <a:pt x="393" y="214"/>
                      </a:cubicBezTo>
                      <a:cubicBezTo>
                        <a:pt x="398" y="199"/>
                        <a:pt x="391" y="191"/>
                        <a:pt x="387" y="185"/>
                      </a:cubicBezTo>
                      <a:cubicBezTo>
                        <a:pt x="388" y="180"/>
                        <a:pt x="389" y="176"/>
                        <a:pt x="392" y="172"/>
                      </a:cubicBezTo>
                      <a:cubicBezTo>
                        <a:pt x="393" y="167"/>
                        <a:pt x="394" y="164"/>
                        <a:pt x="389" y="161"/>
                      </a:cubicBezTo>
                      <a:cubicBezTo>
                        <a:pt x="387" y="158"/>
                        <a:pt x="381" y="154"/>
                        <a:pt x="381" y="154"/>
                      </a:cubicBezTo>
                      <a:cubicBezTo>
                        <a:pt x="378" y="150"/>
                        <a:pt x="369" y="146"/>
                        <a:pt x="369" y="146"/>
                      </a:cubicBezTo>
                      <a:cubicBezTo>
                        <a:pt x="366" y="142"/>
                        <a:pt x="366" y="139"/>
                        <a:pt x="371" y="137"/>
                      </a:cubicBezTo>
                      <a:cubicBezTo>
                        <a:pt x="372" y="134"/>
                        <a:pt x="374" y="128"/>
                        <a:pt x="374" y="128"/>
                      </a:cubicBezTo>
                      <a:cubicBezTo>
                        <a:pt x="373" y="114"/>
                        <a:pt x="383" y="94"/>
                        <a:pt x="371" y="86"/>
                      </a:cubicBezTo>
                      <a:cubicBezTo>
                        <a:pt x="368" y="81"/>
                        <a:pt x="362" y="75"/>
                        <a:pt x="357" y="72"/>
                      </a:cubicBezTo>
                      <a:cubicBezTo>
                        <a:pt x="355" y="65"/>
                        <a:pt x="352" y="61"/>
                        <a:pt x="345" y="59"/>
                      </a:cubicBezTo>
                      <a:cubicBezTo>
                        <a:pt x="342" y="55"/>
                        <a:pt x="337" y="53"/>
                        <a:pt x="333" y="52"/>
                      </a:cubicBezTo>
                      <a:cubicBezTo>
                        <a:pt x="328" y="45"/>
                        <a:pt x="331" y="47"/>
                        <a:pt x="326" y="44"/>
                      </a:cubicBezTo>
                      <a:cubicBezTo>
                        <a:pt x="326" y="40"/>
                        <a:pt x="327" y="34"/>
                        <a:pt x="321" y="34"/>
                      </a:cubicBezTo>
                      <a:cubicBezTo>
                        <a:pt x="316" y="34"/>
                        <a:pt x="308" y="36"/>
                        <a:pt x="303" y="38"/>
                      </a:cubicBezTo>
                      <a:cubicBezTo>
                        <a:pt x="291" y="43"/>
                        <a:pt x="286" y="49"/>
                        <a:pt x="273" y="52"/>
                      </a:cubicBezTo>
                      <a:cubicBezTo>
                        <a:pt x="269" y="54"/>
                        <a:pt x="254" y="61"/>
                        <a:pt x="254" y="61"/>
                      </a:cubicBezTo>
                      <a:cubicBezTo>
                        <a:pt x="252" y="65"/>
                        <a:pt x="247" y="67"/>
                        <a:pt x="243" y="68"/>
                      </a:cubicBezTo>
                      <a:cubicBezTo>
                        <a:pt x="232" y="66"/>
                        <a:pt x="238" y="51"/>
                        <a:pt x="233" y="44"/>
                      </a:cubicBezTo>
                      <a:cubicBezTo>
                        <a:pt x="230" y="34"/>
                        <a:pt x="230" y="43"/>
                        <a:pt x="222" y="38"/>
                      </a:cubicBezTo>
                      <a:cubicBezTo>
                        <a:pt x="214" y="44"/>
                        <a:pt x="204" y="39"/>
                        <a:pt x="195" y="37"/>
                      </a:cubicBezTo>
                      <a:cubicBezTo>
                        <a:pt x="190" y="30"/>
                        <a:pt x="190" y="19"/>
                        <a:pt x="183" y="14"/>
                      </a:cubicBezTo>
                      <a:cubicBezTo>
                        <a:pt x="177" y="5"/>
                        <a:pt x="175" y="7"/>
                        <a:pt x="162" y="6"/>
                      </a:cubicBezTo>
                      <a:cubicBezTo>
                        <a:pt x="154" y="4"/>
                        <a:pt x="148" y="1"/>
                        <a:pt x="140" y="0"/>
                      </a:cubicBezTo>
                      <a:cubicBezTo>
                        <a:pt x="136" y="0"/>
                        <a:pt x="132" y="0"/>
                        <a:pt x="129" y="1"/>
                      </a:cubicBezTo>
                      <a:cubicBezTo>
                        <a:pt x="128" y="1"/>
                        <a:pt x="131" y="3"/>
                        <a:pt x="131" y="4"/>
                      </a:cubicBezTo>
                      <a:cubicBezTo>
                        <a:pt x="134" y="10"/>
                        <a:pt x="133" y="15"/>
                        <a:pt x="138" y="18"/>
                      </a:cubicBezTo>
                      <a:cubicBezTo>
                        <a:pt x="140" y="23"/>
                        <a:pt x="143" y="27"/>
                        <a:pt x="146" y="31"/>
                      </a:cubicBezTo>
                      <a:cubicBezTo>
                        <a:pt x="145" y="37"/>
                        <a:pt x="144" y="41"/>
                        <a:pt x="141" y="46"/>
                      </a:cubicBezTo>
                      <a:cubicBezTo>
                        <a:pt x="142" y="51"/>
                        <a:pt x="145" y="62"/>
                        <a:pt x="145" y="62"/>
                      </a:cubicBezTo>
                      <a:cubicBezTo>
                        <a:pt x="147" y="78"/>
                        <a:pt x="144" y="75"/>
                        <a:pt x="131" y="79"/>
                      </a:cubicBezTo>
                      <a:cubicBezTo>
                        <a:pt x="127" y="83"/>
                        <a:pt x="126" y="87"/>
                        <a:pt x="122" y="91"/>
                      </a:cubicBezTo>
                      <a:cubicBezTo>
                        <a:pt x="121" y="96"/>
                        <a:pt x="122" y="100"/>
                        <a:pt x="117" y="103"/>
                      </a:cubicBezTo>
                      <a:cubicBezTo>
                        <a:pt x="110" y="101"/>
                        <a:pt x="111" y="99"/>
                        <a:pt x="105" y="95"/>
                      </a:cubicBezTo>
                      <a:cubicBezTo>
                        <a:pt x="103" y="89"/>
                        <a:pt x="97" y="89"/>
                        <a:pt x="92" y="86"/>
                      </a:cubicBezTo>
                      <a:cubicBezTo>
                        <a:pt x="81" y="87"/>
                        <a:pt x="70" y="84"/>
                        <a:pt x="66" y="95"/>
                      </a:cubicBezTo>
                      <a:cubicBezTo>
                        <a:pt x="65" y="101"/>
                        <a:pt x="64" y="107"/>
                        <a:pt x="63" y="113"/>
                      </a:cubicBezTo>
                      <a:cubicBezTo>
                        <a:pt x="63" y="117"/>
                        <a:pt x="65" y="117"/>
                        <a:pt x="65" y="122"/>
                      </a:cubicBezTo>
                      <a:cubicBezTo>
                        <a:pt x="66" y="130"/>
                        <a:pt x="66" y="137"/>
                        <a:pt x="63" y="145"/>
                      </a:cubicBezTo>
                      <a:cubicBezTo>
                        <a:pt x="61" y="149"/>
                        <a:pt x="57" y="157"/>
                        <a:pt x="57" y="157"/>
                      </a:cubicBezTo>
                      <a:cubicBezTo>
                        <a:pt x="56" y="163"/>
                        <a:pt x="57" y="166"/>
                        <a:pt x="51" y="167"/>
                      </a:cubicBezTo>
                      <a:cubicBezTo>
                        <a:pt x="50" y="165"/>
                        <a:pt x="50" y="163"/>
                        <a:pt x="49" y="161"/>
                      </a:cubicBezTo>
                      <a:cubicBezTo>
                        <a:pt x="48" y="158"/>
                        <a:pt x="39" y="164"/>
                        <a:pt x="39" y="164"/>
                      </a:cubicBezTo>
                      <a:cubicBezTo>
                        <a:pt x="42" y="174"/>
                        <a:pt x="43" y="174"/>
                        <a:pt x="53" y="176"/>
                      </a:cubicBezTo>
                      <a:cubicBezTo>
                        <a:pt x="55" y="179"/>
                        <a:pt x="57" y="185"/>
                        <a:pt x="57" y="185"/>
                      </a:cubicBezTo>
                      <a:cubicBezTo>
                        <a:pt x="57" y="188"/>
                        <a:pt x="57" y="191"/>
                        <a:pt x="56" y="194"/>
                      </a:cubicBezTo>
                      <a:cubicBezTo>
                        <a:pt x="54" y="198"/>
                        <a:pt x="44" y="200"/>
                        <a:pt x="44" y="200"/>
                      </a:cubicBezTo>
                      <a:cubicBezTo>
                        <a:pt x="41" y="204"/>
                        <a:pt x="37" y="203"/>
                        <a:pt x="42" y="206"/>
                      </a:cubicBezTo>
                      <a:cubicBezTo>
                        <a:pt x="52" y="221"/>
                        <a:pt x="21" y="219"/>
                        <a:pt x="9" y="220"/>
                      </a:cubicBezTo>
                      <a:cubicBezTo>
                        <a:pt x="7" y="227"/>
                        <a:pt x="5" y="227"/>
                        <a:pt x="11" y="224"/>
                      </a:cubicBezTo>
                      <a:cubicBezTo>
                        <a:pt x="12" y="230"/>
                        <a:pt x="11" y="236"/>
                        <a:pt x="13" y="242"/>
                      </a:cubicBezTo>
                      <a:cubicBezTo>
                        <a:pt x="14" y="244"/>
                        <a:pt x="15" y="248"/>
                        <a:pt x="15" y="248"/>
                      </a:cubicBezTo>
                      <a:cubicBezTo>
                        <a:pt x="13" y="261"/>
                        <a:pt x="11" y="273"/>
                        <a:pt x="0" y="280"/>
                      </a:cubicBezTo>
                      <a:cubicBezTo>
                        <a:pt x="4" y="281"/>
                        <a:pt x="7" y="290"/>
                        <a:pt x="7" y="290"/>
                      </a:cubicBezTo>
                      <a:cubicBezTo>
                        <a:pt x="6" y="292"/>
                        <a:pt x="3" y="293"/>
                        <a:pt x="3" y="295"/>
                      </a:cubicBezTo>
                      <a:cubicBezTo>
                        <a:pt x="2" y="300"/>
                        <a:pt x="13" y="317"/>
                        <a:pt x="17" y="319"/>
                      </a:cubicBezTo>
                      <a:cubicBezTo>
                        <a:pt x="18" y="321"/>
                        <a:pt x="21" y="326"/>
                        <a:pt x="18" y="328"/>
                      </a:cubicBezTo>
                      <a:cubicBezTo>
                        <a:pt x="16" y="330"/>
                        <a:pt x="12" y="332"/>
                        <a:pt x="12" y="332"/>
                      </a:cubicBezTo>
                      <a:cubicBezTo>
                        <a:pt x="10" y="338"/>
                        <a:pt x="9" y="344"/>
                        <a:pt x="7" y="350"/>
                      </a:cubicBezTo>
                      <a:cubicBezTo>
                        <a:pt x="7" y="356"/>
                        <a:pt x="18" y="360"/>
                        <a:pt x="21" y="367"/>
                      </a:cubicBezTo>
                      <a:cubicBezTo>
                        <a:pt x="23" y="374"/>
                        <a:pt x="15" y="385"/>
                        <a:pt x="18" y="392"/>
                      </a:cubicBezTo>
                      <a:cubicBezTo>
                        <a:pt x="20" y="395"/>
                        <a:pt x="34" y="411"/>
                        <a:pt x="38" y="412"/>
                      </a:cubicBezTo>
                      <a:cubicBezTo>
                        <a:pt x="47" y="414"/>
                        <a:pt x="55" y="414"/>
                        <a:pt x="65" y="415"/>
                      </a:cubicBezTo>
                      <a:cubicBezTo>
                        <a:pt x="75" y="417"/>
                        <a:pt x="80" y="426"/>
                        <a:pt x="90" y="428"/>
                      </a:cubicBezTo>
                      <a:cubicBezTo>
                        <a:pt x="94" y="431"/>
                        <a:pt x="98" y="431"/>
                        <a:pt x="102" y="434"/>
                      </a:cubicBezTo>
                      <a:cubicBezTo>
                        <a:pt x="101" y="440"/>
                        <a:pt x="100" y="442"/>
                        <a:pt x="96" y="446"/>
                      </a:cubicBezTo>
                      <a:cubicBezTo>
                        <a:pt x="94" y="451"/>
                        <a:pt x="83" y="450"/>
                        <a:pt x="81" y="455"/>
                      </a:cubicBezTo>
                      <a:cubicBezTo>
                        <a:pt x="78" y="461"/>
                        <a:pt x="86" y="470"/>
                        <a:pt x="80" y="474"/>
                      </a:cubicBezTo>
                      <a:cubicBezTo>
                        <a:pt x="77" y="486"/>
                        <a:pt x="68" y="496"/>
                        <a:pt x="66" y="509"/>
                      </a:cubicBezTo>
                      <a:cubicBezTo>
                        <a:pt x="67" y="542"/>
                        <a:pt x="65" y="531"/>
                        <a:pt x="90" y="533"/>
                      </a:cubicBezTo>
                      <a:cubicBezTo>
                        <a:pt x="97" y="534"/>
                        <a:pt x="104" y="533"/>
                        <a:pt x="111" y="532"/>
                      </a:cubicBezTo>
                      <a:cubicBezTo>
                        <a:pt x="121" y="527"/>
                        <a:pt x="122" y="526"/>
                        <a:pt x="111" y="522"/>
                      </a:cubicBezTo>
                      <a:cubicBezTo>
                        <a:pt x="109" y="518"/>
                        <a:pt x="106" y="516"/>
                        <a:pt x="111" y="514"/>
                      </a:cubicBezTo>
                      <a:cubicBezTo>
                        <a:pt x="116" y="515"/>
                        <a:pt x="125" y="518"/>
                        <a:pt x="125" y="518"/>
                      </a:cubicBezTo>
                      <a:cubicBezTo>
                        <a:pt x="127" y="523"/>
                        <a:pt x="129" y="526"/>
                        <a:pt x="134" y="528"/>
                      </a:cubicBezTo>
                      <a:cubicBezTo>
                        <a:pt x="141" y="526"/>
                        <a:pt x="138" y="527"/>
                        <a:pt x="143" y="524"/>
                      </a:cubicBezTo>
                      <a:cubicBezTo>
                        <a:pt x="147" y="527"/>
                        <a:pt x="152" y="525"/>
                        <a:pt x="157" y="526"/>
                      </a:cubicBezTo>
                      <a:cubicBezTo>
                        <a:pt x="161" y="530"/>
                        <a:pt x="171" y="533"/>
                        <a:pt x="176" y="536"/>
                      </a:cubicBezTo>
                      <a:cubicBezTo>
                        <a:pt x="180" y="538"/>
                        <a:pt x="184" y="540"/>
                        <a:pt x="188" y="541"/>
                      </a:cubicBezTo>
                      <a:cubicBezTo>
                        <a:pt x="189" y="541"/>
                        <a:pt x="191" y="542"/>
                        <a:pt x="191" y="542"/>
                      </a:cubicBezTo>
                      <a:cubicBezTo>
                        <a:pt x="195" y="548"/>
                        <a:pt x="197" y="551"/>
                        <a:pt x="204" y="553"/>
                      </a:cubicBezTo>
                      <a:cubicBezTo>
                        <a:pt x="215" y="551"/>
                        <a:pt x="212" y="549"/>
                        <a:pt x="215" y="539"/>
                      </a:cubicBezTo>
                      <a:cubicBezTo>
                        <a:pt x="226" y="540"/>
                        <a:pt x="224" y="536"/>
                        <a:pt x="231" y="542"/>
                      </a:cubicBezTo>
                      <a:cubicBezTo>
                        <a:pt x="234" y="544"/>
                        <a:pt x="240" y="546"/>
                        <a:pt x="240" y="546"/>
                      </a:cubicBezTo>
                      <a:cubicBezTo>
                        <a:pt x="246" y="545"/>
                        <a:pt x="254" y="545"/>
                        <a:pt x="258" y="540"/>
                      </a:cubicBezTo>
                      <a:cubicBezTo>
                        <a:pt x="259" y="539"/>
                        <a:pt x="266" y="530"/>
                        <a:pt x="267" y="530"/>
                      </a:cubicBezTo>
                      <a:cubicBezTo>
                        <a:pt x="274" y="527"/>
                        <a:pt x="292" y="523"/>
                        <a:pt x="299" y="523"/>
                      </a:cubicBezTo>
                      <a:cubicBezTo>
                        <a:pt x="302" y="524"/>
                        <a:pt x="305" y="526"/>
                        <a:pt x="308" y="527"/>
                      </a:cubicBezTo>
                      <a:cubicBezTo>
                        <a:pt x="316" y="524"/>
                        <a:pt x="312" y="521"/>
                        <a:pt x="324" y="527"/>
                      </a:cubicBezTo>
                      <a:cubicBezTo>
                        <a:pt x="328" y="529"/>
                        <a:pt x="336" y="536"/>
                        <a:pt x="336" y="536"/>
                      </a:cubicBezTo>
                      <a:cubicBezTo>
                        <a:pt x="344" y="533"/>
                        <a:pt x="338" y="524"/>
                        <a:pt x="333" y="522"/>
                      </a:cubicBezTo>
                      <a:cubicBezTo>
                        <a:pt x="331" y="514"/>
                        <a:pt x="335" y="503"/>
                        <a:pt x="327" y="498"/>
                      </a:cubicBezTo>
                      <a:cubicBezTo>
                        <a:pt x="325" y="494"/>
                        <a:pt x="324" y="491"/>
                        <a:pt x="320" y="490"/>
                      </a:cubicBezTo>
                      <a:cubicBezTo>
                        <a:pt x="323" y="488"/>
                        <a:pt x="329" y="486"/>
                        <a:pt x="329" y="486"/>
                      </a:cubicBezTo>
                      <a:cubicBezTo>
                        <a:pt x="334" y="479"/>
                        <a:pt x="341" y="478"/>
                        <a:pt x="348" y="473"/>
                      </a:cubicBezTo>
                      <a:cubicBezTo>
                        <a:pt x="352" y="460"/>
                        <a:pt x="353" y="457"/>
                        <a:pt x="367" y="455"/>
                      </a:cubicBezTo>
                      <a:cubicBezTo>
                        <a:pt x="370" y="450"/>
                        <a:pt x="374" y="447"/>
                        <a:pt x="369" y="444"/>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186" name="Freeform 2503">
                <a:extLst>
                  <a:ext uri="{FF2B5EF4-FFF2-40B4-BE49-F238E27FC236}">
                    <a16:creationId xmlns:a16="http://schemas.microsoft.com/office/drawing/2014/main" id="{8D3F797F-5E0C-D6A2-695B-8B4F66786E9B}"/>
                  </a:ext>
                </a:extLst>
              </p:cNvPr>
              <p:cNvSpPr>
                <a:spLocks noChangeAspect="1"/>
              </p:cNvSpPr>
              <p:nvPr/>
            </p:nvSpPr>
            <p:spPr bwMode="auto">
              <a:xfrm>
                <a:off x="2812" y="2466"/>
                <a:ext cx="24" cy="19"/>
              </a:xfrm>
              <a:custGeom>
                <a:avLst/>
                <a:gdLst>
                  <a:gd name="T0" fmla="*/ 4 w 24"/>
                  <a:gd name="T1" fmla="*/ 0 h 19"/>
                  <a:gd name="T2" fmla="*/ 9 w 24"/>
                  <a:gd name="T3" fmla="*/ 12 h 19"/>
                  <a:gd name="T4" fmla="*/ 15 w 24"/>
                  <a:gd name="T5" fmla="*/ 19 h 19"/>
                  <a:gd name="T6" fmla="*/ 18 w 24"/>
                  <a:gd name="T7" fmla="*/ 9 h 19"/>
                  <a:gd name="T8" fmla="*/ 9 w 24"/>
                  <a:gd name="T9" fmla="*/ 4 h 19"/>
                  <a:gd name="T10" fmla="*/ 3 w 24"/>
                  <a:gd name="T11" fmla="*/ 2 h 19"/>
                  <a:gd name="T12" fmla="*/ 4 w 24"/>
                  <a:gd name="T13" fmla="*/ 0 h 19"/>
                  <a:gd name="T14" fmla="*/ 0 60000 65536"/>
                  <a:gd name="T15" fmla="*/ 0 60000 65536"/>
                  <a:gd name="T16" fmla="*/ 0 60000 65536"/>
                  <a:gd name="T17" fmla="*/ 0 60000 65536"/>
                  <a:gd name="T18" fmla="*/ 0 60000 65536"/>
                  <a:gd name="T19" fmla="*/ 0 60000 65536"/>
                  <a:gd name="T20" fmla="*/ 0 60000 65536"/>
                  <a:gd name="T21" fmla="*/ 0 w 24"/>
                  <a:gd name="T22" fmla="*/ 0 h 19"/>
                  <a:gd name="T23" fmla="*/ 24 w 24"/>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19">
                    <a:moveTo>
                      <a:pt x="4" y="0"/>
                    </a:moveTo>
                    <a:cubicBezTo>
                      <a:pt x="0" y="6"/>
                      <a:pt x="4" y="9"/>
                      <a:pt x="9" y="12"/>
                    </a:cubicBezTo>
                    <a:cubicBezTo>
                      <a:pt x="11" y="16"/>
                      <a:pt x="14" y="15"/>
                      <a:pt x="15" y="19"/>
                    </a:cubicBezTo>
                    <a:cubicBezTo>
                      <a:pt x="21" y="18"/>
                      <a:pt x="24" y="15"/>
                      <a:pt x="18" y="9"/>
                    </a:cubicBezTo>
                    <a:cubicBezTo>
                      <a:pt x="16" y="6"/>
                      <a:pt x="12" y="6"/>
                      <a:pt x="9" y="4"/>
                    </a:cubicBezTo>
                    <a:cubicBezTo>
                      <a:pt x="7" y="3"/>
                      <a:pt x="2" y="4"/>
                      <a:pt x="3" y="2"/>
                    </a:cubicBezTo>
                    <a:cubicBezTo>
                      <a:pt x="3" y="1"/>
                      <a:pt x="4" y="1"/>
                      <a:pt x="4" y="0"/>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grpSp>
          <p:nvGrpSpPr>
            <p:cNvPr id="55" name="Group 2504">
              <a:extLst>
                <a:ext uri="{FF2B5EF4-FFF2-40B4-BE49-F238E27FC236}">
                  <a16:creationId xmlns:a16="http://schemas.microsoft.com/office/drawing/2014/main" id="{ADE88388-A540-01BB-8362-94A0F1440EAD}"/>
                </a:ext>
              </a:extLst>
            </p:cNvPr>
            <p:cNvGrpSpPr>
              <a:grpSpLocks/>
            </p:cNvGrpSpPr>
            <p:nvPr>
              <p:custDataLst>
                <p:tags r:id="rId12"/>
              </p:custDataLst>
            </p:nvPr>
          </p:nvGrpSpPr>
          <p:grpSpPr bwMode="auto">
            <a:xfrm>
              <a:off x="3397066" y="3382215"/>
              <a:ext cx="289808" cy="229512"/>
              <a:chOff x="2599" y="2246"/>
              <a:chExt cx="298" cy="236"/>
            </a:xfrm>
          </p:grpSpPr>
          <p:sp>
            <p:nvSpPr>
              <p:cNvPr id="178" name="Freeform 2505">
                <a:extLst>
                  <a:ext uri="{FF2B5EF4-FFF2-40B4-BE49-F238E27FC236}">
                    <a16:creationId xmlns:a16="http://schemas.microsoft.com/office/drawing/2014/main" id="{3DD4CECB-6473-80F7-92EE-743133060EEA}"/>
                  </a:ext>
                </a:extLst>
              </p:cNvPr>
              <p:cNvSpPr>
                <a:spLocks noChangeAspect="1"/>
              </p:cNvSpPr>
              <p:nvPr/>
            </p:nvSpPr>
            <p:spPr bwMode="auto">
              <a:xfrm>
                <a:off x="2868" y="2422"/>
                <a:ext cx="29" cy="24"/>
              </a:xfrm>
              <a:custGeom>
                <a:avLst/>
                <a:gdLst>
                  <a:gd name="T0" fmla="*/ 4 w 29"/>
                  <a:gd name="T1" fmla="*/ 0 h 24"/>
                  <a:gd name="T2" fmla="*/ 15 w 29"/>
                  <a:gd name="T3" fmla="*/ 4 h 24"/>
                  <a:gd name="T4" fmla="*/ 16 w 29"/>
                  <a:gd name="T5" fmla="*/ 24 h 24"/>
                  <a:gd name="T6" fmla="*/ 3 w 29"/>
                  <a:gd name="T7" fmla="*/ 18 h 24"/>
                  <a:gd name="T8" fmla="*/ 4 w 29"/>
                  <a:gd name="T9" fmla="*/ 0 h 24"/>
                  <a:gd name="T10" fmla="*/ 0 60000 65536"/>
                  <a:gd name="T11" fmla="*/ 0 60000 65536"/>
                  <a:gd name="T12" fmla="*/ 0 60000 65536"/>
                  <a:gd name="T13" fmla="*/ 0 60000 65536"/>
                  <a:gd name="T14" fmla="*/ 0 60000 65536"/>
                  <a:gd name="T15" fmla="*/ 0 w 29"/>
                  <a:gd name="T16" fmla="*/ 0 h 24"/>
                  <a:gd name="T17" fmla="*/ 29 w 29"/>
                  <a:gd name="T18" fmla="*/ 24 h 24"/>
                </a:gdLst>
                <a:ahLst/>
                <a:cxnLst>
                  <a:cxn ang="T10">
                    <a:pos x="T0" y="T1"/>
                  </a:cxn>
                  <a:cxn ang="T11">
                    <a:pos x="T2" y="T3"/>
                  </a:cxn>
                  <a:cxn ang="T12">
                    <a:pos x="T4" y="T5"/>
                  </a:cxn>
                  <a:cxn ang="T13">
                    <a:pos x="T6" y="T7"/>
                  </a:cxn>
                  <a:cxn ang="T14">
                    <a:pos x="T8" y="T9"/>
                  </a:cxn>
                </a:cxnLst>
                <a:rect l="T15" t="T16" r="T17" b="T18"/>
                <a:pathLst>
                  <a:path w="29" h="24">
                    <a:moveTo>
                      <a:pt x="4" y="0"/>
                    </a:moveTo>
                    <a:cubicBezTo>
                      <a:pt x="8" y="2"/>
                      <a:pt x="11" y="3"/>
                      <a:pt x="15" y="4"/>
                    </a:cubicBezTo>
                    <a:cubicBezTo>
                      <a:pt x="19" y="10"/>
                      <a:pt x="29" y="21"/>
                      <a:pt x="16" y="24"/>
                    </a:cubicBezTo>
                    <a:cubicBezTo>
                      <a:pt x="11" y="23"/>
                      <a:pt x="3" y="18"/>
                      <a:pt x="3" y="18"/>
                    </a:cubicBezTo>
                    <a:cubicBezTo>
                      <a:pt x="0" y="13"/>
                      <a:pt x="4" y="6"/>
                      <a:pt x="4" y="0"/>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79" name="Freeform 2506">
                <a:extLst>
                  <a:ext uri="{FF2B5EF4-FFF2-40B4-BE49-F238E27FC236}">
                    <a16:creationId xmlns:a16="http://schemas.microsoft.com/office/drawing/2014/main" id="{74A35BC4-CA1F-30FD-EB3E-851EC0C6021B}"/>
                  </a:ext>
                </a:extLst>
              </p:cNvPr>
              <p:cNvSpPr>
                <a:spLocks noChangeAspect="1"/>
              </p:cNvSpPr>
              <p:nvPr/>
            </p:nvSpPr>
            <p:spPr bwMode="auto">
              <a:xfrm>
                <a:off x="2708" y="2364"/>
                <a:ext cx="79" cy="88"/>
              </a:xfrm>
              <a:custGeom>
                <a:avLst/>
                <a:gdLst>
                  <a:gd name="T0" fmla="*/ 60 w 79"/>
                  <a:gd name="T1" fmla="*/ 0 h 88"/>
                  <a:gd name="T2" fmla="*/ 49 w 79"/>
                  <a:gd name="T3" fmla="*/ 8 h 88"/>
                  <a:gd name="T4" fmla="*/ 53 w 79"/>
                  <a:gd name="T5" fmla="*/ 26 h 88"/>
                  <a:gd name="T6" fmla="*/ 52 w 79"/>
                  <a:gd name="T7" fmla="*/ 32 h 88"/>
                  <a:gd name="T8" fmla="*/ 42 w 79"/>
                  <a:gd name="T9" fmla="*/ 31 h 88"/>
                  <a:gd name="T10" fmla="*/ 40 w 79"/>
                  <a:gd name="T11" fmla="*/ 21 h 88"/>
                  <a:gd name="T12" fmla="*/ 23 w 79"/>
                  <a:gd name="T13" fmla="*/ 8 h 88"/>
                  <a:gd name="T14" fmla="*/ 17 w 79"/>
                  <a:gd name="T15" fmla="*/ 26 h 88"/>
                  <a:gd name="T16" fmla="*/ 12 w 79"/>
                  <a:gd name="T17" fmla="*/ 33 h 88"/>
                  <a:gd name="T18" fmla="*/ 19 w 79"/>
                  <a:gd name="T19" fmla="*/ 67 h 88"/>
                  <a:gd name="T20" fmla="*/ 32 w 79"/>
                  <a:gd name="T21" fmla="*/ 68 h 88"/>
                  <a:gd name="T22" fmla="*/ 40 w 79"/>
                  <a:gd name="T23" fmla="*/ 72 h 88"/>
                  <a:gd name="T24" fmla="*/ 52 w 79"/>
                  <a:gd name="T25" fmla="*/ 82 h 88"/>
                  <a:gd name="T26" fmla="*/ 61 w 79"/>
                  <a:gd name="T27" fmla="*/ 88 h 88"/>
                  <a:gd name="T28" fmla="*/ 58 w 79"/>
                  <a:gd name="T29" fmla="*/ 69 h 88"/>
                  <a:gd name="T30" fmla="*/ 70 w 79"/>
                  <a:gd name="T31" fmla="*/ 61 h 88"/>
                  <a:gd name="T32" fmla="*/ 61 w 79"/>
                  <a:gd name="T33" fmla="*/ 48 h 88"/>
                  <a:gd name="T34" fmla="*/ 76 w 79"/>
                  <a:gd name="T35" fmla="*/ 39 h 88"/>
                  <a:gd name="T36" fmla="*/ 73 w 79"/>
                  <a:gd name="T37" fmla="*/ 24 h 88"/>
                  <a:gd name="T38" fmla="*/ 76 w 79"/>
                  <a:gd name="T39" fmla="*/ 10 h 88"/>
                  <a:gd name="T40" fmla="*/ 76 w 79"/>
                  <a:gd name="T41" fmla="*/ 4 h 88"/>
                  <a:gd name="T42" fmla="*/ 60 w 79"/>
                  <a:gd name="T43" fmla="*/ 0 h 8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9"/>
                  <a:gd name="T67" fmla="*/ 0 h 88"/>
                  <a:gd name="T68" fmla="*/ 79 w 79"/>
                  <a:gd name="T69" fmla="*/ 88 h 8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9" h="88">
                    <a:moveTo>
                      <a:pt x="60" y="0"/>
                    </a:moveTo>
                    <a:cubicBezTo>
                      <a:pt x="53" y="2"/>
                      <a:pt x="54" y="5"/>
                      <a:pt x="49" y="8"/>
                    </a:cubicBezTo>
                    <a:cubicBezTo>
                      <a:pt x="50" y="18"/>
                      <a:pt x="51" y="18"/>
                      <a:pt x="53" y="26"/>
                    </a:cubicBezTo>
                    <a:cubicBezTo>
                      <a:pt x="53" y="28"/>
                      <a:pt x="54" y="31"/>
                      <a:pt x="52" y="32"/>
                    </a:cubicBezTo>
                    <a:cubicBezTo>
                      <a:pt x="49" y="33"/>
                      <a:pt x="44" y="33"/>
                      <a:pt x="42" y="31"/>
                    </a:cubicBezTo>
                    <a:cubicBezTo>
                      <a:pt x="39" y="29"/>
                      <a:pt x="42" y="24"/>
                      <a:pt x="40" y="21"/>
                    </a:cubicBezTo>
                    <a:cubicBezTo>
                      <a:pt x="35" y="13"/>
                      <a:pt x="32" y="11"/>
                      <a:pt x="23" y="8"/>
                    </a:cubicBezTo>
                    <a:cubicBezTo>
                      <a:pt x="25" y="17"/>
                      <a:pt x="29" y="28"/>
                      <a:pt x="17" y="26"/>
                    </a:cubicBezTo>
                    <a:cubicBezTo>
                      <a:pt x="6" y="27"/>
                      <a:pt x="0" y="30"/>
                      <a:pt x="12" y="33"/>
                    </a:cubicBezTo>
                    <a:cubicBezTo>
                      <a:pt x="21" y="42"/>
                      <a:pt x="18" y="55"/>
                      <a:pt x="19" y="67"/>
                    </a:cubicBezTo>
                    <a:cubicBezTo>
                      <a:pt x="24" y="66"/>
                      <a:pt x="28" y="66"/>
                      <a:pt x="32" y="68"/>
                    </a:cubicBezTo>
                    <a:cubicBezTo>
                      <a:pt x="35" y="69"/>
                      <a:pt x="40" y="72"/>
                      <a:pt x="40" y="72"/>
                    </a:cubicBezTo>
                    <a:cubicBezTo>
                      <a:pt x="44" y="78"/>
                      <a:pt x="45" y="81"/>
                      <a:pt x="52" y="82"/>
                    </a:cubicBezTo>
                    <a:cubicBezTo>
                      <a:pt x="54" y="86"/>
                      <a:pt x="57" y="87"/>
                      <a:pt x="61" y="88"/>
                    </a:cubicBezTo>
                    <a:cubicBezTo>
                      <a:pt x="74" y="85"/>
                      <a:pt x="67" y="72"/>
                      <a:pt x="58" y="69"/>
                    </a:cubicBezTo>
                    <a:cubicBezTo>
                      <a:pt x="60" y="64"/>
                      <a:pt x="70" y="61"/>
                      <a:pt x="70" y="61"/>
                    </a:cubicBezTo>
                    <a:cubicBezTo>
                      <a:pt x="73" y="53"/>
                      <a:pt x="68" y="50"/>
                      <a:pt x="61" y="48"/>
                    </a:cubicBezTo>
                    <a:cubicBezTo>
                      <a:pt x="62" y="33"/>
                      <a:pt x="63" y="36"/>
                      <a:pt x="76" y="39"/>
                    </a:cubicBezTo>
                    <a:cubicBezTo>
                      <a:pt x="79" y="34"/>
                      <a:pt x="76" y="29"/>
                      <a:pt x="73" y="24"/>
                    </a:cubicBezTo>
                    <a:cubicBezTo>
                      <a:pt x="71" y="18"/>
                      <a:pt x="73" y="15"/>
                      <a:pt x="76" y="10"/>
                    </a:cubicBezTo>
                    <a:cubicBezTo>
                      <a:pt x="77" y="4"/>
                      <a:pt x="79" y="4"/>
                      <a:pt x="76" y="4"/>
                    </a:cubicBezTo>
                    <a:lnTo>
                      <a:pt x="60" y="0"/>
                    </a:ln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80" name="Freeform 2507">
                <a:extLst>
                  <a:ext uri="{FF2B5EF4-FFF2-40B4-BE49-F238E27FC236}">
                    <a16:creationId xmlns:a16="http://schemas.microsoft.com/office/drawing/2014/main" id="{1FCAE590-3B15-63D3-1195-19AD79282BEF}"/>
                  </a:ext>
                </a:extLst>
              </p:cNvPr>
              <p:cNvSpPr>
                <a:spLocks noChangeAspect="1"/>
              </p:cNvSpPr>
              <p:nvPr/>
            </p:nvSpPr>
            <p:spPr bwMode="auto">
              <a:xfrm>
                <a:off x="2717" y="2445"/>
                <a:ext cx="47" cy="37"/>
              </a:xfrm>
              <a:custGeom>
                <a:avLst/>
                <a:gdLst>
                  <a:gd name="T0" fmla="*/ 9 w 47"/>
                  <a:gd name="T1" fmla="*/ 3 h 37"/>
                  <a:gd name="T2" fmla="*/ 19 w 47"/>
                  <a:gd name="T3" fmla="*/ 9 h 37"/>
                  <a:gd name="T4" fmla="*/ 25 w 47"/>
                  <a:gd name="T5" fmla="*/ 13 h 37"/>
                  <a:gd name="T6" fmla="*/ 33 w 47"/>
                  <a:gd name="T7" fmla="*/ 11 h 37"/>
                  <a:gd name="T8" fmla="*/ 35 w 47"/>
                  <a:gd name="T9" fmla="*/ 3 h 37"/>
                  <a:gd name="T10" fmla="*/ 44 w 47"/>
                  <a:gd name="T11" fmla="*/ 12 h 37"/>
                  <a:gd name="T12" fmla="*/ 43 w 47"/>
                  <a:gd name="T13" fmla="*/ 21 h 37"/>
                  <a:gd name="T14" fmla="*/ 34 w 47"/>
                  <a:gd name="T15" fmla="*/ 18 h 37"/>
                  <a:gd name="T16" fmla="*/ 31 w 47"/>
                  <a:gd name="T17" fmla="*/ 27 h 37"/>
                  <a:gd name="T18" fmla="*/ 22 w 47"/>
                  <a:gd name="T19" fmla="*/ 30 h 37"/>
                  <a:gd name="T20" fmla="*/ 5 w 47"/>
                  <a:gd name="T21" fmla="*/ 12 h 37"/>
                  <a:gd name="T22" fmla="*/ 13 w 47"/>
                  <a:gd name="T23" fmla="*/ 0 h 37"/>
                  <a:gd name="T24" fmla="*/ 28 w 47"/>
                  <a:gd name="T25" fmla="*/ 9 h 37"/>
                  <a:gd name="T26" fmla="*/ 9 w 47"/>
                  <a:gd name="T27" fmla="*/ 3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7"/>
                  <a:gd name="T43" fmla="*/ 0 h 37"/>
                  <a:gd name="T44" fmla="*/ 47 w 47"/>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7" h="37">
                    <a:moveTo>
                      <a:pt x="9" y="3"/>
                    </a:moveTo>
                    <a:cubicBezTo>
                      <a:pt x="14" y="4"/>
                      <a:pt x="15" y="6"/>
                      <a:pt x="19" y="9"/>
                    </a:cubicBezTo>
                    <a:cubicBezTo>
                      <a:pt x="21" y="10"/>
                      <a:pt x="25" y="13"/>
                      <a:pt x="25" y="13"/>
                    </a:cubicBezTo>
                    <a:cubicBezTo>
                      <a:pt x="28" y="12"/>
                      <a:pt x="31" y="13"/>
                      <a:pt x="33" y="11"/>
                    </a:cubicBezTo>
                    <a:cubicBezTo>
                      <a:pt x="35" y="9"/>
                      <a:pt x="35" y="3"/>
                      <a:pt x="35" y="3"/>
                    </a:cubicBezTo>
                    <a:cubicBezTo>
                      <a:pt x="40" y="5"/>
                      <a:pt x="40" y="9"/>
                      <a:pt x="44" y="12"/>
                    </a:cubicBezTo>
                    <a:cubicBezTo>
                      <a:pt x="47" y="16"/>
                      <a:pt x="46" y="17"/>
                      <a:pt x="43" y="21"/>
                    </a:cubicBezTo>
                    <a:cubicBezTo>
                      <a:pt x="39" y="37"/>
                      <a:pt x="37" y="26"/>
                      <a:pt x="34" y="18"/>
                    </a:cubicBezTo>
                    <a:cubicBezTo>
                      <a:pt x="34" y="20"/>
                      <a:pt x="33" y="26"/>
                      <a:pt x="31" y="27"/>
                    </a:cubicBezTo>
                    <a:cubicBezTo>
                      <a:pt x="28" y="29"/>
                      <a:pt x="22" y="30"/>
                      <a:pt x="22" y="30"/>
                    </a:cubicBezTo>
                    <a:cubicBezTo>
                      <a:pt x="18" y="27"/>
                      <a:pt x="6" y="17"/>
                      <a:pt x="5" y="12"/>
                    </a:cubicBezTo>
                    <a:cubicBezTo>
                      <a:pt x="0" y="5"/>
                      <a:pt x="5" y="2"/>
                      <a:pt x="13" y="0"/>
                    </a:cubicBezTo>
                    <a:cubicBezTo>
                      <a:pt x="19" y="2"/>
                      <a:pt x="22" y="9"/>
                      <a:pt x="28" y="9"/>
                    </a:cubicBezTo>
                    <a:lnTo>
                      <a:pt x="9" y="3"/>
                    </a:ln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81" name="Freeform 2508">
                <a:extLst>
                  <a:ext uri="{FF2B5EF4-FFF2-40B4-BE49-F238E27FC236}">
                    <a16:creationId xmlns:a16="http://schemas.microsoft.com/office/drawing/2014/main" id="{51BAE4A8-1EFB-FF86-4137-7A163DCFCA60}"/>
                  </a:ext>
                </a:extLst>
              </p:cNvPr>
              <p:cNvSpPr>
                <a:spLocks noChangeAspect="1"/>
              </p:cNvSpPr>
              <p:nvPr/>
            </p:nvSpPr>
            <p:spPr bwMode="auto">
              <a:xfrm>
                <a:off x="2608" y="2246"/>
                <a:ext cx="95" cy="76"/>
              </a:xfrm>
              <a:custGeom>
                <a:avLst/>
                <a:gdLst>
                  <a:gd name="T0" fmla="*/ 0 w 95"/>
                  <a:gd name="T1" fmla="*/ 72 h 76"/>
                  <a:gd name="T2" fmla="*/ 8 w 95"/>
                  <a:gd name="T3" fmla="*/ 54 h 76"/>
                  <a:gd name="T4" fmla="*/ 14 w 95"/>
                  <a:gd name="T5" fmla="*/ 46 h 76"/>
                  <a:gd name="T6" fmla="*/ 50 w 95"/>
                  <a:gd name="T7" fmla="*/ 40 h 76"/>
                  <a:gd name="T8" fmla="*/ 57 w 95"/>
                  <a:gd name="T9" fmla="*/ 29 h 76"/>
                  <a:gd name="T10" fmla="*/ 63 w 95"/>
                  <a:gd name="T11" fmla="*/ 22 h 76"/>
                  <a:gd name="T12" fmla="*/ 81 w 95"/>
                  <a:gd name="T13" fmla="*/ 10 h 76"/>
                  <a:gd name="T14" fmla="*/ 90 w 95"/>
                  <a:gd name="T15" fmla="*/ 4 h 76"/>
                  <a:gd name="T16" fmla="*/ 93 w 95"/>
                  <a:gd name="T17" fmla="*/ 1 h 76"/>
                  <a:gd name="T18" fmla="*/ 86 w 95"/>
                  <a:gd name="T19" fmla="*/ 11 h 76"/>
                  <a:gd name="T20" fmla="*/ 93 w 95"/>
                  <a:gd name="T21" fmla="*/ 22 h 76"/>
                  <a:gd name="T22" fmla="*/ 86 w 95"/>
                  <a:gd name="T23" fmla="*/ 43 h 76"/>
                  <a:gd name="T24" fmla="*/ 84 w 95"/>
                  <a:gd name="T25" fmla="*/ 46 h 76"/>
                  <a:gd name="T26" fmla="*/ 83 w 95"/>
                  <a:gd name="T27" fmla="*/ 53 h 76"/>
                  <a:gd name="T28" fmla="*/ 80 w 95"/>
                  <a:gd name="T29" fmla="*/ 47 h 76"/>
                  <a:gd name="T30" fmla="*/ 72 w 95"/>
                  <a:gd name="T31" fmla="*/ 44 h 76"/>
                  <a:gd name="T32" fmla="*/ 48 w 95"/>
                  <a:gd name="T33" fmla="*/ 49 h 76"/>
                  <a:gd name="T34" fmla="*/ 39 w 95"/>
                  <a:gd name="T35" fmla="*/ 54 h 76"/>
                  <a:gd name="T36" fmla="*/ 29 w 95"/>
                  <a:gd name="T37" fmla="*/ 52 h 76"/>
                  <a:gd name="T38" fmla="*/ 24 w 95"/>
                  <a:gd name="T39" fmla="*/ 58 h 76"/>
                  <a:gd name="T40" fmla="*/ 18 w 95"/>
                  <a:gd name="T41" fmla="*/ 60 h 76"/>
                  <a:gd name="T42" fmla="*/ 0 w 95"/>
                  <a:gd name="T43" fmla="*/ 72 h 7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5"/>
                  <a:gd name="T67" fmla="*/ 0 h 76"/>
                  <a:gd name="T68" fmla="*/ 95 w 95"/>
                  <a:gd name="T69" fmla="*/ 76 h 7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5" h="76">
                    <a:moveTo>
                      <a:pt x="0" y="72"/>
                    </a:moveTo>
                    <a:cubicBezTo>
                      <a:pt x="2" y="64"/>
                      <a:pt x="1" y="58"/>
                      <a:pt x="8" y="54"/>
                    </a:cubicBezTo>
                    <a:cubicBezTo>
                      <a:pt x="9" y="49"/>
                      <a:pt x="9" y="47"/>
                      <a:pt x="14" y="46"/>
                    </a:cubicBezTo>
                    <a:cubicBezTo>
                      <a:pt x="26" y="48"/>
                      <a:pt x="38" y="42"/>
                      <a:pt x="50" y="40"/>
                    </a:cubicBezTo>
                    <a:cubicBezTo>
                      <a:pt x="53" y="36"/>
                      <a:pt x="53" y="32"/>
                      <a:pt x="57" y="29"/>
                    </a:cubicBezTo>
                    <a:cubicBezTo>
                      <a:pt x="58" y="25"/>
                      <a:pt x="59" y="23"/>
                      <a:pt x="63" y="22"/>
                    </a:cubicBezTo>
                    <a:cubicBezTo>
                      <a:pt x="68" y="17"/>
                      <a:pt x="73" y="12"/>
                      <a:pt x="81" y="10"/>
                    </a:cubicBezTo>
                    <a:cubicBezTo>
                      <a:pt x="84" y="7"/>
                      <a:pt x="86" y="5"/>
                      <a:pt x="90" y="4"/>
                    </a:cubicBezTo>
                    <a:cubicBezTo>
                      <a:pt x="91" y="3"/>
                      <a:pt x="93" y="0"/>
                      <a:pt x="93" y="1"/>
                    </a:cubicBezTo>
                    <a:cubicBezTo>
                      <a:pt x="93" y="5"/>
                      <a:pt x="86" y="11"/>
                      <a:pt x="86" y="11"/>
                    </a:cubicBezTo>
                    <a:cubicBezTo>
                      <a:pt x="87" y="17"/>
                      <a:pt x="89" y="17"/>
                      <a:pt x="93" y="22"/>
                    </a:cubicBezTo>
                    <a:cubicBezTo>
                      <a:pt x="95" y="28"/>
                      <a:pt x="91" y="40"/>
                      <a:pt x="86" y="43"/>
                    </a:cubicBezTo>
                    <a:cubicBezTo>
                      <a:pt x="85" y="44"/>
                      <a:pt x="84" y="45"/>
                      <a:pt x="84" y="46"/>
                    </a:cubicBezTo>
                    <a:cubicBezTo>
                      <a:pt x="83" y="48"/>
                      <a:pt x="84" y="51"/>
                      <a:pt x="83" y="53"/>
                    </a:cubicBezTo>
                    <a:cubicBezTo>
                      <a:pt x="82" y="55"/>
                      <a:pt x="82" y="48"/>
                      <a:pt x="80" y="47"/>
                    </a:cubicBezTo>
                    <a:cubicBezTo>
                      <a:pt x="78" y="45"/>
                      <a:pt x="75" y="45"/>
                      <a:pt x="72" y="44"/>
                    </a:cubicBezTo>
                    <a:cubicBezTo>
                      <a:pt x="64" y="45"/>
                      <a:pt x="56" y="47"/>
                      <a:pt x="48" y="49"/>
                    </a:cubicBezTo>
                    <a:cubicBezTo>
                      <a:pt x="46" y="51"/>
                      <a:pt x="39" y="54"/>
                      <a:pt x="39" y="54"/>
                    </a:cubicBezTo>
                    <a:cubicBezTo>
                      <a:pt x="36" y="54"/>
                      <a:pt x="32" y="51"/>
                      <a:pt x="29" y="52"/>
                    </a:cubicBezTo>
                    <a:cubicBezTo>
                      <a:pt x="27" y="53"/>
                      <a:pt x="26" y="57"/>
                      <a:pt x="24" y="58"/>
                    </a:cubicBezTo>
                    <a:cubicBezTo>
                      <a:pt x="22" y="59"/>
                      <a:pt x="18" y="60"/>
                      <a:pt x="18" y="60"/>
                    </a:cubicBezTo>
                    <a:cubicBezTo>
                      <a:pt x="12" y="68"/>
                      <a:pt x="11" y="76"/>
                      <a:pt x="0" y="72"/>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82" name="Freeform 2509">
                <a:extLst>
                  <a:ext uri="{FF2B5EF4-FFF2-40B4-BE49-F238E27FC236}">
                    <a16:creationId xmlns:a16="http://schemas.microsoft.com/office/drawing/2014/main" id="{E758F5DB-80BB-1F5C-AB25-3659ED8483DD}"/>
                  </a:ext>
                </a:extLst>
              </p:cNvPr>
              <p:cNvSpPr>
                <a:spLocks noChangeAspect="1"/>
              </p:cNvSpPr>
              <p:nvPr/>
            </p:nvSpPr>
            <p:spPr bwMode="auto">
              <a:xfrm>
                <a:off x="2599" y="2294"/>
                <a:ext cx="117" cy="175"/>
              </a:xfrm>
              <a:custGeom>
                <a:avLst/>
                <a:gdLst>
                  <a:gd name="T0" fmla="*/ 21 w 117"/>
                  <a:gd name="T1" fmla="*/ 156 h 175"/>
                  <a:gd name="T2" fmla="*/ 20 w 117"/>
                  <a:gd name="T3" fmla="*/ 130 h 175"/>
                  <a:gd name="T4" fmla="*/ 12 w 117"/>
                  <a:gd name="T5" fmla="*/ 122 h 175"/>
                  <a:gd name="T6" fmla="*/ 7 w 117"/>
                  <a:gd name="T7" fmla="*/ 108 h 175"/>
                  <a:gd name="T8" fmla="*/ 5 w 117"/>
                  <a:gd name="T9" fmla="*/ 89 h 175"/>
                  <a:gd name="T10" fmla="*/ 2 w 117"/>
                  <a:gd name="T11" fmla="*/ 74 h 175"/>
                  <a:gd name="T12" fmla="*/ 17 w 117"/>
                  <a:gd name="T13" fmla="*/ 34 h 175"/>
                  <a:gd name="T14" fmla="*/ 24 w 117"/>
                  <a:gd name="T15" fmla="*/ 29 h 175"/>
                  <a:gd name="T16" fmla="*/ 33 w 117"/>
                  <a:gd name="T17" fmla="*/ 23 h 175"/>
                  <a:gd name="T18" fmla="*/ 53 w 117"/>
                  <a:gd name="T19" fmla="*/ 10 h 175"/>
                  <a:gd name="T20" fmla="*/ 68 w 117"/>
                  <a:gd name="T21" fmla="*/ 2 h 175"/>
                  <a:gd name="T22" fmla="*/ 86 w 117"/>
                  <a:gd name="T23" fmla="*/ 5 h 175"/>
                  <a:gd name="T24" fmla="*/ 92 w 117"/>
                  <a:gd name="T25" fmla="*/ 25 h 175"/>
                  <a:gd name="T26" fmla="*/ 99 w 117"/>
                  <a:gd name="T27" fmla="*/ 37 h 175"/>
                  <a:gd name="T28" fmla="*/ 114 w 117"/>
                  <a:gd name="T29" fmla="*/ 41 h 175"/>
                  <a:gd name="T30" fmla="*/ 110 w 117"/>
                  <a:gd name="T31" fmla="*/ 59 h 175"/>
                  <a:gd name="T32" fmla="*/ 105 w 117"/>
                  <a:gd name="T33" fmla="*/ 67 h 175"/>
                  <a:gd name="T34" fmla="*/ 92 w 117"/>
                  <a:gd name="T35" fmla="*/ 78 h 175"/>
                  <a:gd name="T36" fmla="*/ 81 w 117"/>
                  <a:gd name="T37" fmla="*/ 97 h 175"/>
                  <a:gd name="T38" fmla="*/ 72 w 117"/>
                  <a:gd name="T39" fmla="*/ 109 h 175"/>
                  <a:gd name="T40" fmla="*/ 96 w 117"/>
                  <a:gd name="T41" fmla="*/ 108 h 175"/>
                  <a:gd name="T42" fmla="*/ 107 w 117"/>
                  <a:gd name="T43" fmla="*/ 124 h 175"/>
                  <a:gd name="T44" fmla="*/ 110 w 117"/>
                  <a:gd name="T45" fmla="*/ 133 h 175"/>
                  <a:gd name="T46" fmla="*/ 98 w 117"/>
                  <a:gd name="T47" fmla="*/ 156 h 175"/>
                  <a:gd name="T48" fmla="*/ 90 w 117"/>
                  <a:gd name="T49" fmla="*/ 138 h 175"/>
                  <a:gd name="T50" fmla="*/ 72 w 117"/>
                  <a:gd name="T51" fmla="*/ 131 h 175"/>
                  <a:gd name="T52" fmla="*/ 62 w 117"/>
                  <a:gd name="T53" fmla="*/ 132 h 175"/>
                  <a:gd name="T54" fmla="*/ 71 w 117"/>
                  <a:gd name="T55" fmla="*/ 162 h 175"/>
                  <a:gd name="T56" fmla="*/ 79 w 117"/>
                  <a:gd name="T57" fmla="*/ 175 h 175"/>
                  <a:gd name="T58" fmla="*/ 75 w 117"/>
                  <a:gd name="T59" fmla="*/ 172 h 175"/>
                  <a:gd name="T60" fmla="*/ 41 w 117"/>
                  <a:gd name="T61" fmla="*/ 162 h 175"/>
                  <a:gd name="T62" fmla="*/ 21 w 117"/>
                  <a:gd name="T63" fmla="*/ 156 h 17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17"/>
                  <a:gd name="T97" fmla="*/ 0 h 175"/>
                  <a:gd name="T98" fmla="*/ 117 w 117"/>
                  <a:gd name="T99" fmla="*/ 175 h 17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17" h="175">
                    <a:moveTo>
                      <a:pt x="21" y="156"/>
                    </a:moveTo>
                    <a:cubicBezTo>
                      <a:pt x="24" y="151"/>
                      <a:pt x="20" y="134"/>
                      <a:pt x="20" y="130"/>
                    </a:cubicBezTo>
                    <a:cubicBezTo>
                      <a:pt x="17" y="124"/>
                      <a:pt x="16" y="126"/>
                      <a:pt x="12" y="122"/>
                    </a:cubicBezTo>
                    <a:cubicBezTo>
                      <a:pt x="10" y="117"/>
                      <a:pt x="8" y="113"/>
                      <a:pt x="7" y="108"/>
                    </a:cubicBezTo>
                    <a:cubicBezTo>
                      <a:pt x="6" y="101"/>
                      <a:pt x="6" y="96"/>
                      <a:pt x="5" y="89"/>
                    </a:cubicBezTo>
                    <a:cubicBezTo>
                      <a:pt x="4" y="84"/>
                      <a:pt x="2" y="74"/>
                      <a:pt x="2" y="74"/>
                    </a:cubicBezTo>
                    <a:cubicBezTo>
                      <a:pt x="11" y="65"/>
                      <a:pt x="0" y="38"/>
                      <a:pt x="17" y="34"/>
                    </a:cubicBezTo>
                    <a:cubicBezTo>
                      <a:pt x="18" y="31"/>
                      <a:pt x="24" y="29"/>
                      <a:pt x="24" y="29"/>
                    </a:cubicBezTo>
                    <a:cubicBezTo>
                      <a:pt x="27" y="26"/>
                      <a:pt x="30" y="25"/>
                      <a:pt x="33" y="23"/>
                    </a:cubicBezTo>
                    <a:cubicBezTo>
                      <a:pt x="37" y="16"/>
                      <a:pt x="46" y="12"/>
                      <a:pt x="53" y="10"/>
                    </a:cubicBezTo>
                    <a:cubicBezTo>
                      <a:pt x="57" y="6"/>
                      <a:pt x="62" y="4"/>
                      <a:pt x="68" y="2"/>
                    </a:cubicBezTo>
                    <a:cubicBezTo>
                      <a:pt x="74" y="3"/>
                      <a:pt x="83" y="0"/>
                      <a:pt x="86" y="5"/>
                    </a:cubicBezTo>
                    <a:cubicBezTo>
                      <a:pt x="89" y="10"/>
                      <a:pt x="88" y="21"/>
                      <a:pt x="92" y="25"/>
                    </a:cubicBezTo>
                    <a:cubicBezTo>
                      <a:pt x="95" y="28"/>
                      <a:pt x="99" y="37"/>
                      <a:pt x="99" y="37"/>
                    </a:cubicBezTo>
                    <a:cubicBezTo>
                      <a:pt x="101" y="39"/>
                      <a:pt x="114" y="41"/>
                      <a:pt x="114" y="41"/>
                    </a:cubicBezTo>
                    <a:cubicBezTo>
                      <a:pt x="117" y="49"/>
                      <a:pt x="116" y="53"/>
                      <a:pt x="110" y="59"/>
                    </a:cubicBezTo>
                    <a:cubicBezTo>
                      <a:pt x="108" y="66"/>
                      <a:pt x="110" y="64"/>
                      <a:pt x="105" y="67"/>
                    </a:cubicBezTo>
                    <a:cubicBezTo>
                      <a:pt x="102" y="72"/>
                      <a:pt x="97" y="75"/>
                      <a:pt x="92" y="78"/>
                    </a:cubicBezTo>
                    <a:cubicBezTo>
                      <a:pt x="89" y="84"/>
                      <a:pt x="86" y="92"/>
                      <a:pt x="81" y="97"/>
                    </a:cubicBezTo>
                    <a:cubicBezTo>
                      <a:pt x="79" y="102"/>
                      <a:pt x="72" y="109"/>
                      <a:pt x="72" y="109"/>
                    </a:cubicBezTo>
                    <a:cubicBezTo>
                      <a:pt x="69" y="119"/>
                      <a:pt x="90" y="106"/>
                      <a:pt x="96" y="108"/>
                    </a:cubicBezTo>
                    <a:cubicBezTo>
                      <a:pt x="102" y="111"/>
                      <a:pt x="102" y="117"/>
                      <a:pt x="107" y="124"/>
                    </a:cubicBezTo>
                    <a:cubicBezTo>
                      <a:pt x="109" y="127"/>
                      <a:pt x="110" y="133"/>
                      <a:pt x="110" y="133"/>
                    </a:cubicBezTo>
                    <a:cubicBezTo>
                      <a:pt x="109" y="167"/>
                      <a:pt x="117" y="162"/>
                      <a:pt x="98" y="156"/>
                    </a:cubicBezTo>
                    <a:cubicBezTo>
                      <a:pt x="96" y="153"/>
                      <a:pt x="93" y="141"/>
                      <a:pt x="90" y="138"/>
                    </a:cubicBezTo>
                    <a:cubicBezTo>
                      <a:pt x="88" y="131"/>
                      <a:pt x="78" y="133"/>
                      <a:pt x="72" y="131"/>
                    </a:cubicBezTo>
                    <a:cubicBezTo>
                      <a:pt x="69" y="131"/>
                      <a:pt x="65" y="131"/>
                      <a:pt x="62" y="132"/>
                    </a:cubicBezTo>
                    <a:cubicBezTo>
                      <a:pt x="54" y="136"/>
                      <a:pt x="66" y="159"/>
                      <a:pt x="71" y="162"/>
                    </a:cubicBezTo>
                    <a:cubicBezTo>
                      <a:pt x="74" y="169"/>
                      <a:pt x="78" y="174"/>
                      <a:pt x="79" y="175"/>
                    </a:cubicBezTo>
                    <a:cubicBezTo>
                      <a:pt x="78" y="174"/>
                      <a:pt x="76" y="173"/>
                      <a:pt x="75" y="172"/>
                    </a:cubicBezTo>
                    <a:cubicBezTo>
                      <a:pt x="70" y="158"/>
                      <a:pt x="52" y="162"/>
                      <a:pt x="41" y="162"/>
                    </a:cubicBezTo>
                    <a:cubicBezTo>
                      <a:pt x="34" y="161"/>
                      <a:pt x="28" y="158"/>
                      <a:pt x="21" y="156"/>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56" name="Freeform 2510">
              <a:extLst>
                <a:ext uri="{FF2B5EF4-FFF2-40B4-BE49-F238E27FC236}">
                  <a16:creationId xmlns:a16="http://schemas.microsoft.com/office/drawing/2014/main" id="{82D0D899-A41A-C9A7-EC93-BCD2D279F370}"/>
                </a:ext>
              </a:extLst>
            </p:cNvPr>
            <p:cNvSpPr>
              <a:spLocks noChangeAspect="1"/>
            </p:cNvSpPr>
            <p:nvPr>
              <p:custDataLst>
                <p:tags r:id="rId13"/>
              </p:custDataLst>
            </p:nvPr>
          </p:nvSpPr>
          <p:spPr bwMode="auto">
            <a:xfrm>
              <a:off x="2595718" y="3463905"/>
              <a:ext cx="212980" cy="247017"/>
            </a:xfrm>
            <a:custGeom>
              <a:avLst/>
              <a:gdLst>
                <a:gd name="T0" fmla="*/ 208 w 219"/>
                <a:gd name="T1" fmla="*/ 104 h 254"/>
                <a:gd name="T2" fmla="*/ 194 w 219"/>
                <a:gd name="T3" fmla="*/ 85 h 254"/>
                <a:gd name="T4" fmla="*/ 172 w 219"/>
                <a:gd name="T5" fmla="*/ 91 h 254"/>
                <a:gd name="T6" fmla="*/ 149 w 219"/>
                <a:gd name="T7" fmla="*/ 71 h 254"/>
                <a:gd name="T8" fmla="*/ 159 w 219"/>
                <a:gd name="T9" fmla="*/ 56 h 254"/>
                <a:gd name="T10" fmla="*/ 182 w 219"/>
                <a:gd name="T11" fmla="*/ 38 h 254"/>
                <a:gd name="T12" fmla="*/ 200 w 219"/>
                <a:gd name="T13" fmla="*/ 19 h 254"/>
                <a:gd name="T14" fmla="*/ 188 w 219"/>
                <a:gd name="T15" fmla="*/ 7 h 254"/>
                <a:gd name="T16" fmla="*/ 181 w 219"/>
                <a:gd name="T17" fmla="*/ 25 h 254"/>
                <a:gd name="T18" fmla="*/ 149 w 219"/>
                <a:gd name="T19" fmla="*/ 18 h 254"/>
                <a:gd name="T20" fmla="*/ 131 w 219"/>
                <a:gd name="T21" fmla="*/ 35 h 254"/>
                <a:gd name="T22" fmla="*/ 135 w 219"/>
                <a:gd name="T23" fmla="*/ 44 h 254"/>
                <a:gd name="T24" fmla="*/ 140 w 219"/>
                <a:gd name="T25" fmla="*/ 59 h 254"/>
                <a:gd name="T26" fmla="*/ 124 w 219"/>
                <a:gd name="T27" fmla="*/ 71 h 254"/>
                <a:gd name="T28" fmla="*/ 95 w 219"/>
                <a:gd name="T29" fmla="*/ 59 h 254"/>
                <a:gd name="T30" fmla="*/ 63 w 219"/>
                <a:gd name="T31" fmla="*/ 58 h 254"/>
                <a:gd name="T32" fmla="*/ 61 w 219"/>
                <a:gd name="T33" fmla="*/ 82 h 254"/>
                <a:gd name="T34" fmla="*/ 59 w 219"/>
                <a:gd name="T35" fmla="*/ 90 h 254"/>
                <a:gd name="T36" fmla="*/ 45 w 219"/>
                <a:gd name="T37" fmla="*/ 106 h 254"/>
                <a:gd name="T38" fmla="*/ 94 w 219"/>
                <a:gd name="T39" fmla="*/ 134 h 254"/>
                <a:gd name="T40" fmla="*/ 64 w 219"/>
                <a:gd name="T41" fmla="*/ 150 h 254"/>
                <a:gd name="T42" fmla="*/ 44 w 219"/>
                <a:gd name="T43" fmla="*/ 173 h 254"/>
                <a:gd name="T44" fmla="*/ 53 w 219"/>
                <a:gd name="T45" fmla="*/ 180 h 254"/>
                <a:gd name="T46" fmla="*/ 29 w 219"/>
                <a:gd name="T47" fmla="*/ 196 h 254"/>
                <a:gd name="T48" fmla="*/ 13 w 219"/>
                <a:gd name="T49" fmla="*/ 187 h 254"/>
                <a:gd name="T50" fmla="*/ 4 w 219"/>
                <a:gd name="T51" fmla="*/ 202 h 254"/>
                <a:gd name="T52" fmla="*/ 23 w 219"/>
                <a:gd name="T53" fmla="*/ 200 h 254"/>
                <a:gd name="T54" fmla="*/ 4 w 219"/>
                <a:gd name="T55" fmla="*/ 217 h 254"/>
                <a:gd name="T56" fmla="*/ 29 w 219"/>
                <a:gd name="T57" fmla="*/ 222 h 254"/>
                <a:gd name="T58" fmla="*/ 5 w 219"/>
                <a:gd name="T59" fmla="*/ 236 h 254"/>
                <a:gd name="T60" fmla="*/ 26 w 219"/>
                <a:gd name="T61" fmla="*/ 250 h 254"/>
                <a:gd name="T62" fmla="*/ 79 w 219"/>
                <a:gd name="T63" fmla="*/ 248 h 254"/>
                <a:gd name="T64" fmla="*/ 119 w 219"/>
                <a:gd name="T65" fmla="*/ 244 h 254"/>
                <a:gd name="T66" fmla="*/ 148 w 219"/>
                <a:gd name="T67" fmla="*/ 230 h 254"/>
                <a:gd name="T68" fmla="*/ 185 w 219"/>
                <a:gd name="T69" fmla="*/ 220 h 254"/>
                <a:gd name="T70" fmla="*/ 203 w 219"/>
                <a:gd name="T71" fmla="*/ 196 h 254"/>
                <a:gd name="T72" fmla="*/ 208 w 219"/>
                <a:gd name="T73" fmla="*/ 187 h 254"/>
                <a:gd name="T74" fmla="*/ 207 w 219"/>
                <a:gd name="T75" fmla="*/ 134 h 254"/>
                <a:gd name="T76" fmla="*/ 217 w 219"/>
                <a:gd name="T77" fmla="*/ 110 h 25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9"/>
                <a:gd name="T118" fmla="*/ 0 h 254"/>
                <a:gd name="T119" fmla="*/ 219 w 219"/>
                <a:gd name="T120" fmla="*/ 254 h 25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9" h="254">
                  <a:moveTo>
                    <a:pt x="217" y="110"/>
                  </a:moveTo>
                  <a:cubicBezTo>
                    <a:pt x="219" y="105"/>
                    <a:pt x="213" y="105"/>
                    <a:pt x="208" y="104"/>
                  </a:cubicBezTo>
                  <a:cubicBezTo>
                    <a:pt x="202" y="100"/>
                    <a:pt x="201" y="97"/>
                    <a:pt x="196" y="92"/>
                  </a:cubicBezTo>
                  <a:cubicBezTo>
                    <a:pt x="194" y="90"/>
                    <a:pt x="194" y="85"/>
                    <a:pt x="194" y="85"/>
                  </a:cubicBezTo>
                  <a:cubicBezTo>
                    <a:pt x="191" y="77"/>
                    <a:pt x="190" y="79"/>
                    <a:pt x="182" y="82"/>
                  </a:cubicBezTo>
                  <a:cubicBezTo>
                    <a:pt x="179" y="90"/>
                    <a:pt x="182" y="92"/>
                    <a:pt x="172" y="91"/>
                  </a:cubicBezTo>
                  <a:cubicBezTo>
                    <a:pt x="165" y="89"/>
                    <a:pt x="164" y="79"/>
                    <a:pt x="154" y="76"/>
                  </a:cubicBezTo>
                  <a:cubicBezTo>
                    <a:pt x="152" y="69"/>
                    <a:pt x="155" y="77"/>
                    <a:pt x="149" y="71"/>
                  </a:cubicBezTo>
                  <a:cubicBezTo>
                    <a:pt x="147" y="69"/>
                    <a:pt x="147" y="64"/>
                    <a:pt x="146" y="61"/>
                  </a:cubicBezTo>
                  <a:cubicBezTo>
                    <a:pt x="150" y="58"/>
                    <a:pt x="154" y="57"/>
                    <a:pt x="159" y="56"/>
                  </a:cubicBezTo>
                  <a:cubicBezTo>
                    <a:pt x="165" y="47"/>
                    <a:pt x="162" y="47"/>
                    <a:pt x="173" y="46"/>
                  </a:cubicBezTo>
                  <a:cubicBezTo>
                    <a:pt x="180" y="41"/>
                    <a:pt x="178" y="44"/>
                    <a:pt x="182" y="38"/>
                  </a:cubicBezTo>
                  <a:cubicBezTo>
                    <a:pt x="184" y="32"/>
                    <a:pt x="184" y="31"/>
                    <a:pt x="190" y="29"/>
                  </a:cubicBezTo>
                  <a:cubicBezTo>
                    <a:pt x="193" y="26"/>
                    <a:pt x="196" y="20"/>
                    <a:pt x="200" y="19"/>
                  </a:cubicBezTo>
                  <a:cubicBezTo>
                    <a:pt x="202" y="14"/>
                    <a:pt x="206" y="9"/>
                    <a:pt x="202" y="6"/>
                  </a:cubicBezTo>
                  <a:cubicBezTo>
                    <a:pt x="200" y="0"/>
                    <a:pt x="194" y="3"/>
                    <a:pt x="188" y="7"/>
                  </a:cubicBezTo>
                  <a:cubicBezTo>
                    <a:pt x="187" y="11"/>
                    <a:pt x="184" y="15"/>
                    <a:pt x="183" y="19"/>
                  </a:cubicBezTo>
                  <a:cubicBezTo>
                    <a:pt x="182" y="21"/>
                    <a:pt x="181" y="25"/>
                    <a:pt x="181" y="25"/>
                  </a:cubicBezTo>
                  <a:cubicBezTo>
                    <a:pt x="170" y="22"/>
                    <a:pt x="182" y="10"/>
                    <a:pt x="165" y="8"/>
                  </a:cubicBezTo>
                  <a:cubicBezTo>
                    <a:pt x="149" y="9"/>
                    <a:pt x="158" y="15"/>
                    <a:pt x="149" y="18"/>
                  </a:cubicBezTo>
                  <a:cubicBezTo>
                    <a:pt x="148" y="23"/>
                    <a:pt x="147" y="23"/>
                    <a:pt x="142" y="25"/>
                  </a:cubicBezTo>
                  <a:cubicBezTo>
                    <a:pt x="139" y="29"/>
                    <a:pt x="135" y="34"/>
                    <a:pt x="131" y="35"/>
                  </a:cubicBezTo>
                  <a:cubicBezTo>
                    <a:pt x="131" y="36"/>
                    <a:pt x="127" y="40"/>
                    <a:pt x="128" y="41"/>
                  </a:cubicBezTo>
                  <a:cubicBezTo>
                    <a:pt x="129" y="43"/>
                    <a:pt x="134" y="43"/>
                    <a:pt x="135" y="44"/>
                  </a:cubicBezTo>
                  <a:cubicBezTo>
                    <a:pt x="138" y="45"/>
                    <a:pt x="145" y="48"/>
                    <a:pt x="145" y="48"/>
                  </a:cubicBezTo>
                  <a:cubicBezTo>
                    <a:pt x="144" y="49"/>
                    <a:pt x="142" y="58"/>
                    <a:pt x="140" y="59"/>
                  </a:cubicBezTo>
                  <a:cubicBezTo>
                    <a:pt x="137" y="61"/>
                    <a:pt x="131" y="62"/>
                    <a:pt x="131" y="62"/>
                  </a:cubicBezTo>
                  <a:cubicBezTo>
                    <a:pt x="127" y="67"/>
                    <a:pt x="125" y="64"/>
                    <a:pt x="124" y="71"/>
                  </a:cubicBezTo>
                  <a:cubicBezTo>
                    <a:pt x="116" y="70"/>
                    <a:pt x="120" y="68"/>
                    <a:pt x="113" y="65"/>
                  </a:cubicBezTo>
                  <a:cubicBezTo>
                    <a:pt x="111" y="58"/>
                    <a:pt x="101" y="60"/>
                    <a:pt x="95" y="59"/>
                  </a:cubicBezTo>
                  <a:cubicBezTo>
                    <a:pt x="92" y="55"/>
                    <a:pt x="87" y="53"/>
                    <a:pt x="83" y="52"/>
                  </a:cubicBezTo>
                  <a:cubicBezTo>
                    <a:pt x="75" y="53"/>
                    <a:pt x="67" y="51"/>
                    <a:pt x="63" y="58"/>
                  </a:cubicBezTo>
                  <a:cubicBezTo>
                    <a:pt x="62" y="64"/>
                    <a:pt x="62" y="66"/>
                    <a:pt x="58" y="70"/>
                  </a:cubicBezTo>
                  <a:cubicBezTo>
                    <a:pt x="57" y="74"/>
                    <a:pt x="57" y="79"/>
                    <a:pt x="61" y="82"/>
                  </a:cubicBezTo>
                  <a:cubicBezTo>
                    <a:pt x="64" y="85"/>
                    <a:pt x="74" y="86"/>
                    <a:pt x="74" y="86"/>
                  </a:cubicBezTo>
                  <a:cubicBezTo>
                    <a:pt x="69" y="88"/>
                    <a:pt x="64" y="88"/>
                    <a:pt x="59" y="90"/>
                  </a:cubicBezTo>
                  <a:cubicBezTo>
                    <a:pt x="61" y="95"/>
                    <a:pt x="62" y="96"/>
                    <a:pt x="61" y="101"/>
                  </a:cubicBezTo>
                  <a:cubicBezTo>
                    <a:pt x="48" y="100"/>
                    <a:pt x="47" y="93"/>
                    <a:pt x="45" y="106"/>
                  </a:cubicBezTo>
                  <a:cubicBezTo>
                    <a:pt x="46" y="114"/>
                    <a:pt x="50" y="119"/>
                    <a:pt x="59" y="121"/>
                  </a:cubicBezTo>
                  <a:cubicBezTo>
                    <a:pt x="70" y="128"/>
                    <a:pt x="81" y="133"/>
                    <a:pt x="94" y="134"/>
                  </a:cubicBezTo>
                  <a:cubicBezTo>
                    <a:pt x="89" y="141"/>
                    <a:pt x="84" y="138"/>
                    <a:pt x="74" y="137"/>
                  </a:cubicBezTo>
                  <a:cubicBezTo>
                    <a:pt x="67" y="139"/>
                    <a:pt x="70" y="146"/>
                    <a:pt x="64" y="150"/>
                  </a:cubicBezTo>
                  <a:cubicBezTo>
                    <a:pt x="62" y="155"/>
                    <a:pt x="58" y="160"/>
                    <a:pt x="53" y="162"/>
                  </a:cubicBezTo>
                  <a:cubicBezTo>
                    <a:pt x="50" y="166"/>
                    <a:pt x="39" y="175"/>
                    <a:pt x="44" y="173"/>
                  </a:cubicBezTo>
                  <a:cubicBezTo>
                    <a:pt x="58" y="174"/>
                    <a:pt x="71" y="171"/>
                    <a:pt x="85" y="173"/>
                  </a:cubicBezTo>
                  <a:cubicBezTo>
                    <a:pt x="74" y="175"/>
                    <a:pt x="64" y="179"/>
                    <a:pt x="53" y="180"/>
                  </a:cubicBezTo>
                  <a:cubicBezTo>
                    <a:pt x="47" y="182"/>
                    <a:pt x="43" y="178"/>
                    <a:pt x="37" y="180"/>
                  </a:cubicBezTo>
                  <a:cubicBezTo>
                    <a:pt x="35" y="183"/>
                    <a:pt x="31" y="192"/>
                    <a:pt x="29" y="196"/>
                  </a:cubicBezTo>
                  <a:cubicBezTo>
                    <a:pt x="28" y="198"/>
                    <a:pt x="27" y="202"/>
                    <a:pt x="27" y="202"/>
                  </a:cubicBezTo>
                  <a:cubicBezTo>
                    <a:pt x="25" y="195"/>
                    <a:pt x="20" y="189"/>
                    <a:pt x="13" y="187"/>
                  </a:cubicBezTo>
                  <a:cubicBezTo>
                    <a:pt x="6" y="188"/>
                    <a:pt x="9" y="190"/>
                    <a:pt x="4" y="193"/>
                  </a:cubicBezTo>
                  <a:cubicBezTo>
                    <a:pt x="3" y="196"/>
                    <a:pt x="0" y="200"/>
                    <a:pt x="4" y="202"/>
                  </a:cubicBezTo>
                  <a:cubicBezTo>
                    <a:pt x="6" y="203"/>
                    <a:pt x="10" y="204"/>
                    <a:pt x="10" y="204"/>
                  </a:cubicBezTo>
                  <a:cubicBezTo>
                    <a:pt x="16" y="203"/>
                    <a:pt x="18" y="203"/>
                    <a:pt x="23" y="200"/>
                  </a:cubicBezTo>
                  <a:cubicBezTo>
                    <a:pt x="24" y="201"/>
                    <a:pt x="27" y="201"/>
                    <a:pt x="27" y="202"/>
                  </a:cubicBezTo>
                  <a:cubicBezTo>
                    <a:pt x="27" y="205"/>
                    <a:pt x="7" y="216"/>
                    <a:pt x="4" y="217"/>
                  </a:cubicBezTo>
                  <a:cubicBezTo>
                    <a:pt x="5" y="222"/>
                    <a:pt x="6" y="222"/>
                    <a:pt x="11" y="224"/>
                  </a:cubicBezTo>
                  <a:cubicBezTo>
                    <a:pt x="17" y="223"/>
                    <a:pt x="24" y="218"/>
                    <a:pt x="29" y="222"/>
                  </a:cubicBezTo>
                  <a:cubicBezTo>
                    <a:pt x="31" y="223"/>
                    <a:pt x="29" y="226"/>
                    <a:pt x="28" y="228"/>
                  </a:cubicBezTo>
                  <a:cubicBezTo>
                    <a:pt x="23" y="235"/>
                    <a:pt x="12" y="234"/>
                    <a:pt x="5" y="236"/>
                  </a:cubicBezTo>
                  <a:cubicBezTo>
                    <a:pt x="14" y="240"/>
                    <a:pt x="23" y="238"/>
                    <a:pt x="32" y="241"/>
                  </a:cubicBezTo>
                  <a:cubicBezTo>
                    <a:pt x="31" y="245"/>
                    <a:pt x="30" y="249"/>
                    <a:pt x="26" y="250"/>
                  </a:cubicBezTo>
                  <a:cubicBezTo>
                    <a:pt x="32" y="254"/>
                    <a:pt x="38" y="253"/>
                    <a:pt x="45" y="254"/>
                  </a:cubicBezTo>
                  <a:cubicBezTo>
                    <a:pt x="56" y="252"/>
                    <a:pt x="68" y="250"/>
                    <a:pt x="79" y="248"/>
                  </a:cubicBezTo>
                  <a:cubicBezTo>
                    <a:pt x="83" y="247"/>
                    <a:pt x="92" y="244"/>
                    <a:pt x="92" y="244"/>
                  </a:cubicBezTo>
                  <a:cubicBezTo>
                    <a:pt x="98" y="238"/>
                    <a:pt x="112" y="243"/>
                    <a:pt x="119" y="244"/>
                  </a:cubicBezTo>
                  <a:cubicBezTo>
                    <a:pt x="122" y="242"/>
                    <a:pt x="128" y="238"/>
                    <a:pt x="128" y="238"/>
                  </a:cubicBezTo>
                  <a:cubicBezTo>
                    <a:pt x="130" y="232"/>
                    <a:pt x="143" y="231"/>
                    <a:pt x="148" y="230"/>
                  </a:cubicBezTo>
                  <a:cubicBezTo>
                    <a:pt x="162" y="232"/>
                    <a:pt x="166" y="235"/>
                    <a:pt x="178" y="239"/>
                  </a:cubicBezTo>
                  <a:cubicBezTo>
                    <a:pt x="188" y="236"/>
                    <a:pt x="182" y="231"/>
                    <a:pt x="185" y="220"/>
                  </a:cubicBezTo>
                  <a:cubicBezTo>
                    <a:pt x="186" y="216"/>
                    <a:pt x="197" y="215"/>
                    <a:pt x="197" y="215"/>
                  </a:cubicBezTo>
                  <a:cubicBezTo>
                    <a:pt x="203" y="209"/>
                    <a:pt x="200" y="203"/>
                    <a:pt x="203" y="196"/>
                  </a:cubicBezTo>
                  <a:cubicBezTo>
                    <a:pt x="204" y="194"/>
                    <a:pt x="206" y="192"/>
                    <a:pt x="207" y="190"/>
                  </a:cubicBezTo>
                  <a:cubicBezTo>
                    <a:pt x="207" y="189"/>
                    <a:pt x="208" y="188"/>
                    <a:pt x="208" y="187"/>
                  </a:cubicBezTo>
                  <a:cubicBezTo>
                    <a:pt x="211" y="169"/>
                    <a:pt x="211" y="159"/>
                    <a:pt x="209" y="140"/>
                  </a:cubicBezTo>
                  <a:cubicBezTo>
                    <a:pt x="209" y="138"/>
                    <a:pt x="207" y="134"/>
                    <a:pt x="207" y="134"/>
                  </a:cubicBezTo>
                  <a:cubicBezTo>
                    <a:pt x="208" y="128"/>
                    <a:pt x="209" y="124"/>
                    <a:pt x="211" y="119"/>
                  </a:cubicBezTo>
                  <a:cubicBezTo>
                    <a:pt x="212" y="111"/>
                    <a:pt x="210" y="114"/>
                    <a:pt x="217" y="110"/>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449" name="Group 2511">
              <a:extLst>
                <a:ext uri="{FF2B5EF4-FFF2-40B4-BE49-F238E27FC236}">
                  <a16:creationId xmlns:a16="http://schemas.microsoft.com/office/drawing/2014/main" id="{3B1BA9A0-C9B7-C53E-DB79-471EC2942FBE}"/>
                </a:ext>
              </a:extLst>
            </p:cNvPr>
            <p:cNvGrpSpPr>
              <a:grpSpLocks noChangeAspect="1"/>
            </p:cNvGrpSpPr>
            <p:nvPr>
              <p:custDataLst>
                <p:tags r:id="rId14"/>
              </p:custDataLst>
            </p:nvPr>
          </p:nvGrpSpPr>
          <p:grpSpPr bwMode="auto">
            <a:xfrm>
              <a:off x="3510850" y="2544885"/>
              <a:ext cx="384142" cy="1002657"/>
              <a:chOff x="2717" y="1385"/>
              <a:chExt cx="395" cy="1031"/>
            </a:xfrm>
          </p:grpSpPr>
          <p:sp>
            <p:nvSpPr>
              <p:cNvPr id="175" name="Freeform 2512">
                <a:extLst>
                  <a:ext uri="{FF2B5EF4-FFF2-40B4-BE49-F238E27FC236}">
                    <a16:creationId xmlns:a16="http://schemas.microsoft.com/office/drawing/2014/main" id="{911FD054-EDFE-9708-19F3-CCA3E77A813E}"/>
                  </a:ext>
                </a:extLst>
              </p:cNvPr>
              <p:cNvSpPr>
                <a:spLocks noChangeAspect="1"/>
              </p:cNvSpPr>
              <p:nvPr/>
            </p:nvSpPr>
            <p:spPr bwMode="auto">
              <a:xfrm>
                <a:off x="2998" y="2203"/>
                <a:ext cx="50" cy="89"/>
              </a:xfrm>
              <a:custGeom>
                <a:avLst/>
                <a:gdLst>
                  <a:gd name="T0" fmla="*/ 42 w 50"/>
                  <a:gd name="T1" fmla="*/ 3 h 89"/>
                  <a:gd name="T2" fmla="*/ 24 w 50"/>
                  <a:gd name="T3" fmla="*/ 14 h 89"/>
                  <a:gd name="T4" fmla="*/ 15 w 50"/>
                  <a:gd name="T5" fmla="*/ 19 h 89"/>
                  <a:gd name="T6" fmla="*/ 0 w 50"/>
                  <a:gd name="T7" fmla="*/ 38 h 89"/>
                  <a:gd name="T8" fmla="*/ 4 w 50"/>
                  <a:gd name="T9" fmla="*/ 51 h 89"/>
                  <a:gd name="T10" fmla="*/ 0 w 50"/>
                  <a:gd name="T11" fmla="*/ 62 h 89"/>
                  <a:gd name="T12" fmla="*/ 7 w 50"/>
                  <a:gd name="T13" fmla="*/ 72 h 89"/>
                  <a:gd name="T14" fmla="*/ 6 w 50"/>
                  <a:gd name="T15" fmla="*/ 81 h 89"/>
                  <a:gd name="T16" fmla="*/ 13 w 50"/>
                  <a:gd name="T17" fmla="*/ 83 h 89"/>
                  <a:gd name="T18" fmla="*/ 23 w 50"/>
                  <a:gd name="T19" fmla="*/ 65 h 89"/>
                  <a:gd name="T20" fmla="*/ 33 w 50"/>
                  <a:gd name="T21" fmla="*/ 48 h 89"/>
                  <a:gd name="T22" fmla="*/ 23 w 50"/>
                  <a:gd name="T23" fmla="*/ 29 h 89"/>
                  <a:gd name="T24" fmla="*/ 34 w 50"/>
                  <a:gd name="T25" fmla="*/ 18 h 89"/>
                  <a:gd name="T26" fmla="*/ 48 w 50"/>
                  <a:gd name="T27" fmla="*/ 6 h 89"/>
                  <a:gd name="T28" fmla="*/ 42 w 50"/>
                  <a:gd name="T29" fmla="*/ 3 h 8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0"/>
                  <a:gd name="T46" fmla="*/ 0 h 89"/>
                  <a:gd name="T47" fmla="*/ 50 w 50"/>
                  <a:gd name="T48" fmla="*/ 89 h 8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0" h="89">
                    <a:moveTo>
                      <a:pt x="42" y="3"/>
                    </a:moveTo>
                    <a:cubicBezTo>
                      <a:pt x="27" y="4"/>
                      <a:pt x="15" y="0"/>
                      <a:pt x="24" y="14"/>
                    </a:cubicBezTo>
                    <a:cubicBezTo>
                      <a:pt x="21" y="18"/>
                      <a:pt x="20" y="18"/>
                      <a:pt x="15" y="19"/>
                    </a:cubicBezTo>
                    <a:cubicBezTo>
                      <a:pt x="7" y="24"/>
                      <a:pt x="7" y="31"/>
                      <a:pt x="0" y="38"/>
                    </a:cubicBezTo>
                    <a:cubicBezTo>
                      <a:pt x="1" y="44"/>
                      <a:pt x="2" y="46"/>
                      <a:pt x="4" y="51"/>
                    </a:cubicBezTo>
                    <a:cubicBezTo>
                      <a:pt x="3" y="55"/>
                      <a:pt x="1" y="58"/>
                      <a:pt x="0" y="62"/>
                    </a:cubicBezTo>
                    <a:cubicBezTo>
                      <a:pt x="1" y="68"/>
                      <a:pt x="1" y="70"/>
                      <a:pt x="7" y="72"/>
                    </a:cubicBezTo>
                    <a:cubicBezTo>
                      <a:pt x="10" y="76"/>
                      <a:pt x="8" y="76"/>
                      <a:pt x="6" y="81"/>
                    </a:cubicBezTo>
                    <a:cubicBezTo>
                      <a:pt x="7" y="88"/>
                      <a:pt x="9" y="89"/>
                      <a:pt x="13" y="83"/>
                    </a:cubicBezTo>
                    <a:cubicBezTo>
                      <a:pt x="15" y="71"/>
                      <a:pt x="12" y="67"/>
                      <a:pt x="23" y="65"/>
                    </a:cubicBezTo>
                    <a:cubicBezTo>
                      <a:pt x="31" y="61"/>
                      <a:pt x="27" y="54"/>
                      <a:pt x="33" y="48"/>
                    </a:cubicBezTo>
                    <a:cubicBezTo>
                      <a:pt x="30" y="40"/>
                      <a:pt x="27" y="36"/>
                      <a:pt x="23" y="29"/>
                    </a:cubicBezTo>
                    <a:cubicBezTo>
                      <a:pt x="24" y="24"/>
                      <a:pt x="29" y="21"/>
                      <a:pt x="34" y="18"/>
                    </a:cubicBezTo>
                    <a:cubicBezTo>
                      <a:pt x="37" y="8"/>
                      <a:pt x="36" y="7"/>
                      <a:pt x="48" y="6"/>
                    </a:cubicBezTo>
                    <a:cubicBezTo>
                      <a:pt x="50" y="1"/>
                      <a:pt x="50" y="3"/>
                      <a:pt x="42" y="3"/>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76" name="Freeform 2513">
                <a:extLst>
                  <a:ext uri="{FF2B5EF4-FFF2-40B4-BE49-F238E27FC236}">
                    <a16:creationId xmlns:a16="http://schemas.microsoft.com/office/drawing/2014/main" id="{EB558E3A-A84D-DBFA-3DBA-7882C2258647}"/>
                  </a:ext>
                </a:extLst>
              </p:cNvPr>
              <p:cNvSpPr>
                <a:spLocks noChangeAspect="1"/>
              </p:cNvSpPr>
              <p:nvPr/>
            </p:nvSpPr>
            <p:spPr bwMode="auto">
              <a:xfrm>
                <a:off x="2932" y="2263"/>
                <a:ext cx="29" cy="87"/>
              </a:xfrm>
              <a:custGeom>
                <a:avLst/>
                <a:gdLst>
                  <a:gd name="T0" fmla="*/ 27 w 29"/>
                  <a:gd name="T1" fmla="*/ 0 h 87"/>
                  <a:gd name="T2" fmla="*/ 19 w 29"/>
                  <a:gd name="T3" fmla="*/ 15 h 87"/>
                  <a:gd name="T4" fmla="*/ 13 w 29"/>
                  <a:gd name="T5" fmla="*/ 30 h 87"/>
                  <a:gd name="T6" fmla="*/ 7 w 29"/>
                  <a:gd name="T7" fmla="*/ 38 h 87"/>
                  <a:gd name="T8" fmla="*/ 1 w 29"/>
                  <a:gd name="T9" fmla="*/ 57 h 87"/>
                  <a:gd name="T10" fmla="*/ 9 w 29"/>
                  <a:gd name="T11" fmla="*/ 78 h 87"/>
                  <a:gd name="T12" fmla="*/ 12 w 29"/>
                  <a:gd name="T13" fmla="*/ 85 h 87"/>
                  <a:gd name="T14" fmla="*/ 24 w 29"/>
                  <a:gd name="T15" fmla="*/ 32 h 87"/>
                  <a:gd name="T16" fmla="*/ 25 w 29"/>
                  <a:gd name="T17" fmla="*/ 17 h 87"/>
                  <a:gd name="T18" fmla="*/ 29 w 29"/>
                  <a:gd name="T19" fmla="*/ 8 h 87"/>
                  <a:gd name="T20" fmla="*/ 27 w 29"/>
                  <a:gd name="T21" fmla="*/ 0 h 8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87"/>
                  <a:gd name="T35" fmla="*/ 29 w 29"/>
                  <a:gd name="T36" fmla="*/ 87 h 8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87">
                    <a:moveTo>
                      <a:pt x="27" y="0"/>
                    </a:moveTo>
                    <a:cubicBezTo>
                      <a:pt x="24" y="5"/>
                      <a:pt x="23" y="11"/>
                      <a:pt x="19" y="15"/>
                    </a:cubicBezTo>
                    <a:cubicBezTo>
                      <a:pt x="18" y="21"/>
                      <a:pt x="17" y="26"/>
                      <a:pt x="13" y="30"/>
                    </a:cubicBezTo>
                    <a:cubicBezTo>
                      <a:pt x="11" y="37"/>
                      <a:pt x="13" y="35"/>
                      <a:pt x="7" y="38"/>
                    </a:cubicBezTo>
                    <a:cubicBezTo>
                      <a:pt x="5" y="44"/>
                      <a:pt x="5" y="51"/>
                      <a:pt x="1" y="57"/>
                    </a:cubicBezTo>
                    <a:cubicBezTo>
                      <a:pt x="0" y="64"/>
                      <a:pt x="2" y="76"/>
                      <a:pt x="9" y="78"/>
                    </a:cubicBezTo>
                    <a:cubicBezTo>
                      <a:pt x="10" y="80"/>
                      <a:pt x="11" y="87"/>
                      <a:pt x="12" y="85"/>
                    </a:cubicBezTo>
                    <a:cubicBezTo>
                      <a:pt x="18" y="68"/>
                      <a:pt x="18" y="49"/>
                      <a:pt x="24" y="32"/>
                    </a:cubicBezTo>
                    <a:cubicBezTo>
                      <a:pt x="24" y="27"/>
                      <a:pt x="24" y="22"/>
                      <a:pt x="25" y="17"/>
                    </a:cubicBezTo>
                    <a:cubicBezTo>
                      <a:pt x="26" y="14"/>
                      <a:pt x="29" y="8"/>
                      <a:pt x="29" y="8"/>
                    </a:cubicBezTo>
                    <a:cubicBezTo>
                      <a:pt x="28" y="2"/>
                      <a:pt x="29" y="5"/>
                      <a:pt x="27" y="0"/>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77" name="Freeform 2514">
                <a:extLst>
                  <a:ext uri="{FF2B5EF4-FFF2-40B4-BE49-F238E27FC236}">
                    <a16:creationId xmlns:a16="http://schemas.microsoft.com/office/drawing/2014/main" id="{1C7B06B1-BA92-4A76-12C3-23A15E2CCAC9}"/>
                  </a:ext>
                </a:extLst>
              </p:cNvPr>
              <p:cNvSpPr>
                <a:spLocks noChangeAspect="1"/>
              </p:cNvSpPr>
              <p:nvPr/>
            </p:nvSpPr>
            <p:spPr bwMode="auto">
              <a:xfrm>
                <a:off x="2717" y="1385"/>
                <a:ext cx="395" cy="1031"/>
              </a:xfrm>
              <a:custGeom>
                <a:avLst/>
                <a:gdLst>
                  <a:gd name="T0" fmla="*/ 240 w 395"/>
                  <a:gd name="T1" fmla="*/ 3 h 1031"/>
                  <a:gd name="T2" fmla="*/ 240 w 395"/>
                  <a:gd name="T3" fmla="*/ 33 h 1031"/>
                  <a:gd name="T4" fmla="*/ 188 w 395"/>
                  <a:gd name="T5" fmla="*/ 73 h 1031"/>
                  <a:gd name="T6" fmla="*/ 144 w 395"/>
                  <a:gd name="T7" fmla="*/ 130 h 1031"/>
                  <a:gd name="T8" fmla="*/ 135 w 395"/>
                  <a:gd name="T9" fmla="*/ 193 h 1031"/>
                  <a:gd name="T10" fmla="*/ 103 w 395"/>
                  <a:gd name="T11" fmla="*/ 302 h 1031"/>
                  <a:gd name="T12" fmla="*/ 92 w 395"/>
                  <a:gd name="T13" fmla="*/ 331 h 1031"/>
                  <a:gd name="T14" fmla="*/ 87 w 395"/>
                  <a:gd name="T15" fmla="*/ 358 h 1031"/>
                  <a:gd name="T16" fmla="*/ 74 w 395"/>
                  <a:gd name="T17" fmla="*/ 393 h 1031"/>
                  <a:gd name="T18" fmla="*/ 29 w 395"/>
                  <a:gd name="T19" fmla="*/ 457 h 1031"/>
                  <a:gd name="T20" fmla="*/ 38 w 395"/>
                  <a:gd name="T21" fmla="*/ 563 h 1031"/>
                  <a:gd name="T22" fmla="*/ 45 w 395"/>
                  <a:gd name="T23" fmla="*/ 633 h 1031"/>
                  <a:gd name="T24" fmla="*/ 40 w 395"/>
                  <a:gd name="T25" fmla="*/ 702 h 1031"/>
                  <a:gd name="T26" fmla="*/ 21 w 395"/>
                  <a:gd name="T27" fmla="*/ 773 h 1031"/>
                  <a:gd name="T28" fmla="*/ 3 w 395"/>
                  <a:gd name="T29" fmla="*/ 771 h 1031"/>
                  <a:gd name="T30" fmla="*/ 35 w 395"/>
                  <a:gd name="T31" fmla="*/ 865 h 1031"/>
                  <a:gd name="T32" fmla="*/ 69 w 395"/>
                  <a:gd name="T33" fmla="*/ 926 h 1031"/>
                  <a:gd name="T34" fmla="*/ 94 w 395"/>
                  <a:gd name="T35" fmla="*/ 1031 h 1031"/>
                  <a:gd name="T36" fmla="*/ 136 w 395"/>
                  <a:gd name="T37" fmla="*/ 993 h 1031"/>
                  <a:gd name="T38" fmla="*/ 196 w 395"/>
                  <a:gd name="T39" fmla="*/ 963 h 1031"/>
                  <a:gd name="T40" fmla="*/ 207 w 395"/>
                  <a:gd name="T41" fmla="*/ 939 h 1031"/>
                  <a:gd name="T42" fmla="*/ 220 w 395"/>
                  <a:gd name="T43" fmla="*/ 897 h 1031"/>
                  <a:gd name="T44" fmla="*/ 201 w 395"/>
                  <a:gd name="T45" fmla="*/ 790 h 1031"/>
                  <a:gd name="T46" fmla="*/ 252 w 395"/>
                  <a:gd name="T47" fmla="*/ 750 h 1031"/>
                  <a:gd name="T48" fmla="*/ 284 w 395"/>
                  <a:gd name="T49" fmla="*/ 745 h 1031"/>
                  <a:gd name="T50" fmla="*/ 298 w 395"/>
                  <a:gd name="T51" fmla="*/ 693 h 1031"/>
                  <a:gd name="T52" fmla="*/ 255 w 395"/>
                  <a:gd name="T53" fmla="*/ 645 h 1031"/>
                  <a:gd name="T54" fmla="*/ 226 w 395"/>
                  <a:gd name="T55" fmla="*/ 637 h 1031"/>
                  <a:gd name="T56" fmla="*/ 226 w 395"/>
                  <a:gd name="T57" fmla="*/ 507 h 1031"/>
                  <a:gd name="T58" fmla="*/ 305 w 395"/>
                  <a:gd name="T59" fmla="*/ 399 h 1031"/>
                  <a:gd name="T60" fmla="*/ 332 w 395"/>
                  <a:gd name="T61" fmla="*/ 365 h 1031"/>
                  <a:gd name="T62" fmla="*/ 312 w 395"/>
                  <a:gd name="T63" fmla="*/ 309 h 1031"/>
                  <a:gd name="T64" fmla="*/ 372 w 395"/>
                  <a:gd name="T65" fmla="*/ 229 h 1031"/>
                  <a:gd name="T66" fmla="*/ 384 w 395"/>
                  <a:gd name="T67" fmla="*/ 213 h 1031"/>
                  <a:gd name="T68" fmla="*/ 365 w 395"/>
                  <a:gd name="T69" fmla="*/ 133 h 1031"/>
                  <a:gd name="T70" fmla="*/ 340 w 395"/>
                  <a:gd name="T71" fmla="*/ 62 h 1031"/>
                  <a:gd name="T72" fmla="*/ 253 w 395"/>
                  <a:gd name="T73" fmla="*/ 0 h 103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95"/>
                  <a:gd name="T112" fmla="*/ 0 h 1031"/>
                  <a:gd name="T113" fmla="*/ 395 w 395"/>
                  <a:gd name="T114" fmla="*/ 1031 h 103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95" h="1031">
                    <a:moveTo>
                      <a:pt x="253" y="0"/>
                    </a:moveTo>
                    <a:cubicBezTo>
                      <a:pt x="251" y="0"/>
                      <a:pt x="240" y="2"/>
                      <a:pt x="240" y="3"/>
                    </a:cubicBezTo>
                    <a:cubicBezTo>
                      <a:pt x="239" y="7"/>
                      <a:pt x="244" y="20"/>
                      <a:pt x="244" y="25"/>
                    </a:cubicBezTo>
                    <a:cubicBezTo>
                      <a:pt x="243" y="28"/>
                      <a:pt x="240" y="33"/>
                      <a:pt x="240" y="33"/>
                    </a:cubicBezTo>
                    <a:cubicBezTo>
                      <a:pt x="239" y="38"/>
                      <a:pt x="245" y="47"/>
                      <a:pt x="236" y="54"/>
                    </a:cubicBezTo>
                    <a:cubicBezTo>
                      <a:pt x="159" y="33"/>
                      <a:pt x="202" y="64"/>
                      <a:pt x="188" y="73"/>
                    </a:cubicBezTo>
                    <a:cubicBezTo>
                      <a:pt x="172" y="83"/>
                      <a:pt x="202" y="87"/>
                      <a:pt x="179" y="88"/>
                    </a:cubicBezTo>
                    <a:cubicBezTo>
                      <a:pt x="135" y="86"/>
                      <a:pt x="146" y="119"/>
                      <a:pt x="144" y="130"/>
                    </a:cubicBezTo>
                    <a:cubicBezTo>
                      <a:pt x="148" y="137"/>
                      <a:pt x="146" y="147"/>
                      <a:pt x="148" y="155"/>
                    </a:cubicBezTo>
                    <a:cubicBezTo>
                      <a:pt x="145" y="174"/>
                      <a:pt x="145" y="177"/>
                      <a:pt x="135" y="193"/>
                    </a:cubicBezTo>
                    <a:cubicBezTo>
                      <a:pt x="128" y="208"/>
                      <a:pt x="111" y="225"/>
                      <a:pt x="106" y="243"/>
                    </a:cubicBezTo>
                    <a:cubicBezTo>
                      <a:pt x="102" y="265"/>
                      <a:pt x="102" y="276"/>
                      <a:pt x="103" y="302"/>
                    </a:cubicBezTo>
                    <a:cubicBezTo>
                      <a:pt x="101" y="308"/>
                      <a:pt x="101" y="311"/>
                      <a:pt x="96" y="315"/>
                    </a:cubicBezTo>
                    <a:cubicBezTo>
                      <a:pt x="95" y="320"/>
                      <a:pt x="94" y="326"/>
                      <a:pt x="92" y="331"/>
                    </a:cubicBezTo>
                    <a:cubicBezTo>
                      <a:pt x="91" y="334"/>
                      <a:pt x="88" y="341"/>
                      <a:pt x="88" y="341"/>
                    </a:cubicBezTo>
                    <a:cubicBezTo>
                      <a:pt x="87" y="349"/>
                      <a:pt x="83" y="350"/>
                      <a:pt x="87" y="358"/>
                    </a:cubicBezTo>
                    <a:cubicBezTo>
                      <a:pt x="90" y="371"/>
                      <a:pt x="99" y="375"/>
                      <a:pt x="93" y="397"/>
                    </a:cubicBezTo>
                    <a:cubicBezTo>
                      <a:pt x="86" y="396"/>
                      <a:pt x="81" y="395"/>
                      <a:pt x="74" y="393"/>
                    </a:cubicBezTo>
                    <a:cubicBezTo>
                      <a:pt x="54" y="388"/>
                      <a:pt x="50" y="411"/>
                      <a:pt x="40" y="421"/>
                    </a:cubicBezTo>
                    <a:cubicBezTo>
                      <a:pt x="38" y="432"/>
                      <a:pt x="34" y="447"/>
                      <a:pt x="29" y="457"/>
                    </a:cubicBezTo>
                    <a:cubicBezTo>
                      <a:pt x="38" y="472"/>
                      <a:pt x="29" y="481"/>
                      <a:pt x="34" y="493"/>
                    </a:cubicBezTo>
                    <a:cubicBezTo>
                      <a:pt x="36" y="512"/>
                      <a:pt x="42" y="526"/>
                      <a:pt x="38" y="563"/>
                    </a:cubicBezTo>
                    <a:cubicBezTo>
                      <a:pt x="35" y="590"/>
                      <a:pt x="51" y="584"/>
                      <a:pt x="64" y="596"/>
                    </a:cubicBezTo>
                    <a:cubicBezTo>
                      <a:pt x="65" y="607"/>
                      <a:pt x="46" y="623"/>
                      <a:pt x="45" y="633"/>
                    </a:cubicBezTo>
                    <a:cubicBezTo>
                      <a:pt x="44" y="645"/>
                      <a:pt x="59" y="657"/>
                      <a:pt x="58" y="669"/>
                    </a:cubicBezTo>
                    <a:cubicBezTo>
                      <a:pt x="53" y="679"/>
                      <a:pt x="48" y="693"/>
                      <a:pt x="40" y="702"/>
                    </a:cubicBezTo>
                    <a:cubicBezTo>
                      <a:pt x="32" y="709"/>
                      <a:pt x="29" y="725"/>
                      <a:pt x="28" y="737"/>
                    </a:cubicBezTo>
                    <a:cubicBezTo>
                      <a:pt x="29" y="753"/>
                      <a:pt x="27" y="758"/>
                      <a:pt x="21" y="773"/>
                    </a:cubicBezTo>
                    <a:cubicBezTo>
                      <a:pt x="18" y="778"/>
                      <a:pt x="8" y="757"/>
                      <a:pt x="5" y="757"/>
                    </a:cubicBezTo>
                    <a:cubicBezTo>
                      <a:pt x="1" y="763"/>
                      <a:pt x="0" y="764"/>
                      <a:pt x="3" y="771"/>
                    </a:cubicBezTo>
                    <a:cubicBezTo>
                      <a:pt x="5" y="784"/>
                      <a:pt x="15" y="823"/>
                      <a:pt x="20" y="838"/>
                    </a:cubicBezTo>
                    <a:cubicBezTo>
                      <a:pt x="22" y="849"/>
                      <a:pt x="32" y="855"/>
                      <a:pt x="35" y="865"/>
                    </a:cubicBezTo>
                    <a:cubicBezTo>
                      <a:pt x="39" y="877"/>
                      <a:pt x="43" y="897"/>
                      <a:pt x="50" y="907"/>
                    </a:cubicBezTo>
                    <a:cubicBezTo>
                      <a:pt x="59" y="911"/>
                      <a:pt x="63" y="918"/>
                      <a:pt x="69" y="926"/>
                    </a:cubicBezTo>
                    <a:cubicBezTo>
                      <a:pt x="72" y="940"/>
                      <a:pt x="75" y="958"/>
                      <a:pt x="64" y="969"/>
                    </a:cubicBezTo>
                    <a:cubicBezTo>
                      <a:pt x="68" y="986"/>
                      <a:pt x="81" y="1021"/>
                      <a:pt x="94" y="1031"/>
                    </a:cubicBezTo>
                    <a:cubicBezTo>
                      <a:pt x="110" y="1029"/>
                      <a:pt x="124" y="1029"/>
                      <a:pt x="140" y="1027"/>
                    </a:cubicBezTo>
                    <a:cubicBezTo>
                      <a:pt x="148" y="1016"/>
                      <a:pt x="140" y="1004"/>
                      <a:pt x="136" y="993"/>
                    </a:cubicBezTo>
                    <a:cubicBezTo>
                      <a:pt x="141" y="973"/>
                      <a:pt x="160" y="970"/>
                      <a:pt x="177" y="969"/>
                    </a:cubicBezTo>
                    <a:cubicBezTo>
                      <a:pt x="184" y="966"/>
                      <a:pt x="189" y="966"/>
                      <a:pt x="196" y="963"/>
                    </a:cubicBezTo>
                    <a:cubicBezTo>
                      <a:pt x="197" y="956"/>
                      <a:pt x="201" y="951"/>
                      <a:pt x="204" y="945"/>
                    </a:cubicBezTo>
                    <a:cubicBezTo>
                      <a:pt x="205" y="943"/>
                      <a:pt x="207" y="939"/>
                      <a:pt x="207" y="939"/>
                    </a:cubicBezTo>
                    <a:cubicBezTo>
                      <a:pt x="209" y="929"/>
                      <a:pt x="212" y="918"/>
                      <a:pt x="215" y="909"/>
                    </a:cubicBezTo>
                    <a:cubicBezTo>
                      <a:pt x="216" y="905"/>
                      <a:pt x="220" y="897"/>
                      <a:pt x="220" y="897"/>
                    </a:cubicBezTo>
                    <a:cubicBezTo>
                      <a:pt x="223" y="877"/>
                      <a:pt x="220" y="851"/>
                      <a:pt x="226" y="832"/>
                    </a:cubicBezTo>
                    <a:cubicBezTo>
                      <a:pt x="224" y="801"/>
                      <a:pt x="227" y="803"/>
                      <a:pt x="201" y="790"/>
                    </a:cubicBezTo>
                    <a:cubicBezTo>
                      <a:pt x="206" y="783"/>
                      <a:pt x="227" y="780"/>
                      <a:pt x="236" y="779"/>
                    </a:cubicBezTo>
                    <a:cubicBezTo>
                      <a:pt x="248" y="772"/>
                      <a:pt x="241" y="756"/>
                      <a:pt x="252" y="750"/>
                    </a:cubicBezTo>
                    <a:cubicBezTo>
                      <a:pt x="256" y="753"/>
                      <a:pt x="257" y="760"/>
                      <a:pt x="260" y="764"/>
                    </a:cubicBezTo>
                    <a:cubicBezTo>
                      <a:pt x="271" y="760"/>
                      <a:pt x="276" y="753"/>
                      <a:pt x="284" y="745"/>
                    </a:cubicBezTo>
                    <a:cubicBezTo>
                      <a:pt x="280" y="729"/>
                      <a:pt x="264" y="732"/>
                      <a:pt x="245" y="731"/>
                    </a:cubicBezTo>
                    <a:cubicBezTo>
                      <a:pt x="247" y="722"/>
                      <a:pt x="295" y="707"/>
                      <a:pt x="298" y="693"/>
                    </a:cubicBezTo>
                    <a:cubicBezTo>
                      <a:pt x="300" y="679"/>
                      <a:pt x="283" y="659"/>
                      <a:pt x="272" y="651"/>
                    </a:cubicBezTo>
                    <a:cubicBezTo>
                      <a:pt x="271" y="644"/>
                      <a:pt x="262" y="646"/>
                      <a:pt x="255" y="645"/>
                    </a:cubicBezTo>
                    <a:cubicBezTo>
                      <a:pt x="247" y="638"/>
                      <a:pt x="253" y="642"/>
                      <a:pt x="240" y="640"/>
                    </a:cubicBezTo>
                    <a:cubicBezTo>
                      <a:pt x="235" y="639"/>
                      <a:pt x="226" y="637"/>
                      <a:pt x="226" y="637"/>
                    </a:cubicBezTo>
                    <a:cubicBezTo>
                      <a:pt x="218" y="626"/>
                      <a:pt x="221" y="632"/>
                      <a:pt x="221" y="605"/>
                    </a:cubicBezTo>
                    <a:cubicBezTo>
                      <a:pt x="221" y="585"/>
                      <a:pt x="219" y="536"/>
                      <a:pt x="226" y="507"/>
                    </a:cubicBezTo>
                    <a:cubicBezTo>
                      <a:pt x="230" y="491"/>
                      <a:pt x="240" y="477"/>
                      <a:pt x="249" y="464"/>
                    </a:cubicBezTo>
                    <a:cubicBezTo>
                      <a:pt x="266" y="441"/>
                      <a:pt x="282" y="417"/>
                      <a:pt x="305" y="399"/>
                    </a:cubicBezTo>
                    <a:cubicBezTo>
                      <a:pt x="312" y="393"/>
                      <a:pt x="317" y="387"/>
                      <a:pt x="324" y="381"/>
                    </a:cubicBezTo>
                    <a:cubicBezTo>
                      <a:pt x="331" y="369"/>
                      <a:pt x="329" y="375"/>
                      <a:pt x="332" y="365"/>
                    </a:cubicBezTo>
                    <a:cubicBezTo>
                      <a:pt x="330" y="342"/>
                      <a:pt x="344" y="349"/>
                      <a:pt x="336" y="334"/>
                    </a:cubicBezTo>
                    <a:cubicBezTo>
                      <a:pt x="335" y="327"/>
                      <a:pt x="318" y="313"/>
                      <a:pt x="312" y="309"/>
                    </a:cubicBezTo>
                    <a:cubicBezTo>
                      <a:pt x="314" y="296"/>
                      <a:pt x="334" y="264"/>
                      <a:pt x="344" y="251"/>
                    </a:cubicBezTo>
                    <a:cubicBezTo>
                      <a:pt x="350" y="241"/>
                      <a:pt x="360" y="231"/>
                      <a:pt x="372" y="229"/>
                    </a:cubicBezTo>
                    <a:cubicBezTo>
                      <a:pt x="380" y="225"/>
                      <a:pt x="386" y="229"/>
                      <a:pt x="395" y="227"/>
                    </a:cubicBezTo>
                    <a:cubicBezTo>
                      <a:pt x="388" y="225"/>
                      <a:pt x="387" y="220"/>
                      <a:pt x="384" y="213"/>
                    </a:cubicBezTo>
                    <a:cubicBezTo>
                      <a:pt x="383" y="206"/>
                      <a:pt x="377" y="199"/>
                      <a:pt x="373" y="193"/>
                    </a:cubicBezTo>
                    <a:cubicBezTo>
                      <a:pt x="370" y="173"/>
                      <a:pt x="378" y="150"/>
                      <a:pt x="365" y="133"/>
                    </a:cubicBezTo>
                    <a:cubicBezTo>
                      <a:pt x="362" y="120"/>
                      <a:pt x="351" y="107"/>
                      <a:pt x="346" y="94"/>
                    </a:cubicBezTo>
                    <a:cubicBezTo>
                      <a:pt x="345" y="80"/>
                      <a:pt x="352" y="69"/>
                      <a:pt x="340" y="62"/>
                    </a:cubicBezTo>
                    <a:cubicBezTo>
                      <a:pt x="327" y="46"/>
                      <a:pt x="304" y="36"/>
                      <a:pt x="287" y="24"/>
                    </a:cubicBezTo>
                    <a:cubicBezTo>
                      <a:pt x="276" y="16"/>
                      <a:pt x="267" y="5"/>
                      <a:pt x="253" y="0"/>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grpSp>
          <p:nvGrpSpPr>
            <p:cNvPr id="451" name="Group 2515">
              <a:extLst>
                <a:ext uri="{FF2B5EF4-FFF2-40B4-BE49-F238E27FC236}">
                  <a16:creationId xmlns:a16="http://schemas.microsoft.com/office/drawing/2014/main" id="{D01DC6EE-8A70-3FDA-AEDB-72052850AEE4}"/>
                </a:ext>
              </a:extLst>
            </p:cNvPr>
            <p:cNvGrpSpPr>
              <a:grpSpLocks/>
            </p:cNvGrpSpPr>
            <p:nvPr>
              <p:custDataLst>
                <p:tags r:id="rId15"/>
              </p:custDataLst>
            </p:nvPr>
          </p:nvGrpSpPr>
          <p:grpSpPr bwMode="auto">
            <a:xfrm>
              <a:off x="3294952" y="2359135"/>
              <a:ext cx="708959" cy="1002657"/>
              <a:chOff x="1955" y="-432"/>
              <a:chExt cx="2919" cy="4123"/>
            </a:xfrm>
          </p:grpSpPr>
          <p:sp>
            <p:nvSpPr>
              <p:cNvPr id="173" name="Freeform 2516">
                <a:extLst>
                  <a:ext uri="{FF2B5EF4-FFF2-40B4-BE49-F238E27FC236}">
                    <a16:creationId xmlns:a16="http://schemas.microsoft.com/office/drawing/2014/main" id="{D897DED4-77AF-1EAF-228B-4A559CF9B9F5}"/>
                  </a:ext>
                </a:extLst>
              </p:cNvPr>
              <p:cNvSpPr>
                <a:spLocks noChangeAspect="1"/>
              </p:cNvSpPr>
              <p:nvPr/>
            </p:nvSpPr>
            <p:spPr bwMode="auto">
              <a:xfrm>
                <a:off x="3019" y="312"/>
                <a:ext cx="392" cy="468"/>
              </a:xfrm>
              <a:custGeom>
                <a:avLst/>
                <a:gdLst>
                  <a:gd name="T0" fmla="*/ 14 w 98"/>
                  <a:gd name="T1" fmla="*/ 94 h 117"/>
                  <a:gd name="T2" fmla="*/ 30 w 98"/>
                  <a:gd name="T3" fmla="*/ 74 h 117"/>
                  <a:gd name="T4" fmla="*/ 39 w 98"/>
                  <a:gd name="T5" fmla="*/ 74 h 117"/>
                  <a:gd name="T6" fmla="*/ 52 w 98"/>
                  <a:gd name="T7" fmla="*/ 70 h 117"/>
                  <a:gd name="T8" fmla="*/ 56 w 98"/>
                  <a:gd name="T9" fmla="*/ 60 h 117"/>
                  <a:gd name="T10" fmla="*/ 40 w 98"/>
                  <a:gd name="T11" fmla="*/ 54 h 117"/>
                  <a:gd name="T12" fmla="*/ 60 w 98"/>
                  <a:gd name="T13" fmla="*/ 33 h 117"/>
                  <a:gd name="T14" fmla="*/ 74 w 98"/>
                  <a:gd name="T15" fmla="*/ 33 h 117"/>
                  <a:gd name="T16" fmla="*/ 79 w 98"/>
                  <a:gd name="T17" fmla="*/ 0 h 117"/>
                  <a:gd name="T18" fmla="*/ 86 w 98"/>
                  <a:gd name="T19" fmla="*/ 7 h 117"/>
                  <a:gd name="T20" fmla="*/ 79 w 98"/>
                  <a:gd name="T21" fmla="*/ 21 h 117"/>
                  <a:gd name="T22" fmla="*/ 80 w 98"/>
                  <a:gd name="T23" fmla="*/ 31 h 117"/>
                  <a:gd name="T24" fmla="*/ 84 w 98"/>
                  <a:gd name="T25" fmla="*/ 37 h 117"/>
                  <a:gd name="T26" fmla="*/ 97 w 98"/>
                  <a:gd name="T27" fmla="*/ 30 h 117"/>
                  <a:gd name="T28" fmla="*/ 85 w 98"/>
                  <a:gd name="T29" fmla="*/ 51 h 117"/>
                  <a:gd name="T30" fmla="*/ 79 w 98"/>
                  <a:gd name="T31" fmla="*/ 63 h 117"/>
                  <a:gd name="T32" fmla="*/ 56 w 98"/>
                  <a:gd name="T33" fmla="*/ 82 h 117"/>
                  <a:gd name="T34" fmla="*/ 37 w 98"/>
                  <a:gd name="T35" fmla="*/ 85 h 117"/>
                  <a:gd name="T36" fmla="*/ 31 w 98"/>
                  <a:gd name="T37" fmla="*/ 94 h 117"/>
                  <a:gd name="T38" fmla="*/ 16 w 98"/>
                  <a:gd name="T39" fmla="*/ 105 h 117"/>
                  <a:gd name="T40" fmla="*/ 6 w 98"/>
                  <a:gd name="T41" fmla="*/ 114 h 117"/>
                  <a:gd name="T42" fmla="*/ 0 w 98"/>
                  <a:gd name="T43" fmla="*/ 117 h 117"/>
                  <a:gd name="T44" fmla="*/ 14 w 98"/>
                  <a:gd name="T45" fmla="*/ 94 h 11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8"/>
                  <a:gd name="T70" fmla="*/ 0 h 117"/>
                  <a:gd name="T71" fmla="*/ 98 w 98"/>
                  <a:gd name="T72" fmla="*/ 117 h 11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8" h="117">
                    <a:moveTo>
                      <a:pt x="14" y="94"/>
                    </a:moveTo>
                    <a:cubicBezTo>
                      <a:pt x="22" y="88"/>
                      <a:pt x="22" y="81"/>
                      <a:pt x="30" y="74"/>
                    </a:cubicBezTo>
                    <a:cubicBezTo>
                      <a:pt x="32" y="68"/>
                      <a:pt x="33" y="76"/>
                      <a:pt x="39" y="74"/>
                    </a:cubicBezTo>
                    <a:cubicBezTo>
                      <a:pt x="45" y="75"/>
                      <a:pt x="46" y="68"/>
                      <a:pt x="52" y="70"/>
                    </a:cubicBezTo>
                    <a:cubicBezTo>
                      <a:pt x="59" y="69"/>
                      <a:pt x="64" y="66"/>
                      <a:pt x="56" y="60"/>
                    </a:cubicBezTo>
                    <a:cubicBezTo>
                      <a:pt x="51" y="57"/>
                      <a:pt x="40" y="54"/>
                      <a:pt x="40" y="54"/>
                    </a:cubicBezTo>
                    <a:cubicBezTo>
                      <a:pt x="37" y="44"/>
                      <a:pt x="54" y="34"/>
                      <a:pt x="60" y="33"/>
                    </a:cubicBezTo>
                    <a:cubicBezTo>
                      <a:pt x="63" y="29"/>
                      <a:pt x="72" y="38"/>
                      <a:pt x="74" y="33"/>
                    </a:cubicBezTo>
                    <a:cubicBezTo>
                      <a:pt x="73" y="24"/>
                      <a:pt x="67" y="3"/>
                      <a:pt x="79" y="0"/>
                    </a:cubicBezTo>
                    <a:cubicBezTo>
                      <a:pt x="84" y="2"/>
                      <a:pt x="85" y="2"/>
                      <a:pt x="86" y="7"/>
                    </a:cubicBezTo>
                    <a:cubicBezTo>
                      <a:pt x="85" y="15"/>
                      <a:pt x="83" y="15"/>
                      <a:pt x="79" y="21"/>
                    </a:cubicBezTo>
                    <a:cubicBezTo>
                      <a:pt x="78" y="25"/>
                      <a:pt x="77" y="26"/>
                      <a:pt x="80" y="31"/>
                    </a:cubicBezTo>
                    <a:cubicBezTo>
                      <a:pt x="81" y="33"/>
                      <a:pt x="84" y="37"/>
                      <a:pt x="84" y="37"/>
                    </a:cubicBezTo>
                    <a:cubicBezTo>
                      <a:pt x="88" y="35"/>
                      <a:pt x="92" y="32"/>
                      <a:pt x="97" y="30"/>
                    </a:cubicBezTo>
                    <a:cubicBezTo>
                      <a:pt x="98" y="32"/>
                      <a:pt x="88" y="46"/>
                      <a:pt x="85" y="51"/>
                    </a:cubicBezTo>
                    <a:cubicBezTo>
                      <a:pt x="82" y="56"/>
                      <a:pt x="84" y="58"/>
                      <a:pt x="79" y="63"/>
                    </a:cubicBezTo>
                    <a:cubicBezTo>
                      <a:pt x="72" y="79"/>
                      <a:pt x="78" y="81"/>
                      <a:pt x="56" y="82"/>
                    </a:cubicBezTo>
                    <a:cubicBezTo>
                      <a:pt x="50" y="84"/>
                      <a:pt x="43" y="83"/>
                      <a:pt x="37" y="85"/>
                    </a:cubicBezTo>
                    <a:cubicBezTo>
                      <a:pt x="36" y="85"/>
                      <a:pt x="32" y="93"/>
                      <a:pt x="31" y="94"/>
                    </a:cubicBezTo>
                    <a:cubicBezTo>
                      <a:pt x="26" y="100"/>
                      <a:pt x="22" y="101"/>
                      <a:pt x="16" y="105"/>
                    </a:cubicBezTo>
                    <a:cubicBezTo>
                      <a:pt x="12" y="111"/>
                      <a:pt x="15" y="107"/>
                      <a:pt x="6" y="114"/>
                    </a:cubicBezTo>
                    <a:cubicBezTo>
                      <a:pt x="4" y="115"/>
                      <a:pt x="0" y="117"/>
                      <a:pt x="0" y="117"/>
                    </a:cubicBezTo>
                    <a:lnTo>
                      <a:pt x="14" y="94"/>
                    </a:ln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74" name="Freeform 2517">
                <a:extLst>
                  <a:ext uri="{FF2B5EF4-FFF2-40B4-BE49-F238E27FC236}">
                    <a16:creationId xmlns:a16="http://schemas.microsoft.com/office/drawing/2014/main" id="{4D80095F-8CE8-541D-C596-EC3E134BBFE3}"/>
                  </a:ext>
                </a:extLst>
              </p:cNvPr>
              <p:cNvSpPr>
                <a:spLocks noChangeAspect="1"/>
              </p:cNvSpPr>
              <p:nvPr/>
            </p:nvSpPr>
            <p:spPr bwMode="auto">
              <a:xfrm>
                <a:off x="1955" y="-432"/>
                <a:ext cx="2919" cy="4123"/>
              </a:xfrm>
              <a:custGeom>
                <a:avLst/>
                <a:gdLst>
                  <a:gd name="T0" fmla="*/ 1000 w 2919"/>
                  <a:gd name="T1" fmla="*/ 3731 h 4123"/>
                  <a:gd name="T2" fmla="*/ 1064 w 2919"/>
                  <a:gd name="T3" fmla="*/ 3291 h 4123"/>
                  <a:gd name="T4" fmla="*/ 1044 w 2919"/>
                  <a:gd name="T5" fmla="*/ 2867 h 4123"/>
                  <a:gd name="T6" fmla="*/ 1050 w 2919"/>
                  <a:gd name="T7" fmla="*/ 2452 h 4123"/>
                  <a:gd name="T8" fmla="*/ 1258 w 2919"/>
                  <a:gd name="T9" fmla="*/ 2352 h 4123"/>
                  <a:gd name="T10" fmla="*/ 1261 w 2919"/>
                  <a:gd name="T11" fmla="*/ 2075 h 4123"/>
                  <a:gd name="T12" fmla="*/ 1309 w 2919"/>
                  <a:gd name="T13" fmla="*/ 1734 h 4123"/>
                  <a:gd name="T14" fmla="*/ 1463 w 2919"/>
                  <a:gd name="T15" fmla="*/ 1288 h 4123"/>
                  <a:gd name="T16" fmla="*/ 1834 w 2919"/>
                  <a:gd name="T17" fmla="*/ 980 h 4123"/>
                  <a:gd name="T18" fmla="*/ 1967 w 2919"/>
                  <a:gd name="T19" fmla="*/ 684 h 4123"/>
                  <a:gd name="T20" fmla="*/ 2443 w 2919"/>
                  <a:gd name="T21" fmla="*/ 676 h 4123"/>
                  <a:gd name="T22" fmla="*/ 2514 w 2919"/>
                  <a:gd name="T23" fmla="*/ 381 h 4123"/>
                  <a:gd name="T24" fmla="*/ 2761 w 2919"/>
                  <a:gd name="T25" fmla="*/ 406 h 4123"/>
                  <a:gd name="T26" fmla="*/ 2857 w 2919"/>
                  <a:gd name="T27" fmla="*/ 444 h 4123"/>
                  <a:gd name="T28" fmla="*/ 2695 w 2919"/>
                  <a:gd name="T29" fmla="*/ 268 h 4123"/>
                  <a:gd name="T30" fmla="*/ 2647 w 2919"/>
                  <a:gd name="T31" fmla="*/ 40 h 4123"/>
                  <a:gd name="T32" fmla="*/ 2435 w 2919"/>
                  <a:gd name="T33" fmla="*/ 244 h 4123"/>
                  <a:gd name="T34" fmla="*/ 2319 w 2919"/>
                  <a:gd name="T35" fmla="*/ 340 h 4123"/>
                  <a:gd name="T36" fmla="*/ 2183 w 2919"/>
                  <a:gd name="T37" fmla="*/ 168 h 4123"/>
                  <a:gd name="T38" fmla="*/ 2007 w 2919"/>
                  <a:gd name="T39" fmla="*/ 360 h 4123"/>
                  <a:gd name="T40" fmla="*/ 1823 w 2919"/>
                  <a:gd name="T41" fmla="*/ 632 h 4123"/>
                  <a:gd name="T42" fmla="*/ 1695 w 2919"/>
                  <a:gd name="T43" fmla="*/ 520 h 4123"/>
                  <a:gd name="T44" fmla="*/ 1675 w 2919"/>
                  <a:gd name="T45" fmla="*/ 648 h 4123"/>
                  <a:gd name="T46" fmla="*/ 1523 w 2919"/>
                  <a:gd name="T47" fmla="*/ 820 h 4123"/>
                  <a:gd name="T48" fmla="*/ 1559 w 2919"/>
                  <a:gd name="T49" fmla="*/ 996 h 4123"/>
                  <a:gd name="T50" fmla="*/ 1324 w 2919"/>
                  <a:gd name="T51" fmla="*/ 1244 h 4123"/>
                  <a:gd name="T52" fmla="*/ 1368 w 2919"/>
                  <a:gd name="T53" fmla="*/ 1380 h 4123"/>
                  <a:gd name="T54" fmla="*/ 1220 w 2919"/>
                  <a:gd name="T55" fmla="*/ 1444 h 4123"/>
                  <a:gd name="T56" fmla="*/ 1116 w 2919"/>
                  <a:gd name="T57" fmla="*/ 1656 h 4123"/>
                  <a:gd name="T58" fmla="*/ 1092 w 2919"/>
                  <a:gd name="T59" fmla="*/ 1784 h 4123"/>
                  <a:gd name="T60" fmla="*/ 1044 w 2919"/>
                  <a:gd name="T61" fmla="*/ 1968 h 4123"/>
                  <a:gd name="T62" fmla="*/ 976 w 2919"/>
                  <a:gd name="T63" fmla="*/ 2087 h 4123"/>
                  <a:gd name="T64" fmla="*/ 720 w 2919"/>
                  <a:gd name="T65" fmla="*/ 2375 h 4123"/>
                  <a:gd name="T66" fmla="*/ 828 w 2919"/>
                  <a:gd name="T67" fmla="*/ 2539 h 4123"/>
                  <a:gd name="T68" fmla="*/ 608 w 2919"/>
                  <a:gd name="T69" fmla="*/ 2539 h 4123"/>
                  <a:gd name="T70" fmla="*/ 496 w 2919"/>
                  <a:gd name="T71" fmla="*/ 2671 h 4123"/>
                  <a:gd name="T72" fmla="*/ 332 w 2919"/>
                  <a:gd name="T73" fmla="*/ 2791 h 4123"/>
                  <a:gd name="T74" fmla="*/ 188 w 2919"/>
                  <a:gd name="T75" fmla="*/ 2855 h 4123"/>
                  <a:gd name="T76" fmla="*/ 296 w 2919"/>
                  <a:gd name="T77" fmla="*/ 3011 h 4123"/>
                  <a:gd name="T78" fmla="*/ 216 w 2919"/>
                  <a:gd name="T79" fmla="*/ 3163 h 4123"/>
                  <a:gd name="T80" fmla="*/ 8 w 2919"/>
                  <a:gd name="T81" fmla="*/ 3295 h 4123"/>
                  <a:gd name="T82" fmla="*/ 268 w 2919"/>
                  <a:gd name="T83" fmla="*/ 3411 h 4123"/>
                  <a:gd name="T84" fmla="*/ 160 w 2919"/>
                  <a:gd name="T85" fmla="*/ 3471 h 4123"/>
                  <a:gd name="T86" fmla="*/ 112 w 2919"/>
                  <a:gd name="T87" fmla="*/ 3607 h 4123"/>
                  <a:gd name="T88" fmla="*/ 116 w 2919"/>
                  <a:gd name="T89" fmla="*/ 3679 h 4123"/>
                  <a:gd name="T90" fmla="*/ 140 w 2919"/>
                  <a:gd name="T91" fmla="*/ 3795 h 4123"/>
                  <a:gd name="T92" fmla="*/ 312 w 2919"/>
                  <a:gd name="T93" fmla="*/ 4103 h 4123"/>
                  <a:gd name="T94" fmla="*/ 660 w 2919"/>
                  <a:gd name="T95" fmla="*/ 3863 h 4123"/>
                  <a:gd name="T96" fmla="*/ 896 w 2919"/>
                  <a:gd name="T97" fmla="*/ 3739 h 412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919"/>
                  <a:gd name="T148" fmla="*/ 0 h 4123"/>
                  <a:gd name="T149" fmla="*/ 2919 w 2919"/>
                  <a:gd name="T150" fmla="*/ 4123 h 412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919" h="4123">
                    <a:moveTo>
                      <a:pt x="908" y="3795"/>
                    </a:moveTo>
                    <a:cubicBezTo>
                      <a:pt x="936" y="3799"/>
                      <a:pt x="940" y="3846"/>
                      <a:pt x="969" y="3860"/>
                    </a:cubicBezTo>
                    <a:cubicBezTo>
                      <a:pt x="984" y="3828"/>
                      <a:pt x="1000" y="3779"/>
                      <a:pt x="1000" y="3731"/>
                    </a:cubicBezTo>
                    <a:cubicBezTo>
                      <a:pt x="1004" y="3695"/>
                      <a:pt x="1012" y="3591"/>
                      <a:pt x="1044" y="3575"/>
                    </a:cubicBezTo>
                    <a:cubicBezTo>
                      <a:pt x="1080" y="3527"/>
                      <a:pt x="1088" y="3503"/>
                      <a:pt x="1116" y="3447"/>
                    </a:cubicBezTo>
                    <a:cubicBezTo>
                      <a:pt x="1131" y="3395"/>
                      <a:pt x="1060" y="3339"/>
                      <a:pt x="1064" y="3291"/>
                    </a:cubicBezTo>
                    <a:cubicBezTo>
                      <a:pt x="1072" y="3259"/>
                      <a:pt x="1148" y="3192"/>
                      <a:pt x="1144" y="3152"/>
                    </a:cubicBezTo>
                    <a:cubicBezTo>
                      <a:pt x="1136" y="3128"/>
                      <a:pt x="1057" y="3114"/>
                      <a:pt x="1041" y="3066"/>
                    </a:cubicBezTo>
                    <a:cubicBezTo>
                      <a:pt x="1037" y="3010"/>
                      <a:pt x="1050" y="2922"/>
                      <a:pt x="1044" y="2867"/>
                    </a:cubicBezTo>
                    <a:cubicBezTo>
                      <a:pt x="1038" y="2795"/>
                      <a:pt x="1009" y="2712"/>
                      <a:pt x="1021" y="2658"/>
                    </a:cubicBezTo>
                    <a:cubicBezTo>
                      <a:pt x="1021" y="2606"/>
                      <a:pt x="1001" y="2620"/>
                      <a:pt x="1006" y="2586"/>
                    </a:cubicBezTo>
                    <a:cubicBezTo>
                      <a:pt x="1023" y="2550"/>
                      <a:pt x="1040" y="2479"/>
                      <a:pt x="1050" y="2452"/>
                    </a:cubicBezTo>
                    <a:cubicBezTo>
                      <a:pt x="1060" y="2425"/>
                      <a:pt x="1053" y="2442"/>
                      <a:pt x="1068" y="2423"/>
                    </a:cubicBezTo>
                    <a:cubicBezTo>
                      <a:pt x="1097" y="2381"/>
                      <a:pt x="1098" y="2363"/>
                      <a:pt x="1140" y="2336"/>
                    </a:cubicBezTo>
                    <a:cubicBezTo>
                      <a:pt x="1172" y="2324"/>
                      <a:pt x="1219" y="2351"/>
                      <a:pt x="1258" y="2352"/>
                    </a:cubicBezTo>
                    <a:cubicBezTo>
                      <a:pt x="1282" y="2291"/>
                      <a:pt x="1251" y="2230"/>
                      <a:pt x="1227" y="2178"/>
                    </a:cubicBezTo>
                    <a:cubicBezTo>
                      <a:pt x="1237" y="2136"/>
                      <a:pt x="1229" y="2151"/>
                      <a:pt x="1242" y="2118"/>
                    </a:cubicBezTo>
                    <a:cubicBezTo>
                      <a:pt x="1248" y="2101"/>
                      <a:pt x="1256" y="2090"/>
                      <a:pt x="1261" y="2075"/>
                    </a:cubicBezTo>
                    <a:cubicBezTo>
                      <a:pt x="1266" y="2060"/>
                      <a:pt x="1264" y="2041"/>
                      <a:pt x="1270" y="2025"/>
                    </a:cubicBezTo>
                    <a:cubicBezTo>
                      <a:pt x="1276" y="2009"/>
                      <a:pt x="1291" y="2027"/>
                      <a:pt x="1297" y="1979"/>
                    </a:cubicBezTo>
                    <a:cubicBezTo>
                      <a:pt x="1301" y="1899"/>
                      <a:pt x="1291" y="1804"/>
                      <a:pt x="1309" y="1734"/>
                    </a:cubicBezTo>
                    <a:cubicBezTo>
                      <a:pt x="1339" y="1683"/>
                      <a:pt x="1347" y="1664"/>
                      <a:pt x="1432" y="1528"/>
                    </a:cubicBezTo>
                    <a:cubicBezTo>
                      <a:pt x="1449" y="1493"/>
                      <a:pt x="1462" y="1497"/>
                      <a:pt x="1479" y="1391"/>
                    </a:cubicBezTo>
                    <a:cubicBezTo>
                      <a:pt x="1479" y="1340"/>
                      <a:pt x="1474" y="1332"/>
                      <a:pt x="1463" y="1288"/>
                    </a:cubicBezTo>
                    <a:cubicBezTo>
                      <a:pt x="1471" y="1170"/>
                      <a:pt x="1432" y="1122"/>
                      <a:pt x="1644" y="1113"/>
                    </a:cubicBezTo>
                    <a:cubicBezTo>
                      <a:pt x="1599" y="1074"/>
                      <a:pt x="1638" y="1067"/>
                      <a:pt x="1650" y="1047"/>
                    </a:cubicBezTo>
                    <a:cubicBezTo>
                      <a:pt x="1662" y="992"/>
                      <a:pt x="1560" y="908"/>
                      <a:pt x="1834" y="980"/>
                    </a:cubicBezTo>
                    <a:cubicBezTo>
                      <a:pt x="1866" y="972"/>
                      <a:pt x="1834" y="899"/>
                      <a:pt x="1863" y="868"/>
                    </a:cubicBezTo>
                    <a:cubicBezTo>
                      <a:pt x="1871" y="836"/>
                      <a:pt x="1845" y="806"/>
                      <a:pt x="1849" y="773"/>
                    </a:cubicBezTo>
                    <a:cubicBezTo>
                      <a:pt x="1920" y="785"/>
                      <a:pt x="1896" y="693"/>
                      <a:pt x="1967" y="684"/>
                    </a:cubicBezTo>
                    <a:cubicBezTo>
                      <a:pt x="2039" y="708"/>
                      <a:pt x="2055" y="728"/>
                      <a:pt x="2085" y="804"/>
                    </a:cubicBezTo>
                    <a:cubicBezTo>
                      <a:pt x="2166" y="816"/>
                      <a:pt x="2326" y="813"/>
                      <a:pt x="2416" y="740"/>
                    </a:cubicBezTo>
                    <a:cubicBezTo>
                      <a:pt x="2431" y="709"/>
                      <a:pt x="2423" y="720"/>
                      <a:pt x="2443" y="676"/>
                    </a:cubicBezTo>
                    <a:cubicBezTo>
                      <a:pt x="2440" y="551"/>
                      <a:pt x="2419" y="548"/>
                      <a:pt x="2419" y="504"/>
                    </a:cubicBezTo>
                    <a:cubicBezTo>
                      <a:pt x="2419" y="460"/>
                      <a:pt x="2426" y="432"/>
                      <a:pt x="2442" y="412"/>
                    </a:cubicBezTo>
                    <a:cubicBezTo>
                      <a:pt x="2458" y="392"/>
                      <a:pt x="2460" y="387"/>
                      <a:pt x="2514" y="381"/>
                    </a:cubicBezTo>
                    <a:cubicBezTo>
                      <a:pt x="2542" y="324"/>
                      <a:pt x="2521" y="323"/>
                      <a:pt x="2578" y="310"/>
                    </a:cubicBezTo>
                    <a:cubicBezTo>
                      <a:pt x="2622" y="334"/>
                      <a:pt x="2673" y="357"/>
                      <a:pt x="2700" y="385"/>
                    </a:cubicBezTo>
                    <a:cubicBezTo>
                      <a:pt x="2724" y="388"/>
                      <a:pt x="2745" y="394"/>
                      <a:pt x="2761" y="406"/>
                    </a:cubicBezTo>
                    <a:cubicBezTo>
                      <a:pt x="2772" y="422"/>
                      <a:pt x="2775" y="456"/>
                      <a:pt x="2778" y="482"/>
                    </a:cubicBezTo>
                    <a:cubicBezTo>
                      <a:pt x="2772" y="510"/>
                      <a:pt x="2760" y="525"/>
                      <a:pt x="2766" y="575"/>
                    </a:cubicBezTo>
                    <a:cubicBezTo>
                      <a:pt x="2791" y="551"/>
                      <a:pt x="2833" y="468"/>
                      <a:pt x="2857" y="444"/>
                    </a:cubicBezTo>
                    <a:cubicBezTo>
                      <a:pt x="2865" y="408"/>
                      <a:pt x="2907" y="376"/>
                      <a:pt x="2915" y="340"/>
                    </a:cubicBezTo>
                    <a:cubicBezTo>
                      <a:pt x="2907" y="280"/>
                      <a:pt x="2859" y="296"/>
                      <a:pt x="2799" y="292"/>
                    </a:cubicBezTo>
                    <a:cubicBezTo>
                      <a:pt x="2763" y="280"/>
                      <a:pt x="2683" y="292"/>
                      <a:pt x="2695" y="268"/>
                    </a:cubicBezTo>
                    <a:cubicBezTo>
                      <a:pt x="2755" y="224"/>
                      <a:pt x="2823" y="240"/>
                      <a:pt x="2879" y="184"/>
                    </a:cubicBezTo>
                    <a:cubicBezTo>
                      <a:pt x="2919" y="144"/>
                      <a:pt x="2823" y="80"/>
                      <a:pt x="2803" y="80"/>
                    </a:cubicBezTo>
                    <a:cubicBezTo>
                      <a:pt x="2663" y="48"/>
                      <a:pt x="2751" y="40"/>
                      <a:pt x="2647" y="40"/>
                    </a:cubicBezTo>
                    <a:cubicBezTo>
                      <a:pt x="2643" y="52"/>
                      <a:pt x="2563" y="160"/>
                      <a:pt x="2563" y="160"/>
                    </a:cubicBezTo>
                    <a:cubicBezTo>
                      <a:pt x="2555" y="168"/>
                      <a:pt x="2527" y="0"/>
                      <a:pt x="2511" y="4"/>
                    </a:cubicBezTo>
                    <a:cubicBezTo>
                      <a:pt x="2491" y="20"/>
                      <a:pt x="2447" y="224"/>
                      <a:pt x="2435" y="244"/>
                    </a:cubicBezTo>
                    <a:cubicBezTo>
                      <a:pt x="2423" y="308"/>
                      <a:pt x="2427" y="136"/>
                      <a:pt x="2407" y="112"/>
                    </a:cubicBezTo>
                    <a:cubicBezTo>
                      <a:pt x="2399" y="148"/>
                      <a:pt x="2375" y="256"/>
                      <a:pt x="2359" y="292"/>
                    </a:cubicBezTo>
                    <a:cubicBezTo>
                      <a:pt x="2343" y="320"/>
                      <a:pt x="2335" y="320"/>
                      <a:pt x="2319" y="340"/>
                    </a:cubicBezTo>
                    <a:cubicBezTo>
                      <a:pt x="2307" y="352"/>
                      <a:pt x="2287" y="380"/>
                      <a:pt x="2287" y="380"/>
                    </a:cubicBezTo>
                    <a:cubicBezTo>
                      <a:pt x="2287" y="296"/>
                      <a:pt x="2323" y="132"/>
                      <a:pt x="2319" y="48"/>
                    </a:cubicBezTo>
                    <a:cubicBezTo>
                      <a:pt x="2319" y="40"/>
                      <a:pt x="2199" y="164"/>
                      <a:pt x="2183" y="168"/>
                    </a:cubicBezTo>
                    <a:cubicBezTo>
                      <a:pt x="2159" y="192"/>
                      <a:pt x="2131" y="200"/>
                      <a:pt x="2099" y="212"/>
                    </a:cubicBezTo>
                    <a:cubicBezTo>
                      <a:pt x="2071" y="248"/>
                      <a:pt x="2059" y="276"/>
                      <a:pt x="2039" y="312"/>
                    </a:cubicBezTo>
                    <a:cubicBezTo>
                      <a:pt x="2031" y="328"/>
                      <a:pt x="2007" y="360"/>
                      <a:pt x="2007" y="360"/>
                    </a:cubicBezTo>
                    <a:cubicBezTo>
                      <a:pt x="1999" y="408"/>
                      <a:pt x="2011" y="484"/>
                      <a:pt x="1951" y="492"/>
                    </a:cubicBezTo>
                    <a:cubicBezTo>
                      <a:pt x="1923" y="480"/>
                      <a:pt x="1907" y="484"/>
                      <a:pt x="1883" y="500"/>
                    </a:cubicBezTo>
                    <a:cubicBezTo>
                      <a:pt x="1859" y="544"/>
                      <a:pt x="1875" y="604"/>
                      <a:pt x="1823" y="632"/>
                    </a:cubicBezTo>
                    <a:cubicBezTo>
                      <a:pt x="1807" y="604"/>
                      <a:pt x="1835" y="564"/>
                      <a:pt x="1815" y="540"/>
                    </a:cubicBezTo>
                    <a:cubicBezTo>
                      <a:pt x="1811" y="512"/>
                      <a:pt x="1787" y="452"/>
                      <a:pt x="1763" y="440"/>
                    </a:cubicBezTo>
                    <a:cubicBezTo>
                      <a:pt x="1723" y="448"/>
                      <a:pt x="1703" y="480"/>
                      <a:pt x="1695" y="520"/>
                    </a:cubicBezTo>
                    <a:cubicBezTo>
                      <a:pt x="1695" y="568"/>
                      <a:pt x="1691" y="648"/>
                      <a:pt x="1723" y="692"/>
                    </a:cubicBezTo>
                    <a:cubicBezTo>
                      <a:pt x="1715" y="708"/>
                      <a:pt x="1715" y="716"/>
                      <a:pt x="1699" y="700"/>
                    </a:cubicBezTo>
                    <a:cubicBezTo>
                      <a:pt x="1687" y="688"/>
                      <a:pt x="1683" y="664"/>
                      <a:pt x="1675" y="648"/>
                    </a:cubicBezTo>
                    <a:cubicBezTo>
                      <a:pt x="1663" y="628"/>
                      <a:pt x="1647" y="572"/>
                      <a:pt x="1627" y="560"/>
                    </a:cubicBezTo>
                    <a:cubicBezTo>
                      <a:pt x="1607" y="588"/>
                      <a:pt x="1595" y="648"/>
                      <a:pt x="1579" y="676"/>
                    </a:cubicBezTo>
                    <a:cubicBezTo>
                      <a:pt x="1571" y="724"/>
                      <a:pt x="1559" y="784"/>
                      <a:pt x="1523" y="820"/>
                    </a:cubicBezTo>
                    <a:cubicBezTo>
                      <a:pt x="1515" y="844"/>
                      <a:pt x="1475" y="900"/>
                      <a:pt x="1475" y="900"/>
                    </a:cubicBezTo>
                    <a:cubicBezTo>
                      <a:pt x="1467" y="972"/>
                      <a:pt x="1444" y="972"/>
                      <a:pt x="1535" y="976"/>
                    </a:cubicBezTo>
                    <a:cubicBezTo>
                      <a:pt x="1555" y="980"/>
                      <a:pt x="1579" y="960"/>
                      <a:pt x="1559" y="996"/>
                    </a:cubicBezTo>
                    <a:cubicBezTo>
                      <a:pt x="1543" y="1024"/>
                      <a:pt x="1471" y="1024"/>
                      <a:pt x="1471" y="1024"/>
                    </a:cubicBezTo>
                    <a:cubicBezTo>
                      <a:pt x="1444" y="1040"/>
                      <a:pt x="1444" y="1092"/>
                      <a:pt x="1420" y="1112"/>
                    </a:cubicBezTo>
                    <a:cubicBezTo>
                      <a:pt x="1396" y="1160"/>
                      <a:pt x="1348" y="1196"/>
                      <a:pt x="1324" y="1244"/>
                    </a:cubicBezTo>
                    <a:cubicBezTo>
                      <a:pt x="1336" y="1276"/>
                      <a:pt x="1352" y="1288"/>
                      <a:pt x="1372" y="1312"/>
                    </a:cubicBezTo>
                    <a:cubicBezTo>
                      <a:pt x="1328" y="1332"/>
                      <a:pt x="1296" y="1336"/>
                      <a:pt x="1248" y="1344"/>
                    </a:cubicBezTo>
                    <a:cubicBezTo>
                      <a:pt x="1220" y="1396"/>
                      <a:pt x="1332" y="1376"/>
                      <a:pt x="1368" y="1380"/>
                    </a:cubicBezTo>
                    <a:cubicBezTo>
                      <a:pt x="1376" y="1380"/>
                      <a:pt x="1392" y="1416"/>
                      <a:pt x="1384" y="1416"/>
                    </a:cubicBezTo>
                    <a:cubicBezTo>
                      <a:pt x="1372" y="1416"/>
                      <a:pt x="1344" y="1416"/>
                      <a:pt x="1332" y="1416"/>
                    </a:cubicBezTo>
                    <a:cubicBezTo>
                      <a:pt x="1288" y="1424"/>
                      <a:pt x="1264" y="1436"/>
                      <a:pt x="1220" y="1444"/>
                    </a:cubicBezTo>
                    <a:cubicBezTo>
                      <a:pt x="1196" y="1468"/>
                      <a:pt x="1172" y="1484"/>
                      <a:pt x="1152" y="1508"/>
                    </a:cubicBezTo>
                    <a:cubicBezTo>
                      <a:pt x="1140" y="1520"/>
                      <a:pt x="1124" y="1556"/>
                      <a:pt x="1124" y="1556"/>
                    </a:cubicBezTo>
                    <a:cubicBezTo>
                      <a:pt x="1136" y="1584"/>
                      <a:pt x="1124" y="1624"/>
                      <a:pt x="1116" y="1656"/>
                    </a:cubicBezTo>
                    <a:cubicBezTo>
                      <a:pt x="1156" y="1664"/>
                      <a:pt x="1180" y="1684"/>
                      <a:pt x="1224" y="1688"/>
                    </a:cubicBezTo>
                    <a:cubicBezTo>
                      <a:pt x="1204" y="1712"/>
                      <a:pt x="1184" y="1728"/>
                      <a:pt x="1152" y="1732"/>
                    </a:cubicBezTo>
                    <a:cubicBezTo>
                      <a:pt x="1124" y="1748"/>
                      <a:pt x="1108" y="1752"/>
                      <a:pt x="1092" y="1784"/>
                    </a:cubicBezTo>
                    <a:cubicBezTo>
                      <a:pt x="1112" y="1872"/>
                      <a:pt x="1100" y="1772"/>
                      <a:pt x="1076" y="1828"/>
                    </a:cubicBezTo>
                    <a:cubicBezTo>
                      <a:pt x="1068" y="1848"/>
                      <a:pt x="1088" y="1896"/>
                      <a:pt x="1092" y="1916"/>
                    </a:cubicBezTo>
                    <a:cubicBezTo>
                      <a:pt x="1064" y="1920"/>
                      <a:pt x="1000" y="1912"/>
                      <a:pt x="1044" y="1968"/>
                    </a:cubicBezTo>
                    <a:cubicBezTo>
                      <a:pt x="1036" y="1988"/>
                      <a:pt x="1032" y="2004"/>
                      <a:pt x="1028" y="2016"/>
                    </a:cubicBezTo>
                    <a:cubicBezTo>
                      <a:pt x="1016" y="2020"/>
                      <a:pt x="1020" y="2032"/>
                      <a:pt x="1012" y="2040"/>
                    </a:cubicBezTo>
                    <a:cubicBezTo>
                      <a:pt x="956" y="2103"/>
                      <a:pt x="1020" y="2067"/>
                      <a:pt x="976" y="2087"/>
                    </a:cubicBezTo>
                    <a:cubicBezTo>
                      <a:pt x="952" y="2147"/>
                      <a:pt x="904" y="2195"/>
                      <a:pt x="840" y="2203"/>
                    </a:cubicBezTo>
                    <a:cubicBezTo>
                      <a:pt x="804" y="2223"/>
                      <a:pt x="812" y="2207"/>
                      <a:pt x="800" y="2235"/>
                    </a:cubicBezTo>
                    <a:cubicBezTo>
                      <a:pt x="788" y="2291"/>
                      <a:pt x="752" y="2331"/>
                      <a:pt x="720" y="2375"/>
                    </a:cubicBezTo>
                    <a:cubicBezTo>
                      <a:pt x="752" y="2463"/>
                      <a:pt x="768" y="2443"/>
                      <a:pt x="792" y="2479"/>
                    </a:cubicBezTo>
                    <a:cubicBezTo>
                      <a:pt x="832" y="2471"/>
                      <a:pt x="876" y="2427"/>
                      <a:pt x="912" y="2407"/>
                    </a:cubicBezTo>
                    <a:cubicBezTo>
                      <a:pt x="908" y="2463"/>
                      <a:pt x="888" y="2527"/>
                      <a:pt x="828" y="2539"/>
                    </a:cubicBezTo>
                    <a:cubicBezTo>
                      <a:pt x="800" y="2559"/>
                      <a:pt x="800" y="2559"/>
                      <a:pt x="764" y="2555"/>
                    </a:cubicBezTo>
                    <a:cubicBezTo>
                      <a:pt x="716" y="2543"/>
                      <a:pt x="684" y="2539"/>
                      <a:pt x="652" y="2495"/>
                    </a:cubicBezTo>
                    <a:cubicBezTo>
                      <a:pt x="636" y="2507"/>
                      <a:pt x="608" y="2539"/>
                      <a:pt x="608" y="2539"/>
                    </a:cubicBezTo>
                    <a:cubicBezTo>
                      <a:pt x="600" y="2571"/>
                      <a:pt x="588" y="2591"/>
                      <a:pt x="564" y="2611"/>
                    </a:cubicBezTo>
                    <a:cubicBezTo>
                      <a:pt x="556" y="2643"/>
                      <a:pt x="544" y="2655"/>
                      <a:pt x="532" y="2683"/>
                    </a:cubicBezTo>
                    <a:cubicBezTo>
                      <a:pt x="604" y="2695"/>
                      <a:pt x="516" y="2675"/>
                      <a:pt x="496" y="2671"/>
                    </a:cubicBezTo>
                    <a:cubicBezTo>
                      <a:pt x="456" y="2651"/>
                      <a:pt x="432" y="2659"/>
                      <a:pt x="380" y="2663"/>
                    </a:cubicBezTo>
                    <a:cubicBezTo>
                      <a:pt x="356" y="2675"/>
                      <a:pt x="336" y="2691"/>
                      <a:pt x="312" y="2703"/>
                    </a:cubicBezTo>
                    <a:cubicBezTo>
                      <a:pt x="324" y="2771"/>
                      <a:pt x="320" y="2743"/>
                      <a:pt x="332" y="2791"/>
                    </a:cubicBezTo>
                    <a:cubicBezTo>
                      <a:pt x="328" y="2823"/>
                      <a:pt x="316" y="2843"/>
                      <a:pt x="308" y="2875"/>
                    </a:cubicBezTo>
                    <a:cubicBezTo>
                      <a:pt x="308" y="2851"/>
                      <a:pt x="312" y="2827"/>
                      <a:pt x="304" y="2803"/>
                    </a:cubicBezTo>
                    <a:cubicBezTo>
                      <a:pt x="300" y="2795"/>
                      <a:pt x="208" y="2847"/>
                      <a:pt x="188" y="2855"/>
                    </a:cubicBezTo>
                    <a:cubicBezTo>
                      <a:pt x="168" y="2887"/>
                      <a:pt x="156" y="2911"/>
                      <a:pt x="120" y="2927"/>
                    </a:cubicBezTo>
                    <a:cubicBezTo>
                      <a:pt x="136" y="2983"/>
                      <a:pt x="156" y="2979"/>
                      <a:pt x="216" y="2983"/>
                    </a:cubicBezTo>
                    <a:cubicBezTo>
                      <a:pt x="240" y="2999"/>
                      <a:pt x="268" y="2999"/>
                      <a:pt x="296" y="3011"/>
                    </a:cubicBezTo>
                    <a:cubicBezTo>
                      <a:pt x="252" y="3035"/>
                      <a:pt x="184" y="2995"/>
                      <a:pt x="140" y="2979"/>
                    </a:cubicBezTo>
                    <a:cubicBezTo>
                      <a:pt x="76" y="2983"/>
                      <a:pt x="64" y="2983"/>
                      <a:pt x="28" y="3031"/>
                    </a:cubicBezTo>
                    <a:cubicBezTo>
                      <a:pt x="4" y="3167"/>
                      <a:pt x="108" y="3159"/>
                      <a:pt x="216" y="3163"/>
                    </a:cubicBezTo>
                    <a:cubicBezTo>
                      <a:pt x="240" y="3167"/>
                      <a:pt x="452" y="3143"/>
                      <a:pt x="424" y="3183"/>
                    </a:cubicBezTo>
                    <a:cubicBezTo>
                      <a:pt x="352" y="3179"/>
                      <a:pt x="276" y="3183"/>
                      <a:pt x="216" y="3175"/>
                    </a:cubicBezTo>
                    <a:cubicBezTo>
                      <a:pt x="0" y="3179"/>
                      <a:pt x="16" y="3127"/>
                      <a:pt x="8" y="3295"/>
                    </a:cubicBezTo>
                    <a:cubicBezTo>
                      <a:pt x="12" y="3375"/>
                      <a:pt x="8" y="3419"/>
                      <a:pt x="88" y="3451"/>
                    </a:cubicBezTo>
                    <a:cubicBezTo>
                      <a:pt x="144" y="3443"/>
                      <a:pt x="180" y="3431"/>
                      <a:pt x="232" y="3423"/>
                    </a:cubicBezTo>
                    <a:cubicBezTo>
                      <a:pt x="244" y="3419"/>
                      <a:pt x="256" y="3415"/>
                      <a:pt x="268" y="3411"/>
                    </a:cubicBezTo>
                    <a:cubicBezTo>
                      <a:pt x="276" y="3407"/>
                      <a:pt x="284" y="3411"/>
                      <a:pt x="292" y="3407"/>
                    </a:cubicBezTo>
                    <a:cubicBezTo>
                      <a:pt x="296" y="3407"/>
                      <a:pt x="312" y="3395"/>
                      <a:pt x="308" y="3399"/>
                    </a:cubicBezTo>
                    <a:cubicBezTo>
                      <a:pt x="268" y="3439"/>
                      <a:pt x="216" y="3459"/>
                      <a:pt x="160" y="3471"/>
                    </a:cubicBezTo>
                    <a:cubicBezTo>
                      <a:pt x="128" y="3483"/>
                      <a:pt x="104" y="3495"/>
                      <a:pt x="76" y="3511"/>
                    </a:cubicBezTo>
                    <a:cubicBezTo>
                      <a:pt x="64" y="3531"/>
                      <a:pt x="56" y="3539"/>
                      <a:pt x="32" y="3547"/>
                    </a:cubicBezTo>
                    <a:cubicBezTo>
                      <a:pt x="92" y="3575"/>
                      <a:pt x="88" y="3543"/>
                      <a:pt x="112" y="3607"/>
                    </a:cubicBezTo>
                    <a:cubicBezTo>
                      <a:pt x="96" y="3655"/>
                      <a:pt x="84" y="3683"/>
                      <a:pt x="44" y="3723"/>
                    </a:cubicBezTo>
                    <a:cubicBezTo>
                      <a:pt x="36" y="3731"/>
                      <a:pt x="60" y="3715"/>
                      <a:pt x="68" y="3711"/>
                    </a:cubicBezTo>
                    <a:cubicBezTo>
                      <a:pt x="84" y="3699"/>
                      <a:pt x="116" y="3679"/>
                      <a:pt x="116" y="3679"/>
                    </a:cubicBezTo>
                    <a:cubicBezTo>
                      <a:pt x="140" y="3691"/>
                      <a:pt x="132" y="3703"/>
                      <a:pt x="120" y="3723"/>
                    </a:cubicBezTo>
                    <a:cubicBezTo>
                      <a:pt x="132" y="3763"/>
                      <a:pt x="148" y="3787"/>
                      <a:pt x="192" y="3795"/>
                    </a:cubicBezTo>
                    <a:cubicBezTo>
                      <a:pt x="168" y="3811"/>
                      <a:pt x="168" y="3799"/>
                      <a:pt x="140" y="3795"/>
                    </a:cubicBezTo>
                    <a:cubicBezTo>
                      <a:pt x="112" y="3799"/>
                      <a:pt x="104" y="3803"/>
                      <a:pt x="88" y="3823"/>
                    </a:cubicBezTo>
                    <a:cubicBezTo>
                      <a:pt x="96" y="3915"/>
                      <a:pt x="120" y="3959"/>
                      <a:pt x="188" y="4031"/>
                    </a:cubicBezTo>
                    <a:cubicBezTo>
                      <a:pt x="228" y="4055"/>
                      <a:pt x="268" y="4083"/>
                      <a:pt x="312" y="4103"/>
                    </a:cubicBezTo>
                    <a:cubicBezTo>
                      <a:pt x="332" y="4111"/>
                      <a:pt x="372" y="4123"/>
                      <a:pt x="372" y="4123"/>
                    </a:cubicBezTo>
                    <a:cubicBezTo>
                      <a:pt x="408" y="4107"/>
                      <a:pt x="492" y="4035"/>
                      <a:pt x="532" y="4007"/>
                    </a:cubicBezTo>
                    <a:cubicBezTo>
                      <a:pt x="584" y="3967"/>
                      <a:pt x="620" y="3899"/>
                      <a:pt x="660" y="3863"/>
                    </a:cubicBezTo>
                    <a:cubicBezTo>
                      <a:pt x="680" y="3823"/>
                      <a:pt x="740" y="3811"/>
                      <a:pt x="776" y="3783"/>
                    </a:cubicBezTo>
                    <a:cubicBezTo>
                      <a:pt x="800" y="3727"/>
                      <a:pt x="824" y="3667"/>
                      <a:pt x="836" y="3607"/>
                    </a:cubicBezTo>
                    <a:cubicBezTo>
                      <a:pt x="856" y="3599"/>
                      <a:pt x="888" y="3707"/>
                      <a:pt x="896" y="3739"/>
                    </a:cubicBezTo>
                    <a:cubicBezTo>
                      <a:pt x="900" y="3799"/>
                      <a:pt x="932" y="3767"/>
                      <a:pt x="908" y="3795"/>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grpSp>
          <p:nvGrpSpPr>
            <p:cNvPr id="476" name="Group 2518">
              <a:extLst>
                <a:ext uri="{FF2B5EF4-FFF2-40B4-BE49-F238E27FC236}">
                  <a16:creationId xmlns:a16="http://schemas.microsoft.com/office/drawing/2014/main" id="{21AD4C11-AC73-034A-AD22-92A5C143EB52}"/>
                </a:ext>
              </a:extLst>
            </p:cNvPr>
            <p:cNvGrpSpPr>
              <a:grpSpLocks/>
            </p:cNvGrpSpPr>
            <p:nvPr>
              <p:custDataLst>
                <p:tags r:id="rId16"/>
              </p:custDataLst>
            </p:nvPr>
          </p:nvGrpSpPr>
          <p:grpSpPr bwMode="auto">
            <a:xfrm>
              <a:off x="3753004" y="2434991"/>
              <a:ext cx="418179" cy="762447"/>
              <a:chOff x="3842" y="-120"/>
              <a:chExt cx="1720" cy="3135"/>
            </a:xfrm>
          </p:grpSpPr>
          <p:sp>
            <p:nvSpPr>
              <p:cNvPr id="171" name="Freeform 2519">
                <a:extLst>
                  <a:ext uri="{FF2B5EF4-FFF2-40B4-BE49-F238E27FC236}">
                    <a16:creationId xmlns:a16="http://schemas.microsoft.com/office/drawing/2014/main" id="{8A1D837E-5DC2-9499-4BAB-BCCF721649C2}"/>
                  </a:ext>
                </a:extLst>
              </p:cNvPr>
              <p:cNvSpPr>
                <a:spLocks noChangeAspect="1"/>
              </p:cNvSpPr>
              <p:nvPr/>
            </p:nvSpPr>
            <p:spPr bwMode="auto">
              <a:xfrm>
                <a:off x="4079" y="2895"/>
                <a:ext cx="152" cy="120"/>
              </a:xfrm>
              <a:custGeom>
                <a:avLst/>
                <a:gdLst>
                  <a:gd name="T0" fmla="*/ 21 w 38"/>
                  <a:gd name="T1" fmla="*/ 4 h 30"/>
                  <a:gd name="T2" fmla="*/ 0 w 38"/>
                  <a:gd name="T3" fmla="*/ 8 h 30"/>
                  <a:gd name="T4" fmla="*/ 19 w 38"/>
                  <a:gd name="T5" fmla="*/ 30 h 30"/>
                  <a:gd name="T6" fmla="*/ 38 w 38"/>
                  <a:gd name="T7" fmla="*/ 15 h 30"/>
                  <a:gd name="T8" fmla="*/ 17 w 38"/>
                  <a:gd name="T9" fmla="*/ 5 h 30"/>
                  <a:gd name="T10" fmla="*/ 8 w 38"/>
                  <a:gd name="T11" fmla="*/ 2 h 30"/>
                  <a:gd name="T12" fmla="*/ 21 w 38"/>
                  <a:gd name="T13" fmla="*/ 4 h 30"/>
                  <a:gd name="T14" fmla="*/ 0 60000 65536"/>
                  <a:gd name="T15" fmla="*/ 0 60000 65536"/>
                  <a:gd name="T16" fmla="*/ 0 60000 65536"/>
                  <a:gd name="T17" fmla="*/ 0 60000 65536"/>
                  <a:gd name="T18" fmla="*/ 0 60000 65536"/>
                  <a:gd name="T19" fmla="*/ 0 60000 65536"/>
                  <a:gd name="T20" fmla="*/ 0 60000 65536"/>
                  <a:gd name="T21" fmla="*/ 0 w 38"/>
                  <a:gd name="T22" fmla="*/ 0 h 30"/>
                  <a:gd name="T23" fmla="*/ 38 w 38"/>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30">
                    <a:moveTo>
                      <a:pt x="21" y="4"/>
                    </a:moveTo>
                    <a:cubicBezTo>
                      <a:pt x="13" y="1"/>
                      <a:pt x="4" y="0"/>
                      <a:pt x="0" y="8"/>
                    </a:cubicBezTo>
                    <a:cubicBezTo>
                      <a:pt x="1" y="26"/>
                      <a:pt x="4" y="26"/>
                      <a:pt x="19" y="30"/>
                    </a:cubicBezTo>
                    <a:cubicBezTo>
                      <a:pt x="29" y="28"/>
                      <a:pt x="31" y="22"/>
                      <a:pt x="38" y="15"/>
                    </a:cubicBezTo>
                    <a:cubicBezTo>
                      <a:pt x="36" y="5"/>
                      <a:pt x="27" y="6"/>
                      <a:pt x="17" y="5"/>
                    </a:cubicBezTo>
                    <a:cubicBezTo>
                      <a:pt x="9" y="3"/>
                      <a:pt x="11" y="5"/>
                      <a:pt x="8" y="2"/>
                    </a:cubicBezTo>
                    <a:lnTo>
                      <a:pt x="21" y="4"/>
                    </a:ln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72" name="Freeform 2520">
                <a:extLst>
                  <a:ext uri="{FF2B5EF4-FFF2-40B4-BE49-F238E27FC236}">
                    <a16:creationId xmlns:a16="http://schemas.microsoft.com/office/drawing/2014/main" id="{525BDFE6-467C-E242-EB78-7CB101FF2AA0}"/>
                  </a:ext>
                </a:extLst>
              </p:cNvPr>
              <p:cNvSpPr>
                <a:spLocks noChangeAspect="1"/>
              </p:cNvSpPr>
              <p:nvPr/>
            </p:nvSpPr>
            <p:spPr bwMode="auto">
              <a:xfrm>
                <a:off x="3842" y="-120"/>
                <a:ext cx="1720" cy="3083"/>
              </a:xfrm>
              <a:custGeom>
                <a:avLst/>
                <a:gdLst>
                  <a:gd name="T0" fmla="*/ 1628 w 1720"/>
                  <a:gd name="T1" fmla="*/ 2255 h 3083"/>
                  <a:gd name="T2" fmla="*/ 1720 w 1720"/>
                  <a:gd name="T3" fmla="*/ 1955 h 3083"/>
                  <a:gd name="T4" fmla="*/ 1456 w 1720"/>
                  <a:gd name="T5" fmla="*/ 1775 h 3083"/>
                  <a:gd name="T6" fmla="*/ 1448 w 1720"/>
                  <a:gd name="T7" fmla="*/ 1683 h 3083"/>
                  <a:gd name="T8" fmla="*/ 1432 w 1720"/>
                  <a:gd name="T9" fmla="*/ 1583 h 3083"/>
                  <a:gd name="T10" fmla="*/ 1352 w 1720"/>
                  <a:gd name="T11" fmla="*/ 1512 h 3083"/>
                  <a:gd name="T12" fmla="*/ 1264 w 1720"/>
                  <a:gd name="T13" fmla="*/ 1320 h 3083"/>
                  <a:gd name="T14" fmla="*/ 1276 w 1720"/>
                  <a:gd name="T15" fmla="*/ 1188 h 3083"/>
                  <a:gd name="T16" fmla="*/ 1132 w 1720"/>
                  <a:gd name="T17" fmla="*/ 992 h 3083"/>
                  <a:gd name="T18" fmla="*/ 1120 w 1720"/>
                  <a:gd name="T19" fmla="*/ 688 h 3083"/>
                  <a:gd name="T20" fmla="*/ 1072 w 1720"/>
                  <a:gd name="T21" fmla="*/ 600 h 3083"/>
                  <a:gd name="T22" fmla="*/ 908 w 1720"/>
                  <a:gd name="T23" fmla="*/ 512 h 3083"/>
                  <a:gd name="T24" fmla="*/ 880 w 1720"/>
                  <a:gd name="T25" fmla="*/ 312 h 3083"/>
                  <a:gd name="T26" fmla="*/ 968 w 1720"/>
                  <a:gd name="T27" fmla="*/ 132 h 3083"/>
                  <a:gd name="T28" fmla="*/ 888 w 1720"/>
                  <a:gd name="T29" fmla="*/ 168 h 3083"/>
                  <a:gd name="T30" fmla="*/ 813 w 1720"/>
                  <a:gd name="T31" fmla="*/ 72 h 3083"/>
                  <a:gd name="T32" fmla="*/ 693 w 1720"/>
                  <a:gd name="T33" fmla="*/ 0 h 3083"/>
                  <a:gd name="T34" fmla="*/ 573 w 1720"/>
                  <a:gd name="T35" fmla="*/ 76 h 3083"/>
                  <a:gd name="T36" fmla="*/ 545 w 1720"/>
                  <a:gd name="T37" fmla="*/ 244 h 3083"/>
                  <a:gd name="T38" fmla="*/ 533 w 1720"/>
                  <a:gd name="T39" fmla="*/ 416 h 3083"/>
                  <a:gd name="T40" fmla="*/ 409 w 1720"/>
                  <a:gd name="T41" fmla="*/ 484 h 3083"/>
                  <a:gd name="T42" fmla="*/ 153 w 1720"/>
                  <a:gd name="T43" fmla="*/ 412 h 3083"/>
                  <a:gd name="T44" fmla="*/ 9 w 1720"/>
                  <a:gd name="T45" fmla="*/ 436 h 3083"/>
                  <a:gd name="T46" fmla="*/ 265 w 1720"/>
                  <a:gd name="T47" fmla="*/ 620 h 3083"/>
                  <a:gd name="T48" fmla="*/ 390 w 1720"/>
                  <a:gd name="T49" fmla="*/ 756 h 3083"/>
                  <a:gd name="T50" fmla="*/ 477 w 1720"/>
                  <a:gd name="T51" fmla="*/ 1016 h 3083"/>
                  <a:gd name="T52" fmla="*/ 495 w 1720"/>
                  <a:gd name="T53" fmla="*/ 1224 h 3083"/>
                  <a:gd name="T54" fmla="*/ 580 w 1720"/>
                  <a:gd name="T55" fmla="*/ 1365 h 3083"/>
                  <a:gd name="T56" fmla="*/ 681 w 1720"/>
                  <a:gd name="T57" fmla="*/ 1396 h 3083"/>
                  <a:gd name="T58" fmla="*/ 741 w 1720"/>
                  <a:gd name="T59" fmla="*/ 1432 h 3083"/>
                  <a:gd name="T60" fmla="*/ 545 w 1720"/>
                  <a:gd name="T61" fmla="*/ 1959 h 3083"/>
                  <a:gd name="T62" fmla="*/ 489 w 1720"/>
                  <a:gd name="T63" fmla="*/ 2051 h 3083"/>
                  <a:gd name="T64" fmla="*/ 369 w 1720"/>
                  <a:gd name="T65" fmla="*/ 2239 h 3083"/>
                  <a:gd name="T66" fmla="*/ 457 w 1720"/>
                  <a:gd name="T67" fmla="*/ 2559 h 3083"/>
                  <a:gd name="T68" fmla="*/ 457 w 1720"/>
                  <a:gd name="T69" fmla="*/ 2987 h 3083"/>
                  <a:gd name="T70" fmla="*/ 485 w 1720"/>
                  <a:gd name="T71" fmla="*/ 2999 h 3083"/>
                  <a:gd name="T72" fmla="*/ 657 w 1720"/>
                  <a:gd name="T73" fmla="*/ 3055 h 3083"/>
                  <a:gd name="T74" fmla="*/ 729 w 1720"/>
                  <a:gd name="T75" fmla="*/ 3083 h 3083"/>
                  <a:gd name="T76" fmla="*/ 956 w 1720"/>
                  <a:gd name="T77" fmla="*/ 2991 h 3083"/>
                  <a:gd name="T78" fmla="*/ 1024 w 1720"/>
                  <a:gd name="T79" fmla="*/ 2955 h 3083"/>
                  <a:gd name="T80" fmla="*/ 1192 w 1720"/>
                  <a:gd name="T81" fmla="*/ 2859 h 3083"/>
                  <a:gd name="T82" fmla="*/ 1372 w 1720"/>
                  <a:gd name="T83" fmla="*/ 2783 h 3083"/>
                  <a:gd name="T84" fmla="*/ 1396 w 1720"/>
                  <a:gd name="T85" fmla="*/ 2723 h 3083"/>
                  <a:gd name="T86" fmla="*/ 1576 w 1720"/>
                  <a:gd name="T87" fmla="*/ 2351 h 308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720"/>
                  <a:gd name="T133" fmla="*/ 0 h 3083"/>
                  <a:gd name="T134" fmla="*/ 1720 w 1720"/>
                  <a:gd name="T135" fmla="*/ 3083 h 308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720" h="3083">
                    <a:moveTo>
                      <a:pt x="1576" y="2351"/>
                    </a:moveTo>
                    <a:cubicBezTo>
                      <a:pt x="1584" y="2323"/>
                      <a:pt x="1604" y="2279"/>
                      <a:pt x="1628" y="2255"/>
                    </a:cubicBezTo>
                    <a:cubicBezTo>
                      <a:pt x="1636" y="2223"/>
                      <a:pt x="1636" y="2191"/>
                      <a:pt x="1648" y="2159"/>
                    </a:cubicBezTo>
                    <a:cubicBezTo>
                      <a:pt x="1656" y="2087"/>
                      <a:pt x="1688" y="2023"/>
                      <a:pt x="1720" y="1955"/>
                    </a:cubicBezTo>
                    <a:cubicBezTo>
                      <a:pt x="1700" y="1907"/>
                      <a:pt x="1640" y="1879"/>
                      <a:pt x="1592" y="1839"/>
                    </a:cubicBezTo>
                    <a:cubicBezTo>
                      <a:pt x="1548" y="1811"/>
                      <a:pt x="1480" y="1791"/>
                      <a:pt x="1456" y="1775"/>
                    </a:cubicBezTo>
                    <a:cubicBezTo>
                      <a:pt x="1452" y="1767"/>
                      <a:pt x="1440" y="1751"/>
                      <a:pt x="1440" y="1751"/>
                    </a:cubicBezTo>
                    <a:cubicBezTo>
                      <a:pt x="1440" y="1727"/>
                      <a:pt x="1440" y="1703"/>
                      <a:pt x="1448" y="1683"/>
                    </a:cubicBezTo>
                    <a:cubicBezTo>
                      <a:pt x="1452" y="1671"/>
                      <a:pt x="1480" y="1631"/>
                      <a:pt x="1480" y="1631"/>
                    </a:cubicBezTo>
                    <a:cubicBezTo>
                      <a:pt x="1476" y="1595"/>
                      <a:pt x="1460" y="1603"/>
                      <a:pt x="1432" y="1583"/>
                    </a:cubicBezTo>
                    <a:cubicBezTo>
                      <a:pt x="1420" y="1575"/>
                      <a:pt x="1396" y="1559"/>
                      <a:pt x="1396" y="1559"/>
                    </a:cubicBezTo>
                    <a:cubicBezTo>
                      <a:pt x="1384" y="1543"/>
                      <a:pt x="1368" y="1524"/>
                      <a:pt x="1352" y="1512"/>
                    </a:cubicBezTo>
                    <a:cubicBezTo>
                      <a:pt x="1332" y="1484"/>
                      <a:pt x="1340" y="1496"/>
                      <a:pt x="1324" y="1472"/>
                    </a:cubicBezTo>
                    <a:cubicBezTo>
                      <a:pt x="1312" y="1420"/>
                      <a:pt x="1280" y="1372"/>
                      <a:pt x="1264" y="1320"/>
                    </a:cubicBezTo>
                    <a:cubicBezTo>
                      <a:pt x="1264" y="1288"/>
                      <a:pt x="1264" y="1260"/>
                      <a:pt x="1268" y="1228"/>
                    </a:cubicBezTo>
                    <a:cubicBezTo>
                      <a:pt x="1268" y="1216"/>
                      <a:pt x="1276" y="1188"/>
                      <a:pt x="1276" y="1188"/>
                    </a:cubicBezTo>
                    <a:cubicBezTo>
                      <a:pt x="1272" y="1148"/>
                      <a:pt x="1248" y="1080"/>
                      <a:pt x="1204" y="1064"/>
                    </a:cubicBezTo>
                    <a:cubicBezTo>
                      <a:pt x="1188" y="1040"/>
                      <a:pt x="1156" y="1008"/>
                      <a:pt x="1132" y="992"/>
                    </a:cubicBezTo>
                    <a:cubicBezTo>
                      <a:pt x="1120" y="972"/>
                      <a:pt x="1104" y="932"/>
                      <a:pt x="1080" y="924"/>
                    </a:cubicBezTo>
                    <a:cubicBezTo>
                      <a:pt x="1056" y="840"/>
                      <a:pt x="1052" y="756"/>
                      <a:pt x="1120" y="688"/>
                    </a:cubicBezTo>
                    <a:cubicBezTo>
                      <a:pt x="1124" y="672"/>
                      <a:pt x="1128" y="644"/>
                      <a:pt x="1120" y="632"/>
                    </a:cubicBezTo>
                    <a:cubicBezTo>
                      <a:pt x="1108" y="616"/>
                      <a:pt x="1088" y="612"/>
                      <a:pt x="1072" y="600"/>
                    </a:cubicBezTo>
                    <a:cubicBezTo>
                      <a:pt x="1044" y="576"/>
                      <a:pt x="1020" y="556"/>
                      <a:pt x="984" y="544"/>
                    </a:cubicBezTo>
                    <a:cubicBezTo>
                      <a:pt x="968" y="528"/>
                      <a:pt x="932" y="520"/>
                      <a:pt x="908" y="512"/>
                    </a:cubicBezTo>
                    <a:cubicBezTo>
                      <a:pt x="888" y="492"/>
                      <a:pt x="876" y="448"/>
                      <a:pt x="872" y="416"/>
                    </a:cubicBezTo>
                    <a:cubicBezTo>
                      <a:pt x="864" y="380"/>
                      <a:pt x="861" y="344"/>
                      <a:pt x="880" y="312"/>
                    </a:cubicBezTo>
                    <a:cubicBezTo>
                      <a:pt x="888" y="288"/>
                      <a:pt x="888" y="260"/>
                      <a:pt x="908" y="240"/>
                    </a:cubicBezTo>
                    <a:cubicBezTo>
                      <a:pt x="924" y="212"/>
                      <a:pt x="972" y="128"/>
                      <a:pt x="968" y="132"/>
                    </a:cubicBezTo>
                    <a:cubicBezTo>
                      <a:pt x="956" y="148"/>
                      <a:pt x="892" y="256"/>
                      <a:pt x="880" y="264"/>
                    </a:cubicBezTo>
                    <a:cubicBezTo>
                      <a:pt x="872" y="228"/>
                      <a:pt x="876" y="204"/>
                      <a:pt x="888" y="168"/>
                    </a:cubicBezTo>
                    <a:cubicBezTo>
                      <a:pt x="884" y="132"/>
                      <a:pt x="892" y="108"/>
                      <a:pt x="864" y="88"/>
                    </a:cubicBezTo>
                    <a:cubicBezTo>
                      <a:pt x="849" y="76"/>
                      <a:pt x="813" y="72"/>
                      <a:pt x="813" y="72"/>
                    </a:cubicBezTo>
                    <a:cubicBezTo>
                      <a:pt x="789" y="48"/>
                      <a:pt x="757" y="36"/>
                      <a:pt x="729" y="16"/>
                    </a:cubicBezTo>
                    <a:cubicBezTo>
                      <a:pt x="717" y="8"/>
                      <a:pt x="693" y="0"/>
                      <a:pt x="693" y="0"/>
                    </a:cubicBezTo>
                    <a:cubicBezTo>
                      <a:pt x="669" y="4"/>
                      <a:pt x="657" y="0"/>
                      <a:pt x="645" y="24"/>
                    </a:cubicBezTo>
                    <a:cubicBezTo>
                      <a:pt x="637" y="72"/>
                      <a:pt x="621" y="72"/>
                      <a:pt x="573" y="76"/>
                    </a:cubicBezTo>
                    <a:cubicBezTo>
                      <a:pt x="557" y="92"/>
                      <a:pt x="549" y="116"/>
                      <a:pt x="537" y="136"/>
                    </a:cubicBezTo>
                    <a:cubicBezTo>
                      <a:pt x="529" y="172"/>
                      <a:pt x="529" y="208"/>
                      <a:pt x="545" y="244"/>
                    </a:cubicBezTo>
                    <a:cubicBezTo>
                      <a:pt x="548" y="283"/>
                      <a:pt x="560" y="337"/>
                      <a:pt x="558" y="366"/>
                    </a:cubicBezTo>
                    <a:cubicBezTo>
                      <a:pt x="544" y="390"/>
                      <a:pt x="540" y="403"/>
                      <a:pt x="533" y="416"/>
                    </a:cubicBezTo>
                    <a:cubicBezTo>
                      <a:pt x="526" y="440"/>
                      <a:pt x="537" y="408"/>
                      <a:pt x="513" y="444"/>
                    </a:cubicBezTo>
                    <a:cubicBezTo>
                      <a:pt x="497" y="456"/>
                      <a:pt x="441" y="472"/>
                      <a:pt x="409" y="484"/>
                    </a:cubicBezTo>
                    <a:cubicBezTo>
                      <a:pt x="357" y="492"/>
                      <a:pt x="245" y="504"/>
                      <a:pt x="197" y="492"/>
                    </a:cubicBezTo>
                    <a:cubicBezTo>
                      <a:pt x="181" y="460"/>
                      <a:pt x="181" y="432"/>
                      <a:pt x="153" y="412"/>
                    </a:cubicBezTo>
                    <a:cubicBezTo>
                      <a:pt x="141" y="392"/>
                      <a:pt x="105" y="380"/>
                      <a:pt x="81" y="372"/>
                    </a:cubicBezTo>
                    <a:cubicBezTo>
                      <a:pt x="41" y="384"/>
                      <a:pt x="41" y="392"/>
                      <a:pt x="9" y="436"/>
                    </a:cubicBezTo>
                    <a:cubicBezTo>
                      <a:pt x="0" y="456"/>
                      <a:pt x="27" y="455"/>
                      <a:pt x="66" y="482"/>
                    </a:cubicBezTo>
                    <a:cubicBezTo>
                      <a:pt x="108" y="513"/>
                      <a:pt x="171" y="567"/>
                      <a:pt x="265" y="620"/>
                    </a:cubicBezTo>
                    <a:cubicBezTo>
                      <a:pt x="309" y="651"/>
                      <a:pt x="309" y="642"/>
                      <a:pt x="330" y="668"/>
                    </a:cubicBezTo>
                    <a:cubicBezTo>
                      <a:pt x="369" y="701"/>
                      <a:pt x="393" y="722"/>
                      <a:pt x="390" y="756"/>
                    </a:cubicBezTo>
                    <a:cubicBezTo>
                      <a:pt x="363" y="848"/>
                      <a:pt x="438" y="911"/>
                      <a:pt x="450" y="947"/>
                    </a:cubicBezTo>
                    <a:cubicBezTo>
                      <a:pt x="465" y="990"/>
                      <a:pt x="469" y="995"/>
                      <a:pt x="477" y="1016"/>
                    </a:cubicBezTo>
                    <a:cubicBezTo>
                      <a:pt x="485" y="1032"/>
                      <a:pt x="492" y="1059"/>
                      <a:pt x="495" y="1077"/>
                    </a:cubicBezTo>
                    <a:cubicBezTo>
                      <a:pt x="491" y="1109"/>
                      <a:pt x="486" y="1193"/>
                      <a:pt x="495" y="1224"/>
                    </a:cubicBezTo>
                    <a:cubicBezTo>
                      <a:pt x="522" y="1266"/>
                      <a:pt x="535" y="1281"/>
                      <a:pt x="537" y="1301"/>
                    </a:cubicBezTo>
                    <a:cubicBezTo>
                      <a:pt x="557" y="1341"/>
                      <a:pt x="555" y="1352"/>
                      <a:pt x="580" y="1365"/>
                    </a:cubicBezTo>
                    <a:cubicBezTo>
                      <a:pt x="580" y="1369"/>
                      <a:pt x="617" y="1380"/>
                      <a:pt x="633" y="1380"/>
                    </a:cubicBezTo>
                    <a:cubicBezTo>
                      <a:pt x="649" y="1384"/>
                      <a:pt x="665" y="1392"/>
                      <a:pt x="681" y="1396"/>
                    </a:cubicBezTo>
                    <a:cubicBezTo>
                      <a:pt x="689" y="1400"/>
                      <a:pt x="705" y="1404"/>
                      <a:pt x="705" y="1404"/>
                    </a:cubicBezTo>
                    <a:cubicBezTo>
                      <a:pt x="717" y="1416"/>
                      <a:pt x="741" y="1432"/>
                      <a:pt x="741" y="1432"/>
                    </a:cubicBezTo>
                    <a:cubicBezTo>
                      <a:pt x="753" y="1488"/>
                      <a:pt x="737" y="1536"/>
                      <a:pt x="705" y="1583"/>
                    </a:cubicBezTo>
                    <a:cubicBezTo>
                      <a:pt x="673" y="1671"/>
                      <a:pt x="617" y="1879"/>
                      <a:pt x="545" y="1959"/>
                    </a:cubicBezTo>
                    <a:cubicBezTo>
                      <a:pt x="533" y="1975"/>
                      <a:pt x="525" y="1995"/>
                      <a:pt x="509" y="2003"/>
                    </a:cubicBezTo>
                    <a:cubicBezTo>
                      <a:pt x="501" y="2023"/>
                      <a:pt x="497" y="2035"/>
                      <a:pt x="489" y="2051"/>
                    </a:cubicBezTo>
                    <a:cubicBezTo>
                      <a:pt x="485" y="2059"/>
                      <a:pt x="481" y="2075"/>
                      <a:pt x="481" y="2075"/>
                    </a:cubicBezTo>
                    <a:cubicBezTo>
                      <a:pt x="461" y="2107"/>
                      <a:pt x="381" y="2167"/>
                      <a:pt x="369" y="2239"/>
                    </a:cubicBezTo>
                    <a:cubicBezTo>
                      <a:pt x="349" y="2315"/>
                      <a:pt x="365" y="2435"/>
                      <a:pt x="413" y="2507"/>
                    </a:cubicBezTo>
                    <a:cubicBezTo>
                      <a:pt x="421" y="2535"/>
                      <a:pt x="445" y="2535"/>
                      <a:pt x="457" y="2559"/>
                    </a:cubicBezTo>
                    <a:cubicBezTo>
                      <a:pt x="473" y="2591"/>
                      <a:pt x="465" y="2655"/>
                      <a:pt x="473" y="2687"/>
                    </a:cubicBezTo>
                    <a:cubicBezTo>
                      <a:pt x="477" y="2787"/>
                      <a:pt x="473" y="2887"/>
                      <a:pt x="457" y="2987"/>
                    </a:cubicBezTo>
                    <a:cubicBezTo>
                      <a:pt x="457" y="2995"/>
                      <a:pt x="453" y="3003"/>
                      <a:pt x="461" y="3007"/>
                    </a:cubicBezTo>
                    <a:cubicBezTo>
                      <a:pt x="469" y="3011"/>
                      <a:pt x="485" y="2999"/>
                      <a:pt x="485" y="2999"/>
                    </a:cubicBezTo>
                    <a:cubicBezTo>
                      <a:pt x="525" y="3007"/>
                      <a:pt x="561" y="3019"/>
                      <a:pt x="597" y="3031"/>
                    </a:cubicBezTo>
                    <a:cubicBezTo>
                      <a:pt x="621" y="3039"/>
                      <a:pt x="637" y="3047"/>
                      <a:pt x="657" y="3055"/>
                    </a:cubicBezTo>
                    <a:cubicBezTo>
                      <a:pt x="661" y="3055"/>
                      <a:pt x="669" y="3059"/>
                      <a:pt x="669" y="3059"/>
                    </a:cubicBezTo>
                    <a:cubicBezTo>
                      <a:pt x="685" y="3075"/>
                      <a:pt x="705" y="3079"/>
                      <a:pt x="729" y="3083"/>
                    </a:cubicBezTo>
                    <a:cubicBezTo>
                      <a:pt x="769" y="3075"/>
                      <a:pt x="801" y="3055"/>
                      <a:pt x="841" y="3047"/>
                    </a:cubicBezTo>
                    <a:cubicBezTo>
                      <a:pt x="880" y="3027"/>
                      <a:pt x="912" y="2999"/>
                      <a:pt x="956" y="2991"/>
                    </a:cubicBezTo>
                    <a:cubicBezTo>
                      <a:pt x="968" y="2983"/>
                      <a:pt x="980" y="2967"/>
                      <a:pt x="992" y="2963"/>
                    </a:cubicBezTo>
                    <a:cubicBezTo>
                      <a:pt x="1004" y="2959"/>
                      <a:pt x="1024" y="2955"/>
                      <a:pt x="1024" y="2955"/>
                    </a:cubicBezTo>
                    <a:cubicBezTo>
                      <a:pt x="1040" y="2931"/>
                      <a:pt x="1092" y="2915"/>
                      <a:pt x="1120" y="2907"/>
                    </a:cubicBezTo>
                    <a:cubicBezTo>
                      <a:pt x="1132" y="2887"/>
                      <a:pt x="1168" y="2867"/>
                      <a:pt x="1192" y="2859"/>
                    </a:cubicBezTo>
                    <a:cubicBezTo>
                      <a:pt x="1212" y="2827"/>
                      <a:pt x="1276" y="2839"/>
                      <a:pt x="1312" y="2831"/>
                    </a:cubicBezTo>
                    <a:cubicBezTo>
                      <a:pt x="1336" y="2811"/>
                      <a:pt x="1348" y="2791"/>
                      <a:pt x="1372" y="2783"/>
                    </a:cubicBezTo>
                    <a:cubicBezTo>
                      <a:pt x="1380" y="2779"/>
                      <a:pt x="1396" y="2767"/>
                      <a:pt x="1396" y="2767"/>
                    </a:cubicBezTo>
                    <a:cubicBezTo>
                      <a:pt x="1389" y="2753"/>
                      <a:pt x="1388" y="2743"/>
                      <a:pt x="1396" y="2723"/>
                    </a:cubicBezTo>
                    <a:cubicBezTo>
                      <a:pt x="1412" y="2675"/>
                      <a:pt x="1465" y="2573"/>
                      <a:pt x="1500" y="2534"/>
                    </a:cubicBezTo>
                    <a:cubicBezTo>
                      <a:pt x="1530" y="2472"/>
                      <a:pt x="1555" y="2397"/>
                      <a:pt x="1576" y="2351"/>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518" name="Freeform 2521">
              <a:extLst>
                <a:ext uri="{FF2B5EF4-FFF2-40B4-BE49-F238E27FC236}">
                  <a16:creationId xmlns:a16="http://schemas.microsoft.com/office/drawing/2014/main" id="{E7A4C755-98AB-BFB3-458A-22AC3AC8E0D5}"/>
                </a:ext>
              </a:extLst>
            </p:cNvPr>
            <p:cNvSpPr>
              <a:spLocks noChangeAspect="1"/>
            </p:cNvSpPr>
            <p:nvPr>
              <p:custDataLst>
                <p:tags r:id="rId17"/>
              </p:custDataLst>
            </p:nvPr>
          </p:nvSpPr>
          <p:spPr bwMode="auto">
            <a:xfrm>
              <a:off x="3899854" y="3299552"/>
              <a:ext cx="281056" cy="172134"/>
            </a:xfrm>
            <a:custGeom>
              <a:avLst/>
              <a:gdLst>
                <a:gd name="T0" fmla="*/ 1156 w 1156"/>
                <a:gd name="T1" fmla="*/ 416 h 708"/>
                <a:gd name="T2" fmla="*/ 1132 w 1156"/>
                <a:gd name="T3" fmla="*/ 380 h 708"/>
                <a:gd name="T4" fmla="*/ 1104 w 1156"/>
                <a:gd name="T5" fmla="*/ 312 h 708"/>
                <a:gd name="T6" fmla="*/ 1032 w 1156"/>
                <a:gd name="T7" fmla="*/ 224 h 708"/>
                <a:gd name="T8" fmla="*/ 976 w 1156"/>
                <a:gd name="T9" fmla="*/ 92 h 708"/>
                <a:gd name="T10" fmla="*/ 945 w 1156"/>
                <a:gd name="T11" fmla="*/ 63 h 708"/>
                <a:gd name="T12" fmla="*/ 819 w 1156"/>
                <a:gd name="T13" fmla="*/ 99 h 708"/>
                <a:gd name="T14" fmla="*/ 764 w 1156"/>
                <a:gd name="T15" fmla="*/ 96 h 708"/>
                <a:gd name="T16" fmla="*/ 684 w 1156"/>
                <a:gd name="T17" fmla="*/ 50 h 708"/>
                <a:gd name="T18" fmla="*/ 648 w 1156"/>
                <a:gd name="T19" fmla="*/ 20 h 708"/>
                <a:gd name="T20" fmla="*/ 602 w 1156"/>
                <a:gd name="T21" fmla="*/ 6 h 708"/>
                <a:gd name="T22" fmla="*/ 532 w 1156"/>
                <a:gd name="T23" fmla="*/ 20 h 708"/>
                <a:gd name="T24" fmla="*/ 460 w 1156"/>
                <a:gd name="T25" fmla="*/ 52 h 708"/>
                <a:gd name="T26" fmla="*/ 496 w 1156"/>
                <a:gd name="T27" fmla="*/ 220 h 708"/>
                <a:gd name="T28" fmla="*/ 484 w 1156"/>
                <a:gd name="T29" fmla="*/ 308 h 708"/>
                <a:gd name="T30" fmla="*/ 448 w 1156"/>
                <a:gd name="T31" fmla="*/ 344 h 708"/>
                <a:gd name="T32" fmla="*/ 356 w 1156"/>
                <a:gd name="T33" fmla="*/ 340 h 708"/>
                <a:gd name="T34" fmla="*/ 348 w 1156"/>
                <a:gd name="T35" fmla="*/ 324 h 708"/>
                <a:gd name="T36" fmla="*/ 288 w 1156"/>
                <a:gd name="T37" fmla="*/ 296 h 708"/>
                <a:gd name="T38" fmla="*/ 252 w 1156"/>
                <a:gd name="T39" fmla="*/ 240 h 708"/>
                <a:gd name="T40" fmla="*/ 216 w 1156"/>
                <a:gd name="T41" fmla="*/ 212 h 708"/>
                <a:gd name="T42" fmla="*/ 180 w 1156"/>
                <a:gd name="T43" fmla="*/ 172 h 708"/>
                <a:gd name="T44" fmla="*/ 148 w 1156"/>
                <a:gd name="T45" fmla="*/ 192 h 708"/>
                <a:gd name="T46" fmla="*/ 76 w 1156"/>
                <a:gd name="T47" fmla="*/ 236 h 708"/>
                <a:gd name="T48" fmla="*/ 48 w 1156"/>
                <a:gd name="T49" fmla="*/ 296 h 708"/>
                <a:gd name="T50" fmla="*/ 16 w 1156"/>
                <a:gd name="T51" fmla="*/ 364 h 708"/>
                <a:gd name="T52" fmla="*/ 0 w 1156"/>
                <a:gd name="T53" fmla="*/ 484 h 708"/>
                <a:gd name="T54" fmla="*/ 36 w 1156"/>
                <a:gd name="T55" fmla="*/ 708 h 708"/>
                <a:gd name="T56" fmla="*/ 69 w 1156"/>
                <a:gd name="T57" fmla="*/ 638 h 708"/>
                <a:gd name="T58" fmla="*/ 96 w 1156"/>
                <a:gd name="T59" fmla="*/ 608 h 708"/>
                <a:gd name="T60" fmla="*/ 204 w 1156"/>
                <a:gd name="T61" fmla="*/ 576 h 708"/>
                <a:gd name="T62" fmla="*/ 230 w 1156"/>
                <a:gd name="T63" fmla="*/ 546 h 708"/>
                <a:gd name="T64" fmla="*/ 240 w 1156"/>
                <a:gd name="T65" fmla="*/ 561 h 708"/>
                <a:gd name="T66" fmla="*/ 287 w 1156"/>
                <a:gd name="T67" fmla="*/ 566 h 708"/>
                <a:gd name="T68" fmla="*/ 303 w 1156"/>
                <a:gd name="T69" fmla="*/ 539 h 708"/>
                <a:gd name="T70" fmla="*/ 330 w 1156"/>
                <a:gd name="T71" fmla="*/ 567 h 708"/>
                <a:gd name="T72" fmla="*/ 410 w 1156"/>
                <a:gd name="T73" fmla="*/ 549 h 708"/>
                <a:gd name="T74" fmla="*/ 489 w 1156"/>
                <a:gd name="T75" fmla="*/ 527 h 708"/>
                <a:gd name="T76" fmla="*/ 576 w 1156"/>
                <a:gd name="T77" fmla="*/ 533 h 708"/>
                <a:gd name="T78" fmla="*/ 576 w 1156"/>
                <a:gd name="T79" fmla="*/ 504 h 708"/>
                <a:gd name="T80" fmla="*/ 638 w 1156"/>
                <a:gd name="T81" fmla="*/ 470 h 708"/>
                <a:gd name="T82" fmla="*/ 657 w 1156"/>
                <a:gd name="T83" fmla="*/ 516 h 708"/>
                <a:gd name="T84" fmla="*/ 690 w 1156"/>
                <a:gd name="T85" fmla="*/ 530 h 708"/>
                <a:gd name="T86" fmla="*/ 784 w 1156"/>
                <a:gd name="T87" fmla="*/ 536 h 708"/>
                <a:gd name="T88" fmla="*/ 879 w 1156"/>
                <a:gd name="T89" fmla="*/ 588 h 708"/>
                <a:gd name="T90" fmla="*/ 944 w 1156"/>
                <a:gd name="T91" fmla="*/ 620 h 708"/>
                <a:gd name="T92" fmla="*/ 960 w 1156"/>
                <a:gd name="T93" fmla="*/ 614 h 708"/>
                <a:gd name="T94" fmla="*/ 1094 w 1156"/>
                <a:gd name="T95" fmla="*/ 566 h 708"/>
                <a:gd name="T96" fmla="*/ 1088 w 1156"/>
                <a:gd name="T97" fmla="*/ 522 h 708"/>
                <a:gd name="T98" fmla="*/ 1137 w 1156"/>
                <a:gd name="T99" fmla="*/ 447 h 708"/>
                <a:gd name="T100" fmla="*/ 1156 w 1156"/>
                <a:gd name="T101" fmla="*/ 416 h 70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156"/>
                <a:gd name="T154" fmla="*/ 0 h 708"/>
                <a:gd name="T155" fmla="*/ 1156 w 1156"/>
                <a:gd name="T156" fmla="*/ 708 h 70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156" h="708">
                  <a:moveTo>
                    <a:pt x="1156" y="416"/>
                  </a:moveTo>
                  <a:cubicBezTo>
                    <a:pt x="1148" y="404"/>
                    <a:pt x="1144" y="392"/>
                    <a:pt x="1132" y="380"/>
                  </a:cubicBezTo>
                  <a:cubicBezTo>
                    <a:pt x="1124" y="356"/>
                    <a:pt x="1128" y="328"/>
                    <a:pt x="1104" y="312"/>
                  </a:cubicBezTo>
                  <a:cubicBezTo>
                    <a:pt x="1096" y="292"/>
                    <a:pt x="1052" y="232"/>
                    <a:pt x="1032" y="224"/>
                  </a:cubicBezTo>
                  <a:cubicBezTo>
                    <a:pt x="1036" y="132"/>
                    <a:pt x="1048" y="140"/>
                    <a:pt x="976" y="92"/>
                  </a:cubicBezTo>
                  <a:cubicBezTo>
                    <a:pt x="972" y="76"/>
                    <a:pt x="953" y="83"/>
                    <a:pt x="945" y="63"/>
                  </a:cubicBezTo>
                  <a:cubicBezTo>
                    <a:pt x="845" y="72"/>
                    <a:pt x="831" y="92"/>
                    <a:pt x="819" y="99"/>
                  </a:cubicBezTo>
                  <a:cubicBezTo>
                    <a:pt x="789" y="104"/>
                    <a:pt x="786" y="98"/>
                    <a:pt x="764" y="96"/>
                  </a:cubicBezTo>
                  <a:cubicBezTo>
                    <a:pt x="740" y="60"/>
                    <a:pt x="719" y="78"/>
                    <a:pt x="684" y="50"/>
                  </a:cubicBezTo>
                  <a:cubicBezTo>
                    <a:pt x="672" y="38"/>
                    <a:pt x="664" y="24"/>
                    <a:pt x="648" y="20"/>
                  </a:cubicBezTo>
                  <a:cubicBezTo>
                    <a:pt x="636" y="0"/>
                    <a:pt x="626" y="10"/>
                    <a:pt x="602" y="6"/>
                  </a:cubicBezTo>
                  <a:cubicBezTo>
                    <a:pt x="564" y="9"/>
                    <a:pt x="564" y="0"/>
                    <a:pt x="532" y="20"/>
                  </a:cubicBezTo>
                  <a:cubicBezTo>
                    <a:pt x="509" y="32"/>
                    <a:pt x="483" y="62"/>
                    <a:pt x="460" y="52"/>
                  </a:cubicBezTo>
                  <a:cubicBezTo>
                    <a:pt x="432" y="88"/>
                    <a:pt x="456" y="192"/>
                    <a:pt x="496" y="220"/>
                  </a:cubicBezTo>
                  <a:cubicBezTo>
                    <a:pt x="504" y="252"/>
                    <a:pt x="512" y="288"/>
                    <a:pt x="484" y="308"/>
                  </a:cubicBezTo>
                  <a:cubicBezTo>
                    <a:pt x="472" y="328"/>
                    <a:pt x="472" y="336"/>
                    <a:pt x="448" y="344"/>
                  </a:cubicBezTo>
                  <a:cubicBezTo>
                    <a:pt x="416" y="344"/>
                    <a:pt x="388" y="348"/>
                    <a:pt x="356" y="340"/>
                  </a:cubicBezTo>
                  <a:cubicBezTo>
                    <a:pt x="352" y="340"/>
                    <a:pt x="352" y="328"/>
                    <a:pt x="348" y="324"/>
                  </a:cubicBezTo>
                  <a:cubicBezTo>
                    <a:pt x="336" y="312"/>
                    <a:pt x="304" y="300"/>
                    <a:pt x="288" y="296"/>
                  </a:cubicBezTo>
                  <a:cubicBezTo>
                    <a:pt x="276" y="276"/>
                    <a:pt x="268" y="256"/>
                    <a:pt x="252" y="240"/>
                  </a:cubicBezTo>
                  <a:cubicBezTo>
                    <a:pt x="244" y="228"/>
                    <a:pt x="216" y="212"/>
                    <a:pt x="216" y="212"/>
                  </a:cubicBezTo>
                  <a:cubicBezTo>
                    <a:pt x="208" y="196"/>
                    <a:pt x="192" y="180"/>
                    <a:pt x="180" y="172"/>
                  </a:cubicBezTo>
                  <a:cubicBezTo>
                    <a:pt x="160" y="180"/>
                    <a:pt x="172" y="188"/>
                    <a:pt x="148" y="192"/>
                  </a:cubicBezTo>
                  <a:cubicBezTo>
                    <a:pt x="124" y="208"/>
                    <a:pt x="96" y="216"/>
                    <a:pt x="76" y="236"/>
                  </a:cubicBezTo>
                  <a:cubicBezTo>
                    <a:pt x="68" y="260"/>
                    <a:pt x="64" y="280"/>
                    <a:pt x="48" y="296"/>
                  </a:cubicBezTo>
                  <a:cubicBezTo>
                    <a:pt x="40" y="320"/>
                    <a:pt x="20" y="336"/>
                    <a:pt x="16" y="364"/>
                  </a:cubicBezTo>
                  <a:cubicBezTo>
                    <a:pt x="12" y="420"/>
                    <a:pt x="8" y="436"/>
                    <a:pt x="0" y="484"/>
                  </a:cubicBezTo>
                  <a:cubicBezTo>
                    <a:pt x="4" y="536"/>
                    <a:pt x="0" y="696"/>
                    <a:pt x="36" y="708"/>
                  </a:cubicBezTo>
                  <a:cubicBezTo>
                    <a:pt x="39" y="684"/>
                    <a:pt x="59" y="655"/>
                    <a:pt x="69" y="638"/>
                  </a:cubicBezTo>
                  <a:cubicBezTo>
                    <a:pt x="79" y="621"/>
                    <a:pt x="83" y="639"/>
                    <a:pt x="96" y="608"/>
                  </a:cubicBezTo>
                  <a:cubicBezTo>
                    <a:pt x="117" y="605"/>
                    <a:pt x="162" y="570"/>
                    <a:pt x="204" y="576"/>
                  </a:cubicBezTo>
                  <a:cubicBezTo>
                    <a:pt x="226" y="564"/>
                    <a:pt x="216" y="548"/>
                    <a:pt x="230" y="546"/>
                  </a:cubicBezTo>
                  <a:cubicBezTo>
                    <a:pt x="236" y="544"/>
                    <a:pt x="231" y="558"/>
                    <a:pt x="240" y="561"/>
                  </a:cubicBezTo>
                  <a:cubicBezTo>
                    <a:pt x="249" y="564"/>
                    <a:pt x="269" y="561"/>
                    <a:pt x="287" y="566"/>
                  </a:cubicBezTo>
                  <a:cubicBezTo>
                    <a:pt x="299" y="552"/>
                    <a:pt x="299" y="560"/>
                    <a:pt x="303" y="539"/>
                  </a:cubicBezTo>
                  <a:cubicBezTo>
                    <a:pt x="323" y="551"/>
                    <a:pt x="315" y="561"/>
                    <a:pt x="330" y="567"/>
                  </a:cubicBezTo>
                  <a:cubicBezTo>
                    <a:pt x="381" y="536"/>
                    <a:pt x="393" y="531"/>
                    <a:pt x="410" y="549"/>
                  </a:cubicBezTo>
                  <a:cubicBezTo>
                    <a:pt x="410" y="531"/>
                    <a:pt x="414" y="530"/>
                    <a:pt x="489" y="527"/>
                  </a:cubicBezTo>
                  <a:cubicBezTo>
                    <a:pt x="511" y="536"/>
                    <a:pt x="562" y="537"/>
                    <a:pt x="576" y="533"/>
                  </a:cubicBezTo>
                  <a:cubicBezTo>
                    <a:pt x="590" y="529"/>
                    <a:pt x="566" y="515"/>
                    <a:pt x="576" y="504"/>
                  </a:cubicBezTo>
                  <a:cubicBezTo>
                    <a:pt x="576" y="488"/>
                    <a:pt x="625" y="468"/>
                    <a:pt x="638" y="470"/>
                  </a:cubicBezTo>
                  <a:cubicBezTo>
                    <a:pt x="642" y="486"/>
                    <a:pt x="641" y="508"/>
                    <a:pt x="657" y="516"/>
                  </a:cubicBezTo>
                  <a:cubicBezTo>
                    <a:pt x="669" y="524"/>
                    <a:pt x="690" y="530"/>
                    <a:pt x="690" y="530"/>
                  </a:cubicBezTo>
                  <a:cubicBezTo>
                    <a:pt x="726" y="526"/>
                    <a:pt x="752" y="524"/>
                    <a:pt x="784" y="536"/>
                  </a:cubicBezTo>
                  <a:cubicBezTo>
                    <a:pt x="786" y="551"/>
                    <a:pt x="840" y="567"/>
                    <a:pt x="879" y="588"/>
                  </a:cubicBezTo>
                  <a:cubicBezTo>
                    <a:pt x="899" y="617"/>
                    <a:pt x="932" y="612"/>
                    <a:pt x="944" y="620"/>
                  </a:cubicBezTo>
                  <a:cubicBezTo>
                    <a:pt x="954" y="612"/>
                    <a:pt x="960" y="614"/>
                    <a:pt x="960" y="614"/>
                  </a:cubicBezTo>
                  <a:cubicBezTo>
                    <a:pt x="986" y="576"/>
                    <a:pt x="998" y="552"/>
                    <a:pt x="1094" y="566"/>
                  </a:cubicBezTo>
                  <a:cubicBezTo>
                    <a:pt x="1097" y="543"/>
                    <a:pt x="1101" y="578"/>
                    <a:pt x="1088" y="522"/>
                  </a:cubicBezTo>
                  <a:cubicBezTo>
                    <a:pt x="1091" y="488"/>
                    <a:pt x="1117" y="475"/>
                    <a:pt x="1137" y="447"/>
                  </a:cubicBezTo>
                  <a:cubicBezTo>
                    <a:pt x="1140" y="428"/>
                    <a:pt x="1145" y="422"/>
                    <a:pt x="1156" y="416"/>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523" name="Freeform 2522">
              <a:extLst>
                <a:ext uri="{FF2B5EF4-FFF2-40B4-BE49-F238E27FC236}">
                  <a16:creationId xmlns:a16="http://schemas.microsoft.com/office/drawing/2014/main" id="{4B65E8EF-A4CE-37C5-9580-A7C345FB86EA}"/>
                </a:ext>
              </a:extLst>
            </p:cNvPr>
            <p:cNvSpPr>
              <a:spLocks noChangeAspect="1"/>
            </p:cNvSpPr>
            <p:nvPr>
              <p:custDataLst>
                <p:tags r:id="rId18"/>
              </p:custDataLst>
            </p:nvPr>
          </p:nvSpPr>
          <p:spPr bwMode="auto">
            <a:xfrm>
              <a:off x="3908605" y="3413335"/>
              <a:ext cx="231458" cy="183805"/>
            </a:xfrm>
            <a:custGeom>
              <a:avLst/>
              <a:gdLst>
                <a:gd name="T0" fmla="*/ 912 w 952"/>
                <a:gd name="T1" fmla="*/ 152 h 758"/>
                <a:gd name="T2" fmla="*/ 808 w 952"/>
                <a:gd name="T3" fmla="*/ 104 h 758"/>
                <a:gd name="T4" fmla="*/ 756 w 952"/>
                <a:gd name="T5" fmla="*/ 80 h 758"/>
                <a:gd name="T6" fmla="*/ 656 w 952"/>
                <a:gd name="T7" fmla="*/ 60 h 758"/>
                <a:gd name="T8" fmla="*/ 616 w 952"/>
                <a:gd name="T9" fmla="*/ 48 h 758"/>
                <a:gd name="T10" fmla="*/ 600 w 952"/>
                <a:gd name="T11" fmla="*/ 0 h 758"/>
                <a:gd name="T12" fmla="*/ 544 w 952"/>
                <a:gd name="T13" fmla="*/ 24 h 758"/>
                <a:gd name="T14" fmla="*/ 546 w 952"/>
                <a:gd name="T15" fmla="*/ 66 h 758"/>
                <a:gd name="T16" fmla="*/ 492 w 952"/>
                <a:gd name="T17" fmla="*/ 68 h 758"/>
                <a:gd name="T18" fmla="*/ 456 w 952"/>
                <a:gd name="T19" fmla="*/ 60 h 758"/>
                <a:gd name="T20" fmla="*/ 372 w 952"/>
                <a:gd name="T21" fmla="*/ 84 h 758"/>
                <a:gd name="T22" fmla="*/ 340 w 952"/>
                <a:gd name="T23" fmla="*/ 68 h 758"/>
                <a:gd name="T24" fmla="*/ 304 w 952"/>
                <a:gd name="T25" fmla="*/ 92 h 758"/>
                <a:gd name="T26" fmla="*/ 268 w 952"/>
                <a:gd name="T27" fmla="*/ 68 h 758"/>
                <a:gd name="T28" fmla="*/ 204 w 952"/>
                <a:gd name="T29" fmla="*/ 92 h 758"/>
                <a:gd name="T30" fmla="*/ 176 w 952"/>
                <a:gd name="T31" fmla="*/ 104 h 758"/>
                <a:gd name="T32" fmla="*/ 128 w 952"/>
                <a:gd name="T33" fmla="*/ 108 h 758"/>
                <a:gd name="T34" fmla="*/ 84 w 952"/>
                <a:gd name="T35" fmla="*/ 132 h 758"/>
                <a:gd name="T36" fmla="*/ 60 w 952"/>
                <a:gd name="T37" fmla="*/ 140 h 758"/>
                <a:gd name="T38" fmla="*/ 36 w 952"/>
                <a:gd name="T39" fmla="*/ 168 h 758"/>
                <a:gd name="T40" fmla="*/ 4 w 952"/>
                <a:gd name="T41" fmla="*/ 216 h 758"/>
                <a:gd name="T42" fmla="*/ 24 w 952"/>
                <a:gd name="T43" fmla="*/ 328 h 758"/>
                <a:gd name="T44" fmla="*/ 52 w 952"/>
                <a:gd name="T45" fmla="*/ 420 h 758"/>
                <a:gd name="T46" fmla="*/ 128 w 952"/>
                <a:gd name="T47" fmla="*/ 450 h 758"/>
                <a:gd name="T48" fmla="*/ 201 w 952"/>
                <a:gd name="T49" fmla="*/ 480 h 758"/>
                <a:gd name="T50" fmla="*/ 315 w 952"/>
                <a:gd name="T51" fmla="*/ 504 h 758"/>
                <a:gd name="T52" fmla="*/ 359 w 952"/>
                <a:gd name="T53" fmla="*/ 657 h 758"/>
                <a:gd name="T54" fmla="*/ 443 w 952"/>
                <a:gd name="T55" fmla="*/ 684 h 758"/>
                <a:gd name="T56" fmla="*/ 509 w 952"/>
                <a:gd name="T57" fmla="*/ 758 h 758"/>
                <a:gd name="T58" fmla="*/ 615 w 952"/>
                <a:gd name="T59" fmla="*/ 725 h 758"/>
                <a:gd name="T60" fmla="*/ 683 w 952"/>
                <a:gd name="T61" fmla="*/ 714 h 758"/>
                <a:gd name="T62" fmla="*/ 723 w 952"/>
                <a:gd name="T63" fmla="*/ 696 h 758"/>
                <a:gd name="T64" fmla="*/ 707 w 952"/>
                <a:gd name="T65" fmla="*/ 680 h 758"/>
                <a:gd name="T66" fmla="*/ 734 w 952"/>
                <a:gd name="T67" fmla="*/ 645 h 758"/>
                <a:gd name="T68" fmla="*/ 765 w 952"/>
                <a:gd name="T69" fmla="*/ 644 h 758"/>
                <a:gd name="T70" fmla="*/ 813 w 952"/>
                <a:gd name="T71" fmla="*/ 599 h 758"/>
                <a:gd name="T72" fmla="*/ 818 w 952"/>
                <a:gd name="T73" fmla="*/ 620 h 758"/>
                <a:gd name="T74" fmla="*/ 852 w 952"/>
                <a:gd name="T75" fmla="*/ 640 h 758"/>
                <a:gd name="T76" fmla="*/ 852 w 952"/>
                <a:gd name="T77" fmla="*/ 592 h 758"/>
                <a:gd name="T78" fmla="*/ 825 w 952"/>
                <a:gd name="T79" fmla="*/ 566 h 758"/>
                <a:gd name="T80" fmla="*/ 824 w 952"/>
                <a:gd name="T81" fmla="*/ 528 h 758"/>
                <a:gd name="T82" fmla="*/ 834 w 952"/>
                <a:gd name="T83" fmla="*/ 459 h 758"/>
                <a:gd name="T84" fmla="*/ 830 w 952"/>
                <a:gd name="T85" fmla="*/ 425 h 758"/>
                <a:gd name="T86" fmla="*/ 885 w 952"/>
                <a:gd name="T87" fmla="*/ 329 h 758"/>
                <a:gd name="T88" fmla="*/ 914 w 952"/>
                <a:gd name="T89" fmla="*/ 312 h 758"/>
                <a:gd name="T90" fmla="*/ 952 w 952"/>
                <a:gd name="T91" fmla="*/ 288 h 758"/>
                <a:gd name="T92" fmla="*/ 941 w 952"/>
                <a:gd name="T93" fmla="*/ 261 h 758"/>
                <a:gd name="T94" fmla="*/ 904 w 952"/>
                <a:gd name="T95" fmla="*/ 248 h 758"/>
                <a:gd name="T96" fmla="*/ 902 w 952"/>
                <a:gd name="T97" fmla="*/ 225 h 758"/>
                <a:gd name="T98" fmla="*/ 924 w 952"/>
                <a:gd name="T99" fmla="*/ 144 h 758"/>
                <a:gd name="T100" fmla="*/ 912 w 952"/>
                <a:gd name="T101" fmla="*/ 152 h 75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952"/>
                <a:gd name="T154" fmla="*/ 0 h 758"/>
                <a:gd name="T155" fmla="*/ 952 w 952"/>
                <a:gd name="T156" fmla="*/ 758 h 75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952" h="758">
                  <a:moveTo>
                    <a:pt x="912" y="152"/>
                  </a:moveTo>
                  <a:cubicBezTo>
                    <a:pt x="844" y="140"/>
                    <a:pt x="856" y="120"/>
                    <a:pt x="808" y="104"/>
                  </a:cubicBezTo>
                  <a:cubicBezTo>
                    <a:pt x="792" y="88"/>
                    <a:pt x="776" y="92"/>
                    <a:pt x="756" y="80"/>
                  </a:cubicBezTo>
                  <a:cubicBezTo>
                    <a:pt x="736" y="48"/>
                    <a:pt x="696" y="60"/>
                    <a:pt x="656" y="60"/>
                  </a:cubicBezTo>
                  <a:cubicBezTo>
                    <a:pt x="648" y="60"/>
                    <a:pt x="620" y="52"/>
                    <a:pt x="616" y="48"/>
                  </a:cubicBezTo>
                  <a:cubicBezTo>
                    <a:pt x="604" y="36"/>
                    <a:pt x="600" y="0"/>
                    <a:pt x="600" y="0"/>
                  </a:cubicBezTo>
                  <a:cubicBezTo>
                    <a:pt x="580" y="4"/>
                    <a:pt x="544" y="24"/>
                    <a:pt x="544" y="24"/>
                  </a:cubicBezTo>
                  <a:cubicBezTo>
                    <a:pt x="532" y="34"/>
                    <a:pt x="542" y="50"/>
                    <a:pt x="546" y="66"/>
                  </a:cubicBezTo>
                  <a:cubicBezTo>
                    <a:pt x="531" y="68"/>
                    <a:pt x="507" y="69"/>
                    <a:pt x="492" y="68"/>
                  </a:cubicBezTo>
                  <a:cubicBezTo>
                    <a:pt x="476" y="72"/>
                    <a:pt x="472" y="64"/>
                    <a:pt x="456" y="60"/>
                  </a:cubicBezTo>
                  <a:cubicBezTo>
                    <a:pt x="416" y="64"/>
                    <a:pt x="380" y="48"/>
                    <a:pt x="372" y="84"/>
                  </a:cubicBezTo>
                  <a:cubicBezTo>
                    <a:pt x="368" y="68"/>
                    <a:pt x="356" y="64"/>
                    <a:pt x="340" y="68"/>
                  </a:cubicBezTo>
                  <a:cubicBezTo>
                    <a:pt x="328" y="80"/>
                    <a:pt x="320" y="88"/>
                    <a:pt x="304" y="92"/>
                  </a:cubicBezTo>
                  <a:cubicBezTo>
                    <a:pt x="288" y="116"/>
                    <a:pt x="280" y="80"/>
                    <a:pt x="268" y="68"/>
                  </a:cubicBezTo>
                  <a:cubicBezTo>
                    <a:pt x="260" y="108"/>
                    <a:pt x="244" y="96"/>
                    <a:pt x="204" y="92"/>
                  </a:cubicBezTo>
                  <a:cubicBezTo>
                    <a:pt x="192" y="60"/>
                    <a:pt x="184" y="100"/>
                    <a:pt x="176" y="104"/>
                  </a:cubicBezTo>
                  <a:cubicBezTo>
                    <a:pt x="160" y="108"/>
                    <a:pt x="144" y="108"/>
                    <a:pt x="128" y="108"/>
                  </a:cubicBezTo>
                  <a:cubicBezTo>
                    <a:pt x="112" y="116"/>
                    <a:pt x="100" y="124"/>
                    <a:pt x="84" y="132"/>
                  </a:cubicBezTo>
                  <a:cubicBezTo>
                    <a:pt x="76" y="136"/>
                    <a:pt x="60" y="140"/>
                    <a:pt x="60" y="140"/>
                  </a:cubicBezTo>
                  <a:cubicBezTo>
                    <a:pt x="52" y="156"/>
                    <a:pt x="52" y="164"/>
                    <a:pt x="36" y="168"/>
                  </a:cubicBezTo>
                  <a:cubicBezTo>
                    <a:pt x="28" y="188"/>
                    <a:pt x="16" y="200"/>
                    <a:pt x="4" y="216"/>
                  </a:cubicBezTo>
                  <a:cubicBezTo>
                    <a:pt x="4" y="236"/>
                    <a:pt x="0" y="320"/>
                    <a:pt x="24" y="328"/>
                  </a:cubicBezTo>
                  <a:cubicBezTo>
                    <a:pt x="32" y="356"/>
                    <a:pt x="20" y="408"/>
                    <a:pt x="52" y="420"/>
                  </a:cubicBezTo>
                  <a:cubicBezTo>
                    <a:pt x="83" y="429"/>
                    <a:pt x="100" y="442"/>
                    <a:pt x="128" y="450"/>
                  </a:cubicBezTo>
                  <a:cubicBezTo>
                    <a:pt x="148" y="462"/>
                    <a:pt x="201" y="480"/>
                    <a:pt x="201" y="480"/>
                  </a:cubicBezTo>
                  <a:cubicBezTo>
                    <a:pt x="231" y="495"/>
                    <a:pt x="287" y="480"/>
                    <a:pt x="315" y="504"/>
                  </a:cubicBezTo>
                  <a:cubicBezTo>
                    <a:pt x="319" y="528"/>
                    <a:pt x="343" y="641"/>
                    <a:pt x="359" y="657"/>
                  </a:cubicBezTo>
                  <a:cubicBezTo>
                    <a:pt x="396" y="660"/>
                    <a:pt x="422" y="663"/>
                    <a:pt x="443" y="684"/>
                  </a:cubicBezTo>
                  <a:cubicBezTo>
                    <a:pt x="485" y="708"/>
                    <a:pt x="492" y="726"/>
                    <a:pt x="509" y="758"/>
                  </a:cubicBezTo>
                  <a:cubicBezTo>
                    <a:pt x="563" y="758"/>
                    <a:pt x="566" y="755"/>
                    <a:pt x="615" y="725"/>
                  </a:cubicBezTo>
                  <a:cubicBezTo>
                    <a:pt x="636" y="750"/>
                    <a:pt x="657" y="750"/>
                    <a:pt x="683" y="714"/>
                  </a:cubicBezTo>
                  <a:cubicBezTo>
                    <a:pt x="701" y="709"/>
                    <a:pt x="719" y="701"/>
                    <a:pt x="723" y="696"/>
                  </a:cubicBezTo>
                  <a:cubicBezTo>
                    <a:pt x="741" y="686"/>
                    <a:pt x="705" y="688"/>
                    <a:pt x="707" y="680"/>
                  </a:cubicBezTo>
                  <a:cubicBezTo>
                    <a:pt x="709" y="672"/>
                    <a:pt x="725" y="651"/>
                    <a:pt x="734" y="645"/>
                  </a:cubicBezTo>
                  <a:cubicBezTo>
                    <a:pt x="746" y="642"/>
                    <a:pt x="765" y="644"/>
                    <a:pt x="765" y="644"/>
                  </a:cubicBezTo>
                  <a:cubicBezTo>
                    <a:pt x="773" y="628"/>
                    <a:pt x="791" y="597"/>
                    <a:pt x="813" y="599"/>
                  </a:cubicBezTo>
                  <a:cubicBezTo>
                    <a:pt x="823" y="595"/>
                    <a:pt x="812" y="613"/>
                    <a:pt x="818" y="620"/>
                  </a:cubicBezTo>
                  <a:cubicBezTo>
                    <a:pt x="824" y="627"/>
                    <a:pt x="837" y="630"/>
                    <a:pt x="852" y="640"/>
                  </a:cubicBezTo>
                  <a:cubicBezTo>
                    <a:pt x="884" y="632"/>
                    <a:pt x="872" y="608"/>
                    <a:pt x="852" y="592"/>
                  </a:cubicBezTo>
                  <a:cubicBezTo>
                    <a:pt x="839" y="587"/>
                    <a:pt x="845" y="594"/>
                    <a:pt x="825" y="566"/>
                  </a:cubicBezTo>
                  <a:cubicBezTo>
                    <a:pt x="821" y="558"/>
                    <a:pt x="824" y="528"/>
                    <a:pt x="824" y="528"/>
                  </a:cubicBezTo>
                  <a:cubicBezTo>
                    <a:pt x="822" y="512"/>
                    <a:pt x="818" y="482"/>
                    <a:pt x="834" y="459"/>
                  </a:cubicBezTo>
                  <a:cubicBezTo>
                    <a:pt x="835" y="442"/>
                    <a:pt x="822" y="447"/>
                    <a:pt x="830" y="425"/>
                  </a:cubicBezTo>
                  <a:cubicBezTo>
                    <a:pt x="834" y="417"/>
                    <a:pt x="861" y="375"/>
                    <a:pt x="885" y="329"/>
                  </a:cubicBezTo>
                  <a:cubicBezTo>
                    <a:pt x="897" y="321"/>
                    <a:pt x="914" y="312"/>
                    <a:pt x="914" y="312"/>
                  </a:cubicBezTo>
                  <a:cubicBezTo>
                    <a:pt x="930" y="296"/>
                    <a:pt x="940" y="308"/>
                    <a:pt x="952" y="288"/>
                  </a:cubicBezTo>
                  <a:cubicBezTo>
                    <a:pt x="948" y="280"/>
                    <a:pt x="949" y="269"/>
                    <a:pt x="941" y="261"/>
                  </a:cubicBezTo>
                  <a:cubicBezTo>
                    <a:pt x="923" y="257"/>
                    <a:pt x="904" y="248"/>
                    <a:pt x="904" y="248"/>
                  </a:cubicBezTo>
                  <a:cubicBezTo>
                    <a:pt x="896" y="224"/>
                    <a:pt x="902" y="239"/>
                    <a:pt x="902" y="225"/>
                  </a:cubicBezTo>
                  <a:cubicBezTo>
                    <a:pt x="912" y="204"/>
                    <a:pt x="921" y="164"/>
                    <a:pt x="924" y="144"/>
                  </a:cubicBezTo>
                  <a:cubicBezTo>
                    <a:pt x="900" y="152"/>
                    <a:pt x="896" y="152"/>
                    <a:pt x="912" y="152"/>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533" name="Freeform 2523">
              <a:extLst>
                <a:ext uri="{FF2B5EF4-FFF2-40B4-BE49-F238E27FC236}">
                  <a16:creationId xmlns:a16="http://schemas.microsoft.com/office/drawing/2014/main" id="{FE69CB8A-009B-7DD4-D3CF-015FE8E7A5B5}"/>
                </a:ext>
              </a:extLst>
            </p:cNvPr>
            <p:cNvSpPr>
              <a:spLocks noChangeAspect="1"/>
            </p:cNvSpPr>
            <p:nvPr>
              <p:custDataLst>
                <p:tags r:id="rId19"/>
              </p:custDataLst>
            </p:nvPr>
          </p:nvSpPr>
          <p:spPr bwMode="auto">
            <a:xfrm>
              <a:off x="3868733" y="3511559"/>
              <a:ext cx="127399" cy="77801"/>
            </a:xfrm>
            <a:custGeom>
              <a:avLst/>
              <a:gdLst>
                <a:gd name="T0" fmla="*/ 192 w 527"/>
                <a:gd name="T1" fmla="*/ 0 h 322"/>
                <a:gd name="T2" fmla="*/ 395 w 527"/>
                <a:gd name="T3" fmla="*/ 84 h 322"/>
                <a:gd name="T4" fmla="*/ 479 w 527"/>
                <a:gd name="T5" fmla="*/ 96 h 322"/>
                <a:gd name="T6" fmla="*/ 507 w 527"/>
                <a:gd name="T7" fmla="*/ 216 h 322"/>
                <a:gd name="T8" fmla="*/ 527 w 527"/>
                <a:gd name="T9" fmla="*/ 252 h 322"/>
                <a:gd name="T10" fmla="*/ 443 w 527"/>
                <a:gd name="T11" fmla="*/ 267 h 322"/>
                <a:gd name="T12" fmla="*/ 375 w 527"/>
                <a:gd name="T13" fmla="*/ 292 h 322"/>
                <a:gd name="T14" fmla="*/ 277 w 527"/>
                <a:gd name="T15" fmla="*/ 304 h 322"/>
                <a:gd name="T16" fmla="*/ 170 w 527"/>
                <a:gd name="T17" fmla="*/ 318 h 322"/>
                <a:gd name="T18" fmla="*/ 8 w 527"/>
                <a:gd name="T19" fmla="*/ 312 h 322"/>
                <a:gd name="T20" fmla="*/ 16 w 527"/>
                <a:gd name="T21" fmla="*/ 288 h 322"/>
                <a:gd name="T22" fmla="*/ 96 w 527"/>
                <a:gd name="T23" fmla="*/ 156 h 322"/>
                <a:gd name="T24" fmla="*/ 144 w 527"/>
                <a:gd name="T25" fmla="*/ 116 h 322"/>
                <a:gd name="T26" fmla="*/ 176 w 527"/>
                <a:gd name="T27" fmla="*/ 64 h 322"/>
                <a:gd name="T28" fmla="*/ 192 w 527"/>
                <a:gd name="T29" fmla="*/ 40 h 322"/>
                <a:gd name="T30" fmla="*/ 192 w 527"/>
                <a:gd name="T31" fmla="*/ 0 h 32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7"/>
                <a:gd name="T49" fmla="*/ 0 h 322"/>
                <a:gd name="T50" fmla="*/ 527 w 527"/>
                <a:gd name="T51" fmla="*/ 322 h 32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7" h="322">
                  <a:moveTo>
                    <a:pt x="192" y="0"/>
                  </a:moveTo>
                  <a:cubicBezTo>
                    <a:pt x="228" y="12"/>
                    <a:pt x="283" y="52"/>
                    <a:pt x="395" y="84"/>
                  </a:cubicBezTo>
                  <a:cubicBezTo>
                    <a:pt x="411" y="84"/>
                    <a:pt x="463" y="84"/>
                    <a:pt x="479" y="96"/>
                  </a:cubicBezTo>
                  <a:cubicBezTo>
                    <a:pt x="491" y="136"/>
                    <a:pt x="499" y="176"/>
                    <a:pt x="507" y="216"/>
                  </a:cubicBezTo>
                  <a:cubicBezTo>
                    <a:pt x="511" y="228"/>
                    <a:pt x="527" y="252"/>
                    <a:pt x="527" y="252"/>
                  </a:cubicBezTo>
                  <a:cubicBezTo>
                    <a:pt x="490" y="253"/>
                    <a:pt x="484" y="250"/>
                    <a:pt x="443" y="267"/>
                  </a:cubicBezTo>
                  <a:cubicBezTo>
                    <a:pt x="423" y="271"/>
                    <a:pt x="375" y="292"/>
                    <a:pt x="375" y="292"/>
                  </a:cubicBezTo>
                  <a:cubicBezTo>
                    <a:pt x="334" y="294"/>
                    <a:pt x="314" y="303"/>
                    <a:pt x="277" y="304"/>
                  </a:cubicBezTo>
                  <a:cubicBezTo>
                    <a:pt x="242" y="308"/>
                    <a:pt x="206" y="314"/>
                    <a:pt x="170" y="318"/>
                  </a:cubicBezTo>
                  <a:cubicBezTo>
                    <a:pt x="113" y="315"/>
                    <a:pt x="100" y="322"/>
                    <a:pt x="8" y="312"/>
                  </a:cubicBezTo>
                  <a:cubicBezTo>
                    <a:pt x="0" y="312"/>
                    <a:pt x="16" y="288"/>
                    <a:pt x="16" y="288"/>
                  </a:cubicBezTo>
                  <a:cubicBezTo>
                    <a:pt x="28" y="180"/>
                    <a:pt x="8" y="180"/>
                    <a:pt x="96" y="156"/>
                  </a:cubicBezTo>
                  <a:cubicBezTo>
                    <a:pt x="112" y="140"/>
                    <a:pt x="124" y="124"/>
                    <a:pt x="144" y="116"/>
                  </a:cubicBezTo>
                  <a:cubicBezTo>
                    <a:pt x="160" y="96"/>
                    <a:pt x="164" y="84"/>
                    <a:pt x="176" y="64"/>
                  </a:cubicBezTo>
                  <a:cubicBezTo>
                    <a:pt x="180" y="56"/>
                    <a:pt x="192" y="40"/>
                    <a:pt x="192" y="40"/>
                  </a:cubicBezTo>
                  <a:cubicBezTo>
                    <a:pt x="184" y="8"/>
                    <a:pt x="180" y="20"/>
                    <a:pt x="192" y="0"/>
                  </a:cubicBezTo>
                  <a:close/>
                </a:path>
              </a:pathLst>
            </a:custGeom>
            <a:solidFill>
              <a:schemeClr val="accent6"/>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534" name="Freeform 2524">
              <a:extLst>
                <a:ext uri="{FF2B5EF4-FFF2-40B4-BE49-F238E27FC236}">
                  <a16:creationId xmlns:a16="http://schemas.microsoft.com/office/drawing/2014/main" id="{3BD417D4-4874-166B-97D8-70D1BCDE2231}"/>
                </a:ext>
              </a:extLst>
            </p:cNvPr>
            <p:cNvSpPr>
              <a:spLocks noChangeAspect="1"/>
            </p:cNvSpPr>
            <p:nvPr>
              <p:custDataLst>
                <p:tags r:id="rId20"/>
              </p:custDataLst>
            </p:nvPr>
          </p:nvSpPr>
          <p:spPr bwMode="auto">
            <a:xfrm>
              <a:off x="4032114" y="3397775"/>
              <a:ext cx="380251" cy="368581"/>
            </a:xfrm>
            <a:custGeom>
              <a:avLst/>
              <a:gdLst>
                <a:gd name="T0" fmla="*/ 586 w 1566"/>
                <a:gd name="T1" fmla="*/ 52 h 1516"/>
                <a:gd name="T2" fmla="*/ 550 w 1566"/>
                <a:gd name="T3" fmla="*/ 160 h 1516"/>
                <a:gd name="T4" fmla="*/ 422 w 1566"/>
                <a:gd name="T5" fmla="*/ 196 h 1516"/>
                <a:gd name="T6" fmla="*/ 394 w 1566"/>
                <a:gd name="T7" fmla="*/ 292 h 1516"/>
                <a:gd name="T8" fmla="*/ 430 w 1566"/>
                <a:gd name="T9" fmla="*/ 324 h 1516"/>
                <a:gd name="T10" fmla="*/ 382 w 1566"/>
                <a:gd name="T11" fmla="*/ 388 h 1516"/>
                <a:gd name="T12" fmla="*/ 326 w 1566"/>
                <a:gd name="T13" fmla="*/ 520 h 1516"/>
                <a:gd name="T14" fmla="*/ 318 w 1566"/>
                <a:gd name="T15" fmla="*/ 628 h 1516"/>
                <a:gd name="T16" fmla="*/ 346 w 1566"/>
                <a:gd name="T17" fmla="*/ 700 h 1516"/>
                <a:gd name="T18" fmla="*/ 290 w 1566"/>
                <a:gd name="T19" fmla="*/ 664 h 1516"/>
                <a:gd name="T20" fmla="*/ 206 w 1566"/>
                <a:gd name="T21" fmla="*/ 732 h 1516"/>
                <a:gd name="T22" fmla="*/ 214 w 1566"/>
                <a:gd name="T23" fmla="*/ 752 h 1516"/>
                <a:gd name="T24" fmla="*/ 130 w 1566"/>
                <a:gd name="T25" fmla="*/ 808 h 1516"/>
                <a:gd name="T26" fmla="*/ 62 w 1566"/>
                <a:gd name="T27" fmla="*/ 816 h 1516"/>
                <a:gd name="T28" fmla="*/ 14 w 1566"/>
                <a:gd name="T29" fmla="*/ 888 h 1516"/>
                <a:gd name="T30" fmla="*/ 105 w 1566"/>
                <a:gd name="T31" fmla="*/ 1084 h 1516"/>
                <a:gd name="T32" fmla="*/ 106 w 1566"/>
                <a:gd name="T33" fmla="*/ 1188 h 1516"/>
                <a:gd name="T34" fmla="*/ 27 w 1566"/>
                <a:gd name="T35" fmla="*/ 1266 h 1516"/>
                <a:gd name="T36" fmla="*/ 91 w 1566"/>
                <a:gd name="T37" fmla="*/ 1336 h 1516"/>
                <a:gd name="T38" fmla="*/ 142 w 1566"/>
                <a:gd name="T39" fmla="*/ 1516 h 1516"/>
                <a:gd name="T40" fmla="*/ 205 w 1566"/>
                <a:gd name="T41" fmla="*/ 1458 h 1516"/>
                <a:gd name="T42" fmla="*/ 232 w 1566"/>
                <a:gd name="T43" fmla="*/ 1426 h 1516"/>
                <a:gd name="T44" fmla="*/ 357 w 1566"/>
                <a:gd name="T45" fmla="*/ 1339 h 1516"/>
                <a:gd name="T46" fmla="*/ 498 w 1566"/>
                <a:gd name="T47" fmla="*/ 1309 h 1516"/>
                <a:gd name="T48" fmla="*/ 700 w 1566"/>
                <a:gd name="T49" fmla="*/ 1320 h 1516"/>
                <a:gd name="T50" fmla="*/ 777 w 1566"/>
                <a:gd name="T51" fmla="*/ 1350 h 1516"/>
                <a:gd name="T52" fmla="*/ 867 w 1566"/>
                <a:gd name="T53" fmla="*/ 1365 h 1516"/>
                <a:gd name="T54" fmla="*/ 922 w 1566"/>
                <a:gd name="T55" fmla="*/ 1312 h 1516"/>
                <a:gd name="T56" fmla="*/ 1006 w 1566"/>
                <a:gd name="T57" fmla="*/ 1308 h 1516"/>
                <a:gd name="T58" fmla="*/ 1089 w 1566"/>
                <a:gd name="T59" fmla="*/ 1266 h 1516"/>
                <a:gd name="T60" fmla="*/ 1162 w 1566"/>
                <a:gd name="T61" fmla="*/ 1327 h 1516"/>
                <a:gd name="T62" fmla="*/ 1270 w 1566"/>
                <a:gd name="T63" fmla="*/ 1236 h 1516"/>
                <a:gd name="T64" fmla="*/ 1386 w 1566"/>
                <a:gd name="T65" fmla="*/ 1261 h 1516"/>
                <a:gd name="T66" fmla="*/ 1369 w 1566"/>
                <a:gd name="T67" fmla="*/ 1204 h 1516"/>
                <a:gd name="T68" fmla="*/ 1447 w 1566"/>
                <a:gd name="T69" fmla="*/ 1000 h 1516"/>
                <a:gd name="T70" fmla="*/ 1498 w 1566"/>
                <a:gd name="T71" fmla="*/ 928 h 1516"/>
                <a:gd name="T72" fmla="*/ 1374 w 1566"/>
                <a:gd name="T73" fmla="*/ 748 h 1516"/>
                <a:gd name="T74" fmla="*/ 1498 w 1566"/>
                <a:gd name="T75" fmla="*/ 680 h 1516"/>
                <a:gd name="T76" fmla="*/ 1558 w 1566"/>
                <a:gd name="T77" fmla="*/ 640 h 1516"/>
                <a:gd name="T78" fmla="*/ 1522 w 1566"/>
                <a:gd name="T79" fmla="*/ 556 h 1516"/>
                <a:gd name="T80" fmla="*/ 1318 w 1566"/>
                <a:gd name="T81" fmla="*/ 432 h 1516"/>
                <a:gd name="T82" fmla="*/ 1210 w 1566"/>
                <a:gd name="T83" fmla="*/ 360 h 1516"/>
                <a:gd name="T84" fmla="*/ 1086 w 1566"/>
                <a:gd name="T85" fmla="*/ 168 h 1516"/>
                <a:gd name="T86" fmla="*/ 926 w 1566"/>
                <a:gd name="T87" fmla="*/ 64 h 1516"/>
                <a:gd name="T88" fmla="*/ 854 w 1566"/>
                <a:gd name="T89" fmla="*/ 64 h 1516"/>
                <a:gd name="T90" fmla="*/ 606 w 1566"/>
                <a:gd name="T91" fmla="*/ 16 h 151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66"/>
                <a:gd name="T139" fmla="*/ 0 h 1516"/>
                <a:gd name="T140" fmla="*/ 1566 w 1566"/>
                <a:gd name="T141" fmla="*/ 1516 h 151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66" h="1516">
                  <a:moveTo>
                    <a:pt x="606" y="16"/>
                  </a:moveTo>
                  <a:cubicBezTo>
                    <a:pt x="598" y="44"/>
                    <a:pt x="602" y="36"/>
                    <a:pt x="586" y="52"/>
                  </a:cubicBezTo>
                  <a:cubicBezTo>
                    <a:pt x="574" y="68"/>
                    <a:pt x="546" y="104"/>
                    <a:pt x="542" y="120"/>
                  </a:cubicBezTo>
                  <a:cubicBezTo>
                    <a:pt x="554" y="136"/>
                    <a:pt x="554" y="140"/>
                    <a:pt x="550" y="160"/>
                  </a:cubicBezTo>
                  <a:cubicBezTo>
                    <a:pt x="538" y="160"/>
                    <a:pt x="486" y="152"/>
                    <a:pt x="466" y="160"/>
                  </a:cubicBezTo>
                  <a:cubicBezTo>
                    <a:pt x="450" y="168"/>
                    <a:pt x="442" y="188"/>
                    <a:pt x="422" y="196"/>
                  </a:cubicBezTo>
                  <a:cubicBezTo>
                    <a:pt x="418" y="208"/>
                    <a:pt x="410" y="232"/>
                    <a:pt x="410" y="232"/>
                  </a:cubicBezTo>
                  <a:cubicBezTo>
                    <a:pt x="406" y="264"/>
                    <a:pt x="402" y="268"/>
                    <a:pt x="394" y="292"/>
                  </a:cubicBezTo>
                  <a:cubicBezTo>
                    <a:pt x="398" y="300"/>
                    <a:pt x="398" y="312"/>
                    <a:pt x="406" y="316"/>
                  </a:cubicBezTo>
                  <a:cubicBezTo>
                    <a:pt x="414" y="320"/>
                    <a:pt x="430" y="324"/>
                    <a:pt x="430" y="324"/>
                  </a:cubicBezTo>
                  <a:cubicBezTo>
                    <a:pt x="466" y="360"/>
                    <a:pt x="430" y="360"/>
                    <a:pt x="406" y="376"/>
                  </a:cubicBezTo>
                  <a:cubicBezTo>
                    <a:pt x="390" y="388"/>
                    <a:pt x="398" y="384"/>
                    <a:pt x="382" y="388"/>
                  </a:cubicBezTo>
                  <a:cubicBezTo>
                    <a:pt x="362" y="420"/>
                    <a:pt x="350" y="456"/>
                    <a:pt x="322" y="484"/>
                  </a:cubicBezTo>
                  <a:cubicBezTo>
                    <a:pt x="318" y="496"/>
                    <a:pt x="326" y="520"/>
                    <a:pt x="326" y="520"/>
                  </a:cubicBezTo>
                  <a:cubicBezTo>
                    <a:pt x="314" y="552"/>
                    <a:pt x="318" y="536"/>
                    <a:pt x="314" y="564"/>
                  </a:cubicBezTo>
                  <a:cubicBezTo>
                    <a:pt x="314" y="584"/>
                    <a:pt x="314" y="608"/>
                    <a:pt x="318" y="628"/>
                  </a:cubicBezTo>
                  <a:cubicBezTo>
                    <a:pt x="322" y="648"/>
                    <a:pt x="354" y="660"/>
                    <a:pt x="362" y="684"/>
                  </a:cubicBezTo>
                  <a:cubicBezTo>
                    <a:pt x="358" y="696"/>
                    <a:pt x="362" y="700"/>
                    <a:pt x="346" y="700"/>
                  </a:cubicBezTo>
                  <a:cubicBezTo>
                    <a:pt x="334" y="700"/>
                    <a:pt x="310" y="680"/>
                    <a:pt x="310" y="680"/>
                  </a:cubicBezTo>
                  <a:cubicBezTo>
                    <a:pt x="314" y="660"/>
                    <a:pt x="310" y="656"/>
                    <a:pt x="290" y="664"/>
                  </a:cubicBezTo>
                  <a:cubicBezTo>
                    <a:pt x="274" y="680"/>
                    <a:pt x="270" y="696"/>
                    <a:pt x="254" y="708"/>
                  </a:cubicBezTo>
                  <a:cubicBezTo>
                    <a:pt x="214" y="704"/>
                    <a:pt x="230" y="708"/>
                    <a:pt x="206" y="732"/>
                  </a:cubicBezTo>
                  <a:cubicBezTo>
                    <a:pt x="206" y="736"/>
                    <a:pt x="202" y="740"/>
                    <a:pt x="202" y="744"/>
                  </a:cubicBezTo>
                  <a:cubicBezTo>
                    <a:pt x="202" y="748"/>
                    <a:pt x="214" y="748"/>
                    <a:pt x="214" y="752"/>
                  </a:cubicBezTo>
                  <a:cubicBezTo>
                    <a:pt x="218" y="772"/>
                    <a:pt x="190" y="772"/>
                    <a:pt x="178" y="776"/>
                  </a:cubicBezTo>
                  <a:cubicBezTo>
                    <a:pt x="174" y="796"/>
                    <a:pt x="150" y="804"/>
                    <a:pt x="130" y="808"/>
                  </a:cubicBezTo>
                  <a:cubicBezTo>
                    <a:pt x="122" y="804"/>
                    <a:pt x="118" y="792"/>
                    <a:pt x="110" y="792"/>
                  </a:cubicBezTo>
                  <a:cubicBezTo>
                    <a:pt x="98" y="792"/>
                    <a:pt x="70" y="808"/>
                    <a:pt x="62" y="816"/>
                  </a:cubicBezTo>
                  <a:cubicBezTo>
                    <a:pt x="42" y="828"/>
                    <a:pt x="24" y="820"/>
                    <a:pt x="0" y="820"/>
                  </a:cubicBezTo>
                  <a:cubicBezTo>
                    <a:pt x="22" y="849"/>
                    <a:pt x="2" y="860"/>
                    <a:pt x="14" y="888"/>
                  </a:cubicBezTo>
                  <a:cubicBezTo>
                    <a:pt x="10" y="903"/>
                    <a:pt x="67" y="1014"/>
                    <a:pt x="82" y="1040"/>
                  </a:cubicBezTo>
                  <a:cubicBezTo>
                    <a:pt x="90" y="1052"/>
                    <a:pt x="101" y="1072"/>
                    <a:pt x="105" y="1084"/>
                  </a:cubicBezTo>
                  <a:cubicBezTo>
                    <a:pt x="109" y="1096"/>
                    <a:pt x="124" y="1113"/>
                    <a:pt x="126" y="1120"/>
                  </a:cubicBezTo>
                  <a:cubicBezTo>
                    <a:pt x="122" y="1156"/>
                    <a:pt x="130" y="1164"/>
                    <a:pt x="106" y="1188"/>
                  </a:cubicBezTo>
                  <a:cubicBezTo>
                    <a:pt x="75" y="1201"/>
                    <a:pt x="65" y="1216"/>
                    <a:pt x="52" y="1237"/>
                  </a:cubicBezTo>
                  <a:cubicBezTo>
                    <a:pt x="39" y="1250"/>
                    <a:pt x="31" y="1254"/>
                    <a:pt x="27" y="1266"/>
                  </a:cubicBezTo>
                  <a:cubicBezTo>
                    <a:pt x="23" y="1278"/>
                    <a:pt x="31" y="1300"/>
                    <a:pt x="30" y="1312"/>
                  </a:cubicBezTo>
                  <a:cubicBezTo>
                    <a:pt x="36" y="1342"/>
                    <a:pt x="51" y="1328"/>
                    <a:pt x="91" y="1336"/>
                  </a:cubicBezTo>
                  <a:cubicBezTo>
                    <a:pt x="106" y="1347"/>
                    <a:pt x="118" y="1348"/>
                    <a:pt x="126" y="1368"/>
                  </a:cubicBezTo>
                  <a:cubicBezTo>
                    <a:pt x="122" y="1416"/>
                    <a:pt x="114" y="1476"/>
                    <a:pt x="142" y="1516"/>
                  </a:cubicBezTo>
                  <a:cubicBezTo>
                    <a:pt x="158" y="1512"/>
                    <a:pt x="142" y="1492"/>
                    <a:pt x="163" y="1485"/>
                  </a:cubicBezTo>
                  <a:cubicBezTo>
                    <a:pt x="171" y="1465"/>
                    <a:pt x="185" y="1466"/>
                    <a:pt x="205" y="1458"/>
                  </a:cubicBezTo>
                  <a:cubicBezTo>
                    <a:pt x="209" y="1454"/>
                    <a:pt x="215" y="1450"/>
                    <a:pt x="219" y="1446"/>
                  </a:cubicBezTo>
                  <a:cubicBezTo>
                    <a:pt x="223" y="1442"/>
                    <a:pt x="228" y="1430"/>
                    <a:pt x="232" y="1426"/>
                  </a:cubicBezTo>
                  <a:cubicBezTo>
                    <a:pt x="264" y="1416"/>
                    <a:pt x="247" y="1392"/>
                    <a:pt x="290" y="1368"/>
                  </a:cubicBezTo>
                  <a:cubicBezTo>
                    <a:pt x="310" y="1356"/>
                    <a:pt x="357" y="1339"/>
                    <a:pt x="357" y="1339"/>
                  </a:cubicBezTo>
                  <a:cubicBezTo>
                    <a:pt x="379" y="1339"/>
                    <a:pt x="394" y="1332"/>
                    <a:pt x="418" y="1336"/>
                  </a:cubicBezTo>
                  <a:cubicBezTo>
                    <a:pt x="454" y="1335"/>
                    <a:pt x="472" y="1335"/>
                    <a:pt x="498" y="1309"/>
                  </a:cubicBezTo>
                  <a:cubicBezTo>
                    <a:pt x="535" y="1312"/>
                    <a:pt x="582" y="1305"/>
                    <a:pt x="616" y="1308"/>
                  </a:cubicBezTo>
                  <a:cubicBezTo>
                    <a:pt x="630" y="1317"/>
                    <a:pt x="678" y="1318"/>
                    <a:pt x="700" y="1320"/>
                  </a:cubicBezTo>
                  <a:cubicBezTo>
                    <a:pt x="721" y="1333"/>
                    <a:pt x="729" y="1317"/>
                    <a:pt x="750" y="1296"/>
                  </a:cubicBezTo>
                  <a:cubicBezTo>
                    <a:pt x="750" y="1318"/>
                    <a:pt x="769" y="1350"/>
                    <a:pt x="777" y="1350"/>
                  </a:cubicBezTo>
                  <a:cubicBezTo>
                    <a:pt x="789" y="1344"/>
                    <a:pt x="783" y="1329"/>
                    <a:pt x="855" y="1330"/>
                  </a:cubicBezTo>
                  <a:cubicBezTo>
                    <a:pt x="863" y="1334"/>
                    <a:pt x="859" y="1365"/>
                    <a:pt x="867" y="1365"/>
                  </a:cubicBezTo>
                  <a:cubicBezTo>
                    <a:pt x="875" y="1361"/>
                    <a:pt x="898" y="1344"/>
                    <a:pt x="898" y="1344"/>
                  </a:cubicBezTo>
                  <a:cubicBezTo>
                    <a:pt x="902" y="1336"/>
                    <a:pt x="914" y="1316"/>
                    <a:pt x="922" y="1312"/>
                  </a:cubicBezTo>
                  <a:cubicBezTo>
                    <a:pt x="924" y="1291"/>
                    <a:pt x="964" y="1305"/>
                    <a:pt x="964" y="1305"/>
                  </a:cubicBezTo>
                  <a:cubicBezTo>
                    <a:pt x="976" y="1309"/>
                    <a:pt x="994" y="1304"/>
                    <a:pt x="1006" y="1308"/>
                  </a:cubicBezTo>
                  <a:cubicBezTo>
                    <a:pt x="1012" y="1335"/>
                    <a:pt x="1013" y="1346"/>
                    <a:pt x="1041" y="1350"/>
                  </a:cubicBezTo>
                  <a:cubicBezTo>
                    <a:pt x="1047" y="1323"/>
                    <a:pt x="1066" y="1293"/>
                    <a:pt x="1089" y="1266"/>
                  </a:cubicBezTo>
                  <a:cubicBezTo>
                    <a:pt x="1108" y="1264"/>
                    <a:pt x="1122" y="1252"/>
                    <a:pt x="1132" y="1261"/>
                  </a:cubicBezTo>
                  <a:cubicBezTo>
                    <a:pt x="1144" y="1271"/>
                    <a:pt x="1125" y="1305"/>
                    <a:pt x="1162" y="1327"/>
                  </a:cubicBezTo>
                  <a:cubicBezTo>
                    <a:pt x="1206" y="1315"/>
                    <a:pt x="1159" y="1267"/>
                    <a:pt x="1222" y="1275"/>
                  </a:cubicBezTo>
                  <a:cubicBezTo>
                    <a:pt x="1236" y="1275"/>
                    <a:pt x="1254" y="1241"/>
                    <a:pt x="1270" y="1236"/>
                  </a:cubicBezTo>
                  <a:cubicBezTo>
                    <a:pt x="1309" y="1252"/>
                    <a:pt x="1327" y="1269"/>
                    <a:pt x="1334" y="1284"/>
                  </a:cubicBezTo>
                  <a:cubicBezTo>
                    <a:pt x="1354" y="1288"/>
                    <a:pt x="1389" y="1296"/>
                    <a:pt x="1386" y="1261"/>
                  </a:cubicBezTo>
                  <a:cubicBezTo>
                    <a:pt x="1387" y="1254"/>
                    <a:pt x="1395" y="1246"/>
                    <a:pt x="1392" y="1237"/>
                  </a:cubicBezTo>
                  <a:cubicBezTo>
                    <a:pt x="1389" y="1228"/>
                    <a:pt x="1378" y="1236"/>
                    <a:pt x="1369" y="1204"/>
                  </a:cubicBezTo>
                  <a:cubicBezTo>
                    <a:pt x="1357" y="1140"/>
                    <a:pt x="1370" y="1072"/>
                    <a:pt x="1426" y="1036"/>
                  </a:cubicBezTo>
                  <a:cubicBezTo>
                    <a:pt x="1434" y="1016"/>
                    <a:pt x="1450" y="1017"/>
                    <a:pt x="1447" y="1000"/>
                  </a:cubicBezTo>
                  <a:cubicBezTo>
                    <a:pt x="1491" y="999"/>
                    <a:pt x="1507" y="982"/>
                    <a:pt x="1537" y="975"/>
                  </a:cubicBezTo>
                  <a:cubicBezTo>
                    <a:pt x="1533" y="955"/>
                    <a:pt x="1518" y="940"/>
                    <a:pt x="1498" y="928"/>
                  </a:cubicBezTo>
                  <a:cubicBezTo>
                    <a:pt x="1482" y="904"/>
                    <a:pt x="1466" y="884"/>
                    <a:pt x="1438" y="876"/>
                  </a:cubicBezTo>
                  <a:cubicBezTo>
                    <a:pt x="1418" y="848"/>
                    <a:pt x="1386" y="772"/>
                    <a:pt x="1374" y="748"/>
                  </a:cubicBezTo>
                  <a:cubicBezTo>
                    <a:pt x="1370" y="740"/>
                    <a:pt x="1358" y="724"/>
                    <a:pt x="1358" y="724"/>
                  </a:cubicBezTo>
                  <a:cubicBezTo>
                    <a:pt x="1378" y="684"/>
                    <a:pt x="1462" y="680"/>
                    <a:pt x="1498" y="680"/>
                  </a:cubicBezTo>
                  <a:cubicBezTo>
                    <a:pt x="1514" y="676"/>
                    <a:pt x="1518" y="664"/>
                    <a:pt x="1534" y="660"/>
                  </a:cubicBezTo>
                  <a:cubicBezTo>
                    <a:pt x="1542" y="652"/>
                    <a:pt x="1554" y="648"/>
                    <a:pt x="1558" y="640"/>
                  </a:cubicBezTo>
                  <a:cubicBezTo>
                    <a:pt x="1562" y="632"/>
                    <a:pt x="1566" y="616"/>
                    <a:pt x="1566" y="616"/>
                  </a:cubicBezTo>
                  <a:cubicBezTo>
                    <a:pt x="1558" y="540"/>
                    <a:pt x="1566" y="584"/>
                    <a:pt x="1522" y="556"/>
                  </a:cubicBezTo>
                  <a:cubicBezTo>
                    <a:pt x="1490" y="512"/>
                    <a:pt x="1426" y="512"/>
                    <a:pt x="1378" y="508"/>
                  </a:cubicBezTo>
                  <a:cubicBezTo>
                    <a:pt x="1358" y="480"/>
                    <a:pt x="1354" y="440"/>
                    <a:pt x="1318" y="432"/>
                  </a:cubicBezTo>
                  <a:cubicBezTo>
                    <a:pt x="1274" y="436"/>
                    <a:pt x="1282" y="436"/>
                    <a:pt x="1250" y="416"/>
                  </a:cubicBezTo>
                  <a:cubicBezTo>
                    <a:pt x="1246" y="392"/>
                    <a:pt x="1234" y="368"/>
                    <a:pt x="1210" y="360"/>
                  </a:cubicBezTo>
                  <a:cubicBezTo>
                    <a:pt x="1202" y="332"/>
                    <a:pt x="1154" y="320"/>
                    <a:pt x="1134" y="292"/>
                  </a:cubicBezTo>
                  <a:cubicBezTo>
                    <a:pt x="1118" y="236"/>
                    <a:pt x="1118" y="212"/>
                    <a:pt x="1086" y="168"/>
                  </a:cubicBezTo>
                  <a:cubicBezTo>
                    <a:pt x="1082" y="124"/>
                    <a:pt x="1078" y="48"/>
                    <a:pt x="1046" y="16"/>
                  </a:cubicBezTo>
                  <a:cubicBezTo>
                    <a:pt x="978" y="20"/>
                    <a:pt x="974" y="48"/>
                    <a:pt x="926" y="64"/>
                  </a:cubicBezTo>
                  <a:cubicBezTo>
                    <a:pt x="914" y="80"/>
                    <a:pt x="906" y="80"/>
                    <a:pt x="890" y="84"/>
                  </a:cubicBezTo>
                  <a:cubicBezTo>
                    <a:pt x="878" y="80"/>
                    <a:pt x="854" y="64"/>
                    <a:pt x="854" y="64"/>
                  </a:cubicBezTo>
                  <a:cubicBezTo>
                    <a:pt x="818" y="8"/>
                    <a:pt x="746" y="32"/>
                    <a:pt x="682" y="28"/>
                  </a:cubicBezTo>
                  <a:cubicBezTo>
                    <a:pt x="666" y="24"/>
                    <a:pt x="614" y="0"/>
                    <a:pt x="606" y="16"/>
                  </a:cubicBezTo>
                  <a:close/>
                </a:path>
              </a:pathLst>
            </a:custGeom>
            <a:solidFill>
              <a:schemeClr val="accent6"/>
            </a:solidFill>
            <a:ln w="3175">
              <a:solidFill>
                <a:schemeClr val="accent6"/>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535" name="Freeform 2525">
              <a:extLst>
                <a:ext uri="{FF2B5EF4-FFF2-40B4-BE49-F238E27FC236}">
                  <a16:creationId xmlns:a16="http://schemas.microsoft.com/office/drawing/2014/main" id="{F5C33504-01E0-36AD-2122-3E622884D52A}"/>
                </a:ext>
              </a:extLst>
            </p:cNvPr>
            <p:cNvSpPr>
              <a:spLocks noChangeAspect="1"/>
            </p:cNvSpPr>
            <p:nvPr>
              <p:custDataLst>
                <p:tags r:id="rId21"/>
              </p:custDataLst>
            </p:nvPr>
          </p:nvSpPr>
          <p:spPr bwMode="auto">
            <a:xfrm>
              <a:off x="4042811" y="3591305"/>
              <a:ext cx="808156" cy="556275"/>
            </a:xfrm>
            <a:custGeom>
              <a:avLst/>
              <a:gdLst>
                <a:gd name="T0" fmla="*/ 1359 w 3327"/>
                <a:gd name="T1" fmla="*/ 260 h 2288"/>
                <a:gd name="T2" fmla="*/ 1347 w 3327"/>
                <a:gd name="T3" fmla="*/ 440 h 2288"/>
                <a:gd name="T4" fmla="*/ 1195 w 3327"/>
                <a:gd name="T5" fmla="*/ 464 h 2288"/>
                <a:gd name="T6" fmla="*/ 1087 w 3327"/>
                <a:gd name="T7" fmla="*/ 464 h 2288"/>
                <a:gd name="T8" fmla="*/ 975 w 3327"/>
                <a:gd name="T9" fmla="*/ 548 h 2288"/>
                <a:gd name="T10" fmla="*/ 823 w 3327"/>
                <a:gd name="T11" fmla="*/ 572 h 2288"/>
                <a:gd name="T12" fmla="*/ 710 w 3327"/>
                <a:gd name="T13" fmla="*/ 501 h 2288"/>
                <a:gd name="T14" fmla="*/ 451 w 3327"/>
                <a:gd name="T15" fmla="*/ 516 h 2288"/>
                <a:gd name="T16" fmla="*/ 187 w 3327"/>
                <a:gd name="T17" fmla="*/ 632 h 2288"/>
                <a:gd name="T18" fmla="*/ 98 w 3327"/>
                <a:gd name="T19" fmla="*/ 723 h 2288"/>
                <a:gd name="T20" fmla="*/ 183 w 3327"/>
                <a:gd name="T21" fmla="*/ 849 h 2288"/>
                <a:gd name="T22" fmla="*/ 231 w 3327"/>
                <a:gd name="T23" fmla="*/ 1012 h 2288"/>
                <a:gd name="T24" fmla="*/ 77 w 3327"/>
                <a:gd name="T25" fmla="*/ 1253 h 2288"/>
                <a:gd name="T26" fmla="*/ 79 w 3327"/>
                <a:gd name="T27" fmla="*/ 1448 h 2288"/>
                <a:gd name="T28" fmla="*/ 0 w 3327"/>
                <a:gd name="T29" fmla="*/ 1664 h 2288"/>
                <a:gd name="T30" fmla="*/ 161 w 3327"/>
                <a:gd name="T31" fmla="*/ 1773 h 2288"/>
                <a:gd name="T32" fmla="*/ 618 w 3327"/>
                <a:gd name="T33" fmla="*/ 1704 h 2288"/>
                <a:gd name="T34" fmla="*/ 902 w 3327"/>
                <a:gd name="T35" fmla="*/ 1529 h 2288"/>
                <a:gd name="T36" fmla="*/ 978 w 3327"/>
                <a:gd name="T37" fmla="*/ 1430 h 2288"/>
                <a:gd name="T38" fmla="*/ 1148 w 3327"/>
                <a:gd name="T39" fmla="*/ 1452 h 2288"/>
                <a:gd name="T40" fmla="*/ 1388 w 3327"/>
                <a:gd name="T41" fmla="*/ 1538 h 2288"/>
                <a:gd name="T42" fmla="*/ 1476 w 3327"/>
                <a:gd name="T43" fmla="*/ 1649 h 2288"/>
                <a:gd name="T44" fmla="*/ 1557 w 3327"/>
                <a:gd name="T45" fmla="*/ 1802 h 2288"/>
                <a:gd name="T46" fmla="*/ 1505 w 3327"/>
                <a:gd name="T47" fmla="*/ 1907 h 2288"/>
                <a:gd name="T48" fmla="*/ 1430 w 3327"/>
                <a:gd name="T49" fmla="*/ 1961 h 2288"/>
                <a:gd name="T50" fmla="*/ 1407 w 3327"/>
                <a:gd name="T51" fmla="*/ 2140 h 2288"/>
                <a:gd name="T52" fmla="*/ 1433 w 3327"/>
                <a:gd name="T53" fmla="*/ 2280 h 2288"/>
                <a:gd name="T54" fmla="*/ 1523 w 3327"/>
                <a:gd name="T55" fmla="*/ 2189 h 2288"/>
                <a:gd name="T56" fmla="*/ 1687 w 3327"/>
                <a:gd name="T57" fmla="*/ 2060 h 2288"/>
                <a:gd name="T58" fmla="*/ 1783 w 3327"/>
                <a:gd name="T59" fmla="*/ 1832 h 2288"/>
                <a:gd name="T60" fmla="*/ 1959 w 3327"/>
                <a:gd name="T61" fmla="*/ 1668 h 2288"/>
                <a:gd name="T62" fmla="*/ 1975 w 3327"/>
                <a:gd name="T63" fmla="*/ 1800 h 2288"/>
                <a:gd name="T64" fmla="*/ 2271 w 3327"/>
                <a:gd name="T65" fmla="*/ 1796 h 2288"/>
                <a:gd name="T66" fmla="*/ 2295 w 3327"/>
                <a:gd name="T67" fmla="*/ 1896 h 2288"/>
                <a:gd name="T68" fmla="*/ 2211 w 3327"/>
                <a:gd name="T69" fmla="*/ 2024 h 2288"/>
                <a:gd name="T70" fmla="*/ 2455 w 3327"/>
                <a:gd name="T71" fmla="*/ 2072 h 2288"/>
                <a:gd name="T72" fmla="*/ 2623 w 3327"/>
                <a:gd name="T73" fmla="*/ 2148 h 2288"/>
                <a:gd name="T74" fmla="*/ 2723 w 3327"/>
                <a:gd name="T75" fmla="*/ 2000 h 2288"/>
                <a:gd name="T76" fmla="*/ 2827 w 3327"/>
                <a:gd name="T77" fmla="*/ 1892 h 2288"/>
                <a:gd name="T78" fmla="*/ 2995 w 3327"/>
                <a:gd name="T79" fmla="*/ 1716 h 2288"/>
                <a:gd name="T80" fmla="*/ 2787 w 3327"/>
                <a:gd name="T81" fmla="*/ 1832 h 2288"/>
                <a:gd name="T82" fmla="*/ 2607 w 3327"/>
                <a:gd name="T83" fmla="*/ 1724 h 2288"/>
                <a:gd name="T84" fmla="*/ 2667 w 3327"/>
                <a:gd name="T85" fmla="*/ 1556 h 2288"/>
                <a:gd name="T86" fmla="*/ 2767 w 3327"/>
                <a:gd name="T87" fmla="*/ 1420 h 2288"/>
                <a:gd name="T88" fmla="*/ 2935 w 3327"/>
                <a:gd name="T89" fmla="*/ 1296 h 2288"/>
                <a:gd name="T90" fmla="*/ 3099 w 3327"/>
                <a:gd name="T91" fmla="*/ 1148 h 2288"/>
                <a:gd name="T92" fmla="*/ 3127 w 3327"/>
                <a:gd name="T93" fmla="*/ 908 h 2288"/>
                <a:gd name="T94" fmla="*/ 3295 w 3327"/>
                <a:gd name="T95" fmla="*/ 756 h 2288"/>
                <a:gd name="T96" fmla="*/ 2979 w 3327"/>
                <a:gd name="T97" fmla="*/ 344 h 2288"/>
                <a:gd name="T98" fmla="*/ 2659 w 3327"/>
                <a:gd name="T99" fmla="*/ 344 h 2288"/>
                <a:gd name="T100" fmla="*/ 2379 w 3327"/>
                <a:gd name="T101" fmla="*/ 396 h 2288"/>
                <a:gd name="T102" fmla="*/ 2211 w 3327"/>
                <a:gd name="T103" fmla="*/ 296 h 2288"/>
                <a:gd name="T104" fmla="*/ 1959 w 3327"/>
                <a:gd name="T105" fmla="*/ 128 h 2288"/>
                <a:gd name="T106" fmla="*/ 1599 w 3327"/>
                <a:gd name="T107" fmla="*/ 80 h 2288"/>
                <a:gd name="T108" fmla="*/ 1483 w 3327"/>
                <a:gd name="T109" fmla="*/ 180 h 228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327"/>
                <a:gd name="T166" fmla="*/ 0 h 2288"/>
                <a:gd name="T167" fmla="*/ 3327 w 3327"/>
                <a:gd name="T168" fmla="*/ 2288 h 228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327" h="2288">
                  <a:moveTo>
                    <a:pt x="1407" y="204"/>
                  </a:moveTo>
                  <a:cubicBezTo>
                    <a:pt x="1403" y="204"/>
                    <a:pt x="1407" y="212"/>
                    <a:pt x="1403" y="216"/>
                  </a:cubicBezTo>
                  <a:cubicBezTo>
                    <a:pt x="1391" y="236"/>
                    <a:pt x="1379" y="248"/>
                    <a:pt x="1359" y="260"/>
                  </a:cubicBezTo>
                  <a:cubicBezTo>
                    <a:pt x="1351" y="272"/>
                    <a:pt x="1347" y="284"/>
                    <a:pt x="1335" y="296"/>
                  </a:cubicBezTo>
                  <a:cubicBezTo>
                    <a:pt x="1331" y="308"/>
                    <a:pt x="1323" y="332"/>
                    <a:pt x="1323" y="332"/>
                  </a:cubicBezTo>
                  <a:cubicBezTo>
                    <a:pt x="1323" y="364"/>
                    <a:pt x="1315" y="416"/>
                    <a:pt x="1347" y="440"/>
                  </a:cubicBezTo>
                  <a:cubicBezTo>
                    <a:pt x="1339" y="492"/>
                    <a:pt x="1339" y="500"/>
                    <a:pt x="1291" y="484"/>
                  </a:cubicBezTo>
                  <a:cubicBezTo>
                    <a:pt x="1279" y="468"/>
                    <a:pt x="1251" y="448"/>
                    <a:pt x="1231" y="440"/>
                  </a:cubicBezTo>
                  <a:cubicBezTo>
                    <a:pt x="1203" y="444"/>
                    <a:pt x="1215" y="452"/>
                    <a:pt x="1195" y="464"/>
                  </a:cubicBezTo>
                  <a:cubicBezTo>
                    <a:pt x="1187" y="484"/>
                    <a:pt x="1183" y="480"/>
                    <a:pt x="1163" y="476"/>
                  </a:cubicBezTo>
                  <a:cubicBezTo>
                    <a:pt x="1131" y="484"/>
                    <a:pt x="1151" y="516"/>
                    <a:pt x="1119" y="528"/>
                  </a:cubicBezTo>
                  <a:cubicBezTo>
                    <a:pt x="1087" y="516"/>
                    <a:pt x="1095" y="492"/>
                    <a:pt x="1087" y="464"/>
                  </a:cubicBezTo>
                  <a:cubicBezTo>
                    <a:pt x="1027" y="468"/>
                    <a:pt x="1055" y="464"/>
                    <a:pt x="1027" y="492"/>
                  </a:cubicBezTo>
                  <a:cubicBezTo>
                    <a:pt x="1023" y="508"/>
                    <a:pt x="1011" y="516"/>
                    <a:pt x="1003" y="528"/>
                  </a:cubicBezTo>
                  <a:cubicBezTo>
                    <a:pt x="999" y="552"/>
                    <a:pt x="995" y="556"/>
                    <a:pt x="975" y="548"/>
                  </a:cubicBezTo>
                  <a:cubicBezTo>
                    <a:pt x="959" y="504"/>
                    <a:pt x="975" y="512"/>
                    <a:pt x="923" y="508"/>
                  </a:cubicBezTo>
                  <a:cubicBezTo>
                    <a:pt x="907" y="504"/>
                    <a:pt x="899" y="500"/>
                    <a:pt x="883" y="504"/>
                  </a:cubicBezTo>
                  <a:cubicBezTo>
                    <a:pt x="871" y="540"/>
                    <a:pt x="847" y="548"/>
                    <a:pt x="823" y="572"/>
                  </a:cubicBezTo>
                  <a:cubicBezTo>
                    <a:pt x="811" y="532"/>
                    <a:pt x="823" y="532"/>
                    <a:pt x="771" y="536"/>
                  </a:cubicBezTo>
                  <a:cubicBezTo>
                    <a:pt x="755" y="540"/>
                    <a:pt x="747" y="548"/>
                    <a:pt x="731" y="552"/>
                  </a:cubicBezTo>
                  <a:cubicBezTo>
                    <a:pt x="711" y="524"/>
                    <a:pt x="714" y="529"/>
                    <a:pt x="710" y="501"/>
                  </a:cubicBezTo>
                  <a:cubicBezTo>
                    <a:pt x="694" y="505"/>
                    <a:pt x="695" y="524"/>
                    <a:pt x="675" y="528"/>
                  </a:cubicBezTo>
                  <a:cubicBezTo>
                    <a:pt x="575" y="516"/>
                    <a:pt x="611" y="528"/>
                    <a:pt x="567" y="512"/>
                  </a:cubicBezTo>
                  <a:cubicBezTo>
                    <a:pt x="527" y="516"/>
                    <a:pt x="491" y="512"/>
                    <a:pt x="451" y="516"/>
                  </a:cubicBezTo>
                  <a:cubicBezTo>
                    <a:pt x="415" y="552"/>
                    <a:pt x="359" y="540"/>
                    <a:pt x="315" y="540"/>
                  </a:cubicBezTo>
                  <a:cubicBezTo>
                    <a:pt x="291" y="552"/>
                    <a:pt x="263" y="568"/>
                    <a:pt x="235" y="576"/>
                  </a:cubicBezTo>
                  <a:cubicBezTo>
                    <a:pt x="219" y="592"/>
                    <a:pt x="211" y="616"/>
                    <a:pt x="187" y="632"/>
                  </a:cubicBezTo>
                  <a:cubicBezTo>
                    <a:pt x="167" y="660"/>
                    <a:pt x="179" y="652"/>
                    <a:pt x="159" y="660"/>
                  </a:cubicBezTo>
                  <a:cubicBezTo>
                    <a:pt x="151" y="672"/>
                    <a:pt x="115" y="684"/>
                    <a:pt x="115" y="684"/>
                  </a:cubicBezTo>
                  <a:cubicBezTo>
                    <a:pt x="110" y="707"/>
                    <a:pt x="107" y="714"/>
                    <a:pt x="98" y="723"/>
                  </a:cubicBezTo>
                  <a:cubicBezTo>
                    <a:pt x="108" y="740"/>
                    <a:pt x="111" y="764"/>
                    <a:pt x="114" y="778"/>
                  </a:cubicBezTo>
                  <a:cubicBezTo>
                    <a:pt x="123" y="793"/>
                    <a:pt x="148" y="796"/>
                    <a:pt x="161" y="810"/>
                  </a:cubicBezTo>
                  <a:cubicBezTo>
                    <a:pt x="169" y="818"/>
                    <a:pt x="177" y="837"/>
                    <a:pt x="183" y="849"/>
                  </a:cubicBezTo>
                  <a:cubicBezTo>
                    <a:pt x="209" y="851"/>
                    <a:pt x="221" y="864"/>
                    <a:pt x="221" y="872"/>
                  </a:cubicBezTo>
                  <a:cubicBezTo>
                    <a:pt x="228" y="908"/>
                    <a:pt x="236" y="933"/>
                    <a:pt x="235" y="956"/>
                  </a:cubicBezTo>
                  <a:cubicBezTo>
                    <a:pt x="235" y="964"/>
                    <a:pt x="239" y="1004"/>
                    <a:pt x="231" y="1012"/>
                  </a:cubicBezTo>
                  <a:cubicBezTo>
                    <a:pt x="215" y="1038"/>
                    <a:pt x="161" y="1092"/>
                    <a:pt x="139" y="1116"/>
                  </a:cubicBezTo>
                  <a:cubicBezTo>
                    <a:pt x="135" y="1132"/>
                    <a:pt x="105" y="1139"/>
                    <a:pt x="99" y="1156"/>
                  </a:cubicBezTo>
                  <a:cubicBezTo>
                    <a:pt x="87" y="1178"/>
                    <a:pt x="87" y="1228"/>
                    <a:pt x="77" y="1253"/>
                  </a:cubicBezTo>
                  <a:cubicBezTo>
                    <a:pt x="67" y="1278"/>
                    <a:pt x="44" y="1290"/>
                    <a:pt x="39" y="1304"/>
                  </a:cubicBezTo>
                  <a:cubicBezTo>
                    <a:pt x="35" y="1316"/>
                    <a:pt x="44" y="1340"/>
                    <a:pt x="44" y="1340"/>
                  </a:cubicBezTo>
                  <a:cubicBezTo>
                    <a:pt x="65" y="1394"/>
                    <a:pt x="63" y="1400"/>
                    <a:pt x="79" y="1448"/>
                  </a:cubicBezTo>
                  <a:cubicBezTo>
                    <a:pt x="59" y="1456"/>
                    <a:pt x="57" y="1479"/>
                    <a:pt x="53" y="1493"/>
                  </a:cubicBezTo>
                  <a:cubicBezTo>
                    <a:pt x="35" y="1509"/>
                    <a:pt x="19" y="1544"/>
                    <a:pt x="19" y="1544"/>
                  </a:cubicBezTo>
                  <a:cubicBezTo>
                    <a:pt x="15" y="1596"/>
                    <a:pt x="8" y="1638"/>
                    <a:pt x="0" y="1664"/>
                  </a:cubicBezTo>
                  <a:cubicBezTo>
                    <a:pt x="18" y="1683"/>
                    <a:pt x="21" y="1685"/>
                    <a:pt x="29" y="1700"/>
                  </a:cubicBezTo>
                  <a:cubicBezTo>
                    <a:pt x="56" y="1698"/>
                    <a:pt x="115" y="1703"/>
                    <a:pt x="139" y="1712"/>
                  </a:cubicBezTo>
                  <a:cubicBezTo>
                    <a:pt x="159" y="1742"/>
                    <a:pt x="155" y="1752"/>
                    <a:pt x="161" y="1773"/>
                  </a:cubicBezTo>
                  <a:cubicBezTo>
                    <a:pt x="213" y="1671"/>
                    <a:pt x="279" y="1743"/>
                    <a:pt x="348" y="1728"/>
                  </a:cubicBezTo>
                  <a:cubicBezTo>
                    <a:pt x="408" y="1732"/>
                    <a:pt x="476" y="1735"/>
                    <a:pt x="536" y="1739"/>
                  </a:cubicBezTo>
                  <a:cubicBezTo>
                    <a:pt x="572" y="1719"/>
                    <a:pt x="575" y="1713"/>
                    <a:pt x="618" y="1704"/>
                  </a:cubicBezTo>
                  <a:cubicBezTo>
                    <a:pt x="646" y="1688"/>
                    <a:pt x="695" y="1668"/>
                    <a:pt x="723" y="1656"/>
                  </a:cubicBezTo>
                  <a:cubicBezTo>
                    <a:pt x="735" y="1616"/>
                    <a:pt x="774" y="1616"/>
                    <a:pt x="810" y="1604"/>
                  </a:cubicBezTo>
                  <a:cubicBezTo>
                    <a:pt x="822" y="1566"/>
                    <a:pt x="843" y="1538"/>
                    <a:pt x="902" y="1529"/>
                  </a:cubicBezTo>
                  <a:cubicBezTo>
                    <a:pt x="896" y="1515"/>
                    <a:pt x="871" y="1517"/>
                    <a:pt x="879" y="1505"/>
                  </a:cubicBezTo>
                  <a:cubicBezTo>
                    <a:pt x="878" y="1482"/>
                    <a:pt x="875" y="1464"/>
                    <a:pt x="919" y="1468"/>
                  </a:cubicBezTo>
                  <a:cubicBezTo>
                    <a:pt x="939" y="1464"/>
                    <a:pt x="971" y="1461"/>
                    <a:pt x="978" y="1430"/>
                  </a:cubicBezTo>
                  <a:cubicBezTo>
                    <a:pt x="1010" y="1424"/>
                    <a:pt x="1030" y="1420"/>
                    <a:pt x="1062" y="1416"/>
                  </a:cubicBezTo>
                  <a:cubicBezTo>
                    <a:pt x="1083" y="1424"/>
                    <a:pt x="1079" y="1424"/>
                    <a:pt x="1095" y="1436"/>
                  </a:cubicBezTo>
                  <a:cubicBezTo>
                    <a:pt x="1107" y="1448"/>
                    <a:pt x="1132" y="1452"/>
                    <a:pt x="1148" y="1452"/>
                  </a:cubicBezTo>
                  <a:cubicBezTo>
                    <a:pt x="1199" y="1472"/>
                    <a:pt x="1194" y="1470"/>
                    <a:pt x="1260" y="1466"/>
                  </a:cubicBezTo>
                  <a:cubicBezTo>
                    <a:pt x="1280" y="1474"/>
                    <a:pt x="1273" y="1475"/>
                    <a:pt x="1289" y="1487"/>
                  </a:cubicBezTo>
                  <a:cubicBezTo>
                    <a:pt x="1371" y="1491"/>
                    <a:pt x="1383" y="1499"/>
                    <a:pt x="1388" y="1538"/>
                  </a:cubicBezTo>
                  <a:cubicBezTo>
                    <a:pt x="1376" y="1604"/>
                    <a:pt x="1370" y="1614"/>
                    <a:pt x="1395" y="1612"/>
                  </a:cubicBezTo>
                  <a:cubicBezTo>
                    <a:pt x="1403" y="1628"/>
                    <a:pt x="1416" y="1620"/>
                    <a:pt x="1427" y="1640"/>
                  </a:cubicBezTo>
                  <a:cubicBezTo>
                    <a:pt x="1439" y="1644"/>
                    <a:pt x="1476" y="1649"/>
                    <a:pt x="1476" y="1649"/>
                  </a:cubicBezTo>
                  <a:cubicBezTo>
                    <a:pt x="1492" y="1673"/>
                    <a:pt x="1491" y="1720"/>
                    <a:pt x="1515" y="1736"/>
                  </a:cubicBezTo>
                  <a:cubicBezTo>
                    <a:pt x="1523" y="1760"/>
                    <a:pt x="1535" y="1760"/>
                    <a:pt x="1539" y="1780"/>
                  </a:cubicBezTo>
                  <a:cubicBezTo>
                    <a:pt x="1546" y="1791"/>
                    <a:pt x="1548" y="1787"/>
                    <a:pt x="1557" y="1802"/>
                  </a:cubicBezTo>
                  <a:cubicBezTo>
                    <a:pt x="1590" y="1821"/>
                    <a:pt x="1617" y="1845"/>
                    <a:pt x="1637" y="1859"/>
                  </a:cubicBezTo>
                  <a:lnTo>
                    <a:pt x="1640" y="1886"/>
                  </a:lnTo>
                  <a:cubicBezTo>
                    <a:pt x="1592" y="1894"/>
                    <a:pt x="1557" y="1899"/>
                    <a:pt x="1505" y="1907"/>
                  </a:cubicBezTo>
                  <a:cubicBezTo>
                    <a:pt x="1476" y="1901"/>
                    <a:pt x="1455" y="1895"/>
                    <a:pt x="1433" y="1893"/>
                  </a:cubicBezTo>
                  <a:cubicBezTo>
                    <a:pt x="1417" y="1897"/>
                    <a:pt x="1428" y="1910"/>
                    <a:pt x="1424" y="1926"/>
                  </a:cubicBezTo>
                  <a:cubicBezTo>
                    <a:pt x="1424" y="1937"/>
                    <a:pt x="1424" y="1949"/>
                    <a:pt x="1430" y="1961"/>
                  </a:cubicBezTo>
                  <a:cubicBezTo>
                    <a:pt x="1448" y="1980"/>
                    <a:pt x="1461" y="2006"/>
                    <a:pt x="1463" y="2022"/>
                  </a:cubicBezTo>
                  <a:cubicBezTo>
                    <a:pt x="1440" y="2061"/>
                    <a:pt x="1446" y="2058"/>
                    <a:pt x="1437" y="2067"/>
                  </a:cubicBezTo>
                  <a:cubicBezTo>
                    <a:pt x="1449" y="2035"/>
                    <a:pt x="1416" y="2112"/>
                    <a:pt x="1407" y="2140"/>
                  </a:cubicBezTo>
                  <a:cubicBezTo>
                    <a:pt x="1399" y="2164"/>
                    <a:pt x="1410" y="2187"/>
                    <a:pt x="1400" y="2216"/>
                  </a:cubicBezTo>
                  <a:cubicBezTo>
                    <a:pt x="1384" y="2212"/>
                    <a:pt x="1371" y="2231"/>
                    <a:pt x="1355" y="2235"/>
                  </a:cubicBezTo>
                  <a:cubicBezTo>
                    <a:pt x="1368" y="2270"/>
                    <a:pt x="1386" y="2271"/>
                    <a:pt x="1433" y="2280"/>
                  </a:cubicBezTo>
                  <a:cubicBezTo>
                    <a:pt x="1453" y="2288"/>
                    <a:pt x="1447" y="2267"/>
                    <a:pt x="1463" y="2259"/>
                  </a:cubicBezTo>
                  <a:cubicBezTo>
                    <a:pt x="1478" y="2247"/>
                    <a:pt x="1490" y="2241"/>
                    <a:pt x="1503" y="2234"/>
                  </a:cubicBezTo>
                  <a:cubicBezTo>
                    <a:pt x="1515" y="2222"/>
                    <a:pt x="1511" y="2197"/>
                    <a:pt x="1523" y="2189"/>
                  </a:cubicBezTo>
                  <a:cubicBezTo>
                    <a:pt x="1565" y="2178"/>
                    <a:pt x="1616" y="2169"/>
                    <a:pt x="1643" y="2186"/>
                  </a:cubicBezTo>
                  <a:cubicBezTo>
                    <a:pt x="1647" y="2154"/>
                    <a:pt x="1635" y="2132"/>
                    <a:pt x="1659" y="2116"/>
                  </a:cubicBezTo>
                  <a:cubicBezTo>
                    <a:pt x="1663" y="2096"/>
                    <a:pt x="1663" y="2068"/>
                    <a:pt x="1687" y="2060"/>
                  </a:cubicBezTo>
                  <a:cubicBezTo>
                    <a:pt x="1703" y="2036"/>
                    <a:pt x="1719" y="2016"/>
                    <a:pt x="1731" y="1988"/>
                  </a:cubicBezTo>
                  <a:cubicBezTo>
                    <a:pt x="1739" y="1956"/>
                    <a:pt x="1743" y="1924"/>
                    <a:pt x="1755" y="1892"/>
                  </a:cubicBezTo>
                  <a:cubicBezTo>
                    <a:pt x="1759" y="1868"/>
                    <a:pt x="1755" y="1840"/>
                    <a:pt x="1783" y="1832"/>
                  </a:cubicBezTo>
                  <a:cubicBezTo>
                    <a:pt x="1799" y="1816"/>
                    <a:pt x="1807" y="1804"/>
                    <a:pt x="1831" y="1796"/>
                  </a:cubicBezTo>
                  <a:cubicBezTo>
                    <a:pt x="1855" y="1756"/>
                    <a:pt x="1867" y="1736"/>
                    <a:pt x="1915" y="1724"/>
                  </a:cubicBezTo>
                  <a:cubicBezTo>
                    <a:pt x="1939" y="1708"/>
                    <a:pt x="1943" y="1692"/>
                    <a:pt x="1959" y="1668"/>
                  </a:cubicBezTo>
                  <a:cubicBezTo>
                    <a:pt x="1991" y="1684"/>
                    <a:pt x="1983" y="1708"/>
                    <a:pt x="1995" y="1736"/>
                  </a:cubicBezTo>
                  <a:cubicBezTo>
                    <a:pt x="1983" y="1772"/>
                    <a:pt x="1991" y="1756"/>
                    <a:pt x="1979" y="1788"/>
                  </a:cubicBezTo>
                  <a:cubicBezTo>
                    <a:pt x="1979" y="1792"/>
                    <a:pt x="1975" y="1800"/>
                    <a:pt x="1975" y="1800"/>
                  </a:cubicBezTo>
                  <a:cubicBezTo>
                    <a:pt x="1983" y="1868"/>
                    <a:pt x="2027" y="1836"/>
                    <a:pt x="2067" y="1812"/>
                  </a:cubicBezTo>
                  <a:cubicBezTo>
                    <a:pt x="2111" y="1784"/>
                    <a:pt x="2167" y="1808"/>
                    <a:pt x="2219" y="1808"/>
                  </a:cubicBezTo>
                  <a:cubicBezTo>
                    <a:pt x="2259" y="1800"/>
                    <a:pt x="2239" y="1804"/>
                    <a:pt x="2271" y="1796"/>
                  </a:cubicBezTo>
                  <a:cubicBezTo>
                    <a:pt x="2299" y="1776"/>
                    <a:pt x="2303" y="1776"/>
                    <a:pt x="2335" y="1772"/>
                  </a:cubicBezTo>
                  <a:cubicBezTo>
                    <a:pt x="2343" y="1796"/>
                    <a:pt x="2347" y="1820"/>
                    <a:pt x="2323" y="1836"/>
                  </a:cubicBezTo>
                  <a:cubicBezTo>
                    <a:pt x="2311" y="1856"/>
                    <a:pt x="2319" y="1888"/>
                    <a:pt x="2295" y="1896"/>
                  </a:cubicBezTo>
                  <a:cubicBezTo>
                    <a:pt x="2275" y="1916"/>
                    <a:pt x="2271" y="1936"/>
                    <a:pt x="2251" y="1952"/>
                  </a:cubicBezTo>
                  <a:cubicBezTo>
                    <a:pt x="2243" y="1960"/>
                    <a:pt x="2227" y="1976"/>
                    <a:pt x="2227" y="1976"/>
                  </a:cubicBezTo>
                  <a:cubicBezTo>
                    <a:pt x="2223" y="1992"/>
                    <a:pt x="2211" y="2024"/>
                    <a:pt x="2211" y="2024"/>
                  </a:cubicBezTo>
                  <a:cubicBezTo>
                    <a:pt x="2231" y="2052"/>
                    <a:pt x="2259" y="2024"/>
                    <a:pt x="2283" y="2016"/>
                  </a:cubicBezTo>
                  <a:cubicBezTo>
                    <a:pt x="2315" y="2028"/>
                    <a:pt x="2339" y="2004"/>
                    <a:pt x="2383" y="2028"/>
                  </a:cubicBezTo>
                  <a:cubicBezTo>
                    <a:pt x="2411" y="2036"/>
                    <a:pt x="2435" y="2044"/>
                    <a:pt x="2455" y="2072"/>
                  </a:cubicBezTo>
                  <a:cubicBezTo>
                    <a:pt x="2479" y="2112"/>
                    <a:pt x="2459" y="2176"/>
                    <a:pt x="2503" y="2204"/>
                  </a:cubicBezTo>
                  <a:cubicBezTo>
                    <a:pt x="2555" y="2196"/>
                    <a:pt x="2559" y="2192"/>
                    <a:pt x="2599" y="2180"/>
                  </a:cubicBezTo>
                  <a:cubicBezTo>
                    <a:pt x="2611" y="2164"/>
                    <a:pt x="2619" y="2168"/>
                    <a:pt x="2623" y="2148"/>
                  </a:cubicBezTo>
                  <a:cubicBezTo>
                    <a:pt x="2627" y="2124"/>
                    <a:pt x="2623" y="2104"/>
                    <a:pt x="2643" y="2088"/>
                  </a:cubicBezTo>
                  <a:cubicBezTo>
                    <a:pt x="2647" y="2076"/>
                    <a:pt x="2659" y="2060"/>
                    <a:pt x="2667" y="2052"/>
                  </a:cubicBezTo>
                  <a:cubicBezTo>
                    <a:pt x="2683" y="2040"/>
                    <a:pt x="2703" y="2016"/>
                    <a:pt x="2723" y="2000"/>
                  </a:cubicBezTo>
                  <a:cubicBezTo>
                    <a:pt x="2731" y="1980"/>
                    <a:pt x="2767" y="1980"/>
                    <a:pt x="2775" y="1956"/>
                  </a:cubicBezTo>
                  <a:cubicBezTo>
                    <a:pt x="2779" y="1928"/>
                    <a:pt x="2783" y="1924"/>
                    <a:pt x="2803" y="1908"/>
                  </a:cubicBezTo>
                  <a:cubicBezTo>
                    <a:pt x="2811" y="1904"/>
                    <a:pt x="2827" y="1892"/>
                    <a:pt x="2827" y="1892"/>
                  </a:cubicBezTo>
                  <a:cubicBezTo>
                    <a:pt x="2875" y="1904"/>
                    <a:pt x="2847" y="1900"/>
                    <a:pt x="2907" y="1896"/>
                  </a:cubicBezTo>
                  <a:cubicBezTo>
                    <a:pt x="2931" y="1888"/>
                    <a:pt x="2931" y="1880"/>
                    <a:pt x="2943" y="1860"/>
                  </a:cubicBezTo>
                  <a:cubicBezTo>
                    <a:pt x="2955" y="1812"/>
                    <a:pt x="2983" y="1768"/>
                    <a:pt x="2995" y="1716"/>
                  </a:cubicBezTo>
                  <a:cubicBezTo>
                    <a:pt x="2995" y="1712"/>
                    <a:pt x="2963" y="1728"/>
                    <a:pt x="2955" y="1728"/>
                  </a:cubicBezTo>
                  <a:cubicBezTo>
                    <a:pt x="2919" y="1736"/>
                    <a:pt x="2879" y="1744"/>
                    <a:pt x="2847" y="1764"/>
                  </a:cubicBezTo>
                  <a:cubicBezTo>
                    <a:pt x="2835" y="1804"/>
                    <a:pt x="2823" y="1808"/>
                    <a:pt x="2787" y="1832"/>
                  </a:cubicBezTo>
                  <a:cubicBezTo>
                    <a:pt x="2759" y="1828"/>
                    <a:pt x="2739" y="1812"/>
                    <a:pt x="2715" y="1796"/>
                  </a:cubicBezTo>
                  <a:cubicBezTo>
                    <a:pt x="2691" y="1760"/>
                    <a:pt x="2675" y="1772"/>
                    <a:pt x="2643" y="1748"/>
                  </a:cubicBezTo>
                  <a:cubicBezTo>
                    <a:pt x="2631" y="1740"/>
                    <a:pt x="2607" y="1724"/>
                    <a:pt x="2607" y="1724"/>
                  </a:cubicBezTo>
                  <a:cubicBezTo>
                    <a:pt x="2603" y="1708"/>
                    <a:pt x="2579" y="1676"/>
                    <a:pt x="2579" y="1676"/>
                  </a:cubicBezTo>
                  <a:cubicBezTo>
                    <a:pt x="2587" y="1640"/>
                    <a:pt x="2579" y="1644"/>
                    <a:pt x="2623" y="1640"/>
                  </a:cubicBezTo>
                  <a:cubicBezTo>
                    <a:pt x="2655" y="1616"/>
                    <a:pt x="2647" y="1584"/>
                    <a:pt x="2667" y="1556"/>
                  </a:cubicBezTo>
                  <a:cubicBezTo>
                    <a:pt x="2671" y="1536"/>
                    <a:pt x="2679" y="1492"/>
                    <a:pt x="2695" y="1476"/>
                  </a:cubicBezTo>
                  <a:cubicBezTo>
                    <a:pt x="2703" y="1468"/>
                    <a:pt x="2719" y="1460"/>
                    <a:pt x="2719" y="1460"/>
                  </a:cubicBezTo>
                  <a:cubicBezTo>
                    <a:pt x="2727" y="1436"/>
                    <a:pt x="2747" y="1428"/>
                    <a:pt x="2767" y="1420"/>
                  </a:cubicBezTo>
                  <a:cubicBezTo>
                    <a:pt x="2783" y="1400"/>
                    <a:pt x="2787" y="1396"/>
                    <a:pt x="2811" y="1388"/>
                  </a:cubicBezTo>
                  <a:cubicBezTo>
                    <a:pt x="2831" y="1368"/>
                    <a:pt x="2859" y="1372"/>
                    <a:pt x="2887" y="1368"/>
                  </a:cubicBezTo>
                  <a:cubicBezTo>
                    <a:pt x="2895" y="1324"/>
                    <a:pt x="2891" y="1308"/>
                    <a:pt x="2935" y="1296"/>
                  </a:cubicBezTo>
                  <a:cubicBezTo>
                    <a:pt x="2947" y="1280"/>
                    <a:pt x="2963" y="1260"/>
                    <a:pt x="2979" y="1248"/>
                  </a:cubicBezTo>
                  <a:cubicBezTo>
                    <a:pt x="2991" y="1216"/>
                    <a:pt x="3019" y="1188"/>
                    <a:pt x="3051" y="1176"/>
                  </a:cubicBezTo>
                  <a:cubicBezTo>
                    <a:pt x="3063" y="1164"/>
                    <a:pt x="3083" y="1152"/>
                    <a:pt x="3099" y="1148"/>
                  </a:cubicBezTo>
                  <a:cubicBezTo>
                    <a:pt x="3119" y="1120"/>
                    <a:pt x="3095" y="1060"/>
                    <a:pt x="3075" y="1032"/>
                  </a:cubicBezTo>
                  <a:cubicBezTo>
                    <a:pt x="3071" y="1000"/>
                    <a:pt x="3071" y="976"/>
                    <a:pt x="3079" y="956"/>
                  </a:cubicBezTo>
                  <a:cubicBezTo>
                    <a:pt x="3083" y="940"/>
                    <a:pt x="3107" y="916"/>
                    <a:pt x="3127" y="908"/>
                  </a:cubicBezTo>
                  <a:cubicBezTo>
                    <a:pt x="3135" y="880"/>
                    <a:pt x="3195" y="868"/>
                    <a:pt x="3223" y="860"/>
                  </a:cubicBezTo>
                  <a:cubicBezTo>
                    <a:pt x="3251" y="840"/>
                    <a:pt x="3291" y="848"/>
                    <a:pt x="3319" y="828"/>
                  </a:cubicBezTo>
                  <a:cubicBezTo>
                    <a:pt x="3315" y="776"/>
                    <a:pt x="3327" y="788"/>
                    <a:pt x="3295" y="756"/>
                  </a:cubicBezTo>
                  <a:cubicBezTo>
                    <a:pt x="3275" y="700"/>
                    <a:pt x="3231" y="576"/>
                    <a:pt x="3203" y="512"/>
                  </a:cubicBezTo>
                  <a:cubicBezTo>
                    <a:pt x="3219" y="396"/>
                    <a:pt x="3219" y="360"/>
                    <a:pt x="3139" y="348"/>
                  </a:cubicBezTo>
                  <a:cubicBezTo>
                    <a:pt x="3091" y="328"/>
                    <a:pt x="3031" y="360"/>
                    <a:pt x="2979" y="344"/>
                  </a:cubicBezTo>
                  <a:cubicBezTo>
                    <a:pt x="2935" y="360"/>
                    <a:pt x="2951" y="364"/>
                    <a:pt x="2887" y="368"/>
                  </a:cubicBezTo>
                  <a:cubicBezTo>
                    <a:pt x="2795" y="332"/>
                    <a:pt x="2779" y="368"/>
                    <a:pt x="2727" y="384"/>
                  </a:cubicBezTo>
                  <a:cubicBezTo>
                    <a:pt x="2679" y="380"/>
                    <a:pt x="2691" y="376"/>
                    <a:pt x="2659" y="344"/>
                  </a:cubicBezTo>
                  <a:cubicBezTo>
                    <a:pt x="2643" y="328"/>
                    <a:pt x="2595" y="328"/>
                    <a:pt x="2575" y="320"/>
                  </a:cubicBezTo>
                  <a:cubicBezTo>
                    <a:pt x="2543" y="320"/>
                    <a:pt x="2523" y="368"/>
                    <a:pt x="2491" y="380"/>
                  </a:cubicBezTo>
                  <a:cubicBezTo>
                    <a:pt x="2459" y="392"/>
                    <a:pt x="2403" y="392"/>
                    <a:pt x="2379" y="396"/>
                  </a:cubicBezTo>
                  <a:cubicBezTo>
                    <a:pt x="2363" y="404"/>
                    <a:pt x="2351" y="408"/>
                    <a:pt x="2335" y="412"/>
                  </a:cubicBezTo>
                  <a:cubicBezTo>
                    <a:pt x="2307" y="412"/>
                    <a:pt x="2279" y="416"/>
                    <a:pt x="2251" y="408"/>
                  </a:cubicBezTo>
                  <a:cubicBezTo>
                    <a:pt x="2247" y="408"/>
                    <a:pt x="2231" y="316"/>
                    <a:pt x="2211" y="296"/>
                  </a:cubicBezTo>
                  <a:cubicBezTo>
                    <a:pt x="2179" y="240"/>
                    <a:pt x="2095" y="276"/>
                    <a:pt x="2055" y="272"/>
                  </a:cubicBezTo>
                  <a:cubicBezTo>
                    <a:pt x="2011" y="276"/>
                    <a:pt x="1995" y="288"/>
                    <a:pt x="1979" y="244"/>
                  </a:cubicBezTo>
                  <a:cubicBezTo>
                    <a:pt x="1979" y="220"/>
                    <a:pt x="1967" y="156"/>
                    <a:pt x="1959" y="128"/>
                  </a:cubicBezTo>
                  <a:cubicBezTo>
                    <a:pt x="1939" y="92"/>
                    <a:pt x="1875" y="36"/>
                    <a:pt x="1831" y="20"/>
                  </a:cubicBezTo>
                  <a:cubicBezTo>
                    <a:pt x="1803" y="0"/>
                    <a:pt x="1735" y="32"/>
                    <a:pt x="1695" y="36"/>
                  </a:cubicBezTo>
                  <a:cubicBezTo>
                    <a:pt x="1667" y="52"/>
                    <a:pt x="1627" y="72"/>
                    <a:pt x="1599" y="80"/>
                  </a:cubicBezTo>
                  <a:cubicBezTo>
                    <a:pt x="1595" y="92"/>
                    <a:pt x="1583" y="108"/>
                    <a:pt x="1575" y="116"/>
                  </a:cubicBezTo>
                  <a:cubicBezTo>
                    <a:pt x="1567" y="124"/>
                    <a:pt x="1539" y="180"/>
                    <a:pt x="1539" y="180"/>
                  </a:cubicBezTo>
                  <a:cubicBezTo>
                    <a:pt x="1519" y="208"/>
                    <a:pt x="1515" y="172"/>
                    <a:pt x="1483" y="180"/>
                  </a:cubicBezTo>
                  <a:cubicBezTo>
                    <a:pt x="1471" y="188"/>
                    <a:pt x="1443" y="196"/>
                    <a:pt x="1443" y="196"/>
                  </a:cubicBezTo>
                  <a:lnTo>
                    <a:pt x="1407" y="204"/>
                  </a:lnTo>
                  <a:close/>
                </a:path>
              </a:pathLst>
            </a:custGeom>
            <a:solidFill>
              <a:schemeClr val="accent2"/>
            </a:solidFill>
            <a:ln w="3175">
              <a:solidFill>
                <a:schemeClr val="accent2"/>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556" name="Freeform 2526">
              <a:extLst>
                <a:ext uri="{FF2B5EF4-FFF2-40B4-BE49-F238E27FC236}">
                  <a16:creationId xmlns:a16="http://schemas.microsoft.com/office/drawing/2014/main" id="{82E94078-E595-865A-2F1E-D3521EEE8C26}"/>
                </a:ext>
              </a:extLst>
            </p:cNvPr>
            <p:cNvSpPr>
              <a:spLocks noChangeAspect="1"/>
            </p:cNvSpPr>
            <p:nvPr>
              <p:custDataLst>
                <p:tags r:id="rId22"/>
              </p:custDataLst>
            </p:nvPr>
          </p:nvSpPr>
          <p:spPr bwMode="auto">
            <a:xfrm>
              <a:off x="4252874" y="3935573"/>
              <a:ext cx="188667" cy="201310"/>
            </a:xfrm>
            <a:custGeom>
              <a:avLst/>
              <a:gdLst>
                <a:gd name="T0" fmla="*/ 484 w 776"/>
                <a:gd name="T1" fmla="*/ 824 h 826"/>
                <a:gd name="T2" fmla="*/ 532 w 776"/>
                <a:gd name="T3" fmla="*/ 800 h 826"/>
                <a:gd name="T4" fmla="*/ 552 w 776"/>
                <a:gd name="T5" fmla="*/ 696 h 826"/>
                <a:gd name="T6" fmla="*/ 592 w 776"/>
                <a:gd name="T7" fmla="*/ 608 h 826"/>
                <a:gd name="T8" fmla="*/ 564 w 776"/>
                <a:gd name="T9" fmla="*/ 548 h 826"/>
                <a:gd name="T10" fmla="*/ 576 w 776"/>
                <a:gd name="T11" fmla="*/ 476 h 826"/>
                <a:gd name="T12" fmla="*/ 640 w 776"/>
                <a:gd name="T13" fmla="*/ 492 h 826"/>
                <a:gd name="T14" fmla="*/ 776 w 776"/>
                <a:gd name="T15" fmla="*/ 468 h 826"/>
                <a:gd name="T16" fmla="*/ 748 w 776"/>
                <a:gd name="T17" fmla="*/ 432 h 826"/>
                <a:gd name="T18" fmla="*/ 688 w 776"/>
                <a:gd name="T19" fmla="*/ 384 h 826"/>
                <a:gd name="T20" fmla="*/ 640 w 776"/>
                <a:gd name="T21" fmla="*/ 312 h 826"/>
                <a:gd name="T22" fmla="*/ 556 w 776"/>
                <a:gd name="T23" fmla="*/ 224 h 826"/>
                <a:gd name="T24" fmla="*/ 508 w 776"/>
                <a:gd name="T25" fmla="*/ 188 h 826"/>
                <a:gd name="T26" fmla="*/ 420 w 776"/>
                <a:gd name="T27" fmla="*/ 72 h 826"/>
                <a:gd name="T28" fmla="*/ 388 w 776"/>
                <a:gd name="T29" fmla="*/ 48 h 826"/>
                <a:gd name="T30" fmla="*/ 244 w 776"/>
                <a:gd name="T31" fmla="*/ 28 h 826"/>
                <a:gd name="T32" fmla="*/ 196 w 776"/>
                <a:gd name="T33" fmla="*/ 0 h 826"/>
                <a:gd name="T34" fmla="*/ 112 w 776"/>
                <a:gd name="T35" fmla="*/ 12 h 826"/>
                <a:gd name="T36" fmla="*/ 16 w 776"/>
                <a:gd name="T37" fmla="*/ 56 h 826"/>
                <a:gd name="T38" fmla="*/ 48 w 776"/>
                <a:gd name="T39" fmla="*/ 124 h 826"/>
                <a:gd name="T40" fmla="*/ 100 w 776"/>
                <a:gd name="T41" fmla="*/ 172 h 826"/>
                <a:gd name="T42" fmla="*/ 135 w 776"/>
                <a:gd name="T43" fmla="*/ 212 h 826"/>
                <a:gd name="T44" fmla="*/ 173 w 776"/>
                <a:gd name="T45" fmla="*/ 245 h 826"/>
                <a:gd name="T46" fmla="*/ 194 w 776"/>
                <a:gd name="T47" fmla="*/ 282 h 826"/>
                <a:gd name="T48" fmla="*/ 233 w 776"/>
                <a:gd name="T49" fmla="*/ 332 h 826"/>
                <a:gd name="T50" fmla="*/ 300 w 776"/>
                <a:gd name="T51" fmla="*/ 364 h 826"/>
                <a:gd name="T52" fmla="*/ 317 w 776"/>
                <a:gd name="T53" fmla="*/ 393 h 826"/>
                <a:gd name="T54" fmla="*/ 400 w 776"/>
                <a:gd name="T55" fmla="*/ 600 h 826"/>
                <a:gd name="T56" fmla="*/ 429 w 776"/>
                <a:gd name="T57" fmla="*/ 701 h 826"/>
                <a:gd name="T58" fmla="*/ 452 w 776"/>
                <a:gd name="T59" fmla="*/ 780 h 826"/>
                <a:gd name="T60" fmla="*/ 474 w 776"/>
                <a:gd name="T61" fmla="*/ 810 h 826"/>
                <a:gd name="T62" fmla="*/ 484 w 776"/>
                <a:gd name="T63" fmla="*/ 824 h 82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76"/>
                <a:gd name="T97" fmla="*/ 0 h 826"/>
                <a:gd name="T98" fmla="*/ 776 w 776"/>
                <a:gd name="T99" fmla="*/ 826 h 82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76" h="826">
                  <a:moveTo>
                    <a:pt x="484" y="824"/>
                  </a:moveTo>
                  <a:cubicBezTo>
                    <a:pt x="503" y="815"/>
                    <a:pt x="500" y="803"/>
                    <a:pt x="532" y="800"/>
                  </a:cubicBezTo>
                  <a:cubicBezTo>
                    <a:pt x="544" y="764"/>
                    <a:pt x="532" y="728"/>
                    <a:pt x="552" y="696"/>
                  </a:cubicBezTo>
                  <a:cubicBezTo>
                    <a:pt x="560" y="660"/>
                    <a:pt x="580" y="640"/>
                    <a:pt x="592" y="608"/>
                  </a:cubicBezTo>
                  <a:cubicBezTo>
                    <a:pt x="588" y="584"/>
                    <a:pt x="580" y="564"/>
                    <a:pt x="564" y="548"/>
                  </a:cubicBezTo>
                  <a:cubicBezTo>
                    <a:pt x="556" y="504"/>
                    <a:pt x="544" y="484"/>
                    <a:pt x="576" y="476"/>
                  </a:cubicBezTo>
                  <a:cubicBezTo>
                    <a:pt x="596" y="480"/>
                    <a:pt x="640" y="492"/>
                    <a:pt x="640" y="492"/>
                  </a:cubicBezTo>
                  <a:cubicBezTo>
                    <a:pt x="688" y="488"/>
                    <a:pt x="728" y="476"/>
                    <a:pt x="776" y="468"/>
                  </a:cubicBezTo>
                  <a:cubicBezTo>
                    <a:pt x="772" y="448"/>
                    <a:pt x="768" y="440"/>
                    <a:pt x="748" y="432"/>
                  </a:cubicBezTo>
                  <a:cubicBezTo>
                    <a:pt x="740" y="416"/>
                    <a:pt x="704" y="392"/>
                    <a:pt x="688" y="384"/>
                  </a:cubicBezTo>
                  <a:cubicBezTo>
                    <a:pt x="680" y="360"/>
                    <a:pt x="656" y="336"/>
                    <a:pt x="640" y="312"/>
                  </a:cubicBezTo>
                  <a:cubicBezTo>
                    <a:pt x="604" y="260"/>
                    <a:pt x="652" y="232"/>
                    <a:pt x="556" y="224"/>
                  </a:cubicBezTo>
                  <a:cubicBezTo>
                    <a:pt x="540" y="196"/>
                    <a:pt x="532" y="204"/>
                    <a:pt x="508" y="188"/>
                  </a:cubicBezTo>
                  <a:cubicBezTo>
                    <a:pt x="528" y="84"/>
                    <a:pt x="536" y="76"/>
                    <a:pt x="420" y="72"/>
                  </a:cubicBezTo>
                  <a:cubicBezTo>
                    <a:pt x="416" y="56"/>
                    <a:pt x="400" y="56"/>
                    <a:pt x="388" y="48"/>
                  </a:cubicBezTo>
                  <a:cubicBezTo>
                    <a:pt x="344" y="64"/>
                    <a:pt x="288" y="36"/>
                    <a:pt x="244" y="28"/>
                  </a:cubicBezTo>
                  <a:cubicBezTo>
                    <a:pt x="228" y="16"/>
                    <a:pt x="196" y="0"/>
                    <a:pt x="196" y="0"/>
                  </a:cubicBezTo>
                  <a:cubicBezTo>
                    <a:pt x="168" y="4"/>
                    <a:pt x="112" y="12"/>
                    <a:pt x="112" y="12"/>
                  </a:cubicBezTo>
                  <a:cubicBezTo>
                    <a:pt x="96" y="56"/>
                    <a:pt x="56" y="52"/>
                    <a:pt x="16" y="56"/>
                  </a:cubicBezTo>
                  <a:cubicBezTo>
                    <a:pt x="0" y="104"/>
                    <a:pt x="16" y="92"/>
                    <a:pt x="48" y="124"/>
                  </a:cubicBezTo>
                  <a:cubicBezTo>
                    <a:pt x="52" y="136"/>
                    <a:pt x="60" y="156"/>
                    <a:pt x="100" y="172"/>
                  </a:cubicBezTo>
                  <a:cubicBezTo>
                    <a:pt x="116" y="192"/>
                    <a:pt x="123" y="197"/>
                    <a:pt x="135" y="212"/>
                  </a:cubicBezTo>
                  <a:cubicBezTo>
                    <a:pt x="158" y="231"/>
                    <a:pt x="153" y="233"/>
                    <a:pt x="173" y="245"/>
                  </a:cubicBezTo>
                  <a:cubicBezTo>
                    <a:pt x="177" y="261"/>
                    <a:pt x="185" y="263"/>
                    <a:pt x="194" y="282"/>
                  </a:cubicBezTo>
                  <a:cubicBezTo>
                    <a:pt x="214" y="302"/>
                    <a:pt x="213" y="312"/>
                    <a:pt x="233" y="332"/>
                  </a:cubicBezTo>
                  <a:cubicBezTo>
                    <a:pt x="261" y="342"/>
                    <a:pt x="300" y="364"/>
                    <a:pt x="300" y="364"/>
                  </a:cubicBezTo>
                  <a:cubicBezTo>
                    <a:pt x="311" y="381"/>
                    <a:pt x="300" y="354"/>
                    <a:pt x="317" y="393"/>
                  </a:cubicBezTo>
                  <a:cubicBezTo>
                    <a:pt x="443" y="449"/>
                    <a:pt x="398" y="557"/>
                    <a:pt x="400" y="600"/>
                  </a:cubicBezTo>
                  <a:cubicBezTo>
                    <a:pt x="422" y="668"/>
                    <a:pt x="414" y="645"/>
                    <a:pt x="429" y="701"/>
                  </a:cubicBezTo>
                  <a:cubicBezTo>
                    <a:pt x="433" y="729"/>
                    <a:pt x="446" y="764"/>
                    <a:pt x="452" y="780"/>
                  </a:cubicBezTo>
                  <a:cubicBezTo>
                    <a:pt x="461" y="794"/>
                    <a:pt x="464" y="798"/>
                    <a:pt x="474" y="810"/>
                  </a:cubicBezTo>
                  <a:cubicBezTo>
                    <a:pt x="478" y="826"/>
                    <a:pt x="484" y="816"/>
                    <a:pt x="484" y="824"/>
                  </a:cubicBezTo>
                  <a:close/>
                </a:path>
              </a:pathLst>
            </a:custGeom>
            <a:solidFill>
              <a:schemeClr val="accent2"/>
            </a:solidFill>
            <a:ln w="3175">
              <a:solidFill>
                <a:schemeClr val="accent2"/>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557" name="Freeform 2527">
              <a:extLst>
                <a:ext uri="{FF2B5EF4-FFF2-40B4-BE49-F238E27FC236}">
                  <a16:creationId xmlns:a16="http://schemas.microsoft.com/office/drawing/2014/main" id="{7175537D-B3F7-E4BC-E3F0-9E9FF762A88B}"/>
                </a:ext>
              </a:extLst>
            </p:cNvPr>
            <p:cNvSpPr>
              <a:spLocks noChangeAspect="1"/>
            </p:cNvSpPr>
            <p:nvPr>
              <p:custDataLst>
                <p:tags r:id="rId23"/>
              </p:custDataLst>
            </p:nvPr>
          </p:nvSpPr>
          <p:spPr bwMode="auto">
            <a:xfrm>
              <a:off x="3969873" y="3958913"/>
              <a:ext cx="483337" cy="347186"/>
            </a:xfrm>
            <a:custGeom>
              <a:avLst/>
              <a:gdLst>
                <a:gd name="T0" fmla="*/ 1831 w 1991"/>
                <a:gd name="T1" fmla="*/ 1035 h 1428"/>
                <a:gd name="T2" fmla="*/ 1927 w 1991"/>
                <a:gd name="T3" fmla="*/ 827 h 1428"/>
                <a:gd name="T4" fmla="*/ 1947 w 1991"/>
                <a:gd name="T5" fmla="*/ 684 h 1428"/>
                <a:gd name="T6" fmla="*/ 1759 w 1991"/>
                <a:gd name="T7" fmla="*/ 747 h 1428"/>
                <a:gd name="T8" fmla="*/ 1659 w 1991"/>
                <a:gd name="T9" fmla="*/ 743 h 1428"/>
                <a:gd name="T10" fmla="*/ 1603 w 1991"/>
                <a:gd name="T11" fmla="*/ 636 h 1428"/>
                <a:gd name="T12" fmla="*/ 1483 w 1991"/>
                <a:gd name="T13" fmla="*/ 296 h 1428"/>
                <a:gd name="T14" fmla="*/ 1399 w 1991"/>
                <a:gd name="T15" fmla="*/ 236 h 1428"/>
                <a:gd name="T16" fmla="*/ 1299 w 1991"/>
                <a:gd name="T17" fmla="*/ 116 h 1428"/>
                <a:gd name="T18" fmla="*/ 1207 w 1991"/>
                <a:gd name="T19" fmla="*/ 24 h 1428"/>
                <a:gd name="T20" fmla="*/ 1079 w 1991"/>
                <a:gd name="T21" fmla="*/ 100 h 1428"/>
                <a:gd name="T22" fmla="*/ 915 w 1991"/>
                <a:gd name="T23" fmla="*/ 192 h 1428"/>
                <a:gd name="T24" fmla="*/ 835 w 1991"/>
                <a:gd name="T25" fmla="*/ 228 h 1428"/>
                <a:gd name="T26" fmla="*/ 483 w 1991"/>
                <a:gd name="T27" fmla="*/ 228 h 1428"/>
                <a:gd name="T28" fmla="*/ 363 w 1991"/>
                <a:gd name="T29" fmla="*/ 320 h 1428"/>
                <a:gd name="T30" fmla="*/ 319 w 1991"/>
                <a:gd name="T31" fmla="*/ 372 h 1428"/>
                <a:gd name="T32" fmla="*/ 219 w 1991"/>
                <a:gd name="T33" fmla="*/ 680 h 1428"/>
                <a:gd name="T34" fmla="*/ 161 w 1991"/>
                <a:gd name="T35" fmla="*/ 800 h 1428"/>
                <a:gd name="T36" fmla="*/ 20 w 1991"/>
                <a:gd name="T37" fmla="*/ 866 h 1428"/>
                <a:gd name="T38" fmla="*/ 105 w 1991"/>
                <a:gd name="T39" fmla="*/ 927 h 1428"/>
                <a:gd name="T40" fmla="*/ 225 w 1991"/>
                <a:gd name="T41" fmla="*/ 1076 h 1428"/>
                <a:gd name="T42" fmla="*/ 315 w 1991"/>
                <a:gd name="T43" fmla="*/ 1111 h 1428"/>
                <a:gd name="T44" fmla="*/ 422 w 1991"/>
                <a:gd name="T45" fmla="*/ 1233 h 1428"/>
                <a:gd name="T46" fmla="*/ 491 w 1991"/>
                <a:gd name="T47" fmla="*/ 1248 h 1428"/>
                <a:gd name="T48" fmla="*/ 600 w 1991"/>
                <a:gd name="T49" fmla="*/ 1301 h 1428"/>
                <a:gd name="T50" fmla="*/ 656 w 1991"/>
                <a:gd name="T51" fmla="*/ 1329 h 1428"/>
                <a:gd name="T52" fmla="*/ 725 w 1991"/>
                <a:gd name="T53" fmla="*/ 1425 h 1428"/>
                <a:gd name="T54" fmla="*/ 1026 w 1991"/>
                <a:gd name="T55" fmla="*/ 1397 h 1428"/>
                <a:gd name="T56" fmla="*/ 1230 w 1991"/>
                <a:gd name="T57" fmla="*/ 1359 h 1428"/>
                <a:gd name="T58" fmla="*/ 1311 w 1991"/>
                <a:gd name="T59" fmla="*/ 1295 h 1428"/>
                <a:gd name="T60" fmla="*/ 1455 w 1991"/>
                <a:gd name="T61" fmla="*/ 1203 h 1428"/>
                <a:gd name="T62" fmla="*/ 1557 w 1991"/>
                <a:gd name="T63" fmla="*/ 1158 h 1428"/>
                <a:gd name="T64" fmla="*/ 1803 w 1991"/>
                <a:gd name="T65" fmla="*/ 1195 h 14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91"/>
                <a:gd name="T100" fmla="*/ 0 h 1428"/>
                <a:gd name="T101" fmla="*/ 1991 w 1991"/>
                <a:gd name="T102" fmla="*/ 1428 h 14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91" h="1428">
                  <a:moveTo>
                    <a:pt x="1847" y="1195"/>
                  </a:moveTo>
                  <a:cubicBezTo>
                    <a:pt x="1855" y="1139"/>
                    <a:pt x="1851" y="1087"/>
                    <a:pt x="1831" y="1035"/>
                  </a:cubicBezTo>
                  <a:cubicBezTo>
                    <a:pt x="1835" y="963"/>
                    <a:pt x="1815" y="903"/>
                    <a:pt x="1875" y="863"/>
                  </a:cubicBezTo>
                  <a:cubicBezTo>
                    <a:pt x="1879" y="847"/>
                    <a:pt x="1911" y="835"/>
                    <a:pt x="1927" y="827"/>
                  </a:cubicBezTo>
                  <a:cubicBezTo>
                    <a:pt x="1939" y="823"/>
                    <a:pt x="1963" y="815"/>
                    <a:pt x="1963" y="815"/>
                  </a:cubicBezTo>
                  <a:cubicBezTo>
                    <a:pt x="1991" y="787"/>
                    <a:pt x="1975" y="712"/>
                    <a:pt x="1947" y="684"/>
                  </a:cubicBezTo>
                  <a:cubicBezTo>
                    <a:pt x="1935" y="644"/>
                    <a:pt x="1863" y="672"/>
                    <a:pt x="1823" y="676"/>
                  </a:cubicBezTo>
                  <a:cubicBezTo>
                    <a:pt x="1815" y="708"/>
                    <a:pt x="1791" y="735"/>
                    <a:pt x="1759" y="747"/>
                  </a:cubicBezTo>
                  <a:cubicBezTo>
                    <a:pt x="1747" y="775"/>
                    <a:pt x="1735" y="767"/>
                    <a:pt x="1703" y="763"/>
                  </a:cubicBezTo>
                  <a:cubicBezTo>
                    <a:pt x="1687" y="755"/>
                    <a:pt x="1675" y="751"/>
                    <a:pt x="1659" y="743"/>
                  </a:cubicBezTo>
                  <a:cubicBezTo>
                    <a:pt x="1647" y="727"/>
                    <a:pt x="1639" y="708"/>
                    <a:pt x="1627" y="696"/>
                  </a:cubicBezTo>
                  <a:cubicBezTo>
                    <a:pt x="1619" y="688"/>
                    <a:pt x="1603" y="636"/>
                    <a:pt x="1603" y="636"/>
                  </a:cubicBezTo>
                  <a:cubicBezTo>
                    <a:pt x="1595" y="604"/>
                    <a:pt x="1587" y="560"/>
                    <a:pt x="1567" y="500"/>
                  </a:cubicBezTo>
                  <a:cubicBezTo>
                    <a:pt x="1583" y="396"/>
                    <a:pt x="1563" y="324"/>
                    <a:pt x="1483" y="296"/>
                  </a:cubicBezTo>
                  <a:cubicBezTo>
                    <a:pt x="1475" y="276"/>
                    <a:pt x="1467" y="268"/>
                    <a:pt x="1447" y="260"/>
                  </a:cubicBezTo>
                  <a:cubicBezTo>
                    <a:pt x="1431" y="244"/>
                    <a:pt x="1419" y="244"/>
                    <a:pt x="1399" y="236"/>
                  </a:cubicBezTo>
                  <a:cubicBezTo>
                    <a:pt x="1387" y="216"/>
                    <a:pt x="1379" y="204"/>
                    <a:pt x="1363" y="192"/>
                  </a:cubicBezTo>
                  <a:cubicBezTo>
                    <a:pt x="1359" y="176"/>
                    <a:pt x="1319" y="124"/>
                    <a:pt x="1299" y="116"/>
                  </a:cubicBezTo>
                  <a:cubicBezTo>
                    <a:pt x="1291" y="88"/>
                    <a:pt x="1255" y="76"/>
                    <a:pt x="1231" y="60"/>
                  </a:cubicBezTo>
                  <a:cubicBezTo>
                    <a:pt x="1223" y="48"/>
                    <a:pt x="1219" y="36"/>
                    <a:pt x="1207" y="24"/>
                  </a:cubicBezTo>
                  <a:cubicBezTo>
                    <a:pt x="1199" y="0"/>
                    <a:pt x="1135" y="44"/>
                    <a:pt x="1135" y="44"/>
                  </a:cubicBezTo>
                  <a:cubicBezTo>
                    <a:pt x="1111" y="76"/>
                    <a:pt x="1123" y="92"/>
                    <a:pt x="1079" y="100"/>
                  </a:cubicBezTo>
                  <a:cubicBezTo>
                    <a:pt x="1063" y="108"/>
                    <a:pt x="1043" y="116"/>
                    <a:pt x="1027" y="128"/>
                  </a:cubicBezTo>
                  <a:cubicBezTo>
                    <a:pt x="1015" y="164"/>
                    <a:pt x="943" y="168"/>
                    <a:pt x="915" y="192"/>
                  </a:cubicBezTo>
                  <a:cubicBezTo>
                    <a:pt x="899" y="196"/>
                    <a:pt x="871" y="204"/>
                    <a:pt x="871" y="204"/>
                  </a:cubicBezTo>
                  <a:cubicBezTo>
                    <a:pt x="859" y="216"/>
                    <a:pt x="847" y="220"/>
                    <a:pt x="835" y="228"/>
                  </a:cubicBezTo>
                  <a:cubicBezTo>
                    <a:pt x="723" y="216"/>
                    <a:pt x="787" y="220"/>
                    <a:pt x="643" y="216"/>
                  </a:cubicBezTo>
                  <a:cubicBezTo>
                    <a:pt x="535" y="220"/>
                    <a:pt x="543" y="180"/>
                    <a:pt x="483" y="228"/>
                  </a:cubicBezTo>
                  <a:cubicBezTo>
                    <a:pt x="475" y="248"/>
                    <a:pt x="435" y="292"/>
                    <a:pt x="411" y="296"/>
                  </a:cubicBezTo>
                  <a:cubicBezTo>
                    <a:pt x="399" y="312"/>
                    <a:pt x="383" y="312"/>
                    <a:pt x="363" y="320"/>
                  </a:cubicBezTo>
                  <a:cubicBezTo>
                    <a:pt x="359" y="320"/>
                    <a:pt x="351" y="324"/>
                    <a:pt x="351" y="324"/>
                  </a:cubicBezTo>
                  <a:cubicBezTo>
                    <a:pt x="339" y="340"/>
                    <a:pt x="331" y="360"/>
                    <a:pt x="319" y="372"/>
                  </a:cubicBezTo>
                  <a:cubicBezTo>
                    <a:pt x="295" y="440"/>
                    <a:pt x="287" y="528"/>
                    <a:pt x="247" y="588"/>
                  </a:cubicBezTo>
                  <a:cubicBezTo>
                    <a:pt x="233" y="623"/>
                    <a:pt x="235" y="632"/>
                    <a:pt x="219" y="680"/>
                  </a:cubicBezTo>
                  <a:cubicBezTo>
                    <a:pt x="215" y="720"/>
                    <a:pt x="203" y="725"/>
                    <a:pt x="183" y="753"/>
                  </a:cubicBezTo>
                  <a:cubicBezTo>
                    <a:pt x="173" y="772"/>
                    <a:pt x="174" y="780"/>
                    <a:pt x="161" y="800"/>
                  </a:cubicBezTo>
                  <a:cubicBezTo>
                    <a:pt x="144" y="813"/>
                    <a:pt x="98" y="825"/>
                    <a:pt x="83" y="849"/>
                  </a:cubicBezTo>
                  <a:cubicBezTo>
                    <a:pt x="60" y="860"/>
                    <a:pt x="27" y="862"/>
                    <a:pt x="20" y="866"/>
                  </a:cubicBezTo>
                  <a:cubicBezTo>
                    <a:pt x="0" y="878"/>
                    <a:pt x="33" y="866"/>
                    <a:pt x="36" y="881"/>
                  </a:cubicBezTo>
                  <a:cubicBezTo>
                    <a:pt x="50" y="921"/>
                    <a:pt x="90" y="912"/>
                    <a:pt x="105" y="927"/>
                  </a:cubicBezTo>
                  <a:cubicBezTo>
                    <a:pt x="129" y="959"/>
                    <a:pt x="141" y="962"/>
                    <a:pt x="163" y="991"/>
                  </a:cubicBezTo>
                  <a:cubicBezTo>
                    <a:pt x="170" y="1017"/>
                    <a:pt x="206" y="1035"/>
                    <a:pt x="225" y="1076"/>
                  </a:cubicBezTo>
                  <a:cubicBezTo>
                    <a:pt x="248" y="1083"/>
                    <a:pt x="257" y="1079"/>
                    <a:pt x="281" y="1086"/>
                  </a:cubicBezTo>
                  <a:cubicBezTo>
                    <a:pt x="293" y="1090"/>
                    <a:pt x="315" y="1111"/>
                    <a:pt x="315" y="1111"/>
                  </a:cubicBezTo>
                  <a:cubicBezTo>
                    <a:pt x="319" y="1199"/>
                    <a:pt x="288" y="1233"/>
                    <a:pt x="375" y="1231"/>
                  </a:cubicBezTo>
                  <a:cubicBezTo>
                    <a:pt x="391" y="1235"/>
                    <a:pt x="399" y="1226"/>
                    <a:pt x="422" y="1233"/>
                  </a:cubicBezTo>
                  <a:cubicBezTo>
                    <a:pt x="430" y="1237"/>
                    <a:pt x="462" y="1251"/>
                    <a:pt x="462" y="1251"/>
                  </a:cubicBezTo>
                  <a:cubicBezTo>
                    <a:pt x="473" y="1253"/>
                    <a:pt x="475" y="1254"/>
                    <a:pt x="491" y="1248"/>
                  </a:cubicBezTo>
                  <a:cubicBezTo>
                    <a:pt x="497" y="1235"/>
                    <a:pt x="498" y="1226"/>
                    <a:pt x="557" y="1206"/>
                  </a:cubicBezTo>
                  <a:cubicBezTo>
                    <a:pt x="581" y="1214"/>
                    <a:pt x="609" y="1265"/>
                    <a:pt x="600" y="1301"/>
                  </a:cubicBezTo>
                  <a:cubicBezTo>
                    <a:pt x="604" y="1309"/>
                    <a:pt x="618" y="1301"/>
                    <a:pt x="629" y="1316"/>
                  </a:cubicBezTo>
                  <a:cubicBezTo>
                    <a:pt x="641" y="1320"/>
                    <a:pt x="656" y="1329"/>
                    <a:pt x="656" y="1329"/>
                  </a:cubicBezTo>
                  <a:cubicBezTo>
                    <a:pt x="698" y="1392"/>
                    <a:pt x="678" y="1401"/>
                    <a:pt x="685" y="1415"/>
                  </a:cubicBezTo>
                  <a:cubicBezTo>
                    <a:pt x="704" y="1421"/>
                    <a:pt x="707" y="1423"/>
                    <a:pt x="725" y="1425"/>
                  </a:cubicBezTo>
                  <a:cubicBezTo>
                    <a:pt x="747" y="1428"/>
                    <a:pt x="771" y="1425"/>
                    <a:pt x="795" y="1425"/>
                  </a:cubicBezTo>
                  <a:cubicBezTo>
                    <a:pt x="871" y="1421"/>
                    <a:pt x="942" y="1409"/>
                    <a:pt x="1026" y="1397"/>
                  </a:cubicBezTo>
                  <a:cubicBezTo>
                    <a:pt x="1074" y="1389"/>
                    <a:pt x="1122" y="1385"/>
                    <a:pt x="1175" y="1380"/>
                  </a:cubicBezTo>
                  <a:cubicBezTo>
                    <a:pt x="1196" y="1371"/>
                    <a:pt x="1230" y="1359"/>
                    <a:pt x="1230" y="1359"/>
                  </a:cubicBezTo>
                  <a:cubicBezTo>
                    <a:pt x="1242" y="1351"/>
                    <a:pt x="1251" y="1346"/>
                    <a:pt x="1263" y="1338"/>
                  </a:cubicBezTo>
                  <a:cubicBezTo>
                    <a:pt x="1267" y="1322"/>
                    <a:pt x="1295" y="1307"/>
                    <a:pt x="1311" y="1295"/>
                  </a:cubicBezTo>
                  <a:cubicBezTo>
                    <a:pt x="1323" y="1274"/>
                    <a:pt x="1343" y="1257"/>
                    <a:pt x="1355" y="1233"/>
                  </a:cubicBezTo>
                  <a:cubicBezTo>
                    <a:pt x="1382" y="1216"/>
                    <a:pt x="1428" y="1213"/>
                    <a:pt x="1455" y="1203"/>
                  </a:cubicBezTo>
                  <a:cubicBezTo>
                    <a:pt x="1476" y="1182"/>
                    <a:pt x="1519" y="1175"/>
                    <a:pt x="1519" y="1175"/>
                  </a:cubicBezTo>
                  <a:cubicBezTo>
                    <a:pt x="1527" y="1167"/>
                    <a:pt x="1557" y="1158"/>
                    <a:pt x="1557" y="1158"/>
                  </a:cubicBezTo>
                  <a:cubicBezTo>
                    <a:pt x="1581" y="1162"/>
                    <a:pt x="1605" y="1154"/>
                    <a:pt x="1629" y="1158"/>
                  </a:cubicBezTo>
                  <a:cubicBezTo>
                    <a:pt x="1670" y="1172"/>
                    <a:pt x="1773" y="1197"/>
                    <a:pt x="1803" y="1195"/>
                  </a:cubicBezTo>
                  <a:cubicBezTo>
                    <a:pt x="1811" y="1195"/>
                    <a:pt x="1871" y="1219"/>
                    <a:pt x="1847" y="1195"/>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558" name="Freeform 2528">
              <a:extLst>
                <a:ext uri="{FF2B5EF4-FFF2-40B4-BE49-F238E27FC236}">
                  <a16:creationId xmlns:a16="http://schemas.microsoft.com/office/drawing/2014/main" id="{F213AA2C-860D-B2D2-02D5-407CA121D77E}"/>
                </a:ext>
              </a:extLst>
            </p:cNvPr>
            <p:cNvSpPr>
              <a:spLocks noChangeAspect="1"/>
            </p:cNvSpPr>
            <p:nvPr>
              <p:custDataLst>
                <p:tags r:id="rId24"/>
              </p:custDataLst>
            </p:nvPr>
          </p:nvSpPr>
          <p:spPr bwMode="auto">
            <a:xfrm>
              <a:off x="4106997" y="4239968"/>
              <a:ext cx="320928" cy="243127"/>
            </a:xfrm>
            <a:custGeom>
              <a:avLst/>
              <a:gdLst>
                <a:gd name="T0" fmla="*/ 1283 w 1320"/>
                <a:gd name="T1" fmla="*/ 578 h 999"/>
                <a:gd name="T2" fmla="*/ 1276 w 1320"/>
                <a:gd name="T3" fmla="*/ 507 h 999"/>
                <a:gd name="T4" fmla="*/ 1216 w 1320"/>
                <a:gd name="T5" fmla="*/ 480 h 999"/>
                <a:gd name="T6" fmla="*/ 1192 w 1320"/>
                <a:gd name="T7" fmla="*/ 464 h 999"/>
                <a:gd name="T8" fmla="*/ 1188 w 1320"/>
                <a:gd name="T9" fmla="*/ 368 h 999"/>
                <a:gd name="T10" fmla="*/ 1192 w 1320"/>
                <a:gd name="T11" fmla="*/ 288 h 999"/>
                <a:gd name="T12" fmla="*/ 1312 w 1320"/>
                <a:gd name="T13" fmla="*/ 128 h 999"/>
                <a:gd name="T14" fmla="*/ 1272 w 1320"/>
                <a:gd name="T15" fmla="*/ 48 h 999"/>
                <a:gd name="T16" fmla="*/ 1216 w 1320"/>
                <a:gd name="T17" fmla="*/ 40 h 999"/>
                <a:gd name="T18" fmla="*/ 1104 w 1320"/>
                <a:gd name="T19" fmla="*/ 16 h 999"/>
                <a:gd name="T20" fmla="*/ 1044 w 1320"/>
                <a:gd name="T21" fmla="*/ 0 h 999"/>
                <a:gd name="T22" fmla="*/ 924 w 1320"/>
                <a:gd name="T23" fmla="*/ 24 h 999"/>
                <a:gd name="T24" fmla="*/ 888 w 1320"/>
                <a:gd name="T25" fmla="*/ 48 h 999"/>
                <a:gd name="T26" fmla="*/ 784 w 1320"/>
                <a:gd name="T27" fmla="*/ 80 h 999"/>
                <a:gd name="T28" fmla="*/ 760 w 1320"/>
                <a:gd name="T29" fmla="*/ 112 h 999"/>
                <a:gd name="T30" fmla="*/ 736 w 1320"/>
                <a:gd name="T31" fmla="*/ 140 h 999"/>
                <a:gd name="T32" fmla="*/ 700 w 1320"/>
                <a:gd name="T33" fmla="*/ 172 h 999"/>
                <a:gd name="T34" fmla="*/ 612 w 1320"/>
                <a:gd name="T35" fmla="*/ 224 h 999"/>
                <a:gd name="T36" fmla="*/ 192 w 1320"/>
                <a:gd name="T37" fmla="*/ 272 h 999"/>
                <a:gd name="T38" fmla="*/ 96 w 1320"/>
                <a:gd name="T39" fmla="*/ 196 h 999"/>
                <a:gd name="T40" fmla="*/ 60 w 1320"/>
                <a:gd name="T41" fmla="*/ 160 h 999"/>
                <a:gd name="T42" fmla="*/ 16 w 1320"/>
                <a:gd name="T43" fmla="*/ 244 h 999"/>
                <a:gd name="T44" fmla="*/ 36 w 1320"/>
                <a:gd name="T45" fmla="*/ 370 h 999"/>
                <a:gd name="T46" fmla="*/ 51 w 1320"/>
                <a:gd name="T47" fmla="*/ 410 h 999"/>
                <a:gd name="T48" fmla="*/ 124 w 1320"/>
                <a:gd name="T49" fmla="*/ 432 h 999"/>
                <a:gd name="T50" fmla="*/ 156 w 1320"/>
                <a:gd name="T51" fmla="*/ 460 h 999"/>
                <a:gd name="T52" fmla="*/ 129 w 1320"/>
                <a:gd name="T53" fmla="*/ 541 h 999"/>
                <a:gd name="T54" fmla="*/ 84 w 1320"/>
                <a:gd name="T55" fmla="*/ 571 h 999"/>
                <a:gd name="T56" fmla="*/ 88 w 1320"/>
                <a:gd name="T57" fmla="*/ 603 h 999"/>
                <a:gd name="T58" fmla="*/ 86 w 1320"/>
                <a:gd name="T59" fmla="*/ 662 h 999"/>
                <a:gd name="T60" fmla="*/ 78 w 1320"/>
                <a:gd name="T61" fmla="*/ 739 h 999"/>
                <a:gd name="T62" fmla="*/ 93 w 1320"/>
                <a:gd name="T63" fmla="*/ 764 h 999"/>
                <a:gd name="T64" fmla="*/ 160 w 1320"/>
                <a:gd name="T65" fmla="*/ 799 h 999"/>
                <a:gd name="T66" fmla="*/ 216 w 1320"/>
                <a:gd name="T67" fmla="*/ 835 h 999"/>
                <a:gd name="T68" fmla="*/ 252 w 1320"/>
                <a:gd name="T69" fmla="*/ 907 h 999"/>
                <a:gd name="T70" fmla="*/ 248 w 1320"/>
                <a:gd name="T71" fmla="*/ 999 h 999"/>
                <a:gd name="T72" fmla="*/ 269 w 1320"/>
                <a:gd name="T73" fmla="*/ 977 h 999"/>
                <a:gd name="T74" fmla="*/ 438 w 1320"/>
                <a:gd name="T75" fmla="*/ 956 h 999"/>
                <a:gd name="T76" fmla="*/ 450 w 1320"/>
                <a:gd name="T77" fmla="*/ 923 h 999"/>
                <a:gd name="T78" fmla="*/ 500 w 1320"/>
                <a:gd name="T79" fmla="*/ 878 h 999"/>
                <a:gd name="T80" fmla="*/ 536 w 1320"/>
                <a:gd name="T81" fmla="*/ 865 h 999"/>
                <a:gd name="T82" fmla="*/ 600 w 1320"/>
                <a:gd name="T83" fmla="*/ 887 h 999"/>
                <a:gd name="T84" fmla="*/ 720 w 1320"/>
                <a:gd name="T85" fmla="*/ 911 h 999"/>
                <a:gd name="T86" fmla="*/ 819 w 1320"/>
                <a:gd name="T87" fmla="*/ 898 h 999"/>
                <a:gd name="T88" fmla="*/ 852 w 1320"/>
                <a:gd name="T89" fmla="*/ 883 h 999"/>
                <a:gd name="T90" fmla="*/ 928 w 1320"/>
                <a:gd name="T91" fmla="*/ 855 h 999"/>
                <a:gd name="T92" fmla="*/ 924 w 1320"/>
                <a:gd name="T93" fmla="*/ 770 h 999"/>
                <a:gd name="T94" fmla="*/ 917 w 1320"/>
                <a:gd name="T95" fmla="*/ 722 h 999"/>
                <a:gd name="T96" fmla="*/ 941 w 1320"/>
                <a:gd name="T97" fmla="*/ 730 h 999"/>
                <a:gd name="T98" fmla="*/ 965 w 1320"/>
                <a:gd name="T99" fmla="*/ 749 h 999"/>
                <a:gd name="T100" fmla="*/ 1002 w 1320"/>
                <a:gd name="T101" fmla="*/ 767 h 999"/>
                <a:gd name="T102" fmla="*/ 969 w 1320"/>
                <a:gd name="T103" fmla="*/ 737 h 999"/>
                <a:gd name="T104" fmla="*/ 975 w 1320"/>
                <a:gd name="T105" fmla="*/ 716 h 999"/>
                <a:gd name="T106" fmla="*/ 992 w 1320"/>
                <a:gd name="T107" fmla="*/ 701 h 999"/>
                <a:gd name="T108" fmla="*/ 995 w 1320"/>
                <a:gd name="T109" fmla="*/ 685 h 999"/>
                <a:gd name="T110" fmla="*/ 1007 w 1320"/>
                <a:gd name="T111" fmla="*/ 655 h 999"/>
                <a:gd name="T112" fmla="*/ 1037 w 1320"/>
                <a:gd name="T113" fmla="*/ 638 h 999"/>
                <a:gd name="T114" fmla="*/ 1118 w 1320"/>
                <a:gd name="T115" fmla="*/ 586 h 999"/>
                <a:gd name="T116" fmla="*/ 1200 w 1320"/>
                <a:gd name="T117" fmla="*/ 603 h 999"/>
                <a:gd name="T118" fmla="*/ 1257 w 1320"/>
                <a:gd name="T119" fmla="*/ 596 h 999"/>
                <a:gd name="T120" fmla="*/ 1283 w 1320"/>
                <a:gd name="T121" fmla="*/ 578 h 99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320"/>
                <a:gd name="T184" fmla="*/ 0 h 999"/>
                <a:gd name="T185" fmla="*/ 1320 w 1320"/>
                <a:gd name="T186" fmla="*/ 999 h 99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320" h="999">
                  <a:moveTo>
                    <a:pt x="1283" y="578"/>
                  </a:moveTo>
                  <a:cubicBezTo>
                    <a:pt x="1307" y="570"/>
                    <a:pt x="1284" y="527"/>
                    <a:pt x="1276" y="507"/>
                  </a:cubicBezTo>
                  <a:cubicBezTo>
                    <a:pt x="1272" y="500"/>
                    <a:pt x="1224" y="484"/>
                    <a:pt x="1216" y="480"/>
                  </a:cubicBezTo>
                  <a:cubicBezTo>
                    <a:pt x="1208" y="476"/>
                    <a:pt x="1192" y="464"/>
                    <a:pt x="1192" y="464"/>
                  </a:cubicBezTo>
                  <a:cubicBezTo>
                    <a:pt x="1172" y="436"/>
                    <a:pt x="1184" y="400"/>
                    <a:pt x="1188" y="368"/>
                  </a:cubicBezTo>
                  <a:cubicBezTo>
                    <a:pt x="1188" y="340"/>
                    <a:pt x="1192" y="316"/>
                    <a:pt x="1192" y="288"/>
                  </a:cubicBezTo>
                  <a:cubicBezTo>
                    <a:pt x="1200" y="164"/>
                    <a:pt x="1196" y="144"/>
                    <a:pt x="1312" y="128"/>
                  </a:cubicBezTo>
                  <a:cubicBezTo>
                    <a:pt x="1320" y="116"/>
                    <a:pt x="1292" y="56"/>
                    <a:pt x="1272" y="48"/>
                  </a:cubicBezTo>
                  <a:cubicBezTo>
                    <a:pt x="1256" y="40"/>
                    <a:pt x="1228" y="40"/>
                    <a:pt x="1216" y="40"/>
                  </a:cubicBezTo>
                  <a:cubicBezTo>
                    <a:pt x="1176" y="28"/>
                    <a:pt x="1144" y="20"/>
                    <a:pt x="1104" y="16"/>
                  </a:cubicBezTo>
                  <a:cubicBezTo>
                    <a:pt x="1084" y="8"/>
                    <a:pt x="1064" y="4"/>
                    <a:pt x="1044" y="0"/>
                  </a:cubicBezTo>
                  <a:cubicBezTo>
                    <a:pt x="996" y="4"/>
                    <a:pt x="968" y="8"/>
                    <a:pt x="924" y="24"/>
                  </a:cubicBezTo>
                  <a:cubicBezTo>
                    <a:pt x="912" y="28"/>
                    <a:pt x="900" y="44"/>
                    <a:pt x="888" y="48"/>
                  </a:cubicBezTo>
                  <a:cubicBezTo>
                    <a:pt x="852" y="56"/>
                    <a:pt x="816" y="64"/>
                    <a:pt x="784" y="80"/>
                  </a:cubicBezTo>
                  <a:cubicBezTo>
                    <a:pt x="780" y="96"/>
                    <a:pt x="772" y="104"/>
                    <a:pt x="760" y="112"/>
                  </a:cubicBezTo>
                  <a:cubicBezTo>
                    <a:pt x="752" y="128"/>
                    <a:pt x="752" y="136"/>
                    <a:pt x="736" y="140"/>
                  </a:cubicBezTo>
                  <a:cubicBezTo>
                    <a:pt x="708" y="168"/>
                    <a:pt x="720" y="156"/>
                    <a:pt x="700" y="172"/>
                  </a:cubicBezTo>
                  <a:cubicBezTo>
                    <a:pt x="688" y="208"/>
                    <a:pt x="648" y="200"/>
                    <a:pt x="612" y="224"/>
                  </a:cubicBezTo>
                  <a:cubicBezTo>
                    <a:pt x="492" y="232"/>
                    <a:pt x="336" y="264"/>
                    <a:pt x="192" y="272"/>
                  </a:cubicBezTo>
                  <a:cubicBezTo>
                    <a:pt x="72" y="264"/>
                    <a:pt x="152" y="252"/>
                    <a:pt x="96" y="196"/>
                  </a:cubicBezTo>
                  <a:cubicBezTo>
                    <a:pt x="88" y="168"/>
                    <a:pt x="80" y="172"/>
                    <a:pt x="60" y="160"/>
                  </a:cubicBezTo>
                  <a:cubicBezTo>
                    <a:pt x="48" y="191"/>
                    <a:pt x="33" y="242"/>
                    <a:pt x="16" y="244"/>
                  </a:cubicBezTo>
                  <a:cubicBezTo>
                    <a:pt x="0" y="288"/>
                    <a:pt x="27" y="326"/>
                    <a:pt x="36" y="370"/>
                  </a:cubicBezTo>
                  <a:cubicBezTo>
                    <a:pt x="39" y="397"/>
                    <a:pt x="43" y="406"/>
                    <a:pt x="51" y="410"/>
                  </a:cubicBezTo>
                  <a:cubicBezTo>
                    <a:pt x="86" y="415"/>
                    <a:pt x="108" y="424"/>
                    <a:pt x="124" y="432"/>
                  </a:cubicBezTo>
                  <a:cubicBezTo>
                    <a:pt x="136" y="448"/>
                    <a:pt x="140" y="448"/>
                    <a:pt x="156" y="460"/>
                  </a:cubicBezTo>
                  <a:cubicBezTo>
                    <a:pt x="169" y="502"/>
                    <a:pt x="142" y="523"/>
                    <a:pt x="129" y="541"/>
                  </a:cubicBezTo>
                  <a:cubicBezTo>
                    <a:pt x="115" y="557"/>
                    <a:pt x="91" y="559"/>
                    <a:pt x="84" y="571"/>
                  </a:cubicBezTo>
                  <a:cubicBezTo>
                    <a:pt x="80" y="592"/>
                    <a:pt x="80" y="583"/>
                    <a:pt x="88" y="603"/>
                  </a:cubicBezTo>
                  <a:cubicBezTo>
                    <a:pt x="92" y="626"/>
                    <a:pt x="87" y="637"/>
                    <a:pt x="86" y="662"/>
                  </a:cubicBezTo>
                  <a:cubicBezTo>
                    <a:pt x="89" y="695"/>
                    <a:pt x="86" y="715"/>
                    <a:pt x="78" y="739"/>
                  </a:cubicBezTo>
                  <a:cubicBezTo>
                    <a:pt x="84" y="755"/>
                    <a:pt x="79" y="754"/>
                    <a:pt x="93" y="764"/>
                  </a:cubicBezTo>
                  <a:cubicBezTo>
                    <a:pt x="107" y="774"/>
                    <a:pt x="139" y="787"/>
                    <a:pt x="160" y="799"/>
                  </a:cubicBezTo>
                  <a:cubicBezTo>
                    <a:pt x="183" y="817"/>
                    <a:pt x="201" y="817"/>
                    <a:pt x="216" y="835"/>
                  </a:cubicBezTo>
                  <a:cubicBezTo>
                    <a:pt x="232" y="859"/>
                    <a:pt x="245" y="878"/>
                    <a:pt x="252" y="907"/>
                  </a:cubicBezTo>
                  <a:cubicBezTo>
                    <a:pt x="248" y="943"/>
                    <a:pt x="244" y="963"/>
                    <a:pt x="248" y="999"/>
                  </a:cubicBezTo>
                  <a:cubicBezTo>
                    <a:pt x="252" y="983"/>
                    <a:pt x="269" y="977"/>
                    <a:pt x="269" y="977"/>
                  </a:cubicBezTo>
                  <a:cubicBezTo>
                    <a:pt x="311" y="961"/>
                    <a:pt x="422" y="956"/>
                    <a:pt x="438" y="956"/>
                  </a:cubicBezTo>
                  <a:cubicBezTo>
                    <a:pt x="444" y="941"/>
                    <a:pt x="447" y="931"/>
                    <a:pt x="450" y="923"/>
                  </a:cubicBezTo>
                  <a:cubicBezTo>
                    <a:pt x="477" y="911"/>
                    <a:pt x="480" y="899"/>
                    <a:pt x="500" y="878"/>
                  </a:cubicBezTo>
                  <a:cubicBezTo>
                    <a:pt x="516" y="866"/>
                    <a:pt x="516" y="869"/>
                    <a:pt x="536" y="865"/>
                  </a:cubicBezTo>
                  <a:cubicBezTo>
                    <a:pt x="568" y="869"/>
                    <a:pt x="576" y="875"/>
                    <a:pt x="600" y="887"/>
                  </a:cubicBezTo>
                  <a:cubicBezTo>
                    <a:pt x="650" y="920"/>
                    <a:pt x="668" y="907"/>
                    <a:pt x="720" y="911"/>
                  </a:cubicBezTo>
                  <a:cubicBezTo>
                    <a:pt x="753" y="911"/>
                    <a:pt x="777" y="913"/>
                    <a:pt x="819" y="898"/>
                  </a:cubicBezTo>
                  <a:cubicBezTo>
                    <a:pt x="831" y="894"/>
                    <a:pt x="848" y="881"/>
                    <a:pt x="852" y="883"/>
                  </a:cubicBezTo>
                  <a:cubicBezTo>
                    <a:pt x="869" y="859"/>
                    <a:pt x="900" y="863"/>
                    <a:pt x="928" y="855"/>
                  </a:cubicBezTo>
                  <a:cubicBezTo>
                    <a:pt x="948" y="827"/>
                    <a:pt x="931" y="802"/>
                    <a:pt x="924" y="770"/>
                  </a:cubicBezTo>
                  <a:cubicBezTo>
                    <a:pt x="904" y="753"/>
                    <a:pt x="917" y="722"/>
                    <a:pt x="917" y="722"/>
                  </a:cubicBezTo>
                  <a:cubicBezTo>
                    <a:pt x="933" y="719"/>
                    <a:pt x="925" y="718"/>
                    <a:pt x="941" y="730"/>
                  </a:cubicBezTo>
                  <a:cubicBezTo>
                    <a:pt x="951" y="745"/>
                    <a:pt x="955" y="743"/>
                    <a:pt x="965" y="749"/>
                  </a:cubicBezTo>
                  <a:cubicBezTo>
                    <a:pt x="975" y="755"/>
                    <a:pt x="1001" y="769"/>
                    <a:pt x="1002" y="767"/>
                  </a:cubicBezTo>
                  <a:cubicBezTo>
                    <a:pt x="992" y="728"/>
                    <a:pt x="973" y="745"/>
                    <a:pt x="969" y="737"/>
                  </a:cubicBezTo>
                  <a:cubicBezTo>
                    <a:pt x="965" y="729"/>
                    <a:pt x="971" y="722"/>
                    <a:pt x="975" y="716"/>
                  </a:cubicBezTo>
                  <a:cubicBezTo>
                    <a:pt x="979" y="716"/>
                    <a:pt x="988" y="701"/>
                    <a:pt x="992" y="701"/>
                  </a:cubicBezTo>
                  <a:cubicBezTo>
                    <a:pt x="996" y="697"/>
                    <a:pt x="995" y="689"/>
                    <a:pt x="995" y="685"/>
                  </a:cubicBezTo>
                  <a:cubicBezTo>
                    <a:pt x="995" y="673"/>
                    <a:pt x="1003" y="663"/>
                    <a:pt x="1007" y="655"/>
                  </a:cubicBezTo>
                  <a:cubicBezTo>
                    <a:pt x="1011" y="644"/>
                    <a:pt x="1029" y="642"/>
                    <a:pt x="1037" y="638"/>
                  </a:cubicBezTo>
                  <a:cubicBezTo>
                    <a:pt x="1065" y="620"/>
                    <a:pt x="1082" y="598"/>
                    <a:pt x="1118" y="586"/>
                  </a:cubicBezTo>
                  <a:cubicBezTo>
                    <a:pt x="1145" y="581"/>
                    <a:pt x="1157" y="602"/>
                    <a:pt x="1200" y="603"/>
                  </a:cubicBezTo>
                  <a:cubicBezTo>
                    <a:pt x="1222" y="603"/>
                    <a:pt x="1243" y="600"/>
                    <a:pt x="1257" y="596"/>
                  </a:cubicBezTo>
                  <a:cubicBezTo>
                    <a:pt x="1271" y="592"/>
                    <a:pt x="1266" y="583"/>
                    <a:pt x="1283" y="578"/>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566" name="Freeform 2529">
              <a:extLst>
                <a:ext uri="{FF2B5EF4-FFF2-40B4-BE49-F238E27FC236}">
                  <a16:creationId xmlns:a16="http://schemas.microsoft.com/office/drawing/2014/main" id="{833627FD-2DA2-5D4A-2B43-1C6B5037C75F}"/>
                </a:ext>
              </a:extLst>
            </p:cNvPr>
            <p:cNvSpPr>
              <a:spLocks noChangeAspect="1"/>
            </p:cNvSpPr>
            <p:nvPr>
              <p:custDataLst>
                <p:tags r:id="rId25"/>
              </p:custDataLst>
            </p:nvPr>
          </p:nvSpPr>
          <p:spPr bwMode="auto">
            <a:xfrm>
              <a:off x="4032114" y="4412102"/>
              <a:ext cx="136152" cy="124481"/>
            </a:xfrm>
            <a:custGeom>
              <a:avLst/>
              <a:gdLst>
                <a:gd name="T0" fmla="*/ 380 w 559"/>
                <a:gd name="T1" fmla="*/ 28 h 512"/>
                <a:gd name="T2" fmla="*/ 200 w 559"/>
                <a:gd name="T3" fmla="*/ 83 h 512"/>
                <a:gd name="T4" fmla="*/ 155 w 559"/>
                <a:gd name="T5" fmla="*/ 102 h 512"/>
                <a:gd name="T6" fmla="*/ 52 w 559"/>
                <a:gd name="T7" fmla="*/ 160 h 512"/>
                <a:gd name="T8" fmla="*/ 32 w 559"/>
                <a:gd name="T9" fmla="*/ 200 h 512"/>
                <a:gd name="T10" fmla="*/ 0 w 559"/>
                <a:gd name="T11" fmla="*/ 268 h 512"/>
                <a:gd name="T12" fmla="*/ 16 w 559"/>
                <a:gd name="T13" fmla="*/ 380 h 512"/>
                <a:gd name="T14" fmla="*/ 43 w 559"/>
                <a:gd name="T15" fmla="*/ 437 h 512"/>
                <a:gd name="T16" fmla="*/ 80 w 559"/>
                <a:gd name="T17" fmla="*/ 484 h 512"/>
                <a:gd name="T18" fmla="*/ 121 w 559"/>
                <a:gd name="T19" fmla="*/ 512 h 512"/>
                <a:gd name="T20" fmla="*/ 216 w 559"/>
                <a:gd name="T21" fmla="*/ 484 h 512"/>
                <a:gd name="T22" fmla="*/ 298 w 559"/>
                <a:gd name="T23" fmla="*/ 456 h 512"/>
                <a:gd name="T24" fmla="*/ 329 w 559"/>
                <a:gd name="T25" fmla="*/ 426 h 512"/>
                <a:gd name="T26" fmla="*/ 392 w 559"/>
                <a:gd name="T27" fmla="*/ 369 h 512"/>
                <a:gd name="T28" fmla="*/ 556 w 559"/>
                <a:gd name="T29" fmla="*/ 284 h 512"/>
                <a:gd name="T30" fmla="*/ 559 w 559"/>
                <a:gd name="T31" fmla="*/ 198 h 512"/>
                <a:gd name="T32" fmla="*/ 508 w 559"/>
                <a:gd name="T33" fmla="*/ 116 h 512"/>
                <a:gd name="T34" fmla="*/ 396 w 559"/>
                <a:gd name="T35" fmla="*/ 56 h 512"/>
                <a:gd name="T36" fmla="*/ 380 w 559"/>
                <a:gd name="T37" fmla="*/ 28 h 5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59"/>
                <a:gd name="T58" fmla="*/ 0 h 512"/>
                <a:gd name="T59" fmla="*/ 559 w 559"/>
                <a:gd name="T60" fmla="*/ 512 h 51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59" h="512">
                  <a:moveTo>
                    <a:pt x="380" y="28"/>
                  </a:moveTo>
                  <a:cubicBezTo>
                    <a:pt x="310" y="36"/>
                    <a:pt x="242" y="57"/>
                    <a:pt x="200" y="83"/>
                  </a:cubicBezTo>
                  <a:cubicBezTo>
                    <a:pt x="184" y="87"/>
                    <a:pt x="155" y="102"/>
                    <a:pt x="155" y="102"/>
                  </a:cubicBezTo>
                  <a:cubicBezTo>
                    <a:pt x="110" y="107"/>
                    <a:pt x="74" y="123"/>
                    <a:pt x="52" y="160"/>
                  </a:cubicBezTo>
                  <a:cubicBezTo>
                    <a:pt x="48" y="180"/>
                    <a:pt x="49" y="188"/>
                    <a:pt x="32" y="200"/>
                  </a:cubicBezTo>
                  <a:cubicBezTo>
                    <a:pt x="16" y="220"/>
                    <a:pt x="5" y="227"/>
                    <a:pt x="0" y="268"/>
                  </a:cubicBezTo>
                  <a:cubicBezTo>
                    <a:pt x="4" y="308"/>
                    <a:pt x="5" y="341"/>
                    <a:pt x="16" y="380"/>
                  </a:cubicBezTo>
                  <a:cubicBezTo>
                    <a:pt x="23" y="401"/>
                    <a:pt x="27" y="421"/>
                    <a:pt x="43" y="437"/>
                  </a:cubicBezTo>
                  <a:cubicBezTo>
                    <a:pt x="51" y="457"/>
                    <a:pt x="76" y="467"/>
                    <a:pt x="80" y="484"/>
                  </a:cubicBezTo>
                  <a:cubicBezTo>
                    <a:pt x="94" y="494"/>
                    <a:pt x="101" y="491"/>
                    <a:pt x="121" y="512"/>
                  </a:cubicBezTo>
                  <a:cubicBezTo>
                    <a:pt x="154" y="503"/>
                    <a:pt x="184" y="492"/>
                    <a:pt x="216" y="484"/>
                  </a:cubicBezTo>
                  <a:cubicBezTo>
                    <a:pt x="248" y="477"/>
                    <a:pt x="275" y="468"/>
                    <a:pt x="298" y="456"/>
                  </a:cubicBezTo>
                  <a:cubicBezTo>
                    <a:pt x="313" y="447"/>
                    <a:pt x="317" y="440"/>
                    <a:pt x="329" y="426"/>
                  </a:cubicBezTo>
                  <a:cubicBezTo>
                    <a:pt x="356" y="395"/>
                    <a:pt x="352" y="397"/>
                    <a:pt x="392" y="369"/>
                  </a:cubicBezTo>
                  <a:cubicBezTo>
                    <a:pt x="433" y="360"/>
                    <a:pt x="542" y="398"/>
                    <a:pt x="556" y="284"/>
                  </a:cubicBezTo>
                  <a:cubicBezTo>
                    <a:pt x="555" y="257"/>
                    <a:pt x="557" y="233"/>
                    <a:pt x="559" y="198"/>
                  </a:cubicBezTo>
                  <a:cubicBezTo>
                    <a:pt x="552" y="166"/>
                    <a:pt x="535" y="140"/>
                    <a:pt x="508" y="116"/>
                  </a:cubicBezTo>
                  <a:cubicBezTo>
                    <a:pt x="464" y="92"/>
                    <a:pt x="432" y="68"/>
                    <a:pt x="396" y="56"/>
                  </a:cubicBezTo>
                  <a:cubicBezTo>
                    <a:pt x="392" y="48"/>
                    <a:pt x="380" y="0"/>
                    <a:pt x="380" y="28"/>
                  </a:cubicBezTo>
                  <a:close/>
                </a:path>
              </a:pathLst>
            </a:custGeom>
            <a:solidFill>
              <a:schemeClr val="accent2"/>
            </a:solidFill>
            <a:ln w="3175">
              <a:solidFill>
                <a:schemeClr val="accent2"/>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567" name="Freeform 2530">
              <a:extLst>
                <a:ext uri="{FF2B5EF4-FFF2-40B4-BE49-F238E27FC236}">
                  <a16:creationId xmlns:a16="http://schemas.microsoft.com/office/drawing/2014/main" id="{0B9EFEB1-1F91-CDCC-C399-C67F0560140E}"/>
                </a:ext>
              </a:extLst>
            </p:cNvPr>
            <p:cNvSpPr>
              <a:spLocks noChangeAspect="1"/>
            </p:cNvSpPr>
            <p:nvPr>
              <p:custDataLst>
                <p:tags r:id="rId26"/>
              </p:custDataLst>
            </p:nvPr>
          </p:nvSpPr>
          <p:spPr bwMode="auto">
            <a:xfrm>
              <a:off x="3964039" y="4415993"/>
              <a:ext cx="112811" cy="223677"/>
            </a:xfrm>
            <a:custGeom>
              <a:avLst/>
              <a:gdLst>
                <a:gd name="T0" fmla="*/ 76 w 116"/>
                <a:gd name="T1" fmla="*/ 47 h 230"/>
                <a:gd name="T2" fmla="*/ 72 w 116"/>
                <a:gd name="T3" fmla="*/ 34 h 230"/>
                <a:gd name="T4" fmla="*/ 68 w 116"/>
                <a:gd name="T5" fmla="*/ 23 h 230"/>
                <a:gd name="T6" fmla="*/ 54 w 116"/>
                <a:gd name="T7" fmla="*/ 20 h 230"/>
                <a:gd name="T8" fmla="*/ 46 w 116"/>
                <a:gd name="T9" fmla="*/ 13 h 230"/>
                <a:gd name="T10" fmla="*/ 39 w 116"/>
                <a:gd name="T11" fmla="*/ 5 h 230"/>
                <a:gd name="T12" fmla="*/ 30 w 116"/>
                <a:gd name="T13" fmla="*/ 10 h 230"/>
                <a:gd name="T14" fmla="*/ 21 w 116"/>
                <a:gd name="T15" fmla="*/ 0 h 230"/>
                <a:gd name="T16" fmla="*/ 8 w 116"/>
                <a:gd name="T17" fmla="*/ 19 h 230"/>
                <a:gd name="T18" fmla="*/ 2 w 116"/>
                <a:gd name="T19" fmla="*/ 32 h 230"/>
                <a:gd name="T20" fmla="*/ 4 w 116"/>
                <a:gd name="T21" fmla="*/ 37 h 230"/>
                <a:gd name="T22" fmla="*/ 9 w 116"/>
                <a:gd name="T23" fmla="*/ 48 h 230"/>
                <a:gd name="T24" fmla="*/ 22 w 116"/>
                <a:gd name="T25" fmla="*/ 69 h 230"/>
                <a:gd name="T26" fmla="*/ 20 w 116"/>
                <a:gd name="T27" fmla="*/ 78 h 230"/>
                <a:gd name="T28" fmla="*/ 26 w 116"/>
                <a:gd name="T29" fmla="*/ 161 h 230"/>
                <a:gd name="T30" fmla="*/ 36 w 116"/>
                <a:gd name="T31" fmla="*/ 187 h 230"/>
                <a:gd name="T32" fmla="*/ 55 w 116"/>
                <a:gd name="T33" fmla="*/ 193 h 230"/>
                <a:gd name="T34" fmla="*/ 63 w 116"/>
                <a:gd name="T35" fmla="*/ 199 h 230"/>
                <a:gd name="T36" fmla="*/ 82 w 116"/>
                <a:gd name="T37" fmla="*/ 230 h 230"/>
                <a:gd name="T38" fmla="*/ 81 w 116"/>
                <a:gd name="T39" fmla="*/ 202 h 230"/>
                <a:gd name="T40" fmla="*/ 95 w 116"/>
                <a:gd name="T41" fmla="*/ 180 h 230"/>
                <a:gd name="T42" fmla="*/ 99 w 116"/>
                <a:gd name="T43" fmla="*/ 161 h 230"/>
                <a:gd name="T44" fmla="*/ 108 w 116"/>
                <a:gd name="T45" fmla="*/ 150 h 230"/>
                <a:gd name="T46" fmla="*/ 109 w 116"/>
                <a:gd name="T47" fmla="*/ 136 h 230"/>
                <a:gd name="T48" fmla="*/ 105 w 116"/>
                <a:gd name="T49" fmla="*/ 126 h 230"/>
                <a:gd name="T50" fmla="*/ 100 w 116"/>
                <a:gd name="T51" fmla="*/ 124 h 230"/>
                <a:gd name="T52" fmla="*/ 91 w 116"/>
                <a:gd name="T53" fmla="*/ 117 h 230"/>
                <a:gd name="T54" fmla="*/ 81 w 116"/>
                <a:gd name="T55" fmla="*/ 106 h 230"/>
                <a:gd name="T56" fmla="*/ 72 w 116"/>
                <a:gd name="T57" fmla="*/ 84 h 230"/>
                <a:gd name="T58" fmla="*/ 70 w 116"/>
                <a:gd name="T59" fmla="*/ 61 h 230"/>
                <a:gd name="T60" fmla="*/ 76 w 116"/>
                <a:gd name="T61" fmla="*/ 47 h 23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6"/>
                <a:gd name="T94" fmla="*/ 0 h 230"/>
                <a:gd name="T95" fmla="*/ 116 w 116"/>
                <a:gd name="T96" fmla="*/ 230 h 23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6" h="230">
                  <a:moveTo>
                    <a:pt x="76" y="47"/>
                  </a:moveTo>
                  <a:cubicBezTo>
                    <a:pt x="73" y="47"/>
                    <a:pt x="70" y="39"/>
                    <a:pt x="72" y="34"/>
                  </a:cubicBezTo>
                  <a:cubicBezTo>
                    <a:pt x="71" y="30"/>
                    <a:pt x="69" y="26"/>
                    <a:pt x="68" y="23"/>
                  </a:cubicBezTo>
                  <a:cubicBezTo>
                    <a:pt x="64" y="21"/>
                    <a:pt x="59" y="23"/>
                    <a:pt x="54" y="20"/>
                  </a:cubicBezTo>
                  <a:cubicBezTo>
                    <a:pt x="48" y="17"/>
                    <a:pt x="47" y="14"/>
                    <a:pt x="46" y="13"/>
                  </a:cubicBezTo>
                  <a:cubicBezTo>
                    <a:pt x="43" y="11"/>
                    <a:pt x="41" y="5"/>
                    <a:pt x="39" y="5"/>
                  </a:cubicBezTo>
                  <a:cubicBezTo>
                    <a:pt x="37" y="8"/>
                    <a:pt x="34" y="9"/>
                    <a:pt x="30" y="10"/>
                  </a:cubicBezTo>
                  <a:cubicBezTo>
                    <a:pt x="23" y="8"/>
                    <a:pt x="25" y="5"/>
                    <a:pt x="21" y="0"/>
                  </a:cubicBezTo>
                  <a:cubicBezTo>
                    <a:pt x="13" y="6"/>
                    <a:pt x="10" y="14"/>
                    <a:pt x="8" y="19"/>
                  </a:cubicBezTo>
                  <a:cubicBezTo>
                    <a:pt x="6" y="26"/>
                    <a:pt x="4" y="28"/>
                    <a:pt x="2" y="32"/>
                  </a:cubicBezTo>
                  <a:cubicBezTo>
                    <a:pt x="0" y="37"/>
                    <a:pt x="1" y="34"/>
                    <a:pt x="4" y="37"/>
                  </a:cubicBezTo>
                  <a:cubicBezTo>
                    <a:pt x="6" y="41"/>
                    <a:pt x="7" y="44"/>
                    <a:pt x="9" y="48"/>
                  </a:cubicBezTo>
                  <a:cubicBezTo>
                    <a:pt x="10" y="57"/>
                    <a:pt x="13" y="65"/>
                    <a:pt x="22" y="69"/>
                  </a:cubicBezTo>
                  <a:cubicBezTo>
                    <a:pt x="23" y="73"/>
                    <a:pt x="22" y="74"/>
                    <a:pt x="20" y="78"/>
                  </a:cubicBezTo>
                  <a:cubicBezTo>
                    <a:pt x="17" y="88"/>
                    <a:pt x="22" y="159"/>
                    <a:pt x="26" y="161"/>
                  </a:cubicBezTo>
                  <a:cubicBezTo>
                    <a:pt x="30" y="169"/>
                    <a:pt x="33" y="179"/>
                    <a:pt x="36" y="187"/>
                  </a:cubicBezTo>
                  <a:cubicBezTo>
                    <a:pt x="37" y="191"/>
                    <a:pt x="51" y="192"/>
                    <a:pt x="55" y="193"/>
                  </a:cubicBezTo>
                  <a:cubicBezTo>
                    <a:pt x="58" y="195"/>
                    <a:pt x="59" y="198"/>
                    <a:pt x="63" y="199"/>
                  </a:cubicBezTo>
                  <a:cubicBezTo>
                    <a:pt x="69" y="209"/>
                    <a:pt x="77" y="221"/>
                    <a:pt x="82" y="230"/>
                  </a:cubicBezTo>
                  <a:cubicBezTo>
                    <a:pt x="85" y="224"/>
                    <a:pt x="81" y="210"/>
                    <a:pt x="81" y="202"/>
                  </a:cubicBezTo>
                  <a:cubicBezTo>
                    <a:pt x="83" y="194"/>
                    <a:pt x="72" y="187"/>
                    <a:pt x="95" y="180"/>
                  </a:cubicBezTo>
                  <a:cubicBezTo>
                    <a:pt x="98" y="174"/>
                    <a:pt x="101" y="169"/>
                    <a:pt x="99" y="161"/>
                  </a:cubicBezTo>
                  <a:cubicBezTo>
                    <a:pt x="95" y="154"/>
                    <a:pt x="100" y="153"/>
                    <a:pt x="108" y="150"/>
                  </a:cubicBezTo>
                  <a:cubicBezTo>
                    <a:pt x="116" y="152"/>
                    <a:pt x="113" y="145"/>
                    <a:pt x="109" y="136"/>
                  </a:cubicBezTo>
                  <a:cubicBezTo>
                    <a:pt x="107" y="133"/>
                    <a:pt x="107" y="129"/>
                    <a:pt x="105" y="126"/>
                  </a:cubicBezTo>
                  <a:cubicBezTo>
                    <a:pt x="104" y="124"/>
                    <a:pt x="100" y="124"/>
                    <a:pt x="100" y="124"/>
                  </a:cubicBezTo>
                  <a:cubicBezTo>
                    <a:pt x="97" y="121"/>
                    <a:pt x="91" y="117"/>
                    <a:pt x="91" y="117"/>
                  </a:cubicBezTo>
                  <a:cubicBezTo>
                    <a:pt x="88" y="113"/>
                    <a:pt x="85" y="109"/>
                    <a:pt x="81" y="106"/>
                  </a:cubicBezTo>
                  <a:cubicBezTo>
                    <a:pt x="78" y="101"/>
                    <a:pt x="73" y="94"/>
                    <a:pt x="72" y="84"/>
                  </a:cubicBezTo>
                  <a:cubicBezTo>
                    <a:pt x="71" y="76"/>
                    <a:pt x="70" y="66"/>
                    <a:pt x="70" y="61"/>
                  </a:cubicBezTo>
                  <a:cubicBezTo>
                    <a:pt x="71" y="55"/>
                    <a:pt x="75" y="49"/>
                    <a:pt x="76" y="47"/>
                  </a:cubicBezTo>
                  <a:close/>
                </a:path>
              </a:pathLst>
            </a:custGeom>
            <a:solidFill>
              <a:schemeClr val="accent2"/>
            </a:solidFill>
            <a:ln w="3175">
              <a:solidFill>
                <a:schemeClr val="accent2"/>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568" name="Group 2531">
              <a:extLst>
                <a:ext uri="{FF2B5EF4-FFF2-40B4-BE49-F238E27FC236}">
                  <a16:creationId xmlns:a16="http://schemas.microsoft.com/office/drawing/2014/main" id="{21F158C3-A61B-D8BF-F9B2-7250E9132771}"/>
                </a:ext>
              </a:extLst>
            </p:cNvPr>
            <p:cNvGrpSpPr>
              <a:grpSpLocks/>
            </p:cNvGrpSpPr>
            <p:nvPr>
              <p:custDataLst>
                <p:tags r:id="rId27"/>
              </p:custDataLst>
            </p:nvPr>
          </p:nvGrpSpPr>
          <p:grpSpPr bwMode="auto">
            <a:xfrm>
              <a:off x="4329706" y="4376215"/>
              <a:ext cx="166337" cy="163202"/>
              <a:chOff x="6214" y="7863"/>
              <a:chExt cx="684" cy="671"/>
            </a:xfrm>
          </p:grpSpPr>
          <p:sp>
            <p:nvSpPr>
              <p:cNvPr id="169" name="Freeform 2533">
                <a:extLst>
                  <a:ext uri="{FF2B5EF4-FFF2-40B4-BE49-F238E27FC236}">
                    <a16:creationId xmlns:a16="http://schemas.microsoft.com/office/drawing/2014/main" id="{ED276F7E-44D9-1499-27C6-5CC437171C1B}"/>
                  </a:ext>
                </a:extLst>
              </p:cNvPr>
              <p:cNvSpPr>
                <a:spLocks noChangeAspect="1"/>
              </p:cNvSpPr>
              <p:nvPr/>
            </p:nvSpPr>
            <p:spPr bwMode="auto">
              <a:xfrm>
                <a:off x="6214" y="8466"/>
                <a:ext cx="64" cy="68"/>
              </a:xfrm>
              <a:custGeom>
                <a:avLst/>
                <a:gdLst>
                  <a:gd name="T0" fmla="*/ 13 w 16"/>
                  <a:gd name="T1" fmla="*/ 3 h 17"/>
                  <a:gd name="T2" fmla="*/ 3 w 16"/>
                  <a:gd name="T3" fmla="*/ 8 h 17"/>
                  <a:gd name="T4" fmla="*/ 2 w 16"/>
                  <a:gd name="T5" fmla="*/ 17 h 17"/>
                  <a:gd name="T6" fmla="*/ 12 w 16"/>
                  <a:gd name="T7" fmla="*/ 13 h 17"/>
                  <a:gd name="T8" fmla="*/ 13 w 16"/>
                  <a:gd name="T9" fmla="*/ 3 h 17"/>
                  <a:gd name="T10" fmla="*/ 0 60000 65536"/>
                  <a:gd name="T11" fmla="*/ 0 60000 65536"/>
                  <a:gd name="T12" fmla="*/ 0 60000 65536"/>
                  <a:gd name="T13" fmla="*/ 0 60000 65536"/>
                  <a:gd name="T14" fmla="*/ 0 60000 65536"/>
                  <a:gd name="T15" fmla="*/ 0 w 16"/>
                  <a:gd name="T16" fmla="*/ 0 h 17"/>
                  <a:gd name="T17" fmla="*/ 16 w 16"/>
                  <a:gd name="T18" fmla="*/ 17 h 17"/>
                </a:gdLst>
                <a:ahLst/>
                <a:cxnLst>
                  <a:cxn ang="T10">
                    <a:pos x="T0" y="T1"/>
                  </a:cxn>
                  <a:cxn ang="T11">
                    <a:pos x="T2" y="T3"/>
                  </a:cxn>
                  <a:cxn ang="T12">
                    <a:pos x="T4" y="T5"/>
                  </a:cxn>
                  <a:cxn ang="T13">
                    <a:pos x="T6" y="T7"/>
                  </a:cxn>
                  <a:cxn ang="T14">
                    <a:pos x="T8" y="T9"/>
                  </a:cxn>
                </a:cxnLst>
                <a:rect l="T15" t="T16" r="T17" b="T18"/>
                <a:pathLst>
                  <a:path w="16" h="17">
                    <a:moveTo>
                      <a:pt x="13" y="3"/>
                    </a:moveTo>
                    <a:cubicBezTo>
                      <a:pt x="10" y="5"/>
                      <a:pt x="7" y="7"/>
                      <a:pt x="3" y="8"/>
                    </a:cubicBezTo>
                    <a:cubicBezTo>
                      <a:pt x="1" y="15"/>
                      <a:pt x="0" y="12"/>
                      <a:pt x="2" y="17"/>
                    </a:cubicBezTo>
                    <a:cubicBezTo>
                      <a:pt x="6" y="16"/>
                      <a:pt x="8" y="14"/>
                      <a:pt x="12" y="13"/>
                    </a:cubicBezTo>
                    <a:cubicBezTo>
                      <a:pt x="13" y="11"/>
                      <a:pt x="16" y="0"/>
                      <a:pt x="13" y="3"/>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70" name="Freeform 2534">
                <a:extLst>
                  <a:ext uri="{FF2B5EF4-FFF2-40B4-BE49-F238E27FC236}">
                    <a16:creationId xmlns:a16="http://schemas.microsoft.com/office/drawing/2014/main" id="{D6C17DA6-385E-4BB2-2B30-5CC7D73B6A77}"/>
                  </a:ext>
                </a:extLst>
              </p:cNvPr>
              <p:cNvSpPr>
                <a:spLocks noChangeAspect="1"/>
              </p:cNvSpPr>
              <p:nvPr/>
            </p:nvSpPr>
            <p:spPr bwMode="auto">
              <a:xfrm>
                <a:off x="6258" y="7863"/>
                <a:ext cx="640" cy="623"/>
              </a:xfrm>
              <a:custGeom>
                <a:avLst/>
                <a:gdLst>
                  <a:gd name="T0" fmla="*/ 340 w 640"/>
                  <a:gd name="T1" fmla="*/ 20 h 623"/>
                  <a:gd name="T2" fmla="*/ 384 w 640"/>
                  <a:gd name="T3" fmla="*/ 92 h 623"/>
                  <a:gd name="T4" fmla="*/ 468 w 640"/>
                  <a:gd name="T5" fmla="*/ 140 h 623"/>
                  <a:gd name="T6" fmla="*/ 604 w 640"/>
                  <a:gd name="T7" fmla="*/ 156 h 623"/>
                  <a:gd name="T8" fmla="*/ 588 w 640"/>
                  <a:gd name="T9" fmla="*/ 248 h 623"/>
                  <a:gd name="T10" fmla="*/ 516 w 640"/>
                  <a:gd name="T11" fmla="*/ 252 h 623"/>
                  <a:gd name="T12" fmla="*/ 472 w 640"/>
                  <a:gd name="T13" fmla="*/ 264 h 623"/>
                  <a:gd name="T14" fmla="*/ 388 w 640"/>
                  <a:gd name="T15" fmla="*/ 284 h 623"/>
                  <a:gd name="T16" fmla="*/ 324 w 640"/>
                  <a:gd name="T17" fmla="*/ 312 h 623"/>
                  <a:gd name="T18" fmla="*/ 280 w 640"/>
                  <a:gd name="T19" fmla="*/ 395 h 623"/>
                  <a:gd name="T20" fmla="*/ 208 w 640"/>
                  <a:gd name="T21" fmla="*/ 451 h 623"/>
                  <a:gd name="T22" fmla="*/ 160 w 640"/>
                  <a:gd name="T23" fmla="*/ 519 h 623"/>
                  <a:gd name="T24" fmla="*/ 84 w 640"/>
                  <a:gd name="T25" fmla="*/ 591 h 623"/>
                  <a:gd name="T26" fmla="*/ 56 w 640"/>
                  <a:gd name="T27" fmla="*/ 599 h 623"/>
                  <a:gd name="T28" fmla="*/ 100 w 640"/>
                  <a:gd name="T29" fmla="*/ 519 h 623"/>
                  <a:gd name="T30" fmla="*/ 124 w 640"/>
                  <a:gd name="T31" fmla="*/ 487 h 623"/>
                  <a:gd name="T32" fmla="*/ 72 w 640"/>
                  <a:gd name="T33" fmla="*/ 491 h 623"/>
                  <a:gd name="T34" fmla="*/ 0 w 640"/>
                  <a:gd name="T35" fmla="*/ 475 h 623"/>
                  <a:gd name="T36" fmla="*/ 28 w 640"/>
                  <a:gd name="T37" fmla="*/ 439 h 623"/>
                  <a:gd name="T38" fmla="*/ 48 w 640"/>
                  <a:gd name="T39" fmla="*/ 384 h 623"/>
                  <a:gd name="T40" fmla="*/ 38 w 640"/>
                  <a:gd name="T41" fmla="*/ 342 h 623"/>
                  <a:gd name="T42" fmla="*/ 81 w 640"/>
                  <a:gd name="T43" fmla="*/ 254 h 623"/>
                  <a:gd name="T44" fmla="*/ 42 w 640"/>
                  <a:gd name="T45" fmla="*/ 209 h 623"/>
                  <a:gd name="T46" fmla="*/ 4 w 640"/>
                  <a:gd name="T47" fmla="*/ 176 h 623"/>
                  <a:gd name="T48" fmla="*/ 28 w 640"/>
                  <a:gd name="T49" fmla="*/ 144 h 623"/>
                  <a:gd name="T50" fmla="*/ 48 w 640"/>
                  <a:gd name="T51" fmla="*/ 88 h 623"/>
                  <a:gd name="T52" fmla="*/ 72 w 640"/>
                  <a:gd name="T53" fmla="*/ 80 h 623"/>
                  <a:gd name="T54" fmla="*/ 156 w 640"/>
                  <a:gd name="T55" fmla="*/ 24 h 623"/>
                  <a:gd name="T56" fmla="*/ 216 w 640"/>
                  <a:gd name="T57" fmla="*/ 40 h 623"/>
                  <a:gd name="T58" fmla="*/ 296 w 640"/>
                  <a:gd name="T59" fmla="*/ 36 h 623"/>
                  <a:gd name="T60" fmla="*/ 340 w 640"/>
                  <a:gd name="T61" fmla="*/ 20 h 62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640"/>
                  <a:gd name="T94" fmla="*/ 0 h 623"/>
                  <a:gd name="T95" fmla="*/ 640 w 640"/>
                  <a:gd name="T96" fmla="*/ 623 h 62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640" h="623">
                    <a:moveTo>
                      <a:pt x="340" y="20"/>
                    </a:moveTo>
                    <a:cubicBezTo>
                      <a:pt x="352" y="56"/>
                      <a:pt x="352" y="72"/>
                      <a:pt x="384" y="92"/>
                    </a:cubicBezTo>
                    <a:cubicBezTo>
                      <a:pt x="400" y="136"/>
                      <a:pt x="424" y="136"/>
                      <a:pt x="468" y="140"/>
                    </a:cubicBezTo>
                    <a:cubicBezTo>
                      <a:pt x="512" y="148"/>
                      <a:pt x="604" y="156"/>
                      <a:pt x="604" y="156"/>
                    </a:cubicBezTo>
                    <a:cubicBezTo>
                      <a:pt x="640" y="168"/>
                      <a:pt x="616" y="244"/>
                      <a:pt x="588" y="248"/>
                    </a:cubicBezTo>
                    <a:cubicBezTo>
                      <a:pt x="564" y="252"/>
                      <a:pt x="540" y="252"/>
                      <a:pt x="516" y="252"/>
                    </a:cubicBezTo>
                    <a:cubicBezTo>
                      <a:pt x="500" y="256"/>
                      <a:pt x="472" y="264"/>
                      <a:pt x="472" y="264"/>
                    </a:cubicBezTo>
                    <a:cubicBezTo>
                      <a:pt x="444" y="284"/>
                      <a:pt x="424" y="280"/>
                      <a:pt x="388" y="284"/>
                    </a:cubicBezTo>
                    <a:cubicBezTo>
                      <a:pt x="368" y="292"/>
                      <a:pt x="344" y="300"/>
                      <a:pt x="324" y="312"/>
                    </a:cubicBezTo>
                    <a:cubicBezTo>
                      <a:pt x="316" y="339"/>
                      <a:pt x="312" y="383"/>
                      <a:pt x="280" y="395"/>
                    </a:cubicBezTo>
                    <a:cubicBezTo>
                      <a:pt x="264" y="415"/>
                      <a:pt x="232" y="443"/>
                      <a:pt x="208" y="451"/>
                    </a:cubicBezTo>
                    <a:cubicBezTo>
                      <a:pt x="196" y="471"/>
                      <a:pt x="180" y="507"/>
                      <a:pt x="160" y="519"/>
                    </a:cubicBezTo>
                    <a:cubicBezTo>
                      <a:pt x="152" y="535"/>
                      <a:pt x="104" y="583"/>
                      <a:pt x="84" y="591"/>
                    </a:cubicBezTo>
                    <a:cubicBezTo>
                      <a:pt x="80" y="615"/>
                      <a:pt x="68" y="623"/>
                      <a:pt x="56" y="599"/>
                    </a:cubicBezTo>
                    <a:cubicBezTo>
                      <a:pt x="64" y="579"/>
                      <a:pt x="80" y="531"/>
                      <a:pt x="100" y="519"/>
                    </a:cubicBezTo>
                    <a:cubicBezTo>
                      <a:pt x="108" y="499"/>
                      <a:pt x="120" y="503"/>
                      <a:pt x="124" y="487"/>
                    </a:cubicBezTo>
                    <a:cubicBezTo>
                      <a:pt x="116" y="447"/>
                      <a:pt x="96" y="483"/>
                      <a:pt x="72" y="491"/>
                    </a:cubicBezTo>
                    <a:cubicBezTo>
                      <a:pt x="40" y="487"/>
                      <a:pt x="28" y="479"/>
                      <a:pt x="0" y="475"/>
                    </a:cubicBezTo>
                    <a:cubicBezTo>
                      <a:pt x="12" y="463"/>
                      <a:pt x="16" y="451"/>
                      <a:pt x="28" y="439"/>
                    </a:cubicBezTo>
                    <a:cubicBezTo>
                      <a:pt x="32" y="423"/>
                      <a:pt x="44" y="400"/>
                      <a:pt x="48" y="384"/>
                    </a:cubicBezTo>
                    <a:cubicBezTo>
                      <a:pt x="44" y="364"/>
                      <a:pt x="46" y="362"/>
                      <a:pt x="38" y="342"/>
                    </a:cubicBezTo>
                    <a:cubicBezTo>
                      <a:pt x="42" y="303"/>
                      <a:pt x="59" y="275"/>
                      <a:pt x="81" y="254"/>
                    </a:cubicBezTo>
                    <a:cubicBezTo>
                      <a:pt x="83" y="232"/>
                      <a:pt x="55" y="222"/>
                      <a:pt x="42" y="209"/>
                    </a:cubicBezTo>
                    <a:cubicBezTo>
                      <a:pt x="38" y="194"/>
                      <a:pt x="42" y="183"/>
                      <a:pt x="4" y="176"/>
                    </a:cubicBezTo>
                    <a:cubicBezTo>
                      <a:pt x="8" y="160"/>
                      <a:pt x="16" y="152"/>
                      <a:pt x="28" y="144"/>
                    </a:cubicBezTo>
                    <a:cubicBezTo>
                      <a:pt x="36" y="128"/>
                      <a:pt x="40" y="100"/>
                      <a:pt x="48" y="88"/>
                    </a:cubicBezTo>
                    <a:cubicBezTo>
                      <a:pt x="52" y="80"/>
                      <a:pt x="64" y="84"/>
                      <a:pt x="72" y="80"/>
                    </a:cubicBezTo>
                    <a:cubicBezTo>
                      <a:pt x="100" y="60"/>
                      <a:pt x="128" y="44"/>
                      <a:pt x="156" y="24"/>
                    </a:cubicBezTo>
                    <a:cubicBezTo>
                      <a:pt x="176" y="28"/>
                      <a:pt x="216" y="40"/>
                      <a:pt x="216" y="40"/>
                    </a:cubicBezTo>
                    <a:cubicBezTo>
                      <a:pt x="236" y="56"/>
                      <a:pt x="272" y="36"/>
                      <a:pt x="296" y="36"/>
                    </a:cubicBezTo>
                    <a:cubicBezTo>
                      <a:pt x="300" y="32"/>
                      <a:pt x="340" y="0"/>
                      <a:pt x="340" y="20"/>
                    </a:cubicBezTo>
                    <a:close/>
                  </a:path>
                </a:pathLst>
              </a:custGeom>
              <a:solidFill>
                <a:schemeClr val="accent6"/>
              </a:solidFill>
              <a:ln w="3175">
                <a:solidFill>
                  <a:schemeClr val="accent6"/>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569" name="Freeform 2535">
              <a:extLst>
                <a:ext uri="{FF2B5EF4-FFF2-40B4-BE49-F238E27FC236}">
                  <a16:creationId xmlns:a16="http://schemas.microsoft.com/office/drawing/2014/main" id="{C240ECF5-453E-2D1E-660C-C25AE61CC5D9}"/>
                </a:ext>
              </a:extLst>
            </p:cNvPr>
            <p:cNvSpPr>
              <a:spLocks noChangeAspect="1"/>
            </p:cNvSpPr>
            <p:nvPr>
              <p:custDataLst>
                <p:tags r:id="rId28"/>
              </p:custDataLst>
            </p:nvPr>
          </p:nvSpPr>
          <p:spPr bwMode="auto">
            <a:xfrm>
              <a:off x="3760785" y="4247748"/>
              <a:ext cx="203255" cy="183805"/>
            </a:xfrm>
            <a:custGeom>
              <a:avLst/>
              <a:gdLst>
                <a:gd name="T0" fmla="*/ 177 w 209"/>
                <a:gd name="T1" fmla="*/ 6 h 189"/>
                <a:gd name="T2" fmla="*/ 168 w 209"/>
                <a:gd name="T3" fmla="*/ 19 h 189"/>
                <a:gd name="T4" fmla="*/ 154 w 209"/>
                <a:gd name="T5" fmla="*/ 5 h 189"/>
                <a:gd name="T6" fmla="*/ 132 w 209"/>
                <a:gd name="T7" fmla="*/ 3 h 189"/>
                <a:gd name="T8" fmla="*/ 102 w 209"/>
                <a:gd name="T9" fmla="*/ 7 h 189"/>
                <a:gd name="T10" fmla="*/ 80 w 209"/>
                <a:gd name="T11" fmla="*/ 9 h 189"/>
                <a:gd name="T12" fmla="*/ 65 w 209"/>
                <a:gd name="T13" fmla="*/ 5 h 189"/>
                <a:gd name="T14" fmla="*/ 43 w 209"/>
                <a:gd name="T15" fmla="*/ 9 h 189"/>
                <a:gd name="T16" fmla="*/ 33 w 209"/>
                <a:gd name="T17" fmla="*/ 16 h 189"/>
                <a:gd name="T18" fmla="*/ 23 w 209"/>
                <a:gd name="T19" fmla="*/ 17 h 189"/>
                <a:gd name="T20" fmla="*/ 18 w 209"/>
                <a:gd name="T21" fmla="*/ 14 h 189"/>
                <a:gd name="T22" fmla="*/ 3 w 209"/>
                <a:gd name="T23" fmla="*/ 6 h 189"/>
                <a:gd name="T24" fmla="*/ 0 w 209"/>
                <a:gd name="T25" fmla="*/ 21 h 189"/>
                <a:gd name="T26" fmla="*/ 4 w 209"/>
                <a:gd name="T27" fmla="*/ 39 h 189"/>
                <a:gd name="T28" fmla="*/ 16 w 209"/>
                <a:gd name="T29" fmla="*/ 48 h 189"/>
                <a:gd name="T30" fmla="*/ 29 w 209"/>
                <a:gd name="T31" fmla="*/ 67 h 189"/>
                <a:gd name="T32" fmla="*/ 38 w 209"/>
                <a:gd name="T33" fmla="*/ 84 h 189"/>
                <a:gd name="T34" fmla="*/ 57 w 209"/>
                <a:gd name="T35" fmla="*/ 102 h 189"/>
                <a:gd name="T36" fmla="*/ 69 w 209"/>
                <a:gd name="T37" fmla="*/ 112 h 189"/>
                <a:gd name="T38" fmla="*/ 75 w 209"/>
                <a:gd name="T39" fmla="*/ 116 h 189"/>
                <a:gd name="T40" fmla="*/ 83 w 209"/>
                <a:gd name="T41" fmla="*/ 126 h 189"/>
                <a:gd name="T42" fmla="*/ 91 w 209"/>
                <a:gd name="T43" fmla="*/ 135 h 189"/>
                <a:gd name="T44" fmla="*/ 105 w 209"/>
                <a:gd name="T45" fmla="*/ 152 h 189"/>
                <a:gd name="T46" fmla="*/ 119 w 209"/>
                <a:gd name="T47" fmla="*/ 163 h 189"/>
                <a:gd name="T48" fmla="*/ 132 w 209"/>
                <a:gd name="T49" fmla="*/ 175 h 189"/>
                <a:gd name="T50" fmla="*/ 148 w 209"/>
                <a:gd name="T51" fmla="*/ 182 h 189"/>
                <a:gd name="T52" fmla="*/ 158 w 209"/>
                <a:gd name="T53" fmla="*/ 189 h 189"/>
                <a:gd name="T54" fmla="*/ 158 w 209"/>
                <a:gd name="T55" fmla="*/ 169 h 189"/>
                <a:gd name="T56" fmla="*/ 161 w 209"/>
                <a:gd name="T57" fmla="*/ 158 h 189"/>
                <a:gd name="T58" fmla="*/ 166 w 209"/>
                <a:gd name="T59" fmla="*/ 142 h 189"/>
                <a:gd name="T60" fmla="*/ 185 w 209"/>
                <a:gd name="T61" fmla="*/ 131 h 189"/>
                <a:gd name="T62" fmla="*/ 184 w 209"/>
                <a:gd name="T63" fmla="*/ 121 h 189"/>
                <a:gd name="T64" fmla="*/ 189 w 209"/>
                <a:gd name="T65" fmla="*/ 110 h 189"/>
                <a:gd name="T66" fmla="*/ 206 w 209"/>
                <a:gd name="T67" fmla="*/ 111 h 189"/>
                <a:gd name="T68" fmla="*/ 206 w 209"/>
                <a:gd name="T69" fmla="*/ 98 h 189"/>
                <a:gd name="T70" fmla="*/ 192 w 209"/>
                <a:gd name="T71" fmla="*/ 82 h 189"/>
                <a:gd name="T72" fmla="*/ 208 w 209"/>
                <a:gd name="T73" fmla="*/ 77 h 189"/>
                <a:gd name="T74" fmla="*/ 197 w 209"/>
                <a:gd name="T75" fmla="*/ 68 h 189"/>
                <a:gd name="T76" fmla="*/ 190 w 209"/>
                <a:gd name="T77" fmla="*/ 60 h 189"/>
                <a:gd name="T78" fmla="*/ 183 w 209"/>
                <a:gd name="T79" fmla="*/ 50 h 189"/>
                <a:gd name="T80" fmla="*/ 184 w 209"/>
                <a:gd name="T81" fmla="*/ 24 h 189"/>
                <a:gd name="T82" fmla="*/ 177 w 209"/>
                <a:gd name="T83" fmla="*/ 6 h 18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09"/>
                <a:gd name="T127" fmla="*/ 0 h 189"/>
                <a:gd name="T128" fmla="*/ 209 w 209"/>
                <a:gd name="T129" fmla="*/ 189 h 18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09" h="189">
                  <a:moveTo>
                    <a:pt x="177" y="6"/>
                  </a:moveTo>
                  <a:cubicBezTo>
                    <a:pt x="175" y="11"/>
                    <a:pt x="181" y="16"/>
                    <a:pt x="168" y="19"/>
                  </a:cubicBezTo>
                  <a:cubicBezTo>
                    <a:pt x="155" y="20"/>
                    <a:pt x="157" y="14"/>
                    <a:pt x="154" y="5"/>
                  </a:cubicBezTo>
                  <a:cubicBezTo>
                    <a:pt x="152" y="4"/>
                    <a:pt x="132" y="3"/>
                    <a:pt x="132" y="3"/>
                  </a:cubicBezTo>
                  <a:cubicBezTo>
                    <a:pt x="123" y="1"/>
                    <a:pt x="116" y="6"/>
                    <a:pt x="102" y="7"/>
                  </a:cubicBezTo>
                  <a:cubicBezTo>
                    <a:pt x="92" y="7"/>
                    <a:pt x="89" y="9"/>
                    <a:pt x="80" y="9"/>
                  </a:cubicBezTo>
                  <a:cubicBezTo>
                    <a:pt x="78" y="9"/>
                    <a:pt x="65" y="5"/>
                    <a:pt x="65" y="5"/>
                  </a:cubicBezTo>
                  <a:cubicBezTo>
                    <a:pt x="60" y="0"/>
                    <a:pt x="44" y="4"/>
                    <a:pt x="43" y="9"/>
                  </a:cubicBezTo>
                  <a:cubicBezTo>
                    <a:pt x="41" y="13"/>
                    <a:pt x="33" y="16"/>
                    <a:pt x="33" y="16"/>
                  </a:cubicBezTo>
                  <a:cubicBezTo>
                    <a:pt x="29" y="17"/>
                    <a:pt x="28" y="18"/>
                    <a:pt x="23" y="17"/>
                  </a:cubicBezTo>
                  <a:cubicBezTo>
                    <a:pt x="21" y="15"/>
                    <a:pt x="22" y="15"/>
                    <a:pt x="18" y="14"/>
                  </a:cubicBezTo>
                  <a:cubicBezTo>
                    <a:pt x="17" y="10"/>
                    <a:pt x="10" y="8"/>
                    <a:pt x="3" y="6"/>
                  </a:cubicBezTo>
                  <a:cubicBezTo>
                    <a:pt x="1" y="13"/>
                    <a:pt x="4" y="3"/>
                    <a:pt x="0" y="21"/>
                  </a:cubicBezTo>
                  <a:cubicBezTo>
                    <a:pt x="0" y="26"/>
                    <a:pt x="1" y="35"/>
                    <a:pt x="4" y="39"/>
                  </a:cubicBezTo>
                  <a:cubicBezTo>
                    <a:pt x="7" y="44"/>
                    <a:pt x="8" y="40"/>
                    <a:pt x="16" y="48"/>
                  </a:cubicBezTo>
                  <a:cubicBezTo>
                    <a:pt x="24" y="53"/>
                    <a:pt x="25" y="62"/>
                    <a:pt x="29" y="67"/>
                  </a:cubicBezTo>
                  <a:cubicBezTo>
                    <a:pt x="32" y="72"/>
                    <a:pt x="35" y="79"/>
                    <a:pt x="38" y="84"/>
                  </a:cubicBezTo>
                  <a:cubicBezTo>
                    <a:pt x="40" y="89"/>
                    <a:pt x="51" y="100"/>
                    <a:pt x="57" y="102"/>
                  </a:cubicBezTo>
                  <a:cubicBezTo>
                    <a:pt x="60" y="106"/>
                    <a:pt x="60" y="111"/>
                    <a:pt x="69" y="112"/>
                  </a:cubicBezTo>
                  <a:cubicBezTo>
                    <a:pt x="73" y="113"/>
                    <a:pt x="75" y="116"/>
                    <a:pt x="75" y="116"/>
                  </a:cubicBezTo>
                  <a:cubicBezTo>
                    <a:pt x="77" y="120"/>
                    <a:pt x="75" y="124"/>
                    <a:pt x="83" y="126"/>
                  </a:cubicBezTo>
                  <a:cubicBezTo>
                    <a:pt x="89" y="130"/>
                    <a:pt x="90" y="131"/>
                    <a:pt x="91" y="135"/>
                  </a:cubicBezTo>
                  <a:cubicBezTo>
                    <a:pt x="96" y="140"/>
                    <a:pt x="99" y="148"/>
                    <a:pt x="105" y="152"/>
                  </a:cubicBezTo>
                  <a:cubicBezTo>
                    <a:pt x="109" y="155"/>
                    <a:pt x="113" y="151"/>
                    <a:pt x="119" y="163"/>
                  </a:cubicBezTo>
                  <a:cubicBezTo>
                    <a:pt x="128" y="168"/>
                    <a:pt x="127" y="172"/>
                    <a:pt x="132" y="175"/>
                  </a:cubicBezTo>
                  <a:cubicBezTo>
                    <a:pt x="137" y="178"/>
                    <a:pt x="143" y="179"/>
                    <a:pt x="148" y="182"/>
                  </a:cubicBezTo>
                  <a:cubicBezTo>
                    <a:pt x="151" y="182"/>
                    <a:pt x="158" y="189"/>
                    <a:pt x="158" y="189"/>
                  </a:cubicBezTo>
                  <a:cubicBezTo>
                    <a:pt x="160" y="186"/>
                    <a:pt x="164" y="172"/>
                    <a:pt x="158" y="169"/>
                  </a:cubicBezTo>
                  <a:cubicBezTo>
                    <a:pt x="164" y="160"/>
                    <a:pt x="155" y="160"/>
                    <a:pt x="161" y="158"/>
                  </a:cubicBezTo>
                  <a:cubicBezTo>
                    <a:pt x="167" y="151"/>
                    <a:pt x="166" y="149"/>
                    <a:pt x="166" y="142"/>
                  </a:cubicBezTo>
                  <a:cubicBezTo>
                    <a:pt x="168" y="138"/>
                    <a:pt x="172" y="130"/>
                    <a:pt x="185" y="131"/>
                  </a:cubicBezTo>
                  <a:cubicBezTo>
                    <a:pt x="186" y="127"/>
                    <a:pt x="183" y="124"/>
                    <a:pt x="184" y="121"/>
                  </a:cubicBezTo>
                  <a:cubicBezTo>
                    <a:pt x="184" y="118"/>
                    <a:pt x="187" y="112"/>
                    <a:pt x="189" y="110"/>
                  </a:cubicBezTo>
                  <a:cubicBezTo>
                    <a:pt x="193" y="109"/>
                    <a:pt x="203" y="113"/>
                    <a:pt x="206" y="111"/>
                  </a:cubicBezTo>
                  <a:cubicBezTo>
                    <a:pt x="208" y="105"/>
                    <a:pt x="208" y="104"/>
                    <a:pt x="206" y="98"/>
                  </a:cubicBezTo>
                  <a:cubicBezTo>
                    <a:pt x="203" y="94"/>
                    <a:pt x="191" y="86"/>
                    <a:pt x="192" y="82"/>
                  </a:cubicBezTo>
                  <a:cubicBezTo>
                    <a:pt x="200" y="82"/>
                    <a:pt x="203" y="81"/>
                    <a:pt x="208" y="77"/>
                  </a:cubicBezTo>
                  <a:cubicBezTo>
                    <a:pt x="209" y="70"/>
                    <a:pt x="201" y="69"/>
                    <a:pt x="197" y="68"/>
                  </a:cubicBezTo>
                  <a:cubicBezTo>
                    <a:pt x="193" y="64"/>
                    <a:pt x="192" y="66"/>
                    <a:pt x="190" y="60"/>
                  </a:cubicBezTo>
                  <a:cubicBezTo>
                    <a:pt x="186" y="56"/>
                    <a:pt x="184" y="54"/>
                    <a:pt x="183" y="50"/>
                  </a:cubicBezTo>
                  <a:cubicBezTo>
                    <a:pt x="180" y="41"/>
                    <a:pt x="184" y="31"/>
                    <a:pt x="184" y="24"/>
                  </a:cubicBezTo>
                  <a:cubicBezTo>
                    <a:pt x="187" y="15"/>
                    <a:pt x="178" y="10"/>
                    <a:pt x="177" y="6"/>
                  </a:cubicBezTo>
                  <a:close/>
                </a:path>
              </a:pathLst>
            </a:custGeom>
            <a:solidFill>
              <a:schemeClr val="accent2"/>
            </a:solidFill>
            <a:ln w="3175">
              <a:solidFill>
                <a:schemeClr val="accent2"/>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570" name="Freeform 2537">
              <a:extLst>
                <a:ext uri="{FF2B5EF4-FFF2-40B4-BE49-F238E27FC236}">
                  <a16:creationId xmlns:a16="http://schemas.microsoft.com/office/drawing/2014/main" id="{9FEB20CD-CB4D-628D-C50F-FB6A22B57AFA}"/>
                </a:ext>
              </a:extLst>
            </p:cNvPr>
            <p:cNvSpPr>
              <a:spLocks noChangeAspect="1"/>
            </p:cNvSpPr>
            <p:nvPr>
              <p:custDataLst>
                <p:tags r:id="rId29"/>
              </p:custDataLst>
            </p:nvPr>
          </p:nvSpPr>
          <p:spPr bwMode="auto">
            <a:xfrm>
              <a:off x="3640193" y="4135910"/>
              <a:ext cx="145877" cy="115729"/>
            </a:xfrm>
            <a:custGeom>
              <a:avLst/>
              <a:gdLst>
                <a:gd name="T0" fmla="*/ 183 w 598"/>
                <a:gd name="T1" fmla="*/ 162 h 474"/>
                <a:gd name="T2" fmla="*/ 265 w 598"/>
                <a:gd name="T3" fmla="*/ 139 h 474"/>
                <a:gd name="T4" fmla="*/ 337 w 598"/>
                <a:gd name="T5" fmla="*/ 99 h 474"/>
                <a:gd name="T6" fmla="*/ 428 w 598"/>
                <a:gd name="T7" fmla="*/ 66 h 474"/>
                <a:gd name="T8" fmla="*/ 505 w 598"/>
                <a:gd name="T9" fmla="*/ 51 h 474"/>
                <a:gd name="T10" fmla="*/ 543 w 598"/>
                <a:gd name="T11" fmla="*/ 0 h 474"/>
                <a:gd name="T12" fmla="*/ 591 w 598"/>
                <a:gd name="T13" fmla="*/ 74 h 474"/>
                <a:gd name="T14" fmla="*/ 590 w 598"/>
                <a:gd name="T15" fmla="*/ 96 h 474"/>
                <a:gd name="T16" fmla="*/ 565 w 598"/>
                <a:gd name="T17" fmla="*/ 123 h 474"/>
                <a:gd name="T18" fmla="*/ 529 w 598"/>
                <a:gd name="T19" fmla="*/ 163 h 474"/>
                <a:gd name="T20" fmla="*/ 468 w 598"/>
                <a:gd name="T21" fmla="*/ 188 h 474"/>
                <a:gd name="T22" fmla="*/ 474 w 598"/>
                <a:gd name="T23" fmla="*/ 288 h 474"/>
                <a:gd name="T24" fmla="*/ 399 w 598"/>
                <a:gd name="T25" fmla="*/ 345 h 474"/>
                <a:gd name="T26" fmla="*/ 395 w 598"/>
                <a:gd name="T27" fmla="*/ 432 h 474"/>
                <a:gd name="T28" fmla="*/ 366 w 598"/>
                <a:gd name="T29" fmla="*/ 449 h 474"/>
                <a:gd name="T30" fmla="*/ 338 w 598"/>
                <a:gd name="T31" fmla="*/ 422 h 474"/>
                <a:gd name="T32" fmla="*/ 266 w 598"/>
                <a:gd name="T33" fmla="*/ 431 h 474"/>
                <a:gd name="T34" fmla="*/ 255 w 598"/>
                <a:gd name="T35" fmla="*/ 375 h 474"/>
                <a:gd name="T36" fmla="*/ 228 w 598"/>
                <a:gd name="T37" fmla="*/ 423 h 474"/>
                <a:gd name="T38" fmla="*/ 205 w 598"/>
                <a:gd name="T39" fmla="*/ 451 h 474"/>
                <a:gd name="T40" fmla="*/ 161 w 598"/>
                <a:gd name="T41" fmla="*/ 437 h 474"/>
                <a:gd name="T42" fmla="*/ 60 w 598"/>
                <a:gd name="T43" fmla="*/ 474 h 474"/>
                <a:gd name="T44" fmla="*/ 36 w 598"/>
                <a:gd name="T45" fmla="*/ 468 h 474"/>
                <a:gd name="T46" fmla="*/ 29 w 598"/>
                <a:gd name="T47" fmla="*/ 351 h 474"/>
                <a:gd name="T48" fmla="*/ 11 w 598"/>
                <a:gd name="T49" fmla="*/ 288 h 474"/>
                <a:gd name="T50" fmla="*/ 35 w 598"/>
                <a:gd name="T51" fmla="*/ 252 h 474"/>
                <a:gd name="T52" fmla="*/ 0 w 598"/>
                <a:gd name="T53" fmla="*/ 227 h 474"/>
                <a:gd name="T54" fmla="*/ 29 w 598"/>
                <a:gd name="T55" fmla="*/ 139 h 474"/>
                <a:gd name="T56" fmla="*/ 183 w 598"/>
                <a:gd name="T57" fmla="*/ 162 h 47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98"/>
                <a:gd name="T88" fmla="*/ 0 h 474"/>
                <a:gd name="T89" fmla="*/ 598 w 598"/>
                <a:gd name="T90" fmla="*/ 474 h 47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98" h="474">
                  <a:moveTo>
                    <a:pt x="183" y="162"/>
                  </a:moveTo>
                  <a:cubicBezTo>
                    <a:pt x="257" y="150"/>
                    <a:pt x="217" y="163"/>
                    <a:pt x="265" y="139"/>
                  </a:cubicBezTo>
                  <a:cubicBezTo>
                    <a:pt x="285" y="115"/>
                    <a:pt x="317" y="122"/>
                    <a:pt x="337" y="99"/>
                  </a:cubicBezTo>
                  <a:cubicBezTo>
                    <a:pt x="378" y="95"/>
                    <a:pt x="413" y="101"/>
                    <a:pt x="428" y="66"/>
                  </a:cubicBezTo>
                  <a:cubicBezTo>
                    <a:pt x="449" y="60"/>
                    <a:pt x="481" y="63"/>
                    <a:pt x="505" y="51"/>
                  </a:cubicBezTo>
                  <a:cubicBezTo>
                    <a:pt x="513" y="35"/>
                    <a:pt x="535" y="16"/>
                    <a:pt x="543" y="0"/>
                  </a:cubicBezTo>
                  <a:cubicBezTo>
                    <a:pt x="560" y="18"/>
                    <a:pt x="576" y="51"/>
                    <a:pt x="591" y="74"/>
                  </a:cubicBezTo>
                  <a:cubicBezTo>
                    <a:pt x="595" y="82"/>
                    <a:pt x="598" y="88"/>
                    <a:pt x="590" y="96"/>
                  </a:cubicBezTo>
                  <a:cubicBezTo>
                    <a:pt x="573" y="102"/>
                    <a:pt x="565" y="123"/>
                    <a:pt x="565" y="123"/>
                  </a:cubicBezTo>
                  <a:cubicBezTo>
                    <a:pt x="551" y="153"/>
                    <a:pt x="529" y="163"/>
                    <a:pt x="529" y="163"/>
                  </a:cubicBezTo>
                  <a:cubicBezTo>
                    <a:pt x="512" y="179"/>
                    <a:pt x="494" y="189"/>
                    <a:pt x="468" y="188"/>
                  </a:cubicBezTo>
                  <a:cubicBezTo>
                    <a:pt x="450" y="218"/>
                    <a:pt x="466" y="268"/>
                    <a:pt x="474" y="288"/>
                  </a:cubicBezTo>
                  <a:cubicBezTo>
                    <a:pt x="462" y="314"/>
                    <a:pt x="412" y="321"/>
                    <a:pt x="399" y="345"/>
                  </a:cubicBezTo>
                  <a:cubicBezTo>
                    <a:pt x="391" y="369"/>
                    <a:pt x="431" y="422"/>
                    <a:pt x="395" y="432"/>
                  </a:cubicBezTo>
                  <a:cubicBezTo>
                    <a:pt x="383" y="450"/>
                    <a:pt x="366" y="449"/>
                    <a:pt x="366" y="449"/>
                  </a:cubicBezTo>
                  <a:cubicBezTo>
                    <a:pt x="336" y="453"/>
                    <a:pt x="338" y="422"/>
                    <a:pt x="338" y="422"/>
                  </a:cubicBezTo>
                  <a:cubicBezTo>
                    <a:pt x="326" y="426"/>
                    <a:pt x="278" y="439"/>
                    <a:pt x="266" y="431"/>
                  </a:cubicBezTo>
                  <a:cubicBezTo>
                    <a:pt x="269" y="404"/>
                    <a:pt x="264" y="398"/>
                    <a:pt x="255" y="375"/>
                  </a:cubicBezTo>
                  <a:cubicBezTo>
                    <a:pt x="251" y="398"/>
                    <a:pt x="236" y="410"/>
                    <a:pt x="228" y="423"/>
                  </a:cubicBezTo>
                  <a:cubicBezTo>
                    <a:pt x="220" y="436"/>
                    <a:pt x="216" y="449"/>
                    <a:pt x="205" y="451"/>
                  </a:cubicBezTo>
                  <a:cubicBezTo>
                    <a:pt x="165" y="447"/>
                    <a:pt x="170" y="450"/>
                    <a:pt x="161" y="437"/>
                  </a:cubicBezTo>
                  <a:cubicBezTo>
                    <a:pt x="96" y="441"/>
                    <a:pt x="88" y="466"/>
                    <a:pt x="60" y="474"/>
                  </a:cubicBezTo>
                  <a:cubicBezTo>
                    <a:pt x="60" y="473"/>
                    <a:pt x="36" y="468"/>
                    <a:pt x="36" y="468"/>
                  </a:cubicBezTo>
                  <a:cubicBezTo>
                    <a:pt x="17" y="450"/>
                    <a:pt x="33" y="379"/>
                    <a:pt x="29" y="351"/>
                  </a:cubicBezTo>
                  <a:cubicBezTo>
                    <a:pt x="45" y="318"/>
                    <a:pt x="47" y="296"/>
                    <a:pt x="11" y="288"/>
                  </a:cubicBezTo>
                  <a:cubicBezTo>
                    <a:pt x="15" y="269"/>
                    <a:pt x="23" y="280"/>
                    <a:pt x="35" y="252"/>
                  </a:cubicBezTo>
                  <a:cubicBezTo>
                    <a:pt x="19" y="236"/>
                    <a:pt x="16" y="239"/>
                    <a:pt x="0" y="227"/>
                  </a:cubicBezTo>
                  <a:cubicBezTo>
                    <a:pt x="16" y="203"/>
                    <a:pt x="41" y="162"/>
                    <a:pt x="29" y="139"/>
                  </a:cubicBezTo>
                  <a:cubicBezTo>
                    <a:pt x="61" y="131"/>
                    <a:pt x="147" y="161"/>
                    <a:pt x="183" y="162"/>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573" name="Freeform 2538">
              <a:extLst>
                <a:ext uri="{FF2B5EF4-FFF2-40B4-BE49-F238E27FC236}">
                  <a16:creationId xmlns:a16="http://schemas.microsoft.com/office/drawing/2014/main" id="{6E4384E8-5620-C950-22C5-E3580221AE47}"/>
                </a:ext>
              </a:extLst>
            </p:cNvPr>
            <p:cNvSpPr>
              <a:spLocks noChangeAspect="1"/>
            </p:cNvSpPr>
            <p:nvPr>
              <p:custDataLst>
                <p:tags r:id="rId30"/>
              </p:custDataLst>
            </p:nvPr>
          </p:nvSpPr>
          <p:spPr bwMode="auto">
            <a:xfrm>
              <a:off x="3771482" y="3991979"/>
              <a:ext cx="309258" cy="213952"/>
            </a:xfrm>
            <a:custGeom>
              <a:avLst/>
              <a:gdLst>
                <a:gd name="T0" fmla="*/ 833 w 1273"/>
                <a:gd name="T1" fmla="*/ 727 h 878"/>
                <a:gd name="T2" fmla="*/ 905 w 1273"/>
                <a:gd name="T3" fmla="*/ 703 h 878"/>
                <a:gd name="T4" fmla="*/ 957 w 1273"/>
                <a:gd name="T5" fmla="*/ 675 h 878"/>
                <a:gd name="T6" fmla="*/ 977 w 1273"/>
                <a:gd name="T7" fmla="*/ 659 h 878"/>
                <a:gd name="T8" fmla="*/ 1021 w 1273"/>
                <a:gd name="T9" fmla="*/ 587 h 878"/>
                <a:gd name="T10" fmla="*/ 1037 w 1273"/>
                <a:gd name="T11" fmla="*/ 535 h 878"/>
                <a:gd name="T12" fmla="*/ 1045 w 1273"/>
                <a:gd name="T13" fmla="*/ 511 h 878"/>
                <a:gd name="T14" fmla="*/ 1073 w 1273"/>
                <a:gd name="T15" fmla="*/ 439 h 878"/>
                <a:gd name="T16" fmla="*/ 1093 w 1273"/>
                <a:gd name="T17" fmla="*/ 387 h 878"/>
                <a:gd name="T18" fmla="*/ 1169 w 1273"/>
                <a:gd name="T19" fmla="*/ 187 h 878"/>
                <a:gd name="T20" fmla="*/ 1216 w 1273"/>
                <a:gd name="T21" fmla="*/ 162 h 878"/>
                <a:gd name="T22" fmla="*/ 1273 w 1273"/>
                <a:gd name="T23" fmla="*/ 131 h 878"/>
                <a:gd name="T24" fmla="*/ 1145 w 1273"/>
                <a:gd name="T25" fmla="*/ 51 h 878"/>
                <a:gd name="T26" fmla="*/ 1116 w 1273"/>
                <a:gd name="T27" fmla="*/ 16 h 878"/>
                <a:gd name="T28" fmla="*/ 1053 w 1273"/>
                <a:gd name="T29" fmla="*/ 27 h 878"/>
                <a:gd name="T30" fmla="*/ 988 w 1273"/>
                <a:gd name="T31" fmla="*/ 1 h 878"/>
                <a:gd name="T32" fmla="*/ 903 w 1273"/>
                <a:gd name="T33" fmla="*/ 9 h 878"/>
                <a:gd name="T34" fmla="*/ 822 w 1273"/>
                <a:gd name="T35" fmla="*/ 10 h 878"/>
                <a:gd name="T36" fmla="*/ 772 w 1273"/>
                <a:gd name="T37" fmla="*/ 63 h 878"/>
                <a:gd name="T38" fmla="*/ 732 w 1273"/>
                <a:gd name="T39" fmla="*/ 129 h 878"/>
                <a:gd name="T40" fmla="*/ 685 w 1273"/>
                <a:gd name="T41" fmla="*/ 135 h 878"/>
                <a:gd name="T42" fmla="*/ 649 w 1273"/>
                <a:gd name="T43" fmla="*/ 123 h 878"/>
                <a:gd name="T44" fmla="*/ 529 w 1273"/>
                <a:gd name="T45" fmla="*/ 175 h 878"/>
                <a:gd name="T46" fmla="*/ 506 w 1273"/>
                <a:gd name="T47" fmla="*/ 227 h 878"/>
                <a:gd name="T48" fmla="*/ 271 w 1273"/>
                <a:gd name="T49" fmla="*/ 309 h 878"/>
                <a:gd name="T50" fmla="*/ 246 w 1273"/>
                <a:gd name="T51" fmla="*/ 289 h 878"/>
                <a:gd name="T52" fmla="*/ 222 w 1273"/>
                <a:gd name="T53" fmla="*/ 267 h 878"/>
                <a:gd name="T54" fmla="*/ 182 w 1273"/>
                <a:gd name="T55" fmla="*/ 251 h 878"/>
                <a:gd name="T56" fmla="*/ 135 w 1273"/>
                <a:gd name="T57" fmla="*/ 232 h 878"/>
                <a:gd name="T58" fmla="*/ 142 w 1273"/>
                <a:gd name="T59" fmla="*/ 342 h 878"/>
                <a:gd name="T60" fmla="*/ 25 w 1273"/>
                <a:gd name="T61" fmla="*/ 348 h 878"/>
                <a:gd name="T62" fmla="*/ 48 w 1273"/>
                <a:gd name="T63" fmla="*/ 360 h 878"/>
                <a:gd name="T64" fmla="*/ 88 w 1273"/>
                <a:gd name="T65" fmla="*/ 412 h 878"/>
                <a:gd name="T66" fmla="*/ 52 w 1273"/>
                <a:gd name="T67" fmla="*/ 462 h 878"/>
                <a:gd name="T68" fmla="*/ 7 w 1273"/>
                <a:gd name="T69" fmla="*/ 589 h 878"/>
                <a:gd name="T70" fmla="*/ 38 w 1273"/>
                <a:gd name="T71" fmla="*/ 639 h 878"/>
                <a:gd name="T72" fmla="*/ 55 w 1273"/>
                <a:gd name="T73" fmla="*/ 687 h 878"/>
                <a:gd name="T74" fmla="*/ 78 w 1273"/>
                <a:gd name="T75" fmla="*/ 703 h 878"/>
                <a:gd name="T76" fmla="*/ 112 w 1273"/>
                <a:gd name="T77" fmla="*/ 735 h 878"/>
                <a:gd name="T78" fmla="*/ 182 w 1273"/>
                <a:gd name="T79" fmla="*/ 759 h 878"/>
                <a:gd name="T80" fmla="*/ 237 w 1273"/>
                <a:gd name="T81" fmla="*/ 804 h 878"/>
                <a:gd name="T82" fmla="*/ 283 w 1273"/>
                <a:gd name="T83" fmla="*/ 829 h 878"/>
                <a:gd name="T84" fmla="*/ 310 w 1273"/>
                <a:gd name="T85" fmla="*/ 859 h 878"/>
                <a:gd name="T86" fmla="*/ 411 w 1273"/>
                <a:gd name="T87" fmla="*/ 868 h 878"/>
                <a:gd name="T88" fmla="*/ 471 w 1273"/>
                <a:gd name="T89" fmla="*/ 874 h 878"/>
                <a:gd name="T90" fmla="*/ 516 w 1273"/>
                <a:gd name="T91" fmla="*/ 852 h 878"/>
                <a:gd name="T92" fmla="*/ 542 w 1273"/>
                <a:gd name="T93" fmla="*/ 835 h 878"/>
                <a:gd name="T94" fmla="*/ 594 w 1273"/>
                <a:gd name="T95" fmla="*/ 803 h 878"/>
                <a:gd name="T96" fmla="*/ 645 w 1273"/>
                <a:gd name="T97" fmla="*/ 779 h 878"/>
                <a:gd name="T98" fmla="*/ 709 w 1273"/>
                <a:gd name="T99" fmla="*/ 723 h 878"/>
                <a:gd name="T100" fmla="*/ 833 w 1273"/>
                <a:gd name="T101" fmla="*/ 727 h 87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273"/>
                <a:gd name="T154" fmla="*/ 0 h 878"/>
                <a:gd name="T155" fmla="*/ 1273 w 1273"/>
                <a:gd name="T156" fmla="*/ 878 h 87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273" h="878">
                  <a:moveTo>
                    <a:pt x="833" y="727"/>
                  </a:moveTo>
                  <a:cubicBezTo>
                    <a:pt x="861" y="723"/>
                    <a:pt x="881" y="719"/>
                    <a:pt x="905" y="703"/>
                  </a:cubicBezTo>
                  <a:cubicBezTo>
                    <a:pt x="917" y="687"/>
                    <a:pt x="937" y="683"/>
                    <a:pt x="957" y="675"/>
                  </a:cubicBezTo>
                  <a:cubicBezTo>
                    <a:pt x="969" y="668"/>
                    <a:pt x="966" y="674"/>
                    <a:pt x="977" y="659"/>
                  </a:cubicBezTo>
                  <a:cubicBezTo>
                    <a:pt x="993" y="639"/>
                    <a:pt x="997" y="603"/>
                    <a:pt x="1021" y="587"/>
                  </a:cubicBezTo>
                  <a:cubicBezTo>
                    <a:pt x="1025" y="571"/>
                    <a:pt x="1033" y="551"/>
                    <a:pt x="1037" y="535"/>
                  </a:cubicBezTo>
                  <a:cubicBezTo>
                    <a:pt x="1041" y="527"/>
                    <a:pt x="1045" y="511"/>
                    <a:pt x="1045" y="511"/>
                  </a:cubicBezTo>
                  <a:cubicBezTo>
                    <a:pt x="1049" y="483"/>
                    <a:pt x="1053" y="459"/>
                    <a:pt x="1073" y="439"/>
                  </a:cubicBezTo>
                  <a:cubicBezTo>
                    <a:pt x="1077" y="423"/>
                    <a:pt x="1081" y="403"/>
                    <a:pt x="1093" y="387"/>
                  </a:cubicBezTo>
                  <a:cubicBezTo>
                    <a:pt x="1101" y="343"/>
                    <a:pt x="1129" y="215"/>
                    <a:pt x="1169" y="187"/>
                  </a:cubicBezTo>
                  <a:cubicBezTo>
                    <a:pt x="1201" y="172"/>
                    <a:pt x="1207" y="178"/>
                    <a:pt x="1216" y="162"/>
                  </a:cubicBezTo>
                  <a:cubicBezTo>
                    <a:pt x="1249" y="148"/>
                    <a:pt x="1257" y="144"/>
                    <a:pt x="1273" y="131"/>
                  </a:cubicBezTo>
                  <a:cubicBezTo>
                    <a:pt x="1269" y="31"/>
                    <a:pt x="1225" y="59"/>
                    <a:pt x="1145" y="51"/>
                  </a:cubicBezTo>
                  <a:cubicBezTo>
                    <a:pt x="1129" y="35"/>
                    <a:pt x="1136" y="24"/>
                    <a:pt x="1116" y="16"/>
                  </a:cubicBezTo>
                  <a:cubicBezTo>
                    <a:pt x="1101" y="16"/>
                    <a:pt x="1074" y="29"/>
                    <a:pt x="1053" y="27"/>
                  </a:cubicBezTo>
                  <a:cubicBezTo>
                    <a:pt x="1032" y="25"/>
                    <a:pt x="1013" y="4"/>
                    <a:pt x="988" y="1"/>
                  </a:cubicBezTo>
                  <a:cubicBezTo>
                    <a:pt x="954" y="0"/>
                    <a:pt x="931" y="8"/>
                    <a:pt x="903" y="9"/>
                  </a:cubicBezTo>
                  <a:cubicBezTo>
                    <a:pt x="875" y="10"/>
                    <a:pt x="844" y="1"/>
                    <a:pt x="822" y="10"/>
                  </a:cubicBezTo>
                  <a:cubicBezTo>
                    <a:pt x="802" y="22"/>
                    <a:pt x="788" y="47"/>
                    <a:pt x="772" y="63"/>
                  </a:cubicBezTo>
                  <a:cubicBezTo>
                    <a:pt x="768" y="95"/>
                    <a:pt x="771" y="136"/>
                    <a:pt x="732" y="129"/>
                  </a:cubicBezTo>
                  <a:cubicBezTo>
                    <a:pt x="716" y="129"/>
                    <a:pt x="701" y="139"/>
                    <a:pt x="685" y="135"/>
                  </a:cubicBezTo>
                  <a:cubicBezTo>
                    <a:pt x="673" y="131"/>
                    <a:pt x="649" y="123"/>
                    <a:pt x="649" y="123"/>
                  </a:cubicBezTo>
                  <a:cubicBezTo>
                    <a:pt x="610" y="180"/>
                    <a:pt x="615" y="172"/>
                    <a:pt x="529" y="175"/>
                  </a:cubicBezTo>
                  <a:cubicBezTo>
                    <a:pt x="499" y="181"/>
                    <a:pt x="499" y="208"/>
                    <a:pt x="506" y="227"/>
                  </a:cubicBezTo>
                  <a:cubicBezTo>
                    <a:pt x="504" y="333"/>
                    <a:pt x="441" y="282"/>
                    <a:pt x="271" y="309"/>
                  </a:cubicBezTo>
                  <a:cubicBezTo>
                    <a:pt x="264" y="300"/>
                    <a:pt x="254" y="296"/>
                    <a:pt x="246" y="289"/>
                  </a:cubicBezTo>
                  <a:cubicBezTo>
                    <a:pt x="238" y="282"/>
                    <a:pt x="255" y="277"/>
                    <a:pt x="222" y="267"/>
                  </a:cubicBezTo>
                  <a:cubicBezTo>
                    <a:pt x="205" y="252"/>
                    <a:pt x="182" y="251"/>
                    <a:pt x="182" y="251"/>
                  </a:cubicBezTo>
                  <a:cubicBezTo>
                    <a:pt x="171" y="248"/>
                    <a:pt x="145" y="232"/>
                    <a:pt x="135" y="232"/>
                  </a:cubicBezTo>
                  <a:cubicBezTo>
                    <a:pt x="128" y="247"/>
                    <a:pt x="181" y="270"/>
                    <a:pt x="142" y="342"/>
                  </a:cubicBezTo>
                  <a:cubicBezTo>
                    <a:pt x="90" y="346"/>
                    <a:pt x="60" y="346"/>
                    <a:pt x="25" y="348"/>
                  </a:cubicBezTo>
                  <a:cubicBezTo>
                    <a:pt x="0" y="351"/>
                    <a:pt x="40" y="355"/>
                    <a:pt x="48" y="360"/>
                  </a:cubicBezTo>
                  <a:cubicBezTo>
                    <a:pt x="58" y="370"/>
                    <a:pt x="76" y="375"/>
                    <a:pt x="88" y="412"/>
                  </a:cubicBezTo>
                  <a:cubicBezTo>
                    <a:pt x="66" y="418"/>
                    <a:pt x="64" y="454"/>
                    <a:pt x="52" y="462"/>
                  </a:cubicBezTo>
                  <a:cubicBezTo>
                    <a:pt x="70" y="544"/>
                    <a:pt x="58" y="570"/>
                    <a:pt x="7" y="589"/>
                  </a:cubicBezTo>
                  <a:cubicBezTo>
                    <a:pt x="19" y="609"/>
                    <a:pt x="27" y="619"/>
                    <a:pt x="38" y="639"/>
                  </a:cubicBezTo>
                  <a:cubicBezTo>
                    <a:pt x="42" y="651"/>
                    <a:pt x="57" y="672"/>
                    <a:pt x="55" y="687"/>
                  </a:cubicBezTo>
                  <a:cubicBezTo>
                    <a:pt x="70" y="693"/>
                    <a:pt x="78" y="703"/>
                    <a:pt x="78" y="703"/>
                  </a:cubicBezTo>
                  <a:cubicBezTo>
                    <a:pt x="99" y="708"/>
                    <a:pt x="103" y="721"/>
                    <a:pt x="112" y="735"/>
                  </a:cubicBezTo>
                  <a:cubicBezTo>
                    <a:pt x="130" y="742"/>
                    <a:pt x="158" y="751"/>
                    <a:pt x="182" y="759"/>
                  </a:cubicBezTo>
                  <a:cubicBezTo>
                    <a:pt x="203" y="773"/>
                    <a:pt x="235" y="784"/>
                    <a:pt x="237" y="804"/>
                  </a:cubicBezTo>
                  <a:cubicBezTo>
                    <a:pt x="264" y="807"/>
                    <a:pt x="271" y="820"/>
                    <a:pt x="283" y="829"/>
                  </a:cubicBezTo>
                  <a:cubicBezTo>
                    <a:pt x="305" y="845"/>
                    <a:pt x="289" y="853"/>
                    <a:pt x="310" y="859"/>
                  </a:cubicBezTo>
                  <a:cubicBezTo>
                    <a:pt x="331" y="865"/>
                    <a:pt x="384" y="866"/>
                    <a:pt x="411" y="868"/>
                  </a:cubicBezTo>
                  <a:cubicBezTo>
                    <a:pt x="447" y="873"/>
                    <a:pt x="453" y="878"/>
                    <a:pt x="471" y="874"/>
                  </a:cubicBezTo>
                  <a:cubicBezTo>
                    <a:pt x="475" y="870"/>
                    <a:pt x="512" y="856"/>
                    <a:pt x="516" y="852"/>
                  </a:cubicBezTo>
                  <a:cubicBezTo>
                    <a:pt x="524" y="844"/>
                    <a:pt x="529" y="843"/>
                    <a:pt x="542" y="835"/>
                  </a:cubicBezTo>
                  <a:cubicBezTo>
                    <a:pt x="555" y="827"/>
                    <a:pt x="578" y="811"/>
                    <a:pt x="594" y="803"/>
                  </a:cubicBezTo>
                  <a:cubicBezTo>
                    <a:pt x="614" y="775"/>
                    <a:pt x="614" y="783"/>
                    <a:pt x="645" y="779"/>
                  </a:cubicBezTo>
                  <a:cubicBezTo>
                    <a:pt x="665" y="759"/>
                    <a:pt x="681" y="731"/>
                    <a:pt x="709" y="723"/>
                  </a:cubicBezTo>
                  <a:cubicBezTo>
                    <a:pt x="749" y="727"/>
                    <a:pt x="789" y="723"/>
                    <a:pt x="833" y="727"/>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574" name="Freeform 2539">
              <a:extLst>
                <a:ext uri="{FF2B5EF4-FFF2-40B4-BE49-F238E27FC236}">
                  <a16:creationId xmlns:a16="http://schemas.microsoft.com/office/drawing/2014/main" id="{C0ACD32C-92EB-1BFE-FE80-EB5A26E8735F}"/>
                </a:ext>
              </a:extLst>
            </p:cNvPr>
            <p:cNvSpPr>
              <a:spLocks noChangeAspect="1"/>
            </p:cNvSpPr>
            <p:nvPr>
              <p:custDataLst>
                <p:tags r:id="rId31"/>
              </p:custDataLst>
            </p:nvPr>
          </p:nvSpPr>
          <p:spPr bwMode="auto">
            <a:xfrm>
              <a:off x="3644085" y="3568937"/>
              <a:ext cx="455134" cy="387059"/>
            </a:xfrm>
            <a:custGeom>
              <a:avLst/>
              <a:gdLst>
                <a:gd name="T0" fmla="*/ 891 w 1874"/>
                <a:gd name="T1" fmla="*/ 96 h 1593"/>
                <a:gd name="T2" fmla="*/ 767 w 1874"/>
                <a:gd name="T3" fmla="*/ 100 h 1593"/>
                <a:gd name="T4" fmla="*/ 687 w 1874"/>
                <a:gd name="T5" fmla="*/ 0 h 1593"/>
                <a:gd name="T6" fmla="*/ 423 w 1874"/>
                <a:gd name="T7" fmla="*/ 112 h 1593"/>
                <a:gd name="T8" fmla="*/ 323 w 1874"/>
                <a:gd name="T9" fmla="*/ 168 h 1593"/>
                <a:gd name="T10" fmla="*/ 231 w 1874"/>
                <a:gd name="T11" fmla="*/ 224 h 1593"/>
                <a:gd name="T12" fmla="*/ 99 w 1874"/>
                <a:gd name="T13" fmla="*/ 292 h 1593"/>
                <a:gd name="T14" fmla="*/ 35 w 1874"/>
                <a:gd name="T15" fmla="*/ 380 h 1593"/>
                <a:gd name="T16" fmla="*/ 36 w 1874"/>
                <a:gd name="T17" fmla="*/ 595 h 1593"/>
                <a:gd name="T18" fmla="*/ 123 w 1874"/>
                <a:gd name="T19" fmla="*/ 716 h 1593"/>
                <a:gd name="T20" fmla="*/ 130 w 1874"/>
                <a:gd name="T21" fmla="*/ 853 h 1593"/>
                <a:gd name="T22" fmla="*/ 129 w 1874"/>
                <a:gd name="T23" fmla="*/ 968 h 1593"/>
                <a:gd name="T24" fmla="*/ 216 w 1874"/>
                <a:gd name="T25" fmla="*/ 1019 h 1593"/>
                <a:gd name="T26" fmla="*/ 190 w 1874"/>
                <a:gd name="T27" fmla="*/ 1070 h 1593"/>
                <a:gd name="T28" fmla="*/ 220 w 1874"/>
                <a:gd name="T29" fmla="*/ 1166 h 1593"/>
                <a:gd name="T30" fmla="*/ 349 w 1874"/>
                <a:gd name="T31" fmla="*/ 1223 h 1593"/>
                <a:gd name="T32" fmla="*/ 475 w 1874"/>
                <a:gd name="T33" fmla="*/ 1328 h 1593"/>
                <a:gd name="T34" fmla="*/ 558 w 1874"/>
                <a:gd name="T35" fmla="*/ 1375 h 1593"/>
                <a:gd name="T36" fmla="*/ 607 w 1874"/>
                <a:gd name="T37" fmla="*/ 1312 h 1593"/>
                <a:gd name="T38" fmla="*/ 697 w 1874"/>
                <a:gd name="T39" fmla="*/ 1324 h 1593"/>
                <a:gd name="T40" fmla="*/ 718 w 1874"/>
                <a:gd name="T41" fmla="*/ 1391 h 1593"/>
                <a:gd name="T42" fmla="*/ 943 w 1874"/>
                <a:gd name="T43" fmla="*/ 1486 h 1593"/>
                <a:gd name="T44" fmla="*/ 1014 w 1874"/>
                <a:gd name="T45" fmla="*/ 1549 h 1593"/>
                <a:gd name="T46" fmla="*/ 1118 w 1874"/>
                <a:gd name="T47" fmla="*/ 1536 h 1593"/>
                <a:gd name="T48" fmla="*/ 1206 w 1874"/>
                <a:gd name="T49" fmla="*/ 1580 h 1593"/>
                <a:gd name="T50" fmla="*/ 1351 w 1874"/>
                <a:gd name="T51" fmla="*/ 1535 h 1593"/>
                <a:gd name="T52" fmla="*/ 1543 w 1874"/>
                <a:gd name="T53" fmla="*/ 1495 h 1593"/>
                <a:gd name="T54" fmla="*/ 1714 w 1874"/>
                <a:gd name="T55" fmla="*/ 1536 h 1593"/>
                <a:gd name="T56" fmla="*/ 1706 w 1874"/>
                <a:gd name="T57" fmla="*/ 1360 h 1593"/>
                <a:gd name="T58" fmla="*/ 1770 w 1874"/>
                <a:gd name="T59" fmla="*/ 1220 h 1593"/>
                <a:gd name="T60" fmla="*/ 1862 w 1874"/>
                <a:gd name="T61" fmla="*/ 980 h 1593"/>
                <a:gd name="T62" fmla="*/ 1790 w 1874"/>
                <a:gd name="T63" fmla="*/ 896 h 1593"/>
                <a:gd name="T64" fmla="*/ 1714 w 1874"/>
                <a:gd name="T65" fmla="*/ 744 h 1593"/>
                <a:gd name="T66" fmla="*/ 1634 w 1874"/>
                <a:gd name="T67" fmla="*/ 548 h 1593"/>
                <a:gd name="T68" fmla="*/ 1722 w 1874"/>
                <a:gd name="T69" fmla="*/ 448 h 1593"/>
                <a:gd name="T70" fmla="*/ 1698 w 1874"/>
                <a:gd name="T71" fmla="*/ 376 h 1593"/>
                <a:gd name="T72" fmla="*/ 1618 w 1874"/>
                <a:gd name="T73" fmla="*/ 216 h 1593"/>
                <a:gd name="T74" fmla="*/ 1530 w 1874"/>
                <a:gd name="T75" fmla="*/ 44 h 1593"/>
                <a:gd name="T76" fmla="*/ 1394 w 1874"/>
                <a:gd name="T77" fmla="*/ 20 h 1593"/>
                <a:gd name="T78" fmla="*/ 1090 w 1874"/>
                <a:gd name="T79" fmla="*/ 80 h 159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4"/>
                <a:gd name="T121" fmla="*/ 0 h 1593"/>
                <a:gd name="T122" fmla="*/ 1874 w 1874"/>
                <a:gd name="T123" fmla="*/ 1593 h 159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4" h="1593">
                  <a:moveTo>
                    <a:pt x="927" y="76"/>
                  </a:moveTo>
                  <a:cubicBezTo>
                    <a:pt x="911" y="80"/>
                    <a:pt x="911" y="92"/>
                    <a:pt x="891" y="96"/>
                  </a:cubicBezTo>
                  <a:cubicBezTo>
                    <a:pt x="883" y="100"/>
                    <a:pt x="867" y="104"/>
                    <a:pt x="867" y="104"/>
                  </a:cubicBezTo>
                  <a:cubicBezTo>
                    <a:pt x="843" y="140"/>
                    <a:pt x="799" y="112"/>
                    <a:pt x="767" y="100"/>
                  </a:cubicBezTo>
                  <a:cubicBezTo>
                    <a:pt x="759" y="80"/>
                    <a:pt x="751" y="44"/>
                    <a:pt x="735" y="28"/>
                  </a:cubicBezTo>
                  <a:cubicBezTo>
                    <a:pt x="723" y="16"/>
                    <a:pt x="687" y="0"/>
                    <a:pt x="687" y="0"/>
                  </a:cubicBezTo>
                  <a:cubicBezTo>
                    <a:pt x="543" y="0"/>
                    <a:pt x="595" y="16"/>
                    <a:pt x="507" y="44"/>
                  </a:cubicBezTo>
                  <a:cubicBezTo>
                    <a:pt x="499" y="68"/>
                    <a:pt x="451" y="108"/>
                    <a:pt x="423" y="112"/>
                  </a:cubicBezTo>
                  <a:cubicBezTo>
                    <a:pt x="403" y="116"/>
                    <a:pt x="363" y="128"/>
                    <a:pt x="363" y="128"/>
                  </a:cubicBezTo>
                  <a:cubicBezTo>
                    <a:pt x="355" y="144"/>
                    <a:pt x="323" y="168"/>
                    <a:pt x="323" y="168"/>
                  </a:cubicBezTo>
                  <a:cubicBezTo>
                    <a:pt x="307" y="192"/>
                    <a:pt x="295" y="192"/>
                    <a:pt x="267" y="200"/>
                  </a:cubicBezTo>
                  <a:cubicBezTo>
                    <a:pt x="255" y="216"/>
                    <a:pt x="247" y="212"/>
                    <a:pt x="231" y="224"/>
                  </a:cubicBezTo>
                  <a:cubicBezTo>
                    <a:pt x="219" y="260"/>
                    <a:pt x="175" y="260"/>
                    <a:pt x="143" y="264"/>
                  </a:cubicBezTo>
                  <a:cubicBezTo>
                    <a:pt x="115" y="272"/>
                    <a:pt x="123" y="276"/>
                    <a:pt x="99" y="292"/>
                  </a:cubicBezTo>
                  <a:cubicBezTo>
                    <a:pt x="91" y="308"/>
                    <a:pt x="67" y="328"/>
                    <a:pt x="51" y="332"/>
                  </a:cubicBezTo>
                  <a:cubicBezTo>
                    <a:pt x="47" y="348"/>
                    <a:pt x="35" y="380"/>
                    <a:pt x="35" y="380"/>
                  </a:cubicBezTo>
                  <a:cubicBezTo>
                    <a:pt x="43" y="404"/>
                    <a:pt x="56" y="405"/>
                    <a:pt x="60" y="433"/>
                  </a:cubicBezTo>
                  <a:cubicBezTo>
                    <a:pt x="60" y="453"/>
                    <a:pt x="49" y="557"/>
                    <a:pt x="36" y="595"/>
                  </a:cubicBezTo>
                  <a:cubicBezTo>
                    <a:pt x="0" y="608"/>
                    <a:pt x="22" y="637"/>
                    <a:pt x="59" y="648"/>
                  </a:cubicBezTo>
                  <a:cubicBezTo>
                    <a:pt x="75" y="668"/>
                    <a:pt x="108" y="679"/>
                    <a:pt x="123" y="716"/>
                  </a:cubicBezTo>
                  <a:cubicBezTo>
                    <a:pt x="120" y="736"/>
                    <a:pt x="104" y="764"/>
                    <a:pt x="100" y="788"/>
                  </a:cubicBezTo>
                  <a:cubicBezTo>
                    <a:pt x="114" y="815"/>
                    <a:pt x="122" y="825"/>
                    <a:pt x="130" y="853"/>
                  </a:cubicBezTo>
                  <a:cubicBezTo>
                    <a:pt x="126" y="885"/>
                    <a:pt x="131" y="890"/>
                    <a:pt x="123" y="914"/>
                  </a:cubicBezTo>
                  <a:cubicBezTo>
                    <a:pt x="132" y="935"/>
                    <a:pt x="121" y="948"/>
                    <a:pt x="129" y="968"/>
                  </a:cubicBezTo>
                  <a:cubicBezTo>
                    <a:pt x="133" y="1016"/>
                    <a:pt x="143" y="1012"/>
                    <a:pt x="191" y="1016"/>
                  </a:cubicBezTo>
                  <a:cubicBezTo>
                    <a:pt x="199" y="1020"/>
                    <a:pt x="216" y="1011"/>
                    <a:pt x="216" y="1019"/>
                  </a:cubicBezTo>
                  <a:cubicBezTo>
                    <a:pt x="216" y="1027"/>
                    <a:pt x="220" y="1037"/>
                    <a:pt x="207" y="1048"/>
                  </a:cubicBezTo>
                  <a:cubicBezTo>
                    <a:pt x="195" y="1057"/>
                    <a:pt x="190" y="1070"/>
                    <a:pt x="190" y="1070"/>
                  </a:cubicBezTo>
                  <a:cubicBezTo>
                    <a:pt x="194" y="1106"/>
                    <a:pt x="196" y="1100"/>
                    <a:pt x="213" y="1114"/>
                  </a:cubicBezTo>
                  <a:cubicBezTo>
                    <a:pt x="221" y="1126"/>
                    <a:pt x="214" y="1157"/>
                    <a:pt x="220" y="1166"/>
                  </a:cubicBezTo>
                  <a:cubicBezTo>
                    <a:pt x="226" y="1175"/>
                    <a:pt x="231" y="1162"/>
                    <a:pt x="252" y="1171"/>
                  </a:cubicBezTo>
                  <a:cubicBezTo>
                    <a:pt x="273" y="1180"/>
                    <a:pt x="304" y="1216"/>
                    <a:pt x="349" y="1223"/>
                  </a:cubicBezTo>
                  <a:cubicBezTo>
                    <a:pt x="385" y="1233"/>
                    <a:pt x="450" y="1215"/>
                    <a:pt x="471" y="1232"/>
                  </a:cubicBezTo>
                  <a:cubicBezTo>
                    <a:pt x="499" y="1276"/>
                    <a:pt x="431" y="1300"/>
                    <a:pt x="475" y="1328"/>
                  </a:cubicBezTo>
                  <a:cubicBezTo>
                    <a:pt x="489" y="1355"/>
                    <a:pt x="505" y="1352"/>
                    <a:pt x="528" y="1390"/>
                  </a:cubicBezTo>
                  <a:cubicBezTo>
                    <a:pt x="540" y="1396"/>
                    <a:pt x="552" y="1386"/>
                    <a:pt x="558" y="1375"/>
                  </a:cubicBezTo>
                  <a:cubicBezTo>
                    <a:pt x="564" y="1364"/>
                    <a:pt x="594" y="1355"/>
                    <a:pt x="567" y="1324"/>
                  </a:cubicBezTo>
                  <a:cubicBezTo>
                    <a:pt x="589" y="1310"/>
                    <a:pt x="592" y="1313"/>
                    <a:pt x="607" y="1312"/>
                  </a:cubicBezTo>
                  <a:cubicBezTo>
                    <a:pt x="635" y="1316"/>
                    <a:pt x="635" y="1330"/>
                    <a:pt x="663" y="1334"/>
                  </a:cubicBezTo>
                  <a:cubicBezTo>
                    <a:pt x="671" y="1338"/>
                    <a:pt x="689" y="1320"/>
                    <a:pt x="697" y="1324"/>
                  </a:cubicBezTo>
                  <a:cubicBezTo>
                    <a:pt x="709" y="1321"/>
                    <a:pt x="724" y="1336"/>
                    <a:pt x="724" y="1336"/>
                  </a:cubicBezTo>
                  <a:cubicBezTo>
                    <a:pt x="732" y="1344"/>
                    <a:pt x="696" y="1363"/>
                    <a:pt x="718" y="1391"/>
                  </a:cubicBezTo>
                  <a:cubicBezTo>
                    <a:pt x="763" y="1405"/>
                    <a:pt x="828" y="1397"/>
                    <a:pt x="875" y="1408"/>
                  </a:cubicBezTo>
                  <a:cubicBezTo>
                    <a:pt x="903" y="1448"/>
                    <a:pt x="910" y="1469"/>
                    <a:pt x="943" y="1486"/>
                  </a:cubicBezTo>
                  <a:cubicBezTo>
                    <a:pt x="951" y="1502"/>
                    <a:pt x="958" y="1508"/>
                    <a:pt x="974" y="1516"/>
                  </a:cubicBezTo>
                  <a:cubicBezTo>
                    <a:pt x="978" y="1532"/>
                    <a:pt x="1000" y="1540"/>
                    <a:pt x="1014" y="1549"/>
                  </a:cubicBezTo>
                  <a:cubicBezTo>
                    <a:pt x="1048" y="1522"/>
                    <a:pt x="1035" y="1523"/>
                    <a:pt x="1059" y="1487"/>
                  </a:cubicBezTo>
                  <a:cubicBezTo>
                    <a:pt x="1072" y="1487"/>
                    <a:pt x="1080" y="1511"/>
                    <a:pt x="1118" y="1536"/>
                  </a:cubicBezTo>
                  <a:cubicBezTo>
                    <a:pt x="1140" y="1552"/>
                    <a:pt x="1145" y="1569"/>
                    <a:pt x="1165" y="1577"/>
                  </a:cubicBezTo>
                  <a:cubicBezTo>
                    <a:pt x="1181" y="1593"/>
                    <a:pt x="1168" y="1577"/>
                    <a:pt x="1206" y="1580"/>
                  </a:cubicBezTo>
                  <a:cubicBezTo>
                    <a:pt x="1218" y="1547"/>
                    <a:pt x="1215" y="1522"/>
                    <a:pt x="1308" y="1516"/>
                  </a:cubicBezTo>
                  <a:cubicBezTo>
                    <a:pt x="1328" y="1520"/>
                    <a:pt x="1351" y="1535"/>
                    <a:pt x="1351" y="1535"/>
                  </a:cubicBezTo>
                  <a:cubicBezTo>
                    <a:pt x="1366" y="1516"/>
                    <a:pt x="1396" y="1502"/>
                    <a:pt x="1478" y="1480"/>
                  </a:cubicBezTo>
                  <a:cubicBezTo>
                    <a:pt x="1502" y="1484"/>
                    <a:pt x="1519" y="1487"/>
                    <a:pt x="1543" y="1495"/>
                  </a:cubicBezTo>
                  <a:cubicBezTo>
                    <a:pt x="1579" y="1513"/>
                    <a:pt x="1626" y="1519"/>
                    <a:pt x="1682" y="1540"/>
                  </a:cubicBezTo>
                  <a:cubicBezTo>
                    <a:pt x="1694" y="1540"/>
                    <a:pt x="1710" y="1548"/>
                    <a:pt x="1714" y="1536"/>
                  </a:cubicBezTo>
                  <a:cubicBezTo>
                    <a:pt x="1718" y="1520"/>
                    <a:pt x="1694" y="1456"/>
                    <a:pt x="1682" y="1436"/>
                  </a:cubicBezTo>
                  <a:cubicBezTo>
                    <a:pt x="1674" y="1396"/>
                    <a:pt x="1674" y="1380"/>
                    <a:pt x="1706" y="1360"/>
                  </a:cubicBezTo>
                  <a:cubicBezTo>
                    <a:pt x="1714" y="1348"/>
                    <a:pt x="1722" y="1324"/>
                    <a:pt x="1722" y="1324"/>
                  </a:cubicBezTo>
                  <a:cubicBezTo>
                    <a:pt x="1726" y="1284"/>
                    <a:pt x="1726" y="1236"/>
                    <a:pt x="1770" y="1220"/>
                  </a:cubicBezTo>
                  <a:cubicBezTo>
                    <a:pt x="1802" y="1172"/>
                    <a:pt x="1842" y="1144"/>
                    <a:pt x="1874" y="1096"/>
                  </a:cubicBezTo>
                  <a:cubicBezTo>
                    <a:pt x="1874" y="1032"/>
                    <a:pt x="1874" y="1016"/>
                    <a:pt x="1862" y="980"/>
                  </a:cubicBezTo>
                  <a:cubicBezTo>
                    <a:pt x="1870" y="952"/>
                    <a:pt x="1846" y="944"/>
                    <a:pt x="1822" y="940"/>
                  </a:cubicBezTo>
                  <a:cubicBezTo>
                    <a:pt x="1814" y="916"/>
                    <a:pt x="1810" y="912"/>
                    <a:pt x="1790" y="896"/>
                  </a:cubicBezTo>
                  <a:cubicBezTo>
                    <a:pt x="1778" y="888"/>
                    <a:pt x="1754" y="872"/>
                    <a:pt x="1754" y="872"/>
                  </a:cubicBezTo>
                  <a:cubicBezTo>
                    <a:pt x="1742" y="812"/>
                    <a:pt x="1722" y="780"/>
                    <a:pt x="1714" y="744"/>
                  </a:cubicBezTo>
                  <a:cubicBezTo>
                    <a:pt x="1726" y="644"/>
                    <a:pt x="1726" y="632"/>
                    <a:pt x="1630" y="624"/>
                  </a:cubicBezTo>
                  <a:cubicBezTo>
                    <a:pt x="1630" y="600"/>
                    <a:pt x="1610" y="564"/>
                    <a:pt x="1634" y="548"/>
                  </a:cubicBezTo>
                  <a:cubicBezTo>
                    <a:pt x="1654" y="520"/>
                    <a:pt x="1666" y="496"/>
                    <a:pt x="1702" y="484"/>
                  </a:cubicBezTo>
                  <a:cubicBezTo>
                    <a:pt x="1710" y="476"/>
                    <a:pt x="1722" y="448"/>
                    <a:pt x="1722" y="448"/>
                  </a:cubicBezTo>
                  <a:cubicBezTo>
                    <a:pt x="1722" y="440"/>
                    <a:pt x="1722" y="412"/>
                    <a:pt x="1714" y="400"/>
                  </a:cubicBezTo>
                  <a:cubicBezTo>
                    <a:pt x="1710" y="392"/>
                    <a:pt x="1698" y="376"/>
                    <a:pt x="1698" y="376"/>
                  </a:cubicBezTo>
                  <a:cubicBezTo>
                    <a:pt x="1694" y="368"/>
                    <a:pt x="1690" y="356"/>
                    <a:pt x="1674" y="328"/>
                  </a:cubicBezTo>
                  <a:cubicBezTo>
                    <a:pt x="1662" y="300"/>
                    <a:pt x="1634" y="252"/>
                    <a:pt x="1618" y="216"/>
                  </a:cubicBezTo>
                  <a:cubicBezTo>
                    <a:pt x="1602" y="192"/>
                    <a:pt x="1614" y="108"/>
                    <a:pt x="1586" y="100"/>
                  </a:cubicBezTo>
                  <a:cubicBezTo>
                    <a:pt x="1582" y="76"/>
                    <a:pt x="1554" y="52"/>
                    <a:pt x="1530" y="44"/>
                  </a:cubicBezTo>
                  <a:cubicBezTo>
                    <a:pt x="1510" y="20"/>
                    <a:pt x="1502" y="24"/>
                    <a:pt x="1466" y="20"/>
                  </a:cubicBezTo>
                  <a:cubicBezTo>
                    <a:pt x="1446" y="16"/>
                    <a:pt x="1414" y="16"/>
                    <a:pt x="1394" y="20"/>
                  </a:cubicBezTo>
                  <a:cubicBezTo>
                    <a:pt x="1354" y="40"/>
                    <a:pt x="1318" y="52"/>
                    <a:pt x="1286" y="56"/>
                  </a:cubicBezTo>
                  <a:cubicBezTo>
                    <a:pt x="1234" y="64"/>
                    <a:pt x="1150" y="76"/>
                    <a:pt x="1090" y="80"/>
                  </a:cubicBezTo>
                  <a:cubicBezTo>
                    <a:pt x="1030" y="84"/>
                    <a:pt x="994" y="80"/>
                    <a:pt x="927" y="76"/>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575" name="Freeform 2540">
              <a:extLst>
                <a:ext uri="{FF2B5EF4-FFF2-40B4-BE49-F238E27FC236}">
                  <a16:creationId xmlns:a16="http://schemas.microsoft.com/office/drawing/2014/main" id="{AA2FACF6-02BB-D232-E542-33754E187565}"/>
                </a:ext>
              </a:extLst>
            </p:cNvPr>
            <p:cNvSpPr>
              <a:spLocks noChangeAspect="1"/>
            </p:cNvSpPr>
            <p:nvPr>
              <p:custDataLst>
                <p:tags r:id="rId32"/>
              </p:custDataLst>
            </p:nvPr>
          </p:nvSpPr>
          <p:spPr bwMode="auto">
            <a:xfrm>
              <a:off x="3571147" y="3851937"/>
              <a:ext cx="309258" cy="171162"/>
            </a:xfrm>
            <a:custGeom>
              <a:avLst/>
              <a:gdLst>
                <a:gd name="T0" fmla="*/ 939 w 1271"/>
                <a:gd name="T1" fmla="*/ 620 h 703"/>
                <a:gd name="T2" fmla="*/ 954 w 1271"/>
                <a:gd name="T3" fmla="*/ 592 h 703"/>
                <a:gd name="T4" fmla="*/ 1032 w 1271"/>
                <a:gd name="T5" fmla="*/ 589 h 703"/>
                <a:gd name="T6" fmla="*/ 1104 w 1271"/>
                <a:gd name="T7" fmla="*/ 539 h 703"/>
                <a:gd name="T8" fmla="*/ 1114 w 1271"/>
                <a:gd name="T9" fmla="*/ 503 h 703"/>
                <a:gd name="T10" fmla="*/ 1171 w 1271"/>
                <a:gd name="T11" fmla="*/ 431 h 703"/>
                <a:gd name="T12" fmla="*/ 1239 w 1271"/>
                <a:gd name="T13" fmla="*/ 359 h 703"/>
                <a:gd name="T14" fmla="*/ 1251 w 1271"/>
                <a:gd name="T15" fmla="*/ 340 h 703"/>
                <a:gd name="T16" fmla="*/ 1215 w 1271"/>
                <a:gd name="T17" fmla="*/ 304 h 703"/>
                <a:gd name="T18" fmla="*/ 1175 w 1271"/>
                <a:gd name="T19" fmla="*/ 248 h 703"/>
                <a:gd name="T20" fmla="*/ 1019 w 1271"/>
                <a:gd name="T21" fmla="*/ 228 h 703"/>
                <a:gd name="T22" fmla="*/ 1007 w 1271"/>
                <a:gd name="T23" fmla="*/ 200 h 703"/>
                <a:gd name="T24" fmla="*/ 1023 w 1271"/>
                <a:gd name="T25" fmla="*/ 176 h 703"/>
                <a:gd name="T26" fmla="*/ 963 w 1271"/>
                <a:gd name="T27" fmla="*/ 172 h 703"/>
                <a:gd name="T28" fmla="*/ 915 w 1271"/>
                <a:gd name="T29" fmla="*/ 148 h 703"/>
                <a:gd name="T30" fmla="*/ 867 w 1271"/>
                <a:gd name="T31" fmla="*/ 160 h 703"/>
                <a:gd name="T32" fmla="*/ 855 w 1271"/>
                <a:gd name="T33" fmla="*/ 208 h 703"/>
                <a:gd name="T34" fmla="*/ 827 w 1271"/>
                <a:gd name="T35" fmla="*/ 224 h 703"/>
                <a:gd name="T36" fmla="*/ 779 w 1271"/>
                <a:gd name="T37" fmla="*/ 176 h 703"/>
                <a:gd name="T38" fmla="*/ 759 w 1271"/>
                <a:gd name="T39" fmla="*/ 140 h 703"/>
                <a:gd name="T40" fmla="*/ 679 w 1271"/>
                <a:gd name="T41" fmla="*/ 64 h 703"/>
                <a:gd name="T42" fmla="*/ 587 w 1271"/>
                <a:gd name="T43" fmla="*/ 32 h 703"/>
                <a:gd name="T44" fmla="*/ 551 w 1271"/>
                <a:gd name="T45" fmla="*/ 4 h 703"/>
                <a:gd name="T46" fmla="*/ 522 w 1271"/>
                <a:gd name="T47" fmla="*/ 10 h 703"/>
                <a:gd name="T48" fmla="*/ 479 w 1271"/>
                <a:gd name="T49" fmla="*/ 28 h 703"/>
                <a:gd name="T50" fmla="*/ 447 w 1271"/>
                <a:gd name="T51" fmla="*/ 31 h 703"/>
                <a:gd name="T52" fmla="*/ 388 w 1271"/>
                <a:gd name="T53" fmla="*/ 17 h 703"/>
                <a:gd name="T54" fmla="*/ 339 w 1271"/>
                <a:gd name="T55" fmla="*/ 76 h 703"/>
                <a:gd name="T56" fmla="*/ 289 w 1271"/>
                <a:gd name="T57" fmla="*/ 100 h 703"/>
                <a:gd name="T58" fmla="*/ 183 w 1271"/>
                <a:gd name="T59" fmla="*/ 142 h 703"/>
                <a:gd name="T60" fmla="*/ 102 w 1271"/>
                <a:gd name="T61" fmla="*/ 193 h 703"/>
                <a:gd name="T62" fmla="*/ 58 w 1271"/>
                <a:gd name="T63" fmla="*/ 211 h 703"/>
                <a:gd name="T64" fmla="*/ 0 w 1271"/>
                <a:gd name="T65" fmla="*/ 250 h 703"/>
                <a:gd name="T66" fmla="*/ 34 w 1271"/>
                <a:gd name="T67" fmla="*/ 299 h 703"/>
                <a:gd name="T68" fmla="*/ 63 w 1271"/>
                <a:gd name="T69" fmla="*/ 352 h 703"/>
                <a:gd name="T70" fmla="*/ 83 w 1271"/>
                <a:gd name="T71" fmla="*/ 428 h 703"/>
                <a:gd name="T72" fmla="*/ 142 w 1271"/>
                <a:gd name="T73" fmla="*/ 485 h 703"/>
                <a:gd name="T74" fmla="*/ 207 w 1271"/>
                <a:gd name="T75" fmla="*/ 541 h 703"/>
                <a:gd name="T76" fmla="*/ 228 w 1271"/>
                <a:gd name="T77" fmla="*/ 566 h 703"/>
                <a:gd name="T78" fmla="*/ 253 w 1271"/>
                <a:gd name="T79" fmla="*/ 593 h 703"/>
                <a:gd name="T80" fmla="*/ 301 w 1271"/>
                <a:gd name="T81" fmla="*/ 604 h 703"/>
                <a:gd name="T82" fmla="*/ 346 w 1271"/>
                <a:gd name="T83" fmla="*/ 688 h 703"/>
                <a:gd name="T84" fmla="*/ 411 w 1271"/>
                <a:gd name="T85" fmla="*/ 700 h 703"/>
                <a:gd name="T86" fmla="*/ 486 w 1271"/>
                <a:gd name="T87" fmla="*/ 695 h 703"/>
                <a:gd name="T88" fmla="*/ 508 w 1271"/>
                <a:gd name="T89" fmla="*/ 685 h 703"/>
                <a:gd name="T90" fmla="*/ 534 w 1271"/>
                <a:gd name="T91" fmla="*/ 599 h 703"/>
                <a:gd name="T92" fmla="*/ 564 w 1271"/>
                <a:gd name="T93" fmla="*/ 574 h 703"/>
                <a:gd name="T94" fmla="*/ 616 w 1271"/>
                <a:gd name="T95" fmla="*/ 580 h 703"/>
                <a:gd name="T96" fmla="*/ 679 w 1271"/>
                <a:gd name="T97" fmla="*/ 588 h 703"/>
                <a:gd name="T98" fmla="*/ 731 w 1271"/>
                <a:gd name="T99" fmla="*/ 608 h 703"/>
                <a:gd name="T100" fmla="*/ 783 w 1271"/>
                <a:gd name="T101" fmla="*/ 632 h 703"/>
                <a:gd name="T102" fmla="*/ 855 w 1271"/>
                <a:gd name="T103" fmla="*/ 636 h 703"/>
                <a:gd name="T104" fmla="*/ 919 w 1271"/>
                <a:gd name="T105" fmla="*/ 637 h 703"/>
                <a:gd name="T106" fmla="*/ 939 w 1271"/>
                <a:gd name="T107" fmla="*/ 620 h 70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271"/>
                <a:gd name="T163" fmla="*/ 0 h 703"/>
                <a:gd name="T164" fmla="*/ 1271 w 1271"/>
                <a:gd name="T165" fmla="*/ 703 h 70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271" h="703">
                  <a:moveTo>
                    <a:pt x="939" y="620"/>
                  </a:moveTo>
                  <a:cubicBezTo>
                    <a:pt x="947" y="613"/>
                    <a:pt x="939" y="597"/>
                    <a:pt x="954" y="592"/>
                  </a:cubicBezTo>
                  <a:cubicBezTo>
                    <a:pt x="969" y="587"/>
                    <a:pt x="1007" y="598"/>
                    <a:pt x="1032" y="589"/>
                  </a:cubicBezTo>
                  <a:cubicBezTo>
                    <a:pt x="1064" y="581"/>
                    <a:pt x="1084" y="547"/>
                    <a:pt x="1104" y="539"/>
                  </a:cubicBezTo>
                  <a:cubicBezTo>
                    <a:pt x="1111" y="526"/>
                    <a:pt x="1103" y="521"/>
                    <a:pt x="1114" y="503"/>
                  </a:cubicBezTo>
                  <a:cubicBezTo>
                    <a:pt x="1135" y="490"/>
                    <a:pt x="1143" y="452"/>
                    <a:pt x="1171" y="431"/>
                  </a:cubicBezTo>
                  <a:cubicBezTo>
                    <a:pt x="1183" y="391"/>
                    <a:pt x="1206" y="371"/>
                    <a:pt x="1239" y="359"/>
                  </a:cubicBezTo>
                  <a:cubicBezTo>
                    <a:pt x="1270" y="340"/>
                    <a:pt x="1271" y="360"/>
                    <a:pt x="1251" y="340"/>
                  </a:cubicBezTo>
                  <a:cubicBezTo>
                    <a:pt x="1243" y="320"/>
                    <a:pt x="1235" y="312"/>
                    <a:pt x="1215" y="304"/>
                  </a:cubicBezTo>
                  <a:cubicBezTo>
                    <a:pt x="1207" y="288"/>
                    <a:pt x="1191" y="256"/>
                    <a:pt x="1175" y="248"/>
                  </a:cubicBezTo>
                  <a:cubicBezTo>
                    <a:pt x="1135" y="224"/>
                    <a:pt x="1083" y="248"/>
                    <a:pt x="1019" y="228"/>
                  </a:cubicBezTo>
                  <a:cubicBezTo>
                    <a:pt x="1015" y="220"/>
                    <a:pt x="1003" y="208"/>
                    <a:pt x="1007" y="200"/>
                  </a:cubicBezTo>
                  <a:cubicBezTo>
                    <a:pt x="1011" y="192"/>
                    <a:pt x="1023" y="176"/>
                    <a:pt x="1023" y="176"/>
                  </a:cubicBezTo>
                  <a:cubicBezTo>
                    <a:pt x="1015" y="144"/>
                    <a:pt x="987" y="164"/>
                    <a:pt x="963" y="172"/>
                  </a:cubicBezTo>
                  <a:cubicBezTo>
                    <a:pt x="947" y="164"/>
                    <a:pt x="931" y="160"/>
                    <a:pt x="915" y="148"/>
                  </a:cubicBezTo>
                  <a:cubicBezTo>
                    <a:pt x="899" y="148"/>
                    <a:pt x="875" y="152"/>
                    <a:pt x="867" y="160"/>
                  </a:cubicBezTo>
                  <a:cubicBezTo>
                    <a:pt x="887" y="188"/>
                    <a:pt x="875" y="196"/>
                    <a:pt x="855" y="208"/>
                  </a:cubicBezTo>
                  <a:cubicBezTo>
                    <a:pt x="851" y="224"/>
                    <a:pt x="843" y="228"/>
                    <a:pt x="827" y="224"/>
                  </a:cubicBezTo>
                  <a:cubicBezTo>
                    <a:pt x="815" y="208"/>
                    <a:pt x="799" y="188"/>
                    <a:pt x="779" y="176"/>
                  </a:cubicBezTo>
                  <a:cubicBezTo>
                    <a:pt x="775" y="164"/>
                    <a:pt x="759" y="140"/>
                    <a:pt x="759" y="140"/>
                  </a:cubicBezTo>
                  <a:cubicBezTo>
                    <a:pt x="803" y="40"/>
                    <a:pt x="751" y="68"/>
                    <a:pt x="679" y="64"/>
                  </a:cubicBezTo>
                  <a:cubicBezTo>
                    <a:pt x="651" y="56"/>
                    <a:pt x="611" y="52"/>
                    <a:pt x="587" y="32"/>
                  </a:cubicBezTo>
                  <a:cubicBezTo>
                    <a:pt x="575" y="24"/>
                    <a:pt x="551" y="4"/>
                    <a:pt x="551" y="4"/>
                  </a:cubicBezTo>
                  <a:cubicBezTo>
                    <a:pt x="540" y="0"/>
                    <a:pt x="534" y="6"/>
                    <a:pt x="522" y="10"/>
                  </a:cubicBezTo>
                  <a:cubicBezTo>
                    <a:pt x="510" y="14"/>
                    <a:pt x="491" y="25"/>
                    <a:pt x="479" y="28"/>
                  </a:cubicBezTo>
                  <a:cubicBezTo>
                    <a:pt x="475" y="32"/>
                    <a:pt x="447" y="31"/>
                    <a:pt x="447" y="31"/>
                  </a:cubicBezTo>
                  <a:cubicBezTo>
                    <a:pt x="427" y="23"/>
                    <a:pt x="408" y="25"/>
                    <a:pt x="388" y="17"/>
                  </a:cubicBezTo>
                  <a:cubicBezTo>
                    <a:pt x="364" y="43"/>
                    <a:pt x="369" y="29"/>
                    <a:pt x="339" y="76"/>
                  </a:cubicBezTo>
                  <a:cubicBezTo>
                    <a:pt x="285" y="88"/>
                    <a:pt x="301" y="89"/>
                    <a:pt x="289" y="100"/>
                  </a:cubicBezTo>
                  <a:cubicBezTo>
                    <a:pt x="263" y="111"/>
                    <a:pt x="222" y="125"/>
                    <a:pt x="183" y="142"/>
                  </a:cubicBezTo>
                  <a:cubicBezTo>
                    <a:pt x="153" y="158"/>
                    <a:pt x="123" y="182"/>
                    <a:pt x="102" y="193"/>
                  </a:cubicBezTo>
                  <a:cubicBezTo>
                    <a:pt x="81" y="204"/>
                    <a:pt x="70" y="194"/>
                    <a:pt x="58" y="211"/>
                  </a:cubicBezTo>
                  <a:cubicBezTo>
                    <a:pt x="18" y="223"/>
                    <a:pt x="13" y="221"/>
                    <a:pt x="0" y="250"/>
                  </a:cubicBezTo>
                  <a:cubicBezTo>
                    <a:pt x="4" y="286"/>
                    <a:pt x="10" y="283"/>
                    <a:pt x="34" y="299"/>
                  </a:cubicBezTo>
                  <a:cubicBezTo>
                    <a:pt x="60" y="314"/>
                    <a:pt x="55" y="328"/>
                    <a:pt x="63" y="352"/>
                  </a:cubicBezTo>
                  <a:cubicBezTo>
                    <a:pt x="59" y="380"/>
                    <a:pt x="60" y="407"/>
                    <a:pt x="83" y="428"/>
                  </a:cubicBezTo>
                  <a:cubicBezTo>
                    <a:pt x="99" y="454"/>
                    <a:pt x="126" y="473"/>
                    <a:pt x="142" y="485"/>
                  </a:cubicBezTo>
                  <a:cubicBezTo>
                    <a:pt x="162" y="513"/>
                    <a:pt x="178" y="529"/>
                    <a:pt x="207" y="541"/>
                  </a:cubicBezTo>
                  <a:cubicBezTo>
                    <a:pt x="223" y="553"/>
                    <a:pt x="212" y="554"/>
                    <a:pt x="228" y="566"/>
                  </a:cubicBezTo>
                  <a:cubicBezTo>
                    <a:pt x="236" y="573"/>
                    <a:pt x="244" y="580"/>
                    <a:pt x="253" y="593"/>
                  </a:cubicBezTo>
                  <a:cubicBezTo>
                    <a:pt x="265" y="598"/>
                    <a:pt x="285" y="590"/>
                    <a:pt x="301" y="604"/>
                  </a:cubicBezTo>
                  <a:cubicBezTo>
                    <a:pt x="325" y="628"/>
                    <a:pt x="325" y="673"/>
                    <a:pt x="346" y="688"/>
                  </a:cubicBezTo>
                  <a:cubicBezTo>
                    <a:pt x="373" y="680"/>
                    <a:pt x="391" y="696"/>
                    <a:pt x="411" y="700"/>
                  </a:cubicBezTo>
                  <a:cubicBezTo>
                    <a:pt x="439" y="703"/>
                    <a:pt x="453" y="691"/>
                    <a:pt x="486" y="695"/>
                  </a:cubicBezTo>
                  <a:cubicBezTo>
                    <a:pt x="494" y="691"/>
                    <a:pt x="508" y="685"/>
                    <a:pt x="508" y="685"/>
                  </a:cubicBezTo>
                  <a:cubicBezTo>
                    <a:pt x="513" y="659"/>
                    <a:pt x="514" y="619"/>
                    <a:pt x="534" y="599"/>
                  </a:cubicBezTo>
                  <a:cubicBezTo>
                    <a:pt x="534" y="587"/>
                    <a:pt x="552" y="578"/>
                    <a:pt x="564" y="574"/>
                  </a:cubicBezTo>
                  <a:cubicBezTo>
                    <a:pt x="580" y="566"/>
                    <a:pt x="600" y="576"/>
                    <a:pt x="616" y="580"/>
                  </a:cubicBezTo>
                  <a:cubicBezTo>
                    <a:pt x="640" y="584"/>
                    <a:pt x="655" y="588"/>
                    <a:pt x="679" y="588"/>
                  </a:cubicBezTo>
                  <a:cubicBezTo>
                    <a:pt x="708" y="593"/>
                    <a:pt x="735" y="593"/>
                    <a:pt x="731" y="608"/>
                  </a:cubicBezTo>
                  <a:cubicBezTo>
                    <a:pt x="747" y="612"/>
                    <a:pt x="759" y="628"/>
                    <a:pt x="783" y="632"/>
                  </a:cubicBezTo>
                  <a:cubicBezTo>
                    <a:pt x="803" y="636"/>
                    <a:pt x="832" y="635"/>
                    <a:pt x="855" y="636"/>
                  </a:cubicBezTo>
                  <a:cubicBezTo>
                    <a:pt x="880" y="640"/>
                    <a:pt x="891" y="641"/>
                    <a:pt x="919" y="637"/>
                  </a:cubicBezTo>
                  <a:cubicBezTo>
                    <a:pt x="935" y="629"/>
                    <a:pt x="931" y="620"/>
                    <a:pt x="939" y="620"/>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41" name="Freeform 2541">
              <a:extLst>
                <a:ext uri="{FF2B5EF4-FFF2-40B4-BE49-F238E27FC236}">
                  <a16:creationId xmlns:a16="http://schemas.microsoft.com/office/drawing/2014/main" id="{690929AD-414F-A21C-10D9-DD31F5877F7C}"/>
                </a:ext>
              </a:extLst>
            </p:cNvPr>
            <p:cNvSpPr>
              <a:spLocks noChangeAspect="1"/>
            </p:cNvSpPr>
            <p:nvPr>
              <p:custDataLst>
                <p:tags r:id="rId33"/>
              </p:custDataLst>
            </p:nvPr>
          </p:nvSpPr>
          <p:spPr bwMode="auto">
            <a:xfrm>
              <a:off x="3451527" y="3991005"/>
              <a:ext cx="358856" cy="185750"/>
            </a:xfrm>
            <a:custGeom>
              <a:avLst/>
              <a:gdLst>
                <a:gd name="T0" fmla="*/ 72 w 1474"/>
                <a:gd name="T1" fmla="*/ 471 h 764"/>
                <a:gd name="T2" fmla="*/ 125 w 1474"/>
                <a:gd name="T3" fmla="*/ 501 h 764"/>
                <a:gd name="T4" fmla="*/ 200 w 1474"/>
                <a:gd name="T5" fmla="*/ 474 h 764"/>
                <a:gd name="T6" fmla="*/ 321 w 1474"/>
                <a:gd name="T7" fmla="*/ 497 h 764"/>
                <a:gd name="T8" fmla="*/ 420 w 1474"/>
                <a:gd name="T9" fmla="*/ 428 h 764"/>
                <a:gd name="T10" fmla="*/ 574 w 1474"/>
                <a:gd name="T11" fmla="*/ 420 h 764"/>
                <a:gd name="T12" fmla="*/ 639 w 1474"/>
                <a:gd name="T13" fmla="*/ 420 h 764"/>
                <a:gd name="T14" fmla="*/ 699 w 1474"/>
                <a:gd name="T15" fmla="*/ 450 h 764"/>
                <a:gd name="T16" fmla="*/ 671 w 1474"/>
                <a:gd name="T17" fmla="*/ 401 h 764"/>
                <a:gd name="T18" fmla="*/ 680 w 1474"/>
                <a:gd name="T19" fmla="*/ 234 h 764"/>
                <a:gd name="T20" fmla="*/ 761 w 1474"/>
                <a:gd name="T21" fmla="*/ 149 h 764"/>
                <a:gd name="T22" fmla="*/ 827 w 1474"/>
                <a:gd name="T23" fmla="*/ 116 h 764"/>
                <a:gd name="T24" fmla="*/ 974 w 1474"/>
                <a:gd name="T25" fmla="*/ 120 h 764"/>
                <a:gd name="T26" fmla="*/ 1054 w 1474"/>
                <a:gd name="T27" fmla="*/ 0 h 764"/>
                <a:gd name="T28" fmla="*/ 1410 w 1474"/>
                <a:gd name="T29" fmla="*/ 64 h 764"/>
                <a:gd name="T30" fmla="*/ 1421 w 1474"/>
                <a:gd name="T31" fmla="*/ 116 h 764"/>
                <a:gd name="T32" fmla="*/ 1474 w 1474"/>
                <a:gd name="T33" fmla="*/ 284 h 764"/>
                <a:gd name="T34" fmla="*/ 1338 w 1474"/>
                <a:gd name="T35" fmla="*/ 356 h 764"/>
                <a:gd name="T36" fmla="*/ 1390 w 1474"/>
                <a:gd name="T37" fmla="*/ 424 h 764"/>
                <a:gd name="T38" fmla="*/ 1322 w 1474"/>
                <a:gd name="T39" fmla="*/ 588 h 764"/>
                <a:gd name="T40" fmla="*/ 1222 w 1474"/>
                <a:gd name="T41" fmla="*/ 660 h 764"/>
                <a:gd name="T42" fmla="*/ 1174 w 1474"/>
                <a:gd name="T43" fmla="*/ 692 h 764"/>
                <a:gd name="T44" fmla="*/ 1066 w 1474"/>
                <a:gd name="T45" fmla="*/ 720 h 764"/>
                <a:gd name="T46" fmla="*/ 807 w 1474"/>
                <a:gd name="T47" fmla="*/ 737 h 764"/>
                <a:gd name="T48" fmla="*/ 578 w 1474"/>
                <a:gd name="T49" fmla="*/ 688 h 764"/>
                <a:gd name="T50" fmla="*/ 530 w 1474"/>
                <a:gd name="T51" fmla="*/ 620 h 764"/>
                <a:gd name="T52" fmla="*/ 438 w 1474"/>
                <a:gd name="T53" fmla="*/ 608 h 764"/>
                <a:gd name="T54" fmla="*/ 310 w 1474"/>
                <a:gd name="T55" fmla="*/ 656 h 764"/>
                <a:gd name="T56" fmla="*/ 214 w 1474"/>
                <a:gd name="T57" fmla="*/ 650 h 764"/>
                <a:gd name="T58" fmla="*/ 142 w 1474"/>
                <a:gd name="T59" fmla="*/ 632 h 764"/>
                <a:gd name="T60" fmla="*/ 71 w 1474"/>
                <a:gd name="T61" fmla="*/ 627 h 764"/>
                <a:gd name="T62" fmla="*/ 0 w 1474"/>
                <a:gd name="T63" fmla="*/ 552 h 76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74"/>
                <a:gd name="T97" fmla="*/ 0 h 764"/>
                <a:gd name="T98" fmla="*/ 1474 w 1474"/>
                <a:gd name="T99" fmla="*/ 764 h 76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74" h="764">
                  <a:moveTo>
                    <a:pt x="26" y="452"/>
                  </a:moveTo>
                  <a:cubicBezTo>
                    <a:pt x="39" y="438"/>
                    <a:pt x="59" y="467"/>
                    <a:pt x="72" y="471"/>
                  </a:cubicBezTo>
                  <a:cubicBezTo>
                    <a:pt x="85" y="475"/>
                    <a:pt x="98" y="472"/>
                    <a:pt x="107" y="477"/>
                  </a:cubicBezTo>
                  <a:cubicBezTo>
                    <a:pt x="115" y="489"/>
                    <a:pt x="125" y="501"/>
                    <a:pt x="125" y="501"/>
                  </a:cubicBezTo>
                  <a:cubicBezTo>
                    <a:pt x="129" y="517"/>
                    <a:pt x="142" y="510"/>
                    <a:pt x="150" y="522"/>
                  </a:cubicBezTo>
                  <a:cubicBezTo>
                    <a:pt x="201" y="522"/>
                    <a:pt x="192" y="498"/>
                    <a:pt x="200" y="474"/>
                  </a:cubicBezTo>
                  <a:cubicBezTo>
                    <a:pt x="212" y="466"/>
                    <a:pt x="214" y="468"/>
                    <a:pt x="230" y="464"/>
                  </a:cubicBezTo>
                  <a:cubicBezTo>
                    <a:pt x="262" y="476"/>
                    <a:pt x="294" y="500"/>
                    <a:pt x="321" y="497"/>
                  </a:cubicBezTo>
                  <a:cubicBezTo>
                    <a:pt x="345" y="489"/>
                    <a:pt x="354" y="483"/>
                    <a:pt x="374" y="479"/>
                  </a:cubicBezTo>
                  <a:cubicBezTo>
                    <a:pt x="383" y="462"/>
                    <a:pt x="396" y="440"/>
                    <a:pt x="420" y="428"/>
                  </a:cubicBezTo>
                  <a:cubicBezTo>
                    <a:pt x="444" y="416"/>
                    <a:pt x="493" y="408"/>
                    <a:pt x="519" y="407"/>
                  </a:cubicBezTo>
                  <a:cubicBezTo>
                    <a:pt x="545" y="406"/>
                    <a:pt x="537" y="402"/>
                    <a:pt x="574" y="420"/>
                  </a:cubicBezTo>
                  <a:cubicBezTo>
                    <a:pt x="594" y="410"/>
                    <a:pt x="591" y="407"/>
                    <a:pt x="602" y="407"/>
                  </a:cubicBezTo>
                  <a:cubicBezTo>
                    <a:pt x="613" y="407"/>
                    <a:pt x="625" y="412"/>
                    <a:pt x="639" y="420"/>
                  </a:cubicBezTo>
                  <a:cubicBezTo>
                    <a:pt x="656" y="425"/>
                    <a:pt x="674" y="450"/>
                    <a:pt x="684" y="455"/>
                  </a:cubicBezTo>
                  <a:cubicBezTo>
                    <a:pt x="694" y="460"/>
                    <a:pt x="696" y="455"/>
                    <a:pt x="699" y="450"/>
                  </a:cubicBezTo>
                  <a:cubicBezTo>
                    <a:pt x="695" y="438"/>
                    <a:pt x="709" y="438"/>
                    <a:pt x="701" y="426"/>
                  </a:cubicBezTo>
                  <a:cubicBezTo>
                    <a:pt x="696" y="408"/>
                    <a:pt x="671" y="401"/>
                    <a:pt x="671" y="401"/>
                  </a:cubicBezTo>
                  <a:cubicBezTo>
                    <a:pt x="678" y="315"/>
                    <a:pt x="647" y="294"/>
                    <a:pt x="623" y="270"/>
                  </a:cubicBezTo>
                  <a:cubicBezTo>
                    <a:pt x="659" y="263"/>
                    <a:pt x="662" y="244"/>
                    <a:pt x="680" y="234"/>
                  </a:cubicBezTo>
                  <a:cubicBezTo>
                    <a:pt x="698" y="224"/>
                    <a:pt x="715" y="223"/>
                    <a:pt x="729" y="209"/>
                  </a:cubicBezTo>
                  <a:cubicBezTo>
                    <a:pt x="743" y="188"/>
                    <a:pt x="740" y="168"/>
                    <a:pt x="761" y="149"/>
                  </a:cubicBezTo>
                  <a:cubicBezTo>
                    <a:pt x="774" y="136"/>
                    <a:pt x="799" y="137"/>
                    <a:pt x="810" y="132"/>
                  </a:cubicBezTo>
                  <a:cubicBezTo>
                    <a:pt x="821" y="127"/>
                    <a:pt x="812" y="117"/>
                    <a:pt x="827" y="116"/>
                  </a:cubicBezTo>
                  <a:cubicBezTo>
                    <a:pt x="843" y="108"/>
                    <a:pt x="874" y="116"/>
                    <a:pt x="898" y="128"/>
                  </a:cubicBezTo>
                  <a:cubicBezTo>
                    <a:pt x="922" y="124"/>
                    <a:pt x="950" y="124"/>
                    <a:pt x="974" y="120"/>
                  </a:cubicBezTo>
                  <a:cubicBezTo>
                    <a:pt x="982" y="120"/>
                    <a:pt x="998" y="112"/>
                    <a:pt x="998" y="112"/>
                  </a:cubicBezTo>
                  <a:cubicBezTo>
                    <a:pt x="1010" y="60"/>
                    <a:pt x="1010" y="28"/>
                    <a:pt x="1054" y="0"/>
                  </a:cubicBezTo>
                  <a:cubicBezTo>
                    <a:pt x="1110" y="8"/>
                    <a:pt x="1162" y="20"/>
                    <a:pt x="1218" y="24"/>
                  </a:cubicBezTo>
                  <a:cubicBezTo>
                    <a:pt x="1258" y="84"/>
                    <a:pt x="1342" y="60"/>
                    <a:pt x="1410" y="64"/>
                  </a:cubicBezTo>
                  <a:cubicBezTo>
                    <a:pt x="1443" y="74"/>
                    <a:pt x="1426" y="35"/>
                    <a:pt x="1433" y="50"/>
                  </a:cubicBezTo>
                  <a:cubicBezTo>
                    <a:pt x="1435" y="59"/>
                    <a:pt x="1419" y="98"/>
                    <a:pt x="1421" y="116"/>
                  </a:cubicBezTo>
                  <a:cubicBezTo>
                    <a:pt x="1423" y="134"/>
                    <a:pt x="1434" y="130"/>
                    <a:pt x="1443" y="158"/>
                  </a:cubicBezTo>
                  <a:cubicBezTo>
                    <a:pt x="1427" y="210"/>
                    <a:pt x="1446" y="240"/>
                    <a:pt x="1474" y="284"/>
                  </a:cubicBezTo>
                  <a:cubicBezTo>
                    <a:pt x="1462" y="356"/>
                    <a:pt x="1470" y="348"/>
                    <a:pt x="1394" y="352"/>
                  </a:cubicBezTo>
                  <a:cubicBezTo>
                    <a:pt x="1374" y="344"/>
                    <a:pt x="1358" y="352"/>
                    <a:pt x="1338" y="356"/>
                  </a:cubicBezTo>
                  <a:cubicBezTo>
                    <a:pt x="1358" y="360"/>
                    <a:pt x="1374" y="372"/>
                    <a:pt x="1390" y="384"/>
                  </a:cubicBezTo>
                  <a:cubicBezTo>
                    <a:pt x="1402" y="424"/>
                    <a:pt x="1414" y="416"/>
                    <a:pt x="1390" y="424"/>
                  </a:cubicBezTo>
                  <a:cubicBezTo>
                    <a:pt x="1386" y="440"/>
                    <a:pt x="1378" y="452"/>
                    <a:pt x="1370" y="468"/>
                  </a:cubicBezTo>
                  <a:cubicBezTo>
                    <a:pt x="1378" y="528"/>
                    <a:pt x="1390" y="572"/>
                    <a:pt x="1322" y="588"/>
                  </a:cubicBezTo>
                  <a:cubicBezTo>
                    <a:pt x="1310" y="620"/>
                    <a:pt x="1322" y="608"/>
                    <a:pt x="1298" y="624"/>
                  </a:cubicBezTo>
                  <a:cubicBezTo>
                    <a:pt x="1286" y="660"/>
                    <a:pt x="1262" y="652"/>
                    <a:pt x="1222" y="660"/>
                  </a:cubicBezTo>
                  <a:cubicBezTo>
                    <a:pt x="1214" y="660"/>
                    <a:pt x="1202" y="664"/>
                    <a:pt x="1202" y="664"/>
                  </a:cubicBezTo>
                  <a:cubicBezTo>
                    <a:pt x="1198" y="684"/>
                    <a:pt x="1194" y="684"/>
                    <a:pt x="1174" y="692"/>
                  </a:cubicBezTo>
                  <a:cubicBezTo>
                    <a:pt x="1146" y="688"/>
                    <a:pt x="1134" y="696"/>
                    <a:pt x="1106" y="704"/>
                  </a:cubicBezTo>
                  <a:cubicBezTo>
                    <a:pt x="1094" y="720"/>
                    <a:pt x="1086" y="712"/>
                    <a:pt x="1066" y="720"/>
                  </a:cubicBezTo>
                  <a:cubicBezTo>
                    <a:pt x="1050" y="736"/>
                    <a:pt x="1018" y="748"/>
                    <a:pt x="998" y="756"/>
                  </a:cubicBezTo>
                  <a:cubicBezTo>
                    <a:pt x="926" y="764"/>
                    <a:pt x="895" y="741"/>
                    <a:pt x="807" y="737"/>
                  </a:cubicBezTo>
                  <a:cubicBezTo>
                    <a:pt x="763" y="721"/>
                    <a:pt x="672" y="723"/>
                    <a:pt x="626" y="712"/>
                  </a:cubicBezTo>
                  <a:cubicBezTo>
                    <a:pt x="606" y="704"/>
                    <a:pt x="598" y="696"/>
                    <a:pt x="578" y="688"/>
                  </a:cubicBezTo>
                  <a:cubicBezTo>
                    <a:pt x="574" y="688"/>
                    <a:pt x="564" y="677"/>
                    <a:pt x="564" y="677"/>
                  </a:cubicBezTo>
                  <a:cubicBezTo>
                    <a:pt x="549" y="657"/>
                    <a:pt x="548" y="632"/>
                    <a:pt x="530" y="620"/>
                  </a:cubicBezTo>
                  <a:cubicBezTo>
                    <a:pt x="519" y="605"/>
                    <a:pt x="522" y="604"/>
                    <a:pt x="500" y="594"/>
                  </a:cubicBezTo>
                  <a:cubicBezTo>
                    <a:pt x="476" y="595"/>
                    <a:pt x="438" y="608"/>
                    <a:pt x="438" y="608"/>
                  </a:cubicBezTo>
                  <a:cubicBezTo>
                    <a:pt x="399" y="614"/>
                    <a:pt x="377" y="620"/>
                    <a:pt x="334" y="616"/>
                  </a:cubicBezTo>
                  <a:cubicBezTo>
                    <a:pt x="326" y="630"/>
                    <a:pt x="333" y="621"/>
                    <a:pt x="310" y="656"/>
                  </a:cubicBezTo>
                  <a:cubicBezTo>
                    <a:pt x="306" y="664"/>
                    <a:pt x="303" y="668"/>
                    <a:pt x="303" y="668"/>
                  </a:cubicBezTo>
                  <a:cubicBezTo>
                    <a:pt x="240" y="663"/>
                    <a:pt x="235" y="654"/>
                    <a:pt x="214" y="650"/>
                  </a:cubicBezTo>
                  <a:cubicBezTo>
                    <a:pt x="193" y="646"/>
                    <a:pt x="190" y="647"/>
                    <a:pt x="178" y="644"/>
                  </a:cubicBezTo>
                  <a:cubicBezTo>
                    <a:pt x="173" y="626"/>
                    <a:pt x="166" y="616"/>
                    <a:pt x="142" y="632"/>
                  </a:cubicBezTo>
                  <a:cubicBezTo>
                    <a:pt x="134" y="648"/>
                    <a:pt x="107" y="650"/>
                    <a:pt x="93" y="659"/>
                  </a:cubicBezTo>
                  <a:cubicBezTo>
                    <a:pt x="81" y="650"/>
                    <a:pt x="79" y="647"/>
                    <a:pt x="71" y="627"/>
                  </a:cubicBezTo>
                  <a:cubicBezTo>
                    <a:pt x="67" y="611"/>
                    <a:pt x="38" y="596"/>
                    <a:pt x="26" y="588"/>
                  </a:cubicBezTo>
                  <a:cubicBezTo>
                    <a:pt x="11" y="582"/>
                    <a:pt x="4" y="568"/>
                    <a:pt x="0" y="552"/>
                  </a:cubicBezTo>
                  <a:cubicBezTo>
                    <a:pt x="16" y="508"/>
                    <a:pt x="38" y="521"/>
                    <a:pt x="26" y="452"/>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42" name="Freeform 2542">
              <a:extLst>
                <a:ext uri="{FF2B5EF4-FFF2-40B4-BE49-F238E27FC236}">
                  <a16:creationId xmlns:a16="http://schemas.microsoft.com/office/drawing/2014/main" id="{BE1D79CF-D0CD-8152-A55A-FA13280A20A8}"/>
                </a:ext>
              </a:extLst>
            </p:cNvPr>
            <p:cNvSpPr>
              <a:spLocks noChangeAspect="1"/>
            </p:cNvSpPr>
            <p:nvPr>
              <p:custDataLst>
                <p:tags r:id="rId34"/>
              </p:custDataLst>
            </p:nvPr>
          </p:nvSpPr>
          <p:spPr bwMode="auto">
            <a:xfrm>
              <a:off x="3277449" y="4080477"/>
              <a:ext cx="224650" cy="146849"/>
            </a:xfrm>
            <a:custGeom>
              <a:avLst/>
              <a:gdLst>
                <a:gd name="T0" fmla="*/ 328 w 925"/>
                <a:gd name="T1" fmla="*/ 78 h 605"/>
                <a:gd name="T2" fmla="*/ 428 w 925"/>
                <a:gd name="T3" fmla="*/ 82 h 605"/>
                <a:gd name="T4" fmla="*/ 513 w 925"/>
                <a:gd name="T5" fmla="*/ 69 h 605"/>
                <a:gd name="T6" fmla="*/ 535 w 925"/>
                <a:gd name="T7" fmla="*/ 48 h 605"/>
                <a:gd name="T8" fmla="*/ 500 w 925"/>
                <a:gd name="T9" fmla="*/ 30 h 605"/>
                <a:gd name="T10" fmla="*/ 528 w 925"/>
                <a:gd name="T11" fmla="*/ 10 h 605"/>
                <a:gd name="T12" fmla="*/ 567 w 925"/>
                <a:gd name="T13" fmla="*/ 26 h 605"/>
                <a:gd name="T14" fmla="*/ 596 w 925"/>
                <a:gd name="T15" fmla="*/ 62 h 605"/>
                <a:gd name="T16" fmla="*/ 633 w 925"/>
                <a:gd name="T17" fmla="*/ 42 h 605"/>
                <a:gd name="T18" fmla="*/ 685 w 925"/>
                <a:gd name="T19" fmla="*/ 50 h 605"/>
                <a:gd name="T20" fmla="*/ 744 w 925"/>
                <a:gd name="T21" fmla="*/ 80 h 605"/>
                <a:gd name="T22" fmla="*/ 720 w 925"/>
                <a:gd name="T23" fmla="*/ 182 h 605"/>
                <a:gd name="T24" fmla="*/ 752 w 925"/>
                <a:gd name="T25" fmla="*/ 226 h 605"/>
                <a:gd name="T26" fmla="*/ 788 w 925"/>
                <a:gd name="T27" fmla="*/ 254 h 605"/>
                <a:gd name="T28" fmla="*/ 808 w 925"/>
                <a:gd name="T29" fmla="*/ 294 h 605"/>
                <a:gd name="T30" fmla="*/ 880 w 925"/>
                <a:gd name="T31" fmla="*/ 258 h 605"/>
                <a:gd name="T32" fmla="*/ 898 w 925"/>
                <a:gd name="T33" fmla="*/ 281 h 605"/>
                <a:gd name="T34" fmla="*/ 924 w 925"/>
                <a:gd name="T35" fmla="*/ 282 h 605"/>
                <a:gd name="T36" fmla="*/ 903 w 925"/>
                <a:gd name="T37" fmla="*/ 300 h 605"/>
                <a:gd name="T38" fmla="*/ 888 w 925"/>
                <a:gd name="T39" fmla="*/ 350 h 605"/>
                <a:gd name="T40" fmla="*/ 838 w 925"/>
                <a:gd name="T41" fmla="*/ 374 h 605"/>
                <a:gd name="T42" fmla="*/ 823 w 925"/>
                <a:gd name="T43" fmla="*/ 419 h 605"/>
                <a:gd name="T44" fmla="*/ 792 w 925"/>
                <a:gd name="T45" fmla="*/ 434 h 605"/>
                <a:gd name="T46" fmla="*/ 744 w 925"/>
                <a:gd name="T47" fmla="*/ 470 h 605"/>
                <a:gd name="T48" fmla="*/ 709 w 925"/>
                <a:gd name="T49" fmla="*/ 435 h 605"/>
                <a:gd name="T50" fmla="*/ 693 w 925"/>
                <a:gd name="T51" fmla="*/ 417 h 605"/>
                <a:gd name="T52" fmla="*/ 655 w 925"/>
                <a:gd name="T53" fmla="*/ 453 h 605"/>
                <a:gd name="T54" fmla="*/ 610 w 925"/>
                <a:gd name="T55" fmla="*/ 534 h 605"/>
                <a:gd name="T56" fmla="*/ 583 w 925"/>
                <a:gd name="T57" fmla="*/ 605 h 605"/>
                <a:gd name="T58" fmla="*/ 555 w 925"/>
                <a:gd name="T59" fmla="*/ 515 h 605"/>
                <a:gd name="T60" fmla="*/ 528 w 925"/>
                <a:gd name="T61" fmla="*/ 495 h 605"/>
                <a:gd name="T62" fmla="*/ 525 w 925"/>
                <a:gd name="T63" fmla="*/ 476 h 605"/>
                <a:gd name="T64" fmla="*/ 496 w 925"/>
                <a:gd name="T65" fmla="*/ 438 h 605"/>
                <a:gd name="T66" fmla="*/ 464 w 925"/>
                <a:gd name="T67" fmla="*/ 458 h 605"/>
                <a:gd name="T68" fmla="*/ 432 w 925"/>
                <a:gd name="T69" fmla="*/ 498 h 605"/>
                <a:gd name="T70" fmla="*/ 411 w 925"/>
                <a:gd name="T71" fmla="*/ 540 h 605"/>
                <a:gd name="T72" fmla="*/ 360 w 925"/>
                <a:gd name="T73" fmla="*/ 546 h 605"/>
                <a:gd name="T74" fmla="*/ 286 w 925"/>
                <a:gd name="T75" fmla="*/ 548 h 605"/>
                <a:gd name="T76" fmla="*/ 248 w 925"/>
                <a:gd name="T77" fmla="*/ 566 h 605"/>
                <a:gd name="T78" fmla="*/ 198 w 925"/>
                <a:gd name="T79" fmla="*/ 552 h 605"/>
                <a:gd name="T80" fmla="*/ 188 w 925"/>
                <a:gd name="T81" fmla="*/ 534 h 605"/>
                <a:gd name="T82" fmla="*/ 168 w 925"/>
                <a:gd name="T83" fmla="*/ 473 h 605"/>
                <a:gd name="T84" fmla="*/ 128 w 925"/>
                <a:gd name="T85" fmla="*/ 422 h 605"/>
                <a:gd name="T86" fmla="*/ 44 w 925"/>
                <a:gd name="T87" fmla="*/ 438 h 605"/>
                <a:gd name="T88" fmla="*/ 0 w 925"/>
                <a:gd name="T89" fmla="*/ 494 h 605"/>
                <a:gd name="T90" fmla="*/ 24 w 925"/>
                <a:gd name="T91" fmla="*/ 414 h 605"/>
                <a:gd name="T92" fmla="*/ 36 w 925"/>
                <a:gd name="T93" fmla="*/ 351 h 605"/>
                <a:gd name="T94" fmla="*/ 94 w 925"/>
                <a:gd name="T95" fmla="*/ 299 h 605"/>
                <a:gd name="T96" fmla="*/ 136 w 925"/>
                <a:gd name="T97" fmla="*/ 245 h 605"/>
                <a:gd name="T98" fmla="*/ 184 w 925"/>
                <a:gd name="T99" fmla="*/ 174 h 605"/>
                <a:gd name="T100" fmla="*/ 198 w 925"/>
                <a:gd name="T101" fmla="*/ 134 h 605"/>
                <a:gd name="T102" fmla="*/ 225 w 925"/>
                <a:gd name="T103" fmla="*/ 81 h 605"/>
                <a:gd name="T104" fmla="*/ 276 w 925"/>
                <a:gd name="T105" fmla="*/ 87 h 605"/>
                <a:gd name="T106" fmla="*/ 328 w 925"/>
                <a:gd name="T107" fmla="*/ 78 h 60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25"/>
                <a:gd name="T163" fmla="*/ 0 h 605"/>
                <a:gd name="T164" fmla="*/ 925 w 925"/>
                <a:gd name="T165" fmla="*/ 605 h 60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25" h="605">
                  <a:moveTo>
                    <a:pt x="328" y="78"/>
                  </a:moveTo>
                  <a:cubicBezTo>
                    <a:pt x="372" y="86"/>
                    <a:pt x="378" y="74"/>
                    <a:pt x="428" y="82"/>
                  </a:cubicBezTo>
                  <a:cubicBezTo>
                    <a:pt x="460" y="74"/>
                    <a:pt x="481" y="81"/>
                    <a:pt x="513" y="69"/>
                  </a:cubicBezTo>
                  <a:cubicBezTo>
                    <a:pt x="517" y="61"/>
                    <a:pt x="543" y="52"/>
                    <a:pt x="535" y="48"/>
                  </a:cubicBezTo>
                  <a:cubicBezTo>
                    <a:pt x="523" y="44"/>
                    <a:pt x="500" y="30"/>
                    <a:pt x="500" y="30"/>
                  </a:cubicBezTo>
                  <a:cubicBezTo>
                    <a:pt x="480" y="2"/>
                    <a:pt x="505" y="0"/>
                    <a:pt x="528" y="10"/>
                  </a:cubicBezTo>
                  <a:cubicBezTo>
                    <a:pt x="544" y="14"/>
                    <a:pt x="555" y="18"/>
                    <a:pt x="567" y="26"/>
                  </a:cubicBezTo>
                  <a:cubicBezTo>
                    <a:pt x="568" y="50"/>
                    <a:pt x="592" y="59"/>
                    <a:pt x="596" y="62"/>
                  </a:cubicBezTo>
                  <a:cubicBezTo>
                    <a:pt x="606" y="66"/>
                    <a:pt x="618" y="44"/>
                    <a:pt x="633" y="42"/>
                  </a:cubicBezTo>
                  <a:cubicBezTo>
                    <a:pt x="648" y="40"/>
                    <a:pt x="655" y="53"/>
                    <a:pt x="685" y="50"/>
                  </a:cubicBezTo>
                  <a:cubicBezTo>
                    <a:pt x="709" y="58"/>
                    <a:pt x="724" y="72"/>
                    <a:pt x="744" y="80"/>
                  </a:cubicBezTo>
                  <a:cubicBezTo>
                    <a:pt x="756" y="113"/>
                    <a:pt x="740" y="154"/>
                    <a:pt x="720" y="182"/>
                  </a:cubicBezTo>
                  <a:cubicBezTo>
                    <a:pt x="728" y="210"/>
                    <a:pt x="724" y="218"/>
                    <a:pt x="752" y="226"/>
                  </a:cubicBezTo>
                  <a:cubicBezTo>
                    <a:pt x="780" y="246"/>
                    <a:pt x="768" y="234"/>
                    <a:pt x="788" y="254"/>
                  </a:cubicBezTo>
                  <a:cubicBezTo>
                    <a:pt x="792" y="270"/>
                    <a:pt x="800" y="282"/>
                    <a:pt x="808" y="294"/>
                  </a:cubicBezTo>
                  <a:cubicBezTo>
                    <a:pt x="828" y="290"/>
                    <a:pt x="860" y="266"/>
                    <a:pt x="880" y="258"/>
                  </a:cubicBezTo>
                  <a:cubicBezTo>
                    <a:pt x="896" y="253"/>
                    <a:pt x="891" y="277"/>
                    <a:pt x="898" y="281"/>
                  </a:cubicBezTo>
                  <a:cubicBezTo>
                    <a:pt x="905" y="285"/>
                    <a:pt x="923" y="279"/>
                    <a:pt x="924" y="282"/>
                  </a:cubicBezTo>
                  <a:cubicBezTo>
                    <a:pt x="925" y="285"/>
                    <a:pt x="909" y="289"/>
                    <a:pt x="903" y="300"/>
                  </a:cubicBezTo>
                  <a:cubicBezTo>
                    <a:pt x="897" y="311"/>
                    <a:pt x="899" y="338"/>
                    <a:pt x="888" y="350"/>
                  </a:cubicBezTo>
                  <a:cubicBezTo>
                    <a:pt x="871" y="384"/>
                    <a:pt x="869" y="373"/>
                    <a:pt x="838" y="374"/>
                  </a:cubicBezTo>
                  <a:cubicBezTo>
                    <a:pt x="837" y="393"/>
                    <a:pt x="834" y="392"/>
                    <a:pt x="823" y="419"/>
                  </a:cubicBezTo>
                  <a:cubicBezTo>
                    <a:pt x="816" y="430"/>
                    <a:pt x="806" y="426"/>
                    <a:pt x="792" y="434"/>
                  </a:cubicBezTo>
                  <a:cubicBezTo>
                    <a:pt x="754" y="450"/>
                    <a:pt x="766" y="447"/>
                    <a:pt x="744" y="470"/>
                  </a:cubicBezTo>
                  <a:cubicBezTo>
                    <a:pt x="739" y="452"/>
                    <a:pt x="747" y="440"/>
                    <a:pt x="709" y="435"/>
                  </a:cubicBezTo>
                  <a:cubicBezTo>
                    <a:pt x="705" y="415"/>
                    <a:pt x="693" y="417"/>
                    <a:pt x="693" y="417"/>
                  </a:cubicBezTo>
                  <a:cubicBezTo>
                    <a:pt x="663" y="422"/>
                    <a:pt x="669" y="433"/>
                    <a:pt x="655" y="453"/>
                  </a:cubicBezTo>
                  <a:cubicBezTo>
                    <a:pt x="641" y="473"/>
                    <a:pt x="622" y="509"/>
                    <a:pt x="610" y="534"/>
                  </a:cubicBezTo>
                  <a:cubicBezTo>
                    <a:pt x="598" y="557"/>
                    <a:pt x="604" y="545"/>
                    <a:pt x="583" y="605"/>
                  </a:cubicBezTo>
                  <a:cubicBezTo>
                    <a:pt x="567" y="576"/>
                    <a:pt x="559" y="543"/>
                    <a:pt x="555" y="515"/>
                  </a:cubicBezTo>
                  <a:cubicBezTo>
                    <a:pt x="543" y="485"/>
                    <a:pt x="538" y="494"/>
                    <a:pt x="528" y="495"/>
                  </a:cubicBezTo>
                  <a:cubicBezTo>
                    <a:pt x="523" y="489"/>
                    <a:pt x="530" y="485"/>
                    <a:pt x="525" y="476"/>
                  </a:cubicBezTo>
                  <a:cubicBezTo>
                    <a:pt x="513" y="456"/>
                    <a:pt x="522" y="453"/>
                    <a:pt x="496" y="438"/>
                  </a:cubicBezTo>
                  <a:cubicBezTo>
                    <a:pt x="488" y="434"/>
                    <a:pt x="472" y="454"/>
                    <a:pt x="464" y="458"/>
                  </a:cubicBezTo>
                  <a:cubicBezTo>
                    <a:pt x="452" y="466"/>
                    <a:pt x="436" y="473"/>
                    <a:pt x="432" y="498"/>
                  </a:cubicBezTo>
                  <a:cubicBezTo>
                    <a:pt x="424" y="510"/>
                    <a:pt x="423" y="536"/>
                    <a:pt x="411" y="540"/>
                  </a:cubicBezTo>
                  <a:cubicBezTo>
                    <a:pt x="403" y="544"/>
                    <a:pt x="360" y="546"/>
                    <a:pt x="360" y="546"/>
                  </a:cubicBezTo>
                  <a:cubicBezTo>
                    <a:pt x="324" y="542"/>
                    <a:pt x="326" y="544"/>
                    <a:pt x="286" y="548"/>
                  </a:cubicBezTo>
                  <a:cubicBezTo>
                    <a:pt x="267" y="557"/>
                    <a:pt x="264" y="562"/>
                    <a:pt x="248" y="566"/>
                  </a:cubicBezTo>
                  <a:cubicBezTo>
                    <a:pt x="235" y="566"/>
                    <a:pt x="208" y="557"/>
                    <a:pt x="198" y="552"/>
                  </a:cubicBezTo>
                  <a:cubicBezTo>
                    <a:pt x="188" y="547"/>
                    <a:pt x="193" y="547"/>
                    <a:pt x="188" y="534"/>
                  </a:cubicBezTo>
                  <a:cubicBezTo>
                    <a:pt x="175" y="494"/>
                    <a:pt x="172" y="506"/>
                    <a:pt x="168" y="473"/>
                  </a:cubicBezTo>
                  <a:cubicBezTo>
                    <a:pt x="157" y="447"/>
                    <a:pt x="178" y="441"/>
                    <a:pt x="128" y="422"/>
                  </a:cubicBezTo>
                  <a:cubicBezTo>
                    <a:pt x="93" y="428"/>
                    <a:pt x="81" y="432"/>
                    <a:pt x="44" y="438"/>
                  </a:cubicBezTo>
                  <a:cubicBezTo>
                    <a:pt x="30" y="450"/>
                    <a:pt x="16" y="468"/>
                    <a:pt x="0" y="494"/>
                  </a:cubicBezTo>
                  <a:cubicBezTo>
                    <a:pt x="1" y="435"/>
                    <a:pt x="15" y="440"/>
                    <a:pt x="24" y="414"/>
                  </a:cubicBezTo>
                  <a:cubicBezTo>
                    <a:pt x="46" y="389"/>
                    <a:pt x="24" y="370"/>
                    <a:pt x="36" y="351"/>
                  </a:cubicBezTo>
                  <a:cubicBezTo>
                    <a:pt x="48" y="332"/>
                    <a:pt x="66" y="313"/>
                    <a:pt x="94" y="299"/>
                  </a:cubicBezTo>
                  <a:cubicBezTo>
                    <a:pt x="111" y="278"/>
                    <a:pt x="116" y="269"/>
                    <a:pt x="136" y="245"/>
                  </a:cubicBezTo>
                  <a:cubicBezTo>
                    <a:pt x="150" y="209"/>
                    <a:pt x="168" y="198"/>
                    <a:pt x="184" y="174"/>
                  </a:cubicBezTo>
                  <a:cubicBezTo>
                    <a:pt x="188" y="162"/>
                    <a:pt x="194" y="146"/>
                    <a:pt x="198" y="134"/>
                  </a:cubicBezTo>
                  <a:cubicBezTo>
                    <a:pt x="217" y="95"/>
                    <a:pt x="196" y="119"/>
                    <a:pt x="225" y="81"/>
                  </a:cubicBezTo>
                  <a:cubicBezTo>
                    <a:pt x="229" y="89"/>
                    <a:pt x="268" y="83"/>
                    <a:pt x="276" y="87"/>
                  </a:cubicBezTo>
                  <a:cubicBezTo>
                    <a:pt x="288" y="87"/>
                    <a:pt x="327" y="101"/>
                    <a:pt x="328" y="78"/>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143" name="Group 2543">
              <a:extLst>
                <a:ext uri="{FF2B5EF4-FFF2-40B4-BE49-F238E27FC236}">
                  <a16:creationId xmlns:a16="http://schemas.microsoft.com/office/drawing/2014/main" id="{1AD334A2-463C-CDB5-48E3-8081C7035C36}"/>
                </a:ext>
              </a:extLst>
            </p:cNvPr>
            <p:cNvGrpSpPr>
              <a:grpSpLocks/>
            </p:cNvGrpSpPr>
            <p:nvPr>
              <p:custDataLst>
                <p:tags r:id="rId35"/>
              </p:custDataLst>
            </p:nvPr>
          </p:nvGrpSpPr>
          <p:grpSpPr bwMode="auto">
            <a:xfrm>
              <a:off x="2784386" y="3836377"/>
              <a:ext cx="669086" cy="702152"/>
              <a:chOff x="-144" y="5643"/>
              <a:chExt cx="2751" cy="2887"/>
            </a:xfrm>
          </p:grpSpPr>
          <p:sp>
            <p:nvSpPr>
              <p:cNvPr id="165" name="Freeform 2544">
                <a:extLst>
                  <a:ext uri="{FF2B5EF4-FFF2-40B4-BE49-F238E27FC236}">
                    <a16:creationId xmlns:a16="http://schemas.microsoft.com/office/drawing/2014/main" id="{79D57F6A-0FD1-3802-6F44-530714BB49B9}"/>
                  </a:ext>
                </a:extLst>
              </p:cNvPr>
              <p:cNvSpPr>
                <a:spLocks noChangeAspect="1"/>
              </p:cNvSpPr>
              <p:nvPr/>
            </p:nvSpPr>
            <p:spPr bwMode="auto">
              <a:xfrm>
                <a:off x="372" y="6943"/>
                <a:ext cx="68" cy="203"/>
              </a:xfrm>
              <a:custGeom>
                <a:avLst/>
                <a:gdLst>
                  <a:gd name="T0" fmla="*/ 5 w 17"/>
                  <a:gd name="T1" fmla="*/ 11 h 51"/>
                  <a:gd name="T2" fmla="*/ 11 w 17"/>
                  <a:gd name="T3" fmla="*/ 20 h 51"/>
                  <a:gd name="T4" fmla="*/ 9 w 17"/>
                  <a:gd name="T5" fmla="*/ 40 h 51"/>
                  <a:gd name="T6" fmla="*/ 5 w 17"/>
                  <a:gd name="T7" fmla="*/ 11 h 51"/>
                  <a:gd name="T8" fmla="*/ 0 60000 65536"/>
                  <a:gd name="T9" fmla="*/ 0 60000 65536"/>
                  <a:gd name="T10" fmla="*/ 0 60000 65536"/>
                  <a:gd name="T11" fmla="*/ 0 60000 65536"/>
                  <a:gd name="T12" fmla="*/ 0 w 17"/>
                  <a:gd name="T13" fmla="*/ 0 h 51"/>
                  <a:gd name="T14" fmla="*/ 17 w 17"/>
                  <a:gd name="T15" fmla="*/ 51 h 51"/>
                </a:gdLst>
                <a:ahLst/>
                <a:cxnLst>
                  <a:cxn ang="T8">
                    <a:pos x="T0" y="T1"/>
                  </a:cxn>
                  <a:cxn ang="T9">
                    <a:pos x="T2" y="T3"/>
                  </a:cxn>
                  <a:cxn ang="T10">
                    <a:pos x="T4" y="T5"/>
                  </a:cxn>
                  <a:cxn ang="T11">
                    <a:pos x="T6" y="T7"/>
                  </a:cxn>
                </a:cxnLst>
                <a:rect l="T12" t="T13" r="T14" b="T15"/>
                <a:pathLst>
                  <a:path w="17" h="51">
                    <a:moveTo>
                      <a:pt x="5" y="11"/>
                    </a:moveTo>
                    <a:cubicBezTo>
                      <a:pt x="8" y="14"/>
                      <a:pt x="9" y="17"/>
                      <a:pt x="11" y="20"/>
                    </a:cubicBezTo>
                    <a:cubicBezTo>
                      <a:pt x="12" y="26"/>
                      <a:pt x="17" y="51"/>
                      <a:pt x="9" y="40"/>
                    </a:cubicBezTo>
                    <a:cubicBezTo>
                      <a:pt x="8" y="35"/>
                      <a:pt x="0" y="0"/>
                      <a:pt x="5" y="11"/>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66" name="Freeform 2545">
                <a:extLst>
                  <a:ext uri="{FF2B5EF4-FFF2-40B4-BE49-F238E27FC236}">
                    <a16:creationId xmlns:a16="http://schemas.microsoft.com/office/drawing/2014/main" id="{83288F93-D913-85C4-8AF8-5E493C8B025D}"/>
                  </a:ext>
                </a:extLst>
              </p:cNvPr>
              <p:cNvSpPr>
                <a:spLocks noChangeAspect="1"/>
              </p:cNvSpPr>
              <p:nvPr/>
            </p:nvSpPr>
            <p:spPr bwMode="auto">
              <a:xfrm>
                <a:off x="364" y="6911"/>
                <a:ext cx="76" cy="52"/>
              </a:xfrm>
              <a:custGeom>
                <a:avLst/>
                <a:gdLst>
                  <a:gd name="T0" fmla="*/ 0 w 19"/>
                  <a:gd name="T1" fmla="*/ 0 h 13"/>
                  <a:gd name="T2" fmla="*/ 16 w 19"/>
                  <a:gd name="T3" fmla="*/ 13 h 13"/>
                  <a:gd name="T4" fmla="*/ 0 w 19"/>
                  <a:gd name="T5" fmla="*/ 0 h 13"/>
                  <a:gd name="T6" fmla="*/ 0 60000 65536"/>
                  <a:gd name="T7" fmla="*/ 0 60000 65536"/>
                  <a:gd name="T8" fmla="*/ 0 60000 65536"/>
                  <a:gd name="T9" fmla="*/ 0 w 19"/>
                  <a:gd name="T10" fmla="*/ 0 h 13"/>
                  <a:gd name="T11" fmla="*/ 19 w 19"/>
                  <a:gd name="T12" fmla="*/ 13 h 13"/>
                </a:gdLst>
                <a:ahLst/>
                <a:cxnLst>
                  <a:cxn ang="T6">
                    <a:pos x="T0" y="T1"/>
                  </a:cxn>
                  <a:cxn ang="T7">
                    <a:pos x="T2" y="T3"/>
                  </a:cxn>
                  <a:cxn ang="T8">
                    <a:pos x="T4" y="T5"/>
                  </a:cxn>
                </a:cxnLst>
                <a:rect l="T9" t="T10" r="T11" b="T12"/>
                <a:pathLst>
                  <a:path w="19" h="13">
                    <a:moveTo>
                      <a:pt x="0" y="0"/>
                    </a:moveTo>
                    <a:cubicBezTo>
                      <a:pt x="7" y="3"/>
                      <a:pt x="10" y="11"/>
                      <a:pt x="16" y="13"/>
                    </a:cubicBezTo>
                    <a:cubicBezTo>
                      <a:pt x="19" y="2"/>
                      <a:pt x="9" y="0"/>
                      <a:pt x="0" y="0"/>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67" name="Freeform 2546">
                <a:extLst>
                  <a:ext uri="{FF2B5EF4-FFF2-40B4-BE49-F238E27FC236}">
                    <a16:creationId xmlns:a16="http://schemas.microsoft.com/office/drawing/2014/main" id="{DCFB61E6-6FB0-DFEE-8E56-C3DAC352AEE7}"/>
                  </a:ext>
                </a:extLst>
              </p:cNvPr>
              <p:cNvSpPr>
                <a:spLocks noChangeAspect="1"/>
              </p:cNvSpPr>
              <p:nvPr/>
            </p:nvSpPr>
            <p:spPr bwMode="auto">
              <a:xfrm>
                <a:off x="2347" y="8050"/>
                <a:ext cx="260" cy="480"/>
              </a:xfrm>
              <a:custGeom>
                <a:avLst/>
                <a:gdLst>
                  <a:gd name="T0" fmla="*/ 49 w 65"/>
                  <a:gd name="T1" fmla="*/ 27 h 120"/>
                  <a:gd name="T2" fmla="*/ 57 w 65"/>
                  <a:gd name="T3" fmla="*/ 0 h 120"/>
                  <a:gd name="T4" fmla="*/ 56 w 65"/>
                  <a:gd name="T5" fmla="*/ 25 h 120"/>
                  <a:gd name="T6" fmla="*/ 61 w 65"/>
                  <a:gd name="T7" fmla="*/ 36 h 120"/>
                  <a:gd name="T8" fmla="*/ 60 w 65"/>
                  <a:gd name="T9" fmla="*/ 72 h 120"/>
                  <a:gd name="T10" fmla="*/ 55 w 65"/>
                  <a:gd name="T11" fmla="*/ 85 h 120"/>
                  <a:gd name="T12" fmla="*/ 54 w 65"/>
                  <a:gd name="T13" fmla="*/ 88 h 120"/>
                  <a:gd name="T14" fmla="*/ 51 w 65"/>
                  <a:gd name="T15" fmla="*/ 103 h 120"/>
                  <a:gd name="T16" fmla="*/ 44 w 65"/>
                  <a:gd name="T17" fmla="*/ 120 h 120"/>
                  <a:gd name="T18" fmla="*/ 24 w 65"/>
                  <a:gd name="T19" fmla="*/ 106 h 120"/>
                  <a:gd name="T20" fmla="*/ 22 w 65"/>
                  <a:gd name="T21" fmla="*/ 103 h 120"/>
                  <a:gd name="T22" fmla="*/ 24 w 65"/>
                  <a:gd name="T23" fmla="*/ 99 h 120"/>
                  <a:gd name="T24" fmla="*/ 19 w 65"/>
                  <a:gd name="T25" fmla="*/ 94 h 120"/>
                  <a:gd name="T26" fmla="*/ 19 w 65"/>
                  <a:gd name="T27" fmla="*/ 78 h 120"/>
                  <a:gd name="T28" fmla="*/ 13 w 65"/>
                  <a:gd name="T29" fmla="*/ 79 h 120"/>
                  <a:gd name="T30" fmla="*/ 18 w 65"/>
                  <a:gd name="T31" fmla="*/ 67 h 120"/>
                  <a:gd name="T32" fmla="*/ 10 w 65"/>
                  <a:gd name="T33" fmla="*/ 52 h 120"/>
                  <a:gd name="T34" fmla="*/ 18 w 65"/>
                  <a:gd name="T35" fmla="*/ 34 h 120"/>
                  <a:gd name="T36" fmla="*/ 37 w 65"/>
                  <a:gd name="T37" fmla="*/ 23 h 120"/>
                  <a:gd name="T38" fmla="*/ 49 w 65"/>
                  <a:gd name="T39" fmla="*/ 24 h 120"/>
                  <a:gd name="T40" fmla="*/ 49 w 65"/>
                  <a:gd name="T41" fmla="*/ 27 h 12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5"/>
                  <a:gd name="T64" fmla="*/ 0 h 120"/>
                  <a:gd name="T65" fmla="*/ 65 w 65"/>
                  <a:gd name="T66" fmla="*/ 120 h 12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5" h="120">
                    <a:moveTo>
                      <a:pt x="49" y="27"/>
                    </a:moveTo>
                    <a:cubicBezTo>
                      <a:pt x="53" y="16"/>
                      <a:pt x="45" y="4"/>
                      <a:pt x="57" y="0"/>
                    </a:cubicBezTo>
                    <a:cubicBezTo>
                      <a:pt x="59" y="6"/>
                      <a:pt x="56" y="19"/>
                      <a:pt x="56" y="25"/>
                    </a:cubicBezTo>
                    <a:cubicBezTo>
                      <a:pt x="57" y="31"/>
                      <a:pt x="56" y="33"/>
                      <a:pt x="61" y="36"/>
                    </a:cubicBezTo>
                    <a:cubicBezTo>
                      <a:pt x="63" y="48"/>
                      <a:pt x="65" y="61"/>
                      <a:pt x="60" y="72"/>
                    </a:cubicBezTo>
                    <a:cubicBezTo>
                      <a:pt x="58" y="76"/>
                      <a:pt x="56" y="81"/>
                      <a:pt x="55" y="85"/>
                    </a:cubicBezTo>
                    <a:cubicBezTo>
                      <a:pt x="55" y="86"/>
                      <a:pt x="54" y="88"/>
                      <a:pt x="54" y="88"/>
                    </a:cubicBezTo>
                    <a:cubicBezTo>
                      <a:pt x="55" y="94"/>
                      <a:pt x="56" y="98"/>
                      <a:pt x="51" y="103"/>
                    </a:cubicBezTo>
                    <a:cubicBezTo>
                      <a:pt x="49" y="109"/>
                      <a:pt x="47" y="115"/>
                      <a:pt x="44" y="120"/>
                    </a:cubicBezTo>
                    <a:cubicBezTo>
                      <a:pt x="36" y="119"/>
                      <a:pt x="32" y="111"/>
                      <a:pt x="24" y="106"/>
                    </a:cubicBezTo>
                    <a:cubicBezTo>
                      <a:pt x="23" y="105"/>
                      <a:pt x="22" y="104"/>
                      <a:pt x="22" y="103"/>
                    </a:cubicBezTo>
                    <a:cubicBezTo>
                      <a:pt x="22" y="102"/>
                      <a:pt x="23" y="100"/>
                      <a:pt x="24" y="99"/>
                    </a:cubicBezTo>
                    <a:cubicBezTo>
                      <a:pt x="27" y="91"/>
                      <a:pt x="27" y="93"/>
                      <a:pt x="19" y="94"/>
                    </a:cubicBezTo>
                    <a:cubicBezTo>
                      <a:pt x="9" y="92"/>
                      <a:pt x="17" y="84"/>
                      <a:pt x="19" y="78"/>
                    </a:cubicBezTo>
                    <a:cubicBezTo>
                      <a:pt x="17" y="77"/>
                      <a:pt x="14" y="81"/>
                      <a:pt x="13" y="79"/>
                    </a:cubicBezTo>
                    <a:cubicBezTo>
                      <a:pt x="11" y="75"/>
                      <a:pt x="18" y="67"/>
                      <a:pt x="18" y="67"/>
                    </a:cubicBezTo>
                    <a:cubicBezTo>
                      <a:pt x="6" y="63"/>
                      <a:pt x="0" y="66"/>
                      <a:pt x="10" y="52"/>
                    </a:cubicBezTo>
                    <a:cubicBezTo>
                      <a:pt x="8" y="42"/>
                      <a:pt x="9" y="40"/>
                      <a:pt x="18" y="34"/>
                    </a:cubicBezTo>
                    <a:cubicBezTo>
                      <a:pt x="20" y="31"/>
                      <a:pt x="33" y="24"/>
                      <a:pt x="37" y="23"/>
                    </a:cubicBezTo>
                    <a:cubicBezTo>
                      <a:pt x="41" y="23"/>
                      <a:pt x="45" y="23"/>
                      <a:pt x="49" y="24"/>
                    </a:cubicBezTo>
                    <a:cubicBezTo>
                      <a:pt x="50" y="24"/>
                      <a:pt x="50" y="27"/>
                      <a:pt x="49" y="27"/>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68" name="Freeform 2547">
                <a:extLst>
                  <a:ext uri="{FF2B5EF4-FFF2-40B4-BE49-F238E27FC236}">
                    <a16:creationId xmlns:a16="http://schemas.microsoft.com/office/drawing/2014/main" id="{A2C7CE10-A68A-030F-C98E-DF7305D7CCAE}"/>
                  </a:ext>
                </a:extLst>
              </p:cNvPr>
              <p:cNvSpPr>
                <a:spLocks noChangeAspect="1"/>
              </p:cNvSpPr>
              <p:nvPr/>
            </p:nvSpPr>
            <p:spPr bwMode="auto">
              <a:xfrm>
                <a:off x="-144" y="5643"/>
                <a:ext cx="2501" cy="2523"/>
              </a:xfrm>
              <a:custGeom>
                <a:avLst/>
                <a:gdLst>
                  <a:gd name="T0" fmla="*/ 1303 w 2501"/>
                  <a:gd name="T1" fmla="*/ 28 h 2523"/>
                  <a:gd name="T2" fmla="*/ 1044 w 2501"/>
                  <a:gd name="T3" fmla="*/ 308 h 2523"/>
                  <a:gd name="T4" fmla="*/ 920 w 2501"/>
                  <a:gd name="T5" fmla="*/ 436 h 2523"/>
                  <a:gd name="T6" fmla="*/ 728 w 2501"/>
                  <a:gd name="T7" fmla="*/ 380 h 2523"/>
                  <a:gd name="T8" fmla="*/ 588 w 2501"/>
                  <a:gd name="T9" fmla="*/ 344 h 2523"/>
                  <a:gd name="T10" fmla="*/ 560 w 2501"/>
                  <a:gd name="T11" fmla="*/ 584 h 2523"/>
                  <a:gd name="T12" fmla="*/ 164 w 2501"/>
                  <a:gd name="T13" fmla="*/ 508 h 2523"/>
                  <a:gd name="T14" fmla="*/ 60 w 2501"/>
                  <a:gd name="T15" fmla="*/ 584 h 2523"/>
                  <a:gd name="T16" fmla="*/ 12 w 2501"/>
                  <a:gd name="T17" fmla="*/ 680 h 2523"/>
                  <a:gd name="T18" fmla="*/ 100 w 2501"/>
                  <a:gd name="T19" fmla="*/ 720 h 2523"/>
                  <a:gd name="T20" fmla="*/ 284 w 2501"/>
                  <a:gd name="T21" fmla="*/ 872 h 2523"/>
                  <a:gd name="T22" fmla="*/ 404 w 2501"/>
                  <a:gd name="T23" fmla="*/ 948 h 2523"/>
                  <a:gd name="T24" fmla="*/ 412 w 2501"/>
                  <a:gd name="T25" fmla="*/ 1032 h 2523"/>
                  <a:gd name="T26" fmla="*/ 500 w 2501"/>
                  <a:gd name="T27" fmla="*/ 1204 h 2523"/>
                  <a:gd name="T28" fmla="*/ 608 w 2501"/>
                  <a:gd name="T29" fmla="*/ 1315 h 2523"/>
                  <a:gd name="T30" fmla="*/ 644 w 2501"/>
                  <a:gd name="T31" fmla="*/ 1559 h 2523"/>
                  <a:gd name="T32" fmla="*/ 620 w 2501"/>
                  <a:gd name="T33" fmla="*/ 1607 h 2523"/>
                  <a:gd name="T34" fmla="*/ 504 w 2501"/>
                  <a:gd name="T35" fmla="*/ 1651 h 2523"/>
                  <a:gd name="T36" fmla="*/ 444 w 2501"/>
                  <a:gd name="T37" fmla="*/ 1919 h 2523"/>
                  <a:gd name="T38" fmla="*/ 381 w 2501"/>
                  <a:gd name="T39" fmla="*/ 2100 h 2523"/>
                  <a:gd name="T40" fmla="*/ 528 w 2501"/>
                  <a:gd name="T41" fmla="*/ 2251 h 2523"/>
                  <a:gd name="T42" fmla="*/ 788 w 2501"/>
                  <a:gd name="T43" fmla="*/ 2383 h 2523"/>
                  <a:gd name="T44" fmla="*/ 988 w 2501"/>
                  <a:gd name="T45" fmla="*/ 2407 h 2523"/>
                  <a:gd name="T46" fmla="*/ 1196 w 2501"/>
                  <a:gd name="T47" fmla="*/ 2502 h 2523"/>
                  <a:gd name="T48" fmla="*/ 1347 w 2501"/>
                  <a:gd name="T49" fmla="*/ 2335 h 2523"/>
                  <a:gd name="T50" fmla="*/ 1779 w 2501"/>
                  <a:gd name="T51" fmla="*/ 2283 h 2523"/>
                  <a:gd name="T52" fmla="*/ 2155 w 2501"/>
                  <a:gd name="T53" fmla="*/ 2299 h 2523"/>
                  <a:gd name="T54" fmla="*/ 2311 w 2501"/>
                  <a:gd name="T55" fmla="*/ 2183 h 2523"/>
                  <a:gd name="T56" fmla="*/ 2243 w 2501"/>
                  <a:gd name="T57" fmla="*/ 2071 h 2523"/>
                  <a:gd name="T58" fmla="*/ 2167 w 2501"/>
                  <a:gd name="T59" fmla="*/ 1855 h 2523"/>
                  <a:gd name="T60" fmla="*/ 2243 w 2501"/>
                  <a:gd name="T61" fmla="*/ 1733 h 2523"/>
                  <a:gd name="T62" fmla="*/ 2211 w 2501"/>
                  <a:gd name="T63" fmla="*/ 1581 h 2523"/>
                  <a:gd name="T64" fmla="*/ 2215 w 2501"/>
                  <a:gd name="T65" fmla="*/ 1543 h 2523"/>
                  <a:gd name="T66" fmla="*/ 2075 w 2501"/>
                  <a:gd name="T67" fmla="*/ 1439 h 2523"/>
                  <a:gd name="T68" fmla="*/ 2071 w 2501"/>
                  <a:gd name="T69" fmla="*/ 1339 h 2523"/>
                  <a:gd name="T70" fmla="*/ 2219 w 2501"/>
                  <a:gd name="T71" fmla="*/ 1156 h 2523"/>
                  <a:gd name="T72" fmla="*/ 2363 w 2501"/>
                  <a:gd name="T73" fmla="*/ 1082 h 2523"/>
                  <a:gd name="T74" fmla="*/ 2418 w 2501"/>
                  <a:gd name="T75" fmla="*/ 758 h 2523"/>
                  <a:gd name="T76" fmla="*/ 2307 w 2501"/>
                  <a:gd name="T77" fmla="*/ 608 h 2523"/>
                  <a:gd name="T78" fmla="*/ 2123 w 2501"/>
                  <a:gd name="T79" fmla="*/ 512 h 2523"/>
                  <a:gd name="T80" fmla="*/ 1947 w 2501"/>
                  <a:gd name="T81" fmla="*/ 452 h 2523"/>
                  <a:gd name="T82" fmla="*/ 1862 w 2501"/>
                  <a:gd name="T83" fmla="*/ 299 h 2523"/>
                  <a:gd name="T84" fmla="*/ 1665 w 2501"/>
                  <a:gd name="T85" fmla="*/ 234 h 2523"/>
                  <a:gd name="T86" fmla="*/ 1519 w 2501"/>
                  <a:gd name="T87" fmla="*/ 100 h 252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501"/>
                  <a:gd name="T133" fmla="*/ 0 h 2523"/>
                  <a:gd name="T134" fmla="*/ 2501 w 2501"/>
                  <a:gd name="T135" fmla="*/ 2523 h 252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501" h="2523">
                    <a:moveTo>
                      <a:pt x="1484" y="0"/>
                    </a:moveTo>
                    <a:cubicBezTo>
                      <a:pt x="1448" y="4"/>
                      <a:pt x="1407" y="8"/>
                      <a:pt x="1371" y="12"/>
                    </a:cubicBezTo>
                    <a:cubicBezTo>
                      <a:pt x="1347" y="16"/>
                      <a:pt x="1303" y="28"/>
                      <a:pt x="1303" y="28"/>
                    </a:cubicBezTo>
                    <a:cubicBezTo>
                      <a:pt x="1299" y="68"/>
                      <a:pt x="1307" y="108"/>
                      <a:pt x="1283" y="140"/>
                    </a:cubicBezTo>
                    <a:cubicBezTo>
                      <a:pt x="1275" y="168"/>
                      <a:pt x="1275" y="200"/>
                      <a:pt x="1259" y="224"/>
                    </a:cubicBezTo>
                    <a:cubicBezTo>
                      <a:pt x="1244" y="296"/>
                      <a:pt x="1100" y="300"/>
                      <a:pt x="1044" y="308"/>
                    </a:cubicBezTo>
                    <a:cubicBezTo>
                      <a:pt x="1016" y="320"/>
                      <a:pt x="980" y="340"/>
                      <a:pt x="968" y="372"/>
                    </a:cubicBezTo>
                    <a:cubicBezTo>
                      <a:pt x="972" y="392"/>
                      <a:pt x="976" y="400"/>
                      <a:pt x="992" y="416"/>
                    </a:cubicBezTo>
                    <a:cubicBezTo>
                      <a:pt x="988" y="436"/>
                      <a:pt x="944" y="432"/>
                      <a:pt x="920" y="436"/>
                    </a:cubicBezTo>
                    <a:cubicBezTo>
                      <a:pt x="792" y="428"/>
                      <a:pt x="880" y="448"/>
                      <a:pt x="816" y="428"/>
                    </a:cubicBezTo>
                    <a:cubicBezTo>
                      <a:pt x="796" y="424"/>
                      <a:pt x="756" y="412"/>
                      <a:pt x="756" y="412"/>
                    </a:cubicBezTo>
                    <a:cubicBezTo>
                      <a:pt x="740" y="404"/>
                      <a:pt x="740" y="392"/>
                      <a:pt x="728" y="380"/>
                    </a:cubicBezTo>
                    <a:cubicBezTo>
                      <a:pt x="720" y="348"/>
                      <a:pt x="716" y="292"/>
                      <a:pt x="680" y="284"/>
                    </a:cubicBezTo>
                    <a:cubicBezTo>
                      <a:pt x="664" y="284"/>
                      <a:pt x="644" y="280"/>
                      <a:pt x="628" y="288"/>
                    </a:cubicBezTo>
                    <a:cubicBezTo>
                      <a:pt x="612" y="296"/>
                      <a:pt x="604" y="332"/>
                      <a:pt x="588" y="344"/>
                    </a:cubicBezTo>
                    <a:cubicBezTo>
                      <a:pt x="584" y="360"/>
                      <a:pt x="584" y="368"/>
                      <a:pt x="600" y="372"/>
                    </a:cubicBezTo>
                    <a:cubicBezTo>
                      <a:pt x="608" y="428"/>
                      <a:pt x="624" y="484"/>
                      <a:pt x="632" y="540"/>
                    </a:cubicBezTo>
                    <a:cubicBezTo>
                      <a:pt x="652" y="620"/>
                      <a:pt x="624" y="604"/>
                      <a:pt x="560" y="584"/>
                    </a:cubicBezTo>
                    <a:cubicBezTo>
                      <a:pt x="508" y="588"/>
                      <a:pt x="460" y="588"/>
                      <a:pt x="412" y="576"/>
                    </a:cubicBezTo>
                    <a:cubicBezTo>
                      <a:pt x="404" y="564"/>
                      <a:pt x="352" y="492"/>
                      <a:pt x="344" y="488"/>
                    </a:cubicBezTo>
                    <a:cubicBezTo>
                      <a:pt x="300" y="444"/>
                      <a:pt x="220" y="504"/>
                      <a:pt x="164" y="508"/>
                    </a:cubicBezTo>
                    <a:cubicBezTo>
                      <a:pt x="112" y="512"/>
                      <a:pt x="60" y="512"/>
                      <a:pt x="8" y="512"/>
                    </a:cubicBezTo>
                    <a:cubicBezTo>
                      <a:pt x="12" y="528"/>
                      <a:pt x="20" y="568"/>
                      <a:pt x="36" y="576"/>
                    </a:cubicBezTo>
                    <a:cubicBezTo>
                      <a:pt x="44" y="580"/>
                      <a:pt x="60" y="584"/>
                      <a:pt x="60" y="584"/>
                    </a:cubicBezTo>
                    <a:cubicBezTo>
                      <a:pt x="68" y="592"/>
                      <a:pt x="68" y="612"/>
                      <a:pt x="56" y="620"/>
                    </a:cubicBezTo>
                    <a:cubicBezTo>
                      <a:pt x="48" y="624"/>
                      <a:pt x="32" y="628"/>
                      <a:pt x="32" y="628"/>
                    </a:cubicBezTo>
                    <a:cubicBezTo>
                      <a:pt x="20" y="656"/>
                      <a:pt x="24" y="640"/>
                      <a:pt x="12" y="680"/>
                    </a:cubicBezTo>
                    <a:cubicBezTo>
                      <a:pt x="8" y="688"/>
                      <a:pt x="4" y="704"/>
                      <a:pt x="4" y="704"/>
                    </a:cubicBezTo>
                    <a:cubicBezTo>
                      <a:pt x="8" y="716"/>
                      <a:pt x="0" y="732"/>
                      <a:pt x="20" y="732"/>
                    </a:cubicBezTo>
                    <a:cubicBezTo>
                      <a:pt x="36" y="732"/>
                      <a:pt x="100" y="720"/>
                      <a:pt x="100" y="720"/>
                    </a:cubicBezTo>
                    <a:cubicBezTo>
                      <a:pt x="136" y="728"/>
                      <a:pt x="124" y="760"/>
                      <a:pt x="164" y="768"/>
                    </a:cubicBezTo>
                    <a:cubicBezTo>
                      <a:pt x="188" y="784"/>
                      <a:pt x="192" y="792"/>
                      <a:pt x="224" y="800"/>
                    </a:cubicBezTo>
                    <a:cubicBezTo>
                      <a:pt x="292" y="788"/>
                      <a:pt x="252" y="844"/>
                      <a:pt x="284" y="872"/>
                    </a:cubicBezTo>
                    <a:cubicBezTo>
                      <a:pt x="304" y="888"/>
                      <a:pt x="320" y="908"/>
                      <a:pt x="344" y="912"/>
                    </a:cubicBezTo>
                    <a:cubicBezTo>
                      <a:pt x="356" y="920"/>
                      <a:pt x="368" y="912"/>
                      <a:pt x="380" y="920"/>
                    </a:cubicBezTo>
                    <a:cubicBezTo>
                      <a:pt x="384" y="936"/>
                      <a:pt x="388" y="944"/>
                      <a:pt x="404" y="948"/>
                    </a:cubicBezTo>
                    <a:cubicBezTo>
                      <a:pt x="412" y="976"/>
                      <a:pt x="452" y="980"/>
                      <a:pt x="476" y="984"/>
                    </a:cubicBezTo>
                    <a:cubicBezTo>
                      <a:pt x="508" y="1000"/>
                      <a:pt x="508" y="996"/>
                      <a:pt x="548" y="992"/>
                    </a:cubicBezTo>
                    <a:cubicBezTo>
                      <a:pt x="536" y="996"/>
                      <a:pt x="432" y="1012"/>
                      <a:pt x="412" y="1032"/>
                    </a:cubicBezTo>
                    <a:cubicBezTo>
                      <a:pt x="420" y="1064"/>
                      <a:pt x="412" y="1076"/>
                      <a:pt x="428" y="1104"/>
                    </a:cubicBezTo>
                    <a:cubicBezTo>
                      <a:pt x="432" y="1128"/>
                      <a:pt x="432" y="1144"/>
                      <a:pt x="452" y="1156"/>
                    </a:cubicBezTo>
                    <a:cubicBezTo>
                      <a:pt x="460" y="1172"/>
                      <a:pt x="484" y="1200"/>
                      <a:pt x="500" y="1204"/>
                    </a:cubicBezTo>
                    <a:cubicBezTo>
                      <a:pt x="516" y="1236"/>
                      <a:pt x="536" y="1240"/>
                      <a:pt x="560" y="1260"/>
                    </a:cubicBezTo>
                    <a:cubicBezTo>
                      <a:pt x="568" y="1267"/>
                      <a:pt x="584" y="1283"/>
                      <a:pt x="584" y="1283"/>
                    </a:cubicBezTo>
                    <a:cubicBezTo>
                      <a:pt x="588" y="1299"/>
                      <a:pt x="600" y="1295"/>
                      <a:pt x="608" y="1315"/>
                    </a:cubicBezTo>
                    <a:cubicBezTo>
                      <a:pt x="612" y="1371"/>
                      <a:pt x="600" y="1399"/>
                      <a:pt x="584" y="1447"/>
                    </a:cubicBezTo>
                    <a:cubicBezTo>
                      <a:pt x="588" y="1475"/>
                      <a:pt x="588" y="1511"/>
                      <a:pt x="620" y="1523"/>
                    </a:cubicBezTo>
                    <a:cubicBezTo>
                      <a:pt x="624" y="1539"/>
                      <a:pt x="632" y="1547"/>
                      <a:pt x="644" y="1559"/>
                    </a:cubicBezTo>
                    <a:cubicBezTo>
                      <a:pt x="652" y="1587"/>
                      <a:pt x="656" y="1611"/>
                      <a:pt x="660" y="1643"/>
                    </a:cubicBezTo>
                    <a:cubicBezTo>
                      <a:pt x="660" y="1655"/>
                      <a:pt x="668" y="1691"/>
                      <a:pt x="668" y="1679"/>
                    </a:cubicBezTo>
                    <a:cubicBezTo>
                      <a:pt x="668" y="1627"/>
                      <a:pt x="652" y="1627"/>
                      <a:pt x="620" y="1607"/>
                    </a:cubicBezTo>
                    <a:cubicBezTo>
                      <a:pt x="604" y="1583"/>
                      <a:pt x="604" y="1559"/>
                      <a:pt x="588" y="1535"/>
                    </a:cubicBezTo>
                    <a:cubicBezTo>
                      <a:pt x="556" y="1547"/>
                      <a:pt x="560" y="1575"/>
                      <a:pt x="536" y="1591"/>
                    </a:cubicBezTo>
                    <a:cubicBezTo>
                      <a:pt x="528" y="1611"/>
                      <a:pt x="512" y="1627"/>
                      <a:pt x="504" y="1651"/>
                    </a:cubicBezTo>
                    <a:cubicBezTo>
                      <a:pt x="500" y="1659"/>
                      <a:pt x="496" y="1711"/>
                      <a:pt x="504" y="1703"/>
                    </a:cubicBezTo>
                    <a:cubicBezTo>
                      <a:pt x="500" y="1727"/>
                      <a:pt x="492" y="1767"/>
                      <a:pt x="484" y="1807"/>
                    </a:cubicBezTo>
                    <a:cubicBezTo>
                      <a:pt x="464" y="1839"/>
                      <a:pt x="460" y="1883"/>
                      <a:pt x="444" y="1919"/>
                    </a:cubicBezTo>
                    <a:cubicBezTo>
                      <a:pt x="440" y="1947"/>
                      <a:pt x="440" y="2047"/>
                      <a:pt x="412" y="2059"/>
                    </a:cubicBezTo>
                    <a:cubicBezTo>
                      <a:pt x="396" y="2067"/>
                      <a:pt x="396" y="2076"/>
                      <a:pt x="384" y="2088"/>
                    </a:cubicBezTo>
                    <a:cubicBezTo>
                      <a:pt x="380" y="2097"/>
                      <a:pt x="383" y="2088"/>
                      <a:pt x="381" y="2100"/>
                    </a:cubicBezTo>
                    <a:cubicBezTo>
                      <a:pt x="389" y="2112"/>
                      <a:pt x="386" y="2127"/>
                      <a:pt x="389" y="2168"/>
                    </a:cubicBezTo>
                    <a:cubicBezTo>
                      <a:pt x="401" y="2192"/>
                      <a:pt x="438" y="2226"/>
                      <a:pt x="456" y="2252"/>
                    </a:cubicBezTo>
                    <a:cubicBezTo>
                      <a:pt x="510" y="2255"/>
                      <a:pt x="488" y="2247"/>
                      <a:pt x="528" y="2251"/>
                    </a:cubicBezTo>
                    <a:cubicBezTo>
                      <a:pt x="564" y="2291"/>
                      <a:pt x="611" y="2325"/>
                      <a:pt x="659" y="2349"/>
                    </a:cubicBezTo>
                    <a:cubicBezTo>
                      <a:pt x="693" y="2363"/>
                      <a:pt x="696" y="2355"/>
                      <a:pt x="720" y="2363"/>
                    </a:cubicBezTo>
                    <a:cubicBezTo>
                      <a:pt x="736" y="2367"/>
                      <a:pt x="768" y="2383"/>
                      <a:pt x="788" y="2383"/>
                    </a:cubicBezTo>
                    <a:cubicBezTo>
                      <a:pt x="808" y="2383"/>
                      <a:pt x="822" y="2382"/>
                      <a:pt x="836" y="2375"/>
                    </a:cubicBezTo>
                    <a:cubicBezTo>
                      <a:pt x="854" y="2354"/>
                      <a:pt x="851" y="2369"/>
                      <a:pt x="869" y="2343"/>
                    </a:cubicBezTo>
                    <a:cubicBezTo>
                      <a:pt x="901" y="2351"/>
                      <a:pt x="956" y="2391"/>
                      <a:pt x="988" y="2407"/>
                    </a:cubicBezTo>
                    <a:cubicBezTo>
                      <a:pt x="1004" y="2415"/>
                      <a:pt x="1067" y="2437"/>
                      <a:pt x="1083" y="2441"/>
                    </a:cubicBezTo>
                    <a:cubicBezTo>
                      <a:pt x="1095" y="2481"/>
                      <a:pt x="1097" y="2481"/>
                      <a:pt x="1101" y="2499"/>
                    </a:cubicBezTo>
                    <a:cubicBezTo>
                      <a:pt x="1133" y="2501"/>
                      <a:pt x="1172" y="2504"/>
                      <a:pt x="1196" y="2502"/>
                    </a:cubicBezTo>
                    <a:cubicBezTo>
                      <a:pt x="1224" y="2502"/>
                      <a:pt x="1247" y="2496"/>
                      <a:pt x="1274" y="2496"/>
                    </a:cubicBezTo>
                    <a:cubicBezTo>
                      <a:pt x="1294" y="2496"/>
                      <a:pt x="1346" y="2493"/>
                      <a:pt x="1346" y="2493"/>
                    </a:cubicBezTo>
                    <a:cubicBezTo>
                      <a:pt x="1362" y="2425"/>
                      <a:pt x="1335" y="2523"/>
                      <a:pt x="1347" y="2335"/>
                    </a:cubicBezTo>
                    <a:cubicBezTo>
                      <a:pt x="1351" y="2271"/>
                      <a:pt x="1459" y="2259"/>
                      <a:pt x="1507" y="2251"/>
                    </a:cubicBezTo>
                    <a:cubicBezTo>
                      <a:pt x="1575" y="2255"/>
                      <a:pt x="1611" y="2223"/>
                      <a:pt x="1679" y="2239"/>
                    </a:cubicBezTo>
                    <a:cubicBezTo>
                      <a:pt x="1699" y="2251"/>
                      <a:pt x="1755" y="2279"/>
                      <a:pt x="1779" y="2283"/>
                    </a:cubicBezTo>
                    <a:cubicBezTo>
                      <a:pt x="1851" y="2311"/>
                      <a:pt x="1919" y="2339"/>
                      <a:pt x="1999" y="2351"/>
                    </a:cubicBezTo>
                    <a:cubicBezTo>
                      <a:pt x="2039" y="2351"/>
                      <a:pt x="2079" y="2355"/>
                      <a:pt x="2115" y="2347"/>
                    </a:cubicBezTo>
                    <a:cubicBezTo>
                      <a:pt x="2119" y="2347"/>
                      <a:pt x="2139" y="2303"/>
                      <a:pt x="2155" y="2299"/>
                    </a:cubicBezTo>
                    <a:cubicBezTo>
                      <a:pt x="2171" y="2283"/>
                      <a:pt x="2171" y="2271"/>
                      <a:pt x="2191" y="2259"/>
                    </a:cubicBezTo>
                    <a:cubicBezTo>
                      <a:pt x="2207" y="2247"/>
                      <a:pt x="2219" y="2215"/>
                      <a:pt x="2239" y="2203"/>
                    </a:cubicBezTo>
                    <a:cubicBezTo>
                      <a:pt x="2259" y="2191"/>
                      <a:pt x="2295" y="2195"/>
                      <a:pt x="2311" y="2183"/>
                    </a:cubicBezTo>
                    <a:cubicBezTo>
                      <a:pt x="2318" y="2150"/>
                      <a:pt x="2333" y="2154"/>
                      <a:pt x="2347" y="2135"/>
                    </a:cubicBezTo>
                    <a:cubicBezTo>
                      <a:pt x="2357" y="2088"/>
                      <a:pt x="2354" y="2100"/>
                      <a:pt x="2345" y="2078"/>
                    </a:cubicBezTo>
                    <a:cubicBezTo>
                      <a:pt x="2304" y="2069"/>
                      <a:pt x="2295" y="2072"/>
                      <a:pt x="2243" y="2071"/>
                    </a:cubicBezTo>
                    <a:cubicBezTo>
                      <a:pt x="2231" y="2067"/>
                      <a:pt x="2198" y="2064"/>
                      <a:pt x="2183" y="1979"/>
                    </a:cubicBezTo>
                    <a:cubicBezTo>
                      <a:pt x="2187" y="1956"/>
                      <a:pt x="2201" y="1937"/>
                      <a:pt x="2220" y="1892"/>
                    </a:cubicBezTo>
                    <a:cubicBezTo>
                      <a:pt x="2219" y="1854"/>
                      <a:pt x="2223" y="1859"/>
                      <a:pt x="2167" y="1855"/>
                    </a:cubicBezTo>
                    <a:cubicBezTo>
                      <a:pt x="2127" y="1859"/>
                      <a:pt x="2142" y="1817"/>
                      <a:pt x="2121" y="1823"/>
                    </a:cubicBezTo>
                    <a:cubicBezTo>
                      <a:pt x="2117" y="1815"/>
                      <a:pt x="2116" y="1798"/>
                      <a:pt x="2124" y="1790"/>
                    </a:cubicBezTo>
                    <a:cubicBezTo>
                      <a:pt x="2186" y="1788"/>
                      <a:pt x="2222" y="1743"/>
                      <a:pt x="2243" y="1733"/>
                    </a:cubicBezTo>
                    <a:cubicBezTo>
                      <a:pt x="2229" y="1704"/>
                      <a:pt x="2225" y="1695"/>
                      <a:pt x="2213" y="1659"/>
                    </a:cubicBezTo>
                    <a:cubicBezTo>
                      <a:pt x="2209" y="1647"/>
                      <a:pt x="2203" y="1619"/>
                      <a:pt x="2203" y="1619"/>
                    </a:cubicBezTo>
                    <a:cubicBezTo>
                      <a:pt x="2201" y="1590"/>
                      <a:pt x="2210" y="1589"/>
                      <a:pt x="2211" y="1581"/>
                    </a:cubicBezTo>
                    <a:cubicBezTo>
                      <a:pt x="2212" y="1573"/>
                      <a:pt x="2205" y="1571"/>
                      <a:pt x="2207" y="1568"/>
                    </a:cubicBezTo>
                    <a:cubicBezTo>
                      <a:pt x="2209" y="1565"/>
                      <a:pt x="2225" y="1564"/>
                      <a:pt x="2226" y="1560"/>
                    </a:cubicBezTo>
                    <a:cubicBezTo>
                      <a:pt x="2227" y="1556"/>
                      <a:pt x="2220" y="1555"/>
                      <a:pt x="2215" y="1543"/>
                    </a:cubicBezTo>
                    <a:cubicBezTo>
                      <a:pt x="2211" y="1519"/>
                      <a:pt x="2207" y="1507"/>
                      <a:pt x="2195" y="1487"/>
                    </a:cubicBezTo>
                    <a:cubicBezTo>
                      <a:pt x="2191" y="1455"/>
                      <a:pt x="2195" y="1431"/>
                      <a:pt x="2159" y="1423"/>
                    </a:cubicBezTo>
                    <a:cubicBezTo>
                      <a:pt x="2127" y="1423"/>
                      <a:pt x="2107" y="1435"/>
                      <a:pt x="2075" y="1439"/>
                    </a:cubicBezTo>
                    <a:cubicBezTo>
                      <a:pt x="2055" y="1443"/>
                      <a:pt x="2043" y="1483"/>
                      <a:pt x="2023" y="1495"/>
                    </a:cubicBezTo>
                    <a:cubicBezTo>
                      <a:pt x="2027" y="1467"/>
                      <a:pt x="2043" y="1423"/>
                      <a:pt x="2059" y="1399"/>
                    </a:cubicBezTo>
                    <a:cubicBezTo>
                      <a:pt x="2071" y="1379"/>
                      <a:pt x="2051" y="1367"/>
                      <a:pt x="2071" y="1339"/>
                    </a:cubicBezTo>
                    <a:cubicBezTo>
                      <a:pt x="2083" y="1323"/>
                      <a:pt x="2107" y="1311"/>
                      <a:pt x="2123" y="1295"/>
                    </a:cubicBezTo>
                    <a:cubicBezTo>
                      <a:pt x="2139" y="1279"/>
                      <a:pt x="2155" y="1256"/>
                      <a:pt x="2171" y="1232"/>
                    </a:cubicBezTo>
                    <a:cubicBezTo>
                      <a:pt x="2187" y="1208"/>
                      <a:pt x="2207" y="1180"/>
                      <a:pt x="2219" y="1156"/>
                    </a:cubicBezTo>
                    <a:cubicBezTo>
                      <a:pt x="2231" y="1132"/>
                      <a:pt x="2231" y="1096"/>
                      <a:pt x="2251" y="1084"/>
                    </a:cubicBezTo>
                    <a:cubicBezTo>
                      <a:pt x="2303" y="1088"/>
                      <a:pt x="2311" y="1096"/>
                      <a:pt x="2347" y="1092"/>
                    </a:cubicBezTo>
                    <a:cubicBezTo>
                      <a:pt x="2358" y="1082"/>
                      <a:pt x="2357" y="1088"/>
                      <a:pt x="2363" y="1082"/>
                    </a:cubicBezTo>
                    <a:cubicBezTo>
                      <a:pt x="2358" y="1073"/>
                      <a:pt x="2343" y="1034"/>
                      <a:pt x="2351" y="993"/>
                    </a:cubicBezTo>
                    <a:cubicBezTo>
                      <a:pt x="2355" y="941"/>
                      <a:pt x="2390" y="899"/>
                      <a:pt x="2414" y="833"/>
                    </a:cubicBezTo>
                    <a:cubicBezTo>
                      <a:pt x="2422" y="805"/>
                      <a:pt x="2394" y="771"/>
                      <a:pt x="2418" y="758"/>
                    </a:cubicBezTo>
                    <a:cubicBezTo>
                      <a:pt x="2469" y="747"/>
                      <a:pt x="2472" y="734"/>
                      <a:pt x="2493" y="705"/>
                    </a:cubicBezTo>
                    <a:cubicBezTo>
                      <a:pt x="2501" y="673"/>
                      <a:pt x="2489" y="680"/>
                      <a:pt x="2431" y="656"/>
                    </a:cubicBezTo>
                    <a:cubicBezTo>
                      <a:pt x="2387" y="626"/>
                      <a:pt x="2346" y="599"/>
                      <a:pt x="2307" y="608"/>
                    </a:cubicBezTo>
                    <a:cubicBezTo>
                      <a:pt x="2275" y="600"/>
                      <a:pt x="2275" y="604"/>
                      <a:pt x="2239" y="600"/>
                    </a:cubicBezTo>
                    <a:cubicBezTo>
                      <a:pt x="2219" y="580"/>
                      <a:pt x="2208" y="567"/>
                      <a:pt x="2183" y="552"/>
                    </a:cubicBezTo>
                    <a:cubicBezTo>
                      <a:pt x="2160" y="509"/>
                      <a:pt x="2162" y="504"/>
                      <a:pt x="2123" y="512"/>
                    </a:cubicBezTo>
                    <a:cubicBezTo>
                      <a:pt x="2109" y="521"/>
                      <a:pt x="2082" y="528"/>
                      <a:pt x="2061" y="513"/>
                    </a:cubicBezTo>
                    <a:cubicBezTo>
                      <a:pt x="2037" y="513"/>
                      <a:pt x="2033" y="492"/>
                      <a:pt x="2010" y="510"/>
                    </a:cubicBezTo>
                    <a:cubicBezTo>
                      <a:pt x="1964" y="497"/>
                      <a:pt x="1970" y="459"/>
                      <a:pt x="1947" y="452"/>
                    </a:cubicBezTo>
                    <a:cubicBezTo>
                      <a:pt x="1932" y="425"/>
                      <a:pt x="1903" y="414"/>
                      <a:pt x="1875" y="408"/>
                    </a:cubicBezTo>
                    <a:cubicBezTo>
                      <a:pt x="1877" y="360"/>
                      <a:pt x="1878" y="360"/>
                      <a:pt x="1860" y="345"/>
                    </a:cubicBezTo>
                    <a:cubicBezTo>
                      <a:pt x="1875" y="315"/>
                      <a:pt x="1869" y="296"/>
                      <a:pt x="1862" y="299"/>
                    </a:cubicBezTo>
                    <a:cubicBezTo>
                      <a:pt x="1836" y="302"/>
                      <a:pt x="1839" y="344"/>
                      <a:pt x="1823" y="360"/>
                    </a:cubicBezTo>
                    <a:cubicBezTo>
                      <a:pt x="1748" y="371"/>
                      <a:pt x="1761" y="356"/>
                      <a:pt x="1747" y="308"/>
                    </a:cubicBezTo>
                    <a:cubicBezTo>
                      <a:pt x="1723" y="204"/>
                      <a:pt x="1715" y="252"/>
                      <a:pt x="1665" y="234"/>
                    </a:cubicBezTo>
                    <a:cubicBezTo>
                      <a:pt x="1645" y="202"/>
                      <a:pt x="1665" y="179"/>
                      <a:pt x="1596" y="173"/>
                    </a:cubicBezTo>
                    <a:cubicBezTo>
                      <a:pt x="1589" y="159"/>
                      <a:pt x="1591" y="136"/>
                      <a:pt x="1575" y="116"/>
                    </a:cubicBezTo>
                    <a:cubicBezTo>
                      <a:pt x="1567" y="96"/>
                      <a:pt x="1557" y="95"/>
                      <a:pt x="1519" y="100"/>
                    </a:cubicBezTo>
                    <a:cubicBezTo>
                      <a:pt x="1484" y="96"/>
                      <a:pt x="1484" y="40"/>
                      <a:pt x="1484" y="0"/>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144" name="Freeform 2548">
              <a:extLst>
                <a:ext uri="{FF2B5EF4-FFF2-40B4-BE49-F238E27FC236}">
                  <a16:creationId xmlns:a16="http://schemas.microsoft.com/office/drawing/2014/main" id="{E0077690-ADB8-476C-0A33-880A3A066FBE}"/>
                </a:ext>
              </a:extLst>
            </p:cNvPr>
            <p:cNvSpPr>
              <a:spLocks noChangeAspect="1"/>
            </p:cNvSpPr>
            <p:nvPr>
              <p:custDataLst>
                <p:tags r:id="rId36"/>
              </p:custDataLst>
            </p:nvPr>
          </p:nvSpPr>
          <p:spPr bwMode="auto">
            <a:xfrm>
              <a:off x="3143243" y="3812064"/>
              <a:ext cx="167271" cy="147821"/>
            </a:xfrm>
            <a:custGeom>
              <a:avLst/>
              <a:gdLst>
                <a:gd name="T0" fmla="*/ 181 w 691"/>
                <a:gd name="T1" fmla="*/ 0 h 607"/>
                <a:gd name="T2" fmla="*/ 187 w 691"/>
                <a:gd name="T3" fmla="*/ 20 h 607"/>
                <a:gd name="T4" fmla="*/ 214 w 691"/>
                <a:gd name="T5" fmla="*/ 33 h 607"/>
                <a:gd name="T6" fmla="*/ 237 w 691"/>
                <a:gd name="T7" fmla="*/ 53 h 607"/>
                <a:gd name="T8" fmla="*/ 312 w 691"/>
                <a:gd name="T9" fmla="*/ 31 h 607"/>
                <a:gd name="T10" fmla="*/ 358 w 691"/>
                <a:gd name="T11" fmla="*/ 11 h 607"/>
                <a:gd name="T12" fmla="*/ 375 w 691"/>
                <a:gd name="T13" fmla="*/ 14 h 607"/>
                <a:gd name="T14" fmla="*/ 474 w 691"/>
                <a:gd name="T15" fmla="*/ 39 h 607"/>
                <a:gd name="T16" fmla="*/ 521 w 691"/>
                <a:gd name="T17" fmla="*/ 84 h 607"/>
                <a:gd name="T18" fmla="*/ 597 w 691"/>
                <a:gd name="T19" fmla="*/ 119 h 607"/>
                <a:gd name="T20" fmla="*/ 558 w 691"/>
                <a:gd name="T21" fmla="*/ 209 h 607"/>
                <a:gd name="T22" fmla="*/ 627 w 691"/>
                <a:gd name="T23" fmla="*/ 224 h 607"/>
                <a:gd name="T24" fmla="*/ 649 w 691"/>
                <a:gd name="T25" fmla="*/ 287 h 607"/>
                <a:gd name="T26" fmla="*/ 688 w 691"/>
                <a:gd name="T27" fmla="*/ 353 h 607"/>
                <a:gd name="T28" fmla="*/ 661 w 691"/>
                <a:gd name="T29" fmla="*/ 374 h 607"/>
                <a:gd name="T30" fmla="*/ 642 w 691"/>
                <a:gd name="T31" fmla="*/ 431 h 607"/>
                <a:gd name="T32" fmla="*/ 591 w 691"/>
                <a:gd name="T33" fmla="*/ 441 h 607"/>
                <a:gd name="T34" fmla="*/ 572 w 691"/>
                <a:gd name="T35" fmla="*/ 491 h 607"/>
                <a:gd name="T36" fmla="*/ 561 w 691"/>
                <a:gd name="T37" fmla="*/ 602 h 607"/>
                <a:gd name="T38" fmla="*/ 540 w 691"/>
                <a:gd name="T39" fmla="*/ 607 h 607"/>
                <a:gd name="T40" fmla="*/ 476 w 691"/>
                <a:gd name="T41" fmla="*/ 551 h 607"/>
                <a:gd name="T42" fmla="*/ 404 w 691"/>
                <a:gd name="T43" fmla="*/ 507 h 607"/>
                <a:gd name="T44" fmla="*/ 384 w 691"/>
                <a:gd name="T45" fmla="*/ 443 h 607"/>
                <a:gd name="T46" fmla="*/ 396 w 691"/>
                <a:gd name="T47" fmla="*/ 411 h 607"/>
                <a:gd name="T48" fmla="*/ 360 w 691"/>
                <a:gd name="T49" fmla="*/ 431 h 607"/>
                <a:gd name="T50" fmla="*/ 324 w 691"/>
                <a:gd name="T51" fmla="*/ 463 h 607"/>
                <a:gd name="T52" fmla="*/ 288 w 691"/>
                <a:gd name="T53" fmla="*/ 455 h 607"/>
                <a:gd name="T54" fmla="*/ 272 w 691"/>
                <a:gd name="T55" fmla="*/ 407 h 607"/>
                <a:gd name="T56" fmla="*/ 192 w 691"/>
                <a:gd name="T57" fmla="*/ 335 h 607"/>
                <a:gd name="T58" fmla="*/ 120 w 691"/>
                <a:gd name="T59" fmla="*/ 271 h 607"/>
                <a:gd name="T60" fmla="*/ 72 w 691"/>
                <a:gd name="T61" fmla="*/ 195 h 607"/>
                <a:gd name="T62" fmla="*/ 24 w 691"/>
                <a:gd name="T63" fmla="*/ 191 h 607"/>
                <a:gd name="T64" fmla="*/ 12 w 691"/>
                <a:gd name="T65" fmla="*/ 155 h 607"/>
                <a:gd name="T66" fmla="*/ 32 w 691"/>
                <a:gd name="T67" fmla="*/ 83 h 607"/>
                <a:gd name="T68" fmla="*/ 88 w 691"/>
                <a:gd name="T69" fmla="*/ 47 h 607"/>
                <a:gd name="T70" fmla="*/ 152 w 691"/>
                <a:gd name="T71" fmla="*/ 15 h 607"/>
                <a:gd name="T72" fmla="*/ 181 w 691"/>
                <a:gd name="T73" fmla="*/ 0 h 60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91"/>
                <a:gd name="T112" fmla="*/ 0 h 607"/>
                <a:gd name="T113" fmla="*/ 691 w 691"/>
                <a:gd name="T114" fmla="*/ 607 h 60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91" h="607">
                  <a:moveTo>
                    <a:pt x="181" y="0"/>
                  </a:moveTo>
                  <a:cubicBezTo>
                    <a:pt x="188" y="1"/>
                    <a:pt x="178" y="11"/>
                    <a:pt x="187" y="20"/>
                  </a:cubicBezTo>
                  <a:cubicBezTo>
                    <a:pt x="192" y="25"/>
                    <a:pt x="206" y="28"/>
                    <a:pt x="214" y="33"/>
                  </a:cubicBezTo>
                  <a:cubicBezTo>
                    <a:pt x="222" y="38"/>
                    <a:pt x="213" y="54"/>
                    <a:pt x="237" y="53"/>
                  </a:cubicBezTo>
                  <a:cubicBezTo>
                    <a:pt x="273" y="60"/>
                    <a:pt x="284" y="39"/>
                    <a:pt x="312" y="31"/>
                  </a:cubicBezTo>
                  <a:cubicBezTo>
                    <a:pt x="324" y="27"/>
                    <a:pt x="358" y="11"/>
                    <a:pt x="358" y="11"/>
                  </a:cubicBezTo>
                  <a:cubicBezTo>
                    <a:pt x="374" y="10"/>
                    <a:pt x="356" y="9"/>
                    <a:pt x="375" y="14"/>
                  </a:cubicBezTo>
                  <a:cubicBezTo>
                    <a:pt x="394" y="19"/>
                    <a:pt x="450" y="27"/>
                    <a:pt x="474" y="39"/>
                  </a:cubicBezTo>
                  <a:cubicBezTo>
                    <a:pt x="484" y="74"/>
                    <a:pt x="500" y="71"/>
                    <a:pt x="521" y="84"/>
                  </a:cubicBezTo>
                  <a:cubicBezTo>
                    <a:pt x="535" y="87"/>
                    <a:pt x="590" y="99"/>
                    <a:pt x="597" y="119"/>
                  </a:cubicBezTo>
                  <a:cubicBezTo>
                    <a:pt x="603" y="144"/>
                    <a:pt x="561" y="176"/>
                    <a:pt x="558" y="209"/>
                  </a:cubicBezTo>
                  <a:cubicBezTo>
                    <a:pt x="574" y="236"/>
                    <a:pt x="576" y="239"/>
                    <a:pt x="627" y="224"/>
                  </a:cubicBezTo>
                  <a:cubicBezTo>
                    <a:pt x="622" y="236"/>
                    <a:pt x="625" y="263"/>
                    <a:pt x="649" y="287"/>
                  </a:cubicBezTo>
                  <a:cubicBezTo>
                    <a:pt x="661" y="295"/>
                    <a:pt x="691" y="338"/>
                    <a:pt x="688" y="353"/>
                  </a:cubicBezTo>
                  <a:cubicBezTo>
                    <a:pt x="684" y="373"/>
                    <a:pt x="673" y="363"/>
                    <a:pt x="661" y="374"/>
                  </a:cubicBezTo>
                  <a:cubicBezTo>
                    <a:pt x="653" y="386"/>
                    <a:pt x="642" y="431"/>
                    <a:pt x="642" y="431"/>
                  </a:cubicBezTo>
                  <a:cubicBezTo>
                    <a:pt x="627" y="434"/>
                    <a:pt x="603" y="432"/>
                    <a:pt x="591" y="441"/>
                  </a:cubicBezTo>
                  <a:cubicBezTo>
                    <a:pt x="593" y="487"/>
                    <a:pt x="576" y="475"/>
                    <a:pt x="572" y="491"/>
                  </a:cubicBezTo>
                  <a:cubicBezTo>
                    <a:pt x="566" y="516"/>
                    <a:pt x="558" y="581"/>
                    <a:pt x="561" y="602"/>
                  </a:cubicBezTo>
                  <a:cubicBezTo>
                    <a:pt x="552" y="605"/>
                    <a:pt x="561" y="602"/>
                    <a:pt x="540" y="607"/>
                  </a:cubicBezTo>
                  <a:cubicBezTo>
                    <a:pt x="484" y="595"/>
                    <a:pt x="508" y="575"/>
                    <a:pt x="476" y="551"/>
                  </a:cubicBezTo>
                  <a:cubicBezTo>
                    <a:pt x="452" y="531"/>
                    <a:pt x="436" y="511"/>
                    <a:pt x="404" y="507"/>
                  </a:cubicBezTo>
                  <a:cubicBezTo>
                    <a:pt x="396" y="483"/>
                    <a:pt x="412" y="451"/>
                    <a:pt x="384" y="443"/>
                  </a:cubicBezTo>
                  <a:cubicBezTo>
                    <a:pt x="392" y="431"/>
                    <a:pt x="388" y="423"/>
                    <a:pt x="396" y="411"/>
                  </a:cubicBezTo>
                  <a:cubicBezTo>
                    <a:pt x="384" y="375"/>
                    <a:pt x="368" y="419"/>
                    <a:pt x="360" y="431"/>
                  </a:cubicBezTo>
                  <a:cubicBezTo>
                    <a:pt x="348" y="463"/>
                    <a:pt x="352" y="455"/>
                    <a:pt x="324" y="463"/>
                  </a:cubicBezTo>
                  <a:cubicBezTo>
                    <a:pt x="312" y="459"/>
                    <a:pt x="296" y="467"/>
                    <a:pt x="288" y="455"/>
                  </a:cubicBezTo>
                  <a:cubicBezTo>
                    <a:pt x="284" y="447"/>
                    <a:pt x="272" y="407"/>
                    <a:pt x="272" y="407"/>
                  </a:cubicBezTo>
                  <a:cubicBezTo>
                    <a:pt x="248" y="327"/>
                    <a:pt x="268" y="343"/>
                    <a:pt x="192" y="335"/>
                  </a:cubicBezTo>
                  <a:cubicBezTo>
                    <a:pt x="176" y="287"/>
                    <a:pt x="172" y="279"/>
                    <a:pt x="120" y="271"/>
                  </a:cubicBezTo>
                  <a:cubicBezTo>
                    <a:pt x="104" y="235"/>
                    <a:pt x="116" y="207"/>
                    <a:pt x="72" y="195"/>
                  </a:cubicBezTo>
                  <a:cubicBezTo>
                    <a:pt x="44" y="203"/>
                    <a:pt x="48" y="207"/>
                    <a:pt x="24" y="191"/>
                  </a:cubicBezTo>
                  <a:cubicBezTo>
                    <a:pt x="20" y="179"/>
                    <a:pt x="12" y="155"/>
                    <a:pt x="12" y="155"/>
                  </a:cubicBezTo>
                  <a:cubicBezTo>
                    <a:pt x="8" y="127"/>
                    <a:pt x="0" y="95"/>
                    <a:pt x="32" y="83"/>
                  </a:cubicBezTo>
                  <a:cubicBezTo>
                    <a:pt x="48" y="55"/>
                    <a:pt x="56" y="55"/>
                    <a:pt x="88" y="47"/>
                  </a:cubicBezTo>
                  <a:cubicBezTo>
                    <a:pt x="136" y="11"/>
                    <a:pt x="12" y="43"/>
                    <a:pt x="152" y="15"/>
                  </a:cubicBezTo>
                  <a:cubicBezTo>
                    <a:pt x="160" y="15"/>
                    <a:pt x="189" y="0"/>
                    <a:pt x="181" y="0"/>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45" name="Freeform 2549">
              <a:extLst>
                <a:ext uri="{FF2B5EF4-FFF2-40B4-BE49-F238E27FC236}">
                  <a16:creationId xmlns:a16="http://schemas.microsoft.com/office/drawing/2014/main" id="{84C899C0-BA17-687B-2B07-84FD9373939F}"/>
                </a:ext>
              </a:extLst>
            </p:cNvPr>
            <p:cNvSpPr>
              <a:spLocks noChangeAspect="1"/>
            </p:cNvSpPr>
            <p:nvPr>
              <p:custDataLst>
                <p:tags r:id="rId37"/>
              </p:custDataLst>
            </p:nvPr>
          </p:nvSpPr>
          <p:spPr bwMode="auto">
            <a:xfrm>
              <a:off x="3276477" y="3917095"/>
              <a:ext cx="36955" cy="48626"/>
            </a:xfrm>
            <a:custGeom>
              <a:avLst/>
              <a:gdLst>
                <a:gd name="T0" fmla="*/ 95 w 153"/>
                <a:gd name="T1" fmla="*/ 0 h 200"/>
                <a:gd name="T2" fmla="*/ 23 w 153"/>
                <a:gd name="T3" fmla="*/ 56 h 200"/>
                <a:gd name="T4" fmla="*/ 11 w 153"/>
                <a:gd name="T5" fmla="*/ 168 h 200"/>
                <a:gd name="T6" fmla="*/ 51 w 153"/>
                <a:gd name="T7" fmla="*/ 184 h 200"/>
                <a:gd name="T8" fmla="*/ 130 w 153"/>
                <a:gd name="T9" fmla="*/ 178 h 200"/>
                <a:gd name="T10" fmla="*/ 147 w 153"/>
                <a:gd name="T11" fmla="*/ 120 h 200"/>
                <a:gd name="T12" fmla="*/ 127 w 153"/>
                <a:gd name="T13" fmla="*/ 63 h 200"/>
                <a:gd name="T14" fmla="*/ 95 w 153"/>
                <a:gd name="T15" fmla="*/ 28 h 200"/>
                <a:gd name="T16" fmla="*/ 95 w 153"/>
                <a:gd name="T17" fmla="*/ 0 h 2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3"/>
                <a:gd name="T28" fmla="*/ 0 h 200"/>
                <a:gd name="T29" fmla="*/ 153 w 153"/>
                <a:gd name="T30" fmla="*/ 200 h 2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3" h="200">
                  <a:moveTo>
                    <a:pt x="95" y="0"/>
                  </a:moveTo>
                  <a:cubicBezTo>
                    <a:pt x="0" y="3"/>
                    <a:pt x="71" y="24"/>
                    <a:pt x="23" y="56"/>
                  </a:cubicBezTo>
                  <a:cubicBezTo>
                    <a:pt x="15" y="96"/>
                    <a:pt x="15" y="116"/>
                    <a:pt x="11" y="168"/>
                  </a:cubicBezTo>
                  <a:cubicBezTo>
                    <a:pt x="22" y="186"/>
                    <a:pt x="33" y="181"/>
                    <a:pt x="51" y="184"/>
                  </a:cubicBezTo>
                  <a:cubicBezTo>
                    <a:pt x="63" y="200"/>
                    <a:pt x="111" y="171"/>
                    <a:pt x="130" y="178"/>
                  </a:cubicBezTo>
                  <a:cubicBezTo>
                    <a:pt x="125" y="160"/>
                    <a:pt x="132" y="150"/>
                    <a:pt x="147" y="120"/>
                  </a:cubicBezTo>
                  <a:cubicBezTo>
                    <a:pt x="153" y="88"/>
                    <a:pt x="151" y="79"/>
                    <a:pt x="127" y="63"/>
                  </a:cubicBezTo>
                  <a:cubicBezTo>
                    <a:pt x="105" y="42"/>
                    <a:pt x="115" y="48"/>
                    <a:pt x="95" y="28"/>
                  </a:cubicBezTo>
                  <a:cubicBezTo>
                    <a:pt x="91" y="8"/>
                    <a:pt x="91" y="16"/>
                    <a:pt x="95" y="0"/>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146" name="Group 2550">
              <a:extLst>
                <a:ext uri="{FF2B5EF4-FFF2-40B4-BE49-F238E27FC236}">
                  <a16:creationId xmlns:a16="http://schemas.microsoft.com/office/drawing/2014/main" id="{D38E2558-FC41-C42B-21AF-13688F67A39B}"/>
                </a:ext>
              </a:extLst>
            </p:cNvPr>
            <p:cNvGrpSpPr>
              <a:grpSpLocks/>
            </p:cNvGrpSpPr>
            <p:nvPr>
              <p:custDataLst>
                <p:tags r:id="rId38"/>
              </p:custDataLst>
            </p:nvPr>
          </p:nvGrpSpPr>
          <p:grpSpPr bwMode="auto">
            <a:xfrm>
              <a:off x="3186033" y="3674940"/>
              <a:ext cx="171162" cy="193530"/>
              <a:chOff x="1507" y="4979"/>
              <a:chExt cx="706" cy="796"/>
            </a:xfrm>
          </p:grpSpPr>
          <p:sp>
            <p:nvSpPr>
              <p:cNvPr id="160" name="Freeform 2551">
                <a:extLst>
                  <a:ext uri="{FF2B5EF4-FFF2-40B4-BE49-F238E27FC236}">
                    <a16:creationId xmlns:a16="http://schemas.microsoft.com/office/drawing/2014/main" id="{579F4F19-3477-33ED-C0D0-1AB25AB28517}"/>
                  </a:ext>
                </a:extLst>
              </p:cNvPr>
              <p:cNvSpPr>
                <a:spLocks noChangeAspect="1"/>
              </p:cNvSpPr>
              <p:nvPr/>
            </p:nvSpPr>
            <p:spPr bwMode="auto">
              <a:xfrm>
                <a:off x="1759" y="5075"/>
                <a:ext cx="56" cy="44"/>
              </a:xfrm>
              <a:custGeom>
                <a:avLst/>
                <a:gdLst>
                  <a:gd name="T0" fmla="*/ 5 w 14"/>
                  <a:gd name="T1" fmla="*/ 0 h 11"/>
                  <a:gd name="T2" fmla="*/ 9 w 14"/>
                  <a:gd name="T3" fmla="*/ 7 h 11"/>
                  <a:gd name="T4" fmla="*/ 3 w 14"/>
                  <a:gd name="T5" fmla="*/ 11 h 11"/>
                  <a:gd name="T6" fmla="*/ 5 w 14"/>
                  <a:gd name="T7" fmla="*/ 0 h 11"/>
                  <a:gd name="T8" fmla="*/ 0 60000 65536"/>
                  <a:gd name="T9" fmla="*/ 0 60000 65536"/>
                  <a:gd name="T10" fmla="*/ 0 60000 65536"/>
                  <a:gd name="T11" fmla="*/ 0 60000 65536"/>
                  <a:gd name="T12" fmla="*/ 0 w 14"/>
                  <a:gd name="T13" fmla="*/ 0 h 11"/>
                  <a:gd name="T14" fmla="*/ 14 w 14"/>
                  <a:gd name="T15" fmla="*/ 11 h 11"/>
                </a:gdLst>
                <a:ahLst/>
                <a:cxnLst>
                  <a:cxn ang="T8">
                    <a:pos x="T0" y="T1"/>
                  </a:cxn>
                  <a:cxn ang="T9">
                    <a:pos x="T2" y="T3"/>
                  </a:cxn>
                  <a:cxn ang="T10">
                    <a:pos x="T4" y="T5"/>
                  </a:cxn>
                  <a:cxn ang="T11">
                    <a:pos x="T6" y="T7"/>
                  </a:cxn>
                </a:cxnLst>
                <a:rect l="T12" t="T13" r="T14" b="T15"/>
                <a:pathLst>
                  <a:path w="14" h="11">
                    <a:moveTo>
                      <a:pt x="5" y="0"/>
                    </a:moveTo>
                    <a:cubicBezTo>
                      <a:pt x="9" y="1"/>
                      <a:pt x="14" y="0"/>
                      <a:pt x="9" y="7"/>
                    </a:cubicBezTo>
                    <a:cubicBezTo>
                      <a:pt x="8" y="9"/>
                      <a:pt x="3" y="11"/>
                      <a:pt x="3" y="11"/>
                    </a:cubicBezTo>
                    <a:cubicBezTo>
                      <a:pt x="0" y="7"/>
                      <a:pt x="1" y="4"/>
                      <a:pt x="5" y="0"/>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61" name="Freeform 2552">
                <a:extLst>
                  <a:ext uri="{FF2B5EF4-FFF2-40B4-BE49-F238E27FC236}">
                    <a16:creationId xmlns:a16="http://schemas.microsoft.com/office/drawing/2014/main" id="{D55DA683-6C09-C61A-998B-418964E56A9C}"/>
                  </a:ext>
                </a:extLst>
              </p:cNvPr>
              <p:cNvSpPr>
                <a:spLocks noChangeAspect="1"/>
              </p:cNvSpPr>
              <p:nvPr/>
            </p:nvSpPr>
            <p:spPr bwMode="auto">
              <a:xfrm>
                <a:off x="1803" y="5019"/>
                <a:ext cx="32" cy="68"/>
              </a:xfrm>
              <a:custGeom>
                <a:avLst/>
                <a:gdLst>
                  <a:gd name="T0" fmla="*/ 0 w 8"/>
                  <a:gd name="T1" fmla="*/ 8 h 17"/>
                  <a:gd name="T2" fmla="*/ 8 w 8"/>
                  <a:gd name="T3" fmla="*/ 0 h 17"/>
                  <a:gd name="T4" fmla="*/ 0 w 8"/>
                  <a:gd name="T5" fmla="*/ 8 h 17"/>
                  <a:gd name="T6" fmla="*/ 0 60000 65536"/>
                  <a:gd name="T7" fmla="*/ 0 60000 65536"/>
                  <a:gd name="T8" fmla="*/ 0 60000 65536"/>
                  <a:gd name="T9" fmla="*/ 0 w 8"/>
                  <a:gd name="T10" fmla="*/ 0 h 17"/>
                  <a:gd name="T11" fmla="*/ 8 w 8"/>
                  <a:gd name="T12" fmla="*/ 17 h 17"/>
                </a:gdLst>
                <a:ahLst/>
                <a:cxnLst>
                  <a:cxn ang="T6">
                    <a:pos x="T0" y="T1"/>
                  </a:cxn>
                  <a:cxn ang="T7">
                    <a:pos x="T2" y="T3"/>
                  </a:cxn>
                  <a:cxn ang="T8">
                    <a:pos x="T4" y="T5"/>
                  </a:cxn>
                </a:cxnLst>
                <a:rect l="T9" t="T10" r="T11" b="T12"/>
                <a:pathLst>
                  <a:path w="8" h="17">
                    <a:moveTo>
                      <a:pt x="0" y="8"/>
                    </a:moveTo>
                    <a:cubicBezTo>
                      <a:pt x="5" y="6"/>
                      <a:pt x="4" y="4"/>
                      <a:pt x="8" y="0"/>
                    </a:cubicBezTo>
                    <a:cubicBezTo>
                      <a:pt x="8" y="2"/>
                      <a:pt x="0" y="17"/>
                      <a:pt x="0" y="8"/>
                    </a:cubicBezTo>
                    <a:close/>
                  </a:path>
                </a:pathLst>
              </a:custGeom>
              <a:solidFill>
                <a:schemeClr val="accent2"/>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62" name="Freeform 2553">
                <a:extLst>
                  <a:ext uri="{FF2B5EF4-FFF2-40B4-BE49-F238E27FC236}">
                    <a16:creationId xmlns:a16="http://schemas.microsoft.com/office/drawing/2014/main" id="{1D9FDFA7-D17A-9FB0-E4F8-5CCC7174792A}"/>
                  </a:ext>
                </a:extLst>
              </p:cNvPr>
              <p:cNvSpPr>
                <a:spLocks noChangeAspect="1"/>
              </p:cNvSpPr>
              <p:nvPr/>
            </p:nvSpPr>
            <p:spPr bwMode="auto">
              <a:xfrm>
                <a:off x="1859" y="4991"/>
                <a:ext cx="48" cy="40"/>
              </a:xfrm>
              <a:custGeom>
                <a:avLst/>
                <a:gdLst>
                  <a:gd name="T0" fmla="*/ 0 w 12"/>
                  <a:gd name="T1" fmla="*/ 3 h 10"/>
                  <a:gd name="T2" fmla="*/ 12 w 12"/>
                  <a:gd name="T3" fmla="*/ 2 h 10"/>
                  <a:gd name="T4" fmla="*/ 0 w 12"/>
                  <a:gd name="T5" fmla="*/ 3 h 10"/>
                  <a:gd name="T6" fmla="*/ 0 60000 65536"/>
                  <a:gd name="T7" fmla="*/ 0 60000 65536"/>
                  <a:gd name="T8" fmla="*/ 0 60000 65536"/>
                  <a:gd name="T9" fmla="*/ 0 w 12"/>
                  <a:gd name="T10" fmla="*/ 0 h 10"/>
                  <a:gd name="T11" fmla="*/ 12 w 12"/>
                  <a:gd name="T12" fmla="*/ 10 h 10"/>
                </a:gdLst>
                <a:ahLst/>
                <a:cxnLst>
                  <a:cxn ang="T6">
                    <a:pos x="T0" y="T1"/>
                  </a:cxn>
                  <a:cxn ang="T7">
                    <a:pos x="T2" y="T3"/>
                  </a:cxn>
                  <a:cxn ang="T8">
                    <a:pos x="T4" y="T5"/>
                  </a:cxn>
                </a:cxnLst>
                <a:rect l="T9" t="T10" r="T11" b="T12"/>
                <a:pathLst>
                  <a:path w="12" h="10">
                    <a:moveTo>
                      <a:pt x="0" y="3"/>
                    </a:moveTo>
                    <a:cubicBezTo>
                      <a:pt x="8" y="0"/>
                      <a:pt x="4" y="1"/>
                      <a:pt x="12" y="2"/>
                    </a:cubicBezTo>
                    <a:cubicBezTo>
                      <a:pt x="10" y="9"/>
                      <a:pt x="0" y="10"/>
                      <a:pt x="0" y="3"/>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63" name="Freeform 2554">
                <a:extLst>
                  <a:ext uri="{FF2B5EF4-FFF2-40B4-BE49-F238E27FC236}">
                    <a16:creationId xmlns:a16="http://schemas.microsoft.com/office/drawing/2014/main" id="{7370E287-4803-3204-5282-AE9F74A627BB}"/>
                  </a:ext>
                </a:extLst>
              </p:cNvPr>
              <p:cNvSpPr>
                <a:spLocks noChangeAspect="1"/>
              </p:cNvSpPr>
              <p:nvPr/>
            </p:nvSpPr>
            <p:spPr bwMode="auto">
              <a:xfrm>
                <a:off x="1919" y="4979"/>
                <a:ext cx="96" cy="28"/>
              </a:xfrm>
              <a:custGeom>
                <a:avLst/>
                <a:gdLst>
                  <a:gd name="T0" fmla="*/ 1 w 24"/>
                  <a:gd name="T1" fmla="*/ 4 h 7"/>
                  <a:gd name="T2" fmla="*/ 12 w 24"/>
                  <a:gd name="T3" fmla="*/ 7 h 7"/>
                  <a:gd name="T4" fmla="*/ 1 w 24"/>
                  <a:gd name="T5" fmla="*/ 4 h 7"/>
                  <a:gd name="T6" fmla="*/ 0 60000 65536"/>
                  <a:gd name="T7" fmla="*/ 0 60000 65536"/>
                  <a:gd name="T8" fmla="*/ 0 60000 65536"/>
                  <a:gd name="T9" fmla="*/ 0 w 24"/>
                  <a:gd name="T10" fmla="*/ 0 h 7"/>
                  <a:gd name="T11" fmla="*/ 24 w 24"/>
                  <a:gd name="T12" fmla="*/ 7 h 7"/>
                </a:gdLst>
                <a:ahLst/>
                <a:cxnLst>
                  <a:cxn ang="T6">
                    <a:pos x="T0" y="T1"/>
                  </a:cxn>
                  <a:cxn ang="T7">
                    <a:pos x="T2" y="T3"/>
                  </a:cxn>
                  <a:cxn ang="T8">
                    <a:pos x="T4" y="T5"/>
                  </a:cxn>
                </a:cxnLst>
                <a:rect l="T9" t="T10" r="T11" b="T12"/>
                <a:pathLst>
                  <a:path w="24" h="7">
                    <a:moveTo>
                      <a:pt x="1" y="4"/>
                    </a:moveTo>
                    <a:cubicBezTo>
                      <a:pt x="22" y="3"/>
                      <a:pt x="24" y="3"/>
                      <a:pt x="12" y="7"/>
                    </a:cubicBezTo>
                    <a:cubicBezTo>
                      <a:pt x="6" y="6"/>
                      <a:pt x="0" y="0"/>
                      <a:pt x="1" y="4"/>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64" name="Freeform 2555">
                <a:extLst>
                  <a:ext uri="{FF2B5EF4-FFF2-40B4-BE49-F238E27FC236}">
                    <a16:creationId xmlns:a16="http://schemas.microsoft.com/office/drawing/2014/main" id="{78BBB67A-6B3D-3ED6-170A-AFFB9D829E5C}"/>
                  </a:ext>
                </a:extLst>
              </p:cNvPr>
              <p:cNvSpPr>
                <a:spLocks noChangeAspect="1"/>
              </p:cNvSpPr>
              <p:nvPr/>
            </p:nvSpPr>
            <p:spPr bwMode="auto">
              <a:xfrm>
                <a:off x="1507" y="5019"/>
                <a:ext cx="706" cy="756"/>
              </a:xfrm>
              <a:custGeom>
                <a:avLst/>
                <a:gdLst>
                  <a:gd name="T0" fmla="*/ 694 w 706"/>
                  <a:gd name="T1" fmla="*/ 39 h 756"/>
                  <a:gd name="T2" fmla="*/ 624 w 706"/>
                  <a:gd name="T3" fmla="*/ 0 h 756"/>
                  <a:gd name="T4" fmla="*/ 508 w 706"/>
                  <a:gd name="T5" fmla="*/ 12 h 756"/>
                  <a:gd name="T6" fmla="*/ 432 w 706"/>
                  <a:gd name="T7" fmla="*/ 28 h 756"/>
                  <a:gd name="T8" fmla="*/ 376 w 706"/>
                  <a:gd name="T9" fmla="*/ 60 h 756"/>
                  <a:gd name="T10" fmla="*/ 328 w 706"/>
                  <a:gd name="T11" fmla="*/ 92 h 756"/>
                  <a:gd name="T12" fmla="*/ 304 w 706"/>
                  <a:gd name="T13" fmla="*/ 100 h 756"/>
                  <a:gd name="T14" fmla="*/ 244 w 706"/>
                  <a:gd name="T15" fmla="*/ 156 h 756"/>
                  <a:gd name="T16" fmla="*/ 364 w 706"/>
                  <a:gd name="T17" fmla="*/ 240 h 756"/>
                  <a:gd name="T18" fmla="*/ 324 w 706"/>
                  <a:gd name="T19" fmla="*/ 272 h 756"/>
                  <a:gd name="T20" fmla="*/ 220 w 706"/>
                  <a:gd name="T21" fmla="*/ 268 h 756"/>
                  <a:gd name="T22" fmla="*/ 168 w 706"/>
                  <a:gd name="T23" fmla="*/ 316 h 756"/>
                  <a:gd name="T24" fmla="*/ 112 w 706"/>
                  <a:gd name="T25" fmla="*/ 392 h 756"/>
                  <a:gd name="T26" fmla="*/ 76 w 706"/>
                  <a:gd name="T27" fmla="*/ 420 h 756"/>
                  <a:gd name="T28" fmla="*/ 12 w 706"/>
                  <a:gd name="T29" fmla="*/ 504 h 756"/>
                  <a:gd name="T30" fmla="*/ 36 w 706"/>
                  <a:gd name="T31" fmla="*/ 560 h 756"/>
                  <a:gd name="T32" fmla="*/ 76 w 706"/>
                  <a:gd name="T33" fmla="*/ 580 h 756"/>
                  <a:gd name="T34" fmla="*/ 196 w 706"/>
                  <a:gd name="T35" fmla="*/ 536 h 756"/>
                  <a:gd name="T36" fmla="*/ 300 w 706"/>
                  <a:gd name="T37" fmla="*/ 564 h 756"/>
                  <a:gd name="T38" fmla="*/ 364 w 706"/>
                  <a:gd name="T39" fmla="*/ 612 h 756"/>
                  <a:gd name="T40" fmla="*/ 400 w 706"/>
                  <a:gd name="T41" fmla="*/ 628 h 756"/>
                  <a:gd name="T42" fmla="*/ 424 w 706"/>
                  <a:gd name="T43" fmla="*/ 644 h 756"/>
                  <a:gd name="T44" fmla="*/ 392 w 706"/>
                  <a:gd name="T45" fmla="*/ 704 h 756"/>
                  <a:gd name="T46" fmla="*/ 408 w 706"/>
                  <a:gd name="T47" fmla="*/ 756 h 756"/>
                  <a:gd name="T48" fmla="*/ 464 w 706"/>
                  <a:gd name="T49" fmla="*/ 732 h 756"/>
                  <a:gd name="T50" fmla="*/ 460 w 706"/>
                  <a:gd name="T51" fmla="*/ 720 h 756"/>
                  <a:gd name="T52" fmla="*/ 440 w 706"/>
                  <a:gd name="T53" fmla="*/ 692 h 756"/>
                  <a:gd name="T54" fmla="*/ 466 w 706"/>
                  <a:gd name="T55" fmla="*/ 669 h 756"/>
                  <a:gd name="T56" fmla="*/ 484 w 706"/>
                  <a:gd name="T57" fmla="*/ 624 h 756"/>
                  <a:gd name="T58" fmla="*/ 496 w 706"/>
                  <a:gd name="T59" fmla="*/ 588 h 756"/>
                  <a:gd name="T60" fmla="*/ 484 w 706"/>
                  <a:gd name="T61" fmla="*/ 524 h 756"/>
                  <a:gd name="T62" fmla="*/ 482 w 706"/>
                  <a:gd name="T63" fmla="*/ 471 h 756"/>
                  <a:gd name="T64" fmla="*/ 464 w 706"/>
                  <a:gd name="T65" fmla="*/ 474 h 756"/>
                  <a:gd name="T66" fmla="*/ 529 w 706"/>
                  <a:gd name="T67" fmla="*/ 452 h 756"/>
                  <a:gd name="T68" fmla="*/ 610 w 706"/>
                  <a:gd name="T69" fmla="*/ 431 h 756"/>
                  <a:gd name="T70" fmla="*/ 616 w 706"/>
                  <a:gd name="T71" fmla="*/ 371 h 756"/>
                  <a:gd name="T72" fmla="*/ 652 w 706"/>
                  <a:gd name="T73" fmla="*/ 356 h 756"/>
                  <a:gd name="T74" fmla="*/ 625 w 706"/>
                  <a:gd name="T75" fmla="*/ 273 h 756"/>
                  <a:gd name="T76" fmla="*/ 593 w 706"/>
                  <a:gd name="T77" fmla="*/ 231 h 756"/>
                  <a:gd name="T78" fmla="*/ 628 w 706"/>
                  <a:gd name="T79" fmla="*/ 215 h 756"/>
                  <a:gd name="T80" fmla="*/ 646 w 706"/>
                  <a:gd name="T81" fmla="*/ 242 h 756"/>
                  <a:gd name="T82" fmla="*/ 665 w 706"/>
                  <a:gd name="T83" fmla="*/ 197 h 756"/>
                  <a:gd name="T84" fmla="*/ 694 w 706"/>
                  <a:gd name="T85" fmla="*/ 39 h 75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706"/>
                  <a:gd name="T130" fmla="*/ 0 h 756"/>
                  <a:gd name="T131" fmla="*/ 706 w 706"/>
                  <a:gd name="T132" fmla="*/ 756 h 75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706" h="756">
                    <a:moveTo>
                      <a:pt x="694" y="39"/>
                    </a:moveTo>
                    <a:cubicBezTo>
                      <a:pt x="682" y="7"/>
                      <a:pt x="652" y="20"/>
                      <a:pt x="624" y="0"/>
                    </a:cubicBezTo>
                    <a:cubicBezTo>
                      <a:pt x="584" y="4"/>
                      <a:pt x="548" y="8"/>
                      <a:pt x="508" y="12"/>
                    </a:cubicBezTo>
                    <a:cubicBezTo>
                      <a:pt x="480" y="20"/>
                      <a:pt x="460" y="24"/>
                      <a:pt x="432" y="28"/>
                    </a:cubicBezTo>
                    <a:cubicBezTo>
                      <a:pt x="412" y="36"/>
                      <a:pt x="376" y="60"/>
                      <a:pt x="376" y="60"/>
                    </a:cubicBezTo>
                    <a:cubicBezTo>
                      <a:pt x="364" y="76"/>
                      <a:pt x="344" y="80"/>
                      <a:pt x="328" y="92"/>
                    </a:cubicBezTo>
                    <a:cubicBezTo>
                      <a:pt x="320" y="96"/>
                      <a:pt x="304" y="100"/>
                      <a:pt x="304" y="100"/>
                    </a:cubicBezTo>
                    <a:cubicBezTo>
                      <a:pt x="284" y="124"/>
                      <a:pt x="268" y="140"/>
                      <a:pt x="244" y="156"/>
                    </a:cubicBezTo>
                    <a:cubicBezTo>
                      <a:pt x="252" y="228"/>
                      <a:pt x="300" y="228"/>
                      <a:pt x="364" y="240"/>
                    </a:cubicBezTo>
                    <a:cubicBezTo>
                      <a:pt x="356" y="260"/>
                      <a:pt x="340" y="268"/>
                      <a:pt x="324" y="272"/>
                    </a:cubicBezTo>
                    <a:cubicBezTo>
                      <a:pt x="280" y="268"/>
                      <a:pt x="264" y="264"/>
                      <a:pt x="220" y="268"/>
                    </a:cubicBezTo>
                    <a:cubicBezTo>
                      <a:pt x="200" y="276"/>
                      <a:pt x="176" y="296"/>
                      <a:pt x="168" y="316"/>
                    </a:cubicBezTo>
                    <a:cubicBezTo>
                      <a:pt x="164" y="332"/>
                      <a:pt x="132" y="384"/>
                      <a:pt x="112" y="392"/>
                    </a:cubicBezTo>
                    <a:cubicBezTo>
                      <a:pt x="104" y="408"/>
                      <a:pt x="92" y="412"/>
                      <a:pt x="76" y="420"/>
                    </a:cubicBezTo>
                    <a:cubicBezTo>
                      <a:pt x="68" y="440"/>
                      <a:pt x="32" y="496"/>
                      <a:pt x="12" y="504"/>
                    </a:cubicBezTo>
                    <a:cubicBezTo>
                      <a:pt x="0" y="540"/>
                      <a:pt x="12" y="544"/>
                      <a:pt x="36" y="560"/>
                    </a:cubicBezTo>
                    <a:cubicBezTo>
                      <a:pt x="44" y="580"/>
                      <a:pt x="56" y="576"/>
                      <a:pt x="76" y="580"/>
                    </a:cubicBezTo>
                    <a:cubicBezTo>
                      <a:pt x="128" y="572"/>
                      <a:pt x="148" y="540"/>
                      <a:pt x="196" y="536"/>
                    </a:cubicBezTo>
                    <a:cubicBezTo>
                      <a:pt x="228" y="548"/>
                      <a:pt x="264" y="556"/>
                      <a:pt x="300" y="564"/>
                    </a:cubicBezTo>
                    <a:cubicBezTo>
                      <a:pt x="312" y="600"/>
                      <a:pt x="324" y="608"/>
                      <a:pt x="364" y="612"/>
                    </a:cubicBezTo>
                    <a:cubicBezTo>
                      <a:pt x="376" y="620"/>
                      <a:pt x="388" y="620"/>
                      <a:pt x="400" y="628"/>
                    </a:cubicBezTo>
                    <a:cubicBezTo>
                      <a:pt x="408" y="632"/>
                      <a:pt x="424" y="644"/>
                      <a:pt x="424" y="644"/>
                    </a:cubicBezTo>
                    <a:cubicBezTo>
                      <a:pt x="416" y="668"/>
                      <a:pt x="412" y="688"/>
                      <a:pt x="392" y="704"/>
                    </a:cubicBezTo>
                    <a:cubicBezTo>
                      <a:pt x="384" y="728"/>
                      <a:pt x="380" y="748"/>
                      <a:pt x="408" y="756"/>
                    </a:cubicBezTo>
                    <a:cubicBezTo>
                      <a:pt x="436" y="752"/>
                      <a:pt x="452" y="756"/>
                      <a:pt x="464" y="732"/>
                    </a:cubicBezTo>
                    <a:cubicBezTo>
                      <a:pt x="464" y="728"/>
                      <a:pt x="464" y="724"/>
                      <a:pt x="460" y="720"/>
                    </a:cubicBezTo>
                    <a:cubicBezTo>
                      <a:pt x="456" y="713"/>
                      <a:pt x="439" y="700"/>
                      <a:pt x="440" y="692"/>
                    </a:cubicBezTo>
                    <a:cubicBezTo>
                      <a:pt x="452" y="683"/>
                      <a:pt x="454" y="681"/>
                      <a:pt x="466" y="669"/>
                    </a:cubicBezTo>
                    <a:cubicBezTo>
                      <a:pt x="470" y="653"/>
                      <a:pt x="481" y="645"/>
                      <a:pt x="484" y="624"/>
                    </a:cubicBezTo>
                    <a:cubicBezTo>
                      <a:pt x="488" y="612"/>
                      <a:pt x="490" y="597"/>
                      <a:pt x="496" y="588"/>
                    </a:cubicBezTo>
                    <a:cubicBezTo>
                      <a:pt x="497" y="570"/>
                      <a:pt x="486" y="543"/>
                      <a:pt x="484" y="524"/>
                    </a:cubicBezTo>
                    <a:cubicBezTo>
                      <a:pt x="482" y="505"/>
                      <a:pt x="485" y="479"/>
                      <a:pt x="482" y="471"/>
                    </a:cubicBezTo>
                    <a:cubicBezTo>
                      <a:pt x="479" y="463"/>
                      <a:pt x="456" y="477"/>
                      <a:pt x="464" y="474"/>
                    </a:cubicBezTo>
                    <a:cubicBezTo>
                      <a:pt x="473" y="440"/>
                      <a:pt x="485" y="453"/>
                      <a:pt x="529" y="452"/>
                    </a:cubicBezTo>
                    <a:cubicBezTo>
                      <a:pt x="569" y="446"/>
                      <a:pt x="583" y="443"/>
                      <a:pt x="610" y="431"/>
                    </a:cubicBezTo>
                    <a:cubicBezTo>
                      <a:pt x="622" y="395"/>
                      <a:pt x="577" y="395"/>
                      <a:pt x="616" y="371"/>
                    </a:cubicBezTo>
                    <a:cubicBezTo>
                      <a:pt x="628" y="363"/>
                      <a:pt x="640" y="368"/>
                      <a:pt x="652" y="356"/>
                    </a:cubicBezTo>
                    <a:cubicBezTo>
                      <a:pt x="685" y="318"/>
                      <a:pt x="654" y="255"/>
                      <a:pt x="625" y="273"/>
                    </a:cubicBezTo>
                    <a:cubicBezTo>
                      <a:pt x="603" y="263"/>
                      <a:pt x="593" y="241"/>
                      <a:pt x="593" y="231"/>
                    </a:cubicBezTo>
                    <a:cubicBezTo>
                      <a:pt x="593" y="221"/>
                      <a:pt x="619" y="213"/>
                      <a:pt x="628" y="215"/>
                    </a:cubicBezTo>
                    <a:cubicBezTo>
                      <a:pt x="638" y="230"/>
                      <a:pt x="634" y="230"/>
                      <a:pt x="646" y="242"/>
                    </a:cubicBezTo>
                    <a:cubicBezTo>
                      <a:pt x="653" y="239"/>
                      <a:pt x="657" y="231"/>
                      <a:pt x="665" y="197"/>
                    </a:cubicBezTo>
                    <a:cubicBezTo>
                      <a:pt x="673" y="163"/>
                      <a:pt x="706" y="167"/>
                      <a:pt x="694" y="39"/>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grpSp>
          <p:nvGrpSpPr>
            <p:cNvPr id="147" name="Group 2556">
              <a:extLst>
                <a:ext uri="{FF2B5EF4-FFF2-40B4-BE49-F238E27FC236}">
                  <a16:creationId xmlns:a16="http://schemas.microsoft.com/office/drawing/2014/main" id="{F3AA8FF9-6CB1-E06F-2614-91A4D3B0AD2A}"/>
                </a:ext>
              </a:extLst>
            </p:cNvPr>
            <p:cNvGrpSpPr>
              <a:grpSpLocks/>
            </p:cNvGrpSpPr>
            <p:nvPr>
              <p:custDataLst>
                <p:tags r:id="rId39"/>
              </p:custDataLst>
            </p:nvPr>
          </p:nvGrpSpPr>
          <p:grpSpPr bwMode="auto">
            <a:xfrm>
              <a:off x="2734788" y="3132280"/>
              <a:ext cx="387059" cy="723547"/>
              <a:chOff x="-347" y="2747"/>
              <a:chExt cx="1590" cy="2976"/>
            </a:xfrm>
          </p:grpSpPr>
          <p:sp>
            <p:nvSpPr>
              <p:cNvPr id="149" name="Freeform 2557">
                <a:extLst>
                  <a:ext uri="{FF2B5EF4-FFF2-40B4-BE49-F238E27FC236}">
                    <a16:creationId xmlns:a16="http://schemas.microsoft.com/office/drawing/2014/main" id="{0CB57DDB-3D07-01DB-EA64-8D04ED852869}"/>
                  </a:ext>
                </a:extLst>
              </p:cNvPr>
              <p:cNvSpPr>
                <a:spLocks noChangeAspect="1"/>
              </p:cNvSpPr>
              <p:nvPr/>
            </p:nvSpPr>
            <p:spPr bwMode="auto">
              <a:xfrm>
                <a:off x="1007" y="2747"/>
                <a:ext cx="144" cy="288"/>
              </a:xfrm>
              <a:custGeom>
                <a:avLst/>
                <a:gdLst>
                  <a:gd name="T0" fmla="*/ 32 w 36"/>
                  <a:gd name="T1" fmla="*/ 4 h 72"/>
                  <a:gd name="T2" fmla="*/ 20 w 36"/>
                  <a:gd name="T3" fmla="*/ 11 h 72"/>
                  <a:gd name="T4" fmla="*/ 7 w 36"/>
                  <a:gd name="T5" fmla="*/ 22 h 72"/>
                  <a:gd name="T6" fmla="*/ 3 w 36"/>
                  <a:gd name="T7" fmla="*/ 28 h 72"/>
                  <a:gd name="T8" fmla="*/ 0 w 36"/>
                  <a:gd name="T9" fmla="*/ 43 h 72"/>
                  <a:gd name="T10" fmla="*/ 7 w 36"/>
                  <a:gd name="T11" fmla="*/ 72 h 72"/>
                  <a:gd name="T12" fmla="*/ 17 w 36"/>
                  <a:gd name="T13" fmla="*/ 63 h 72"/>
                  <a:gd name="T14" fmla="*/ 21 w 36"/>
                  <a:gd name="T15" fmla="*/ 54 h 72"/>
                  <a:gd name="T16" fmla="*/ 30 w 36"/>
                  <a:gd name="T17" fmla="*/ 23 h 72"/>
                  <a:gd name="T18" fmla="*/ 36 w 36"/>
                  <a:gd name="T19" fmla="*/ 9 h 72"/>
                  <a:gd name="T20" fmla="*/ 26 w 36"/>
                  <a:gd name="T21" fmla="*/ 11 h 72"/>
                  <a:gd name="T22" fmla="*/ 32 w 36"/>
                  <a:gd name="T23" fmla="*/ 4 h 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6"/>
                  <a:gd name="T37" fmla="*/ 0 h 72"/>
                  <a:gd name="T38" fmla="*/ 36 w 36"/>
                  <a:gd name="T39" fmla="*/ 72 h 7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6" h="72">
                    <a:moveTo>
                      <a:pt x="32" y="4"/>
                    </a:moveTo>
                    <a:cubicBezTo>
                      <a:pt x="24" y="5"/>
                      <a:pt x="26" y="8"/>
                      <a:pt x="20" y="11"/>
                    </a:cubicBezTo>
                    <a:cubicBezTo>
                      <a:pt x="16" y="16"/>
                      <a:pt x="11" y="17"/>
                      <a:pt x="7" y="22"/>
                    </a:cubicBezTo>
                    <a:cubicBezTo>
                      <a:pt x="5" y="24"/>
                      <a:pt x="3" y="28"/>
                      <a:pt x="3" y="28"/>
                    </a:cubicBezTo>
                    <a:cubicBezTo>
                      <a:pt x="2" y="33"/>
                      <a:pt x="2" y="38"/>
                      <a:pt x="0" y="43"/>
                    </a:cubicBezTo>
                    <a:cubicBezTo>
                      <a:pt x="2" y="53"/>
                      <a:pt x="1" y="63"/>
                      <a:pt x="7" y="72"/>
                    </a:cubicBezTo>
                    <a:cubicBezTo>
                      <a:pt x="10" y="68"/>
                      <a:pt x="12" y="66"/>
                      <a:pt x="17" y="63"/>
                    </a:cubicBezTo>
                    <a:cubicBezTo>
                      <a:pt x="18" y="60"/>
                      <a:pt x="20" y="57"/>
                      <a:pt x="21" y="54"/>
                    </a:cubicBezTo>
                    <a:cubicBezTo>
                      <a:pt x="22" y="42"/>
                      <a:pt x="20" y="30"/>
                      <a:pt x="30" y="23"/>
                    </a:cubicBezTo>
                    <a:cubicBezTo>
                      <a:pt x="32" y="19"/>
                      <a:pt x="34" y="14"/>
                      <a:pt x="36" y="9"/>
                    </a:cubicBezTo>
                    <a:cubicBezTo>
                      <a:pt x="33" y="0"/>
                      <a:pt x="30" y="7"/>
                      <a:pt x="26" y="11"/>
                    </a:cubicBezTo>
                    <a:lnTo>
                      <a:pt x="32" y="4"/>
                    </a:ln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50" name="Freeform 2558">
                <a:extLst>
                  <a:ext uri="{FF2B5EF4-FFF2-40B4-BE49-F238E27FC236}">
                    <a16:creationId xmlns:a16="http://schemas.microsoft.com/office/drawing/2014/main" id="{E0C13D9E-6B17-BFDE-152A-184F0950FB34}"/>
                  </a:ext>
                </a:extLst>
              </p:cNvPr>
              <p:cNvSpPr>
                <a:spLocks noChangeAspect="1"/>
              </p:cNvSpPr>
              <p:nvPr/>
            </p:nvSpPr>
            <p:spPr bwMode="auto">
              <a:xfrm>
                <a:off x="715" y="3135"/>
                <a:ext cx="120" cy="132"/>
              </a:xfrm>
              <a:custGeom>
                <a:avLst/>
                <a:gdLst>
                  <a:gd name="T0" fmla="*/ 16 w 30"/>
                  <a:gd name="T1" fmla="*/ 0 h 33"/>
                  <a:gd name="T2" fmla="*/ 3 w 30"/>
                  <a:gd name="T3" fmla="*/ 9 h 33"/>
                  <a:gd name="T4" fmla="*/ 0 w 30"/>
                  <a:gd name="T5" fmla="*/ 21 h 33"/>
                  <a:gd name="T6" fmla="*/ 10 w 30"/>
                  <a:gd name="T7" fmla="*/ 33 h 33"/>
                  <a:gd name="T8" fmla="*/ 25 w 30"/>
                  <a:gd name="T9" fmla="*/ 26 h 33"/>
                  <a:gd name="T10" fmla="*/ 30 w 30"/>
                  <a:gd name="T11" fmla="*/ 12 h 33"/>
                  <a:gd name="T12" fmla="*/ 16 w 30"/>
                  <a:gd name="T13" fmla="*/ 0 h 33"/>
                  <a:gd name="T14" fmla="*/ 0 60000 65536"/>
                  <a:gd name="T15" fmla="*/ 0 60000 65536"/>
                  <a:gd name="T16" fmla="*/ 0 60000 65536"/>
                  <a:gd name="T17" fmla="*/ 0 60000 65536"/>
                  <a:gd name="T18" fmla="*/ 0 60000 65536"/>
                  <a:gd name="T19" fmla="*/ 0 60000 65536"/>
                  <a:gd name="T20" fmla="*/ 0 60000 65536"/>
                  <a:gd name="T21" fmla="*/ 0 w 30"/>
                  <a:gd name="T22" fmla="*/ 0 h 33"/>
                  <a:gd name="T23" fmla="*/ 30 w 30"/>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33">
                    <a:moveTo>
                      <a:pt x="16" y="0"/>
                    </a:moveTo>
                    <a:cubicBezTo>
                      <a:pt x="7" y="3"/>
                      <a:pt x="9" y="3"/>
                      <a:pt x="3" y="9"/>
                    </a:cubicBezTo>
                    <a:cubicBezTo>
                      <a:pt x="0" y="17"/>
                      <a:pt x="1" y="13"/>
                      <a:pt x="0" y="21"/>
                    </a:cubicBezTo>
                    <a:cubicBezTo>
                      <a:pt x="1" y="29"/>
                      <a:pt x="3" y="31"/>
                      <a:pt x="10" y="33"/>
                    </a:cubicBezTo>
                    <a:cubicBezTo>
                      <a:pt x="25" y="32"/>
                      <a:pt x="18" y="33"/>
                      <a:pt x="25" y="26"/>
                    </a:cubicBezTo>
                    <a:cubicBezTo>
                      <a:pt x="26" y="20"/>
                      <a:pt x="27" y="17"/>
                      <a:pt x="30" y="12"/>
                    </a:cubicBezTo>
                    <a:cubicBezTo>
                      <a:pt x="27" y="0"/>
                      <a:pt x="24" y="5"/>
                      <a:pt x="16" y="0"/>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51" name="Freeform 2559">
                <a:extLst>
                  <a:ext uri="{FF2B5EF4-FFF2-40B4-BE49-F238E27FC236}">
                    <a16:creationId xmlns:a16="http://schemas.microsoft.com/office/drawing/2014/main" id="{1A8461D0-87AB-9F6E-E5D6-C36031E72954}"/>
                  </a:ext>
                </a:extLst>
              </p:cNvPr>
              <p:cNvSpPr>
                <a:spLocks noChangeAspect="1"/>
              </p:cNvSpPr>
              <p:nvPr/>
            </p:nvSpPr>
            <p:spPr bwMode="auto">
              <a:xfrm>
                <a:off x="-88" y="3271"/>
                <a:ext cx="340" cy="432"/>
              </a:xfrm>
              <a:custGeom>
                <a:avLst/>
                <a:gdLst>
                  <a:gd name="T0" fmla="*/ 81 w 85"/>
                  <a:gd name="T1" fmla="*/ 0 h 108"/>
                  <a:gd name="T2" fmla="*/ 45 w 85"/>
                  <a:gd name="T3" fmla="*/ 7 h 108"/>
                  <a:gd name="T4" fmla="*/ 36 w 85"/>
                  <a:gd name="T5" fmla="*/ 42 h 108"/>
                  <a:gd name="T6" fmla="*/ 21 w 85"/>
                  <a:gd name="T7" fmla="*/ 55 h 108"/>
                  <a:gd name="T8" fmla="*/ 6 w 85"/>
                  <a:gd name="T9" fmla="*/ 90 h 108"/>
                  <a:gd name="T10" fmla="*/ 0 w 85"/>
                  <a:gd name="T11" fmla="*/ 103 h 108"/>
                  <a:gd name="T12" fmla="*/ 7 w 85"/>
                  <a:gd name="T13" fmla="*/ 108 h 108"/>
                  <a:gd name="T14" fmla="*/ 23 w 85"/>
                  <a:gd name="T15" fmla="*/ 82 h 108"/>
                  <a:gd name="T16" fmla="*/ 34 w 85"/>
                  <a:gd name="T17" fmla="*/ 64 h 108"/>
                  <a:gd name="T18" fmla="*/ 40 w 85"/>
                  <a:gd name="T19" fmla="*/ 55 h 108"/>
                  <a:gd name="T20" fmla="*/ 58 w 85"/>
                  <a:gd name="T21" fmla="*/ 48 h 108"/>
                  <a:gd name="T22" fmla="*/ 69 w 85"/>
                  <a:gd name="T23" fmla="*/ 40 h 108"/>
                  <a:gd name="T24" fmla="*/ 81 w 85"/>
                  <a:gd name="T25" fmla="*/ 22 h 108"/>
                  <a:gd name="T26" fmla="*/ 84 w 85"/>
                  <a:gd name="T27" fmla="*/ 10 h 108"/>
                  <a:gd name="T28" fmla="*/ 81 w 85"/>
                  <a:gd name="T29" fmla="*/ 0 h 10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5"/>
                  <a:gd name="T46" fmla="*/ 0 h 108"/>
                  <a:gd name="T47" fmla="*/ 85 w 85"/>
                  <a:gd name="T48" fmla="*/ 108 h 10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5" h="108">
                    <a:moveTo>
                      <a:pt x="81" y="0"/>
                    </a:moveTo>
                    <a:cubicBezTo>
                      <a:pt x="69" y="1"/>
                      <a:pt x="55" y="0"/>
                      <a:pt x="45" y="7"/>
                    </a:cubicBezTo>
                    <a:cubicBezTo>
                      <a:pt x="38" y="18"/>
                      <a:pt x="41" y="31"/>
                      <a:pt x="36" y="42"/>
                    </a:cubicBezTo>
                    <a:cubicBezTo>
                      <a:pt x="33" y="48"/>
                      <a:pt x="26" y="52"/>
                      <a:pt x="21" y="55"/>
                    </a:cubicBezTo>
                    <a:cubicBezTo>
                      <a:pt x="14" y="65"/>
                      <a:pt x="17" y="83"/>
                      <a:pt x="6" y="90"/>
                    </a:cubicBezTo>
                    <a:cubicBezTo>
                      <a:pt x="5" y="96"/>
                      <a:pt x="4" y="99"/>
                      <a:pt x="0" y="103"/>
                    </a:cubicBezTo>
                    <a:cubicBezTo>
                      <a:pt x="1" y="106"/>
                      <a:pt x="7" y="108"/>
                      <a:pt x="7" y="108"/>
                    </a:cubicBezTo>
                    <a:cubicBezTo>
                      <a:pt x="12" y="99"/>
                      <a:pt x="15" y="88"/>
                      <a:pt x="23" y="82"/>
                    </a:cubicBezTo>
                    <a:cubicBezTo>
                      <a:pt x="25" y="77"/>
                      <a:pt x="30" y="68"/>
                      <a:pt x="34" y="64"/>
                    </a:cubicBezTo>
                    <a:cubicBezTo>
                      <a:pt x="35" y="60"/>
                      <a:pt x="35" y="57"/>
                      <a:pt x="40" y="55"/>
                    </a:cubicBezTo>
                    <a:cubicBezTo>
                      <a:pt x="45" y="50"/>
                      <a:pt x="51" y="49"/>
                      <a:pt x="58" y="48"/>
                    </a:cubicBezTo>
                    <a:cubicBezTo>
                      <a:pt x="61" y="46"/>
                      <a:pt x="66" y="41"/>
                      <a:pt x="69" y="40"/>
                    </a:cubicBezTo>
                    <a:cubicBezTo>
                      <a:pt x="72" y="34"/>
                      <a:pt x="77" y="26"/>
                      <a:pt x="81" y="22"/>
                    </a:cubicBezTo>
                    <a:cubicBezTo>
                      <a:pt x="82" y="18"/>
                      <a:pt x="83" y="14"/>
                      <a:pt x="84" y="10"/>
                    </a:cubicBezTo>
                    <a:cubicBezTo>
                      <a:pt x="83" y="1"/>
                      <a:pt x="85" y="4"/>
                      <a:pt x="81" y="0"/>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52" name="Freeform 2560">
                <a:extLst>
                  <a:ext uri="{FF2B5EF4-FFF2-40B4-BE49-F238E27FC236}">
                    <a16:creationId xmlns:a16="http://schemas.microsoft.com/office/drawing/2014/main" id="{907D2634-066E-F6CF-AB67-262D08A16AD9}"/>
                  </a:ext>
                </a:extLst>
              </p:cNvPr>
              <p:cNvSpPr>
                <a:spLocks noChangeAspect="1"/>
              </p:cNvSpPr>
              <p:nvPr/>
            </p:nvSpPr>
            <p:spPr bwMode="auto">
              <a:xfrm>
                <a:off x="76" y="3503"/>
                <a:ext cx="176" cy="200"/>
              </a:xfrm>
              <a:custGeom>
                <a:avLst/>
                <a:gdLst>
                  <a:gd name="T0" fmla="*/ 23 w 44"/>
                  <a:gd name="T1" fmla="*/ 0 h 50"/>
                  <a:gd name="T2" fmla="*/ 41 w 44"/>
                  <a:gd name="T3" fmla="*/ 31 h 50"/>
                  <a:gd name="T4" fmla="*/ 31 w 44"/>
                  <a:gd name="T5" fmla="*/ 46 h 50"/>
                  <a:gd name="T6" fmla="*/ 25 w 44"/>
                  <a:gd name="T7" fmla="*/ 49 h 50"/>
                  <a:gd name="T8" fmla="*/ 16 w 44"/>
                  <a:gd name="T9" fmla="*/ 30 h 50"/>
                  <a:gd name="T10" fmla="*/ 4 w 44"/>
                  <a:gd name="T11" fmla="*/ 18 h 50"/>
                  <a:gd name="T12" fmla="*/ 12 w 44"/>
                  <a:gd name="T13" fmla="*/ 7 h 50"/>
                  <a:gd name="T14" fmla="*/ 17 w 44"/>
                  <a:gd name="T15" fmla="*/ 8 h 50"/>
                  <a:gd name="T16" fmla="*/ 19 w 44"/>
                  <a:gd name="T17" fmla="*/ 12 h 50"/>
                  <a:gd name="T18" fmla="*/ 23 w 44"/>
                  <a:gd name="T19" fmla="*/ 0 h 5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4"/>
                  <a:gd name="T31" fmla="*/ 0 h 50"/>
                  <a:gd name="T32" fmla="*/ 44 w 44"/>
                  <a:gd name="T33" fmla="*/ 50 h 5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4" h="50">
                    <a:moveTo>
                      <a:pt x="23" y="0"/>
                    </a:moveTo>
                    <a:cubicBezTo>
                      <a:pt x="38" y="10"/>
                      <a:pt x="20" y="24"/>
                      <a:pt x="41" y="31"/>
                    </a:cubicBezTo>
                    <a:cubicBezTo>
                      <a:pt x="44" y="39"/>
                      <a:pt x="38" y="45"/>
                      <a:pt x="31" y="46"/>
                    </a:cubicBezTo>
                    <a:cubicBezTo>
                      <a:pt x="30" y="46"/>
                      <a:pt x="26" y="50"/>
                      <a:pt x="25" y="49"/>
                    </a:cubicBezTo>
                    <a:cubicBezTo>
                      <a:pt x="18" y="46"/>
                      <a:pt x="19" y="35"/>
                      <a:pt x="16" y="30"/>
                    </a:cubicBezTo>
                    <a:cubicBezTo>
                      <a:pt x="11" y="22"/>
                      <a:pt x="11" y="22"/>
                      <a:pt x="4" y="18"/>
                    </a:cubicBezTo>
                    <a:cubicBezTo>
                      <a:pt x="0" y="10"/>
                      <a:pt x="4" y="9"/>
                      <a:pt x="12" y="7"/>
                    </a:cubicBezTo>
                    <a:cubicBezTo>
                      <a:pt x="14" y="7"/>
                      <a:pt x="16" y="7"/>
                      <a:pt x="17" y="8"/>
                    </a:cubicBezTo>
                    <a:cubicBezTo>
                      <a:pt x="18" y="9"/>
                      <a:pt x="19" y="12"/>
                      <a:pt x="19" y="12"/>
                    </a:cubicBezTo>
                    <a:lnTo>
                      <a:pt x="23" y="0"/>
                    </a:ln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53" name="Freeform 2561">
                <a:extLst>
                  <a:ext uri="{FF2B5EF4-FFF2-40B4-BE49-F238E27FC236}">
                    <a16:creationId xmlns:a16="http://schemas.microsoft.com/office/drawing/2014/main" id="{2C77AACF-F6DC-822F-40FB-ED4A382E601B}"/>
                  </a:ext>
                </a:extLst>
              </p:cNvPr>
              <p:cNvSpPr>
                <a:spLocks noChangeAspect="1"/>
              </p:cNvSpPr>
              <p:nvPr/>
            </p:nvSpPr>
            <p:spPr bwMode="auto">
              <a:xfrm>
                <a:off x="12" y="3987"/>
                <a:ext cx="108" cy="128"/>
              </a:xfrm>
              <a:custGeom>
                <a:avLst/>
                <a:gdLst>
                  <a:gd name="T0" fmla="*/ 8 w 27"/>
                  <a:gd name="T1" fmla="*/ 7 h 32"/>
                  <a:gd name="T2" fmla="*/ 8 w 27"/>
                  <a:gd name="T3" fmla="*/ 23 h 32"/>
                  <a:gd name="T4" fmla="*/ 10 w 27"/>
                  <a:gd name="T5" fmla="*/ 26 h 32"/>
                  <a:gd name="T6" fmla="*/ 9 w 27"/>
                  <a:gd name="T7" fmla="*/ 30 h 32"/>
                  <a:gd name="T8" fmla="*/ 6 w 27"/>
                  <a:gd name="T9" fmla="*/ 32 h 32"/>
                  <a:gd name="T10" fmla="*/ 17 w 27"/>
                  <a:gd name="T11" fmla="*/ 31 h 32"/>
                  <a:gd name="T12" fmla="*/ 27 w 27"/>
                  <a:gd name="T13" fmla="*/ 12 h 32"/>
                  <a:gd name="T14" fmla="*/ 8 w 27"/>
                  <a:gd name="T15" fmla="*/ 7 h 32"/>
                  <a:gd name="T16" fmla="*/ 0 60000 65536"/>
                  <a:gd name="T17" fmla="*/ 0 60000 65536"/>
                  <a:gd name="T18" fmla="*/ 0 60000 65536"/>
                  <a:gd name="T19" fmla="*/ 0 60000 65536"/>
                  <a:gd name="T20" fmla="*/ 0 60000 65536"/>
                  <a:gd name="T21" fmla="*/ 0 60000 65536"/>
                  <a:gd name="T22" fmla="*/ 0 60000 65536"/>
                  <a:gd name="T23" fmla="*/ 0 60000 65536"/>
                  <a:gd name="T24" fmla="*/ 0 w 27"/>
                  <a:gd name="T25" fmla="*/ 0 h 32"/>
                  <a:gd name="T26" fmla="*/ 27 w 27"/>
                  <a:gd name="T27" fmla="*/ 32 h 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 h="32">
                    <a:moveTo>
                      <a:pt x="8" y="7"/>
                    </a:moveTo>
                    <a:cubicBezTo>
                      <a:pt x="0" y="11"/>
                      <a:pt x="1" y="18"/>
                      <a:pt x="8" y="23"/>
                    </a:cubicBezTo>
                    <a:cubicBezTo>
                      <a:pt x="9" y="24"/>
                      <a:pt x="10" y="25"/>
                      <a:pt x="10" y="26"/>
                    </a:cubicBezTo>
                    <a:cubicBezTo>
                      <a:pt x="10" y="27"/>
                      <a:pt x="10" y="29"/>
                      <a:pt x="9" y="30"/>
                    </a:cubicBezTo>
                    <a:cubicBezTo>
                      <a:pt x="8" y="31"/>
                      <a:pt x="5" y="32"/>
                      <a:pt x="6" y="32"/>
                    </a:cubicBezTo>
                    <a:cubicBezTo>
                      <a:pt x="10" y="32"/>
                      <a:pt x="13" y="31"/>
                      <a:pt x="17" y="31"/>
                    </a:cubicBezTo>
                    <a:cubicBezTo>
                      <a:pt x="25" y="25"/>
                      <a:pt x="16" y="19"/>
                      <a:pt x="27" y="12"/>
                    </a:cubicBezTo>
                    <a:cubicBezTo>
                      <a:pt x="24" y="0"/>
                      <a:pt x="0" y="18"/>
                      <a:pt x="8" y="7"/>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54" name="Freeform 2562">
                <a:extLst>
                  <a:ext uri="{FF2B5EF4-FFF2-40B4-BE49-F238E27FC236}">
                    <a16:creationId xmlns:a16="http://schemas.microsoft.com/office/drawing/2014/main" id="{B311D77B-B26C-C1F1-7760-8FB581A60308}"/>
                  </a:ext>
                </a:extLst>
              </p:cNvPr>
              <p:cNvSpPr>
                <a:spLocks noChangeAspect="1"/>
              </p:cNvSpPr>
              <p:nvPr/>
            </p:nvSpPr>
            <p:spPr bwMode="auto">
              <a:xfrm>
                <a:off x="172" y="4495"/>
                <a:ext cx="128" cy="100"/>
              </a:xfrm>
              <a:custGeom>
                <a:avLst/>
                <a:gdLst>
                  <a:gd name="T0" fmla="*/ 19 w 32"/>
                  <a:gd name="T1" fmla="*/ 0 h 25"/>
                  <a:gd name="T2" fmla="*/ 13 w 32"/>
                  <a:gd name="T3" fmla="*/ 10 h 25"/>
                  <a:gd name="T4" fmla="*/ 7 w 32"/>
                  <a:gd name="T5" fmla="*/ 14 h 25"/>
                  <a:gd name="T6" fmla="*/ 0 w 32"/>
                  <a:gd name="T7" fmla="*/ 23 h 25"/>
                  <a:gd name="T8" fmla="*/ 19 w 32"/>
                  <a:gd name="T9" fmla="*/ 24 h 25"/>
                  <a:gd name="T10" fmla="*/ 28 w 32"/>
                  <a:gd name="T11" fmla="*/ 18 h 25"/>
                  <a:gd name="T12" fmla="*/ 23 w 32"/>
                  <a:gd name="T13" fmla="*/ 1 h 25"/>
                  <a:gd name="T14" fmla="*/ 19 w 32"/>
                  <a:gd name="T15" fmla="*/ 0 h 25"/>
                  <a:gd name="T16" fmla="*/ 0 60000 65536"/>
                  <a:gd name="T17" fmla="*/ 0 60000 65536"/>
                  <a:gd name="T18" fmla="*/ 0 60000 65536"/>
                  <a:gd name="T19" fmla="*/ 0 60000 65536"/>
                  <a:gd name="T20" fmla="*/ 0 60000 65536"/>
                  <a:gd name="T21" fmla="*/ 0 60000 65536"/>
                  <a:gd name="T22" fmla="*/ 0 60000 65536"/>
                  <a:gd name="T23" fmla="*/ 0 60000 65536"/>
                  <a:gd name="T24" fmla="*/ 0 w 32"/>
                  <a:gd name="T25" fmla="*/ 0 h 25"/>
                  <a:gd name="T26" fmla="*/ 32 w 32"/>
                  <a:gd name="T27" fmla="*/ 25 h 2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 h="25">
                    <a:moveTo>
                      <a:pt x="19" y="0"/>
                    </a:moveTo>
                    <a:cubicBezTo>
                      <a:pt x="18" y="3"/>
                      <a:pt x="15" y="8"/>
                      <a:pt x="13" y="10"/>
                    </a:cubicBezTo>
                    <a:cubicBezTo>
                      <a:pt x="11" y="12"/>
                      <a:pt x="7" y="14"/>
                      <a:pt x="7" y="14"/>
                    </a:cubicBezTo>
                    <a:cubicBezTo>
                      <a:pt x="5" y="17"/>
                      <a:pt x="2" y="20"/>
                      <a:pt x="0" y="23"/>
                    </a:cubicBezTo>
                    <a:cubicBezTo>
                      <a:pt x="7" y="25"/>
                      <a:pt x="12" y="25"/>
                      <a:pt x="19" y="24"/>
                    </a:cubicBezTo>
                    <a:cubicBezTo>
                      <a:pt x="22" y="22"/>
                      <a:pt x="24" y="19"/>
                      <a:pt x="28" y="18"/>
                    </a:cubicBezTo>
                    <a:cubicBezTo>
                      <a:pt x="30" y="10"/>
                      <a:pt x="32" y="4"/>
                      <a:pt x="23" y="1"/>
                    </a:cubicBezTo>
                    <a:cubicBezTo>
                      <a:pt x="17" y="2"/>
                      <a:pt x="14" y="9"/>
                      <a:pt x="19" y="0"/>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55" name="Freeform 2563">
                <a:extLst>
                  <a:ext uri="{FF2B5EF4-FFF2-40B4-BE49-F238E27FC236}">
                    <a16:creationId xmlns:a16="http://schemas.microsoft.com/office/drawing/2014/main" id="{85C9135D-6F3D-979A-1864-88D40BDB3DF9}"/>
                  </a:ext>
                </a:extLst>
              </p:cNvPr>
              <p:cNvSpPr>
                <a:spLocks noChangeAspect="1"/>
              </p:cNvSpPr>
              <p:nvPr/>
            </p:nvSpPr>
            <p:spPr bwMode="auto">
              <a:xfrm>
                <a:off x="152" y="4783"/>
                <a:ext cx="112" cy="100"/>
              </a:xfrm>
              <a:custGeom>
                <a:avLst/>
                <a:gdLst>
                  <a:gd name="T0" fmla="*/ 11 w 28"/>
                  <a:gd name="T1" fmla="*/ 0 h 25"/>
                  <a:gd name="T2" fmla="*/ 28 w 28"/>
                  <a:gd name="T3" fmla="*/ 10 h 25"/>
                  <a:gd name="T4" fmla="*/ 16 w 28"/>
                  <a:gd name="T5" fmla="*/ 17 h 25"/>
                  <a:gd name="T6" fmla="*/ 3 w 28"/>
                  <a:gd name="T7" fmla="*/ 12 h 25"/>
                  <a:gd name="T8" fmla="*/ 9 w 28"/>
                  <a:gd name="T9" fmla="*/ 4 h 25"/>
                  <a:gd name="T10" fmla="*/ 11 w 28"/>
                  <a:gd name="T11" fmla="*/ 0 h 25"/>
                  <a:gd name="T12" fmla="*/ 0 60000 65536"/>
                  <a:gd name="T13" fmla="*/ 0 60000 65536"/>
                  <a:gd name="T14" fmla="*/ 0 60000 65536"/>
                  <a:gd name="T15" fmla="*/ 0 60000 65536"/>
                  <a:gd name="T16" fmla="*/ 0 60000 65536"/>
                  <a:gd name="T17" fmla="*/ 0 60000 65536"/>
                  <a:gd name="T18" fmla="*/ 0 w 28"/>
                  <a:gd name="T19" fmla="*/ 0 h 25"/>
                  <a:gd name="T20" fmla="*/ 28 w 28"/>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28" h="25">
                    <a:moveTo>
                      <a:pt x="11" y="0"/>
                    </a:moveTo>
                    <a:cubicBezTo>
                      <a:pt x="19" y="2"/>
                      <a:pt x="23" y="4"/>
                      <a:pt x="28" y="10"/>
                    </a:cubicBezTo>
                    <a:cubicBezTo>
                      <a:pt x="26" y="15"/>
                      <a:pt x="21" y="15"/>
                      <a:pt x="16" y="17"/>
                    </a:cubicBezTo>
                    <a:cubicBezTo>
                      <a:pt x="8" y="25"/>
                      <a:pt x="9" y="14"/>
                      <a:pt x="3" y="12"/>
                    </a:cubicBezTo>
                    <a:cubicBezTo>
                      <a:pt x="0" y="5"/>
                      <a:pt x="2" y="5"/>
                      <a:pt x="9" y="4"/>
                    </a:cubicBezTo>
                    <a:cubicBezTo>
                      <a:pt x="13" y="2"/>
                      <a:pt x="18" y="2"/>
                      <a:pt x="11" y="0"/>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56" name="Freeform 2564">
                <a:extLst>
                  <a:ext uri="{FF2B5EF4-FFF2-40B4-BE49-F238E27FC236}">
                    <a16:creationId xmlns:a16="http://schemas.microsoft.com/office/drawing/2014/main" id="{B3753A36-5C1C-A794-C00E-76E2FC727EDD}"/>
                  </a:ext>
                </a:extLst>
              </p:cNvPr>
              <p:cNvSpPr>
                <a:spLocks noChangeAspect="1"/>
              </p:cNvSpPr>
              <p:nvPr/>
            </p:nvSpPr>
            <p:spPr bwMode="auto">
              <a:xfrm>
                <a:off x="-236" y="3311"/>
                <a:ext cx="1479" cy="2412"/>
              </a:xfrm>
              <a:custGeom>
                <a:avLst/>
                <a:gdLst>
                  <a:gd name="T0" fmla="*/ 240 w 370"/>
                  <a:gd name="T1" fmla="*/ 6 h 603"/>
                  <a:gd name="T2" fmla="*/ 185 w 370"/>
                  <a:gd name="T3" fmla="*/ 69 h 603"/>
                  <a:gd name="T4" fmla="*/ 181 w 370"/>
                  <a:gd name="T5" fmla="*/ 78 h 603"/>
                  <a:gd name="T6" fmla="*/ 270 w 370"/>
                  <a:gd name="T7" fmla="*/ 90 h 603"/>
                  <a:gd name="T8" fmla="*/ 235 w 370"/>
                  <a:gd name="T9" fmla="*/ 152 h 603"/>
                  <a:gd name="T10" fmla="*/ 202 w 370"/>
                  <a:gd name="T11" fmla="*/ 162 h 603"/>
                  <a:gd name="T12" fmla="*/ 217 w 370"/>
                  <a:gd name="T13" fmla="*/ 178 h 603"/>
                  <a:gd name="T14" fmla="*/ 193 w 370"/>
                  <a:gd name="T15" fmla="*/ 196 h 603"/>
                  <a:gd name="T16" fmla="*/ 242 w 370"/>
                  <a:gd name="T17" fmla="*/ 212 h 603"/>
                  <a:gd name="T18" fmla="*/ 260 w 370"/>
                  <a:gd name="T19" fmla="*/ 268 h 603"/>
                  <a:gd name="T20" fmla="*/ 270 w 370"/>
                  <a:gd name="T21" fmla="*/ 306 h 603"/>
                  <a:gd name="T22" fmla="*/ 287 w 370"/>
                  <a:gd name="T23" fmla="*/ 319 h 603"/>
                  <a:gd name="T24" fmla="*/ 305 w 370"/>
                  <a:gd name="T25" fmla="*/ 385 h 603"/>
                  <a:gd name="T26" fmla="*/ 269 w 370"/>
                  <a:gd name="T27" fmla="*/ 376 h 603"/>
                  <a:gd name="T28" fmla="*/ 310 w 370"/>
                  <a:gd name="T29" fmla="*/ 402 h 603"/>
                  <a:gd name="T30" fmla="*/ 302 w 370"/>
                  <a:gd name="T31" fmla="*/ 445 h 603"/>
                  <a:gd name="T32" fmla="*/ 342 w 370"/>
                  <a:gd name="T33" fmla="*/ 436 h 603"/>
                  <a:gd name="T34" fmla="*/ 365 w 370"/>
                  <a:gd name="T35" fmla="*/ 459 h 603"/>
                  <a:gd name="T36" fmla="*/ 351 w 370"/>
                  <a:gd name="T37" fmla="*/ 510 h 603"/>
                  <a:gd name="T38" fmla="*/ 324 w 370"/>
                  <a:gd name="T39" fmla="*/ 522 h 603"/>
                  <a:gd name="T40" fmla="*/ 304 w 370"/>
                  <a:gd name="T41" fmla="*/ 544 h 603"/>
                  <a:gd name="T42" fmla="*/ 331 w 370"/>
                  <a:gd name="T43" fmla="*/ 552 h 603"/>
                  <a:gd name="T44" fmla="*/ 317 w 370"/>
                  <a:gd name="T45" fmla="*/ 584 h 603"/>
                  <a:gd name="T46" fmla="*/ 284 w 370"/>
                  <a:gd name="T47" fmla="*/ 595 h 603"/>
                  <a:gd name="T48" fmla="*/ 251 w 370"/>
                  <a:gd name="T49" fmla="*/ 585 h 603"/>
                  <a:gd name="T50" fmla="*/ 221 w 370"/>
                  <a:gd name="T51" fmla="*/ 578 h 603"/>
                  <a:gd name="T52" fmla="*/ 198 w 370"/>
                  <a:gd name="T53" fmla="*/ 580 h 603"/>
                  <a:gd name="T54" fmla="*/ 174 w 370"/>
                  <a:gd name="T55" fmla="*/ 584 h 603"/>
                  <a:gd name="T56" fmla="*/ 120 w 370"/>
                  <a:gd name="T57" fmla="*/ 574 h 603"/>
                  <a:gd name="T58" fmla="*/ 97 w 370"/>
                  <a:gd name="T59" fmla="*/ 596 h 603"/>
                  <a:gd name="T60" fmla="*/ 49 w 370"/>
                  <a:gd name="T61" fmla="*/ 590 h 603"/>
                  <a:gd name="T62" fmla="*/ 8 w 370"/>
                  <a:gd name="T63" fmla="*/ 594 h 603"/>
                  <a:gd name="T64" fmla="*/ 40 w 370"/>
                  <a:gd name="T65" fmla="*/ 583 h 603"/>
                  <a:gd name="T66" fmla="*/ 82 w 370"/>
                  <a:gd name="T67" fmla="*/ 543 h 603"/>
                  <a:gd name="T68" fmla="*/ 120 w 370"/>
                  <a:gd name="T69" fmla="*/ 535 h 603"/>
                  <a:gd name="T70" fmla="*/ 172 w 370"/>
                  <a:gd name="T71" fmla="*/ 508 h 603"/>
                  <a:gd name="T72" fmla="*/ 164 w 370"/>
                  <a:gd name="T73" fmla="*/ 507 h 603"/>
                  <a:gd name="T74" fmla="*/ 127 w 370"/>
                  <a:gd name="T75" fmla="*/ 519 h 603"/>
                  <a:gd name="T76" fmla="*/ 90 w 370"/>
                  <a:gd name="T77" fmla="*/ 487 h 603"/>
                  <a:gd name="T78" fmla="*/ 88 w 370"/>
                  <a:gd name="T79" fmla="*/ 460 h 603"/>
                  <a:gd name="T80" fmla="*/ 118 w 370"/>
                  <a:gd name="T81" fmla="*/ 432 h 603"/>
                  <a:gd name="T82" fmla="*/ 92 w 370"/>
                  <a:gd name="T83" fmla="*/ 410 h 603"/>
                  <a:gd name="T84" fmla="*/ 131 w 370"/>
                  <a:gd name="T85" fmla="*/ 385 h 603"/>
                  <a:gd name="T86" fmla="*/ 174 w 370"/>
                  <a:gd name="T87" fmla="*/ 369 h 603"/>
                  <a:gd name="T88" fmla="*/ 197 w 370"/>
                  <a:gd name="T89" fmla="*/ 325 h 603"/>
                  <a:gd name="T90" fmla="*/ 179 w 370"/>
                  <a:gd name="T91" fmla="*/ 276 h 603"/>
                  <a:gd name="T92" fmla="*/ 115 w 370"/>
                  <a:gd name="T93" fmla="*/ 270 h 603"/>
                  <a:gd name="T94" fmla="*/ 130 w 370"/>
                  <a:gd name="T95" fmla="*/ 230 h 603"/>
                  <a:gd name="T96" fmla="*/ 124 w 370"/>
                  <a:gd name="T97" fmla="*/ 177 h 603"/>
                  <a:gd name="T98" fmla="*/ 118 w 370"/>
                  <a:gd name="T99" fmla="*/ 145 h 603"/>
                  <a:gd name="T100" fmla="*/ 78 w 370"/>
                  <a:gd name="T101" fmla="*/ 146 h 603"/>
                  <a:gd name="T102" fmla="*/ 100 w 370"/>
                  <a:gd name="T103" fmla="*/ 115 h 603"/>
                  <a:gd name="T104" fmla="*/ 122 w 370"/>
                  <a:gd name="T105" fmla="*/ 67 h 603"/>
                  <a:gd name="T106" fmla="*/ 160 w 370"/>
                  <a:gd name="T107" fmla="*/ 12 h 603"/>
                  <a:gd name="T108" fmla="*/ 174 w 370"/>
                  <a:gd name="T109" fmla="*/ 3 h 60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70"/>
                  <a:gd name="T166" fmla="*/ 0 h 603"/>
                  <a:gd name="T167" fmla="*/ 370 w 370"/>
                  <a:gd name="T168" fmla="*/ 603 h 60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70" h="603">
                    <a:moveTo>
                      <a:pt x="174" y="3"/>
                    </a:moveTo>
                    <a:cubicBezTo>
                      <a:pt x="184" y="2"/>
                      <a:pt x="190" y="6"/>
                      <a:pt x="199" y="7"/>
                    </a:cubicBezTo>
                    <a:cubicBezTo>
                      <a:pt x="217" y="6"/>
                      <a:pt x="224" y="4"/>
                      <a:pt x="240" y="6"/>
                    </a:cubicBezTo>
                    <a:cubicBezTo>
                      <a:pt x="237" y="29"/>
                      <a:pt x="221" y="37"/>
                      <a:pt x="199" y="40"/>
                    </a:cubicBezTo>
                    <a:cubicBezTo>
                      <a:pt x="193" y="44"/>
                      <a:pt x="192" y="44"/>
                      <a:pt x="190" y="51"/>
                    </a:cubicBezTo>
                    <a:cubicBezTo>
                      <a:pt x="192" y="60"/>
                      <a:pt x="193" y="64"/>
                      <a:pt x="185" y="69"/>
                    </a:cubicBezTo>
                    <a:cubicBezTo>
                      <a:pt x="183" y="75"/>
                      <a:pt x="182" y="78"/>
                      <a:pt x="176" y="79"/>
                    </a:cubicBezTo>
                    <a:cubicBezTo>
                      <a:pt x="173" y="80"/>
                      <a:pt x="165" y="82"/>
                      <a:pt x="168" y="81"/>
                    </a:cubicBezTo>
                    <a:cubicBezTo>
                      <a:pt x="172" y="80"/>
                      <a:pt x="177" y="79"/>
                      <a:pt x="181" y="78"/>
                    </a:cubicBezTo>
                    <a:cubicBezTo>
                      <a:pt x="188" y="73"/>
                      <a:pt x="195" y="75"/>
                      <a:pt x="204" y="74"/>
                    </a:cubicBezTo>
                    <a:cubicBezTo>
                      <a:pt x="224" y="70"/>
                      <a:pt x="243" y="79"/>
                      <a:pt x="263" y="82"/>
                    </a:cubicBezTo>
                    <a:cubicBezTo>
                      <a:pt x="268" y="85"/>
                      <a:pt x="269" y="83"/>
                      <a:pt x="270" y="90"/>
                    </a:cubicBezTo>
                    <a:cubicBezTo>
                      <a:pt x="269" y="97"/>
                      <a:pt x="272" y="104"/>
                      <a:pt x="265" y="106"/>
                    </a:cubicBezTo>
                    <a:cubicBezTo>
                      <a:pt x="260" y="114"/>
                      <a:pt x="254" y="126"/>
                      <a:pt x="248" y="132"/>
                    </a:cubicBezTo>
                    <a:cubicBezTo>
                      <a:pt x="245" y="141"/>
                      <a:pt x="243" y="146"/>
                      <a:pt x="235" y="152"/>
                    </a:cubicBezTo>
                    <a:cubicBezTo>
                      <a:pt x="233" y="157"/>
                      <a:pt x="230" y="161"/>
                      <a:pt x="227" y="165"/>
                    </a:cubicBezTo>
                    <a:cubicBezTo>
                      <a:pt x="222" y="164"/>
                      <a:pt x="217" y="163"/>
                      <a:pt x="212" y="160"/>
                    </a:cubicBezTo>
                    <a:cubicBezTo>
                      <a:pt x="209" y="161"/>
                      <a:pt x="205" y="160"/>
                      <a:pt x="202" y="162"/>
                    </a:cubicBezTo>
                    <a:cubicBezTo>
                      <a:pt x="202" y="162"/>
                      <a:pt x="208" y="165"/>
                      <a:pt x="212" y="166"/>
                    </a:cubicBezTo>
                    <a:cubicBezTo>
                      <a:pt x="217" y="168"/>
                      <a:pt x="222" y="169"/>
                      <a:pt x="226" y="172"/>
                    </a:cubicBezTo>
                    <a:cubicBezTo>
                      <a:pt x="223" y="175"/>
                      <a:pt x="221" y="177"/>
                      <a:pt x="217" y="178"/>
                    </a:cubicBezTo>
                    <a:cubicBezTo>
                      <a:pt x="212" y="185"/>
                      <a:pt x="201" y="183"/>
                      <a:pt x="194" y="184"/>
                    </a:cubicBezTo>
                    <a:cubicBezTo>
                      <a:pt x="191" y="186"/>
                      <a:pt x="188" y="187"/>
                      <a:pt x="184" y="188"/>
                    </a:cubicBezTo>
                    <a:cubicBezTo>
                      <a:pt x="180" y="195"/>
                      <a:pt x="187" y="194"/>
                      <a:pt x="193" y="196"/>
                    </a:cubicBezTo>
                    <a:cubicBezTo>
                      <a:pt x="205" y="195"/>
                      <a:pt x="206" y="189"/>
                      <a:pt x="216" y="192"/>
                    </a:cubicBezTo>
                    <a:cubicBezTo>
                      <a:pt x="219" y="194"/>
                      <a:pt x="230" y="198"/>
                      <a:pt x="233" y="200"/>
                    </a:cubicBezTo>
                    <a:cubicBezTo>
                      <a:pt x="236" y="204"/>
                      <a:pt x="238" y="209"/>
                      <a:pt x="242" y="212"/>
                    </a:cubicBezTo>
                    <a:cubicBezTo>
                      <a:pt x="243" y="216"/>
                      <a:pt x="241" y="221"/>
                      <a:pt x="245" y="224"/>
                    </a:cubicBezTo>
                    <a:cubicBezTo>
                      <a:pt x="248" y="235"/>
                      <a:pt x="243" y="233"/>
                      <a:pt x="254" y="237"/>
                    </a:cubicBezTo>
                    <a:cubicBezTo>
                      <a:pt x="253" y="242"/>
                      <a:pt x="262" y="263"/>
                      <a:pt x="260" y="268"/>
                    </a:cubicBezTo>
                    <a:cubicBezTo>
                      <a:pt x="259" y="270"/>
                      <a:pt x="258" y="274"/>
                      <a:pt x="258" y="274"/>
                    </a:cubicBezTo>
                    <a:cubicBezTo>
                      <a:pt x="259" y="296"/>
                      <a:pt x="255" y="289"/>
                      <a:pt x="266" y="296"/>
                    </a:cubicBezTo>
                    <a:cubicBezTo>
                      <a:pt x="269" y="302"/>
                      <a:pt x="268" y="299"/>
                      <a:pt x="270" y="306"/>
                    </a:cubicBezTo>
                    <a:cubicBezTo>
                      <a:pt x="271" y="308"/>
                      <a:pt x="272" y="312"/>
                      <a:pt x="272" y="312"/>
                    </a:cubicBezTo>
                    <a:cubicBezTo>
                      <a:pt x="275" y="310"/>
                      <a:pt x="289" y="311"/>
                      <a:pt x="270" y="315"/>
                    </a:cubicBezTo>
                    <a:cubicBezTo>
                      <a:pt x="272" y="316"/>
                      <a:pt x="283" y="316"/>
                      <a:pt x="287" y="319"/>
                    </a:cubicBezTo>
                    <a:cubicBezTo>
                      <a:pt x="290" y="311"/>
                      <a:pt x="278" y="330"/>
                      <a:pt x="296" y="333"/>
                    </a:cubicBezTo>
                    <a:cubicBezTo>
                      <a:pt x="300" y="339"/>
                      <a:pt x="303" y="345"/>
                      <a:pt x="305" y="352"/>
                    </a:cubicBezTo>
                    <a:cubicBezTo>
                      <a:pt x="304" y="364"/>
                      <a:pt x="301" y="372"/>
                      <a:pt x="305" y="385"/>
                    </a:cubicBezTo>
                    <a:cubicBezTo>
                      <a:pt x="298" y="387"/>
                      <a:pt x="299" y="379"/>
                      <a:pt x="294" y="376"/>
                    </a:cubicBezTo>
                    <a:cubicBezTo>
                      <a:pt x="289" y="373"/>
                      <a:pt x="281" y="374"/>
                      <a:pt x="275" y="372"/>
                    </a:cubicBezTo>
                    <a:cubicBezTo>
                      <a:pt x="275" y="372"/>
                      <a:pt x="267" y="373"/>
                      <a:pt x="269" y="376"/>
                    </a:cubicBezTo>
                    <a:cubicBezTo>
                      <a:pt x="271" y="380"/>
                      <a:pt x="284" y="386"/>
                      <a:pt x="288" y="387"/>
                    </a:cubicBezTo>
                    <a:cubicBezTo>
                      <a:pt x="291" y="389"/>
                      <a:pt x="299" y="392"/>
                      <a:pt x="299" y="392"/>
                    </a:cubicBezTo>
                    <a:cubicBezTo>
                      <a:pt x="302" y="396"/>
                      <a:pt x="306" y="398"/>
                      <a:pt x="310" y="402"/>
                    </a:cubicBezTo>
                    <a:cubicBezTo>
                      <a:pt x="312" y="409"/>
                      <a:pt x="315" y="419"/>
                      <a:pt x="308" y="424"/>
                    </a:cubicBezTo>
                    <a:cubicBezTo>
                      <a:pt x="305" y="428"/>
                      <a:pt x="302" y="429"/>
                      <a:pt x="301" y="434"/>
                    </a:cubicBezTo>
                    <a:cubicBezTo>
                      <a:pt x="301" y="438"/>
                      <a:pt x="301" y="442"/>
                      <a:pt x="302" y="445"/>
                    </a:cubicBezTo>
                    <a:cubicBezTo>
                      <a:pt x="303" y="448"/>
                      <a:pt x="311" y="444"/>
                      <a:pt x="311" y="444"/>
                    </a:cubicBezTo>
                    <a:cubicBezTo>
                      <a:pt x="314" y="440"/>
                      <a:pt x="315" y="440"/>
                      <a:pt x="320" y="439"/>
                    </a:cubicBezTo>
                    <a:cubicBezTo>
                      <a:pt x="338" y="440"/>
                      <a:pt x="332" y="431"/>
                      <a:pt x="342" y="436"/>
                    </a:cubicBezTo>
                    <a:cubicBezTo>
                      <a:pt x="345" y="438"/>
                      <a:pt x="354" y="440"/>
                      <a:pt x="354" y="440"/>
                    </a:cubicBezTo>
                    <a:cubicBezTo>
                      <a:pt x="357" y="443"/>
                      <a:pt x="360" y="450"/>
                      <a:pt x="364" y="451"/>
                    </a:cubicBezTo>
                    <a:cubicBezTo>
                      <a:pt x="366" y="453"/>
                      <a:pt x="364" y="457"/>
                      <a:pt x="365" y="459"/>
                    </a:cubicBezTo>
                    <a:cubicBezTo>
                      <a:pt x="366" y="461"/>
                      <a:pt x="367" y="465"/>
                      <a:pt x="367" y="465"/>
                    </a:cubicBezTo>
                    <a:cubicBezTo>
                      <a:pt x="368" y="475"/>
                      <a:pt x="370" y="488"/>
                      <a:pt x="361" y="494"/>
                    </a:cubicBezTo>
                    <a:cubicBezTo>
                      <a:pt x="358" y="501"/>
                      <a:pt x="354" y="505"/>
                      <a:pt x="351" y="510"/>
                    </a:cubicBezTo>
                    <a:cubicBezTo>
                      <a:pt x="347" y="512"/>
                      <a:pt x="338" y="506"/>
                      <a:pt x="336" y="508"/>
                    </a:cubicBezTo>
                    <a:cubicBezTo>
                      <a:pt x="334" y="510"/>
                      <a:pt x="343" y="520"/>
                      <a:pt x="341" y="522"/>
                    </a:cubicBezTo>
                    <a:cubicBezTo>
                      <a:pt x="340" y="525"/>
                      <a:pt x="327" y="521"/>
                      <a:pt x="324" y="522"/>
                    </a:cubicBezTo>
                    <a:cubicBezTo>
                      <a:pt x="321" y="523"/>
                      <a:pt x="327" y="527"/>
                      <a:pt x="325" y="530"/>
                    </a:cubicBezTo>
                    <a:cubicBezTo>
                      <a:pt x="323" y="533"/>
                      <a:pt x="315" y="536"/>
                      <a:pt x="311" y="538"/>
                    </a:cubicBezTo>
                    <a:cubicBezTo>
                      <a:pt x="310" y="541"/>
                      <a:pt x="304" y="544"/>
                      <a:pt x="304" y="544"/>
                    </a:cubicBezTo>
                    <a:cubicBezTo>
                      <a:pt x="307" y="552"/>
                      <a:pt x="307" y="552"/>
                      <a:pt x="316" y="553"/>
                    </a:cubicBezTo>
                    <a:cubicBezTo>
                      <a:pt x="320" y="552"/>
                      <a:pt x="324" y="549"/>
                      <a:pt x="328" y="549"/>
                    </a:cubicBezTo>
                    <a:cubicBezTo>
                      <a:pt x="329" y="549"/>
                      <a:pt x="330" y="551"/>
                      <a:pt x="331" y="552"/>
                    </a:cubicBezTo>
                    <a:cubicBezTo>
                      <a:pt x="335" y="554"/>
                      <a:pt x="340" y="554"/>
                      <a:pt x="344" y="554"/>
                    </a:cubicBezTo>
                    <a:cubicBezTo>
                      <a:pt x="343" y="561"/>
                      <a:pt x="343" y="568"/>
                      <a:pt x="338" y="573"/>
                    </a:cubicBezTo>
                    <a:cubicBezTo>
                      <a:pt x="335" y="582"/>
                      <a:pt x="325" y="583"/>
                      <a:pt x="317" y="584"/>
                    </a:cubicBezTo>
                    <a:cubicBezTo>
                      <a:pt x="311" y="586"/>
                      <a:pt x="305" y="588"/>
                      <a:pt x="300" y="591"/>
                    </a:cubicBezTo>
                    <a:cubicBezTo>
                      <a:pt x="297" y="593"/>
                      <a:pt x="290" y="596"/>
                      <a:pt x="290" y="596"/>
                    </a:cubicBezTo>
                    <a:cubicBezTo>
                      <a:pt x="288" y="596"/>
                      <a:pt x="286" y="596"/>
                      <a:pt x="284" y="595"/>
                    </a:cubicBezTo>
                    <a:cubicBezTo>
                      <a:pt x="283" y="594"/>
                      <a:pt x="284" y="593"/>
                      <a:pt x="283" y="592"/>
                    </a:cubicBezTo>
                    <a:cubicBezTo>
                      <a:pt x="281" y="591"/>
                      <a:pt x="277" y="590"/>
                      <a:pt x="277" y="590"/>
                    </a:cubicBezTo>
                    <a:cubicBezTo>
                      <a:pt x="272" y="589"/>
                      <a:pt x="256" y="586"/>
                      <a:pt x="251" y="585"/>
                    </a:cubicBezTo>
                    <a:cubicBezTo>
                      <a:pt x="249" y="584"/>
                      <a:pt x="245" y="583"/>
                      <a:pt x="245" y="583"/>
                    </a:cubicBezTo>
                    <a:cubicBezTo>
                      <a:pt x="235" y="585"/>
                      <a:pt x="228" y="580"/>
                      <a:pt x="218" y="579"/>
                    </a:cubicBezTo>
                    <a:cubicBezTo>
                      <a:pt x="219" y="579"/>
                      <a:pt x="220" y="577"/>
                      <a:pt x="221" y="578"/>
                    </a:cubicBezTo>
                    <a:cubicBezTo>
                      <a:pt x="222" y="579"/>
                      <a:pt x="221" y="582"/>
                      <a:pt x="220" y="582"/>
                    </a:cubicBezTo>
                    <a:cubicBezTo>
                      <a:pt x="215" y="582"/>
                      <a:pt x="206" y="579"/>
                      <a:pt x="206" y="579"/>
                    </a:cubicBezTo>
                    <a:cubicBezTo>
                      <a:pt x="201" y="581"/>
                      <a:pt x="201" y="585"/>
                      <a:pt x="198" y="580"/>
                    </a:cubicBezTo>
                    <a:cubicBezTo>
                      <a:pt x="196" y="580"/>
                      <a:pt x="195" y="580"/>
                      <a:pt x="193" y="580"/>
                    </a:cubicBezTo>
                    <a:cubicBezTo>
                      <a:pt x="195" y="579"/>
                      <a:pt x="189" y="583"/>
                      <a:pt x="187" y="583"/>
                    </a:cubicBezTo>
                    <a:cubicBezTo>
                      <a:pt x="183" y="584"/>
                      <a:pt x="178" y="584"/>
                      <a:pt x="174" y="584"/>
                    </a:cubicBezTo>
                    <a:cubicBezTo>
                      <a:pt x="171" y="595"/>
                      <a:pt x="155" y="577"/>
                      <a:pt x="148" y="574"/>
                    </a:cubicBezTo>
                    <a:cubicBezTo>
                      <a:pt x="145" y="573"/>
                      <a:pt x="140" y="572"/>
                      <a:pt x="140" y="572"/>
                    </a:cubicBezTo>
                    <a:cubicBezTo>
                      <a:pt x="133" y="573"/>
                      <a:pt x="126" y="571"/>
                      <a:pt x="120" y="574"/>
                    </a:cubicBezTo>
                    <a:cubicBezTo>
                      <a:pt x="118" y="575"/>
                      <a:pt x="116" y="580"/>
                      <a:pt x="116" y="580"/>
                    </a:cubicBezTo>
                    <a:cubicBezTo>
                      <a:pt x="114" y="589"/>
                      <a:pt x="117" y="579"/>
                      <a:pt x="106" y="586"/>
                    </a:cubicBezTo>
                    <a:cubicBezTo>
                      <a:pt x="103" y="589"/>
                      <a:pt x="99" y="595"/>
                      <a:pt x="97" y="596"/>
                    </a:cubicBezTo>
                    <a:cubicBezTo>
                      <a:pt x="104" y="591"/>
                      <a:pt x="100" y="591"/>
                      <a:pt x="92" y="590"/>
                    </a:cubicBezTo>
                    <a:cubicBezTo>
                      <a:pt x="83" y="587"/>
                      <a:pt x="75" y="586"/>
                      <a:pt x="66" y="585"/>
                    </a:cubicBezTo>
                    <a:cubicBezTo>
                      <a:pt x="59" y="586"/>
                      <a:pt x="56" y="588"/>
                      <a:pt x="49" y="590"/>
                    </a:cubicBezTo>
                    <a:cubicBezTo>
                      <a:pt x="47" y="591"/>
                      <a:pt x="43" y="592"/>
                      <a:pt x="43" y="592"/>
                    </a:cubicBezTo>
                    <a:cubicBezTo>
                      <a:pt x="39" y="596"/>
                      <a:pt x="37" y="598"/>
                      <a:pt x="34" y="603"/>
                    </a:cubicBezTo>
                    <a:cubicBezTo>
                      <a:pt x="19" y="601"/>
                      <a:pt x="22" y="595"/>
                      <a:pt x="8" y="594"/>
                    </a:cubicBezTo>
                    <a:cubicBezTo>
                      <a:pt x="2" y="596"/>
                      <a:pt x="3" y="600"/>
                      <a:pt x="0" y="592"/>
                    </a:cubicBezTo>
                    <a:cubicBezTo>
                      <a:pt x="4" y="590"/>
                      <a:pt x="7" y="589"/>
                      <a:pt x="12" y="588"/>
                    </a:cubicBezTo>
                    <a:cubicBezTo>
                      <a:pt x="24" y="582"/>
                      <a:pt x="18" y="584"/>
                      <a:pt x="40" y="583"/>
                    </a:cubicBezTo>
                    <a:cubicBezTo>
                      <a:pt x="45" y="564"/>
                      <a:pt x="44" y="571"/>
                      <a:pt x="58" y="562"/>
                    </a:cubicBezTo>
                    <a:cubicBezTo>
                      <a:pt x="63" y="555"/>
                      <a:pt x="60" y="557"/>
                      <a:pt x="65" y="554"/>
                    </a:cubicBezTo>
                    <a:cubicBezTo>
                      <a:pt x="68" y="548"/>
                      <a:pt x="76" y="545"/>
                      <a:pt x="82" y="543"/>
                    </a:cubicBezTo>
                    <a:cubicBezTo>
                      <a:pt x="85" y="540"/>
                      <a:pt x="86" y="537"/>
                      <a:pt x="89" y="534"/>
                    </a:cubicBezTo>
                    <a:cubicBezTo>
                      <a:pt x="91" y="525"/>
                      <a:pt x="107" y="530"/>
                      <a:pt x="114" y="530"/>
                    </a:cubicBezTo>
                    <a:cubicBezTo>
                      <a:pt x="116" y="531"/>
                      <a:pt x="118" y="534"/>
                      <a:pt x="120" y="535"/>
                    </a:cubicBezTo>
                    <a:cubicBezTo>
                      <a:pt x="122" y="536"/>
                      <a:pt x="128" y="537"/>
                      <a:pt x="128" y="537"/>
                    </a:cubicBezTo>
                    <a:cubicBezTo>
                      <a:pt x="155" y="535"/>
                      <a:pt x="148" y="523"/>
                      <a:pt x="162" y="518"/>
                    </a:cubicBezTo>
                    <a:cubicBezTo>
                      <a:pt x="165" y="514"/>
                      <a:pt x="168" y="511"/>
                      <a:pt x="172" y="508"/>
                    </a:cubicBezTo>
                    <a:cubicBezTo>
                      <a:pt x="174" y="507"/>
                      <a:pt x="178" y="504"/>
                      <a:pt x="178" y="504"/>
                    </a:cubicBezTo>
                    <a:cubicBezTo>
                      <a:pt x="179" y="503"/>
                      <a:pt x="181" y="502"/>
                      <a:pt x="180" y="501"/>
                    </a:cubicBezTo>
                    <a:cubicBezTo>
                      <a:pt x="175" y="498"/>
                      <a:pt x="164" y="507"/>
                      <a:pt x="164" y="507"/>
                    </a:cubicBezTo>
                    <a:cubicBezTo>
                      <a:pt x="159" y="512"/>
                      <a:pt x="157" y="511"/>
                      <a:pt x="149" y="512"/>
                    </a:cubicBezTo>
                    <a:cubicBezTo>
                      <a:pt x="146" y="513"/>
                      <a:pt x="140" y="516"/>
                      <a:pt x="140" y="516"/>
                    </a:cubicBezTo>
                    <a:cubicBezTo>
                      <a:pt x="136" y="518"/>
                      <a:pt x="127" y="519"/>
                      <a:pt x="127" y="519"/>
                    </a:cubicBezTo>
                    <a:cubicBezTo>
                      <a:pt x="121" y="517"/>
                      <a:pt x="122" y="512"/>
                      <a:pt x="118" y="508"/>
                    </a:cubicBezTo>
                    <a:cubicBezTo>
                      <a:pt x="108" y="498"/>
                      <a:pt x="97" y="502"/>
                      <a:pt x="91" y="501"/>
                    </a:cubicBezTo>
                    <a:cubicBezTo>
                      <a:pt x="86" y="498"/>
                      <a:pt x="95" y="490"/>
                      <a:pt x="90" y="487"/>
                    </a:cubicBezTo>
                    <a:cubicBezTo>
                      <a:pt x="86" y="484"/>
                      <a:pt x="75" y="483"/>
                      <a:pt x="70" y="484"/>
                    </a:cubicBezTo>
                    <a:cubicBezTo>
                      <a:pt x="63" y="489"/>
                      <a:pt x="60" y="491"/>
                      <a:pt x="58" y="482"/>
                    </a:cubicBezTo>
                    <a:cubicBezTo>
                      <a:pt x="52" y="458"/>
                      <a:pt x="55" y="464"/>
                      <a:pt x="88" y="460"/>
                    </a:cubicBezTo>
                    <a:cubicBezTo>
                      <a:pt x="94" y="458"/>
                      <a:pt x="96" y="449"/>
                      <a:pt x="101" y="448"/>
                    </a:cubicBezTo>
                    <a:cubicBezTo>
                      <a:pt x="105" y="447"/>
                      <a:pt x="112" y="445"/>
                      <a:pt x="112" y="445"/>
                    </a:cubicBezTo>
                    <a:cubicBezTo>
                      <a:pt x="115" y="441"/>
                      <a:pt x="115" y="436"/>
                      <a:pt x="118" y="432"/>
                    </a:cubicBezTo>
                    <a:cubicBezTo>
                      <a:pt x="120" y="423"/>
                      <a:pt x="121" y="417"/>
                      <a:pt x="118" y="406"/>
                    </a:cubicBezTo>
                    <a:cubicBezTo>
                      <a:pt x="117" y="404"/>
                      <a:pt x="112" y="404"/>
                      <a:pt x="112" y="404"/>
                    </a:cubicBezTo>
                    <a:cubicBezTo>
                      <a:pt x="105" y="406"/>
                      <a:pt x="99" y="409"/>
                      <a:pt x="92" y="410"/>
                    </a:cubicBezTo>
                    <a:cubicBezTo>
                      <a:pt x="91" y="405"/>
                      <a:pt x="90" y="404"/>
                      <a:pt x="95" y="402"/>
                    </a:cubicBezTo>
                    <a:cubicBezTo>
                      <a:pt x="99" y="398"/>
                      <a:pt x="115" y="392"/>
                      <a:pt x="122" y="390"/>
                    </a:cubicBezTo>
                    <a:cubicBezTo>
                      <a:pt x="129" y="385"/>
                      <a:pt x="126" y="387"/>
                      <a:pt x="131" y="385"/>
                    </a:cubicBezTo>
                    <a:cubicBezTo>
                      <a:pt x="144" y="385"/>
                      <a:pt x="148" y="385"/>
                      <a:pt x="161" y="381"/>
                    </a:cubicBezTo>
                    <a:cubicBezTo>
                      <a:pt x="167" y="380"/>
                      <a:pt x="172" y="390"/>
                      <a:pt x="174" y="388"/>
                    </a:cubicBezTo>
                    <a:cubicBezTo>
                      <a:pt x="176" y="386"/>
                      <a:pt x="173" y="375"/>
                      <a:pt x="174" y="369"/>
                    </a:cubicBezTo>
                    <a:cubicBezTo>
                      <a:pt x="175" y="363"/>
                      <a:pt x="176" y="357"/>
                      <a:pt x="179" y="352"/>
                    </a:cubicBezTo>
                    <a:cubicBezTo>
                      <a:pt x="180" y="345"/>
                      <a:pt x="193" y="336"/>
                      <a:pt x="193" y="336"/>
                    </a:cubicBezTo>
                    <a:cubicBezTo>
                      <a:pt x="194" y="332"/>
                      <a:pt x="196" y="329"/>
                      <a:pt x="197" y="325"/>
                    </a:cubicBezTo>
                    <a:cubicBezTo>
                      <a:pt x="195" y="307"/>
                      <a:pt x="189" y="323"/>
                      <a:pt x="170" y="322"/>
                    </a:cubicBezTo>
                    <a:cubicBezTo>
                      <a:pt x="164" y="318"/>
                      <a:pt x="160" y="308"/>
                      <a:pt x="158" y="301"/>
                    </a:cubicBezTo>
                    <a:cubicBezTo>
                      <a:pt x="162" y="290"/>
                      <a:pt x="167" y="280"/>
                      <a:pt x="179" y="276"/>
                    </a:cubicBezTo>
                    <a:cubicBezTo>
                      <a:pt x="187" y="268"/>
                      <a:pt x="186" y="270"/>
                      <a:pt x="170" y="266"/>
                    </a:cubicBezTo>
                    <a:cubicBezTo>
                      <a:pt x="157" y="267"/>
                      <a:pt x="147" y="271"/>
                      <a:pt x="134" y="272"/>
                    </a:cubicBezTo>
                    <a:cubicBezTo>
                      <a:pt x="128" y="272"/>
                      <a:pt x="120" y="274"/>
                      <a:pt x="115" y="270"/>
                    </a:cubicBezTo>
                    <a:cubicBezTo>
                      <a:pt x="109" y="266"/>
                      <a:pt x="108" y="258"/>
                      <a:pt x="103" y="254"/>
                    </a:cubicBezTo>
                    <a:cubicBezTo>
                      <a:pt x="107" y="246"/>
                      <a:pt x="113" y="243"/>
                      <a:pt x="122" y="240"/>
                    </a:cubicBezTo>
                    <a:cubicBezTo>
                      <a:pt x="125" y="236"/>
                      <a:pt x="126" y="233"/>
                      <a:pt x="130" y="230"/>
                    </a:cubicBezTo>
                    <a:cubicBezTo>
                      <a:pt x="134" y="222"/>
                      <a:pt x="133" y="202"/>
                      <a:pt x="127" y="194"/>
                    </a:cubicBezTo>
                    <a:cubicBezTo>
                      <a:pt x="124" y="190"/>
                      <a:pt x="124" y="201"/>
                      <a:pt x="120" y="198"/>
                    </a:cubicBezTo>
                    <a:cubicBezTo>
                      <a:pt x="118" y="197"/>
                      <a:pt x="124" y="177"/>
                      <a:pt x="124" y="177"/>
                    </a:cubicBezTo>
                    <a:cubicBezTo>
                      <a:pt x="123" y="173"/>
                      <a:pt x="85" y="223"/>
                      <a:pt x="85" y="223"/>
                    </a:cubicBezTo>
                    <a:cubicBezTo>
                      <a:pt x="87" y="212"/>
                      <a:pt x="101" y="156"/>
                      <a:pt x="110" y="153"/>
                    </a:cubicBezTo>
                    <a:cubicBezTo>
                      <a:pt x="117" y="146"/>
                      <a:pt x="115" y="152"/>
                      <a:pt x="118" y="145"/>
                    </a:cubicBezTo>
                    <a:cubicBezTo>
                      <a:pt x="119" y="138"/>
                      <a:pt x="125" y="137"/>
                      <a:pt x="127" y="130"/>
                    </a:cubicBezTo>
                    <a:cubicBezTo>
                      <a:pt x="122" y="121"/>
                      <a:pt x="106" y="142"/>
                      <a:pt x="97" y="145"/>
                    </a:cubicBezTo>
                    <a:cubicBezTo>
                      <a:pt x="94" y="148"/>
                      <a:pt x="81" y="142"/>
                      <a:pt x="78" y="146"/>
                    </a:cubicBezTo>
                    <a:cubicBezTo>
                      <a:pt x="73" y="139"/>
                      <a:pt x="76" y="129"/>
                      <a:pt x="84" y="123"/>
                    </a:cubicBezTo>
                    <a:cubicBezTo>
                      <a:pt x="88" y="120"/>
                      <a:pt x="92" y="118"/>
                      <a:pt x="97" y="116"/>
                    </a:cubicBezTo>
                    <a:cubicBezTo>
                      <a:pt x="98" y="116"/>
                      <a:pt x="100" y="115"/>
                      <a:pt x="100" y="115"/>
                    </a:cubicBezTo>
                    <a:cubicBezTo>
                      <a:pt x="103" y="110"/>
                      <a:pt x="110" y="109"/>
                      <a:pt x="115" y="105"/>
                    </a:cubicBezTo>
                    <a:cubicBezTo>
                      <a:pt x="118" y="102"/>
                      <a:pt x="124" y="97"/>
                      <a:pt x="124" y="97"/>
                    </a:cubicBezTo>
                    <a:cubicBezTo>
                      <a:pt x="127" y="87"/>
                      <a:pt x="129" y="77"/>
                      <a:pt x="122" y="67"/>
                    </a:cubicBezTo>
                    <a:cubicBezTo>
                      <a:pt x="120" y="60"/>
                      <a:pt x="124" y="62"/>
                      <a:pt x="127" y="56"/>
                    </a:cubicBezTo>
                    <a:cubicBezTo>
                      <a:pt x="136" y="38"/>
                      <a:pt x="125" y="46"/>
                      <a:pt x="152" y="36"/>
                    </a:cubicBezTo>
                    <a:cubicBezTo>
                      <a:pt x="154" y="24"/>
                      <a:pt x="155" y="21"/>
                      <a:pt x="160" y="12"/>
                    </a:cubicBezTo>
                    <a:cubicBezTo>
                      <a:pt x="163" y="8"/>
                      <a:pt x="170" y="0"/>
                      <a:pt x="170" y="0"/>
                    </a:cubicBezTo>
                    <a:cubicBezTo>
                      <a:pt x="176" y="2"/>
                      <a:pt x="180" y="2"/>
                      <a:pt x="185" y="7"/>
                    </a:cubicBezTo>
                    <a:lnTo>
                      <a:pt x="174" y="3"/>
                    </a:ln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57" name="Freeform 2565">
                <a:extLst>
                  <a:ext uri="{FF2B5EF4-FFF2-40B4-BE49-F238E27FC236}">
                    <a16:creationId xmlns:a16="http://schemas.microsoft.com/office/drawing/2014/main" id="{37EA1BF4-4E4E-64C1-22A9-16AEFF9BDCF1}"/>
                  </a:ext>
                </a:extLst>
              </p:cNvPr>
              <p:cNvSpPr>
                <a:spLocks noChangeAspect="1"/>
              </p:cNvSpPr>
              <p:nvPr/>
            </p:nvSpPr>
            <p:spPr bwMode="auto">
              <a:xfrm>
                <a:off x="164" y="4091"/>
                <a:ext cx="84" cy="108"/>
              </a:xfrm>
              <a:custGeom>
                <a:avLst/>
                <a:gdLst>
                  <a:gd name="T0" fmla="*/ 6 w 21"/>
                  <a:gd name="T1" fmla="*/ 7 h 27"/>
                  <a:gd name="T2" fmla="*/ 9 w 21"/>
                  <a:gd name="T3" fmla="*/ 27 h 27"/>
                  <a:gd name="T4" fmla="*/ 14 w 21"/>
                  <a:gd name="T5" fmla="*/ 0 h 27"/>
                  <a:gd name="T6" fmla="*/ 9 w 21"/>
                  <a:gd name="T7" fmla="*/ 1 h 27"/>
                  <a:gd name="T8" fmla="*/ 6 w 21"/>
                  <a:gd name="T9" fmla="*/ 7 h 27"/>
                  <a:gd name="T10" fmla="*/ 0 60000 65536"/>
                  <a:gd name="T11" fmla="*/ 0 60000 65536"/>
                  <a:gd name="T12" fmla="*/ 0 60000 65536"/>
                  <a:gd name="T13" fmla="*/ 0 60000 65536"/>
                  <a:gd name="T14" fmla="*/ 0 60000 65536"/>
                  <a:gd name="T15" fmla="*/ 0 w 21"/>
                  <a:gd name="T16" fmla="*/ 0 h 27"/>
                  <a:gd name="T17" fmla="*/ 21 w 21"/>
                  <a:gd name="T18" fmla="*/ 27 h 27"/>
                </a:gdLst>
                <a:ahLst/>
                <a:cxnLst>
                  <a:cxn ang="T10">
                    <a:pos x="T0" y="T1"/>
                  </a:cxn>
                  <a:cxn ang="T11">
                    <a:pos x="T2" y="T3"/>
                  </a:cxn>
                  <a:cxn ang="T12">
                    <a:pos x="T4" y="T5"/>
                  </a:cxn>
                  <a:cxn ang="T13">
                    <a:pos x="T6" y="T7"/>
                  </a:cxn>
                  <a:cxn ang="T14">
                    <a:pos x="T8" y="T9"/>
                  </a:cxn>
                </a:cxnLst>
                <a:rect l="T15" t="T16" r="T17" b="T18"/>
                <a:pathLst>
                  <a:path w="21" h="27">
                    <a:moveTo>
                      <a:pt x="6" y="7"/>
                    </a:moveTo>
                    <a:cubicBezTo>
                      <a:pt x="4" y="18"/>
                      <a:pt x="0" y="21"/>
                      <a:pt x="9" y="27"/>
                    </a:cubicBezTo>
                    <a:cubicBezTo>
                      <a:pt x="21" y="23"/>
                      <a:pt x="18" y="12"/>
                      <a:pt x="14" y="0"/>
                    </a:cubicBezTo>
                    <a:cubicBezTo>
                      <a:pt x="12" y="0"/>
                      <a:pt x="10" y="0"/>
                      <a:pt x="9" y="1"/>
                    </a:cubicBezTo>
                    <a:cubicBezTo>
                      <a:pt x="7" y="2"/>
                      <a:pt x="6" y="7"/>
                      <a:pt x="6" y="7"/>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58" name="Freeform 2566">
                <a:extLst>
                  <a:ext uri="{FF2B5EF4-FFF2-40B4-BE49-F238E27FC236}">
                    <a16:creationId xmlns:a16="http://schemas.microsoft.com/office/drawing/2014/main" id="{165A3E63-3B8C-73BA-B30A-9E5FF1FB73FE}"/>
                  </a:ext>
                </a:extLst>
              </p:cNvPr>
              <p:cNvSpPr>
                <a:spLocks noChangeAspect="1"/>
              </p:cNvSpPr>
              <p:nvPr/>
            </p:nvSpPr>
            <p:spPr bwMode="auto">
              <a:xfrm>
                <a:off x="587" y="5655"/>
                <a:ext cx="96" cy="52"/>
              </a:xfrm>
              <a:custGeom>
                <a:avLst/>
                <a:gdLst>
                  <a:gd name="T0" fmla="*/ 0 w 24"/>
                  <a:gd name="T1" fmla="*/ 0 h 13"/>
                  <a:gd name="T2" fmla="*/ 12 w 24"/>
                  <a:gd name="T3" fmla="*/ 8 h 13"/>
                  <a:gd name="T4" fmla="*/ 3 w 24"/>
                  <a:gd name="T5" fmla="*/ 11 h 13"/>
                  <a:gd name="T6" fmla="*/ 0 w 24"/>
                  <a:gd name="T7" fmla="*/ 0 h 13"/>
                  <a:gd name="T8" fmla="*/ 0 60000 65536"/>
                  <a:gd name="T9" fmla="*/ 0 60000 65536"/>
                  <a:gd name="T10" fmla="*/ 0 60000 65536"/>
                  <a:gd name="T11" fmla="*/ 0 60000 65536"/>
                  <a:gd name="T12" fmla="*/ 0 w 24"/>
                  <a:gd name="T13" fmla="*/ 0 h 13"/>
                  <a:gd name="T14" fmla="*/ 24 w 24"/>
                  <a:gd name="T15" fmla="*/ 13 h 13"/>
                </a:gdLst>
                <a:ahLst/>
                <a:cxnLst>
                  <a:cxn ang="T8">
                    <a:pos x="T0" y="T1"/>
                  </a:cxn>
                  <a:cxn ang="T9">
                    <a:pos x="T2" y="T3"/>
                  </a:cxn>
                  <a:cxn ang="T10">
                    <a:pos x="T4" y="T5"/>
                  </a:cxn>
                  <a:cxn ang="T11">
                    <a:pos x="T6" y="T7"/>
                  </a:cxn>
                </a:cxnLst>
                <a:rect l="T12" t="T13" r="T14" b="T15"/>
                <a:pathLst>
                  <a:path w="24" h="13">
                    <a:moveTo>
                      <a:pt x="0" y="0"/>
                    </a:moveTo>
                    <a:cubicBezTo>
                      <a:pt x="7" y="4"/>
                      <a:pt x="24" y="0"/>
                      <a:pt x="12" y="8"/>
                    </a:cubicBezTo>
                    <a:cubicBezTo>
                      <a:pt x="9" y="12"/>
                      <a:pt x="8" y="13"/>
                      <a:pt x="3" y="11"/>
                    </a:cubicBezTo>
                    <a:cubicBezTo>
                      <a:pt x="2" y="3"/>
                      <a:pt x="3" y="6"/>
                      <a:pt x="0" y="0"/>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59" name="Freeform 2567">
                <a:extLst>
                  <a:ext uri="{FF2B5EF4-FFF2-40B4-BE49-F238E27FC236}">
                    <a16:creationId xmlns:a16="http://schemas.microsoft.com/office/drawing/2014/main" id="{BA6EB849-1B39-2A63-E94C-F80C252F46A8}"/>
                  </a:ext>
                </a:extLst>
              </p:cNvPr>
              <p:cNvSpPr>
                <a:spLocks noChangeAspect="1"/>
              </p:cNvSpPr>
              <p:nvPr/>
            </p:nvSpPr>
            <p:spPr bwMode="auto">
              <a:xfrm>
                <a:off x="-347" y="4175"/>
                <a:ext cx="451" cy="376"/>
              </a:xfrm>
              <a:custGeom>
                <a:avLst/>
                <a:gdLst>
                  <a:gd name="T0" fmla="*/ 303 w 451"/>
                  <a:gd name="T1" fmla="*/ 376 h 376"/>
                  <a:gd name="T2" fmla="*/ 399 w 451"/>
                  <a:gd name="T3" fmla="*/ 352 h 376"/>
                  <a:gd name="T4" fmla="*/ 439 w 451"/>
                  <a:gd name="T5" fmla="*/ 340 h 376"/>
                  <a:gd name="T6" fmla="*/ 451 w 451"/>
                  <a:gd name="T7" fmla="*/ 280 h 376"/>
                  <a:gd name="T8" fmla="*/ 395 w 451"/>
                  <a:gd name="T9" fmla="*/ 216 h 376"/>
                  <a:gd name="T10" fmla="*/ 407 w 451"/>
                  <a:gd name="T11" fmla="*/ 196 h 376"/>
                  <a:gd name="T12" fmla="*/ 407 w 451"/>
                  <a:gd name="T13" fmla="*/ 96 h 376"/>
                  <a:gd name="T14" fmla="*/ 259 w 451"/>
                  <a:gd name="T15" fmla="*/ 24 h 376"/>
                  <a:gd name="T16" fmla="*/ 199 w 451"/>
                  <a:gd name="T17" fmla="*/ 48 h 376"/>
                  <a:gd name="T18" fmla="*/ 174 w 451"/>
                  <a:gd name="T19" fmla="*/ 54 h 376"/>
                  <a:gd name="T20" fmla="*/ 152 w 451"/>
                  <a:gd name="T21" fmla="*/ 90 h 376"/>
                  <a:gd name="T22" fmla="*/ 83 w 451"/>
                  <a:gd name="T23" fmla="*/ 124 h 376"/>
                  <a:gd name="T24" fmla="*/ 60 w 451"/>
                  <a:gd name="T25" fmla="*/ 165 h 376"/>
                  <a:gd name="T26" fmla="*/ 12 w 451"/>
                  <a:gd name="T27" fmla="*/ 178 h 376"/>
                  <a:gd name="T28" fmla="*/ 24 w 451"/>
                  <a:gd name="T29" fmla="*/ 219 h 376"/>
                  <a:gd name="T30" fmla="*/ 83 w 451"/>
                  <a:gd name="T31" fmla="*/ 268 h 376"/>
                  <a:gd name="T32" fmla="*/ 105 w 451"/>
                  <a:gd name="T33" fmla="*/ 298 h 376"/>
                  <a:gd name="T34" fmla="*/ 144 w 451"/>
                  <a:gd name="T35" fmla="*/ 298 h 376"/>
                  <a:gd name="T36" fmla="*/ 179 w 451"/>
                  <a:gd name="T37" fmla="*/ 248 h 376"/>
                  <a:gd name="T38" fmla="*/ 228 w 451"/>
                  <a:gd name="T39" fmla="*/ 322 h 376"/>
                  <a:gd name="T40" fmla="*/ 258 w 451"/>
                  <a:gd name="T41" fmla="*/ 351 h 376"/>
                  <a:gd name="T42" fmla="*/ 303 w 451"/>
                  <a:gd name="T43" fmla="*/ 376 h 37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51"/>
                  <a:gd name="T67" fmla="*/ 0 h 376"/>
                  <a:gd name="T68" fmla="*/ 451 w 451"/>
                  <a:gd name="T69" fmla="*/ 376 h 37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51" h="376">
                    <a:moveTo>
                      <a:pt x="303" y="376"/>
                    </a:moveTo>
                    <a:cubicBezTo>
                      <a:pt x="335" y="368"/>
                      <a:pt x="367" y="360"/>
                      <a:pt x="399" y="352"/>
                    </a:cubicBezTo>
                    <a:cubicBezTo>
                      <a:pt x="411" y="348"/>
                      <a:pt x="439" y="340"/>
                      <a:pt x="439" y="340"/>
                    </a:cubicBezTo>
                    <a:cubicBezTo>
                      <a:pt x="443" y="320"/>
                      <a:pt x="447" y="304"/>
                      <a:pt x="451" y="280"/>
                    </a:cubicBezTo>
                    <a:cubicBezTo>
                      <a:pt x="447" y="232"/>
                      <a:pt x="443" y="224"/>
                      <a:pt x="395" y="216"/>
                    </a:cubicBezTo>
                    <a:cubicBezTo>
                      <a:pt x="375" y="204"/>
                      <a:pt x="391" y="204"/>
                      <a:pt x="407" y="196"/>
                    </a:cubicBezTo>
                    <a:cubicBezTo>
                      <a:pt x="431" y="164"/>
                      <a:pt x="427" y="132"/>
                      <a:pt x="407" y="96"/>
                    </a:cubicBezTo>
                    <a:cubicBezTo>
                      <a:pt x="391" y="0"/>
                      <a:pt x="351" y="32"/>
                      <a:pt x="259" y="24"/>
                    </a:cubicBezTo>
                    <a:cubicBezTo>
                      <a:pt x="239" y="32"/>
                      <a:pt x="219" y="36"/>
                      <a:pt x="199" y="48"/>
                    </a:cubicBezTo>
                    <a:cubicBezTo>
                      <a:pt x="186" y="51"/>
                      <a:pt x="182" y="47"/>
                      <a:pt x="174" y="54"/>
                    </a:cubicBezTo>
                    <a:cubicBezTo>
                      <a:pt x="156" y="64"/>
                      <a:pt x="164" y="78"/>
                      <a:pt x="152" y="90"/>
                    </a:cubicBezTo>
                    <a:cubicBezTo>
                      <a:pt x="140" y="117"/>
                      <a:pt x="116" y="124"/>
                      <a:pt x="83" y="124"/>
                    </a:cubicBezTo>
                    <a:cubicBezTo>
                      <a:pt x="79" y="140"/>
                      <a:pt x="72" y="156"/>
                      <a:pt x="60" y="165"/>
                    </a:cubicBezTo>
                    <a:cubicBezTo>
                      <a:pt x="48" y="161"/>
                      <a:pt x="30" y="171"/>
                      <a:pt x="12" y="178"/>
                    </a:cubicBezTo>
                    <a:cubicBezTo>
                      <a:pt x="0" y="178"/>
                      <a:pt x="20" y="207"/>
                      <a:pt x="24" y="219"/>
                    </a:cubicBezTo>
                    <a:cubicBezTo>
                      <a:pt x="38" y="232"/>
                      <a:pt x="59" y="244"/>
                      <a:pt x="83" y="268"/>
                    </a:cubicBezTo>
                    <a:cubicBezTo>
                      <a:pt x="99" y="284"/>
                      <a:pt x="89" y="282"/>
                      <a:pt x="105" y="298"/>
                    </a:cubicBezTo>
                    <a:cubicBezTo>
                      <a:pt x="122" y="300"/>
                      <a:pt x="126" y="303"/>
                      <a:pt x="144" y="298"/>
                    </a:cubicBezTo>
                    <a:cubicBezTo>
                      <a:pt x="148" y="278"/>
                      <a:pt x="159" y="256"/>
                      <a:pt x="179" y="248"/>
                    </a:cubicBezTo>
                    <a:cubicBezTo>
                      <a:pt x="215" y="256"/>
                      <a:pt x="191" y="300"/>
                      <a:pt x="228" y="322"/>
                    </a:cubicBezTo>
                    <a:cubicBezTo>
                      <a:pt x="242" y="338"/>
                      <a:pt x="246" y="342"/>
                      <a:pt x="258" y="351"/>
                    </a:cubicBezTo>
                    <a:cubicBezTo>
                      <a:pt x="270" y="360"/>
                      <a:pt x="291" y="351"/>
                      <a:pt x="303" y="376"/>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148" name="Freeform 2568">
              <a:extLst>
                <a:ext uri="{FF2B5EF4-FFF2-40B4-BE49-F238E27FC236}">
                  <a16:creationId xmlns:a16="http://schemas.microsoft.com/office/drawing/2014/main" id="{D0DBD81B-368F-ADB3-35EA-28ABA4816A96}"/>
                </a:ext>
              </a:extLst>
            </p:cNvPr>
            <p:cNvSpPr>
              <a:spLocks noChangeAspect="1"/>
            </p:cNvSpPr>
            <p:nvPr>
              <p:custDataLst>
                <p:tags r:id="rId40"/>
              </p:custDataLst>
            </p:nvPr>
          </p:nvSpPr>
          <p:spPr bwMode="auto">
            <a:xfrm>
              <a:off x="2387602" y="4367367"/>
              <a:ext cx="221732" cy="365663"/>
            </a:xfrm>
            <a:custGeom>
              <a:avLst/>
              <a:gdLst>
                <a:gd name="T0" fmla="*/ 384 w 913"/>
                <a:gd name="T1" fmla="*/ 13 h 1504"/>
                <a:gd name="T2" fmla="*/ 296 w 913"/>
                <a:gd name="T3" fmla="*/ 416 h 1504"/>
                <a:gd name="T4" fmla="*/ 224 w 913"/>
                <a:gd name="T5" fmla="*/ 588 h 1504"/>
                <a:gd name="T6" fmla="*/ 180 w 913"/>
                <a:gd name="T7" fmla="*/ 632 h 1504"/>
                <a:gd name="T8" fmla="*/ 156 w 913"/>
                <a:gd name="T9" fmla="*/ 672 h 1504"/>
                <a:gd name="T10" fmla="*/ 116 w 913"/>
                <a:gd name="T11" fmla="*/ 696 h 1504"/>
                <a:gd name="T12" fmla="*/ 72 w 913"/>
                <a:gd name="T13" fmla="*/ 756 h 1504"/>
                <a:gd name="T14" fmla="*/ 20 w 913"/>
                <a:gd name="T15" fmla="*/ 836 h 1504"/>
                <a:gd name="T16" fmla="*/ 4 w 913"/>
                <a:gd name="T17" fmla="*/ 872 h 1504"/>
                <a:gd name="T18" fmla="*/ 8 w 913"/>
                <a:gd name="T19" fmla="*/ 884 h 1504"/>
                <a:gd name="T20" fmla="*/ 24 w 913"/>
                <a:gd name="T21" fmla="*/ 888 h 1504"/>
                <a:gd name="T22" fmla="*/ 36 w 913"/>
                <a:gd name="T23" fmla="*/ 924 h 1504"/>
                <a:gd name="T24" fmla="*/ 128 w 913"/>
                <a:gd name="T25" fmla="*/ 980 h 1504"/>
                <a:gd name="T26" fmla="*/ 128 w 913"/>
                <a:gd name="T27" fmla="*/ 1036 h 1504"/>
                <a:gd name="T28" fmla="*/ 120 w 913"/>
                <a:gd name="T29" fmla="*/ 1052 h 1504"/>
                <a:gd name="T30" fmla="*/ 108 w 913"/>
                <a:gd name="T31" fmla="*/ 1060 h 1504"/>
                <a:gd name="T32" fmla="*/ 60 w 913"/>
                <a:gd name="T33" fmla="*/ 1176 h 1504"/>
                <a:gd name="T34" fmla="*/ 8 w 913"/>
                <a:gd name="T35" fmla="*/ 1376 h 1504"/>
                <a:gd name="T36" fmla="*/ 32 w 913"/>
                <a:gd name="T37" fmla="*/ 1412 h 1504"/>
                <a:gd name="T38" fmla="*/ 116 w 913"/>
                <a:gd name="T39" fmla="*/ 1416 h 1504"/>
                <a:gd name="T40" fmla="*/ 216 w 913"/>
                <a:gd name="T41" fmla="*/ 1476 h 1504"/>
                <a:gd name="T42" fmla="*/ 358 w 913"/>
                <a:gd name="T43" fmla="*/ 1476 h 1504"/>
                <a:gd name="T44" fmla="*/ 345 w 913"/>
                <a:gd name="T45" fmla="*/ 1387 h 1504"/>
                <a:gd name="T46" fmla="*/ 394 w 913"/>
                <a:gd name="T47" fmla="*/ 1282 h 1504"/>
                <a:gd name="T48" fmla="*/ 439 w 913"/>
                <a:gd name="T49" fmla="*/ 1255 h 1504"/>
                <a:gd name="T50" fmla="*/ 507 w 913"/>
                <a:gd name="T51" fmla="*/ 1230 h 1504"/>
                <a:gd name="T52" fmla="*/ 508 w 913"/>
                <a:gd name="T53" fmla="*/ 1192 h 1504"/>
                <a:gd name="T54" fmla="*/ 474 w 913"/>
                <a:gd name="T55" fmla="*/ 1129 h 1504"/>
                <a:gd name="T56" fmla="*/ 496 w 913"/>
                <a:gd name="T57" fmla="*/ 1062 h 1504"/>
                <a:gd name="T58" fmla="*/ 560 w 913"/>
                <a:gd name="T59" fmla="*/ 980 h 1504"/>
                <a:gd name="T60" fmla="*/ 559 w 913"/>
                <a:gd name="T61" fmla="*/ 933 h 1504"/>
                <a:gd name="T62" fmla="*/ 532 w 913"/>
                <a:gd name="T63" fmla="*/ 824 h 1504"/>
                <a:gd name="T64" fmla="*/ 516 w 913"/>
                <a:gd name="T65" fmla="*/ 768 h 1504"/>
                <a:gd name="T66" fmla="*/ 560 w 913"/>
                <a:gd name="T67" fmla="*/ 748 h 1504"/>
                <a:gd name="T68" fmla="*/ 633 w 913"/>
                <a:gd name="T69" fmla="*/ 735 h 1504"/>
                <a:gd name="T70" fmla="*/ 657 w 913"/>
                <a:gd name="T71" fmla="*/ 693 h 1504"/>
                <a:gd name="T72" fmla="*/ 656 w 913"/>
                <a:gd name="T73" fmla="*/ 624 h 1504"/>
                <a:gd name="T74" fmla="*/ 697 w 913"/>
                <a:gd name="T75" fmla="*/ 592 h 1504"/>
                <a:gd name="T76" fmla="*/ 705 w 913"/>
                <a:gd name="T77" fmla="*/ 544 h 1504"/>
                <a:gd name="T78" fmla="*/ 712 w 913"/>
                <a:gd name="T79" fmla="*/ 528 h 1504"/>
                <a:gd name="T80" fmla="*/ 780 w 913"/>
                <a:gd name="T81" fmla="*/ 343 h 1504"/>
                <a:gd name="T82" fmla="*/ 844 w 913"/>
                <a:gd name="T83" fmla="*/ 327 h 1504"/>
                <a:gd name="T84" fmla="*/ 880 w 913"/>
                <a:gd name="T85" fmla="*/ 298 h 1504"/>
                <a:gd name="T86" fmla="*/ 910 w 913"/>
                <a:gd name="T87" fmla="*/ 228 h 1504"/>
                <a:gd name="T88" fmla="*/ 873 w 913"/>
                <a:gd name="T89" fmla="*/ 193 h 1504"/>
                <a:gd name="T90" fmla="*/ 840 w 913"/>
                <a:gd name="T91" fmla="*/ 120 h 1504"/>
                <a:gd name="T92" fmla="*/ 740 w 913"/>
                <a:gd name="T93" fmla="*/ 104 h 1504"/>
                <a:gd name="T94" fmla="*/ 658 w 913"/>
                <a:gd name="T95" fmla="*/ 111 h 1504"/>
                <a:gd name="T96" fmla="*/ 616 w 913"/>
                <a:gd name="T97" fmla="*/ 103 h 1504"/>
                <a:gd name="T98" fmla="*/ 552 w 913"/>
                <a:gd name="T99" fmla="*/ 92 h 1504"/>
                <a:gd name="T100" fmla="*/ 516 w 913"/>
                <a:gd name="T101" fmla="*/ 78 h 1504"/>
                <a:gd name="T102" fmla="*/ 540 w 913"/>
                <a:gd name="T103" fmla="*/ 34 h 1504"/>
                <a:gd name="T104" fmla="*/ 476 w 913"/>
                <a:gd name="T105" fmla="*/ 4 h 1504"/>
                <a:gd name="T106" fmla="*/ 429 w 913"/>
                <a:gd name="T107" fmla="*/ 21 h 1504"/>
                <a:gd name="T108" fmla="*/ 384 w 913"/>
                <a:gd name="T109" fmla="*/ 13 h 15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13"/>
                <a:gd name="T166" fmla="*/ 0 h 1504"/>
                <a:gd name="T167" fmla="*/ 913 w 913"/>
                <a:gd name="T168" fmla="*/ 1504 h 15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13" h="1504">
                  <a:moveTo>
                    <a:pt x="384" y="13"/>
                  </a:moveTo>
                  <a:cubicBezTo>
                    <a:pt x="380" y="117"/>
                    <a:pt x="368" y="312"/>
                    <a:pt x="296" y="416"/>
                  </a:cubicBezTo>
                  <a:cubicBezTo>
                    <a:pt x="280" y="468"/>
                    <a:pt x="288" y="568"/>
                    <a:pt x="224" y="588"/>
                  </a:cubicBezTo>
                  <a:cubicBezTo>
                    <a:pt x="212" y="604"/>
                    <a:pt x="196" y="616"/>
                    <a:pt x="180" y="632"/>
                  </a:cubicBezTo>
                  <a:cubicBezTo>
                    <a:pt x="172" y="652"/>
                    <a:pt x="176" y="664"/>
                    <a:pt x="156" y="672"/>
                  </a:cubicBezTo>
                  <a:cubicBezTo>
                    <a:pt x="136" y="700"/>
                    <a:pt x="136" y="684"/>
                    <a:pt x="116" y="696"/>
                  </a:cubicBezTo>
                  <a:cubicBezTo>
                    <a:pt x="112" y="712"/>
                    <a:pt x="88" y="752"/>
                    <a:pt x="72" y="756"/>
                  </a:cubicBezTo>
                  <a:cubicBezTo>
                    <a:pt x="56" y="780"/>
                    <a:pt x="36" y="808"/>
                    <a:pt x="20" y="836"/>
                  </a:cubicBezTo>
                  <a:cubicBezTo>
                    <a:pt x="12" y="848"/>
                    <a:pt x="4" y="872"/>
                    <a:pt x="4" y="872"/>
                  </a:cubicBezTo>
                  <a:cubicBezTo>
                    <a:pt x="4" y="876"/>
                    <a:pt x="4" y="880"/>
                    <a:pt x="8" y="884"/>
                  </a:cubicBezTo>
                  <a:cubicBezTo>
                    <a:pt x="12" y="888"/>
                    <a:pt x="20" y="884"/>
                    <a:pt x="24" y="888"/>
                  </a:cubicBezTo>
                  <a:cubicBezTo>
                    <a:pt x="32" y="896"/>
                    <a:pt x="36" y="924"/>
                    <a:pt x="36" y="924"/>
                  </a:cubicBezTo>
                  <a:cubicBezTo>
                    <a:pt x="44" y="996"/>
                    <a:pt x="40" y="1040"/>
                    <a:pt x="128" y="980"/>
                  </a:cubicBezTo>
                  <a:cubicBezTo>
                    <a:pt x="152" y="988"/>
                    <a:pt x="148" y="1024"/>
                    <a:pt x="128" y="1036"/>
                  </a:cubicBezTo>
                  <a:cubicBezTo>
                    <a:pt x="124" y="1040"/>
                    <a:pt x="124" y="1048"/>
                    <a:pt x="120" y="1052"/>
                  </a:cubicBezTo>
                  <a:cubicBezTo>
                    <a:pt x="116" y="1056"/>
                    <a:pt x="112" y="1056"/>
                    <a:pt x="108" y="1060"/>
                  </a:cubicBezTo>
                  <a:cubicBezTo>
                    <a:pt x="88" y="1092"/>
                    <a:pt x="84" y="1140"/>
                    <a:pt x="60" y="1176"/>
                  </a:cubicBezTo>
                  <a:cubicBezTo>
                    <a:pt x="48" y="1228"/>
                    <a:pt x="56" y="1344"/>
                    <a:pt x="8" y="1376"/>
                  </a:cubicBezTo>
                  <a:cubicBezTo>
                    <a:pt x="0" y="1396"/>
                    <a:pt x="20" y="1396"/>
                    <a:pt x="32" y="1412"/>
                  </a:cubicBezTo>
                  <a:cubicBezTo>
                    <a:pt x="76" y="1388"/>
                    <a:pt x="72" y="1408"/>
                    <a:pt x="116" y="1416"/>
                  </a:cubicBezTo>
                  <a:cubicBezTo>
                    <a:pt x="144" y="1436"/>
                    <a:pt x="180" y="1464"/>
                    <a:pt x="216" y="1476"/>
                  </a:cubicBezTo>
                  <a:cubicBezTo>
                    <a:pt x="244" y="1504"/>
                    <a:pt x="326" y="1496"/>
                    <a:pt x="358" y="1476"/>
                  </a:cubicBezTo>
                  <a:cubicBezTo>
                    <a:pt x="362" y="1452"/>
                    <a:pt x="343" y="1414"/>
                    <a:pt x="345" y="1387"/>
                  </a:cubicBezTo>
                  <a:cubicBezTo>
                    <a:pt x="355" y="1357"/>
                    <a:pt x="378" y="1304"/>
                    <a:pt x="394" y="1282"/>
                  </a:cubicBezTo>
                  <a:cubicBezTo>
                    <a:pt x="410" y="1260"/>
                    <a:pt x="432" y="1282"/>
                    <a:pt x="439" y="1255"/>
                  </a:cubicBezTo>
                  <a:cubicBezTo>
                    <a:pt x="465" y="1254"/>
                    <a:pt x="496" y="1240"/>
                    <a:pt x="507" y="1230"/>
                  </a:cubicBezTo>
                  <a:cubicBezTo>
                    <a:pt x="536" y="1196"/>
                    <a:pt x="513" y="1209"/>
                    <a:pt x="508" y="1192"/>
                  </a:cubicBezTo>
                  <a:cubicBezTo>
                    <a:pt x="503" y="1175"/>
                    <a:pt x="476" y="1151"/>
                    <a:pt x="474" y="1129"/>
                  </a:cubicBezTo>
                  <a:cubicBezTo>
                    <a:pt x="483" y="1087"/>
                    <a:pt x="480" y="1111"/>
                    <a:pt x="496" y="1062"/>
                  </a:cubicBezTo>
                  <a:cubicBezTo>
                    <a:pt x="516" y="1017"/>
                    <a:pt x="531" y="988"/>
                    <a:pt x="560" y="980"/>
                  </a:cubicBezTo>
                  <a:cubicBezTo>
                    <a:pt x="564" y="960"/>
                    <a:pt x="598" y="948"/>
                    <a:pt x="559" y="933"/>
                  </a:cubicBezTo>
                  <a:cubicBezTo>
                    <a:pt x="559" y="898"/>
                    <a:pt x="544" y="862"/>
                    <a:pt x="532" y="824"/>
                  </a:cubicBezTo>
                  <a:cubicBezTo>
                    <a:pt x="525" y="805"/>
                    <a:pt x="526" y="780"/>
                    <a:pt x="516" y="768"/>
                  </a:cubicBezTo>
                  <a:cubicBezTo>
                    <a:pt x="504" y="742"/>
                    <a:pt x="532" y="744"/>
                    <a:pt x="560" y="748"/>
                  </a:cubicBezTo>
                  <a:cubicBezTo>
                    <a:pt x="595" y="771"/>
                    <a:pt x="633" y="735"/>
                    <a:pt x="633" y="735"/>
                  </a:cubicBezTo>
                  <a:cubicBezTo>
                    <a:pt x="651" y="717"/>
                    <a:pt x="641" y="709"/>
                    <a:pt x="657" y="693"/>
                  </a:cubicBezTo>
                  <a:cubicBezTo>
                    <a:pt x="665" y="669"/>
                    <a:pt x="684" y="632"/>
                    <a:pt x="656" y="624"/>
                  </a:cubicBezTo>
                  <a:cubicBezTo>
                    <a:pt x="660" y="608"/>
                    <a:pt x="697" y="592"/>
                    <a:pt x="697" y="592"/>
                  </a:cubicBezTo>
                  <a:cubicBezTo>
                    <a:pt x="705" y="579"/>
                    <a:pt x="702" y="555"/>
                    <a:pt x="705" y="544"/>
                  </a:cubicBezTo>
                  <a:cubicBezTo>
                    <a:pt x="708" y="533"/>
                    <a:pt x="700" y="561"/>
                    <a:pt x="712" y="528"/>
                  </a:cubicBezTo>
                  <a:cubicBezTo>
                    <a:pt x="720" y="484"/>
                    <a:pt x="730" y="372"/>
                    <a:pt x="780" y="343"/>
                  </a:cubicBezTo>
                  <a:cubicBezTo>
                    <a:pt x="810" y="330"/>
                    <a:pt x="824" y="339"/>
                    <a:pt x="844" y="327"/>
                  </a:cubicBezTo>
                  <a:cubicBezTo>
                    <a:pt x="856" y="319"/>
                    <a:pt x="880" y="298"/>
                    <a:pt x="880" y="298"/>
                  </a:cubicBezTo>
                  <a:cubicBezTo>
                    <a:pt x="901" y="282"/>
                    <a:pt x="913" y="246"/>
                    <a:pt x="910" y="228"/>
                  </a:cubicBezTo>
                  <a:cubicBezTo>
                    <a:pt x="895" y="219"/>
                    <a:pt x="885" y="211"/>
                    <a:pt x="873" y="193"/>
                  </a:cubicBezTo>
                  <a:cubicBezTo>
                    <a:pt x="861" y="175"/>
                    <a:pt x="876" y="130"/>
                    <a:pt x="840" y="120"/>
                  </a:cubicBezTo>
                  <a:cubicBezTo>
                    <a:pt x="820" y="104"/>
                    <a:pt x="762" y="96"/>
                    <a:pt x="740" y="104"/>
                  </a:cubicBezTo>
                  <a:cubicBezTo>
                    <a:pt x="710" y="102"/>
                    <a:pt x="689" y="113"/>
                    <a:pt x="658" y="111"/>
                  </a:cubicBezTo>
                  <a:cubicBezTo>
                    <a:pt x="637" y="111"/>
                    <a:pt x="634" y="106"/>
                    <a:pt x="616" y="103"/>
                  </a:cubicBezTo>
                  <a:cubicBezTo>
                    <a:pt x="598" y="100"/>
                    <a:pt x="585" y="112"/>
                    <a:pt x="552" y="92"/>
                  </a:cubicBezTo>
                  <a:cubicBezTo>
                    <a:pt x="517" y="81"/>
                    <a:pt x="518" y="88"/>
                    <a:pt x="516" y="78"/>
                  </a:cubicBezTo>
                  <a:cubicBezTo>
                    <a:pt x="514" y="68"/>
                    <a:pt x="547" y="46"/>
                    <a:pt x="540" y="34"/>
                  </a:cubicBezTo>
                  <a:cubicBezTo>
                    <a:pt x="528" y="0"/>
                    <a:pt x="516" y="8"/>
                    <a:pt x="476" y="4"/>
                  </a:cubicBezTo>
                  <a:cubicBezTo>
                    <a:pt x="460" y="8"/>
                    <a:pt x="444" y="6"/>
                    <a:pt x="429" y="21"/>
                  </a:cubicBezTo>
                  <a:cubicBezTo>
                    <a:pt x="413" y="22"/>
                    <a:pt x="390" y="28"/>
                    <a:pt x="384" y="13"/>
                  </a:cubicBezTo>
                  <a:close/>
                </a:path>
              </a:pathLst>
            </a:custGeom>
            <a:solidFill>
              <a:schemeClr val="accent1"/>
            </a:solidFill>
            <a:ln w="3175">
              <a:solidFill>
                <a:schemeClr val="accent1"/>
              </a:solidFill>
              <a:round/>
              <a:headEnd/>
              <a:tailE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grpSp>
        <p:nvGrpSpPr>
          <p:cNvPr id="57" name="Group 56">
            <a:extLst>
              <a:ext uri="{FF2B5EF4-FFF2-40B4-BE49-F238E27FC236}">
                <a16:creationId xmlns:a16="http://schemas.microsoft.com/office/drawing/2014/main" id="{BDC73B3D-33C7-55F6-F589-EB4FA360270F}"/>
              </a:ext>
            </a:extLst>
          </p:cNvPr>
          <p:cNvGrpSpPr/>
          <p:nvPr/>
        </p:nvGrpSpPr>
        <p:grpSpPr>
          <a:xfrm>
            <a:off x="2984363" y="2182386"/>
            <a:ext cx="6912825" cy="3911077"/>
            <a:chOff x="2729052" y="2074040"/>
            <a:chExt cx="7189805" cy="4067781"/>
          </a:xfrm>
        </p:grpSpPr>
        <p:sp>
          <p:nvSpPr>
            <p:cNvPr id="326" name="Freeform 584">
              <a:extLst>
                <a:ext uri="{FF2B5EF4-FFF2-40B4-BE49-F238E27FC236}">
                  <a16:creationId xmlns:a16="http://schemas.microsoft.com/office/drawing/2014/main" id="{492239CD-A01F-1FE5-48CC-50AE6EF89D11}"/>
                </a:ext>
              </a:extLst>
            </p:cNvPr>
            <p:cNvSpPr>
              <a:spLocks noChangeAspect="1"/>
            </p:cNvSpPr>
            <p:nvPr/>
          </p:nvSpPr>
          <p:spPr bwMode="auto">
            <a:xfrm>
              <a:off x="5682073" y="2788080"/>
              <a:ext cx="142527" cy="223849"/>
            </a:xfrm>
            <a:custGeom>
              <a:avLst/>
              <a:gdLst>
                <a:gd name="T0" fmla="*/ 945 w 2208"/>
                <a:gd name="T1" fmla="*/ 627 h 3469"/>
                <a:gd name="T2" fmla="*/ 768 w 2208"/>
                <a:gd name="T3" fmla="*/ 731 h 3469"/>
                <a:gd name="T4" fmla="*/ 647 w 2208"/>
                <a:gd name="T5" fmla="*/ 896 h 3469"/>
                <a:gd name="T6" fmla="*/ 602 w 2208"/>
                <a:gd name="T7" fmla="*/ 1103 h 3469"/>
                <a:gd name="T8" fmla="*/ 647 w 2208"/>
                <a:gd name="T9" fmla="*/ 1311 h 3469"/>
                <a:gd name="T10" fmla="*/ 768 w 2208"/>
                <a:gd name="T11" fmla="*/ 1476 h 3469"/>
                <a:gd name="T12" fmla="*/ 945 w 2208"/>
                <a:gd name="T13" fmla="*/ 1580 h 3469"/>
                <a:gd name="T14" fmla="*/ 1159 w 2208"/>
                <a:gd name="T15" fmla="*/ 1603 h 3469"/>
                <a:gd name="T16" fmla="*/ 1356 w 2208"/>
                <a:gd name="T17" fmla="*/ 1537 h 3469"/>
                <a:gd name="T18" fmla="*/ 1508 w 2208"/>
                <a:gd name="T19" fmla="*/ 1400 h 3469"/>
                <a:gd name="T20" fmla="*/ 1593 w 2208"/>
                <a:gd name="T21" fmla="*/ 1211 h 3469"/>
                <a:gd name="T22" fmla="*/ 1593 w 2208"/>
                <a:gd name="T23" fmla="*/ 996 h 3469"/>
                <a:gd name="T24" fmla="*/ 1508 w 2208"/>
                <a:gd name="T25" fmla="*/ 807 h 3469"/>
                <a:gd name="T26" fmla="*/ 1356 w 2208"/>
                <a:gd name="T27" fmla="*/ 670 h 3469"/>
                <a:gd name="T28" fmla="*/ 1159 w 2208"/>
                <a:gd name="T29" fmla="*/ 604 h 3469"/>
                <a:gd name="T30" fmla="*/ 1274 w 2208"/>
                <a:gd name="T31" fmla="*/ 13 h 3469"/>
                <a:gd name="T32" fmla="*/ 1589 w 2208"/>
                <a:gd name="T33" fmla="*/ 113 h 3469"/>
                <a:gd name="T34" fmla="*/ 1855 w 2208"/>
                <a:gd name="T35" fmla="*/ 297 h 3469"/>
                <a:gd name="T36" fmla="*/ 2057 w 2208"/>
                <a:gd name="T37" fmla="*/ 549 h 3469"/>
                <a:gd name="T38" fmla="*/ 2179 w 2208"/>
                <a:gd name="T39" fmla="*/ 853 h 3469"/>
                <a:gd name="T40" fmla="*/ 2206 w 2208"/>
                <a:gd name="T41" fmla="*/ 1170 h 3469"/>
                <a:gd name="T42" fmla="*/ 2161 w 2208"/>
                <a:gd name="T43" fmla="*/ 1439 h 3469"/>
                <a:gd name="T44" fmla="*/ 2075 w 2208"/>
                <a:gd name="T45" fmla="*/ 1707 h 3469"/>
                <a:gd name="T46" fmla="*/ 1971 w 2208"/>
                <a:gd name="T47" fmla="*/ 1930 h 3469"/>
                <a:gd name="T48" fmla="*/ 1886 w 2208"/>
                <a:gd name="T49" fmla="*/ 2080 h 3469"/>
                <a:gd name="T50" fmla="*/ 1778 w 2208"/>
                <a:gd name="T51" fmla="*/ 2270 h 3469"/>
                <a:gd name="T52" fmla="*/ 1657 w 2208"/>
                <a:gd name="T53" fmla="*/ 2484 h 3469"/>
                <a:gd name="T54" fmla="*/ 1531 w 2208"/>
                <a:gd name="T55" fmla="*/ 2709 h 3469"/>
                <a:gd name="T56" fmla="*/ 1409 w 2208"/>
                <a:gd name="T57" fmla="*/ 2924 h 3469"/>
                <a:gd name="T58" fmla="*/ 1301 w 2208"/>
                <a:gd name="T59" fmla="*/ 3117 h 3469"/>
                <a:gd name="T60" fmla="*/ 1216 w 2208"/>
                <a:gd name="T61" fmla="*/ 3269 h 3469"/>
                <a:gd name="T62" fmla="*/ 1163 w 2208"/>
                <a:gd name="T63" fmla="*/ 3365 h 3469"/>
                <a:gd name="T64" fmla="*/ 1104 w 2208"/>
                <a:gd name="T65" fmla="*/ 3469 h 3469"/>
                <a:gd name="T66" fmla="*/ 1045 w 2208"/>
                <a:gd name="T67" fmla="*/ 3366 h 3469"/>
                <a:gd name="T68" fmla="*/ 993 w 2208"/>
                <a:gd name="T69" fmla="*/ 3272 h 3469"/>
                <a:gd name="T70" fmla="*/ 909 w 2208"/>
                <a:gd name="T71" fmla="*/ 3124 h 3469"/>
                <a:gd name="T72" fmla="*/ 803 w 2208"/>
                <a:gd name="T73" fmla="*/ 2936 h 3469"/>
                <a:gd name="T74" fmla="*/ 684 w 2208"/>
                <a:gd name="T75" fmla="*/ 2725 h 3469"/>
                <a:gd name="T76" fmla="*/ 561 w 2208"/>
                <a:gd name="T77" fmla="*/ 2507 h 3469"/>
                <a:gd name="T78" fmla="*/ 444 w 2208"/>
                <a:gd name="T79" fmla="*/ 2295 h 3469"/>
                <a:gd name="T80" fmla="*/ 340 w 2208"/>
                <a:gd name="T81" fmla="*/ 2108 h 3469"/>
                <a:gd name="T82" fmla="*/ 258 w 2208"/>
                <a:gd name="T83" fmla="*/ 1960 h 3469"/>
                <a:gd name="T84" fmla="*/ 157 w 2208"/>
                <a:gd name="T85" fmla="*/ 1752 h 3469"/>
                <a:gd name="T86" fmla="*/ 57 w 2208"/>
                <a:gd name="T87" fmla="*/ 1469 h 3469"/>
                <a:gd name="T88" fmla="*/ 2 w 2208"/>
                <a:gd name="T89" fmla="*/ 1177 h 3469"/>
                <a:gd name="T90" fmla="*/ 29 w 2208"/>
                <a:gd name="T91" fmla="*/ 853 h 3469"/>
                <a:gd name="T92" fmla="*/ 151 w 2208"/>
                <a:gd name="T93" fmla="*/ 549 h 3469"/>
                <a:gd name="T94" fmla="*/ 353 w 2208"/>
                <a:gd name="T95" fmla="*/ 297 h 3469"/>
                <a:gd name="T96" fmla="*/ 619 w 2208"/>
                <a:gd name="T97" fmla="*/ 113 h 3469"/>
                <a:gd name="T98" fmla="*/ 933 w 2208"/>
                <a:gd name="T99" fmla="*/ 13 h 3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08" h="3469">
                  <a:moveTo>
                    <a:pt x="1104" y="601"/>
                  </a:moveTo>
                  <a:lnTo>
                    <a:pt x="1049" y="604"/>
                  </a:lnTo>
                  <a:lnTo>
                    <a:pt x="996" y="612"/>
                  </a:lnTo>
                  <a:lnTo>
                    <a:pt x="945" y="627"/>
                  </a:lnTo>
                  <a:lnTo>
                    <a:pt x="897" y="646"/>
                  </a:lnTo>
                  <a:lnTo>
                    <a:pt x="851" y="670"/>
                  </a:lnTo>
                  <a:lnTo>
                    <a:pt x="808" y="699"/>
                  </a:lnTo>
                  <a:lnTo>
                    <a:pt x="768" y="731"/>
                  </a:lnTo>
                  <a:lnTo>
                    <a:pt x="732" y="767"/>
                  </a:lnTo>
                  <a:lnTo>
                    <a:pt x="700" y="807"/>
                  </a:lnTo>
                  <a:lnTo>
                    <a:pt x="672" y="850"/>
                  </a:lnTo>
                  <a:lnTo>
                    <a:pt x="647" y="896"/>
                  </a:lnTo>
                  <a:lnTo>
                    <a:pt x="629" y="945"/>
                  </a:lnTo>
                  <a:lnTo>
                    <a:pt x="614" y="996"/>
                  </a:lnTo>
                  <a:lnTo>
                    <a:pt x="605" y="1049"/>
                  </a:lnTo>
                  <a:lnTo>
                    <a:pt x="602" y="1103"/>
                  </a:lnTo>
                  <a:lnTo>
                    <a:pt x="605" y="1158"/>
                  </a:lnTo>
                  <a:lnTo>
                    <a:pt x="614" y="1211"/>
                  </a:lnTo>
                  <a:lnTo>
                    <a:pt x="629" y="1262"/>
                  </a:lnTo>
                  <a:lnTo>
                    <a:pt x="647" y="1311"/>
                  </a:lnTo>
                  <a:lnTo>
                    <a:pt x="672" y="1357"/>
                  </a:lnTo>
                  <a:lnTo>
                    <a:pt x="700" y="1400"/>
                  </a:lnTo>
                  <a:lnTo>
                    <a:pt x="732" y="1440"/>
                  </a:lnTo>
                  <a:lnTo>
                    <a:pt x="768" y="1476"/>
                  </a:lnTo>
                  <a:lnTo>
                    <a:pt x="808" y="1508"/>
                  </a:lnTo>
                  <a:lnTo>
                    <a:pt x="851" y="1537"/>
                  </a:lnTo>
                  <a:lnTo>
                    <a:pt x="897" y="1561"/>
                  </a:lnTo>
                  <a:lnTo>
                    <a:pt x="945" y="1580"/>
                  </a:lnTo>
                  <a:lnTo>
                    <a:pt x="996" y="1595"/>
                  </a:lnTo>
                  <a:lnTo>
                    <a:pt x="1049" y="1603"/>
                  </a:lnTo>
                  <a:lnTo>
                    <a:pt x="1104" y="1606"/>
                  </a:lnTo>
                  <a:lnTo>
                    <a:pt x="1159" y="1603"/>
                  </a:lnTo>
                  <a:lnTo>
                    <a:pt x="1211" y="1595"/>
                  </a:lnTo>
                  <a:lnTo>
                    <a:pt x="1261" y="1580"/>
                  </a:lnTo>
                  <a:lnTo>
                    <a:pt x="1311" y="1561"/>
                  </a:lnTo>
                  <a:lnTo>
                    <a:pt x="1356" y="1537"/>
                  </a:lnTo>
                  <a:lnTo>
                    <a:pt x="1399" y="1508"/>
                  </a:lnTo>
                  <a:lnTo>
                    <a:pt x="1439" y="1476"/>
                  </a:lnTo>
                  <a:lnTo>
                    <a:pt x="1475" y="1440"/>
                  </a:lnTo>
                  <a:lnTo>
                    <a:pt x="1508" y="1400"/>
                  </a:lnTo>
                  <a:lnTo>
                    <a:pt x="1536" y="1357"/>
                  </a:lnTo>
                  <a:lnTo>
                    <a:pt x="1560" y="1311"/>
                  </a:lnTo>
                  <a:lnTo>
                    <a:pt x="1579" y="1262"/>
                  </a:lnTo>
                  <a:lnTo>
                    <a:pt x="1593" y="1211"/>
                  </a:lnTo>
                  <a:lnTo>
                    <a:pt x="1601" y="1158"/>
                  </a:lnTo>
                  <a:lnTo>
                    <a:pt x="1605" y="1103"/>
                  </a:lnTo>
                  <a:lnTo>
                    <a:pt x="1601" y="1049"/>
                  </a:lnTo>
                  <a:lnTo>
                    <a:pt x="1593" y="996"/>
                  </a:lnTo>
                  <a:lnTo>
                    <a:pt x="1579" y="945"/>
                  </a:lnTo>
                  <a:lnTo>
                    <a:pt x="1560" y="896"/>
                  </a:lnTo>
                  <a:lnTo>
                    <a:pt x="1536" y="850"/>
                  </a:lnTo>
                  <a:lnTo>
                    <a:pt x="1508" y="807"/>
                  </a:lnTo>
                  <a:lnTo>
                    <a:pt x="1475" y="767"/>
                  </a:lnTo>
                  <a:lnTo>
                    <a:pt x="1439" y="731"/>
                  </a:lnTo>
                  <a:lnTo>
                    <a:pt x="1399" y="699"/>
                  </a:lnTo>
                  <a:lnTo>
                    <a:pt x="1356" y="670"/>
                  </a:lnTo>
                  <a:lnTo>
                    <a:pt x="1311" y="646"/>
                  </a:lnTo>
                  <a:lnTo>
                    <a:pt x="1261" y="627"/>
                  </a:lnTo>
                  <a:lnTo>
                    <a:pt x="1211" y="612"/>
                  </a:lnTo>
                  <a:lnTo>
                    <a:pt x="1159" y="604"/>
                  </a:lnTo>
                  <a:lnTo>
                    <a:pt x="1104" y="601"/>
                  </a:lnTo>
                  <a:close/>
                  <a:moveTo>
                    <a:pt x="1104" y="0"/>
                  </a:moveTo>
                  <a:lnTo>
                    <a:pt x="1190" y="3"/>
                  </a:lnTo>
                  <a:lnTo>
                    <a:pt x="1274" y="13"/>
                  </a:lnTo>
                  <a:lnTo>
                    <a:pt x="1357" y="30"/>
                  </a:lnTo>
                  <a:lnTo>
                    <a:pt x="1437" y="52"/>
                  </a:lnTo>
                  <a:lnTo>
                    <a:pt x="1514" y="79"/>
                  </a:lnTo>
                  <a:lnTo>
                    <a:pt x="1589" y="113"/>
                  </a:lnTo>
                  <a:lnTo>
                    <a:pt x="1660" y="152"/>
                  </a:lnTo>
                  <a:lnTo>
                    <a:pt x="1728" y="195"/>
                  </a:lnTo>
                  <a:lnTo>
                    <a:pt x="1793" y="243"/>
                  </a:lnTo>
                  <a:lnTo>
                    <a:pt x="1855" y="297"/>
                  </a:lnTo>
                  <a:lnTo>
                    <a:pt x="1912" y="354"/>
                  </a:lnTo>
                  <a:lnTo>
                    <a:pt x="1964" y="415"/>
                  </a:lnTo>
                  <a:lnTo>
                    <a:pt x="2013" y="480"/>
                  </a:lnTo>
                  <a:lnTo>
                    <a:pt x="2057" y="549"/>
                  </a:lnTo>
                  <a:lnTo>
                    <a:pt x="2096" y="621"/>
                  </a:lnTo>
                  <a:lnTo>
                    <a:pt x="2128" y="695"/>
                  </a:lnTo>
                  <a:lnTo>
                    <a:pt x="2156" y="773"/>
                  </a:lnTo>
                  <a:lnTo>
                    <a:pt x="2179" y="853"/>
                  </a:lnTo>
                  <a:lnTo>
                    <a:pt x="2194" y="936"/>
                  </a:lnTo>
                  <a:lnTo>
                    <a:pt x="2205" y="1020"/>
                  </a:lnTo>
                  <a:lnTo>
                    <a:pt x="2208" y="1107"/>
                  </a:lnTo>
                  <a:lnTo>
                    <a:pt x="2206" y="1170"/>
                  </a:lnTo>
                  <a:lnTo>
                    <a:pt x="2200" y="1235"/>
                  </a:lnTo>
                  <a:lnTo>
                    <a:pt x="2190" y="1301"/>
                  </a:lnTo>
                  <a:lnTo>
                    <a:pt x="2176" y="1370"/>
                  </a:lnTo>
                  <a:lnTo>
                    <a:pt x="2161" y="1439"/>
                  </a:lnTo>
                  <a:lnTo>
                    <a:pt x="2142" y="1507"/>
                  </a:lnTo>
                  <a:lnTo>
                    <a:pt x="2122" y="1576"/>
                  </a:lnTo>
                  <a:lnTo>
                    <a:pt x="2099" y="1642"/>
                  </a:lnTo>
                  <a:lnTo>
                    <a:pt x="2075" y="1707"/>
                  </a:lnTo>
                  <a:lnTo>
                    <a:pt x="2049" y="1768"/>
                  </a:lnTo>
                  <a:lnTo>
                    <a:pt x="2023" y="1827"/>
                  </a:lnTo>
                  <a:lnTo>
                    <a:pt x="1997" y="1881"/>
                  </a:lnTo>
                  <a:lnTo>
                    <a:pt x="1971" y="1930"/>
                  </a:lnTo>
                  <a:lnTo>
                    <a:pt x="1952" y="1963"/>
                  </a:lnTo>
                  <a:lnTo>
                    <a:pt x="1931" y="1999"/>
                  </a:lnTo>
                  <a:lnTo>
                    <a:pt x="1909" y="2037"/>
                  </a:lnTo>
                  <a:lnTo>
                    <a:pt x="1886" y="2080"/>
                  </a:lnTo>
                  <a:lnTo>
                    <a:pt x="1861" y="2124"/>
                  </a:lnTo>
                  <a:lnTo>
                    <a:pt x="1834" y="2170"/>
                  </a:lnTo>
                  <a:lnTo>
                    <a:pt x="1806" y="2219"/>
                  </a:lnTo>
                  <a:lnTo>
                    <a:pt x="1778" y="2270"/>
                  </a:lnTo>
                  <a:lnTo>
                    <a:pt x="1748" y="2321"/>
                  </a:lnTo>
                  <a:lnTo>
                    <a:pt x="1718" y="2375"/>
                  </a:lnTo>
                  <a:lnTo>
                    <a:pt x="1687" y="2430"/>
                  </a:lnTo>
                  <a:lnTo>
                    <a:pt x="1657" y="2484"/>
                  </a:lnTo>
                  <a:lnTo>
                    <a:pt x="1625" y="2540"/>
                  </a:lnTo>
                  <a:lnTo>
                    <a:pt x="1594" y="2596"/>
                  </a:lnTo>
                  <a:lnTo>
                    <a:pt x="1563" y="2653"/>
                  </a:lnTo>
                  <a:lnTo>
                    <a:pt x="1531" y="2709"/>
                  </a:lnTo>
                  <a:lnTo>
                    <a:pt x="1500" y="2763"/>
                  </a:lnTo>
                  <a:lnTo>
                    <a:pt x="1469" y="2818"/>
                  </a:lnTo>
                  <a:lnTo>
                    <a:pt x="1439" y="2872"/>
                  </a:lnTo>
                  <a:lnTo>
                    <a:pt x="1409" y="2924"/>
                  </a:lnTo>
                  <a:lnTo>
                    <a:pt x="1381" y="2976"/>
                  </a:lnTo>
                  <a:lnTo>
                    <a:pt x="1354" y="3024"/>
                  </a:lnTo>
                  <a:lnTo>
                    <a:pt x="1326" y="3071"/>
                  </a:lnTo>
                  <a:lnTo>
                    <a:pt x="1301" y="3117"/>
                  </a:lnTo>
                  <a:lnTo>
                    <a:pt x="1278" y="3159"/>
                  </a:lnTo>
                  <a:lnTo>
                    <a:pt x="1255" y="3199"/>
                  </a:lnTo>
                  <a:lnTo>
                    <a:pt x="1235" y="3235"/>
                  </a:lnTo>
                  <a:lnTo>
                    <a:pt x="1216" y="3269"/>
                  </a:lnTo>
                  <a:lnTo>
                    <a:pt x="1199" y="3299"/>
                  </a:lnTo>
                  <a:lnTo>
                    <a:pt x="1185" y="3325"/>
                  </a:lnTo>
                  <a:lnTo>
                    <a:pt x="1172" y="3347"/>
                  </a:lnTo>
                  <a:lnTo>
                    <a:pt x="1163" y="3365"/>
                  </a:lnTo>
                  <a:lnTo>
                    <a:pt x="1154" y="3379"/>
                  </a:lnTo>
                  <a:lnTo>
                    <a:pt x="1150" y="3387"/>
                  </a:lnTo>
                  <a:lnTo>
                    <a:pt x="1148" y="3390"/>
                  </a:lnTo>
                  <a:lnTo>
                    <a:pt x="1104" y="3469"/>
                  </a:lnTo>
                  <a:lnTo>
                    <a:pt x="1060" y="3390"/>
                  </a:lnTo>
                  <a:lnTo>
                    <a:pt x="1058" y="3387"/>
                  </a:lnTo>
                  <a:lnTo>
                    <a:pt x="1053" y="3379"/>
                  </a:lnTo>
                  <a:lnTo>
                    <a:pt x="1045" y="3366"/>
                  </a:lnTo>
                  <a:lnTo>
                    <a:pt x="1036" y="3348"/>
                  </a:lnTo>
                  <a:lnTo>
                    <a:pt x="1023" y="3327"/>
                  </a:lnTo>
                  <a:lnTo>
                    <a:pt x="1010" y="3302"/>
                  </a:lnTo>
                  <a:lnTo>
                    <a:pt x="993" y="3272"/>
                  </a:lnTo>
                  <a:lnTo>
                    <a:pt x="974" y="3240"/>
                  </a:lnTo>
                  <a:lnTo>
                    <a:pt x="954" y="3204"/>
                  </a:lnTo>
                  <a:lnTo>
                    <a:pt x="932" y="3165"/>
                  </a:lnTo>
                  <a:lnTo>
                    <a:pt x="909" y="3124"/>
                  </a:lnTo>
                  <a:lnTo>
                    <a:pt x="884" y="3080"/>
                  </a:lnTo>
                  <a:lnTo>
                    <a:pt x="858" y="3034"/>
                  </a:lnTo>
                  <a:lnTo>
                    <a:pt x="831" y="2986"/>
                  </a:lnTo>
                  <a:lnTo>
                    <a:pt x="803" y="2936"/>
                  </a:lnTo>
                  <a:lnTo>
                    <a:pt x="774" y="2885"/>
                  </a:lnTo>
                  <a:lnTo>
                    <a:pt x="745" y="2833"/>
                  </a:lnTo>
                  <a:lnTo>
                    <a:pt x="715" y="2779"/>
                  </a:lnTo>
                  <a:lnTo>
                    <a:pt x="684" y="2725"/>
                  </a:lnTo>
                  <a:lnTo>
                    <a:pt x="654" y="2671"/>
                  </a:lnTo>
                  <a:lnTo>
                    <a:pt x="623" y="2616"/>
                  </a:lnTo>
                  <a:lnTo>
                    <a:pt x="592" y="2561"/>
                  </a:lnTo>
                  <a:lnTo>
                    <a:pt x="561" y="2507"/>
                  </a:lnTo>
                  <a:lnTo>
                    <a:pt x="531" y="2452"/>
                  </a:lnTo>
                  <a:lnTo>
                    <a:pt x="502" y="2399"/>
                  </a:lnTo>
                  <a:lnTo>
                    <a:pt x="472" y="2347"/>
                  </a:lnTo>
                  <a:lnTo>
                    <a:pt x="444" y="2295"/>
                  </a:lnTo>
                  <a:lnTo>
                    <a:pt x="416" y="2246"/>
                  </a:lnTo>
                  <a:lnTo>
                    <a:pt x="389" y="2197"/>
                  </a:lnTo>
                  <a:lnTo>
                    <a:pt x="364" y="2151"/>
                  </a:lnTo>
                  <a:lnTo>
                    <a:pt x="340" y="2108"/>
                  </a:lnTo>
                  <a:lnTo>
                    <a:pt x="317" y="2066"/>
                  </a:lnTo>
                  <a:lnTo>
                    <a:pt x="296" y="2028"/>
                  </a:lnTo>
                  <a:lnTo>
                    <a:pt x="276" y="1992"/>
                  </a:lnTo>
                  <a:lnTo>
                    <a:pt x="258" y="1960"/>
                  </a:lnTo>
                  <a:lnTo>
                    <a:pt x="242" y="1930"/>
                  </a:lnTo>
                  <a:lnTo>
                    <a:pt x="214" y="1875"/>
                  </a:lnTo>
                  <a:lnTo>
                    <a:pt x="186" y="1816"/>
                  </a:lnTo>
                  <a:lnTo>
                    <a:pt x="157" y="1752"/>
                  </a:lnTo>
                  <a:lnTo>
                    <a:pt x="130" y="1685"/>
                  </a:lnTo>
                  <a:lnTo>
                    <a:pt x="104" y="1615"/>
                  </a:lnTo>
                  <a:lnTo>
                    <a:pt x="79" y="1543"/>
                  </a:lnTo>
                  <a:lnTo>
                    <a:pt x="57" y="1469"/>
                  </a:lnTo>
                  <a:lnTo>
                    <a:pt x="38" y="1396"/>
                  </a:lnTo>
                  <a:lnTo>
                    <a:pt x="22" y="1321"/>
                  </a:lnTo>
                  <a:lnTo>
                    <a:pt x="10" y="1249"/>
                  </a:lnTo>
                  <a:lnTo>
                    <a:pt x="2" y="1177"/>
                  </a:lnTo>
                  <a:lnTo>
                    <a:pt x="0" y="1107"/>
                  </a:lnTo>
                  <a:lnTo>
                    <a:pt x="3" y="1020"/>
                  </a:lnTo>
                  <a:lnTo>
                    <a:pt x="13" y="936"/>
                  </a:lnTo>
                  <a:lnTo>
                    <a:pt x="29" y="853"/>
                  </a:lnTo>
                  <a:lnTo>
                    <a:pt x="51" y="773"/>
                  </a:lnTo>
                  <a:lnTo>
                    <a:pt x="79" y="695"/>
                  </a:lnTo>
                  <a:lnTo>
                    <a:pt x="112" y="621"/>
                  </a:lnTo>
                  <a:lnTo>
                    <a:pt x="151" y="549"/>
                  </a:lnTo>
                  <a:lnTo>
                    <a:pt x="194" y="480"/>
                  </a:lnTo>
                  <a:lnTo>
                    <a:pt x="242" y="415"/>
                  </a:lnTo>
                  <a:lnTo>
                    <a:pt x="296" y="354"/>
                  </a:lnTo>
                  <a:lnTo>
                    <a:pt x="353" y="297"/>
                  </a:lnTo>
                  <a:lnTo>
                    <a:pt x="413" y="243"/>
                  </a:lnTo>
                  <a:lnTo>
                    <a:pt x="479" y="195"/>
                  </a:lnTo>
                  <a:lnTo>
                    <a:pt x="547" y="152"/>
                  </a:lnTo>
                  <a:lnTo>
                    <a:pt x="619" y="113"/>
                  </a:lnTo>
                  <a:lnTo>
                    <a:pt x="694" y="79"/>
                  </a:lnTo>
                  <a:lnTo>
                    <a:pt x="771" y="52"/>
                  </a:lnTo>
                  <a:lnTo>
                    <a:pt x="851" y="30"/>
                  </a:lnTo>
                  <a:lnTo>
                    <a:pt x="933" y="13"/>
                  </a:lnTo>
                  <a:lnTo>
                    <a:pt x="1018" y="3"/>
                  </a:lnTo>
                  <a:lnTo>
                    <a:pt x="1104"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33" name="TextBox 332">
              <a:extLst>
                <a:ext uri="{FF2B5EF4-FFF2-40B4-BE49-F238E27FC236}">
                  <a16:creationId xmlns:a16="http://schemas.microsoft.com/office/drawing/2014/main" id="{6EF59BA8-7725-06EC-C0C5-EDBD09EC899C}"/>
                </a:ext>
              </a:extLst>
            </p:cNvPr>
            <p:cNvSpPr txBox="1"/>
            <p:nvPr/>
          </p:nvSpPr>
          <p:spPr>
            <a:xfrm>
              <a:off x="5834294" y="2862069"/>
              <a:ext cx="812300" cy="1920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C3C3B"/>
                  </a:solidFill>
                  <a:effectLst/>
                  <a:uLnTx/>
                  <a:uFillTx/>
                  <a:latin typeface="Lato"/>
                  <a:ea typeface="Lato"/>
                  <a:cs typeface="Lato"/>
                  <a:sym typeface="Lato" panose="020F0502020204030203" pitchFamily="34" charset="0"/>
                </a:rPr>
                <a:t>Stockholm</a:t>
              </a:r>
              <a:endParaRPr kumimoji="0" lang="en-GB" sz="12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10" name="Freeform 584">
              <a:extLst>
                <a:ext uri="{FF2B5EF4-FFF2-40B4-BE49-F238E27FC236}">
                  <a16:creationId xmlns:a16="http://schemas.microsoft.com/office/drawing/2014/main" id="{B0D4DD64-D18B-518A-1F2E-CECD6DA43E08}"/>
                </a:ext>
              </a:extLst>
            </p:cNvPr>
            <p:cNvSpPr>
              <a:spLocks noChangeAspect="1"/>
            </p:cNvSpPr>
            <p:nvPr/>
          </p:nvSpPr>
          <p:spPr bwMode="auto">
            <a:xfrm>
              <a:off x="3656430" y="2696868"/>
              <a:ext cx="142527" cy="223849"/>
            </a:xfrm>
            <a:custGeom>
              <a:avLst/>
              <a:gdLst>
                <a:gd name="T0" fmla="*/ 945 w 2208"/>
                <a:gd name="T1" fmla="*/ 627 h 3469"/>
                <a:gd name="T2" fmla="*/ 768 w 2208"/>
                <a:gd name="T3" fmla="*/ 731 h 3469"/>
                <a:gd name="T4" fmla="*/ 647 w 2208"/>
                <a:gd name="T5" fmla="*/ 896 h 3469"/>
                <a:gd name="T6" fmla="*/ 602 w 2208"/>
                <a:gd name="T7" fmla="*/ 1103 h 3469"/>
                <a:gd name="T8" fmla="*/ 647 w 2208"/>
                <a:gd name="T9" fmla="*/ 1311 h 3469"/>
                <a:gd name="T10" fmla="*/ 768 w 2208"/>
                <a:gd name="T11" fmla="*/ 1476 h 3469"/>
                <a:gd name="T12" fmla="*/ 945 w 2208"/>
                <a:gd name="T13" fmla="*/ 1580 h 3469"/>
                <a:gd name="T14" fmla="*/ 1159 w 2208"/>
                <a:gd name="T15" fmla="*/ 1603 h 3469"/>
                <a:gd name="T16" fmla="*/ 1356 w 2208"/>
                <a:gd name="T17" fmla="*/ 1537 h 3469"/>
                <a:gd name="T18" fmla="*/ 1508 w 2208"/>
                <a:gd name="T19" fmla="*/ 1400 h 3469"/>
                <a:gd name="T20" fmla="*/ 1593 w 2208"/>
                <a:gd name="T21" fmla="*/ 1211 h 3469"/>
                <a:gd name="T22" fmla="*/ 1593 w 2208"/>
                <a:gd name="T23" fmla="*/ 996 h 3469"/>
                <a:gd name="T24" fmla="*/ 1508 w 2208"/>
                <a:gd name="T25" fmla="*/ 807 h 3469"/>
                <a:gd name="T26" fmla="*/ 1356 w 2208"/>
                <a:gd name="T27" fmla="*/ 670 h 3469"/>
                <a:gd name="T28" fmla="*/ 1159 w 2208"/>
                <a:gd name="T29" fmla="*/ 604 h 3469"/>
                <a:gd name="T30" fmla="*/ 1274 w 2208"/>
                <a:gd name="T31" fmla="*/ 13 h 3469"/>
                <a:gd name="T32" fmla="*/ 1589 w 2208"/>
                <a:gd name="T33" fmla="*/ 113 h 3469"/>
                <a:gd name="T34" fmla="*/ 1855 w 2208"/>
                <a:gd name="T35" fmla="*/ 297 h 3469"/>
                <a:gd name="T36" fmla="*/ 2057 w 2208"/>
                <a:gd name="T37" fmla="*/ 549 h 3469"/>
                <a:gd name="T38" fmla="*/ 2179 w 2208"/>
                <a:gd name="T39" fmla="*/ 853 h 3469"/>
                <a:gd name="T40" fmla="*/ 2206 w 2208"/>
                <a:gd name="T41" fmla="*/ 1170 h 3469"/>
                <a:gd name="T42" fmla="*/ 2161 w 2208"/>
                <a:gd name="T43" fmla="*/ 1439 h 3469"/>
                <a:gd name="T44" fmla="*/ 2075 w 2208"/>
                <a:gd name="T45" fmla="*/ 1707 h 3469"/>
                <a:gd name="T46" fmla="*/ 1971 w 2208"/>
                <a:gd name="T47" fmla="*/ 1930 h 3469"/>
                <a:gd name="T48" fmla="*/ 1886 w 2208"/>
                <a:gd name="T49" fmla="*/ 2080 h 3469"/>
                <a:gd name="T50" fmla="*/ 1778 w 2208"/>
                <a:gd name="T51" fmla="*/ 2270 h 3469"/>
                <a:gd name="T52" fmla="*/ 1657 w 2208"/>
                <a:gd name="T53" fmla="*/ 2484 h 3469"/>
                <a:gd name="T54" fmla="*/ 1531 w 2208"/>
                <a:gd name="T55" fmla="*/ 2709 h 3469"/>
                <a:gd name="T56" fmla="*/ 1409 w 2208"/>
                <a:gd name="T57" fmla="*/ 2924 h 3469"/>
                <a:gd name="T58" fmla="*/ 1301 w 2208"/>
                <a:gd name="T59" fmla="*/ 3117 h 3469"/>
                <a:gd name="T60" fmla="*/ 1216 w 2208"/>
                <a:gd name="T61" fmla="*/ 3269 h 3469"/>
                <a:gd name="T62" fmla="*/ 1163 w 2208"/>
                <a:gd name="T63" fmla="*/ 3365 h 3469"/>
                <a:gd name="T64" fmla="*/ 1104 w 2208"/>
                <a:gd name="T65" fmla="*/ 3469 h 3469"/>
                <a:gd name="T66" fmla="*/ 1045 w 2208"/>
                <a:gd name="T67" fmla="*/ 3366 h 3469"/>
                <a:gd name="T68" fmla="*/ 993 w 2208"/>
                <a:gd name="T69" fmla="*/ 3272 h 3469"/>
                <a:gd name="T70" fmla="*/ 909 w 2208"/>
                <a:gd name="T71" fmla="*/ 3124 h 3469"/>
                <a:gd name="T72" fmla="*/ 803 w 2208"/>
                <a:gd name="T73" fmla="*/ 2936 h 3469"/>
                <a:gd name="T74" fmla="*/ 684 w 2208"/>
                <a:gd name="T75" fmla="*/ 2725 h 3469"/>
                <a:gd name="T76" fmla="*/ 561 w 2208"/>
                <a:gd name="T77" fmla="*/ 2507 h 3469"/>
                <a:gd name="T78" fmla="*/ 444 w 2208"/>
                <a:gd name="T79" fmla="*/ 2295 h 3469"/>
                <a:gd name="T80" fmla="*/ 340 w 2208"/>
                <a:gd name="T81" fmla="*/ 2108 h 3469"/>
                <a:gd name="T82" fmla="*/ 258 w 2208"/>
                <a:gd name="T83" fmla="*/ 1960 h 3469"/>
                <a:gd name="T84" fmla="*/ 157 w 2208"/>
                <a:gd name="T85" fmla="*/ 1752 h 3469"/>
                <a:gd name="T86" fmla="*/ 57 w 2208"/>
                <a:gd name="T87" fmla="*/ 1469 h 3469"/>
                <a:gd name="T88" fmla="*/ 2 w 2208"/>
                <a:gd name="T89" fmla="*/ 1177 h 3469"/>
                <a:gd name="T90" fmla="*/ 29 w 2208"/>
                <a:gd name="T91" fmla="*/ 853 h 3469"/>
                <a:gd name="T92" fmla="*/ 151 w 2208"/>
                <a:gd name="T93" fmla="*/ 549 h 3469"/>
                <a:gd name="T94" fmla="*/ 353 w 2208"/>
                <a:gd name="T95" fmla="*/ 297 h 3469"/>
                <a:gd name="T96" fmla="*/ 619 w 2208"/>
                <a:gd name="T97" fmla="*/ 113 h 3469"/>
                <a:gd name="T98" fmla="*/ 933 w 2208"/>
                <a:gd name="T99" fmla="*/ 13 h 3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08" h="3469">
                  <a:moveTo>
                    <a:pt x="1104" y="601"/>
                  </a:moveTo>
                  <a:lnTo>
                    <a:pt x="1049" y="604"/>
                  </a:lnTo>
                  <a:lnTo>
                    <a:pt x="996" y="612"/>
                  </a:lnTo>
                  <a:lnTo>
                    <a:pt x="945" y="627"/>
                  </a:lnTo>
                  <a:lnTo>
                    <a:pt x="897" y="646"/>
                  </a:lnTo>
                  <a:lnTo>
                    <a:pt x="851" y="670"/>
                  </a:lnTo>
                  <a:lnTo>
                    <a:pt x="808" y="699"/>
                  </a:lnTo>
                  <a:lnTo>
                    <a:pt x="768" y="731"/>
                  </a:lnTo>
                  <a:lnTo>
                    <a:pt x="732" y="767"/>
                  </a:lnTo>
                  <a:lnTo>
                    <a:pt x="700" y="807"/>
                  </a:lnTo>
                  <a:lnTo>
                    <a:pt x="672" y="850"/>
                  </a:lnTo>
                  <a:lnTo>
                    <a:pt x="647" y="896"/>
                  </a:lnTo>
                  <a:lnTo>
                    <a:pt x="629" y="945"/>
                  </a:lnTo>
                  <a:lnTo>
                    <a:pt x="614" y="996"/>
                  </a:lnTo>
                  <a:lnTo>
                    <a:pt x="605" y="1049"/>
                  </a:lnTo>
                  <a:lnTo>
                    <a:pt x="602" y="1103"/>
                  </a:lnTo>
                  <a:lnTo>
                    <a:pt x="605" y="1158"/>
                  </a:lnTo>
                  <a:lnTo>
                    <a:pt x="614" y="1211"/>
                  </a:lnTo>
                  <a:lnTo>
                    <a:pt x="629" y="1262"/>
                  </a:lnTo>
                  <a:lnTo>
                    <a:pt x="647" y="1311"/>
                  </a:lnTo>
                  <a:lnTo>
                    <a:pt x="672" y="1357"/>
                  </a:lnTo>
                  <a:lnTo>
                    <a:pt x="700" y="1400"/>
                  </a:lnTo>
                  <a:lnTo>
                    <a:pt x="732" y="1440"/>
                  </a:lnTo>
                  <a:lnTo>
                    <a:pt x="768" y="1476"/>
                  </a:lnTo>
                  <a:lnTo>
                    <a:pt x="808" y="1508"/>
                  </a:lnTo>
                  <a:lnTo>
                    <a:pt x="851" y="1537"/>
                  </a:lnTo>
                  <a:lnTo>
                    <a:pt x="897" y="1561"/>
                  </a:lnTo>
                  <a:lnTo>
                    <a:pt x="945" y="1580"/>
                  </a:lnTo>
                  <a:lnTo>
                    <a:pt x="996" y="1595"/>
                  </a:lnTo>
                  <a:lnTo>
                    <a:pt x="1049" y="1603"/>
                  </a:lnTo>
                  <a:lnTo>
                    <a:pt x="1104" y="1606"/>
                  </a:lnTo>
                  <a:lnTo>
                    <a:pt x="1159" y="1603"/>
                  </a:lnTo>
                  <a:lnTo>
                    <a:pt x="1211" y="1595"/>
                  </a:lnTo>
                  <a:lnTo>
                    <a:pt x="1261" y="1580"/>
                  </a:lnTo>
                  <a:lnTo>
                    <a:pt x="1311" y="1561"/>
                  </a:lnTo>
                  <a:lnTo>
                    <a:pt x="1356" y="1537"/>
                  </a:lnTo>
                  <a:lnTo>
                    <a:pt x="1399" y="1508"/>
                  </a:lnTo>
                  <a:lnTo>
                    <a:pt x="1439" y="1476"/>
                  </a:lnTo>
                  <a:lnTo>
                    <a:pt x="1475" y="1440"/>
                  </a:lnTo>
                  <a:lnTo>
                    <a:pt x="1508" y="1400"/>
                  </a:lnTo>
                  <a:lnTo>
                    <a:pt x="1536" y="1357"/>
                  </a:lnTo>
                  <a:lnTo>
                    <a:pt x="1560" y="1311"/>
                  </a:lnTo>
                  <a:lnTo>
                    <a:pt x="1579" y="1262"/>
                  </a:lnTo>
                  <a:lnTo>
                    <a:pt x="1593" y="1211"/>
                  </a:lnTo>
                  <a:lnTo>
                    <a:pt x="1601" y="1158"/>
                  </a:lnTo>
                  <a:lnTo>
                    <a:pt x="1605" y="1103"/>
                  </a:lnTo>
                  <a:lnTo>
                    <a:pt x="1601" y="1049"/>
                  </a:lnTo>
                  <a:lnTo>
                    <a:pt x="1593" y="996"/>
                  </a:lnTo>
                  <a:lnTo>
                    <a:pt x="1579" y="945"/>
                  </a:lnTo>
                  <a:lnTo>
                    <a:pt x="1560" y="896"/>
                  </a:lnTo>
                  <a:lnTo>
                    <a:pt x="1536" y="850"/>
                  </a:lnTo>
                  <a:lnTo>
                    <a:pt x="1508" y="807"/>
                  </a:lnTo>
                  <a:lnTo>
                    <a:pt x="1475" y="767"/>
                  </a:lnTo>
                  <a:lnTo>
                    <a:pt x="1439" y="731"/>
                  </a:lnTo>
                  <a:lnTo>
                    <a:pt x="1399" y="699"/>
                  </a:lnTo>
                  <a:lnTo>
                    <a:pt x="1356" y="670"/>
                  </a:lnTo>
                  <a:lnTo>
                    <a:pt x="1311" y="646"/>
                  </a:lnTo>
                  <a:lnTo>
                    <a:pt x="1261" y="627"/>
                  </a:lnTo>
                  <a:lnTo>
                    <a:pt x="1211" y="612"/>
                  </a:lnTo>
                  <a:lnTo>
                    <a:pt x="1159" y="604"/>
                  </a:lnTo>
                  <a:lnTo>
                    <a:pt x="1104" y="601"/>
                  </a:lnTo>
                  <a:close/>
                  <a:moveTo>
                    <a:pt x="1104" y="0"/>
                  </a:moveTo>
                  <a:lnTo>
                    <a:pt x="1190" y="3"/>
                  </a:lnTo>
                  <a:lnTo>
                    <a:pt x="1274" y="13"/>
                  </a:lnTo>
                  <a:lnTo>
                    <a:pt x="1357" y="30"/>
                  </a:lnTo>
                  <a:lnTo>
                    <a:pt x="1437" y="52"/>
                  </a:lnTo>
                  <a:lnTo>
                    <a:pt x="1514" y="79"/>
                  </a:lnTo>
                  <a:lnTo>
                    <a:pt x="1589" y="113"/>
                  </a:lnTo>
                  <a:lnTo>
                    <a:pt x="1660" y="152"/>
                  </a:lnTo>
                  <a:lnTo>
                    <a:pt x="1728" y="195"/>
                  </a:lnTo>
                  <a:lnTo>
                    <a:pt x="1793" y="243"/>
                  </a:lnTo>
                  <a:lnTo>
                    <a:pt x="1855" y="297"/>
                  </a:lnTo>
                  <a:lnTo>
                    <a:pt x="1912" y="354"/>
                  </a:lnTo>
                  <a:lnTo>
                    <a:pt x="1964" y="415"/>
                  </a:lnTo>
                  <a:lnTo>
                    <a:pt x="2013" y="480"/>
                  </a:lnTo>
                  <a:lnTo>
                    <a:pt x="2057" y="549"/>
                  </a:lnTo>
                  <a:lnTo>
                    <a:pt x="2096" y="621"/>
                  </a:lnTo>
                  <a:lnTo>
                    <a:pt x="2128" y="695"/>
                  </a:lnTo>
                  <a:lnTo>
                    <a:pt x="2156" y="773"/>
                  </a:lnTo>
                  <a:lnTo>
                    <a:pt x="2179" y="853"/>
                  </a:lnTo>
                  <a:lnTo>
                    <a:pt x="2194" y="936"/>
                  </a:lnTo>
                  <a:lnTo>
                    <a:pt x="2205" y="1020"/>
                  </a:lnTo>
                  <a:lnTo>
                    <a:pt x="2208" y="1107"/>
                  </a:lnTo>
                  <a:lnTo>
                    <a:pt x="2206" y="1170"/>
                  </a:lnTo>
                  <a:lnTo>
                    <a:pt x="2200" y="1235"/>
                  </a:lnTo>
                  <a:lnTo>
                    <a:pt x="2190" y="1301"/>
                  </a:lnTo>
                  <a:lnTo>
                    <a:pt x="2176" y="1370"/>
                  </a:lnTo>
                  <a:lnTo>
                    <a:pt x="2161" y="1439"/>
                  </a:lnTo>
                  <a:lnTo>
                    <a:pt x="2142" y="1507"/>
                  </a:lnTo>
                  <a:lnTo>
                    <a:pt x="2122" y="1576"/>
                  </a:lnTo>
                  <a:lnTo>
                    <a:pt x="2099" y="1642"/>
                  </a:lnTo>
                  <a:lnTo>
                    <a:pt x="2075" y="1707"/>
                  </a:lnTo>
                  <a:lnTo>
                    <a:pt x="2049" y="1768"/>
                  </a:lnTo>
                  <a:lnTo>
                    <a:pt x="2023" y="1827"/>
                  </a:lnTo>
                  <a:lnTo>
                    <a:pt x="1997" y="1881"/>
                  </a:lnTo>
                  <a:lnTo>
                    <a:pt x="1971" y="1930"/>
                  </a:lnTo>
                  <a:lnTo>
                    <a:pt x="1952" y="1963"/>
                  </a:lnTo>
                  <a:lnTo>
                    <a:pt x="1931" y="1999"/>
                  </a:lnTo>
                  <a:lnTo>
                    <a:pt x="1909" y="2037"/>
                  </a:lnTo>
                  <a:lnTo>
                    <a:pt x="1886" y="2080"/>
                  </a:lnTo>
                  <a:lnTo>
                    <a:pt x="1861" y="2124"/>
                  </a:lnTo>
                  <a:lnTo>
                    <a:pt x="1834" y="2170"/>
                  </a:lnTo>
                  <a:lnTo>
                    <a:pt x="1806" y="2219"/>
                  </a:lnTo>
                  <a:lnTo>
                    <a:pt x="1778" y="2270"/>
                  </a:lnTo>
                  <a:lnTo>
                    <a:pt x="1748" y="2321"/>
                  </a:lnTo>
                  <a:lnTo>
                    <a:pt x="1718" y="2375"/>
                  </a:lnTo>
                  <a:lnTo>
                    <a:pt x="1687" y="2430"/>
                  </a:lnTo>
                  <a:lnTo>
                    <a:pt x="1657" y="2484"/>
                  </a:lnTo>
                  <a:lnTo>
                    <a:pt x="1625" y="2540"/>
                  </a:lnTo>
                  <a:lnTo>
                    <a:pt x="1594" y="2596"/>
                  </a:lnTo>
                  <a:lnTo>
                    <a:pt x="1563" y="2653"/>
                  </a:lnTo>
                  <a:lnTo>
                    <a:pt x="1531" y="2709"/>
                  </a:lnTo>
                  <a:lnTo>
                    <a:pt x="1500" y="2763"/>
                  </a:lnTo>
                  <a:lnTo>
                    <a:pt x="1469" y="2818"/>
                  </a:lnTo>
                  <a:lnTo>
                    <a:pt x="1439" y="2872"/>
                  </a:lnTo>
                  <a:lnTo>
                    <a:pt x="1409" y="2924"/>
                  </a:lnTo>
                  <a:lnTo>
                    <a:pt x="1381" y="2976"/>
                  </a:lnTo>
                  <a:lnTo>
                    <a:pt x="1354" y="3024"/>
                  </a:lnTo>
                  <a:lnTo>
                    <a:pt x="1326" y="3071"/>
                  </a:lnTo>
                  <a:lnTo>
                    <a:pt x="1301" y="3117"/>
                  </a:lnTo>
                  <a:lnTo>
                    <a:pt x="1278" y="3159"/>
                  </a:lnTo>
                  <a:lnTo>
                    <a:pt x="1255" y="3199"/>
                  </a:lnTo>
                  <a:lnTo>
                    <a:pt x="1235" y="3235"/>
                  </a:lnTo>
                  <a:lnTo>
                    <a:pt x="1216" y="3269"/>
                  </a:lnTo>
                  <a:lnTo>
                    <a:pt x="1199" y="3299"/>
                  </a:lnTo>
                  <a:lnTo>
                    <a:pt x="1185" y="3325"/>
                  </a:lnTo>
                  <a:lnTo>
                    <a:pt x="1172" y="3347"/>
                  </a:lnTo>
                  <a:lnTo>
                    <a:pt x="1163" y="3365"/>
                  </a:lnTo>
                  <a:lnTo>
                    <a:pt x="1154" y="3379"/>
                  </a:lnTo>
                  <a:lnTo>
                    <a:pt x="1150" y="3387"/>
                  </a:lnTo>
                  <a:lnTo>
                    <a:pt x="1148" y="3390"/>
                  </a:lnTo>
                  <a:lnTo>
                    <a:pt x="1104" y="3469"/>
                  </a:lnTo>
                  <a:lnTo>
                    <a:pt x="1060" y="3390"/>
                  </a:lnTo>
                  <a:lnTo>
                    <a:pt x="1058" y="3387"/>
                  </a:lnTo>
                  <a:lnTo>
                    <a:pt x="1053" y="3379"/>
                  </a:lnTo>
                  <a:lnTo>
                    <a:pt x="1045" y="3366"/>
                  </a:lnTo>
                  <a:lnTo>
                    <a:pt x="1036" y="3348"/>
                  </a:lnTo>
                  <a:lnTo>
                    <a:pt x="1023" y="3327"/>
                  </a:lnTo>
                  <a:lnTo>
                    <a:pt x="1010" y="3302"/>
                  </a:lnTo>
                  <a:lnTo>
                    <a:pt x="993" y="3272"/>
                  </a:lnTo>
                  <a:lnTo>
                    <a:pt x="974" y="3240"/>
                  </a:lnTo>
                  <a:lnTo>
                    <a:pt x="954" y="3204"/>
                  </a:lnTo>
                  <a:lnTo>
                    <a:pt x="932" y="3165"/>
                  </a:lnTo>
                  <a:lnTo>
                    <a:pt x="909" y="3124"/>
                  </a:lnTo>
                  <a:lnTo>
                    <a:pt x="884" y="3080"/>
                  </a:lnTo>
                  <a:lnTo>
                    <a:pt x="858" y="3034"/>
                  </a:lnTo>
                  <a:lnTo>
                    <a:pt x="831" y="2986"/>
                  </a:lnTo>
                  <a:lnTo>
                    <a:pt x="803" y="2936"/>
                  </a:lnTo>
                  <a:lnTo>
                    <a:pt x="774" y="2885"/>
                  </a:lnTo>
                  <a:lnTo>
                    <a:pt x="745" y="2833"/>
                  </a:lnTo>
                  <a:lnTo>
                    <a:pt x="715" y="2779"/>
                  </a:lnTo>
                  <a:lnTo>
                    <a:pt x="684" y="2725"/>
                  </a:lnTo>
                  <a:lnTo>
                    <a:pt x="654" y="2671"/>
                  </a:lnTo>
                  <a:lnTo>
                    <a:pt x="623" y="2616"/>
                  </a:lnTo>
                  <a:lnTo>
                    <a:pt x="592" y="2561"/>
                  </a:lnTo>
                  <a:lnTo>
                    <a:pt x="561" y="2507"/>
                  </a:lnTo>
                  <a:lnTo>
                    <a:pt x="531" y="2452"/>
                  </a:lnTo>
                  <a:lnTo>
                    <a:pt x="502" y="2399"/>
                  </a:lnTo>
                  <a:lnTo>
                    <a:pt x="472" y="2347"/>
                  </a:lnTo>
                  <a:lnTo>
                    <a:pt x="444" y="2295"/>
                  </a:lnTo>
                  <a:lnTo>
                    <a:pt x="416" y="2246"/>
                  </a:lnTo>
                  <a:lnTo>
                    <a:pt x="389" y="2197"/>
                  </a:lnTo>
                  <a:lnTo>
                    <a:pt x="364" y="2151"/>
                  </a:lnTo>
                  <a:lnTo>
                    <a:pt x="340" y="2108"/>
                  </a:lnTo>
                  <a:lnTo>
                    <a:pt x="317" y="2066"/>
                  </a:lnTo>
                  <a:lnTo>
                    <a:pt x="296" y="2028"/>
                  </a:lnTo>
                  <a:lnTo>
                    <a:pt x="276" y="1992"/>
                  </a:lnTo>
                  <a:lnTo>
                    <a:pt x="258" y="1960"/>
                  </a:lnTo>
                  <a:lnTo>
                    <a:pt x="242" y="1930"/>
                  </a:lnTo>
                  <a:lnTo>
                    <a:pt x="214" y="1875"/>
                  </a:lnTo>
                  <a:lnTo>
                    <a:pt x="186" y="1816"/>
                  </a:lnTo>
                  <a:lnTo>
                    <a:pt x="157" y="1752"/>
                  </a:lnTo>
                  <a:lnTo>
                    <a:pt x="130" y="1685"/>
                  </a:lnTo>
                  <a:lnTo>
                    <a:pt x="104" y="1615"/>
                  </a:lnTo>
                  <a:lnTo>
                    <a:pt x="79" y="1543"/>
                  </a:lnTo>
                  <a:lnTo>
                    <a:pt x="57" y="1469"/>
                  </a:lnTo>
                  <a:lnTo>
                    <a:pt x="38" y="1396"/>
                  </a:lnTo>
                  <a:lnTo>
                    <a:pt x="22" y="1321"/>
                  </a:lnTo>
                  <a:lnTo>
                    <a:pt x="10" y="1249"/>
                  </a:lnTo>
                  <a:lnTo>
                    <a:pt x="2" y="1177"/>
                  </a:lnTo>
                  <a:lnTo>
                    <a:pt x="0" y="1107"/>
                  </a:lnTo>
                  <a:lnTo>
                    <a:pt x="3" y="1020"/>
                  </a:lnTo>
                  <a:lnTo>
                    <a:pt x="13" y="936"/>
                  </a:lnTo>
                  <a:lnTo>
                    <a:pt x="29" y="853"/>
                  </a:lnTo>
                  <a:lnTo>
                    <a:pt x="51" y="773"/>
                  </a:lnTo>
                  <a:lnTo>
                    <a:pt x="79" y="695"/>
                  </a:lnTo>
                  <a:lnTo>
                    <a:pt x="112" y="621"/>
                  </a:lnTo>
                  <a:lnTo>
                    <a:pt x="151" y="549"/>
                  </a:lnTo>
                  <a:lnTo>
                    <a:pt x="194" y="480"/>
                  </a:lnTo>
                  <a:lnTo>
                    <a:pt x="242" y="415"/>
                  </a:lnTo>
                  <a:lnTo>
                    <a:pt x="296" y="354"/>
                  </a:lnTo>
                  <a:lnTo>
                    <a:pt x="353" y="297"/>
                  </a:lnTo>
                  <a:lnTo>
                    <a:pt x="413" y="243"/>
                  </a:lnTo>
                  <a:lnTo>
                    <a:pt x="479" y="195"/>
                  </a:lnTo>
                  <a:lnTo>
                    <a:pt x="547" y="152"/>
                  </a:lnTo>
                  <a:lnTo>
                    <a:pt x="619" y="113"/>
                  </a:lnTo>
                  <a:lnTo>
                    <a:pt x="694" y="79"/>
                  </a:lnTo>
                  <a:lnTo>
                    <a:pt x="771" y="52"/>
                  </a:lnTo>
                  <a:lnTo>
                    <a:pt x="851" y="30"/>
                  </a:lnTo>
                  <a:lnTo>
                    <a:pt x="933" y="13"/>
                  </a:lnTo>
                  <a:lnTo>
                    <a:pt x="1018" y="3"/>
                  </a:lnTo>
                  <a:lnTo>
                    <a:pt x="1104" y="0"/>
                  </a:lnTo>
                  <a:close/>
                </a:path>
              </a:pathLst>
            </a:custGeom>
            <a:solidFill>
              <a:schemeClr val="tx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5" name="Freeform 584">
              <a:extLst>
                <a:ext uri="{FF2B5EF4-FFF2-40B4-BE49-F238E27FC236}">
                  <a16:creationId xmlns:a16="http://schemas.microsoft.com/office/drawing/2014/main" id="{77380379-E303-8E69-C8C3-4601A3899A43}"/>
                </a:ext>
              </a:extLst>
            </p:cNvPr>
            <p:cNvSpPr>
              <a:spLocks noChangeAspect="1"/>
            </p:cNvSpPr>
            <p:nvPr/>
          </p:nvSpPr>
          <p:spPr bwMode="auto">
            <a:xfrm>
              <a:off x="3600189" y="4632017"/>
              <a:ext cx="142527" cy="223849"/>
            </a:xfrm>
            <a:custGeom>
              <a:avLst/>
              <a:gdLst>
                <a:gd name="T0" fmla="*/ 945 w 2208"/>
                <a:gd name="T1" fmla="*/ 627 h 3469"/>
                <a:gd name="T2" fmla="*/ 768 w 2208"/>
                <a:gd name="T3" fmla="*/ 731 h 3469"/>
                <a:gd name="T4" fmla="*/ 647 w 2208"/>
                <a:gd name="T5" fmla="*/ 896 h 3469"/>
                <a:gd name="T6" fmla="*/ 602 w 2208"/>
                <a:gd name="T7" fmla="*/ 1103 h 3469"/>
                <a:gd name="T8" fmla="*/ 647 w 2208"/>
                <a:gd name="T9" fmla="*/ 1311 h 3469"/>
                <a:gd name="T10" fmla="*/ 768 w 2208"/>
                <a:gd name="T11" fmla="*/ 1476 h 3469"/>
                <a:gd name="T12" fmla="*/ 945 w 2208"/>
                <a:gd name="T13" fmla="*/ 1580 h 3469"/>
                <a:gd name="T14" fmla="*/ 1159 w 2208"/>
                <a:gd name="T15" fmla="*/ 1603 h 3469"/>
                <a:gd name="T16" fmla="*/ 1356 w 2208"/>
                <a:gd name="T17" fmla="*/ 1537 h 3469"/>
                <a:gd name="T18" fmla="*/ 1508 w 2208"/>
                <a:gd name="T19" fmla="*/ 1400 h 3469"/>
                <a:gd name="T20" fmla="*/ 1593 w 2208"/>
                <a:gd name="T21" fmla="*/ 1211 h 3469"/>
                <a:gd name="T22" fmla="*/ 1593 w 2208"/>
                <a:gd name="T23" fmla="*/ 996 h 3469"/>
                <a:gd name="T24" fmla="*/ 1508 w 2208"/>
                <a:gd name="T25" fmla="*/ 807 h 3469"/>
                <a:gd name="T26" fmla="*/ 1356 w 2208"/>
                <a:gd name="T27" fmla="*/ 670 h 3469"/>
                <a:gd name="T28" fmla="*/ 1159 w 2208"/>
                <a:gd name="T29" fmla="*/ 604 h 3469"/>
                <a:gd name="T30" fmla="*/ 1274 w 2208"/>
                <a:gd name="T31" fmla="*/ 13 h 3469"/>
                <a:gd name="T32" fmla="*/ 1589 w 2208"/>
                <a:gd name="T33" fmla="*/ 113 h 3469"/>
                <a:gd name="T34" fmla="*/ 1855 w 2208"/>
                <a:gd name="T35" fmla="*/ 297 h 3469"/>
                <a:gd name="T36" fmla="*/ 2057 w 2208"/>
                <a:gd name="T37" fmla="*/ 549 h 3469"/>
                <a:gd name="T38" fmla="*/ 2179 w 2208"/>
                <a:gd name="T39" fmla="*/ 853 h 3469"/>
                <a:gd name="T40" fmla="*/ 2206 w 2208"/>
                <a:gd name="T41" fmla="*/ 1170 h 3469"/>
                <a:gd name="T42" fmla="*/ 2161 w 2208"/>
                <a:gd name="T43" fmla="*/ 1439 h 3469"/>
                <a:gd name="T44" fmla="*/ 2075 w 2208"/>
                <a:gd name="T45" fmla="*/ 1707 h 3469"/>
                <a:gd name="T46" fmla="*/ 1971 w 2208"/>
                <a:gd name="T47" fmla="*/ 1930 h 3469"/>
                <a:gd name="T48" fmla="*/ 1886 w 2208"/>
                <a:gd name="T49" fmla="*/ 2080 h 3469"/>
                <a:gd name="T50" fmla="*/ 1778 w 2208"/>
                <a:gd name="T51" fmla="*/ 2270 h 3469"/>
                <a:gd name="T52" fmla="*/ 1657 w 2208"/>
                <a:gd name="T53" fmla="*/ 2484 h 3469"/>
                <a:gd name="T54" fmla="*/ 1531 w 2208"/>
                <a:gd name="T55" fmla="*/ 2709 h 3469"/>
                <a:gd name="T56" fmla="*/ 1409 w 2208"/>
                <a:gd name="T57" fmla="*/ 2924 h 3469"/>
                <a:gd name="T58" fmla="*/ 1301 w 2208"/>
                <a:gd name="T59" fmla="*/ 3117 h 3469"/>
                <a:gd name="T60" fmla="*/ 1216 w 2208"/>
                <a:gd name="T61" fmla="*/ 3269 h 3469"/>
                <a:gd name="T62" fmla="*/ 1163 w 2208"/>
                <a:gd name="T63" fmla="*/ 3365 h 3469"/>
                <a:gd name="T64" fmla="*/ 1104 w 2208"/>
                <a:gd name="T65" fmla="*/ 3469 h 3469"/>
                <a:gd name="T66" fmla="*/ 1045 w 2208"/>
                <a:gd name="T67" fmla="*/ 3366 h 3469"/>
                <a:gd name="T68" fmla="*/ 993 w 2208"/>
                <a:gd name="T69" fmla="*/ 3272 h 3469"/>
                <a:gd name="T70" fmla="*/ 909 w 2208"/>
                <a:gd name="T71" fmla="*/ 3124 h 3469"/>
                <a:gd name="T72" fmla="*/ 803 w 2208"/>
                <a:gd name="T73" fmla="*/ 2936 h 3469"/>
                <a:gd name="T74" fmla="*/ 684 w 2208"/>
                <a:gd name="T75" fmla="*/ 2725 h 3469"/>
                <a:gd name="T76" fmla="*/ 561 w 2208"/>
                <a:gd name="T77" fmla="*/ 2507 h 3469"/>
                <a:gd name="T78" fmla="*/ 444 w 2208"/>
                <a:gd name="T79" fmla="*/ 2295 h 3469"/>
                <a:gd name="T80" fmla="*/ 340 w 2208"/>
                <a:gd name="T81" fmla="*/ 2108 h 3469"/>
                <a:gd name="T82" fmla="*/ 258 w 2208"/>
                <a:gd name="T83" fmla="*/ 1960 h 3469"/>
                <a:gd name="T84" fmla="*/ 157 w 2208"/>
                <a:gd name="T85" fmla="*/ 1752 h 3469"/>
                <a:gd name="T86" fmla="*/ 57 w 2208"/>
                <a:gd name="T87" fmla="*/ 1469 h 3469"/>
                <a:gd name="T88" fmla="*/ 2 w 2208"/>
                <a:gd name="T89" fmla="*/ 1177 h 3469"/>
                <a:gd name="T90" fmla="*/ 29 w 2208"/>
                <a:gd name="T91" fmla="*/ 853 h 3469"/>
                <a:gd name="T92" fmla="*/ 151 w 2208"/>
                <a:gd name="T93" fmla="*/ 549 h 3469"/>
                <a:gd name="T94" fmla="*/ 353 w 2208"/>
                <a:gd name="T95" fmla="*/ 297 h 3469"/>
                <a:gd name="T96" fmla="*/ 619 w 2208"/>
                <a:gd name="T97" fmla="*/ 113 h 3469"/>
                <a:gd name="T98" fmla="*/ 933 w 2208"/>
                <a:gd name="T99" fmla="*/ 13 h 3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08" h="3469">
                  <a:moveTo>
                    <a:pt x="1104" y="601"/>
                  </a:moveTo>
                  <a:lnTo>
                    <a:pt x="1049" y="604"/>
                  </a:lnTo>
                  <a:lnTo>
                    <a:pt x="996" y="612"/>
                  </a:lnTo>
                  <a:lnTo>
                    <a:pt x="945" y="627"/>
                  </a:lnTo>
                  <a:lnTo>
                    <a:pt x="897" y="646"/>
                  </a:lnTo>
                  <a:lnTo>
                    <a:pt x="851" y="670"/>
                  </a:lnTo>
                  <a:lnTo>
                    <a:pt x="808" y="699"/>
                  </a:lnTo>
                  <a:lnTo>
                    <a:pt x="768" y="731"/>
                  </a:lnTo>
                  <a:lnTo>
                    <a:pt x="732" y="767"/>
                  </a:lnTo>
                  <a:lnTo>
                    <a:pt x="700" y="807"/>
                  </a:lnTo>
                  <a:lnTo>
                    <a:pt x="672" y="850"/>
                  </a:lnTo>
                  <a:lnTo>
                    <a:pt x="647" y="896"/>
                  </a:lnTo>
                  <a:lnTo>
                    <a:pt x="629" y="945"/>
                  </a:lnTo>
                  <a:lnTo>
                    <a:pt x="614" y="996"/>
                  </a:lnTo>
                  <a:lnTo>
                    <a:pt x="605" y="1049"/>
                  </a:lnTo>
                  <a:lnTo>
                    <a:pt x="602" y="1103"/>
                  </a:lnTo>
                  <a:lnTo>
                    <a:pt x="605" y="1158"/>
                  </a:lnTo>
                  <a:lnTo>
                    <a:pt x="614" y="1211"/>
                  </a:lnTo>
                  <a:lnTo>
                    <a:pt x="629" y="1262"/>
                  </a:lnTo>
                  <a:lnTo>
                    <a:pt x="647" y="1311"/>
                  </a:lnTo>
                  <a:lnTo>
                    <a:pt x="672" y="1357"/>
                  </a:lnTo>
                  <a:lnTo>
                    <a:pt x="700" y="1400"/>
                  </a:lnTo>
                  <a:lnTo>
                    <a:pt x="732" y="1440"/>
                  </a:lnTo>
                  <a:lnTo>
                    <a:pt x="768" y="1476"/>
                  </a:lnTo>
                  <a:lnTo>
                    <a:pt x="808" y="1508"/>
                  </a:lnTo>
                  <a:lnTo>
                    <a:pt x="851" y="1537"/>
                  </a:lnTo>
                  <a:lnTo>
                    <a:pt x="897" y="1561"/>
                  </a:lnTo>
                  <a:lnTo>
                    <a:pt x="945" y="1580"/>
                  </a:lnTo>
                  <a:lnTo>
                    <a:pt x="996" y="1595"/>
                  </a:lnTo>
                  <a:lnTo>
                    <a:pt x="1049" y="1603"/>
                  </a:lnTo>
                  <a:lnTo>
                    <a:pt x="1104" y="1606"/>
                  </a:lnTo>
                  <a:lnTo>
                    <a:pt x="1159" y="1603"/>
                  </a:lnTo>
                  <a:lnTo>
                    <a:pt x="1211" y="1595"/>
                  </a:lnTo>
                  <a:lnTo>
                    <a:pt x="1261" y="1580"/>
                  </a:lnTo>
                  <a:lnTo>
                    <a:pt x="1311" y="1561"/>
                  </a:lnTo>
                  <a:lnTo>
                    <a:pt x="1356" y="1537"/>
                  </a:lnTo>
                  <a:lnTo>
                    <a:pt x="1399" y="1508"/>
                  </a:lnTo>
                  <a:lnTo>
                    <a:pt x="1439" y="1476"/>
                  </a:lnTo>
                  <a:lnTo>
                    <a:pt x="1475" y="1440"/>
                  </a:lnTo>
                  <a:lnTo>
                    <a:pt x="1508" y="1400"/>
                  </a:lnTo>
                  <a:lnTo>
                    <a:pt x="1536" y="1357"/>
                  </a:lnTo>
                  <a:lnTo>
                    <a:pt x="1560" y="1311"/>
                  </a:lnTo>
                  <a:lnTo>
                    <a:pt x="1579" y="1262"/>
                  </a:lnTo>
                  <a:lnTo>
                    <a:pt x="1593" y="1211"/>
                  </a:lnTo>
                  <a:lnTo>
                    <a:pt x="1601" y="1158"/>
                  </a:lnTo>
                  <a:lnTo>
                    <a:pt x="1605" y="1103"/>
                  </a:lnTo>
                  <a:lnTo>
                    <a:pt x="1601" y="1049"/>
                  </a:lnTo>
                  <a:lnTo>
                    <a:pt x="1593" y="996"/>
                  </a:lnTo>
                  <a:lnTo>
                    <a:pt x="1579" y="945"/>
                  </a:lnTo>
                  <a:lnTo>
                    <a:pt x="1560" y="896"/>
                  </a:lnTo>
                  <a:lnTo>
                    <a:pt x="1536" y="850"/>
                  </a:lnTo>
                  <a:lnTo>
                    <a:pt x="1508" y="807"/>
                  </a:lnTo>
                  <a:lnTo>
                    <a:pt x="1475" y="767"/>
                  </a:lnTo>
                  <a:lnTo>
                    <a:pt x="1439" y="731"/>
                  </a:lnTo>
                  <a:lnTo>
                    <a:pt x="1399" y="699"/>
                  </a:lnTo>
                  <a:lnTo>
                    <a:pt x="1356" y="670"/>
                  </a:lnTo>
                  <a:lnTo>
                    <a:pt x="1311" y="646"/>
                  </a:lnTo>
                  <a:lnTo>
                    <a:pt x="1261" y="627"/>
                  </a:lnTo>
                  <a:lnTo>
                    <a:pt x="1211" y="612"/>
                  </a:lnTo>
                  <a:lnTo>
                    <a:pt x="1159" y="604"/>
                  </a:lnTo>
                  <a:lnTo>
                    <a:pt x="1104" y="601"/>
                  </a:lnTo>
                  <a:close/>
                  <a:moveTo>
                    <a:pt x="1104" y="0"/>
                  </a:moveTo>
                  <a:lnTo>
                    <a:pt x="1190" y="3"/>
                  </a:lnTo>
                  <a:lnTo>
                    <a:pt x="1274" y="13"/>
                  </a:lnTo>
                  <a:lnTo>
                    <a:pt x="1357" y="30"/>
                  </a:lnTo>
                  <a:lnTo>
                    <a:pt x="1437" y="52"/>
                  </a:lnTo>
                  <a:lnTo>
                    <a:pt x="1514" y="79"/>
                  </a:lnTo>
                  <a:lnTo>
                    <a:pt x="1589" y="113"/>
                  </a:lnTo>
                  <a:lnTo>
                    <a:pt x="1660" y="152"/>
                  </a:lnTo>
                  <a:lnTo>
                    <a:pt x="1728" y="195"/>
                  </a:lnTo>
                  <a:lnTo>
                    <a:pt x="1793" y="243"/>
                  </a:lnTo>
                  <a:lnTo>
                    <a:pt x="1855" y="297"/>
                  </a:lnTo>
                  <a:lnTo>
                    <a:pt x="1912" y="354"/>
                  </a:lnTo>
                  <a:lnTo>
                    <a:pt x="1964" y="415"/>
                  </a:lnTo>
                  <a:lnTo>
                    <a:pt x="2013" y="480"/>
                  </a:lnTo>
                  <a:lnTo>
                    <a:pt x="2057" y="549"/>
                  </a:lnTo>
                  <a:lnTo>
                    <a:pt x="2096" y="621"/>
                  </a:lnTo>
                  <a:lnTo>
                    <a:pt x="2128" y="695"/>
                  </a:lnTo>
                  <a:lnTo>
                    <a:pt x="2156" y="773"/>
                  </a:lnTo>
                  <a:lnTo>
                    <a:pt x="2179" y="853"/>
                  </a:lnTo>
                  <a:lnTo>
                    <a:pt x="2194" y="936"/>
                  </a:lnTo>
                  <a:lnTo>
                    <a:pt x="2205" y="1020"/>
                  </a:lnTo>
                  <a:lnTo>
                    <a:pt x="2208" y="1107"/>
                  </a:lnTo>
                  <a:lnTo>
                    <a:pt x="2206" y="1170"/>
                  </a:lnTo>
                  <a:lnTo>
                    <a:pt x="2200" y="1235"/>
                  </a:lnTo>
                  <a:lnTo>
                    <a:pt x="2190" y="1301"/>
                  </a:lnTo>
                  <a:lnTo>
                    <a:pt x="2176" y="1370"/>
                  </a:lnTo>
                  <a:lnTo>
                    <a:pt x="2161" y="1439"/>
                  </a:lnTo>
                  <a:lnTo>
                    <a:pt x="2142" y="1507"/>
                  </a:lnTo>
                  <a:lnTo>
                    <a:pt x="2122" y="1576"/>
                  </a:lnTo>
                  <a:lnTo>
                    <a:pt x="2099" y="1642"/>
                  </a:lnTo>
                  <a:lnTo>
                    <a:pt x="2075" y="1707"/>
                  </a:lnTo>
                  <a:lnTo>
                    <a:pt x="2049" y="1768"/>
                  </a:lnTo>
                  <a:lnTo>
                    <a:pt x="2023" y="1827"/>
                  </a:lnTo>
                  <a:lnTo>
                    <a:pt x="1997" y="1881"/>
                  </a:lnTo>
                  <a:lnTo>
                    <a:pt x="1971" y="1930"/>
                  </a:lnTo>
                  <a:lnTo>
                    <a:pt x="1952" y="1963"/>
                  </a:lnTo>
                  <a:lnTo>
                    <a:pt x="1931" y="1999"/>
                  </a:lnTo>
                  <a:lnTo>
                    <a:pt x="1909" y="2037"/>
                  </a:lnTo>
                  <a:lnTo>
                    <a:pt x="1886" y="2080"/>
                  </a:lnTo>
                  <a:lnTo>
                    <a:pt x="1861" y="2124"/>
                  </a:lnTo>
                  <a:lnTo>
                    <a:pt x="1834" y="2170"/>
                  </a:lnTo>
                  <a:lnTo>
                    <a:pt x="1806" y="2219"/>
                  </a:lnTo>
                  <a:lnTo>
                    <a:pt x="1778" y="2270"/>
                  </a:lnTo>
                  <a:lnTo>
                    <a:pt x="1748" y="2321"/>
                  </a:lnTo>
                  <a:lnTo>
                    <a:pt x="1718" y="2375"/>
                  </a:lnTo>
                  <a:lnTo>
                    <a:pt x="1687" y="2430"/>
                  </a:lnTo>
                  <a:lnTo>
                    <a:pt x="1657" y="2484"/>
                  </a:lnTo>
                  <a:lnTo>
                    <a:pt x="1625" y="2540"/>
                  </a:lnTo>
                  <a:lnTo>
                    <a:pt x="1594" y="2596"/>
                  </a:lnTo>
                  <a:lnTo>
                    <a:pt x="1563" y="2653"/>
                  </a:lnTo>
                  <a:lnTo>
                    <a:pt x="1531" y="2709"/>
                  </a:lnTo>
                  <a:lnTo>
                    <a:pt x="1500" y="2763"/>
                  </a:lnTo>
                  <a:lnTo>
                    <a:pt x="1469" y="2818"/>
                  </a:lnTo>
                  <a:lnTo>
                    <a:pt x="1439" y="2872"/>
                  </a:lnTo>
                  <a:lnTo>
                    <a:pt x="1409" y="2924"/>
                  </a:lnTo>
                  <a:lnTo>
                    <a:pt x="1381" y="2976"/>
                  </a:lnTo>
                  <a:lnTo>
                    <a:pt x="1354" y="3024"/>
                  </a:lnTo>
                  <a:lnTo>
                    <a:pt x="1326" y="3071"/>
                  </a:lnTo>
                  <a:lnTo>
                    <a:pt x="1301" y="3117"/>
                  </a:lnTo>
                  <a:lnTo>
                    <a:pt x="1278" y="3159"/>
                  </a:lnTo>
                  <a:lnTo>
                    <a:pt x="1255" y="3199"/>
                  </a:lnTo>
                  <a:lnTo>
                    <a:pt x="1235" y="3235"/>
                  </a:lnTo>
                  <a:lnTo>
                    <a:pt x="1216" y="3269"/>
                  </a:lnTo>
                  <a:lnTo>
                    <a:pt x="1199" y="3299"/>
                  </a:lnTo>
                  <a:lnTo>
                    <a:pt x="1185" y="3325"/>
                  </a:lnTo>
                  <a:lnTo>
                    <a:pt x="1172" y="3347"/>
                  </a:lnTo>
                  <a:lnTo>
                    <a:pt x="1163" y="3365"/>
                  </a:lnTo>
                  <a:lnTo>
                    <a:pt x="1154" y="3379"/>
                  </a:lnTo>
                  <a:lnTo>
                    <a:pt x="1150" y="3387"/>
                  </a:lnTo>
                  <a:lnTo>
                    <a:pt x="1148" y="3390"/>
                  </a:lnTo>
                  <a:lnTo>
                    <a:pt x="1104" y="3469"/>
                  </a:lnTo>
                  <a:lnTo>
                    <a:pt x="1060" y="3390"/>
                  </a:lnTo>
                  <a:lnTo>
                    <a:pt x="1058" y="3387"/>
                  </a:lnTo>
                  <a:lnTo>
                    <a:pt x="1053" y="3379"/>
                  </a:lnTo>
                  <a:lnTo>
                    <a:pt x="1045" y="3366"/>
                  </a:lnTo>
                  <a:lnTo>
                    <a:pt x="1036" y="3348"/>
                  </a:lnTo>
                  <a:lnTo>
                    <a:pt x="1023" y="3327"/>
                  </a:lnTo>
                  <a:lnTo>
                    <a:pt x="1010" y="3302"/>
                  </a:lnTo>
                  <a:lnTo>
                    <a:pt x="993" y="3272"/>
                  </a:lnTo>
                  <a:lnTo>
                    <a:pt x="974" y="3240"/>
                  </a:lnTo>
                  <a:lnTo>
                    <a:pt x="954" y="3204"/>
                  </a:lnTo>
                  <a:lnTo>
                    <a:pt x="932" y="3165"/>
                  </a:lnTo>
                  <a:lnTo>
                    <a:pt x="909" y="3124"/>
                  </a:lnTo>
                  <a:lnTo>
                    <a:pt x="884" y="3080"/>
                  </a:lnTo>
                  <a:lnTo>
                    <a:pt x="858" y="3034"/>
                  </a:lnTo>
                  <a:lnTo>
                    <a:pt x="831" y="2986"/>
                  </a:lnTo>
                  <a:lnTo>
                    <a:pt x="803" y="2936"/>
                  </a:lnTo>
                  <a:lnTo>
                    <a:pt x="774" y="2885"/>
                  </a:lnTo>
                  <a:lnTo>
                    <a:pt x="745" y="2833"/>
                  </a:lnTo>
                  <a:lnTo>
                    <a:pt x="715" y="2779"/>
                  </a:lnTo>
                  <a:lnTo>
                    <a:pt x="684" y="2725"/>
                  </a:lnTo>
                  <a:lnTo>
                    <a:pt x="654" y="2671"/>
                  </a:lnTo>
                  <a:lnTo>
                    <a:pt x="623" y="2616"/>
                  </a:lnTo>
                  <a:lnTo>
                    <a:pt x="592" y="2561"/>
                  </a:lnTo>
                  <a:lnTo>
                    <a:pt x="561" y="2507"/>
                  </a:lnTo>
                  <a:lnTo>
                    <a:pt x="531" y="2452"/>
                  </a:lnTo>
                  <a:lnTo>
                    <a:pt x="502" y="2399"/>
                  </a:lnTo>
                  <a:lnTo>
                    <a:pt x="472" y="2347"/>
                  </a:lnTo>
                  <a:lnTo>
                    <a:pt x="444" y="2295"/>
                  </a:lnTo>
                  <a:lnTo>
                    <a:pt x="416" y="2246"/>
                  </a:lnTo>
                  <a:lnTo>
                    <a:pt x="389" y="2197"/>
                  </a:lnTo>
                  <a:lnTo>
                    <a:pt x="364" y="2151"/>
                  </a:lnTo>
                  <a:lnTo>
                    <a:pt x="340" y="2108"/>
                  </a:lnTo>
                  <a:lnTo>
                    <a:pt x="317" y="2066"/>
                  </a:lnTo>
                  <a:lnTo>
                    <a:pt x="296" y="2028"/>
                  </a:lnTo>
                  <a:lnTo>
                    <a:pt x="276" y="1992"/>
                  </a:lnTo>
                  <a:lnTo>
                    <a:pt x="258" y="1960"/>
                  </a:lnTo>
                  <a:lnTo>
                    <a:pt x="242" y="1930"/>
                  </a:lnTo>
                  <a:lnTo>
                    <a:pt x="214" y="1875"/>
                  </a:lnTo>
                  <a:lnTo>
                    <a:pt x="186" y="1816"/>
                  </a:lnTo>
                  <a:lnTo>
                    <a:pt x="157" y="1752"/>
                  </a:lnTo>
                  <a:lnTo>
                    <a:pt x="130" y="1685"/>
                  </a:lnTo>
                  <a:lnTo>
                    <a:pt x="104" y="1615"/>
                  </a:lnTo>
                  <a:lnTo>
                    <a:pt x="79" y="1543"/>
                  </a:lnTo>
                  <a:lnTo>
                    <a:pt x="57" y="1469"/>
                  </a:lnTo>
                  <a:lnTo>
                    <a:pt x="38" y="1396"/>
                  </a:lnTo>
                  <a:lnTo>
                    <a:pt x="22" y="1321"/>
                  </a:lnTo>
                  <a:lnTo>
                    <a:pt x="10" y="1249"/>
                  </a:lnTo>
                  <a:lnTo>
                    <a:pt x="2" y="1177"/>
                  </a:lnTo>
                  <a:lnTo>
                    <a:pt x="0" y="1107"/>
                  </a:lnTo>
                  <a:lnTo>
                    <a:pt x="3" y="1020"/>
                  </a:lnTo>
                  <a:lnTo>
                    <a:pt x="13" y="936"/>
                  </a:lnTo>
                  <a:lnTo>
                    <a:pt x="29" y="853"/>
                  </a:lnTo>
                  <a:lnTo>
                    <a:pt x="51" y="773"/>
                  </a:lnTo>
                  <a:lnTo>
                    <a:pt x="79" y="695"/>
                  </a:lnTo>
                  <a:lnTo>
                    <a:pt x="112" y="621"/>
                  </a:lnTo>
                  <a:lnTo>
                    <a:pt x="151" y="549"/>
                  </a:lnTo>
                  <a:lnTo>
                    <a:pt x="194" y="480"/>
                  </a:lnTo>
                  <a:lnTo>
                    <a:pt x="242" y="415"/>
                  </a:lnTo>
                  <a:lnTo>
                    <a:pt x="296" y="354"/>
                  </a:lnTo>
                  <a:lnTo>
                    <a:pt x="353" y="297"/>
                  </a:lnTo>
                  <a:lnTo>
                    <a:pt x="413" y="243"/>
                  </a:lnTo>
                  <a:lnTo>
                    <a:pt x="479" y="195"/>
                  </a:lnTo>
                  <a:lnTo>
                    <a:pt x="547" y="152"/>
                  </a:lnTo>
                  <a:lnTo>
                    <a:pt x="619" y="113"/>
                  </a:lnTo>
                  <a:lnTo>
                    <a:pt x="694" y="79"/>
                  </a:lnTo>
                  <a:lnTo>
                    <a:pt x="771" y="52"/>
                  </a:lnTo>
                  <a:lnTo>
                    <a:pt x="851" y="30"/>
                  </a:lnTo>
                  <a:lnTo>
                    <a:pt x="933" y="13"/>
                  </a:lnTo>
                  <a:lnTo>
                    <a:pt x="1018" y="3"/>
                  </a:lnTo>
                  <a:lnTo>
                    <a:pt x="1104" y="0"/>
                  </a:lnTo>
                  <a:close/>
                </a:path>
              </a:pathLst>
            </a:custGeom>
            <a:solidFill>
              <a:schemeClr val="tx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6" name="Freeform 584">
              <a:extLst>
                <a:ext uri="{FF2B5EF4-FFF2-40B4-BE49-F238E27FC236}">
                  <a16:creationId xmlns:a16="http://schemas.microsoft.com/office/drawing/2014/main" id="{1FDCADF7-CB4A-4183-91FF-D527FE965595}"/>
                </a:ext>
              </a:extLst>
            </p:cNvPr>
            <p:cNvSpPr>
              <a:spLocks noChangeAspect="1"/>
            </p:cNvSpPr>
            <p:nvPr/>
          </p:nvSpPr>
          <p:spPr bwMode="auto">
            <a:xfrm>
              <a:off x="2729052" y="2200328"/>
              <a:ext cx="142527" cy="223850"/>
            </a:xfrm>
            <a:custGeom>
              <a:avLst/>
              <a:gdLst>
                <a:gd name="T0" fmla="*/ 945 w 2208"/>
                <a:gd name="T1" fmla="*/ 627 h 3469"/>
                <a:gd name="T2" fmla="*/ 768 w 2208"/>
                <a:gd name="T3" fmla="*/ 731 h 3469"/>
                <a:gd name="T4" fmla="*/ 647 w 2208"/>
                <a:gd name="T5" fmla="*/ 896 h 3469"/>
                <a:gd name="T6" fmla="*/ 602 w 2208"/>
                <a:gd name="T7" fmla="*/ 1103 h 3469"/>
                <a:gd name="T8" fmla="*/ 647 w 2208"/>
                <a:gd name="T9" fmla="*/ 1311 h 3469"/>
                <a:gd name="T10" fmla="*/ 768 w 2208"/>
                <a:gd name="T11" fmla="*/ 1476 h 3469"/>
                <a:gd name="T12" fmla="*/ 945 w 2208"/>
                <a:gd name="T13" fmla="*/ 1580 h 3469"/>
                <a:gd name="T14" fmla="*/ 1159 w 2208"/>
                <a:gd name="T15" fmla="*/ 1603 h 3469"/>
                <a:gd name="T16" fmla="*/ 1356 w 2208"/>
                <a:gd name="T17" fmla="*/ 1537 h 3469"/>
                <a:gd name="T18" fmla="*/ 1508 w 2208"/>
                <a:gd name="T19" fmla="*/ 1400 h 3469"/>
                <a:gd name="T20" fmla="*/ 1593 w 2208"/>
                <a:gd name="T21" fmla="*/ 1211 h 3469"/>
                <a:gd name="T22" fmla="*/ 1593 w 2208"/>
                <a:gd name="T23" fmla="*/ 996 h 3469"/>
                <a:gd name="T24" fmla="*/ 1508 w 2208"/>
                <a:gd name="T25" fmla="*/ 807 h 3469"/>
                <a:gd name="T26" fmla="*/ 1356 w 2208"/>
                <a:gd name="T27" fmla="*/ 670 h 3469"/>
                <a:gd name="T28" fmla="*/ 1159 w 2208"/>
                <a:gd name="T29" fmla="*/ 604 h 3469"/>
                <a:gd name="T30" fmla="*/ 1274 w 2208"/>
                <a:gd name="T31" fmla="*/ 13 h 3469"/>
                <a:gd name="T32" fmla="*/ 1589 w 2208"/>
                <a:gd name="T33" fmla="*/ 113 h 3469"/>
                <a:gd name="T34" fmla="*/ 1855 w 2208"/>
                <a:gd name="T35" fmla="*/ 297 h 3469"/>
                <a:gd name="T36" fmla="*/ 2057 w 2208"/>
                <a:gd name="T37" fmla="*/ 549 h 3469"/>
                <a:gd name="T38" fmla="*/ 2179 w 2208"/>
                <a:gd name="T39" fmla="*/ 853 h 3469"/>
                <a:gd name="T40" fmla="*/ 2206 w 2208"/>
                <a:gd name="T41" fmla="*/ 1170 h 3469"/>
                <a:gd name="T42" fmla="*/ 2161 w 2208"/>
                <a:gd name="T43" fmla="*/ 1439 h 3469"/>
                <a:gd name="T44" fmla="*/ 2075 w 2208"/>
                <a:gd name="T45" fmla="*/ 1707 h 3469"/>
                <a:gd name="T46" fmla="*/ 1971 w 2208"/>
                <a:gd name="T47" fmla="*/ 1930 h 3469"/>
                <a:gd name="T48" fmla="*/ 1886 w 2208"/>
                <a:gd name="T49" fmla="*/ 2080 h 3469"/>
                <a:gd name="T50" fmla="*/ 1778 w 2208"/>
                <a:gd name="T51" fmla="*/ 2270 h 3469"/>
                <a:gd name="T52" fmla="*/ 1657 w 2208"/>
                <a:gd name="T53" fmla="*/ 2484 h 3469"/>
                <a:gd name="T54" fmla="*/ 1531 w 2208"/>
                <a:gd name="T55" fmla="*/ 2709 h 3469"/>
                <a:gd name="T56" fmla="*/ 1409 w 2208"/>
                <a:gd name="T57" fmla="*/ 2924 h 3469"/>
                <a:gd name="T58" fmla="*/ 1301 w 2208"/>
                <a:gd name="T59" fmla="*/ 3117 h 3469"/>
                <a:gd name="T60" fmla="*/ 1216 w 2208"/>
                <a:gd name="T61" fmla="*/ 3269 h 3469"/>
                <a:gd name="T62" fmla="*/ 1163 w 2208"/>
                <a:gd name="T63" fmla="*/ 3365 h 3469"/>
                <a:gd name="T64" fmla="*/ 1104 w 2208"/>
                <a:gd name="T65" fmla="*/ 3469 h 3469"/>
                <a:gd name="T66" fmla="*/ 1045 w 2208"/>
                <a:gd name="T67" fmla="*/ 3366 h 3469"/>
                <a:gd name="T68" fmla="*/ 993 w 2208"/>
                <a:gd name="T69" fmla="*/ 3272 h 3469"/>
                <a:gd name="T70" fmla="*/ 909 w 2208"/>
                <a:gd name="T71" fmla="*/ 3124 h 3469"/>
                <a:gd name="T72" fmla="*/ 803 w 2208"/>
                <a:gd name="T73" fmla="*/ 2936 h 3469"/>
                <a:gd name="T74" fmla="*/ 684 w 2208"/>
                <a:gd name="T75" fmla="*/ 2725 h 3469"/>
                <a:gd name="T76" fmla="*/ 561 w 2208"/>
                <a:gd name="T77" fmla="*/ 2507 h 3469"/>
                <a:gd name="T78" fmla="*/ 444 w 2208"/>
                <a:gd name="T79" fmla="*/ 2295 h 3469"/>
                <a:gd name="T80" fmla="*/ 340 w 2208"/>
                <a:gd name="T81" fmla="*/ 2108 h 3469"/>
                <a:gd name="T82" fmla="*/ 258 w 2208"/>
                <a:gd name="T83" fmla="*/ 1960 h 3469"/>
                <a:gd name="T84" fmla="*/ 157 w 2208"/>
                <a:gd name="T85" fmla="*/ 1752 h 3469"/>
                <a:gd name="T86" fmla="*/ 57 w 2208"/>
                <a:gd name="T87" fmla="*/ 1469 h 3469"/>
                <a:gd name="T88" fmla="*/ 2 w 2208"/>
                <a:gd name="T89" fmla="*/ 1177 h 3469"/>
                <a:gd name="T90" fmla="*/ 29 w 2208"/>
                <a:gd name="T91" fmla="*/ 853 h 3469"/>
                <a:gd name="T92" fmla="*/ 151 w 2208"/>
                <a:gd name="T93" fmla="*/ 549 h 3469"/>
                <a:gd name="T94" fmla="*/ 353 w 2208"/>
                <a:gd name="T95" fmla="*/ 297 h 3469"/>
                <a:gd name="T96" fmla="*/ 619 w 2208"/>
                <a:gd name="T97" fmla="*/ 113 h 3469"/>
                <a:gd name="T98" fmla="*/ 933 w 2208"/>
                <a:gd name="T99" fmla="*/ 13 h 3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08" h="3469">
                  <a:moveTo>
                    <a:pt x="1104" y="601"/>
                  </a:moveTo>
                  <a:lnTo>
                    <a:pt x="1049" y="604"/>
                  </a:lnTo>
                  <a:lnTo>
                    <a:pt x="996" y="612"/>
                  </a:lnTo>
                  <a:lnTo>
                    <a:pt x="945" y="627"/>
                  </a:lnTo>
                  <a:lnTo>
                    <a:pt x="897" y="646"/>
                  </a:lnTo>
                  <a:lnTo>
                    <a:pt x="851" y="670"/>
                  </a:lnTo>
                  <a:lnTo>
                    <a:pt x="808" y="699"/>
                  </a:lnTo>
                  <a:lnTo>
                    <a:pt x="768" y="731"/>
                  </a:lnTo>
                  <a:lnTo>
                    <a:pt x="732" y="767"/>
                  </a:lnTo>
                  <a:lnTo>
                    <a:pt x="700" y="807"/>
                  </a:lnTo>
                  <a:lnTo>
                    <a:pt x="672" y="850"/>
                  </a:lnTo>
                  <a:lnTo>
                    <a:pt x="647" y="896"/>
                  </a:lnTo>
                  <a:lnTo>
                    <a:pt x="629" y="945"/>
                  </a:lnTo>
                  <a:lnTo>
                    <a:pt x="614" y="996"/>
                  </a:lnTo>
                  <a:lnTo>
                    <a:pt x="605" y="1049"/>
                  </a:lnTo>
                  <a:lnTo>
                    <a:pt x="602" y="1103"/>
                  </a:lnTo>
                  <a:lnTo>
                    <a:pt x="605" y="1158"/>
                  </a:lnTo>
                  <a:lnTo>
                    <a:pt x="614" y="1211"/>
                  </a:lnTo>
                  <a:lnTo>
                    <a:pt x="629" y="1262"/>
                  </a:lnTo>
                  <a:lnTo>
                    <a:pt x="647" y="1311"/>
                  </a:lnTo>
                  <a:lnTo>
                    <a:pt x="672" y="1357"/>
                  </a:lnTo>
                  <a:lnTo>
                    <a:pt x="700" y="1400"/>
                  </a:lnTo>
                  <a:lnTo>
                    <a:pt x="732" y="1440"/>
                  </a:lnTo>
                  <a:lnTo>
                    <a:pt x="768" y="1476"/>
                  </a:lnTo>
                  <a:lnTo>
                    <a:pt x="808" y="1508"/>
                  </a:lnTo>
                  <a:lnTo>
                    <a:pt x="851" y="1537"/>
                  </a:lnTo>
                  <a:lnTo>
                    <a:pt x="897" y="1561"/>
                  </a:lnTo>
                  <a:lnTo>
                    <a:pt x="945" y="1580"/>
                  </a:lnTo>
                  <a:lnTo>
                    <a:pt x="996" y="1595"/>
                  </a:lnTo>
                  <a:lnTo>
                    <a:pt x="1049" y="1603"/>
                  </a:lnTo>
                  <a:lnTo>
                    <a:pt x="1104" y="1606"/>
                  </a:lnTo>
                  <a:lnTo>
                    <a:pt x="1159" y="1603"/>
                  </a:lnTo>
                  <a:lnTo>
                    <a:pt x="1211" y="1595"/>
                  </a:lnTo>
                  <a:lnTo>
                    <a:pt x="1261" y="1580"/>
                  </a:lnTo>
                  <a:lnTo>
                    <a:pt x="1311" y="1561"/>
                  </a:lnTo>
                  <a:lnTo>
                    <a:pt x="1356" y="1537"/>
                  </a:lnTo>
                  <a:lnTo>
                    <a:pt x="1399" y="1508"/>
                  </a:lnTo>
                  <a:lnTo>
                    <a:pt x="1439" y="1476"/>
                  </a:lnTo>
                  <a:lnTo>
                    <a:pt x="1475" y="1440"/>
                  </a:lnTo>
                  <a:lnTo>
                    <a:pt x="1508" y="1400"/>
                  </a:lnTo>
                  <a:lnTo>
                    <a:pt x="1536" y="1357"/>
                  </a:lnTo>
                  <a:lnTo>
                    <a:pt x="1560" y="1311"/>
                  </a:lnTo>
                  <a:lnTo>
                    <a:pt x="1579" y="1262"/>
                  </a:lnTo>
                  <a:lnTo>
                    <a:pt x="1593" y="1211"/>
                  </a:lnTo>
                  <a:lnTo>
                    <a:pt x="1601" y="1158"/>
                  </a:lnTo>
                  <a:lnTo>
                    <a:pt x="1605" y="1103"/>
                  </a:lnTo>
                  <a:lnTo>
                    <a:pt x="1601" y="1049"/>
                  </a:lnTo>
                  <a:lnTo>
                    <a:pt x="1593" y="996"/>
                  </a:lnTo>
                  <a:lnTo>
                    <a:pt x="1579" y="945"/>
                  </a:lnTo>
                  <a:lnTo>
                    <a:pt x="1560" y="896"/>
                  </a:lnTo>
                  <a:lnTo>
                    <a:pt x="1536" y="850"/>
                  </a:lnTo>
                  <a:lnTo>
                    <a:pt x="1508" y="807"/>
                  </a:lnTo>
                  <a:lnTo>
                    <a:pt x="1475" y="767"/>
                  </a:lnTo>
                  <a:lnTo>
                    <a:pt x="1439" y="731"/>
                  </a:lnTo>
                  <a:lnTo>
                    <a:pt x="1399" y="699"/>
                  </a:lnTo>
                  <a:lnTo>
                    <a:pt x="1356" y="670"/>
                  </a:lnTo>
                  <a:lnTo>
                    <a:pt x="1311" y="646"/>
                  </a:lnTo>
                  <a:lnTo>
                    <a:pt x="1261" y="627"/>
                  </a:lnTo>
                  <a:lnTo>
                    <a:pt x="1211" y="612"/>
                  </a:lnTo>
                  <a:lnTo>
                    <a:pt x="1159" y="604"/>
                  </a:lnTo>
                  <a:lnTo>
                    <a:pt x="1104" y="601"/>
                  </a:lnTo>
                  <a:close/>
                  <a:moveTo>
                    <a:pt x="1104" y="0"/>
                  </a:moveTo>
                  <a:lnTo>
                    <a:pt x="1190" y="3"/>
                  </a:lnTo>
                  <a:lnTo>
                    <a:pt x="1274" y="13"/>
                  </a:lnTo>
                  <a:lnTo>
                    <a:pt x="1357" y="30"/>
                  </a:lnTo>
                  <a:lnTo>
                    <a:pt x="1437" y="52"/>
                  </a:lnTo>
                  <a:lnTo>
                    <a:pt x="1514" y="79"/>
                  </a:lnTo>
                  <a:lnTo>
                    <a:pt x="1589" y="113"/>
                  </a:lnTo>
                  <a:lnTo>
                    <a:pt x="1660" y="152"/>
                  </a:lnTo>
                  <a:lnTo>
                    <a:pt x="1728" y="195"/>
                  </a:lnTo>
                  <a:lnTo>
                    <a:pt x="1793" y="243"/>
                  </a:lnTo>
                  <a:lnTo>
                    <a:pt x="1855" y="297"/>
                  </a:lnTo>
                  <a:lnTo>
                    <a:pt x="1912" y="354"/>
                  </a:lnTo>
                  <a:lnTo>
                    <a:pt x="1964" y="415"/>
                  </a:lnTo>
                  <a:lnTo>
                    <a:pt x="2013" y="480"/>
                  </a:lnTo>
                  <a:lnTo>
                    <a:pt x="2057" y="549"/>
                  </a:lnTo>
                  <a:lnTo>
                    <a:pt x="2096" y="621"/>
                  </a:lnTo>
                  <a:lnTo>
                    <a:pt x="2128" y="695"/>
                  </a:lnTo>
                  <a:lnTo>
                    <a:pt x="2156" y="773"/>
                  </a:lnTo>
                  <a:lnTo>
                    <a:pt x="2179" y="853"/>
                  </a:lnTo>
                  <a:lnTo>
                    <a:pt x="2194" y="936"/>
                  </a:lnTo>
                  <a:lnTo>
                    <a:pt x="2205" y="1020"/>
                  </a:lnTo>
                  <a:lnTo>
                    <a:pt x="2208" y="1107"/>
                  </a:lnTo>
                  <a:lnTo>
                    <a:pt x="2206" y="1170"/>
                  </a:lnTo>
                  <a:lnTo>
                    <a:pt x="2200" y="1235"/>
                  </a:lnTo>
                  <a:lnTo>
                    <a:pt x="2190" y="1301"/>
                  </a:lnTo>
                  <a:lnTo>
                    <a:pt x="2176" y="1370"/>
                  </a:lnTo>
                  <a:lnTo>
                    <a:pt x="2161" y="1439"/>
                  </a:lnTo>
                  <a:lnTo>
                    <a:pt x="2142" y="1507"/>
                  </a:lnTo>
                  <a:lnTo>
                    <a:pt x="2122" y="1576"/>
                  </a:lnTo>
                  <a:lnTo>
                    <a:pt x="2099" y="1642"/>
                  </a:lnTo>
                  <a:lnTo>
                    <a:pt x="2075" y="1707"/>
                  </a:lnTo>
                  <a:lnTo>
                    <a:pt x="2049" y="1768"/>
                  </a:lnTo>
                  <a:lnTo>
                    <a:pt x="2023" y="1827"/>
                  </a:lnTo>
                  <a:lnTo>
                    <a:pt x="1997" y="1881"/>
                  </a:lnTo>
                  <a:lnTo>
                    <a:pt x="1971" y="1930"/>
                  </a:lnTo>
                  <a:lnTo>
                    <a:pt x="1952" y="1963"/>
                  </a:lnTo>
                  <a:lnTo>
                    <a:pt x="1931" y="1999"/>
                  </a:lnTo>
                  <a:lnTo>
                    <a:pt x="1909" y="2037"/>
                  </a:lnTo>
                  <a:lnTo>
                    <a:pt x="1886" y="2080"/>
                  </a:lnTo>
                  <a:lnTo>
                    <a:pt x="1861" y="2124"/>
                  </a:lnTo>
                  <a:lnTo>
                    <a:pt x="1834" y="2170"/>
                  </a:lnTo>
                  <a:lnTo>
                    <a:pt x="1806" y="2219"/>
                  </a:lnTo>
                  <a:lnTo>
                    <a:pt x="1778" y="2270"/>
                  </a:lnTo>
                  <a:lnTo>
                    <a:pt x="1748" y="2321"/>
                  </a:lnTo>
                  <a:lnTo>
                    <a:pt x="1718" y="2375"/>
                  </a:lnTo>
                  <a:lnTo>
                    <a:pt x="1687" y="2430"/>
                  </a:lnTo>
                  <a:lnTo>
                    <a:pt x="1657" y="2484"/>
                  </a:lnTo>
                  <a:lnTo>
                    <a:pt x="1625" y="2540"/>
                  </a:lnTo>
                  <a:lnTo>
                    <a:pt x="1594" y="2596"/>
                  </a:lnTo>
                  <a:lnTo>
                    <a:pt x="1563" y="2653"/>
                  </a:lnTo>
                  <a:lnTo>
                    <a:pt x="1531" y="2709"/>
                  </a:lnTo>
                  <a:lnTo>
                    <a:pt x="1500" y="2763"/>
                  </a:lnTo>
                  <a:lnTo>
                    <a:pt x="1469" y="2818"/>
                  </a:lnTo>
                  <a:lnTo>
                    <a:pt x="1439" y="2872"/>
                  </a:lnTo>
                  <a:lnTo>
                    <a:pt x="1409" y="2924"/>
                  </a:lnTo>
                  <a:lnTo>
                    <a:pt x="1381" y="2976"/>
                  </a:lnTo>
                  <a:lnTo>
                    <a:pt x="1354" y="3024"/>
                  </a:lnTo>
                  <a:lnTo>
                    <a:pt x="1326" y="3071"/>
                  </a:lnTo>
                  <a:lnTo>
                    <a:pt x="1301" y="3117"/>
                  </a:lnTo>
                  <a:lnTo>
                    <a:pt x="1278" y="3159"/>
                  </a:lnTo>
                  <a:lnTo>
                    <a:pt x="1255" y="3199"/>
                  </a:lnTo>
                  <a:lnTo>
                    <a:pt x="1235" y="3235"/>
                  </a:lnTo>
                  <a:lnTo>
                    <a:pt x="1216" y="3269"/>
                  </a:lnTo>
                  <a:lnTo>
                    <a:pt x="1199" y="3299"/>
                  </a:lnTo>
                  <a:lnTo>
                    <a:pt x="1185" y="3325"/>
                  </a:lnTo>
                  <a:lnTo>
                    <a:pt x="1172" y="3347"/>
                  </a:lnTo>
                  <a:lnTo>
                    <a:pt x="1163" y="3365"/>
                  </a:lnTo>
                  <a:lnTo>
                    <a:pt x="1154" y="3379"/>
                  </a:lnTo>
                  <a:lnTo>
                    <a:pt x="1150" y="3387"/>
                  </a:lnTo>
                  <a:lnTo>
                    <a:pt x="1148" y="3390"/>
                  </a:lnTo>
                  <a:lnTo>
                    <a:pt x="1104" y="3469"/>
                  </a:lnTo>
                  <a:lnTo>
                    <a:pt x="1060" y="3390"/>
                  </a:lnTo>
                  <a:lnTo>
                    <a:pt x="1058" y="3387"/>
                  </a:lnTo>
                  <a:lnTo>
                    <a:pt x="1053" y="3379"/>
                  </a:lnTo>
                  <a:lnTo>
                    <a:pt x="1045" y="3366"/>
                  </a:lnTo>
                  <a:lnTo>
                    <a:pt x="1036" y="3348"/>
                  </a:lnTo>
                  <a:lnTo>
                    <a:pt x="1023" y="3327"/>
                  </a:lnTo>
                  <a:lnTo>
                    <a:pt x="1010" y="3302"/>
                  </a:lnTo>
                  <a:lnTo>
                    <a:pt x="993" y="3272"/>
                  </a:lnTo>
                  <a:lnTo>
                    <a:pt x="974" y="3240"/>
                  </a:lnTo>
                  <a:lnTo>
                    <a:pt x="954" y="3204"/>
                  </a:lnTo>
                  <a:lnTo>
                    <a:pt x="932" y="3165"/>
                  </a:lnTo>
                  <a:lnTo>
                    <a:pt x="909" y="3124"/>
                  </a:lnTo>
                  <a:lnTo>
                    <a:pt x="884" y="3080"/>
                  </a:lnTo>
                  <a:lnTo>
                    <a:pt x="858" y="3034"/>
                  </a:lnTo>
                  <a:lnTo>
                    <a:pt x="831" y="2986"/>
                  </a:lnTo>
                  <a:lnTo>
                    <a:pt x="803" y="2936"/>
                  </a:lnTo>
                  <a:lnTo>
                    <a:pt x="774" y="2885"/>
                  </a:lnTo>
                  <a:lnTo>
                    <a:pt x="745" y="2833"/>
                  </a:lnTo>
                  <a:lnTo>
                    <a:pt x="715" y="2779"/>
                  </a:lnTo>
                  <a:lnTo>
                    <a:pt x="684" y="2725"/>
                  </a:lnTo>
                  <a:lnTo>
                    <a:pt x="654" y="2671"/>
                  </a:lnTo>
                  <a:lnTo>
                    <a:pt x="623" y="2616"/>
                  </a:lnTo>
                  <a:lnTo>
                    <a:pt x="592" y="2561"/>
                  </a:lnTo>
                  <a:lnTo>
                    <a:pt x="561" y="2507"/>
                  </a:lnTo>
                  <a:lnTo>
                    <a:pt x="531" y="2452"/>
                  </a:lnTo>
                  <a:lnTo>
                    <a:pt x="502" y="2399"/>
                  </a:lnTo>
                  <a:lnTo>
                    <a:pt x="472" y="2347"/>
                  </a:lnTo>
                  <a:lnTo>
                    <a:pt x="444" y="2295"/>
                  </a:lnTo>
                  <a:lnTo>
                    <a:pt x="416" y="2246"/>
                  </a:lnTo>
                  <a:lnTo>
                    <a:pt x="389" y="2197"/>
                  </a:lnTo>
                  <a:lnTo>
                    <a:pt x="364" y="2151"/>
                  </a:lnTo>
                  <a:lnTo>
                    <a:pt x="340" y="2108"/>
                  </a:lnTo>
                  <a:lnTo>
                    <a:pt x="317" y="2066"/>
                  </a:lnTo>
                  <a:lnTo>
                    <a:pt x="296" y="2028"/>
                  </a:lnTo>
                  <a:lnTo>
                    <a:pt x="276" y="1992"/>
                  </a:lnTo>
                  <a:lnTo>
                    <a:pt x="258" y="1960"/>
                  </a:lnTo>
                  <a:lnTo>
                    <a:pt x="242" y="1930"/>
                  </a:lnTo>
                  <a:lnTo>
                    <a:pt x="214" y="1875"/>
                  </a:lnTo>
                  <a:lnTo>
                    <a:pt x="186" y="1816"/>
                  </a:lnTo>
                  <a:lnTo>
                    <a:pt x="157" y="1752"/>
                  </a:lnTo>
                  <a:lnTo>
                    <a:pt x="130" y="1685"/>
                  </a:lnTo>
                  <a:lnTo>
                    <a:pt x="104" y="1615"/>
                  </a:lnTo>
                  <a:lnTo>
                    <a:pt x="79" y="1543"/>
                  </a:lnTo>
                  <a:lnTo>
                    <a:pt x="57" y="1469"/>
                  </a:lnTo>
                  <a:lnTo>
                    <a:pt x="38" y="1396"/>
                  </a:lnTo>
                  <a:lnTo>
                    <a:pt x="22" y="1321"/>
                  </a:lnTo>
                  <a:lnTo>
                    <a:pt x="10" y="1249"/>
                  </a:lnTo>
                  <a:lnTo>
                    <a:pt x="2" y="1177"/>
                  </a:lnTo>
                  <a:lnTo>
                    <a:pt x="0" y="1107"/>
                  </a:lnTo>
                  <a:lnTo>
                    <a:pt x="3" y="1020"/>
                  </a:lnTo>
                  <a:lnTo>
                    <a:pt x="13" y="936"/>
                  </a:lnTo>
                  <a:lnTo>
                    <a:pt x="29" y="853"/>
                  </a:lnTo>
                  <a:lnTo>
                    <a:pt x="51" y="773"/>
                  </a:lnTo>
                  <a:lnTo>
                    <a:pt x="79" y="695"/>
                  </a:lnTo>
                  <a:lnTo>
                    <a:pt x="112" y="621"/>
                  </a:lnTo>
                  <a:lnTo>
                    <a:pt x="151" y="549"/>
                  </a:lnTo>
                  <a:lnTo>
                    <a:pt x="194" y="480"/>
                  </a:lnTo>
                  <a:lnTo>
                    <a:pt x="242" y="415"/>
                  </a:lnTo>
                  <a:lnTo>
                    <a:pt x="296" y="354"/>
                  </a:lnTo>
                  <a:lnTo>
                    <a:pt x="353" y="297"/>
                  </a:lnTo>
                  <a:lnTo>
                    <a:pt x="413" y="243"/>
                  </a:lnTo>
                  <a:lnTo>
                    <a:pt x="479" y="195"/>
                  </a:lnTo>
                  <a:lnTo>
                    <a:pt x="547" y="152"/>
                  </a:lnTo>
                  <a:lnTo>
                    <a:pt x="619" y="113"/>
                  </a:lnTo>
                  <a:lnTo>
                    <a:pt x="694" y="79"/>
                  </a:lnTo>
                  <a:lnTo>
                    <a:pt x="771" y="52"/>
                  </a:lnTo>
                  <a:lnTo>
                    <a:pt x="851" y="30"/>
                  </a:lnTo>
                  <a:lnTo>
                    <a:pt x="933" y="13"/>
                  </a:lnTo>
                  <a:lnTo>
                    <a:pt x="1018" y="3"/>
                  </a:lnTo>
                  <a:lnTo>
                    <a:pt x="1104" y="0"/>
                  </a:lnTo>
                  <a:close/>
                </a:path>
              </a:pathLst>
            </a:custGeom>
            <a:solidFill>
              <a:schemeClr val="tx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8" name="Freeform 584">
              <a:extLst>
                <a:ext uri="{FF2B5EF4-FFF2-40B4-BE49-F238E27FC236}">
                  <a16:creationId xmlns:a16="http://schemas.microsoft.com/office/drawing/2014/main" id="{408BA5AB-E4A4-D51D-FF18-938886D22936}"/>
                </a:ext>
              </a:extLst>
            </p:cNvPr>
            <p:cNvSpPr>
              <a:spLocks noChangeAspect="1"/>
            </p:cNvSpPr>
            <p:nvPr/>
          </p:nvSpPr>
          <p:spPr bwMode="auto">
            <a:xfrm>
              <a:off x="9523378" y="5664548"/>
              <a:ext cx="142527" cy="223849"/>
            </a:xfrm>
            <a:custGeom>
              <a:avLst/>
              <a:gdLst>
                <a:gd name="T0" fmla="*/ 945 w 2208"/>
                <a:gd name="T1" fmla="*/ 627 h 3469"/>
                <a:gd name="T2" fmla="*/ 768 w 2208"/>
                <a:gd name="T3" fmla="*/ 731 h 3469"/>
                <a:gd name="T4" fmla="*/ 647 w 2208"/>
                <a:gd name="T5" fmla="*/ 896 h 3469"/>
                <a:gd name="T6" fmla="*/ 602 w 2208"/>
                <a:gd name="T7" fmla="*/ 1103 h 3469"/>
                <a:gd name="T8" fmla="*/ 647 w 2208"/>
                <a:gd name="T9" fmla="*/ 1311 h 3469"/>
                <a:gd name="T10" fmla="*/ 768 w 2208"/>
                <a:gd name="T11" fmla="*/ 1476 h 3469"/>
                <a:gd name="T12" fmla="*/ 945 w 2208"/>
                <a:gd name="T13" fmla="*/ 1580 h 3469"/>
                <a:gd name="T14" fmla="*/ 1159 w 2208"/>
                <a:gd name="T15" fmla="*/ 1603 h 3469"/>
                <a:gd name="T16" fmla="*/ 1356 w 2208"/>
                <a:gd name="T17" fmla="*/ 1537 h 3469"/>
                <a:gd name="T18" fmla="*/ 1508 w 2208"/>
                <a:gd name="T19" fmla="*/ 1400 h 3469"/>
                <a:gd name="T20" fmla="*/ 1593 w 2208"/>
                <a:gd name="T21" fmla="*/ 1211 h 3469"/>
                <a:gd name="T22" fmla="*/ 1593 w 2208"/>
                <a:gd name="T23" fmla="*/ 996 h 3469"/>
                <a:gd name="T24" fmla="*/ 1508 w 2208"/>
                <a:gd name="T25" fmla="*/ 807 h 3469"/>
                <a:gd name="T26" fmla="*/ 1356 w 2208"/>
                <a:gd name="T27" fmla="*/ 670 h 3469"/>
                <a:gd name="T28" fmla="*/ 1159 w 2208"/>
                <a:gd name="T29" fmla="*/ 604 h 3469"/>
                <a:gd name="T30" fmla="*/ 1274 w 2208"/>
                <a:gd name="T31" fmla="*/ 13 h 3469"/>
                <a:gd name="T32" fmla="*/ 1589 w 2208"/>
                <a:gd name="T33" fmla="*/ 113 h 3469"/>
                <a:gd name="T34" fmla="*/ 1855 w 2208"/>
                <a:gd name="T35" fmla="*/ 297 h 3469"/>
                <a:gd name="T36" fmla="*/ 2057 w 2208"/>
                <a:gd name="T37" fmla="*/ 549 h 3469"/>
                <a:gd name="T38" fmla="*/ 2179 w 2208"/>
                <a:gd name="T39" fmla="*/ 853 h 3469"/>
                <a:gd name="T40" fmla="*/ 2206 w 2208"/>
                <a:gd name="T41" fmla="*/ 1170 h 3469"/>
                <a:gd name="T42" fmla="*/ 2161 w 2208"/>
                <a:gd name="T43" fmla="*/ 1439 h 3469"/>
                <a:gd name="T44" fmla="*/ 2075 w 2208"/>
                <a:gd name="T45" fmla="*/ 1707 h 3469"/>
                <a:gd name="T46" fmla="*/ 1971 w 2208"/>
                <a:gd name="T47" fmla="*/ 1930 h 3469"/>
                <a:gd name="T48" fmla="*/ 1886 w 2208"/>
                <a:gd name="T49" fmla="*/ 2080 h 3469"/>
                <a:gd name="T50" fmla="*/ 1778 w 2208"/>
                <a:gd name="T51" fmla="*/ 2270 h 3469"/>
                <a:gd name="T52" fmla="*/ 1657 w 2208"/>
                <a:gd name="T53" fmla="*/ 2484 h 3469"/>
                <a:gd name="T54" fmla="*/ 1531 w 2208"/>
                <a:gd name="T55" fmla="*/ 2709 h 3469"/>
                <a:gd name="T56" fmla="*/ 1409 w 2208"/>
                <a:gd name="T57" fmla="*/ 2924 h 3469"/>
                <a:gd name="T58" fmla="*/ 1301 w 2208"/>
                <a:gd name="T59" fmla="*/ 3117 h 3469"/>
                <a:gd name="T60" fmla="*/ 1216 w 2208"/>
                <a:gd name="T61" fmla="*/ 3269 h 3469"/>
                <a:gd name="T62" fmla="*/ 1163 w 2208"/>
                <a:gd name="T63" fmla="*/ 3365 h 3469"/>
                <a:gd name="T64" fmla="*/ 1104 w 2208"/>
                <a:gd name="T65" fmla="*/ 3469 h 3469"/>
                <a:gd name="T66" fmla="*/ 1045 w 2208"/>
                <a:gd name="T67" fmla="*/ 3366 h 3469"/>
                <a:gd name="T68" fmla="*/ 993 w 2208"/>
                <a:gd name="T69" fmla="*/ 3272 h 3469"/>
                <a:gd name="T70" fmla="*/ 909 w 2208"/>
                <a:gd name="T71" fmla="*/ 3124 h 3469"/>
                <a:gd name="T72" fmla="*/ 803 w 2208"/>
                <a:gd name="T73" fmla="*/ 2936 h 3469"/>
                <a:gd name="T74" fmla="*/ 684 w 2208"/>
                <a:gd name="T75" fmla="*/ 2725 h 3469"/>
                <a:gd name="T76" fmla="*/ 561 w 2208"/>
                <a:gd name="T77" fmla="*/ 2507 h 3469"/>
                <a:gd name="T78" fmla="*/ 444 w 2208"/>
                <a:gd name="T79" fmla="*/ 2295 h 3469"/>
                <a:gd name="T80" fmla="*/ 340 w 2208"/>
                <a:gd name="T81" fmla="*/ 2108 h 3469"/>
                <a:gd name="T82" fmla="*/ 258 w 2208"/>
                <a:gd name="T83" fmla="*/ 1960 h 3469"/>
                <a:gd name="T84" fmla="*/ 157 w 2208"/>
                <a:gd name="T85" fmla="*/ 1752 h 3469"/>
                <a:gd name="T86" fmla="*/ 57 w 2208"/>
                <a:gd name="T87" fmla="*/ 1469 h 3469"/>
                <a:gd name="T88" fmla="*/ 2 w 2208"/>
                <a:gd name="T89" fmla="*/ 1177 h 3469"/>
                <a:gd name="T90" fmla="*/ 29 w 2208"/>
                <a:gd name="T91" fmla="*/ 853 h 3469"/>
                <a:gd name="T92" fmla="*/ 151 w 2208"/>
                <a:gd name="T93" fmla="*/ 549 h 3469"/>
                <a:gd name="T94" fmla="*/ 353 w 2208"/>
                <a:gd name="T95" fmla="*/ 297 h 3469"/>
                <a:gd name="T96" fmla="*/ 619 w 2208"/>
                <a:gd name="T97" fmla="*/ 113 h 3469"/>
                <a:gd name="T98" fmla="*/ 933 w 2208"/>
                <a:gd name="T99" fmla="*/ 13 h 3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08" h="3469">
                  <a:moveTo>
                    <a:pt x="1104" y="601"/>
                  </a:moveTo>
                  <a:lnTo>
                    <a:pt x="1049" y="604"/>
                  </a:lnTo>
                  <a:lnTo>
                    <a:pt x="996" y="612"/>
                  </a:lnTo>
                  <a:lnTo>
                    <a:pt x="945" y="627"/>
                  </a:lnTo>
                  <a:lnTo>
                    <a:pt x="897" y="646"/>
                  </a:lnTo>
                  <a:lnTo>
                    <a:pt x="851" y="670"/>
                  </a:lnTo>
                  <a:lnTo>
                    <a:pt x="808" y="699"/>
                  </a:lnTo>
                  <a:lnTo>
                    <a:pt x="768" y="731"/>
                  </a:lnTo>
                  <a:lnTo>
                    <a:pt x="732" y="767"/>
                  </a:lnTo>
                  <a:lnTo>
                    <a:pt x="700" y="807"/>
                  </a:lnTo>
                  <a:lnTo>
                    <a:pt x="672" y="850"/>
                  </a:lnTo>
                  <a:lnTo>
                    <a:pt x="647" y="896"/>
                  </a:lnTo>
                  <a:lnTo>
                    <a:pt x="629" y="945"/>
                  </a:lnTo>
                  <a:lnTo>
                    <a:pt x="614" y="996"/>
                  </a:lnTo>
                  <a:lnTo>
                    <a:pt x="605" y="1049"/>
                  </a:lnTo>
                  <a:lnTo>
                    <a:pt x="602" y="1103"/>
                  </a:lnTo>
                  <a:lnTo>
                    <a:pt x="605" y="1158"/>
                  </a:lnTo>
                  <a:lnTo>
                    <a:pt x="614" y="1211"/>
                  </a:lnTo>
                  <a:lnTo>
                    <a:pt x="629" y="1262"/>
                  </a:lnTo>
                  <a:lnTo>
                    <a:pt x="647" y="1311"/>
                  </a:lnTo>
                  <a:lnTo>
                    <a:pt x="672" y="1357"/>
                  </a:lnTo>
                  <a:lnTo>
                    <a:pt x="700" y="1400"/>
                  </a:lnTo>
                  <a:lnTo>
                    <a:pt x="732" y="1440"/>
                  </a:lnTo>
                  <a:lnTo>
                    <a:pt x="768" y="1476"/>
                  </a:lnTo>
                  <a:lnTo>
                    <a:pt x="808" y="1508"/>
                  </a:lnTo>
                  <a:lnTo>
                    <a:pt x="851" y="1537"/>
                  </a:lnTo>
                  <a:lnTo>
                    <a:pt x="897" y="1561"/>
                  </a:lnTo>
                  <a:lnTo>
                    <a:pt x="945" y="1580"/>
                  </a:lnTo>
                  <a:lnTo>
                    <a:pt x="996" y="1595"/>
                  </a:lnTo>
                  <a:lnTo>
                    <a:pt x="1049" y="1603"/>
                  </a:lnTo>
                  <a:lnTo>
                    <a:pt x="1104" y="1606"/>
                  </a:lnTo>
                  <a:lnTo>
                    <a:pt x="1159" y="1603"/>
                  </a:lnTo>
                  <a:lnTo>
                    <a:pt x="1211" y="1595"/>
                  </a:lnTo>
                  <a:lnTo>
                    <a:pt x="1261" y="1580"/>
                  </a:lnTo>
                  <a:lnTo>
                    <a:pt x="1311" y="1561"/>
                  </a:lnTo>
                  <a:lnTo>
                    <a:pt x="1356" y="1537"/>
                  </a:lnTo>
                  <a:lnTo>
                    <a:pt x="1399" y="1508"/>
                  </a:lnTo>
                  <a:lnTo>
                    <a:pt x="1439" y="1476"/>
                  </a:lnTo>
                  <a:lnTo>
                    <a:pt x="1475" y="1440"/>
                  </a:lnTo>
                  <a:lnTo>
                    <a:pt x="1508" y="1400"/>
                  </a:lnTo>
                  <a:lnTo>
                    <a:pt x="1536" y="1357"/>
                  </a:lnTo>
                  <a:lnTo>
                    <a:pt x="1560" y="1311"/>
                  </a:lnTo>
                  <a:lnTo>
                    <a:pt x="1579" y="1262"/>
                  </a:lnTo>
                  <a:lnTo>
                    <a:pt x="1593" y="1211"/>
                  </a:lnTo>
                  <a:lnTo>
                    <a:pt x="1601" y="1158"/>
                  </a:lnTo>
                  <a:lnTo>
                    <a:pt x="1605" y="1103"/>
                  </a:lnTo>
                  <a:lnTo>
                    <a:pt x="1601" y="1049"/>
                  </a:lnTo>
                  <a:lnTo>
                    <a:pt x="1593" y="996"/>
                  </a:lnTo>
                  <a:lnTo>
                    <a:pt x="1579" y="945"/>
                  </a:lnTo>
                  <a:lnTo>
                    <a:pt x="1560" y="896"/>
                  </a:lnTo>
                  <a:lnTo>
                    <a:pt x="1536" y="850"/>
                  </a:lnTo>
                  <a:lnTo>
                    <a:pt x="1508" y="807"/>
                  </a:lnTo>
                  <a:lnTo>
                    <a:pt x="1475" y="767"/>
                  </a:lnTo>
                  <a:lnTo>
                    <a:pt x="1439" y="731"/>
                  </a:lnTo>
                  <a:lnTo>
                    <a:pt x="1399" y="699"/>
                  </a:lnTo>
                  <a:lnTo>
                    <a:pt x="1356" y="670"/>
                  </a:lnTo>
                  <a:lnTo>
                    <a:pt x="1311" y="646"/>
                  </a:lnTo>
                  <a:lnTo>
                    <a:pt x="1261" y="627"/>
                  </a:lnTo>
                  <a:lnTo>
                    <a:pt x="1211" y="612"/>
                  </a:lnTo>
                  <a:lnTo>
                    <a:pt x="1159" y="604"/>
                  </a:lnTo>
                  <a:lnTo>
                    <a:pt x="1104" y="601"/>
                  </a:lnTo>
                  <a:close/>
                  <a:moveTo>
                    <a:pt x="1104" y="0"/>
                  </a:moveTo>
                  <a:lnTo>
                    <a:pt x="1190" y="3"/>
                  </a:lnTo>
                  <a:lnTo>
                    <a:pt x="1274" y="13"/>
                  </a:lnTo>
                  <a:lnTo>
                    <a:pt x="1357" y="30"/>
                  </a:lnTo>
                  <a:lnTo>
                    <a:pt x="1437" y="52"/>
                  </a:lnTo>
                  <a:lnTo>
                    <a:pt x="1514" y="79"/>
                  </a:lnTo>
                  <a:lnTo>
                    <a:pt x="1589" y="113"/>
                  </a:lnTo>
                  <a:lnTo>
                    <a:pt x="1660" y="152"/>
                  </a:lnTo>
                  <a:lnTo>
                    <a:pt x="1728" y="195"/>
                  </a:lnTo>
                  <a:lnTo>
                    <a:pt x="1793" y="243"/>
                  </a:lnTo>
                  <a:lnTo>
                    <a:pt x="1855" y="297"/>
                  </a:lnTo>
                  <a:lnTo>
                    <a:pt x="1912" y="354"/>
                  </a:lnTo>
                  <a:lnTo>
                    <a:pt x="1964" y="415"/>
                  </a:lnTo>
                  <a:lnTo>
                    <a:pt x="2013" y="480"/>
                  </a:lnTo>
                  <a:lnTo>
                    <a:pt x="2057" y="549"/>
                  </a:lnTo>
                  <a:lnTo>
                    <a:pt x="2096" y="621"/>
                  </a:lnTo>
                  <a:lnTo>
                    <a:pt x="2128" y="695"/>
                  </a:lnTo>
                  <a:lnTo>
                    <a:pt x="2156" y="773"/>
                  </a:lnTo>
                  <a:lnTo>
                    <a:pt x="2179" y="853"/>
                  </a:lnTo>
                  <a:lnTo>
                    <a:pt x="2194" y="936"/>
                  </a:lnTo>
                  <a:lnTo>
                    <a:pt x="2205" y="1020"/>
                  </a:lnTo>
                  <a:lnTo>
                    <a:pt x="2208" y="1107"/>
                  </a:lnTo>
                  <a:lnTo>
                    <a:pt x="2206" y="1170"/>
                  </a:lnTo>
                  <a:lnTo>
                    <a:pt x="2200" y="1235"/>
                  </a:lnTo>
                  <a:lnTo>
                    <a:pt x="2190" y="1301"/>
                  </a:lnTo>
                  <a:lnTo>
                    <a:pt x="2176" y="1370"/>
                  </a:lnTo>
                  <a:lnTo>
                    <a:pt x="2161" y="1439"/>
                  </a:lnTo>
                  <a:lnTo>
                    <a:pt x="2142" y="1507"/>
                  </a:lnTo>
                  <a:lnTo>
                    <a:pt x="2122" y="1576"/>
                  </a:lnTo>
                  <a:lnTo>
                    <a:pt x="2099" y="1642"/>
                  </a:lnTo>
                  <a:lnTo>
                    <a:pt x="2075" y="1707"/>
                  </a:lnTo>
                  <a:lnTo>
                    <a:pt x="2049" y="1768"/>
                  </a:lnTo>
                  <a:lnTo>
                    <a:pt x="2023" y="1827"/>
                  </a:lnTo>
                  <a:lnTo>
                    <a:pt x="1997" y="1881"/>
                  </a:lnTo>
                  <a:lnTo>
                    <a:pt x="1971" y="1930"/>
                  </a:lnTo>
                  <a:lnTo>
                    <a:pt x="1952" y="1963"/>
                  </a:lnTo>
                  <a:lnTo>
                    <a:pt x="1931" y="1999"/>
                  </a:lnTo>
                  <a:lnTo>
                    <a:pt x="1909" y="2037"/>
                  </a:lnTo>
                  <a:lnTo>
                    <a:pt x="1886" y="2080"/>
                  </a:lnTo>
                  <a:lnTo>
                    <a:pt x="1861" y="2124"/>
                  </a:lnTo>
                  <a:lnTo>
                    <a:pt x="1834" y="2170"/>
                  </a:lnTo>
                  <a:lnTo>
                    <a:pt x="1806" y="2219"/>
                  </a:lnTo>
                  <a:lnTo>
                    <a:pt x="1778" y="2270"/>
                  </a:lnTo>
                  <a:lnTo>
                    <a:pt x="1748" y="2321"/>
                  </a:lnTo>
                  <a:lnTo>
                    <a:pt x="1718" y="2375"/>
                  </a:lnTo>
                  <a:lnTo>
                    <a:pt x="1687" y="2430"/>
                  </a:lnTo>
                  <a:lnTo>
                    <a:pt x="1657" y="2484"/>
                  </a:lnTo>
                  <a:lnTo>
                    <a:pt x="1625" y="2540"/>
                  </a:lnTo>
                  <a:lnTo>
                    <a:pt x="1594" y="2596"/>
                  </a:lnTo>
                  <a:lnTo>
                    <a:pt x="1563" y="2653"/>
                  </a:lnTo>
                  <a:lnTo>
                    <a:pt x="1531" y="2709"/>
                  </a:lnTo>
                  <a:lnTo>
                    <a:pt x="1500" y="2763"/>
                  </a:lnTo>
                  <a:lnTo>
                    <a:pt x="1469" y="2818"/>
                  </a:lnTo>
                  <a:lnTo>
                    <a:pt x="1439" y="2872"/>
                  </a:lnTo>
                  <a:lnTo>
                    <a:pt x="1409" y="2924"/>
                  </a:lnTo>
                  <a:lnTo>
                    <a:pt x="1381" y="2976"/>
                  </a:lnTo>
                  <a:lnTo>
                    <a:pt x="1354" y="3024"/>
                  </a:lnTo>
                  <a:lnTo>
                    <a:pt x="1326" y="3071"/>
                  </a:lnTo>
                  <a:lnTo>
                    <a:pt x="1301" y="3117"/>
                  </a:lnTo>
                  <a:lnTo>
                    <a:pt x="1278" y="3159"/>
                  </a:lnTo>
                  <a:lnTo>
                    <a:pt x="1255" y="3199"/>
                  </a:lnTo>
                  <a:lnTo>
                    <a:pt x="1235" y="3235"/>
                  </a:lnTo>
                  <a:lnTo>
                    <a:pt x="1216" y="3269"/>
                  </a:lnTo>
                  <a:lnTo>
                    <a:pt x="1199" y="3299"/>
                  </a:lnTo>
                  <a:lnTo>
                    <a:pt x="1185" y="3325"/>
                  </a:lnTo>
                  <a:lnTo>
                    <a:pt x="1172" y="3347"/>
                  </a:lnTo>
                  <a:lnTo>
                    <a:pt x="1163" y="3365"/>
                  </a:lnTo>
                  <a:lnTo>
                    <a:pt x="1154" y="3379"/>
                  </a:lnTo>
                  <a:lnTo>
                    <a:pt x="1150" y="3387"/>
                  </a:lnTo>
                  <a:lnTo>
                    <a:pt x="1148" y="3390"/>
                  </a:lnTo>
                  <a:lnTo>
                    <a:pt x="1104" y="3469"/>
                  </a:lnTo>
                  <a:lnTo>
                    <a:pt x="1060" y="3390"/>
                  </a:lnTo>
                  <a:lnTo>
                    <a:pt x="1058" y="3387"/>
                  </a:lnTo>
                  <a:lnTo>
                    <a:pt x="1053" y="3379"/>
                  </a:lnTo>
                  <a:lnTo>
                    <a:pt x="1045" y="3366"/>
                  </a:lnTo>
                  <a:lnTo>
                    <a:pt x="1036" y="3348"/>
                  </a:lnTo>
                  <a:lnTo>
                    <a:pt x="1023" y="3327"/>
                  </a:lnTo>
                  <a:lnTo>
                    <a:pt x="1010" y="3302"/>
                  </a:lnTo>
                  <a:lnTo>
                    <a:pt x="993" y="3272"/>
                  </a:lnTo>
                  <a:lnTo>
                    <a:pt x="974" y="3240"/>
                  </a:lnTo>
                  <a:lnTo>
                    <a:pt x="954" y="3204"/>
                  </a:lnTo>
                  <a:lnTo>
                    <a:pt x="932" y="3165"/>
                  </a:lnTo>
                  <a:lnTo>
                    <a:pt x="909" y="3124"/>
                  </a:lnTo>
                  <a:lnTo>
                    <a:pt x="884" y="3080"/>
                  </a:lnTo>
                  <a:lnTo>
                    <a:pt x="858" y="3034"/>
                  </a:lnTo>
                  <a:lnTo>
                    <a:pt x="831" y="2986"/>
                  </a:lnTo>
                  <a:lnTo>
                    <a:pt x="803" y="2936"/>
                  </a:lnTo>
                  <a:lnTo>
                    <a:pt x="774" y="2885"/>
                  </a:lnTo>
                  <a:lnTo>
                    <a:pt x="745" y="2833"/>
                  </a:lnTo>
                  <a:lnTo>
                    <a:pt x="715" y="2779"/>
                  </a:lnTo>
                  <a:lnTo>
                    <a:pt x="684" y="2725"/>
                  </a:lnTo>
                  <a:lnTo>
                    <a:pt x="654" y="2671"/>
                  </a:lnTo>
                  <a:lnTo>
                    <a:pt x="623" y="2616"/>
                  </a:lnTo>
                  <a:lnTo>
                    <a:pt x="592" y="2561"/>
                  </a:lnTo>
                  <a:lnTo>
                    <a:pt x="561" y="2507"/>
                  </a:lnTo>
                  <a:lnTo>
                    <a:pt x="531" y="2452"/>
                  </a:lnTo>
                  <a:lnTo>
                    <a:pt x="502" y="2399"/>
                  </a:lnTo>
                  <a:lnTo>
                    <a:pt x="472" y="2347"/>
                  </a:lnTo>
                  <a:lnTo>
                    <a:pt x="444" y="2295"/>
                  </a:lnTo>
                  <a:lnTo>
                    <a:pt x="416" y="2246"/>
                  </a:lnTo>
                  <a:lnTo>
                    <a:pt x="389" y="2197"/>
                  </a:lnTo>
                  <a:lnTo>
                    <a:pt x="364" y="2151"/>
                  </a:lnTo>
                  <a:lnTo>
                    <a:pt x="340" y="2108"/>
                  </a:lnTo>
                  <a:lnTo>
                    <a:pt x="317" y="2066"/>
                  </a:lnTo>
                  <a:lnTo>
                    <a:pt x="296" y="2028"/>
                  </a:lnTo>
                  <a:lnTo>
                    <a:pt x="276" y="1992"/>
                  </a:lnTo>
                  <a:lnTo>
                    <a:pt x="258" y="1960"/>
                  </a:lnTo>
                  <a:lnTo>
                    <a:pt x="242" y="1930"/>
                  </a:lnTo>
                  <a:lnTo>
                    <a:pt x="214" y="1875"/>
                  </a:lnTo>
                  <a:lnTo>
                    <a:pt x="186" y="1816"/>
                  </a:lnTo>
                  <a:lnTo>
                    <a:pt x="157" y="1752"/>
                  </a:lnTo>
                  <a:lnTo>
                    <a:pt x="130" y="1685"/>
                  </a:lnTo>
                  <a:lnTo>
                    <a:pt x="104" y="1615"/>
                  </a:lnTo>
                  <a:lnTo>
                    <a:pt x="79" y="1543"/>
                  </a:lnTo>
                  <a:lnTo>
                    <a:pt x="57" y="1469"/>
                  </a:lnTo>
                  <a:lnTo>
                    <a:pt x="38" y="1396"/>
                  </a:lnTo>
                  <a:lnTo>
                    <a:pt x="22" y="1321"/>
                  </a:lnTo>
                  <a:lnTo>
                    <a:pt x="10" y="1249"/>
                  </a:lnTo>
                  <a:lnTo>
                    <a:pt x="2" y="1177"/>
                  </a:lnTo>
                  <a:lnTo>
                    <a:pt x="0" y="1107"/>
                  </a:lnTo>
                  <a:lnTo>
                    <a:pt x="3" y="1020"/>
                  </a:lnTo>
                  <a:lnTo>
                    <a:pt x="13" y="936"/>
                  </a:lnTo>
                  <a:lnTo>
                    <a:pt x="29" y="853"/>
                  </a:lnTo>
                  <a:lnTo>
                    <a:pt x="51" y="773"/>
                  </a:lnTo>
                  <a:lnTo>
                    <a:pt x="79" y="695"/>
                  </a:lnTo>
                  <a:lnTo>
                    <a:pt x="112" y="621"/>
                  </a:lnTo>
                  <a:lnTo>
                    <a:pt x="151" y="549"/>
                  </a:lnTo>
                  <a:lnTo>
                    <a:pt x="194" y="480"/>
                  </a:lnTo>
                  <a:lnTo>
                    <a:pt x="242" y="415"/>
                  </a:lnTo>
                  <a:lnTo>
                    <a:pt x="296" y="354"/>
                  </a:lnTo>
                  <a:lnTo>
                    <a:pt x="353" y="297"/>
                  </a:lnTo>
                  <a:lnTo>
                    <a:pt x="413" y="243"/>
                  </a:lnTo>
                  <a:lnTo>
                    <a:pt x="479" y="195"/>
                  </a:lnTo>
                  <a:lnTo>
                    <a:pt x="547" y="152"/>
                  </a:lnTo>
                  <a:lnTo>
                    <a:pt x="619" y="113"/>
                  </a:lnTo>
                  <a:lnTo>
                    <a:pt x="694" y="79"/>
                  </a:lnTo>
                  <a:lnTo>
                    <a:pt x="771" y="52"/>
                  </a:lnTo>
                  <a:lnTo>
                    <a:pt x="851" y="30"/>
                  </a:lnTo>
                  <a:lnTo>
                    <a:pt x="933" y="13"/>
                  </a:lnTo>
                  <a:lnTo>
                    <a:pt x="1018" y="3"/>
                  </a:lnTo>
                  <a:lnTo>
                    <a:pt x="1104" y="0"/>
                  </a:lnTo>
                  <a:close/>
                </a:path>
              </a:pathLst>
            </a:custGeom>
            <a:solidFill>
              <a:schemeClr val="tx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9" name="Freeform 584">
              <a:extLst>
                <a:ext uri="{FF2B5EF4-FFF2-40B4-BE49-F238E27FC236}">
                  <a16:creationId xmlns:a16="http://schemas.microsoft.com/office/drawing/2014/main" id="{CA4058F9-2DF5-419C-175F-274D26BE3771}"/>
                </a:ext>
              </a:extLst>
            </p:cNvPr>
            <p:cNvSpPr>
              <a:spLocks noChangeAspect="1"/>
            </p:cNvSpPr>
            <p:nvPr/>
          </p:nvSpPr>
          <p:spPr bwMode="auto">
            <a:xfrm>
              <a:off x="9277741" y="5834714"/>
              <a:ext cx="142527" cy="223850"/>
            </a:xfrm>
            <a:custGeom>
              <a:avLst/>
              <a:gdLst>
                <a:gd name="T0" fmla="*/ 945 w 2208"/>
                <a:gd name="T1" fmla="*/ 627 h 3469"/>
                <a:gd name="T2" fmla="*/ 768 w 2208"/>
                <a:gd name="T3" fmla="*/ 731 h 3469"/>
                <a:gd name="T4" fmla="*/ 647 w 2208"/>
                <a:gd name="T5" fmla="*/ 896 h 3469"/>
                <a:gd name="T6" fmla="*/ 602 w 2208"/>
                <a:gd name="T7" fmla="*/ 1103 h 3469"/>
                <a:gd name="T8" fmla="*/ 647 w 2208"/>
                <a:gd name="T9" fmla="*/ 1311 h 3469"/>
                <a:gd name="T10" fmla="*/ 768 w 2208"/>
                <a:gd name="T11" fmla="*/ 1476 h 3469"/>
                <a:gd name="T12" fmla="*/ 945 w 2208"/>
                <a:gd name="T13" fmla="*/ 1580 h 3469"/>
                <a:gd name="T14" fmla="*/ 1159 w 2208"/>
                <a:gd name="T15" fmla="*/ 1603 h 3469"/>
                <a:gd name="T16" fmla="*/ 1356 w 2208"/>
                <a:gd name="T17" fmla="*/ 1537 h 3469"/>
                <a:gd name="T18" fmla="*/ 1508 w 2208"/>
                <a:gd name="T19" fmla="*/ 1400 h 3469"/>
                <a:gd name="T20" fmla="*/ 1593 w 2208"/>
                <a:gd name="T21" fmla="*/ 1211 h 3469"/>
                <a:gd name="T22" fmla="*/ 1593 w 2208"/>
                <a:gd name="T23" fmla="*/ 996 h 3469"/>
                <a:gd name="T24" fmla="*/ 1508 w 2208"/>
                <a:gd name="T25" fmla="*/ 807 h 3469"/>
                <a:gd name="T26" fmla="*/ 1356 w 2208"/>
                <a:gd name="T27" fmla="*/ 670 h 3469"/>
                <a:gd name="T28" fmla="*/ 1159 w 2208"/>
                <a:gd name="T29" fmla="*/ 604 h 3469"/>
                <a:gd name="T30" fmla="*/ 1274 w 2208"/>
                <a:gd name="T31" fmla="*/ 13 h 3469"/>
                <a:gd name="T32" fmla="*/ 1589 w 2208"/>
                <a:gd name="T33" fmla="*/ 113 h 3469"/>
                <a:gd name="T34" fmla="*/ 1855 w 2208"/>
                <a:gd name="T35" fmla="*/ 297 h 3469"/>
                <a:gd name="T36" fmla="*/ 2057 w 2208"/>
                <a:gd name="T37" fmla="*/ 549 h 3469"/>
                <a:gd name="T38" fmla="*/ 2179 w 2208"/>
                <a:gd name="T39" fmla="*/ 853 h 3469"/>
                <a:gd name="T40" fmla="*/ 2206 w 2208"/>
                <a:gd name="T41" fmla="*/ 1170 h 3469"/>
                <a:gd name="T42" fmla="*/ 2161 w 2208"/>
                <a:gd name="T43" fmla="*/ 1439 h 3469"/>
                <a:gd name="T44" fmla="*/ 2075 w 2208"/>
                <a:gd name="T45" fmla="*/ 1707 h 3469"/>
                <a:gd name="T46" fmla="*/ 1971 w 2208"/>
                <a:gd name="T47" fmla="*/ 1930 h 3469"/>
                <a:gd name="T48" fmla="*/ 1886 w 2208"/>
                <a:gd name="T49" fmla="*/ 2080 h 3469"/>
                <a:gd name="T50" fmla="*/ 1778 w 2208"/>
                <a:gd name="T51" fmla="*/ 2270 h 3469"/>
                <a:gd name="T52" fmla="*/ 1657 w 2208"/>
                <a:gd name="T53" fmla="*/ 2484 h 3469"/>
                <a:gd name="T54" fmla="*/ 1531 w 2208"/>
                <a:gd name="T55" fmla="*/ 2709 h 3469"/>
                <a:gd name="T56" fmla="*/ 1409 w 2208"/>
                <a:gd name="T57" fmla="*/ 2924 h 3469"/>
                <a:gd name="T58" fmla="*/ 1301 w 2208"/>
                <a:gd name="T59" fmla="*/ 3117 h 3469"/>
                <a:gd name="T60" fmla="*/ 1216 w 2208"/>
                <a:gd name="T61" fmla="*/ 3269 h 3469"/>
                <a:gd name="T62" fmla="*/ 1163 w 2208"/>
                <a:gd name="T63" fmla="*/ 3365 h 3469"/>
                <a:gd name="T64" fmla="*/ 1104 w 2208"/>
                <a:gd name="T65" fmla="*/ 3469 h 3469"/>
                <a:gd name="T66" fmla="*/ 1045 w 2208"/>
                <a:gd name="T67" fmla="*/ 3366 h 3469"/>
                <a:gd name="T68" fmla="*/ 993 w 2208"/>
                <a:gd name="T69" fmla="*/ 3272 h 3469"/>
                <a:gd name="T70" fmla="*/ 909 w 2208"/>
                <a:gd name="T71" fmla="*/ 3124 h 3469"/>
                <a:gd name="T72" fmla="*/ 803 w 2208"/>
                <a:gd name="T73" fmla="*/ 2936 h 3469"/>
                <a:gd name="T74" fmla="*/ 684 w 2208"/>
                <a:gd name="T75" fmla="*/ 2725 h 3469"/>
                <a:gd name="T76" fmla="*/ 561 w 2208"/>
                <a:gd name="T77" fmla="*/ 2507 h 3469"/>
                <a:gd name="T78" fmla="*/ 444 w 2208"/>
                <a:gd name="T79" fmla="*/ 2295 h 3469"/>
                <a:gd name="T80" fmla="*/ 340 w 2208"/>
                <a:gd name="T81" fmla="*/ 2108 h 3469"/>
                <a:gd name="T82" fmla="*/ 258 w 2208"/>
                <a:gd name="T83" fmla="*/ 1960 h 3469"/>
                <a:gd name="T84" fmla="*/ 157 w 2208"/>
                <a:gd name="T85" fmla="*/ 1752 h 3469"/>
                <a:gd name="T86" fmla="*/ 57 w 2208"/>
                <a:gd name="T87" fmla="*/ 1469 h 3469"/>
                <a:gd name="T88" fmla="*/ 2 w 2208"/>
                <a:gd name="T89" fmla="*/ 1177 h 3469"/>
                <a:gd name="T90" fmla="*/ 29 w 2208"/>
                <a:gd name="T91" fmla="*/ 853 h 3469"/>
                <a:gd name="T92" fmla="*/ 151 w 2208"/>
                <a:gd name="T93" fmla="*/ 549 h 3469"/>
                <a:gd name="T94" fmla="*/ 353 w 2208"/>
                <a:gd name="T95" fmla="*/ 297 h 3469"/>
                <a:gd name="T96" fmla="*/ 619 w 2208"/>
                <a:gd name="T97" fmla="*/ 113 h 3469"/>
                <a:gd name="T98" fmla="*/ 933 w 2208"/>
                <a:gd name="T99" fmla="*/ 13 h 3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08" h="3469">
                  <a:moveTo>
                    <a:pt x="1104" y="601"/>
                  </a:moveTo>
                  <a:lnTo>
                    <a:pt x="1049" y="604"/>
                  </a:lnTo>
                  <a:lnTo>
                    <a:pt x="996" y="612"/>
                  </a:lnTo>
                  <a:lnTo>
                    <a:pt x="945" y="627"/>
                  </a:lnTo>
                  <a:lnTo>
                    <a:pt x="897" y="646"/>
                  </a:lnTo>
                  <a:lnTo>
                    <a:pt x="851" y="670"/>
                  </a:lnTo>
                  <a:lnTo>
                    <a:pt x="808" y="699"/>
                  </a:lnTo>
                  <a:lnTo>
                    <a:pt x="768" y="731"/>
                  </a:lnTo>
                  <a:lnTo>
                    <a:pt x="732" y="767"/>
                  </a:lnTo>
                  <a:lnTo>
                    <a:pt x="700" y="807"/>
                  </a:lnTo>
                  <a:lnTo>
                    <a:pt x="672" y="850"/>
                  </a:lnTo>
                  <a:lnTo>
                    <a:pt x="647" y="896"/>
                  </a:lnTo>
                  <a:lnTo>
                    <a:pt x="629" y="945"/>
                  </a:lnTo>
                  <a:lnTo>
                    <a:pt x="614" y="996"/>
                  </a:lnTo>
                  <a:lnTo>
                    <a:pt x="605" y="1049"/>
                  </a:lnTo>
                  <a:lnTo>
                    <a:pt x="602" y="1103"/>
                  </a:lnTo>
                  <a:lnTo>
                    <a:pt x="605" y="1158"/>
                  </a:lnTo>
                  <a:lnTo>
                    <a:pt x="614" y="1211"/>
                  </a:lnTo>
                  <a:lnTo>
                    <a:pt x="629" y="1262"/>
                  </a:lnTo>
                  <a:lnTo>
                    <a:pt x="647" y="1311"/>
                  </a:lnTo>
                  <a:lnTo>
                    <a:pt x="672" y="1357"/>
                  </a:lnTo>
                  <a:lnTo>
                    <a:pt x="700" y="1400"/>
                  </a:lnTo>
                  <a:lnTo>
                    <a:pt x="732" y="1440"/>
                  </a:lnTo>
                  <a:lnTo>
                    <a:pt x="768" y="1476"/>
                  </a:lnTo>
                  <a:lnTo>
                    <a:pt x="808" y="1508"/>
                  </a:lnTo>
                  <a:lnTo>
                    <a:pt x="851" y="1537"/>
                  </a:lnTo>
                  <a:lnTo>
                    <a:pt x="897" y="1561"/>
                  </a:lnTo>
                  <a:lnTo>
                    <a:pt x="945" y="1580"/>
                  </a:lnTo>
                  <a:lnTo>
                    <a:pt x="996" y="1595"/>
                  </a:lnTo>
                  <a:lnTo>
                    <a:pt x="1049" y="1603"/>
                  </a:lnTo>
                  <a:lnTo>
                    <a:pt x="1104" y="1606"/>
                  </a:lnTo>
                  <a:lnTo>
                    <a:pt x="1159" y="1603"/>
                  </a:lnTo>
                  <a:lnTo>
                    <a:pt x="1211" y="1595"/>
                  </a:lnTo>
                  <a:lnTo>
                    <a:pt x="1261" y="1580"/>
                  </a:lnTo>
                  <a:lnTo>
                    <a:pt x="1311" y="1561"/>
                  </a:lnTo>
                  <a:lnTo>
                    <a:pt x="1356" y="1537"/>
                  </a:lnTo>
                  <a:lnTo>
                    <a:pt x="1399" y="1508"/>
                  </a:lnTo>
                  <a:lnTo>
                    <a:pt x="1439" y="1476"/>
                  </a:lnTo>
                  <a:lnTo>
                    <a:pt x="1475" y="1440"/>
                  </a:lnTo>
                  <a:lnTo>
                    <a:pt x="1508" y="1400"/>
                  </a:lnTo>
                  <a:lnTo>
                    <a:pt x="1536" y="1357"/>
                  </a:lnTo>
                  <a:lnTo>
                    <a:pt x="1560" y="1311"/>
                  </a:lnTo>
                  <a:lnTo>
                    <a:pt x="1579" y="1262"/>
                  </a:lnTo>
                  <a:lnTo>
                    <a:pt x="1593" y="1211"/>
                  </a:lnTo>
                  <a:lnTo>
                    <a:pt x="1601" y="1158"/>
                  </a:lnTo>
                  <a:lnTo>
                    <a:pt x="1605" y="1103"/>
                  </a:lnTo>
                  <a:lnTo>
                    <a:pt x="1601" y="1049"/>
                  </a:lnTo>
                  <a:lnTo>
                    <a:pt x="1593" y="996"/>
                  </a:lnTo>
                  <a:lnTo>
                    <a:pt x="1579" y="945"/>
                  </a:lnTo>
                  <a:lnTo>
                    <a:pt x="1560" y="896"/>
                  </a:lnTo>
                  <a:lnTo>
                    <a:pt x="1536" y="850"/>
                  </a:lnTo>
                  <a:lnTo>
                    <a:pt x="1508" y="807"/>
                  </a:lnTo>
                  <a:lnTo>
                    <a:pt x="1475" y="767"/>
                  </a:lnTo>
                  <a:lnTo>
                    <a:pt x="1439" y="731"/>
                  </a:lnTo>
                  <a:lnTo>
                    <a:pt x="1399" y="699"/>
                  </a:lnTo>
                  <a:lnTo>
                    <a:pt x="1356" y="670"/>
                  </a:lnTo>
                  <a:lnTo>
                    <a:pt x="1311" y="646"/>
                  </a:lnTo>
                  <a:lnTo>
                    <a:pt x="1261" y="627"/>
                  </a:lnTo>
                  <a:lnTo>
                    <a:pt x="1211" y="612"/>
                  </a:lnTo>
                  <a:lnTo>
                    <a:pt x="1159" y="604"/>
                  </a:lnTo>
                  <a:lnTo>
                    <a:pt x="1104" y="601"/>
                  </a:lnTo>
                  <a:close/>
                  <a:moveTo>
                    <a:pt x="1104" y="0"/>
                  </a:moveTo>
                  <a:lnTo>
                    <a:pt x="1190" y="3"/>
                  </a:lnTo>
                  <a:lnTo>
                    <a:pt x="1274" y="13"/>
                  </a:lnTo>
                  <a:lnTo>
                    <a:pt x="1357" y="30"/>
                  </a:lnTo>
                  <a:lnTo>
                    <a:pt x="1437" y="52"/>
                  </a:lnTo>
                  <a:lnTo>
                    <a:pt x="1514" y="79"/>
                  </a:lnTo>
                  <a:lnTo>
                    <a:pt x="1589" y="113"/>
                  </a:lnTo>
                  <a:lnTo>
                    <a:pt x="1660" y="152"/>
                  </a:lnTo>
                  <a:lnTo>
                    <a:pt x="1728" y="195"/>
                  </a:lnTo>
                  <a:lnTo>
                    <a:pt x="1793" y="243"/>
                  </a:lnTo>
                  <a:lnTo>
                    <a:pt x="1855" y="297"/>
                  </a:lnTo>
                  <a:lnTo>
                    <a:pt x="1912" y="354"/>
                  </a:lnTo>
                  <a:lnTo>
                    <a:pt x="1964" y="415"/>
                  </a:lnTo>
                  <a:lnTo>
                    <a:pt x="2013" y="480"/>
                  </a:lnTo>
                  <a:lnTo>
                    <a:pt x="2057" y="549"/>
                  </a:lnTo>
                  <a:lnTo>
                    <a:pt x="2096" y="621"/>
                  </a:lnTo>
                  <a:lnTo>
                    <a:pt x="2128" y="695"/>
                  </a:lnTo>
                  <a:lnTo>
                    <a:pt x="2156" y="773"/>
                  </a:lnTo>
                  <a:lnTo>
                    <a:pt x="2179" y="853"/>
                  </a:lnTo>
                  <a:lnTo>
                    <a:pt x="2194" y="936"/>
                  </a:lnTo>
                  <a:lnTo>
                    <a:pt x="2205" y="1020"/>
                  </a:lnTo>
                  <a:lnTo>
                    <a:pt x="2208" y="1107"/>
                  </a:lnTo>
                  <a:lnTo>
                    <a:pt x="2206" y="1170"/>
                  </a:lnTo>
                  <a:lnTo>
                    <a:pt x="2200" y="1235"/>
                  </a:lnTo>
                  <a:lnTo>
                    <a:pt x="2190" y="1301"/>
                  </a:lnTo>
                  <a:lnTo>
                    <a:pt x="2176" y="1370"/>
                  </a:lnTo>
                  <a:lnTo>
                    <a:pt x="2161" y="1439"/>
                  </a:lnTo>
                  <a:lnTo>
                    <a:pt x="2142" y="1507"/>
                  </a:lnTo>
                  <a:lnTo>
                    <a:pt x="2122" y="1576"/>
                  </a:lnTo>
                  <a:lnTo>
                    <a:pt x="2099" y="1642"/>
                  </a:lnTo>
                  <a:lnTo>
                    <a:pt x="2075" y="1707"/>
                  </a:lnTo>
                  <a:lnTo>
                    <a:pt x="2049" y="1768"/>
                  </a:lnTo>
                  <a:lnTo>
                    <a:pt x="2023" y="1827"/>
                  </a:lnTo>
                  <a:lnTo>
                    <a:pt x="1997" y="1881"/>
                  </a:lnTo>
                  <a:lnTo>
                    <a:pt x="1971" y="1930"/>
                  </a:lnTo>
                  <a:lnTo>
                    <a:pt x="1952" y="1963"/>
                  </a:lnTo>
                  <a:lnTo>
                    <a:pt x="1931" y="1999"/>
                  </a:lnTo>
                  <a:lnTo>
                    <a:pt x="1909" y="2037"/>
                  </a:lnTo>
                  <a:lnTo>
                    <a:pt x="1886" y="2080"/>
                  </a:lnTo>
                  <a:lnTo>
                    <a:pt x="1861" y="2124"/>
                  </a:lnTo>
                  <a:lnTo>
                    <a:pt x="1834" y="2170"/>
                  </a:lnTo>
                  <a:lnTo>
                    <a:pt x="1806" y="2219"/>
                  </a:lnTo>
                  <a:lnTo>
                    <a:pt x="1778" y="2270"/>
                  </a:lnTo>
                  <a:lnTo>
                    <a:pt x="1748" y="2321"/>
                  </a:lnTo>
                  <a:lnTo>
                    <a:pt x="1718" y="2375"/>
                  </a:lnTo>
                  <a:lnTo>
                    <a:pt x="1687" y="2430"/>
                  </a:lnTo>
                  <a:lnTo>
                    <a:pt x="1657" y="2484"/>
                  </a:lnTo>
                  <a:lnTo>
                    <a:pt x="1625" y="2540"/>
                  </a:lnTo>
                  <a:lnTo>
                    <a:pt x="1594" y="2596"/>
                  </a:lnTo>
                  <a:lnTo>
                    <a:pt x="1563" y="2653"/>
                  </a:lnTo>
                  <a:lnTo>
                    <a:pt x="1531" y="2709"/>
                  </a:lnTo>
                  <a:lnTo>
                    <a:pt x="1500" y="2763"/>
                  </a:lnTo>
                  <a:lnTo>
                    <a:pt x="1469" y="2818"/>
                  </a:lnTo>
                  <a:lnTo>
                    <a:pt x="1439" y="2872"/>
                  </a:lnTo>
                  <a:lnTo>
                    <a:pt x="1409" y="2924"/>
                  </a:lnTo>
                  <a:lnTo>
                    <a:pt x="1381" y="2976"/>
                  </a:lnTo>
                  <a:lnTo>
                    <a:pt x="1354" y="3024"/>
                  </a:lnTo>
                  <a:lnTo>
                    <a:pt x="1326" y="3071"/>
                  </a:lnTo>
                  <a:lnTo>
                    <a:pt x="1301" y="3117"/>
                  </a:lnTo>
                  <a:lnTo>
                    <a:pt x="1278" y="3159"/>
                  </a:lnTo>
                  <a:lnTo>
                    <a:pt x="1255" y="3199"/>
                  </a:lnTo>
                  <a:lnTo>
                    <a:pt x="1235" y="3235"/>
                  </a:lnTo>
                  <a:lnTo>
                    <a:pt x="1216" y="3269"/>
                  </a:lnTo>
                  <a:lnTo>
                    <a:pt x="1199" y="3299"/>
                  </a:lnTo>
                  <a:lnTo>
                    <a:pt x="1185" y="3325"/>
                  </a:lnTo>
                  <a:lnTo>
                    <a:pt x="1172" y="3347"/>
                  </a:lnTo>
                  <a:lnTo>
                    <a:pt x="1163" y="3365"/>
                  </a:lnTo>
                  <a:lnTo>
                    <a:pt x="1154" y="3379"/>
                  </a:lnTo>
                  <a:lnTo>
                    <a:pt x="1150" y="3387"/>
                  </a:lnTo>
                  <a:lnTo>
                    <a:pt x="1148" y="3390"/>
                  </a:lnTo>
                  <a:lnTo>
                    <a:pt x="1104" y="3469"/>
                  </a:lnTo>
                  <a:lnTo>
                    <a:pt x="1060" y="3390"/>
                  </a:lnTo>
                  <a:lnTo>
                    <a:pt x="1058" y="3387"/>
                  </a:lnTo>
                  <a:lnTo>
                    <a:pt x="1053" y="3379"/>
                  </a:lnTo>
                  <a:lnTo>
                    <a:pt x="1045" y="3366"/>
                  </a:lnTo>
                  <a:lnTo>
                    <a:pt x="1036" y="3348"/>
                  </a:lnTo>
                  <a:lnTo>
                    <a:pt x="1023" y="3327"/>
                  </a:lnTo>
                  <a:lnTo>
                    <a:pt x="1010" y="3302"/>
                  </a:lnTo>
                  <a:lnTo>
                    <a:pt x="993" y="3272"/>
                  </a:lnTo>
                  <a:lnTo>
                    <a:pt x="974" y="3240"/>
                  </a:lnTo>
                  <a:lnTo>
                    <a:pt x="954" y="3204"/>
                  </a:lnTo>
                  <a:lnTo>
                    <a:pt x="932" y="3165"/>
                  </a:lnTo>
                  <a:lnTo>
                    <a:pt x="909" y="3124"/>
                  </a:lnTo>
                  <a:lnTo>
                    <a:pt x="884" y="3080"/>
                  </a:lnTo>
                  <a:lnTo>
                    <a:pt x="858" y="3034"/>
                  </a:lnTo>
                  <a:lnTo>
                    <a:pt x="831" y="2986"/>
                  </a:lnTo>
                  <a:lnTo>
                    <a:pt x="803" y="2936"/>
                  </a:lnTo>
                  <a:lnTo>
                    <a:pt x="774" y="2885"/>
                  </a:lnTo>
                  <a:lnTo>
                    <a:pt x="745" y="2833"/>
                  </a:lnTo>
                  <a:lnTo>
                    <a:pt x="715" y="2779"/>
                  </a:lnTo>
                  <a:lnTo>
                    <a:pt x="684" y="2725"/>
                  </a:lnTo>
                  <a:lnTo>
                    <a:pt x="654" y="2671"/>
                  </a:lnTo>
                  <a:lnTo>
                    <a:pt x="623" y="2616"/>
                  </a:lnTo>
                  <a:lnTo>
                    <a:pt x="592" y="2561"/>
                  </a:lnTo>
                  <a:lnTo>
                    <a:pt x="561" y="2507"/>
                  </a:lnTo>
                  <a:lnTo>
                    <a:pt x="531" y="2452"/>
                  </a:lnTo>
                  <a:lnTo>
                    <a:pt x="502" y="2399"/>
                  </a:lnTo>
                  <a:lnTo>
                    <a:pt x="472" y="2347"/>
                  </a:lnTo>
                  <a:lnTo>
                    <a:pt x="444" y="2295"/>
                  </a:lnTo>
                  <a:lnTo>
                    <a:pt x="416" y="2246"/>
                  </a:lnTo>
                  <a:lnTo>
                    <a:pt x="389" y="2197"/>
                  </a:lnTo>
                  <a:lnTo>
                    <a:pt x="364" y="2151"/>
                  </a:lnTo>
                  <a:lnTo>
                    <a:pt x="340" y="2108"/>
                  </a:lnTo>
                  <a:lnTo>
                    <a:pt x="317" y="2066"/>
                  </a:lnTo>
                  <a:lnTo>
                    <a:pt x="296" y="2028"/>
                  </a:lnTo>
                  <a:lnTo>
                    <a:pt x="276" y="1992"/>
                  </a:lnTo>
                  <a:lnTo>
                    <a:pt x="258" y="1960"/>
                  </a:lnTo>
                  <a:lnTo>
                    <a:pt x="242" y="1930"/>
                  </a:lnTo>
                  <a:lnTo>
                    <a:pt x="214" y="1875"/>
                  </a:lnTo>
                  <a:lnTo>
                    <a:pt x="186" y="1816"/>
                  </a:lnTo>
                  <a:lnTo>
                    <a:pt x="157" y="1752"/>
                  </a:lnTo>
                  <a:lnTo>
                    <a:pt x="130" y="1685"/>
                  </a:lnTo>
                  <a:lnTo>
                    <a:pt x="104" y="1615"/>
                  </a:lnTo>
                  <a:lnTo>
                    <a:pt x="79" y="1543"/>
                  </a:lnTo>
                  <a:lnTo>
                    <a:pt x="57" y="1469"/>
                  </a:lnTo>
                  <a:lnTo>
                    <a:pt x="38" y="1396"/>
                  </a:lnTo>
                  <a:lnTo>
                    <a:pt x="22" y="1321"/>
                  </a:lnTo>
                  <a:lnTo>
                    <a:pt x="10" y="1249"/>
                  </a:lnTo>
                  <a:lnTo>
                    <a:pt x="2" y="1177"/>
                  </a:lnTo>
                  <a:lnTo>
                    <a:pt x="0" y="1107"/>
                  </a:lnTo>
                  <a:lnTo>
                    <a:pt x="3" y="1020"/>
                  </a:lnTo>
                  <a:lnTo>
                    <a:pt x="13" y="936"/>
                  </a:lnTo>
                  <a:lnTo>
                    <a:pt x="29" y="853"/>
                  </a:lnTo>
                  <a:lnTo>
                    <a:pt x="51" y="773"/>
                  </a:lnTo>
                  <a:lnTo>
                    <a:pt x="79" y="695"/>
                  </a:lnTo>
                  <a:lnTo>
                    <a:pt x="112" y="621"/>
                  </a:lnTo>
                  <a:lnTo>
                    <a:pt x="151" y="549"/>
                  </a:lnTo>
                  <a:lnTo>
                    <a:pt x="194" y="480"/>
                  </a:lnTo>
                  <a:lnTo>
                    <a:pt x="242" y="415"/>
                  </a:lnTo>
                  <a:lnTo>
                    <a:pt x="296" y="354"/>
                  </a:lnTo>
                  <a:lnTo>
                    <a:pt x="353" y="297"/>
                  </a:lnTo>
                  <a:lnTo>
                    <a:pt x="413" y="243"/>
                  </a:lnTo>
                  <a:lnTo>
                    <a:pt x="479" y="195"/>
                  </a:lnTo>
                  <a:lnTo>
                    <a:pt x="547" y="152"/>
                  </a:lnTo>
                  <a:lnTo>
                    <a:pt x="619" y="113"/>
                  </a:lnTo>
                  <a:lnTo>
                    <a:pt x="694" y="79"/>
                  </a:lnTo>
                  <a:lnTo>
                    <a:pt x="771" y="52"/>
                  </a:lnTo>
                  <a:lnTo>
                    <a:pt x="851" y="30"/>
                  </a:lnTo>
                  <a:lnTo>
                    <a:pt x="933" y="13"/>
                  </a:lnTo>
                  <a:lnTo>
                    <a:pt x="1018" y="3"/>
                  </a:lnTo>
                  <a:lnTo>
                    <a:pt x="1104" y="0"/>
                  </a:lnTo>
                  <a:close/>
                </a:path>
              </a:pathLst>
            </a:custGeom>
            <a:solidFill>
              <a:schemeClr val="tx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6" name="TextBox 25">
              <a:extLst>
                <a:ext uri="{FF2B5EF4-FFF2-40B4-BE49-F238E27FC236}">
                  <a16:creationId xmlns:a16="http://schemas.microsoft.com/office/drawing/2014/main" id="{26A8D53B-7C5C-998D-757C-581DB4E1CA60}"/>
                </a:ext>
              </a:extLst>
            </p:cNvPr>
            <p:cNvSpPr txBox="1"/>
            <p:nvPr/>
          </p:nvSpPr>
          <p:spPr>
            <a:xfrm>
              <a:off x="9395346" y="5462149"/>
              <a:ext cx="523511" cy="19206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C3C3B"/>
                  </a:solidFill>
                  <a:effectLst/>
                  <a:uLnTx/>
                  <a:uFillTx/>
                  <a:latin typeface="Lato"/>
                  <a:ea typeface="Lato"/>
                  <a:cs typeface="Lato"/>
                  <a:sym typeface="Lato" panose="020F0502020204030203" pitchFamily="34" charset="0"/>
                </a:rPr>
                <a:t>Sydney</a:t>
              </a:r>
              <a:endParaRPr kumimoji="0" lang="en-GB" sz="12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31" name="TextBox 30">
              <a:extLst>
                <a:ext uri="{FF2B5EF4-FFF2-40B4-BE49-F238E27FC236}">
                  <a16:creationId xmlns:a16="http://schemas.microsoft.com/office/drawing/2014/main" id="{CBFB0373-96AC-BAB2-8E08-3D342907E470}"/>
                </a:ext>
              </a:extLst>
            </p:cNvPr>
            <p:cNvSpPr txBox="1"/>
            <p:nvPr/>
          </p:nvSpPr>
          <p:spPr>
            <a:xfrm>
              <a:off x="8491538" y="5949756"/>
              <a:ext cx="783598" cy="19206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C3C3B"/>
                  </a:solidFill>
                  <a:effectLst/>
                  <a:uLnTx/>
                  <a:uFillTx/>
                  <a:latin typeface="Lato"/>
                  <a:ea typeface="Lato"/>
                  <a:cs typeface="Lato"/>
                  <a:sym typeface="Lato" panose="020F0502020204030203" pitchFamily="34" charset="0"/>
                </a:rPr>
                <a:t>Melbourne</a:t>
              </a:r>
              <a:endParaRPr kumimoji="0" lang="en-GB" sz="12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32" name="Freeform 584">
              <a:extLst>
                <a:ext uri="{FF2B5EF4-FFF2-40B4-BE49-F238E27FC236}">
                  <a16:creationId xmlns:a16="http://schemas.microsoft.com/office/drawing/2014/main" id="{3BE5CBB2-14D7-35CD-F968-900EF072A024}"/>
                </a:ext>
              </a:extLst>
            </p:cNvPr>
            <p:cNvSpPr>
              <a:spLocks noChangeAspect="1"/>
            </p:cNvSpPr>
            <p:nvPr/>
          </p:nvSpPr>
          <p:spPr bwMode="auto">
            <a:xfrm>
              <a:off x="9436980" y="2684489"/>
              <a:ext cx="142527" cy="223850"/>
            </a:xfrm>
            <a:custGeom>
              <a:avLst/>
              <a:gdLst>
                <a:gd name="T0" fmla="*/ 945 w 2208"/>
                <a:gd name="T1" fmla="*/ 627 h 3469"/>
                <a:gd name="T2" fmla="*/ 768 w 2208"/>
                <a:gd name="T3" fmla="*/ 731 h 3469"/>
                <a:gd name="T4" fmla="*/ 647 w 2208"/>
                <a:gd name="T5" fmla="*/ 896 h 3469"/>
                <a:gd name="T6" fmla="*/ 602 w 2208"/>
                <a:gd name="T7" fmla="*/ 1103 h 3469"/>
                <a:gd name="T8" fmla="*/ 647 w 2208"/>
                <a:gd name="T9" fmla="*/ 1311 h 3469"/>
                <a:gd name="T10" fmla="*/ 768 w 2208"/>
                <a:gd name="T11" fmla="*/ 1476 h 3469"/>
                <a:gd name="T12" fmla="*/ 945 w 2208"/>
                <a:gd name="T13" fmla="*/ 1580 h 3469"/>
                <a:gd name="T14" fmla="*/ 1159 w 2208"/>
                <a:gd name="T15" fmla="*/ 1603 h 3469"/>
                <a:gd name="T16" fmla="*/ 1356 w 2208"/>
                <a:gd name="T17" fmla="*/ 1537 h 3469"/>
                <a:gd name="T18" fmla="*/ 1508 w 2208"/>
                <a:gd name="T19" fmla="*/ 1400 h 3469"/>
                <a:gd name="T20" fmla="*/ 1593 w 2208"/>
                <a:gd name="T21" fmla="*/ 1211 h 3469"/>
                <a:gd name="T22" fmla="*/ 1593 w 2208"/>
                <a:gd name="T23" fmla="*/ 996 h 3469"/>
                <a:gd name="T24" fmla="*/ 1508 w 2208"/>
                <a:gd name="T25" fmla="*/ 807 h 3469"/>
                <a:gd name="T26" fmla="*/ 1356 w 2208"/>
                <a:gd name="T27" fmla="*/ 670 h 3469"/>
                <a:gd name="T28" fmla="*/ 1159 w 2208"/>
                <a:gd name="T29" fmla="*/ 604 h 3469"/>
                <a:gd name="T30" fmla="*/ 1274 w 2208"/>
                <a:gd name="T31" fmla="*/ 13 h 3469"/>
                <a:gd name="T32" fmla="*/ 1589 w 2208"/>
                <a:gd name="T33" fmla="*/ 113 h 3469"/>
                <a:gd name="T34" fmla="*/ 1855 w 2208"/>
                <a:gd name="T35" fmla="*/ 297 h 3469"/>
                <a:gd name="T36" fmla="*/ 2057 w 2208"/>
                <a:gd name="T37" fmla="*/ 549 h 3469"/>
                <a:gd name="T38" fmla="*/ 2179 w 2208"/>
                <a:gd name="T39" fmla="*/ 853 h 3469"/>
                <a:gd name="T40" fmla="*/ 2206 w 2208"/>
                <a:gd name="T41" fmla="*/ 1170 h 3469"/>
                <a:gd name="T42" fmla="*/ 2161 w 2208"/>
                <a:gd name="T43" fmla="*/ 1439 h 3469"/>
                <a:gd name="T44" fmla="*/ 2075 w 2208"/>
                <a:gd name="T45" fmla="*/ 1707 h 3469"/>
                <a:gd name="T46" fmla="*/ 1971 w 2208"/>
                <a:gd name="T47" fmla="*/ 1930 h 3469"/>
                <a:gd name="T48" fmla="*/ 1886 w 2208"/>
                <a:gd name="T49" fmla="*/ 2080 h 3469"/>
                <a:gd name="T50" fmla="*/ 1778 w 2208"/>
                <a:gd name="T51" fmla="*/ 2270 h 3469"/>
                <a:gd name="T52" fmla="*/ 1657 w 2208"/>
                <a:gd name="T53" fmla="*/ 2484 h 3469"/>
                <a:gd name="T54" fmla="*/ 1531 w 2208"/>
                <a:gd name="T55" fmla="*/ 2709 h 3469"/>
                <a:gd name="T56" fmla="*/ 1409 w 2208"/>
                <a:gd name="T57" fmla="*/ 2924 h 3469"/>
                <a:gd name="T58" fmla="*/ 1301 w 2208"/>
                <a:gd name="T59" fmla="*/ 3117 h 3469"/>
                <a:gd name="T60" fmla="*/ 1216 w 2208"/>
                <a:gd name="T61" fmla="*/ 3269 h 3469"/>
                <a:gd name="T62" fmla="*/ 1163 w 2208"/>
                <a:gd name="T63" fmla="*/ 3365 h 3469"/>
                <a:gd name="T64" fmla="*/ 1104 w 2208"/>
                <a:gd name="T65" fmla="*/ 3469 h 3469"/>
                <a:gd name="T66" fmla="*/ 1045 w 2208"/>
                <a:gd name="T67" fmla="*/ 3366 h 3469"/>
                <a:gd name="T68" fmla="*/ 993 w 2208"/>
                <a:gd name="T69" fmla="*/ 3272 h 3469"/>
                <a:gd name="T70" fmla="*/ 909 w 2208"/>
                <a:gd name="T71" fmla="*/ 3124 h 3469"/>
                <a:gd name="T72" fmla="*/ 803 w 2208"/>
                <a:gd name="T73" fmla="*/ 2936 h 3469"/>
                <a:gd name="T74" fmla="*/ 684 w 2208"/>
                <a:gd name="T75" fmla="*/ 2725 h 3469"/>
                <a:gd name="T76" fmla="*/ 561 w 2208"/>
                <a:gd name="T77" fmla="*/ 2507 h 3469"/>
                <a:gd name="T78" fmla="*/ 444 w 2208"/>
                <a:gd name="T79" fmla="*/ 2295 h 3469"/>
                <a:gd name="T80" fmla="*/ 340 w 2208"/>
                <a:gd name="T81" fmla="*/ 2108 h 3469"/>
                <a:gd name="T82" fmla="*/ 258 w 2208"/>
                <a:gd name="T83" fmla="*/ 1960 h 3469"/>
                <a:gd name="T84" fmla="*/ 157 w 2208"/>
                <a:gd name="T85" fmla="*/ 1752 h 3469"/>
                <a:gd name="T86" fmla="*/ 57 w 2208"/>
                <a:gd name="T87" fmla="*/ 1469 h 3469"/>
                <a:gd name="T88" fmla="*/ 2 w 2208"/>
                <a:gd name="T89" fmla="*/ 1177 h 3469"/>
                <a:gd name="T90" fmla="*/ 29 w 2208"/>
                <a:gd name="T91" fmla="*/ 853 h 3469"/>
                <a:gd name="T92" fmla="*/ 151 w 2208"/>
                <a:gd name="T93" fmla="*/ 549 h 3469"/>
                <a:gd name="T94" fmla="*/ 353 w 2208"/>
                <a:gd name="T95" fmla="*/ 297 h 3469"/>
                <a:gd name="T96" fmla="*/ 619 w 2208"/>
                <a:gd name="T97" fmla="*/ 113 h 3469"/>
                <a:gd name="T98" fmla="*/ 933 w 2208"/>
                <a:gd name="T99" fmla="*/ 13 h 3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08" h="3469">
                  <a:moveTo>
                    <a:pt x="1104" y="601"/>
                  </a:moveTo>
                  <a:lnTo>
                    <a:pt x="1049" y="604"/>
                  </a:lnTo>
                  <a:lnTo>
                    <a:pt x="996" y="612"/>
                  </a:lnTo>
                  <a:lnTo>
                    <a:pt x="945" y="627"/>
                  </a:lnTo>
                  <a:lnTo>
                    <a:pt x="897" y="646"/>
                  </a:lnTo>
                  <a:lnTo>
                    <a:pt x="851" y="670"/>
                  </a:lnTo>
                  <a:lnTo>
                    <a:pt x="808" y="699"/>
                  </a:lnTo>
                  <a:lnTo>
                    <a:pt x="768" y="731"/>
                  </a:lnTo>
                  <a:lnTo>
                    <a:pt x="732" y="767"/>
                  </a:lnTo>
                  <a:lnTo>
                    <a:pt x="700" y="807"/>
                  </a:lnTo>
                  <a:lnTo>
                    <a:pt x="672" y="850"/>
                  </a:lnTo>
                  <a:lnTo>
                    <a:pt x="647" y="896"/>
                  </a:lnTo>
                  <a:lnTo>
                    <a:pt x="629" y="945"/>
                  </a:lnTo>
                  <a:lnTo>
                    <a:pt x="614" y="996"/>
                  </a:lnTo>
                  <a:lnTo>
                    <a:pt x="605" y="1049"/>
                  </a:lnTo>
                  <a:lnTo>
                    <a:pt x="602" y="1103"/>
                  </a:lnTo>
                  <a:lnTo>
                    <a:pt x="605" y="1158"/>
                  </a:lnTo>
                  <a:lnTo>
                    <a:pt x="614" y="1211"/>
                  </a:lnTo>
                  <a:lnTo>
                    <a:pt x="629" y="1262"/>
                  </a:lnTo>
                  <a:lnTo>
                    <a:pt x="647" y="1311"/>
                  </a:lnTo>
                  <a:lnTo>
                    <a:pt x="672" y="1357"/>
                  </a:lnTo>
                  <a:lnTo>
                    <a:pt x="700" y="1400"/>
                  </a:lnTo>
                  <a:lnTo>
                    <a:pt x="732" y="1440"/>
                  </a:lnTo>
                  <a:lnTo>
                    <a:pt x="768" y="1476"/>
                  </a:lnTo>
                  <a:lnTo>
                    <a:pt x="808" y="1508"/>
                  </a:lnTo>
                  <a:lnTo>
                    <a:pt x="851" y="1537"/>
                  </a:lnTo>
                  <a:lnTo>
                    <a:pt x="897" y="1561"/>
                  </a:lnTo>
                  <a:lnTo>
                    <a:pt x="945" y="1580"/>
                  </a:lnTo>
                  <a:lnTo>
                    <a:pt x="996" y="1595"/>
                  </a:lnTo>
                  <a:lnTo>
                    <a:pt x="1049" y="1603"/>
                  </a:lnTo>
                  <a:lnTo>
                    <a:pt x="1104" y="1606"/>
                  </a:lnTo>
                  <a:lnTo>
                    <a:pt x="1159" y="1603"/>
                  </a:lnTo>
                  <a:lnTo>
                    <a:pt x="1211" y="1595"/>
                  </a:lnTo>
                  <a:lnTo>
                    <a:pt x="1261" y="1580"/>
                  </a:lnTo>
                  <a:lnTo>
                    <a:pt x="1311" y="1561"/>
                  </a:lnTo>
                  <a:lnTo>
                    <a:pt x="1356" y="1537"/>
                  </a:lnTo>
                  <a:lnTo>
                    <a:pt x="1399" y="1508"/>
                  </a:lnTo>
                  <a:lnTo>
                    <a:pt x="1439" y="1476"/>
                  </a:lnTo>
                  <a:lnTo>
                    <a:pt x="1475" y="1440"/>
                  </a:lnTo>
                  <a:lnTo>
                    <a:pt x="1508" y="1400"/>
                  </a:lnTo>
                  <a:lnTo>
                    <a:pt x="1536" y="1357"/>
                  </a:lnTo>
                  <a:lnTo>
                    <a:pt x="1560" y="1311"/>
                  </a:lnTo>
                  <a:lnTo>
                    <a:pt x="1579" y="1262"/>
                  </a:lnTo>
                  <a:lnTo>
                    <a:pt x="1593" y="1211"/>
                  </a:lnTo>
                  <a:lnTo>
                    <a:pt x="1601" y="1158"/>
                  </a:lnTo>
                  <a:lnTo>
                    <a:pt x="1605" y="1103"/>
                  </a:lnTo>
                  <a:lnTo>
                    <a:pt x="1601" y="1049"/>
                  </a:lnTo>
                  <a:lnTo>
                    <a:pt x="1593" y="996"/>
                  </a:lnTo>
                  <a:lnTo>
                    <a:pt x="1579" y="945"/>
                  </a:lnTo>
                  <a:lnTo>
                    <a:pt x="1560" y="896"/>
                  </a:lnTo>
                  <a:lnTo>
                    <a:pt x="1536" y="850"/>
                  </a:lnTo>
                  <a:lnTo>
                    <a:pt x="1508" y="807"/>
                  </a:lnTo>
                  <a:lnTo>
                    <a:pt x="1475" y="767"/>
                  </a:lnTo>
                  <a:lnTo>
                    <a:pt x="1439" y="731"/>
                  </a:lnTo>
                  <a:lnTo>
                    <a:pt x="1399" y="699"/>
                  </a:lnTo>
                  <a:lnTo>
                    <a:pt x="1356" y="670"/>
                  </a:lnTo>
                  <a:lnTo>
                    <a:pt x="1311" y="646"/>
                  </a:lnTo>
                  <a:lnTo>
                    <a:pt x="1261" y="627"/>
                  </a:lnTo>
                  <a:lnTo>
                    <a:pt x="1211" y="612"/>
                  </a:lnTo>
                  <a:lnTo>
                    <a:pt x="1159" y="604"/>
                  </a:lnTo>
                  <a:lnTo>
                    <a:pt x="1104" y="601"/>
                  </a:lnTo>
                  <a:close/>
                  <a:moveTo>
                    <a:pt x="1104" y="0"/>
                  </a:moveTo>
                  <a:lnTo>
                    <a:pt x="1190" y="3"/>
                  </a:lnTo>
                  <a:lnTo>
                    <a:pt x="1274" y="13"/>
                  </a:lnTo>
                  <a:lnTo>
                    <a:pt x="1357" y="30"/>
                  </a:lnTo>
                  <a:lnTo>
                    <a:pt x="1437" y="52"/>
                  </a:lnTo>
                  <a:lnTo>
                    <a:pt x="1514" y="79"/>
                  </a:lnTo>
                  <a:lnTo>
                    <a:pt x="1589" y="113"/>
                  </a:lnTo>
                  <a:lnTo>
                    <a:pt x="1660" y="152"/>
                  </a:lnTo>
                  <a:lnTo>
                    <a:pt x="1728" y="195"/>
                  </a:lnTo>
                  <a:lnTo>
                    <a:pt x="1793" y="243"/>
                  </a:lnTo>
                  <a:lnTo>
                    <a:pt x="1855" y="297"/>
                  </a:lnTo>
                  <a:lnTo>
                    <a:pt x="1912" y="354"/>
                  </a:lnTo>
                  <a:lnTo>
                    <a:pt x="1964" y="415"/>
                  </a:lnTo>
                  <a:lnTo>
                    <a:pt x="2013" y="480"/>
                  </a:lnTo>
                  <a:lnTo>
                    <a:pt x="2057" y="549"/>
                  </a:lnTo>
                  <a:lnTo>
                    <a:pt x="2096" y="621"/>
                  </a:lnTo>
                  <a:lnTo>
                    <a:pt x="2128" y="695"/>
                  </a:lnTo>
                  <a:lnTo>
                    <a:pt x="2156" y="773"/>
                  </a:lnTo>
                  <a:lnTo>
                    <a:pt x="2179" y="853"/>
                  </a:lnTo>
                  <a:lnTo>
                    <a:pt x="2194" y="936"/>
                  </a:lnTo>
                  <a:lnTo>
                    <a:pt x="2205" y="1020"/>
                  </a:lnTo>
                  <a:lnTo>
                    <a:pt x="2208" y="1107"/>
                  </a:lnTo>
                  <a:lnTo>
                    <a:pt x="2206" y="1170"/>
                  </a:lnTo>
                  <a:lnTo>
                    <a:pt x="2200" y="1235"/>
                  </a:lnTo>
                  <a:lnTo>
                    <a:pt x="2190" y="1301"/>
                  </a:lnTo>
                  <a:lnTo>
                    <a:pt x="2176" y="1370"/>
                  </a:lnTo>
                  <a:lnTo>
                    <a:pt x="2161" y="1439"/>
                  </a:lnTo>
                  <a:lnTo>
                    <a:pt x="2142" y="1507"/>
                  </a:lnTo>
                  <a:lnTo>
                    <a:pt x="2122" y="1576"/>
                  </a:lnTo>
                  <a:lnTo>
                    <a:pt x="2099" y="1642"/>
                  </a:lnTo>
                  <a:lnTo>
                    <a:pt x="2075" y="1707"/>
                  </a:lnTo>
                  <a:lnTo>
                    <a:pt x="2049" y="1768"/>
                  </a:lnTo>
                  <a:lnTo>
                    <a:pt x="2023" y="1827"/>
                  </a:lnTo>
                  <a:lnTo>
                    <a:pt x="1997" y="1881"/>
                  </a:lnTo>
                  <a:lnTo>
                    <a:pt x="1971" y="1930"/>
                  </a:lnTo>
                  <a:lnTo>
                    <a:pt x="1952" y="1963"/>
                  </a:lnTo>
                  <a:lnTo>
                    <a:pt x="1931" y="1999"/>
                  </a:lnTo>
                  <a:lnTo>
                    <a:pt x="1909" y="2037"/>
                  </a:lnTo>
                  <a:lnTo>
                    <a:pt x="1886" y="2080"/>
                  </a:lnTo>
                  <a:lnTo>
                    <a:pt x="1861" y="2124"/>
                  </a:lnTo>
                  <a:lnTo>
                    <a:pt x="1834" y="2170"/>
                  </a:lnTo>
                  <a:lnTo>
                    <a:pt x="1806" y="2219"/>
                  </a:lnTo>
                  <a:lnTo>
                    <a:pt x="1778" y="2270"/>
                  </a:lnTo>
                  <a:lnTo>
                    <a:pt x="1748" y="2321"/>
                  </a:lnTo>
                  <a:lnTo>
                    <a:pt x="1718" y="2375"/>
                  </a:lnTo>
                  <a:lnTo>
                    <a:pt x="1687" y="2430"/>
                  </a:lnTo>
                  <a:lnTo>
                    <a:pt x="1657" y="2484"/>
                  </a:lnTo>
                  <a:lnTo>
                    <a:pt x="1625" y="2540"/>
                  </a:lnTo>
                  <a:lnTo>
                    <a:pt x="1594" y="2596"/>
                  </a:lnTo>
                  <a:lnTo>
                    <a:pt x="1563" y="2653"/>
                  </a:lnTo>
                  <a:lnTo>
                    <a:pt x="1531" y="2709"/>
                  </a:lnTo>
                  <a:lnTo>
                    <a:pt x="1500" y="2763"/>
                  </a:lnTo>
                  <a:lnTo>
                    <a:pt x="1469" y="2818"/>
                  </a:lnTo>
                  <a:lnTo>
                    <a:pt x="1439" y="2872"/>
                  </a:lnTo>
                  <a:lnTo>
                    <a:pt x="1409" y="2924"/>
                  </a:lnTo>
                  <a:lnTo>
                    <a:pt x="1381" y="2976"/>
                  </a:lnTo>
                  <a:lnTo>
                    <a:pt x="1354" y="3024"/>
                  </a:lnTo>
                  <a:lnTo>
                    <a:pt x="1326" y="3071"/>
                  </a:lnTo>
                  <a:lnTo>
                    <a:pt x="1301" y="3117"/>
                  </a:lnTo>
                  <a:lnTo>
                    <a:pt x="1278" y="3159"/>
                  </a:lnTo>
                  <a:lnTo>
                    <a:pt x="1255" y="3199"/>
                  </a:lnTo>
                  <a:lnTo>
                    <a:pt x="1235" y="3235"/>
                  </a:lnTo>
                  <a:lnTo>
                    <a:pt x="1216" y="3269"/>
                  </a:lnTo>
                  <a:lnTo>
                    <a:pt x="1199" y="3299"/>
                  </a:lnTo>
                  <a:lnTo>
                    <a:pt x="1185" y="3325"/>
                  </a:lnTo>
                  <a:lnTo>
                    <a:pt x="1172" y="3347"/>
                  </a:lnTo>
                  <a:lnTo>
                    <a:pt x="1163" y="3365"/>
                  </a:lnTo>
                  <a:lnTo>
                    <a:pt x="1154" y="3379"/>
                  </a:lnTo>
                  <a:lnTo>
                    <a:pt x="1150" y="3387"/>
                  </a:lnTo>
                  <a:lnTo>
                    <a:pt x="1148" y="3390"/>
                  </a:lnTo>
                  <a:lnTo>
                    <a:pt x="1104" y="3469"/>
                  </a:lnTo>
                  <a:lnTo>
                    <a:pt x="1060" y="3390"/>
                  </a:lnTo>
                  <a:lnTo>
                    <a:pt x="1058" y="3387"/>
                  </a:lnTo>
                  <a:lnTo>
                    <a:pt x="1053" y="3379"/>
                  </a:lnTo>
                  <a:lnTo>
                    <a:pt x="1045" y="3366"/>
                  </a:lnTo>
                  <a:lnTo>
                    <a:pt x="1036" y="3348"/>
                  </a:lnTo>
                  <a:lnTo>
                    <a:pt x="1023" y="3327"/>
                  </a:lnTo>
                  <a:lnTo>
                    <a:pt x="1010" y="3302"/>
                  </a:lnTo>
                  <a:lnTo>
                    <a:pt x="993" y="3272"/>
                  </a:lnTo>
                  <a:lnTo>
                    <a:pt x="974" y="3240"/>
                  </a:lnTo>
                  <a:lnTo>
                    <a:pt x="954" y="3204"/>
                  </a:lnTo>
                  <a:lnTo>
                    <a:pt x="932" y="3165"/>
                  </a:lnTo>
                  <a:lnTo>
                    <a:pt x="909" y="3124"/>
                  </a:lnTo>
                  <a:lnTo>
                    <a:pt x="884" y="3080"/>
                  </a:lnTo>
                  <a:lnTo>
                    <a:pt x="858" y="3034"/>
                  </a:lnTo>
                  <a:lnTo>
                    <a:pt x="831" y="2986"/>
                  </a:lnTo>
                  <a:lnTo>
                    <a:pt x="803" y="2936"/>
                  </a:lnTo>
                  <a:lnTo>
                    <a:pt x="774" y="2885"/>
                  </a:lnTo>
                  <a:lnTo>
                    <a:pt x="745" y="2833"/>
                  </a:lnTo>
                  <a:lnTo>
                    <a:pt x="715" y="2779"/>
                  </a:lnTo>
                  <a:lnTo>
                    <a:pt x="684" y="2725"/>
                  </a:lnTo>
                  <a:lnTo>
                    <a:pt x="654" y="2671"/>
                  </a:lnTo>
                  <a:lnTo>
                    <a:pt x="623" y="2616"/>
                  </a:lnTo>
                  <a:lnTo>
                    <a:pt x="592" y="2561"/>
                  </a:lnTo>
                  <a:lnTo>
                    <a:pt x="561" y="2507"/>
                  </a:lnTo>
                  <a:lnTo>
                    <a:pt x="531" y="2452"/>
                  </a:lnTo>
                  <a:lnTo>
                    <a:pt x="502" y="2399"/>
                  </a:lnTo>
                  <a:lnTo>
                    <a:pt x="472" y="2347"/>
                  </a:lnTo>
                  <a:lnTo>
                    <a:pt x="444" y="2295"/>
                  </a:lnTo>
                  <a:lnTo>
                    <a:pt x="416" y="2246"/>
                  </a:lnTo>
                  <a:lnTo>
                    <a:pt x="389" y="2197"/>
                  </a:lnTo>
                  <a:lnTo>
                    <a:pt x="364" y="2151"/>
                  </a:lnTo>
                  <a:lnTo>
                    <a:pt x="340" y="2108"/>
                  </a:lnTo>
                  <a:lnTo>
                    <a:pt x="317" y="2066"/>
                  </a:lnTo>
                  <a:lnTo>
                    <a:pt x="296" y="2028"/>
                  </a:lnTo>
                  <a:lnTo>
                    <a:pt x="276" y="1992"/>
                  </a:lnTo>
                  <a:lnTo>
                    <a:pt x="258" y="1960"/>
                  </a:lnTo>
                  <a:lnTo>
                    <a:pt x="242" y="1930"/>
                  </a:lnTo>
                  <a:lnTo>
                    <a:pt x="214" y="1875"/>
                  </a:lnTo>
                  <a:lnTo>
                    <a:pt x="186" y="1816"/>
                  </a:lnTo>
                  <a:lnTo>
                    <a:pt x="157" y="1752"/>
                  </a:lnTo>
                  <a:lnTo>
                    <a:pt x="130" y="1685"/>
                  </a:lnTo>
                  <a:lnTo>
                    <a:pt x="104" y="1615"/>
                  </a:lnTo>
                  <a:lnTo>
                    <a:pt x="79" y="1543"/>
                  </a:lnTo>
                  <a:lnTo>
                    <a:pt x="57" y="1469"/>
                  </a:lnTo>
                  <a:lnTo>
                    <a:pt x="38" y="1396"/>
                  </a:lnTo>
                  <a:lnTo>
                    <a:pt x="22" y="1321"/>
                  </a:lnTo>
                  <a:lnTo>
                    <a:pt x="10" y="1249"/>
                  </a:lnTo>
                  <a:lnTo>
                    <a:pt x="2" y="1177"/>
                  </a:lnTo>
                  <a:lnTo>
                    <a:pt x="0" y="1107"/>
                  </a:lnTo>
                  <a:lnTo>
                    <a:pt x="3" y="1020"/>
                  </a:lnTo>
                  <a:lnTo>
                    <a:pt x="13" y="936"/>
                  </a:lnTo>
                  <a:lnTo>
                    <a:pt x="29" y="853"/>
                  </a:lnTo>
                  <a:lnTo>
                    <a:pt x="51" y="773"/>
                  </a:lnTo>
                  <a:lnTo>
                    <a:pt x="79" y="695"/>
                  </a:lnTo>
                  <a:lnTo>
                    <a:pt x="112" y="621"/>
                  </a:lnTo>
                  <a:lnTo>
                    <a:pt x="151" y="549"/>
                  </a:lnTo>
                  <a:lnTo>
                    <a:pt x="194" y="480"/>
                  </a:lnTo>
                  <a:lnTo>
                    <a:pt x="242" y="415"/>
                  </a:lnTo>
                  <a:lnTo>
                    <a:pt x="296" y="354"/>
                  </a:lnTo>
                  <a:lnTo>
                    <a:pt x="353" y="297"/>
                  </a:lnTo>
                  <a:lnTo>
                    <a:pt x="413" y="243"/>
                  </a:lnTo>
                  <a:lnTo>
                    <a:pt x="479" y="195"/>
                  </a:lnTo>
                  <a:lnTo>
                    <a:pt x="547" y="152"/>
                  </a:lnTo>
                  <a:lnTo>
                    <a:pt x="619" y="113"/>
                  </a:lnTo>
                  <a:lnTo>
                    <a:pt x="694" y="79"/>
                  </a:lnTo>
                  <a:lnTo>
                    <a:pt x="771" y="52"/>
                  </a:lnTo>
                  <a:lnTo>
                    <a:pt x="851" y="30"/>
                  </a:lnTo>
                  <a:lnTo>
                    <a:pt x="933" y="13"/>
                  </a:lnTo>
                  <a:lnTo>
                    <a:pt x="1018" y="3"/>
                  </a:lnTo>
                  <a:lnTo>
                    <a:pt x="1104"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3" name="Freeform 584">
              <a:extLst>
                <a:ext uri="{FF2B5EF4-FFF2-40B4-BE49-F238E27FC236}">
                  <a16:creationId xmlns:a16="http://schemas.microsoft.com/office/drawing/2014/main" id="{DAF2AE80-5416-DFCE-DD7F-8F3521D2020A}"/>
                </a:ext>
              </a:extLst>
            </p:cNvPr>
            <p:cNvSpPr>
              <a:spLocks noChangeAspect="1"/>
            </p:cNvSpPr>
            <p:nvPr/>
          </p:nvSpPr>
          <p:spPr bwMode="auto">
            <a:xfrm>
              <a:off x="8448933" y="4105884"/>
              <a:ext cx="142527" cy="223850"/>
            </a:xfrm>
            <a:custGeom>
              <a:avLst/>
              <a:gdLst>
                <a:gd name="T0" fmla="*/ 945 w 2208"/>
                <a:gd name="T1" fmla="*/ 627 h 3469"/>
                <a:gd name="T2" fmla="*/ 768 w 2208"/>
                <a:gd name="T3" fmla="*/ 731 h 3469"/>
                <a:gd name="T4" fmla="*/ 647 w 2208"/>
                <a:gd name="T5" fmla="*/ 896 h 3469"/>
                <a:gd name="T6" fmla="*/ 602 w 2208"/>
                <a:gd name="T7" fmla="*/ 1103 h 3469"/>
                <a:gd name="T8" fmla="*/ 647 w 2208"/>
                <a:gd name="T9" fmla="*/ 1311 h 3469"/>
                <a:gd name="T10" fmla="*/ 768 w 2208"/>
                <a:gd name="T11" fmla="*/ 1476 h 3469"/>
                <a:gd name="T12" fmla="*/ 945 w 2208"/>
                <a:gd name="T13" fmla="*/ 1580 h 3469"/>
                <a:gd name="T14" fmla="*/ 1159 w 2208"/>
                <a:gd name="T15" fmla="*/ 1603 h 3469"/>
                <a:gd name="T16" fmla="*/ 1356 w 2208"/>
                <a:gd name="T17" fmla="*/ 1537 h 3469"/>
                <a:gd name="T18" fmla="*/ 1508 w 2208"/>
                <a:gd name="T19" fmla="*/ 1400 h 3469"/>
                <a:gd name="T20" fmla="*/ 1593 w 2208"/>
                <a:gd name="T21" fmla="*/ 1211 h 3469"/>
                <a:gd name="T22" fmla="*/ 1593 w 2208"/>
                <a:gd name="T23" fmla="*/ 996 h 3469"/>
                <a:gd name="T24" fmla="*/ 1508 w 2208"/>
                <a:gd name="T25" fmla="*/ 807 h 3469"/>
                <a:gd name="T26" fmla="*/ 1356 w 2208"/>
                <a:gd name="T27" fmla="*/ 670 h 3469"/>
                <a:gd name="T28" fmla="*/ 1159 w 2208"/>
                <a:gd name="T29" fmla="*/ 604 h 3469"/>
                <a:gd name="T30" fmla="*/ 1274 w 2208"/>
                <a:gd name="T31" fmla="*/ 13 h 3469"/>
                <a:gd name="T32" fmla="*/ 1589 w 2208"/>
                <a:gd name="T33" fmla="*/ 113 h 3469"/>
                <a:gd name="T34" fmla="*/ 1855 w 2208"/>
                <a:gd name="T35" fmla="*/ 297 h 3469"/>
                <a:gd name="T36" fmla="*/ 2057 w 2208"/>
                <a:gd name="T37" fmla="*/ 549 h 3469"/>
                <a:gd name="T38" fmla="*/ 2179 w 2208"/>
                <a:gd name="T39" fmla="*/ 853 h 3469"/>
                <a:gd name="T40" fmla="*/ 2206 w 2208"/>
                <a:gd name="T41" fmla="*/ 1170 h 3469"/>
                <a:gd name="T42" fmla="*/ 2161 w 2208"/>
                <a:gd name="T43" fmla="*/ 1439 h 3469"/>
                <a:gd name="T44" fmla="*/ 2075 w 2208"/>
                <a:gd name="T45" fmla="*/ 1707 h 3469"/>
                <a:gd name="T46" fmla="*/ 1971 w 2208"/>
                <a:gd name="T47" fmla="*/ 1930 h 3469"/>
                <a:gd name="T48" fmla="*/ 1886 w 2208"/>
                <a:gd name="T49" fmla="*/ 2080 h 3469"/>
                <a:gd name="T50" fmla="*/ 1778 w 2208"/>
                <a:gd name="T51" fmla="*/ 2270 h 3469"/>
                <a:gd name="T52" fmla="*/ 1657 w 2208"/>
                <a:gd name="T53" fmla="*/ 2484 h 3469"/>
                <a:gd name="T54" fmla="*/ 1531 w 2208"/>
                <a:gd name="T55" fmla="*/ 2709 h 3469"/>
                <a:gd name="T56" fmla="*/ 1409 w 2208"/>
                <a:gd name="T57" fmla="*/ 2924 h 3469"/>
                <a:gd name="T58" fmla="*/ 1301 w 2208"/>
                <a:gd name="T59" fmla="*/ 3117 h 3469"/>
                <a:gd name="T60" fmla="*/ 1216 w 2208"/>
                <a:gd name="T61" fmla="*/ 3269 h 3469"/>
                <a:gd name="T62" fmla="*/ 1163 w 2208"/>
                <a:gd name="T63" fmla="*/ 3365 h 3469"/>
                <a:gd name="T64" fmla="*/ 1104 w 2208"/>
                <a:gd name="T65" fmla="*/ 3469 h 3469"/>
                <a:gd name="T66" fmla="*/ 1045 w 2208"/>
                <a:gd name="T67" fmla="*/ 3366 h 3469"/>
                <a:gd name="T68" fmla="*/ 993 w 2208"/>
                <a:gd name="T69" fmla="*/ 3272 h 3469"/>
                <a:gd name="T70" fmla="*/ 909 w 2208"/>
                <a:gd name="T71" fmla="*/ 3124 h 3469"/>
                <a:gd name="T72" fmla="*/ 803 w 2208"/>
                <a:gd name="T73" fmla="*/ 2936 h 3469"/>
                <a:gd name="T74" fmla="*/ 684 w 2208"/>
                <a:gd name="T75" fmla="*/ 2725 h 3469"/>
                <a:gd name="T76" fmla="*/ 561 w 2208"/>
                <a:gd name="T77" fmla="*/ 2507 h 3469"/>
                <a:gd name="T78" fmla="*/ 444 w 2208"/>
                <a:gd name="T79" fmla="*/ 2295 h 3469"/>
                <a:gd name="T80" fmla="*/ 340 w 2208"/>
                <a:gd name="T81" fmla="*/ 2108 h 3469"/>
                <a:gd name="T82" fmla="*/ 258 w 2208"/>
                <a:gd name="T83" fmla="*/ 1960 h 3469"/>
                <a:gd name="T84" fmla="*/ 157 w 2208"/>
                <a:gd name="T85" fmla="*/ 1752 h 3469"/>
                <a:gd name="T86" fmla="*/ 57 w 2208"/>
                <a:gd name="T87" fmla="*/ 1469 h 3469"/>
                <a:gd name="T88" fmla="*/ 2 w 2208"/>
                <a:gd name="T89" fmla="*/ 1177 h 3469"/>
                <a:gd name="T90" fmla="*/ 29 w 2208"/>
                <a:gd name="T91" fmla="*/ 853 h 3469"/>
                <a:gd name="T92" fmla="*/ 151 w 2208"/>
                <a:gd name="T93" fmla="*/ 549 h 3469"/>
                <a:gd name="T94" fmla="*/ 353 w 2208"/>
                <a:gd name="T95" fmla="*/ 297 h 3469"/>
                <a:gd name="T96" fmla="*/ 619 w 2208"/>
                <a:gd name="T97" fmla="*/ 113 h 3469"/>
                <a:gd name="T98" fmla="*/ 933 w 2208"/>
                <a:gd name="T99" fmla="*/ 13 h 3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08" h="3469">
                  <a:moveTo>
                    <a:pt x="1104" y="601"/>
                  </a:moveTo>
                  <a:lnTo>
                    <a:pt x="1049" y="604"/>
                  </a:lnTo>
                  <a:lnTo>
                    <a:pt x="996" y="612"/>
                  </a:lnTo>
                  <a:lnTo>
                    <a:pt x="945" y="627"/>
                  </a:lnTo>
                  <a:lnTo>
                    <a:pt x="897" y="646"/>
                  </a:lnTo>
                  <a:lnTo>
                    <a:pt x="851" y="670"/>
                  </a:lnTo>
                  <a:lnTo>
                    <a:pt x="808" y="699"/>
                  </a:lnTo>
                  <a:lnTo>
                    <a:pt x="768" y="731"/>
                  </a:lnTo>
                  <a:lnTo>
                    <a:pt x="732" y="767"/>
                  </a:lnTo>
                  <a:lnTo>
                    <a:pt x="700" y="807"/>
                  </a:lnTo>
                  <a:lnTo>
                    <a:pt x="672" y="850"/>
                  </a:lnTo>
                  <a:lnTo>
                    <a:pt x="647" y="896"/>
                  </a:lnTo>
                  <a:lnTo>
                    <a:pt x="629" y="945"/>
                  </a:lnTo>
                  <a:lnTo>
                    <a:pt x="614" y="996"/>
                  </a:lnTo>
                  <a:lnTo>
                    <a:pt x="605" y="1049"/>
                  </a:lnTo>
                  <a:lnTo>
                    <a:pt x="602" y="1103"/>
                  </a:lnTo>
                  <a:lnTo>
                    <a:pt x="605" y="1158"/>
                  </a:lnTo>
                  <a:lnTo>
                    <a:pt x="614" y="1211"/>
                  </a:lnTo>
                  <a:lnTo>
                    <a:pt x="629" y="1262"/>
                  </a:lnTo>
                  <a:lnTo>
                    <a:pt x="647" y="1311"/>
                  </a:lnTo>
                  <a:lnTo>
                    <a:pt x="672" y="1357"/>
                  </a:lnTo>
                  <a:lnTo>
                    <a:pt x="700" y="1400"/>
                  </a:lnTo>
                  <a:lnTo>
                    <a:pt x="732" y="1440"/>
                  </a:lnTo>
                  <a:lnTo>
                    <a:pt x="768" y="1476"/>
                  </a:lnTo>
                  <a:lnTo>
                    <a:pt x="808" y="1508"/>
                  </a:lnTo>
                  <a:lnTo>
                    <a:pt x="851" y="1537"/>
                  </a:lnTo>
                  <a:lnTo>
                    <a:pt x="897" y="1561"/>
                  </a:lnTo>
                  <a:lnTo>
                    <a:pt x="945" y="1580"/>
                  </a:lnTo>
                  <a:lnTo>
                    <a:pt x="996" y="1595"/>
                  </a:lnTo>
                  <a:lnTo>
                    <a:pt x="1049" y="1603"/>
                  </a:lnTo>
                  <a:lnTo>
                    <a:pt x="1104" y="1606"/>
                  </a:lnTo>
                  <a:lnTo>
                    <a:pt x="1159" y="1603"/>
                  </a:lnTo>
                  <a:lnTo>
                    <a:pt x="1211" y="1595"/>
                  </a:lnTo>
                  <a:lnTo>
                    <a:pt x="1261" y="1580"/>
                  </a:lnTo>
                  <a:lnTo>
                    <a:pt x="1311" y="1561"/>
                  </a:lnTo>
                  <a:lnTo>
                    <a:pt x="1356" y="1537"/>
                  </a:lnTo>
                  <a:lnTo>
                    <a:pt x="1399" y="1508"/>
                  </a:lnTo>
                  <a:lnTo>
                    <a:pt x="1439" y="1476"/>
                  </a:lnTo>
                  <a:lnTo>
                    <a:pt x="1475" y="1440"/>
                  </a:lnTo>
                  <a:lnTo>
                    <a:pt x="1508" y="1400"/>
                  </a:lnTo>
                  <a:lnTo>
                    <a:pt x="1536" y="1357"/>
                  </a:lnTo>
                  <a:lnTo>
                    <a:pt x="1560" y="1311"/>
                  </a:lnTo>
                  <a:lnTo>
                    <a:pt x="1579" y="1262"/>
                  </a:lnTo>
                  <a:lnTo>
                    <a:pt x="1593" y="1211"/>
                  </a:lnTo>
                  <a:lnTo>
                    <a:pt x="1601" y="1158"/>
                  </a:lnTo>
                  <a:lnTo>
                    <a:pt x="1605" y="1103"/>
                  </a:lnTo>
                  <a:lnTo>
                    <a:pt x="1601" y="1049"/>
                  </a:lnTo>
                  <a:lnTo>
                    <a:pt x="1593" y="996"/>
                  </a:lnTo>
                  <a:lnTo>
                    <a:pt x="1579" y="945"/>
                  </a:lnTo>
                  <a:lnTo>
                    <a:pt x="1560" y="896"/>
                  </a:lnTo>
                  <a:lnTo>
                    <a:pt x="1536" y="850"/>
                  </a:lnTo>
                  <a:lnTo>
                    <a:pt x="1508" y="807"/>
                  </a:lnTo>
                  <a:lnTo>
                    <a:pt x="1475" y="767"/>
                  </a:lnTo>
                  <a:lnTo>
                    <a:pt x="1439" y="731"/>
                  </a:lnTo>
                  <a:lnTo>
                    <a:pt x="1399" y="699"/>
                  </a:lnTo>
                  <a:lnTo>
                    <a:pt x="1356" y="670"/>
                  </a:lnTo>
                  <a:lnTo>
                    <a:pt x="1311" y="646"/>
                  </a:lnTo>
                  <a:lnTo>
                    <a:pt x="1261" y="627"/>
                  </a:lnTo>
                  <a:lnTo>
                    <a:pt x="1211" y="612"/>
                  </a:lnTo>
                  <a:lnTo>
                    <a:pt x="1159" y="604"/>
                  </a:lnTo>
                  <a:lnTo>
                    <a:pt x="1104" y="601"/>
                  </a:lnTo>
                  <a:close/>
                  <a:moveTo>
                    <a:pt x="1104" y="0"/>
                  </a:moveTo>
                  <a:lnTo>
                    <a:pt x="1190" y="3"/>
                  </a:lnTo>
                  <a:lnTo>
                    <a:pt x="1274" y="13"/>
                  </a:lnTo>
                  <a:lnTo>
                    <a:pt x="1357" y="30"/>
                  </a:lnTo>
                  <a:lnTo>
                    <a:pt x="1437" y="52"/>
                  </a:lnTo>
                  <a:lnTo>
                    <a:pt x="1514" y="79"/>
                  </a:lnTo>
                  <a:lnTo>
                    <a:pt x="1589" y="113"/>
                  </a:lnTo>
                  <a:lnTo>
                    <a:pt x="1660" y="152"/>
                  </a:lnTo>
                  <a:lnTo>
                    <a:pt x="1728" y="195"/>
                  </a:lnTo>
                  <a:lnTo>
                    <a:pt x="1793" y="243"/>
                  </a:lnTo>
                  <a:lnTo>
                    <a:pt x="1855" y="297"/>
                  </a:lnTo>
                  <a:lnTo>
                    <a:pt x="1912" y="354"/>
                  </a:lnTo>
                  <a:lnTo>
                    <a:pt x="1964" y="415"/>
                  </a:lnTo>
                  <a:lnTo>
                    <a:pt x="2013" y="480"/>
                  </a:lnTo>
                  <a:lnTo>
                    <a:pt x="2057" y="549"/>
                  </a:lnTo>
                  <a:lnTo>
                    <a:pt x="2096" y="621"/>
                  </a:lnTo>
                  <a:lnTo>
                    <a:pt x="2128" y="695"/>
                  </a:lnTo>
                  <a:lnTo>
                    <a:pt x="2156" y="773"/>
                  </a:lnTo>
                  <a:lnTo>
                    <a:pt x="2179" y="853"/>
                  </a:lnTo>
                  <a:lnTo>
                    <a:pt x="2194" y="936"/>
                  </a:lnTo>
                  <a:lnTo>
                    <a:pt x="2205" y="1020"/>
                  </a:lnTo>
                  <a:lnTo>
                    <a:pt x="2208" y="1107"/>
                  </a:lnTo>
                  <a:lnTo>
                    <a:pt x="2206" y="1170"/>
                  </a:lnTo>
                  <a:lnTo>
                    <a:pt x="2200" y="1235"/>
                  </a:lnTo>
                  <a:lnTo>
                    <a:pt x="2190" y="1301"/>
                  </a:lnTo>
                  <a:lnTo>
                    <a:pt x="2176" y="1370"/>
                  </a:lnTo>
                  <a:lnTo>
                    <a:pt x="2161" y="1439"/>
                  </a:lnTo>
                  <a:lnTo>
                    <a:pt x="2142" y="1507"/>
                  </a:lnTo>
                  <a:lnTo>
                    <a:pt x="2122" y="1576"/>
                  </a:lnTo>
                  <a:lnTo>
                    <a:pt x="2099" y="1642"/>
                  </a:lnTo>
                  <a:lnTo>
                    <a:pt x="2075" y="1707"/>
                  </a:lnTo>
                  <a:lnTo>
                    <a:pt x="2049" y="1768"/>
                  </a:lnTo>
                  <a:lnTo>
                    <a:pt x="2023" y="1827"/>
                  </a:lnTo>
                  <a:lnTo>
                    <a:pt x="1997" y="1881"/>
                  </a:lnTo>
                  <a:lnTo>
                    <a:pt x="1971" y="1930"/>
                  </a:lnTo>
                  <a:lnTo>
                    <a:pt x="1952" y="1963"/>
                  </a:lnTo>
                  <a:lnTo>
                    <a:pt x="1931" y="1999"/>
                  </a:lnTo>
                  <a:lnTo>
                    <a:pt x="1909" y="2037"/>
                  </a:lnTo>
                  <a:lnTo>
                    <a:pt x="1886" y="2080"/>
                  </a:lnTo>
                  <a:lnTo>
                    <a:pt x="1861" y="2124"/>
                  </a:lnTo>
                  <a:lnTo>
                    <a:pt x="1834" y="2170"/>
                  </a:lnTo>
                  <a:lnTo>
                    <a:pt x="1806" y="2219"/>
                  </a:lnTo>
                  <a:lnTo>
                    <a:pt x="1778" y="2270"/>
                  </a:lnTo>
                  <a:lnTo>
                    <a:pt x="1748" y="2321"/>
                  </a:lnTo>
                  <a:lnTo>
                    <a:pt x="1718" y="2375"/>
                  </a:lnTo>
                  <a:lnTo>
                    <a:pt x="1687" y="2430"/>
                  </a:lnTo>
                  <a:lnTo>
                    <a:pt x="1657" y="2484"/>
                  </a:lnTo>
                  <a:lnTo>
                    <a:pt x="1625" y="2540"/>
                  </a:lnTo>
                  <a:lnTo>
                    <a:pt x="1594" y="2596"/>
                  </a:lnTo>
                  <a:lnTo>
                    <a:pt x="1563" y="2653"/>
                  </a:lnTo>
                  <a:lnTo>
                    <a:pt x="1531" y="2709"/>
                  </a:lnTo>
                  <a:lnTo>
                    <a:pt x="1500" y="2763"/>
                  </a:lnTo>
                  <a:lnTo>
                    <a:pt x="1469" y="2818"/>
                  </a:lnTo>
                  <a:lnTo>
                    <a:pt x="1439" y="2872"/>
                  </a:lnTo>
                  <a:lnTo>
                    <a:pt x="1409" y="2924"/>
                  </a:lnTo>
                  <a:lnTo>
                    <a:pt x="1381" y="2976"/>
                  </a:lnTo>
                  <a:lnTo>
                    <a:pt x="1354" y="3024"/>
                  </a:lnTo>
                  <a:lnTo>
                    <a:pt x="1326" y="3071"/>
                  </a:lnTo>
                  <a:lnTo>
                    <a:pt x="1301" y="3117"/>
                  </a:lnTo>
                  <a:lnTo>
                    <a:pt x="1278" y="3159"/>
                  </a:lnTo>
                  <a:lnTo>
                    <a:pt x="1255" y="3199"/>
                  </a:lnTo>
                  <a:lnTo>
                    <a:pt x="1235" y="3235"/>
                  </a:lnTo>
                  <a:lnTo>
                    <a:pt x="1216" y="3269"/>
                  </a:lnTo>
                  <a:lnTo>
                    <a:pt x="1199" y="3299"/>
                  </a:lnTo>
                  <a:lnTo>
                    <a:pt x="1185" y="3325"/>
                  </a:lnTo>
                  <a:lnTo>
                    <a:pt x="1172" y="3347"/>
                  </a:lnTo>
                  <a:lnTo>
                    <a:pt x="1163" y="3365"/>
                  </a:lnTo>
                  <a:lnTo>
                    <a:pt x="1154" y="3379"/>
                  </a:lnTo>
                  <a:lnTo>
                    <a:pt x="1150" y="3387"/>
                  </a:lnTo>
                  <a:lnTo>
                    <a:pt x="1148" y="3390"/>
                  </a:lnTo>
                  <a:lnTo>
                    <a:pt x="1104" y="3469"/>
                  </a:lnTo>
                  <a:lnTo>
                    <a:pt x="1060" y="3390"/>
                  </a:lnTo>
                  <a:lnTo>
                    <a:pt x="1058" y="3387"/>
                  </a:lnTo>
                  <a:lnTo>
                    <a:pt x="1053" y="3379"/>
                  </a:lnTo>
                  <a:lnTo>
                    <a:pt x="1045" y="3366"/>
                  </a:lnTo>
                  <a:lnTo>
                    <a:pt x="1036" y="3348"/>
                  </a:lnTo>
                  <a:lnTo>
                    <a:pt x="1023" y="3327"/>
                  </a:lnTo>
                  <a:lnTo>
                    <a:pt x="1010" y="3302"/>
                  </a:lnTo>
                  <a:lnTo>
                    <a:pt x="993" y="3272"/>
                  </a:lnTo>
                  <a:lnTo>
                    <a:pt x="974" y="3240"/>
                  </a:lnTo>
                  <a:lnTo>
                    <a:pt x="954" y="3204"/>
                  </a:lnTo>
                  <a:lnTo>
                    <a:pt x="932" y="3165"/>
                  </a:lnTo>
                  <a:lnTo>
                    <a:pt x="909" y="3124"/>
                  </a:lnTo>
                  <a:lnTo>
                    <a:pt x="884" y="3080"/>
                  </a:lnTo>
                  <a:lnTo>
                    <a:pt x="858" y="3034"/>
                  </a:lnTo>
                  <a:lnTo>
                    <a:pt x="831" y="2986"/>
                  </a:lnTo>
                  <a:lnTo>
                    <a:pt x="803" y="2936"/>
                  </a:lnTo>
                  <a:lnTo>
                    <a:pt x="774" y="2885"/>
                  </a:lnTo>
                  <a:lnTo>
                    <a:pt x="745" y="2833"/>
                  </a:lnTo>
                  <a:lnTo>
                    <a:pt x="715" y="2779"/>
                  </a:lnTo>
                  <a:lnTo>
                    <a:pt x="684" y="2725"/>
                  </a:lnTo>
                  <a:lnTo>
                    <a:pt x="654" y="2671"/>
                  </a:lnTo>
                  <a:lnTo>
                    <a:pt x="623" y="2616"/>
                  </a:lnTo>
                  <a:lnTo>
                    <a:pt x="592" y="2561"/>
                  </a:lnTo>
                  <a:lnTo>
                    <a:pt x="561" y="2507"/>
                  </a:lnTo>
                  <a:lnTo>
                    <a:pt x="531" y="2452"/>
                  </a:lnTo>
                  <a:lnTo>
                    <a:pt x="502" y="2399"/>
                  </a:lnTo>
                  <a:lnTo>
                    <a:pt x="472" y="2347"/>
                  </a:lnTo>
                  <a:lnTo>
                    <a:pt x="444" y="2295"/>
                  </a:lnTo>
                  <a:lnTo>
                    <a:pt x="416" y="2246"/>
                  </a:lnTo>
                  <a:lnTo>
                    <a:pt x="389" y="2197"/>
                  </a:lnTo>
                  <a:lnTo>
                    <a:pt x="364" y="2151"/>
                  </a:lnTo>
                  <a:lnTo>
                    <a:pt x="340" y="2108"/>
                  </a:lnTo>
                  <a:lnTo>
                    <a:pt x="317" y="2066"/>
                  </a:lnTo>
                  <a:lnTo>
                    <a:pt x="296" y="2028"/>
                  </a:lnTo>
                  <a:lnTo>
                    <a:pt x="276" y="1992"/>
                  </a:lnTo>
                  <a:lnTo>
                    <a:pt x="258" y="1960"/>
                  </a:lnTo>
                  <a:lnTo>
                    <a:pt x="242" y="1930"/>
                  </a:lnTo>
                  <a:lnTo>
                    <a:pt x="214" y="1875"/>
                  </a:lnTo>
                  <a:lnTo>
                    <a:pt x="186" y="1816"/>
                  </a:lnTo>
                  <a:lnTo>
                    <a:pt x="157" y="1752"/>
                  </a:lnTo>
                  <a:lnTo>
                    <a:pt x="130" y="1685"/>
                  </a:lnTo>
                  <a:lnTo>
                    <a:pt x="104" y="1615"/>
                  </a:lnTo>
                  <a:lnTo>
                    <a:pt x="79" y="1543"/>
                  </a:lnTo>
                  <a:lnTo>
                    <a:pt x="57" y="1469"/>
                  </a:lnTo>
                  <a:lnTo>
                    <a:pt x="38" y="1396"/>
                  </a:lnTo>
                  <a:lnTo>
                    <a:pt x="22" y="1321"/>
                  </a:lnTo>
                  <a:lnTo>
                    <a:pt x="10" y="1249"/>
                  </a:lnTo>
                  <a:lnTo>
                    <a:pt x="2" y="1177"/>
                  </a:lnTo>
                  <a:lnTo>
                    <a:pt x="0" y="1107"/>
                  </a:lnTo>
                  <a:lnTo>
                    <a:pt x="3" y="1020"/>
                  </a:lnTo>
                  <a:lnTo>
                    <a:pt x="13" y="936"/>
                  </a:lnTo>
                  <a:lnTo>
                    <a:pt x="29" y="853"/>
                  </a:lnTo>
                  <a:lnTo>
                    <a:pt x="51" y="773"/>
                  </a:lnTo>
                  <a:lnTo>
                    <a:pt x="79" y="695"/>
                  </a:lnTo>
                  <a:lnTo>
                    <a:pt x="112" y="621"/>
                  </a:lnTo>
                  <a:lnTo>
                    <a:pt x="151" y="549"/>
                  </a:lnTo>
                  <a:lnTo>
                    <a:pt x="194" y="480"/>
                  </a:lnTo>
                  <a:lnTo>
                    <a:pt x="242" y="415"/>
                  </a:lnTo>
                  <a:lnTo>
                    <a:pt x="296" y="354"/>
                  </a:lnTo>
                  <a:lnTo>
                    <a:pt x="353" y="297"/>
                  </a:lnTo>
                  <a:lnTo>
                    <a:pt x="413" y="243"/>
                  </a:lnTo>
                  <a:lnTo>
                    <a:pt x="479" y="195"/>
                  </a:lnTo>
                  <a:lnTo>
                    <a:pt x="547" y="152"/>
                  </a:lnTo>
                  <a:lnTo>
                    <a:pt x="619" y="113"/>
                  </a:lnTo>
                  <a:lnTo>
                    <a:pt x="694" y="79"/>
                  </a:lnTo>
                  <a:lnTo>
                    <a:pt x="771" y="52"/>
                  </a:lnTo>
                  <a:lnTo>
                    <a:pt x="851" y="30"/>
                  </a:lnTo>
                  <a:lnTo>
                    <a:pt x="933" y="13"/>
                  </a:lnTo>
                  <a:lnTo>
                    <a:pt x="1018" y="3"/>
                  </a:lnTo>
                  <a:lnTo>
                    <a:pt x="1104"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8" name="Freeform 584">
              <a:extLst>
                <a:ext uri="{FF2B5EF4-FFF2-40B4-BE49-F238E27FC236}">
                  <a16:creationId xmlns:a16="http://schemas.microsoft.com/office/drawing/2014/main" id="{AC6DCC1C-EED6-1B80-ED65-73D1512846B9}"/>
                </a:ext>
              </a:extLst>
            </p:cNvPr>
            <p:cNvSpPr>
              <a:spLocks noChangeAspect="1"/>
            </p:cNvSpPr>
            <p:nvPr/>
          </p:nvSpPr>
          <p:spPr bwMode="auto">
            <a:xfrm>
              <a:off x="7415301" y="3065667"/>
              <a:ext cx="142527" cy="223850"/>
            </a:xfrm>
            <a:custGeom>
              <a:avLst/>
              <a:gdLst>
                <a:gd name="T0" fmla="*/ 945 w 2208"/>
                <a:gd name="T1" fmla="*/ 627 h 3469"/>
                <a:gd name="T2" fmla="*/ 768 w 2208"/>
                <a:gd name="T3" fmla="*/ 731 h 3469"/>
                <a:gd name="T4" fmla="*/ 647 w 2208"/>
                <a:gd name="T5" fmla="*/ 896 h 3469"/>
                <a:gd name="T6" fmla="*/ 602 w 2208"/>
                <a:gd name="T7" fmla="*/ 1103 h 3469"/>
                <a:gd name="T8" fmla="*/ 647 w 2208"/>
                <a:gd name="T9" fmla="*/ 1311 h 3469"/>
                <a:gd name="T10" fmla="*/ 768 w 2208"/>
                <a:gd name="T11" fmla="*/ 1476 h 3469"/>
                <a:gd name="T12" fmla="*/ 945 w 2208"/>
                <a:gd name="T13" fmla="*/ 1580 h 3469"/>
                <a:gd name="T14" fmla="*/ 1159 w 2208"/>
                <a:gd name="T15" fmla="*/ 1603 h 3469"/>
                <a:gd name="T16" fmla="*/ 1356 w 2208"/>
                <a:gd name="T17" fmla="*/ 1537 h 3469"/>
                <a:gd name="T18" fmla="*/ 1508 w 2208"/>
                <a:gd name="T19" fmla="*/ 1400 h 3469"/>
                <a:gd name="T20" fmla="*/ 1593 w 2208"/>
                <a:gd name="T21" fmla="*/ 1211 h 3469"/>
                <a:gd name="T22" fmla="*/ 1593 w 2208"/>
                <a:gd name="T23" fmla="*/ 996 h 3469"/>
                <a:gd name="T24" fmla="*/ 1508 w 2208"/>
                <a:gd name="T25" fmla="*/ 807 h 3469"/>
                <a:gd name="T26" fmla="*/ 1356 w 2208"/>
                <a:gd name="T27" fmla="*/ 670 h 3469"/>
                <a:gd name="T28" fmla="*/ 1159 w 2208"/>
                <a:gd name="T29" fmla="*/ 604 h 3469"/>
                <a:gd name="T30" fmla="*/ 1274 w 2208"/>
                <a:gd name="T31" fmla="*/ 13 h 3469"/>
                <a:gd name="T32" fmla="*/ 1589 w 2208"/>
                <a:gd name="T33" fmla="*/ 113 h 3469"/>
                <a:gd name="T34" fmla="*/ 1855 w 2208"/>
                <a:gd name="T35" fmla="*/ 297 h 3469"/>
                <a:gd name="T36" fmla="*/ 2057 w 2208"/>
                <a:gd name="T37" fmla="*/ 549 h 3469"/>
                <a:gd name="T38" fmla="*/ 2179 w 2208"/>
                <a:gd name="T39" fmla="*/ 853 h 3469"/>
                <a:gd name="T40" fmla="*/ 2206 w 2208"/>
                <a:gd name="T41" fmla="*/ 1170 h 3469"/>
                <a:gd name="T42" fmla="*/ 2161 w 2208"/>
                <a:gd name="T43" fmla="*/ 1439 h 3469"/>
                <a:gd name="T44" fmla="*/ 2075 w 2208"/>
                <a:gd name="T45" fmla="*/ 1707 h 3469"/>
                <a:gd name="T46" fmla="*/ 1971 w 2208"/>
                <a:gd name="T47" fmla="*/ 1930 h 3469"/>
                <a:gd name="T48" fmla="*/ 1886 w 2208"/>
                <a:gd name="T49" fmla="*/ 2080 h 3469"/>
                <a:gd name="T50" fmla="*/ 1778 w 2208"/>
                <a:gd name="T51" fmla="*/ 2270 h 3469"/>
                <a:gd name="T52" fmla="*/ 1657 w 2208"/>
                <a:gd name="T53" fmla="*/ 2484 h 3469"/>
                <a:gd name="T54" fmla="*/ 1531 w 2208"/>
                <a:gd name="T55" fmla="*/ 2709 h 3469"/>
                <a:gd name="T56" fmla="*/ 1409 w 2208"/>
                <a:gd name="T57" fmla="*/ 2924 h 3469"/>
                <a:gd name="T58" fmla="*/ 1301 w 2208"/>
                <a:gd name="T59" fmla="*/ 3117 h 3469"/>
                <a:gd name="T60" fmla="*/ 1216 w 2208"/>
                <a:gd name="T61" fmla="*/ 3269 h 3469"/>
                <a:gd name="T62" fmla="*/ 1163 w 2208"/>
                <a:gd name="T63" fmla="*/ 3365 h 3469"/>
                <a:gd name="T64" fmla="*/ 1104 w 2208"/>
                <a:gd name="T65" fmla="*/ 3469 h 3469"/>
                <a:gd name="T66" fmla="*/ 1045 w 2208"/>
                <a:gd name="T67" fmla="*/ 3366 h 3469"/>
                <a:gd name="T68" fmla="*/ 993 w 2208"/>
                <a:gd name="T69" fmla="*/ 3272 h 3469"/>
                <a:gd name="T70" fmla="*/ 909 w 2208"/>
                <a:gd name="T71" fmla="*/ 3124 h 3469"/>
                <a:gd name="T72" fmla="*/ 803 w 2208"/>
                <a:gd name="T73" fmla="*/ 2936 h 3469"/>
                <a:gd name="T74" fmla="*/ 684 w 2208"/>
                <a:gd name="T75" fmla="*/ 2725 h 3469"/>
                <a:gd name="T76" fmla="*/ 561 w 2208"/>
                <a:gd name="T77" fmla="*/ 2507 h 3469"/>
                <a:gd name="T78" fmla="*/ 444 w 2208"/>
                <a:gd name="T79" fmla="*/ 2295 h 3469"/>
                <a:gd name="T80" fmla="*/ 340 w 2208"/>
                <a:gd name="T81" fmla="*/ 2108 h 3469"/>
                <a:gd name="T82" fmla="*/ 258 w 2208"/>
                <a:gd name="T83" fmla="*/ 1960 h 3469"/>
                <a:gd name="T84" fmla="*/ 157 w 2208"/>
                <a:gd name="T85" fmla="*/ 1752 h 3469"/>
                <a:gd name="T86" fmla="*/ 57 w 2208"/>
                <a:gd name="T87" fmla="*/ 1469 h 3469"/>
                <a:gd name="T88" fmla="*/ 2 w 2208"/>
                <a:gd name="T89" fmla="*/ 1177 h 3469"/>
                <a:gd name="T90" fmla="*/ 29 w 2208"/>
                <a:gd name="T91" fmla="*/ 853 h 3469"/>
                <a:gd name="T92" fmla="*/ 151 w 2208"/>
                <a:gd name="T93" fmla="*/ 549 h 3469"/>
                <a:gd name="T94" fmla="*/ 353 w 2208"/>
                <a:gd name="T95" fmla="*/ 297 h 3469"/>
                <a:gd name="T96" fmla="*/ 619 w 2208"/>
                <a:gd name="T97" fmla="*/ 113 h 3469"/>
                <a:gd name="T98" fmla="*/ 933 w 2208"/>
                <a:gd name="T99" fmla="*/ 13 h 3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08" h="3469">
                  <a:moveTo>
                    <a:pt x="1104" y="601"/>
                  </a:moveTo>
                  <a:lnTo>
                    <a:pt x="1049" y="604"/>
                  </a:lnTo>
                  <a:lnTo>
                    <a:pt x="996" y="612"/>
                  </a:lnTo>
                  <a:lnTo>
                    <a:pt x="945" y="627"/>
                  </a:lnTo>
                  <a:lnTo>
                    <a:pt x="897" y="646"/>
                  </a:lnTo>
                  <a:lnTo>
                    <a:pt x="851" y="670"/>
                  </a:lnTo>
                  <a:lnTo>
                    <a:pt x="808" y="699"/>
                  </a:lnTo>
                  <a:lnTo>
                    <a:pt x="768" y="731"/>
                  </a:lnTo>
                  <a:lnTo>
                    <a:pt x="732" y="767"/>
                  </a:lnTo>
                  <a:lnTo>
                    <a:pt x="700" y="807"/>
                  </a:lnTo>
                  <a:lnTo>
                    <a:pt x="672" y="850"/>
                  </a:lnTo>
                  <a:lnTo>
                    <a:pt x="647" y="896"/>
                  </a:lnTo>
                  <a:lnTo>
                    <a:pt x="629" y="945"/>
                  </a:lnTo>
                  <a:lnTo>
                    <a:pt x="614" y="996"/>
                  </a:lnTo>
                  <a:lnTo>
                    <a:pt x="605" y="1049"/>
                  </a:lnTo>
                  <a:lnTo>
                    <a:pt x="602" y="1103"/>
                  </a:lnTo>
                  <a:lnTo>
                    <a:pt x="605" y="1158"/>
                  </a:lnTo>
                  <a:lnTo>
                    <a:pt x="614" y="1211"/>
                  </a:lnTo>
                  <a:lnTo>
                    <a:pt x="629" y="1262"/>
                  </a:lnTo>
                  <a:lnTo>
                    <a:pt x="647" y="1311"/>
                  </a:lnTo>
                  <a:lnTo>
                    <a:pt x="672" y="1357"/>
                  </a:lnTo>
                  <a:lnTo>
                    <a:pt x="700" y="1400"/>
                  </a:lnTo>
                  <a:lnTo>
                    <a:pt x="732" y="1440"/>
                  </a:lnTo>
                  <a:lnTo>
                    <a:pt x="768" y="1476"/>
                  </a:lnTo>
                  <a:lnTo>
                    <a:pt x="808" y="1508"/>
                  </a:lnTo>
                  <a:lnTo>
                    <a:pt x="851" y="1537"/>
                  </a:lnTo>
                  <a:lnTo>
                    <a:pt x="897" y="1561"/>
                  </a:lnTo>
                  <a:lnTo>
                    <a:pt x="945" y="1580"/>
                  </a:lnTo>
                  <a:lnTo>
                    <a:pt x="996" y="1595"/>
                  </a:lnTo>
                  <a:lnTo>
                    <a:pt x="1049" y="1603"/>
                  </a:lnTo>
                  <a:lnTo>
                    <a:pt x="1104" y="1606"/>
                  </a:lnTo>
                  <a:lnTo>
                    <a:pt x="1159" y="1603"/>
                  </a:lnTo>
                  <a:lnTo>
                    <a:pt x="1211" y="1595"/>
                  </a:lnTo>
                  <a:lnTo>
                    <a:pt x="1261" y="1580"/>
                  </a:lnTo>
                  <a:lnTo>
                    <a:pt x="1311" y="1561"/>
                  </a:lnTo>
                  <a:lnTo>
                    <a:pt x="1356" y="1537"/>
                  </a:lnTo>
                  <a:lnTo>
                    <a:pt x="1399" y="1508"/>
                  </a:lnTo>
                  <a:lnTo>
                    <a:pt x="1439" y="1476"/>
                  </a:lnTo>
                  <a:lnTo>
                    <a:pt x="1475" y="1440"/>
                  </a:lnTo>
                  <a:lnTo>
                    <a:pt x="1508" y="1400"/>
                  </a:lnTo>
                  <a:lnTo>
                    <a:pt x="1536" y="1357"/>
                  </a:lnTo>
                  <a:lnTo>
                    <a:pt x="1560" y="1311"/>
                  </a:lnTo>
                  <a:lnTo>
                    <a:pt x="1579" y="1262"/>
                  </a:lnTo>
                  <a:lnTo>
                    <a:pt x="1593" y="1211"/>
                  </a:lnTo>
                  <a:lnTo>
                    <a:pt x="1601" y="1158"/>
                  </a:lnTo>
                  <a:lnTo>
                    <a:pt x="1605" y="1103"/>
                  </a:lnTo>
                  <a:lnTo>
                    <a:pt x="1601" y="1049"/>
                  </a:lnTo>
                  <a:lnTo>
                    <a:pt x="1593" y="996"/>
                  </a:lnTo>
                  <a:lnTo>
                    <a:pt x="1579" y="945"/>
                  </a:lnTo>
                  <a:lnTo>
                    <a:pt x="1560" y="896"/>
                  </a:lnTo>
                  <a:lnTo>
                    <a:pt x="1536" y="850"/>
                  </a:lnTo>
                  <a:lnTo>
                    <a:pt x="1508" y="807"/>
                  </a:lnTo>
                  <a:lnTo>
                    <a:pt x="1475" y="767"/>
                  </a:lnTo>
                  <a:lnTo>
                    <a:pt x="1439" y="731"/>
                  </a:lnTo>
                  <a:lnTo>
                    <a:pt x="1399" y="699"/>
                  </a:lnTo>
                  <a:lnTo>
                    <a:pt x="1356" y="670"/>
                  </a:lnTo>
                  <a:lnTo>
                    <a:pt x="1311" y="646"/>
                  </a:lnTo>
                  <a:lnTo>
                    <a:pt x="1261" y="627"/>
                  </a:lnTo>
                  <a:lnTo>
                    <a:pt x="1211" y="612"/>
                  </a:lnTo>
                  <a:lnTo>
                    <a:pt x="1159" y="604"/>
                  </a:lnTo>
                  <a:lnTo>
                    <a:pt x="1104" y="601"/>
                  </a:lnTo>
                  <a:close/>
                  <a:moveTo>
                    <a:pt x="1104" y="0"/>
                  </a:moveTo>
                  <a:lnTo>
                    <a:pt x="1190" y="3"/>
                  </a:lnTo>
                  <a:lnTo>
                    <a:pt x="1274" y="13"/>
                  </a:lnTo>
                  <a:lnTo>
                    <a:pt x="1357" y="30"/>
                  </a:lnTo>
                  <a:lnTo>
                    <a:pt x="1437" y="52"/>
                  </a:lnTo>
                  <a:lnTo>
                    <a:pt x="1514" y="79"/>
                  </a:lnTo>
                  <a:lnTo>
                    <a:pt x="1589" y="113"/>
                  </a:lnTo>
                  <a:lnTo>
                    <a:pt x="1660" y="152"/>
                  </a:lnTo>
                  <a:lnTo>
                    <a:pt x="1728" y="195"/>
                  </a:lnTo>
                  <a:lnTo>
                    <a:pt x="1793" y="243"/>
                  </a:lnTo>
                  <a:lnTo>
                    <a:pt x="1855" y="297"/>
                  </a:lnTo>
                  <a:lnTo>
                    <a:pt x="1912" y="354"/>
                  </a:lnTo>
                  <a:lnTo>
                    <a:pt x="1964" y="415"/>
                  </a:lnTo>
                  <a:lnTo>
                    <a:pt x="2013" y="480"/>
                  </a:lnTo>
                  <a:lnTo>
                    <a:pt x="2057" y="549"/>
                  </a:lnTo>
                  <a:lnTo>
                    <a:pt x="2096" y="621"/>
                  </a:lnTo>
                  <a:lnTo>
                    <a:pt x="2128" y="695"/>
                  </a:lnTo>
                  <a:lnTo>
                    <a:pt x="2156" y="773"/>
                  </a:lnTo>
                  <a:lnTo>
                    <a:pt x="2179" y="853"/>
                  </a:lnTo>
                  <a:lnTo>
                    <a:pt x="2194" y="936"/>
                  </a:lnTo>
                  <a:lnTo>
                    <a:pt x="2205" y="1020"/>
                  </a:lnTo>
                  <a:lnTo>
                    <a:pt x="2208" y="1107"/>
                  </a:lnTo>
                  <a:lnTo>
                    <a:pt x="2206" y="1170"/>
                  </a:lnTo>
                  <a:lnTo>
                    <a:pt x="2200" y="1235"/>
                  </a:lnTo>
                  <a:lnTo>
                    <a:pt x="2190" y="1301"/>
                  </a:lnTo>
                  <a:lnTo>
                    <a:pt x="2176" y="1370"/>
                  </a:lnTo>
                  <a:lnTo>
                    <a:pt x="2161" y="1439"/>
                  </a:lnTo>
                  <a:lnTo>
                    <a:pt x="2142" y="1507"/>
                  </a:lnTo>
                  <a:lnTo>
                    <a:pt x="2122" y="1576"/>
                  </a:lnTo>
                  <a:lnTo>
                    <a:pt x="2099" y="1642"/>
                  </a:lnTo>
                  <a:lnTo>
                    <a:pt x="2075" y="1707"/>
                  </a:lnTo>
                  <a:lnTo>
                    <a:pt x="2049" y="1768"/>
                  </a:lnTo>
                  <a:lnTo>
                    <a:pt x="2023" y="1827"/>
                  </a:lnTo>
                  <a:lnTo>
                    <a:pt x="1997" y="1881"/>
                  </a:lnTo>
                  <a:lnTo>
                    <a:pt x="1971" y="1930"/>
                  </a:lnTo>
                  <a:lnTo>
                    <a:pt x="1952" y="1963"/>
                  </a:lnTo>
                  <a:lnTo>
                    <a:pt x="1931" y="1999"/>
                  </a:lnTo>
                  <a:lnTo>
                    <a:pt x="1909" y="2037"/>
                  </a:lnTo>
                  <a:lnTo>
                    <a:pt x="1886" y="2080"/>
                  </a:lnTo>
                  <a:lnTo>
                    <a:pt x="1861" y="2124"/>
                  </a:lnTo>
                  <a:lnTo>
                    <a:pt x="1834" y="2170"/>
                  </a:lnTo>
                  <a:lnTo>
                    <a:pt x="1806" y="2219"/>
                  </a:lnTo>
                  <a:lnTo>
                    <a:pt x="1778" y="2270"/>
                  </a:lnTo>
                  <a:lnTo>
                    <a:pt x="1748" y="2321"/>
                  </a:lnTo>
                  <a:lnTo>
                    <a:pt x="1718" y="2375"/>
                  </a:lnTo>
                  <a:lnTo>
                    <a:pt x="1687" y="2430"/>
                  </a:lnTo>
                  <a:lnTo>
                    <a:pt x="1657" y="2484"/>
                  </a:lnTo>
                  <a:lnTo>
                    <a:pt x="1625" y="2540"/>
                  </a:lnTo>
                  <a:lnTo>
                    <a:pt x="1594" y="2596"/>
                  </a:lnTo>
                  <a:lnTo>
                    <a:pt x="1563" y="2653"/>
                  </a:lnTo>
                  <a:lnTo>
                    <a:pt x="1531" y="2709"/>
                  </a:lnTo>
                  <a:lnTo>
                    <a:pt x="1500" y="2763"/>
                  </a:lnTo>
                  <a:lnTo>
                    <a:pt x="1469" y="2818"/>
                  </a:lnTo>
                  <a:lnTo>
                    <a:pt x="1439" y="2872"/>
                  </a:lnTo>
                  <a:lnTo>
                    <a:pt x="1409" y="2924"/>
                  </a:lnTo>
                  <a:lnTo>
                    <a:pt x="1381" y="2976"/>
                  </a:lnTo>
                  <a:lnTo>
                    <a:pt x="1354" y="3024"/>
                  </a:lnTo>
                  <a:lnTo>
                    <a:pt x="1326" y="3071"/>
                  </a:lnTo>
                  <a:lnTo>
                    <a:pt x="1301" y="3117"/>
                  </a:lnTo>
                  <a:lnTo>
                    <a:pt x="1278" y="3159"/>
                  </a:lnTo>
                  <a:lnTo>
                    <a:pt x="1255" y="3199"/>
                  </a:lnTo>
                  <a:lnTo>
                    <a:pt x="1235" y="3235"/>
                  </a:lnTo>
                  <a:lnTo>
                    <a:pt x="1216" y="3269"/>
                  </a:lnTo>
                  <a:lnTo>
                    <a:pt x="1199" y="3299"/>
                  </a:lnTo>
                  <a:lnTo>
                    <a:pt x="1185" y="3325"/>
                  </a:lnTo>
                  <a:lnTo>
                    <a:pt x="1172" y="3347"/>
                  </a:lnTo>
                  <a:lnTo>
                    <a:pt x="1163" y="3365"/>
                  </a:lnTo>
                  <a:lnTo>
                    <a:pt x="1154" y="3379"/>
                  </a:lnTo>
                  <a:lnTo>
                    <a:pt x="1150" y="3387"/>
                  </a:lnTo>
                  <a:lnTo>
                    <a:pt x="1148" y="3390"/>
                  </a:lnTo>
                  <a:lnTo>
                    <a:pt x="1104" y="3469"/>
                  </a:lnTo>
                  <a:lnTo>
                    <a:pt x="1060" y="3390"/>
                  </a:lnTo>
                  <a:lnTo>
                    <a:pt x="1058" y="3387"/>
                  </a:lnTo>
                  <a:lnTo>
                    <a:pt x="1053" y="3379"/>
                  </a:lnTo>
                  <a:lnTo>
                    <a:pt x="1045" y="3366"/>
                  </a:lnTo>
                  <a:lnTo>
                    <a:pt x="1036" y="3348"/>
                  </a:lnTo>
                  <a:lnTo>
                    <a:pt x="1023" y="3327"/>
                  </a:lnTo>
                  <a:lnTo>
                    <a:pt x="1010" y="3302"/>
                  </a:lnTo>
                  <a:lnTo>
                    <a:pt x="993" y="3272"/>
                  </a:lnTo>
                  <a:lnTo>
                    <a:pt x="974" y="3240"/>
                  </a:lnTo>
                  <a:lnTo>
                    <a:pt x="954" y="3204"/>
                  </a:lnTo>
                  <a:lnTo>
                    <a:pt x="932" y="3165"/>
                  </a:lnTo>
                  <a:lnTo>
                    <a:pt x="909" y="3124"/>
                  </a:lnTo>
                  <a:lnTo>
                    <a:pt x="884" y="3080"/>
                  </a:lnTo>
                  <a:lnTo>
                    <a:pt x="858" y="3034"/>
                  </a:lnTo>
                  <a:lnTo>
                    <a:pt x="831" y="2986"/>
                  </a:lnTo>
                  <a:lnTo>
                    <a:pt x="803" y="2936"/>
                  </a:lnTo>
                  <a:lnTo>
                    <a:pt x="774" y="2885"/>
                  </a:lnTo>
                  <a:lnTo>
                    <a:pt x="745" y="2833"/>
                  </a:lnTo>
                  <a:lnTo>
                    <a:pt x="715" y="2779"/>
                  </a:lnTo>
                  <a:lnTo>
                    <a:pt x="684" y="2725"/>
                  </a:lnTo>
                  <a:lnTo>
                    <a:pt x="654" y="2671"/>
                  </a:lnTo>
                  <a:lnTo>
                    <a:pt x="623" y="2616"/>
                  </a:lnTo>
                  <a:lnTo>
                    <a:pt x="592" y="2561"/>
                  </a:lnTo>
                  <a:lnTo>
                    <a:pt x="561" y="2507"/>
                  </a:lnTo>
                  <a:lnTo>
                    <a:pt x="531" y="2452"/>
                  </a:lnTo>
                  <a:lnTo>
                    <a:pt x="502" y="2399"/>
                  </a:lnTo>
                  <a:lnTo>
                    <a:pt x="472" y="2347"/>
                  </a:lnTo>
                  <a:lnTo>
                    <a:pt x="444" y="2295"/>
                  </a:lnTo>
                  <a:lnTo>
                    <a:pt x="416" y="2246"/>
                  </a:lnTo>
                  <a:lnTo>
                    <a:pt x="389" y="2197"/>
                  </a:lnTo>
                  <a:lnTo>
                    <a:pt x="364" y="2151"/>
                  </a:lnTo>
                  <a:lnTo>
                    <a:pt x="340" y="2108"/>
                  </a:lnTo>
                  <a:lnTo>
                    <a:pt x="317" y="2066"/>
                  </a:lnTo>
                  <a:lnTo>
                    <a:pt x="296" y="2028"/>
                  </a:lnTo>
                  <a:lnTo>
                    <a:pt x="276" y="1992"/>
                  </a:lnTo>
                  <a:lnTo>
                    <a:pt x="258" y="1960"/>
                  </a:lnTo>
                  <a:lnTo>
                    <a:pt x="242" y="1930"/>
                  </a:lnTo>
                  <a:lnTo>
                    <a:pt x="214" y="1875"/>
                  </a:lnTo>
                  <a:lnTo>
                    <a:pt x="186" y="1816"/>
                  </a:lnTo>
                  <a:lnTo>
                    <a:pt x="157" y="1752"/>
                  </a:lnTo>
                  <a:lnTo>
                    <a:pt x="130" y="1685"/>
                  </a:lnTo>
                  <a:lnTo>
                    <a:pt x="104" y="1615"/>
                  </a:lnTo>
                  <a:lnTo>
                    <a:pt x="79" y="1543"/>
                  </a:lnTo>
                  <a:lnTo>
                    <a:pt x="57" y="1469"/>
                  </a:lnTo>
                  <a:lnTo>
                    <a:pt x="38" y="1396"/>
                  </a:lnTo>
                  <a:lnTo>
                    <a:pt x="22" y="1321"/>
                  </a:lnTo>
                  <a:lnTo>
                    <a:pt x="10" y="1249"/>
                  </a:lnTo>
                  <a:lnTo>
                    <a:pt x="2" y="1177"/>
                  </a:lnTo>
                  <a:lnTo>
                    <a:pt x="0" y="1107"/>
                  </a:lnTo>
                  <a:lnTo>
                    <a:pt x="3" y="1020"/>
                  </a:lnTo>
                  <a:lnTo>
                    <a:pt x="13" y="936"/>
                  </a:lnTo>
                  <a:lnTo>
                    <a:pt x="29" y="853"/>
                  </a:lnTo>
                  <a:lnTo>
                    <a:pt x="51" y="773"/>
                  </a:lnTo>
                  <a:lnTo>
                    <a:pt x="79" y="695"/>
                  </a:lnTo>
                  <a:lnTo>
                    <a:pt x="112" y="621"/>
                  </a:lnTo>
                  <a:lnTo>
                    <a:pt x="151" y="549"/>
                  </a:lnTo>
                  <a:lnTo>
                    <a:pt x="194" y="480"/>
                  </a:lnTo>
                  <a:lnTo>
                    <a:pt x="242" y="415"/>
                  </a:lnTo>
                  <a:lnTo>
                    <a:pt x="296" y="354"/>
                  </a:lnTo>
                  <a:lnTo>
                    <a:pt x="353" y="297"/>
                  </a:lnTo>
                  <a:lnTo>
                    <a:pt x="413" y="243"/>
                  </a:lnTo>
                  <a:lnTo>
                    <a:pt x="479" y="195"/>
                  </a:lnTo>
                  <a:lnTo>
                    <a:pt x="547" y="152"/>
                  </a:lnTo>
                  <a:lnTo>
                    <a:pt x="619" y="113"/>
                  </a:lnTo>
                  <a:lnTo>
                    <a:pt x="694" y="79"/>
                  </a:lnTo>
                  <a:lnTo>
                    <a:pt x="771" y="52"/>
                  </a:lnTo>
                  <a:lnTo>
                    <a:pt x="851" y="30"/>
                  </a:lnTo>
                  <a:lnTo>
                    <a:pt x="933" y="13"/>
                  </a:lnTo>
                  <a:lnTo>
                    <a:pt x="1018" y="3"/>
                  </a:lnTo>
                  <a:lnTo>
                    <a:pt x="1104"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54" name="Freeform 584">
              <a:extLst>
                <a:ext uri="{FF2B5EF4-FFF2-40B4-BE49-F238E27FC236}">
                  <a16:creationId xmlns:a16="http://schemas.microsoft.com/office/drawing/2014/main" id="{68A9830D-7697-D83F-8966-8138AB68786F}"/>
                </a:ext>
              </a:extLst>
            </p:cNvPr>
            <p:cNvSpPr>
              <a:spLocks noChangeAspect="1"/>
            </p:cNvSpPr>
            <p:nvPr/>
          </p:nvSpPr>
          <p:spPr bwMode="auto">
            <a:xfrm>
              <a:off x="4486453" y="2074040"/>
              <a:ext cx="142527" cy="223850"/>
            </a:xfrm>
            <a:custGeom>
              <a:avLst/>
              <a:gdLst>
                <a:gd name="T0" fmla="*/ 945 w 2208"/>
                <a:gd name="T1" fmla="*/ 627 h 3469"/>
                <a:gd name="T2" fmla="*/ 768 w 2208"/>
                <a:gd name="T3" fmla="*/ 731 h 3469"/>
                <a:gd name="T4" fmla="*/ 647 w 2208"/>
                <a:gd name="T5" fmla="*/ 896 h 3469"/>
                <a:gd name="T6" fmla="*/ 602 w 2208"/>
                <a:gd name="T7" fmla="*/ 1103 h 3469"/>
                <a:gd name="T8" fmla="*/ 647 w 2208"/>
                <a:gd name="T9" fmla="*/ 1311 h 3469"/>
                <a:gd name="T10" fmla="*/ 768 w 2208"/>
                <a:gd name="T11" fmla="*/ 1476 h 3469"/>
                <a:gd name="T12" fmla="*/ 945 w 2208"/>
                <a:gd name="T13" fmla="*/ 1580 h 3469"/>
                <a:gd name="T14" fmla="*/ 1159 w 2208"/>
                <a:gd name="T15" fmla="*/ 1603 h 3469"/>
                <a:gd name="T16" fmla="*/ 1356 w 2208"/>
                <a:gd name="T17" fmla="*/ 1537 h 3469"/>
                <a:gd name="T18" fmla="*/ 1508 w 2208"/>
                <a:gd name="T19" fmla="*/ 1400 h 3469"/>
                <a:gd name="T20" fmla="*/ 1593 w 2208"/>
                <a:gd name="T21" fmla="*/ 1211 h 3469"/>
                <a:gd name="T22" fmla="*/ 1593 w 2208"/>
                <a:gd name="T23" fmla="*/ 996 h 3469"/>
                <a:gd name="T24" fmla="*/ 1508 w 2208"/>
                <a:gd name="T25" fmla="*/ 807 h 3469"/>
                <a:gd name="T26" fmla="*/ 1356 w 2208"/>
                <a:gd name="T27" fmla="*/ 670 h 3469"/>
                <a:gd name="T28" fmla="*/ 1159 w 2208"/>
                <a:gd name="T29" fmla="*/ 604 h 3469"/>
                <a:gd name="T30" fmla="*/ 1274 w 2208"/>
                <a:gd name="T31" fmla="*/ 13 h 3469"/>
                <a:gd name="T32" fmla="*/ 1589 w 2208"/>
                <a:gd name="T33" fmla="*/ 113 h 3469"/>
                <a:gd name="T34" fmla="*/ 1855 w 2208"/>
                <a:gd name="T35" fmla="*/ 297 h 3469"/>
                <a:gd name="T36" fmla="*/ 2057 w 2208"/>
                <a:gd name="T37" fmla="*/ 549 h 3469"/>
                <a:gd name="T38" fmla="*/ 2179 w 2208"/>
                <a:gd name="T39" fmla="*/ 853 h 3469"/>
                <a:gd name="T40" fmla="*/ 2206 w 2208"/>
                <a:gd name="T41" fmla="*/ 1170 h 3469"/>
                <a:gd name="T42" fmla="*/ 2161 w 2208"/>
                <a:gd name="T43" fmla="*/ 1439 h 3469"/>
                <a:gd name="T44" fmla="*/ 2075 w 2208"/>
                <a:gd name="T45" fmla="*/ 1707 h 3469"/>
                <a:gd name="T46" fmla="*/ 1971 w 2208"/>
                <a:gd name="T47" fmla="*/ 1930 h 3469"/>
                <a:gd name="T48" fmla="*/ 1886 w 2208"/>
                <a:gd name="T49" fmla="*/ 2080 h 3469"/>
                <a:gd name="T50" fmla="*/ 1778 w 2208"/>
                <a:gd name="T51" fmla="*/ 2270 h 3469"/>
                <a:gd name="T52" fmla="*/ 1657 w 2208"/>
                <a:gd name="T53" fmla="*/ 2484 h 3469"/>
                <a:gd name="T54" fmla="*/ 1531 w 2208"/>
                <a:gd name="T55" fmla="*/ 2709 h 3469"/>
                <a:gd name="T56" fmla="*/ 1409 w 2208"/>
                <a:gd name="T57" fmla="*/ 2924 h 3469"/>
                <a:gd name="T58" fmla="*/ 1301 w 2208"/>
                <a:gd name="T59" fmla="*/ 3117 h 3469"/>
                <a:gd name="T60" fmla="*/ 1216 w 2208"/>
                <a:gd name="T61" fmla="*/ 3269 h 3469"/>
                <a:gd name="T62" fmla="*/ 1163 w 2208"/>
                <a:gd name="T63" fmla="*/ 3365 h 3469"/>
                <a:gd name="T64" fmla="*/ 1104 w 2208"/>
                <a:gd name="T65" fmla="*/ 3469 h 3469"/>
                <a:gd name="T66" fmla="*/ 1045 w 2208"/>
                <a:gd name="T67" fmla="*/ 3366 h 3469"/>
                <a:gd name="T68" fmla="*/ 993 w 2208"/>
                <a:gd name="T69" fmla="*/ 3272 h 3469"/>
                <a:gd name="T70" fmla="*/ 909 w 2208"/>
                <a:gd name="T71" fmla="*/ 3124 h 3469"/>
                <a:gd name="T72" fmla="*/ 803 w 2208"/>
                <a:gd name="T73" fmla="*/ 2936 h 3469"/>
                <a:gd name="T74" fmla="*/ 684 w 2208"/>
                <a:gd name="T75" fmla="*/ 2725 h 3469"/>
                <a:gd name="T76" fmla="*/ 561 w 2208"/>
                <a:gd name="T77" fmla="*/ 2507 h 3469"/>
                <a:gd name="T78" fmla="*/ 444 w 2208"/>
                <a:gd name="T79" fmla="*/ 2295 h 3469"/>
                <a:gd name="T80" fmla="*/ 340 w 2208"/>
                <a:gd name="T81" fmla="*/ 2108 h 3469"/>
                <a:gd name="T82" fmla="*/ 258 w 2208"/>
                <a:gd name="T83" fmla="*/ 1960 h 3469"/>
                <a:gd name="T84" fmla="*/ 157 w 2208"/>
                <a:gd name="T85" fmla="*/ 1752 h 3469"/>
                <a:gd name="T86" fmla="*/ 57 w 2208"/>
                <a:gd name="T87" fmla="*/ 1469 h 3469"/>
                <a:gd name="T88" fmla="*/ 2 w 2208"/>
                <a:gd name="T89" fmla="*/ 1177 h 3469"/>
                <a:gd name="T90" fmla="*/ 29 w 2208"/>
                <a:gd name="T91" fmla="*/ 853 h 3469"/>
                <a:gd name="T92" fmla="*/ 151 w 2208"/>
                <a:gd name="T93" fmla="*/ 549 h 3469"/>
                <a:gd name="T94" fmla="*/ 353 w 2208"/>
                <a:gd name="T95" fmla="*/ 297 h 3469"/>
                <a:gd name="T96" fmla="*/ 619 w 2208"/>
                <a:gd name="T97" fmla="*/ 113 h 3469"/>
                <a:gd name="T98" fmla="*/ 933 w 2208"/>
                <a:gd name="T99" fmla="*/ 13 h 3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08" h="3469">
                  <a:moveTo>
                    <a:pt x="1104" y="601"/>
                  </a:moveTo>
                  <a:lnTo>
                    <a:pt x="1049" y="604"/>
                  </a:lnTo>
                  <a:lnTo>
                    <a:pt x="996" y="612"/>
                  </a:lnTo>
                  <a:lnTo>
                    <a:pt x="945" y="627"/>
                  </a:lnTo>
                  <a:lnTo>
                    <a:pt x="897" y="646"/>
                  </a:lnTo>
                  <a:lnTo>
                    <a:pt x="851" y="670"/>
                  </a:lnTo>
                  <a:lnTo>
                    <a:pt x="808" y="699"/>
                  </a:lnTo>
                  <a:lnTo>
                    <a:pt x="768" y="731"/>
                  </a:lnTo>
                  <a:lnTo>
                    <a:pt x="732" y="767"/>
                  </a:lnTo>
                  <a:lnTo>
                    <a:pt x="700" y="807"/>
                  </a:lnTo>
                  <a:lnTo>
                    <a:pt x="672" y="850"/>
                  </a:lnTo>
                  <a:lnTo>
                    <a:pt x="647" y="896"/>
                  </a:lnTo>
                  <a:lnTo>
                    <a:pt x="629" y="945"/>
                  </a:lnTo>
                  <a:lnTo>
                    <a:pt x="614" y="996"/>
                  </a:lnTo>
                  <a:lnTo>
                    <a:pt x="605" y="1049"/>
                  </a:lnTo>
                  <a:lnTo>
                    <a:pt x="602" y="1103"/>
                  </a:lnTo>
                  <a:lnTo>
                    <a:pt x="605" y="1158"/>
                  </a:lnTo>
                  <a:lnTo>
                    <a:pt x="614" y="1211"/>
                  </a:lnTo>
                  <a:lnTo>
                    <a:pt x="629" y="1262"/>
                  </a:lnTo>
                  <a:lnTo>
                    <a:pt x="647" y="1311"/>
                  </a:lnTo>
                  <a:lnTo>
                    <a:pt x="672" y="1357"/>
                  </a:lnTo>
                  <a:lnTo>
                    <a:pt x="700" y="1400"/>
                  </a:lnTo>
                  <a:lnTo>
                    <a:pt x="732" y="1440"/>
                  </a:lnTo>
                  <a:lnTo>
                    <a:pt x="768" y="1476"/>
                  </a:lnTo>
                  <a:lnTo>
                    <a:pt x="808" y="1508"/>
                  </a:lnTo>
                  <a:lnTo>
                    <a:pt x="851" y="1537"/>
                  </a:lnTo>
                  <a:lnTo>
                    <a:pt x="897" y="1561"/>
                  </a:lnTo>
                  <a:lnTo>
                    <a:pt x="945" y="1580"/>
                  </a:lnTo>
                  <a:lnTo>
                    <a:pt x="996" y="1595"/>
                  </a:lnTo>
                  <a:lnTo>
                    <a:pt x="1049" y="1603"/>
                  </a:lnTo>
                  <a:lnTo>
                    <a:pt x="1104" y="1606"/>
                  </a:lnTo>
                  <a:lnTo>
                    <a:pt x="1159" y="1603"/>
                  </a:lnTo>
                  <a:lnTo>
                    <a:pt x="1211" y="1595"/>
                  </a:lnTo>
                  <a:lnTo>
                    <a:pt x="1261" y="1580"/>
                  </a:lnTo>
                  <a:lnTo>
                    <a:pt x="1311" y="1561"/>
                  </a:lnTo>
                  <a:lnTo>
                    <a:pt x="1356" y="1537"/>
                  </a:lnTo>
                  <a:lnTo>
                    <a:pt x="1399" y="1508"/>
                  </a:lnTo>
                  <a:lnTo>
                    <a:pt x="1439" y="1476"/>
                  </a:lnTo>
                  <a:lnTo>
                    <a:pt x="1475" y="1440"/>
                  </a:lnTo>
                  <a:lnTo>
                    <a:pt x="1508" y="1400"/>
                  </a:lnTo>
                  <a:lnTo>
                    <a:pt x="1536" y="1357"/>
                  </a:lnTo>
                  <a:lnTo>
                    <a:pt x="1560" y="1311"/>
                  </a:lnTo>
                  <a:lnTo>
                    <a:pt x="1579" y="1262"/>
                  </a:lnTo>
                  <a:lnTo>
                    <a:pt x="1593" y="1211"/>
                  </a:lnTo>
                  <a:lnTo>
                    <a:pt x="1601" y="1158"/>
                  </a:lnTo>
                  <a:lnTo>
                    <a:pt x="1605" y="1103"/>
                  </a:lnTo>
                  <a:lnTo>
                    <a:pt x="1601" y="1049"/>
                  </a:lnTo>
                  <a:lnTo>
                    <a:pt x="1593" y="996"/>
                  </a:lnTo>
                  <a:lnTo>
                    <a:pt x="1579" y="945"/>
                  </a:lnTo>
                  <a:lnTo>
                    <a:pt x="1560" y="896"/>
                  </a:lnTo>
                  <a:lnTo>
                    <a:pt x="1536" y="850"/>
                  </a:lnTo>
                  <a:lnTo>
                    <a:pt x="1508" y="807"/>
                  </a:lnTo>
                  <a:lnTo>
                    <a:pt x="1475" y="767"/>
                  </a:lnTo>
                  <a:lnTo>
                    <a:pt x="1439" y="731"/>
                  </a:lnTo>
                  <a:lnTo>
                    <a:pt x="1399" y="699"/>
                  </a:lnTo>
                  <a:lnTo>
                    <a:pt x="1356" y="670"/>
                  </a:lnTo>
                  <a:lnTo>
                    <a:pt x="1311" y="646"/>
                  </a:lnTo>
                  <a:lnTo>
                    <a:pt x="1261" y="627"/>
                  </a:lnTo>
                  <a:lnTo>
                    <a:pt x="1211" y="612"/>
                  </a:lnTo>
                  <a:lnTo>
                    <a:pt x="1159" y="604"/>
                  </a:lnTo>
                  <a:lnTo>
                    <a:pt x="1104" y="601"/>
                  </a:lnTo>
                  <a:close/>
                  <a:moveTo>
                    <a:pt x="1104" y="0"/>
                  </a:moveTo>
                  <a:lnTo>
                    <a:pt x="1190" y="3"/>
                  </a:lnTo>
                  <a:lnTo>
                    <a:pt x="1274" y="13"/>
                  </a:lnTo>
                  <a:lnTo>
                    <a:pt x="1357" y="30"/>
                  </a:lnTo>
                  <a:lnTo>
                    <a:pt x="1437" y="52"/>
                  </a:lnTo>
                  <a:lnTo>
                    <a:pt x="1514" y="79"/>
                  </a:lnTo>
                  <a:lnTo>
                    <a:pt x="1589" y="113"/>
                  </a:lnTo>
                  <a:lnTo>
                    <a:pt x="1660" y="152"/>
                  </a:lnTo>
                  <a:lnTo>
                    <a:pt x="1728" y="195"/>
                  </a:lnTo>
                  <a:lnTo>
                    <a:pt x="1793" y="243"/>
                  </a:lnTo>
                  <a:lnTo>
                    <a:pt x="1855" y="297"/>
                  </a:lnTo>
                  <a:lnTo>
                    <a:pt x="1912" y="354"/>
                  </a:lnTo>
                  <a:lnTo>
                    <a:pt x="1964" y="415"/>
                  </a:lnTo>
                  <a:lnTo>
                    <a:pt x="2013" y="480"/>
                  </a:lnTo>
                  <a:lnTo>
                    <a:pt x="2057" y="549"/>
                  </a:lnTo>
                  <a:lnTo>
                    <a:pt x="2096" y="621"/>
                  </a:lnTo>
                  <a:lnTo>
                    <a:pt x="2128" y="695"/>
                  </a:lnTo>
                  <a:lnTo>
                    <a:pt x="2156" y="773"/>
                  </a:lnTo>
                  <a:lnTo>
                    <a:pt x="2179" y="853"/>
                  </a:lnTo>
                  <a:lnTo>
                    <a:pt x="2194" y="936"/>
                  </a:lnTo>
                  <a:lnTo>
                    <a:pt x="2205" y="1020"/>
                  </a:lnTo>
                  <a:lnTo>
                    <a:pt x="2208" y="1107"/>
                  </a:lnTo>
                  <a:lnTo>
                    <a:pt x="2206" y="1170"/>
                  </a:lnTo>
                  <a:lnTo>
                    <a:pt x="2200" y="1235"/>
                  </a:lnTo>
                  <a:lnTo>
                    <a:pt x="2190" y="1301"/>
                  </a:lnTo>
                  <a:lnTo>
                    <a:pt x="2176" y="1370"/>
                  </a:lnTo>
                  <a:lnTo>
                    <a:pt x="2161" y="1439"/>
                  </a:lnTo>
                  <a:lnTo>
                    <a:pt x="2142" y="1507"/>
                  </a:lnTo>
                  <a:lnTo>
                    <a:pt x="2122" y="1576"/>
                  </a:lnTo>
                  <a:lnTo>
                    <a:pt x="2099" y="1642"/>
                  </a:lnTo>
                  <a:lnTo>
                    <a:pt x="2075" y="1707"/>
                  </a:lnTo>
                  <a:lnTo>
                    <a:pt x="2049" y="1768"/>
                  </a:lnTo>
                  <a:lnTo>
                    <a:pt x="2023" y="1827"/>
                  </a:lnTo>
                  <a:lnTo>
                    <a:pt x="1997" y="1881"/>
                  </a:lnTo>
                  <a:lnTo>
                    <a:pt x="1971" y="1930"/>
                  </a:lnTo>
                  <a:lnTo>
                    <a:pt x="1952" y="1963"/>
                  </a:lnTo>
                  <a:lnTo>
                    <a:pt x="1931" y="1999"/>
                  </a:lnTo>
                  <a:lnTo>
                    <a:pt x="1909" y="2037"/>
                  </a:lnTo>
                  <a:lnTo>
                    <a:pt x="1886" y="2080"/>
                  </a:lnTo>
                  <a:lnTo>
                    <a:pt x="1861" y="2124"/>
                  </a:lnTo>
                  <a:lnTo>
                    <a:pt x="1834" y="2170"/>
                  </a:lnTo>
                  <a:lnTo>
                    <a:pt x="1806" y="2219"/>
                  </a:lnTo>
                  <a:lnTo>
                    <a:pt x="1778" y="2270"/>
                  </a:lnTo>
                  <a:lnTo>
                    <a:pt x="1748" y="2321"/>
                  </a:lnTo>
                  <a:lnTo>
                    <a:pt x="1718" y="2375"/>
                  </a:lnTo>
                  <a:lnTo>
                    <a:pt x="1687" y="2430"/>
                  </a:lnTo>
                  <a:lnTo>
                    <a:pt x="1657" y="2484"/>
                  </a:lnTo>
                  <a:lnTo>
                    <a:pt x="1625" y="2540"/>
                  </a:lnTo>
                  <a:lnTo>
                    <a:pt x="1594" y="2596"/>
                  </a:lnTo>
                  <a:lnTo>
                    <a:pt x="1563" y="2653"/>
                  </a:lnTo>
                  <a:lnTo>
                    <a:pt x="1531" y="2709"/>
                  </a:lnTo>
                  <a:lnTo>
                    <a:pt x="1500" y="2763"/>
                  </a:lnTo>
                  <a:lnTo>
                    <a:pt x="1469" y="2818"/>
                  </a:lnTo>
                  <a:lnTo>
                    <a:pt x="1439" y="2872"/>
                  </a:lnTo>
                  <a:lnTo>
                    <a:pt x="1409" y="2924"/>
                  </a:lnTo>
                  <a:lnTo>
                    <a:pt x="1381" y="2976"/>
                  </a:lnTo>
                  <a:lnTo>
                    <a:pt x="1354" y="3024"/>
                  </a:lnTo>
                  <a:lnTo>
                    <a:pt x="1326" y="3071"/>
                  </a:lnTo>
                  <a:lnTo>
                    <a:pt x="1301" y="3117"/>
                  </a:lnTo>
                  <a:lnTo>
                    <a:pt x="1278" y="3159"/>
                  </a:lnTo>
                  <a:lnTo>
                    <a:pt x="1255" y="3199"/>
                  </a:lnTo>
                  <a:lnTo>
                    <a:pt x="1235" y="3235"/>
                  </a:lnTo>
                  <a:lnTo>
                    <a:pt x="1216" y="3269"/>
                  </a:lnTo>
                  <a:lnTo>
                    <a:pt x="1199" y="3299"/>
                  </a:lnTo>
                  <a:lnTo>
                    <a:pt x="1185" y="3325"/>
                  </a:lnTo>
                  <a:lnTo>
                    <a:pt x="1172" y="3347"/>
                  </a:lnTo>
                  <a:lnTo>
                    <a:pt x="1163" y="3365"/>
                  </a:lnTo>
                  <a:lnTo>
                    <a:pt x="1154" y="3379"/>
                  </a:lnTo>
                  <a:lnTo>
                    <a:pt x="1150" y="3387"/>
                  </a:lnTo>
                  <a:lnTo>
                    <a:pt x="1148" y="3390"/>
                  </a:lnTo>
                  <a:lnTo>
                    <a:pt x="1104" y="3469"/>
                  </a:lnTo>
                  <a:lnTo>
                    <a:pt x="1060" y="3390"/>
                  </a:lnTo>
                  <a:lnTo>
                    <a:pt x="1058" y="3387"/>
                  </a:lnTo>
                  <a:lnTo>
                    <a:pt x="1053" y="3379"/>
                  </a:lnTo>
                  <a:lnTo>
                    <a:pt x="1045" y="3366"/>
                  </a:lnTo>
                  <a:lnTo>
                    <a:pt x="1036" y="3348"/>
                  </a:lnTo>
                  <a:lnTo>
                    <a:pt x="1023" y="3327"/>
                  </a:lnTo>
                  <a:lnTo>
                    <a:pt x="1010" y="3302"/>
                  </a:lnTo>
                  <a:lnTo>
                    <a:pt x="993" y="3272"/>
                  </a:lnTo>
                  <a:lnTo>
                    <a:pt x="974" y="3240"/>
                  </a:lnTo>
                  <a:lnTo>
                    <a:pt x="954" y="3204"/>
                  </a:lnTo>
                  <a:lnTo>
                    <a:pt x="932" y="3165"/>
                  </a:lnTo>
                  <a:lnTo>
                    <a:pt x="909" y="3124"/>
                  </a:lnTo>
                  <a:lnTo>
                    <a:pt x="884" y="3080"/>
                  </a:lnTo>
                  <a:lnTo>
                    <a:pt x="858" y="3034"/>
                  </a:lnTo>
                  <a:lnTo>
                    <a:pt x="831" y="2986"/>
                  </a:lnTo>
                  <a:lnTo>
                    <a:pt x="803" y="2936"/>
                  </a:lnTo>
                  <a:lnTo>
                    <a:pt x="774" y="2885"/>
                  </a:lnTo>
                  <a:lnTo>
                    <a:pt x="745" y="2833"/>
                  </a:lnTo>
                  <a:lnTo>
                    <a:pt x="715" y="2779"/>
                  </a:lnTo>
                  <a:lnTo>
                    <a:pt x="684" y="2725"/>
                  </a:lnTo>
                  <a:lnTo>
                    <a:pt x="654" y="2671"/>
                  </a:lnTo>
                  <a:lnTo>
                    <a:pt x="623" y="2616"/>
                  </a:lnTo>
                  <a:lnTo>
                    <a:pt x="592" y="2561"/>
                  </a:lnTo>
                  <a:lnTo>
                    <a:pt x="561" y="2507"/>
                  </a:lnTo>
                  <a:lnTo>
                    <a:pt x="531" y="2452"/>
                  </a:lnTo>
                  <a:lnTo>
                    <a:pt x="502" y="2399"/>
                  </a:lnTo>
                  <a:lnTo>
                    <a:pt x="472" y="2347"/>
                  </a:lnTo>
                  <a:lnTo>
                    <a:pt x="444" y="2295"/>
                  </a:lnTo>
                  <a:lnTo>
                    <a:pt x="416" y="2246"/>
                  </a:lnTo>
                  <a:lnTo>
                    <a:pt x="389" y="2197"/>
                  </a:lnTo>
                  <a:lnTo>
                    <a:pt x="364" y="2151"/>
                  </a:lnTo>
                  <a:lnTo>
                    <a:pt x="340" y="2108"/>
                  </a:lnTo>
                  <a:lnTo>
                    <a:pt x="317" y="2066"/>
                  </a:lnTo>
                  <a:lnTo>
                    <a:pt x="296" y="2028"/>
                  </a:lnTo>
                  <a:lnTo>
                    <a:pt x="276" y="1992"/>
                  </a:lnTo>
                  <a:lnTo>
                    <a:pt x="258" y="1960"/>
                  </a:lnTo>
                  <a:lnTo>
                    <a:pt x="242" y="1930"/>
                  </a:lnTo>
                  <a:lnTo>
                    <a:pt x="214" y="1875"/>
                  </a:lnTo>
                  <a:lnTo>
                    <a:pt x="186" y="1816"/>
                  </a:lnTo>
                  <a:lnTo>
                    <a:pt x="157" y="1752"/>
                  </a:lnTo>
                  <a:lnTo>
                    <a:pt x="130" y="1685"/>
                  </a:lnTo>
                  <a:lnTo>
                    <a:pt x="104" y="1615"/>
                  </a:lnTo>
                  <a:lnTo>
                    <a:pt x="79" y="1543"/>
                  </a:lnTo>
                  <a:lnTo>
                    <a:pt x="57" y="1469"/>
                  </a:lnTo>
                  <a:lnTo>
                    <a:pt x="38" y="1396"/>
                  </a:lnTo>
                  <a:lnTo>
                    <a:pt x="22" y="1321"/>
                  </a:lnTo>
                  <a:lnTo>
                    <a:pt x="10" y="1249"/>
                  </a:lnTo>
                  <a:lnTo>
                    <a:pt x="2" y="1177"/>
                  </a:lnTo>
                  <a:lnTo>
                    <a:pt x="0" y="1107"/>
                  </a:lnTo>
                  <a:lnTo>
                    <a:pt x="3" y="1020"/>
                  </a:lnTo>
                  <a:lnTo>
                    <a:pt x="13" y="936"/>
                  </a:lnTo>
                  <a:lnTo>
                    <a:pt x="29" y="853"/>
                  </a:lnTo>
                  <a:lnTo>
                    <a:pt x="51" y="773"/>
                  </a:lnTo>
                  <a:lnTo>
                    <a:pt x="79" y="695"/>
                  </a:lnTo>
                  <a:lnTo>
                    <a:pt x="112" y="621"/>
                  </a:lnTo>
                  <a:lnTo>
                    <a:pt x="151" y="549"/>
                  </a:lnTo>
                  <a:lnTo>
                    <a:pt x="194" y="480"/>
                  </a:lnTo>
                  <a:lnTo>
                    <a:pt x="242" y="415"/>
                  </a:lnTo>
                  <a:lnTo>
                    <a:pt x="296" y="354"/>
                  </a:lnTo>
                  <a:lnTo>
                    <a:pt x="353" y="297"/>
                  </a:lnTo>
                  <a:lnTo>
                    <a:pt x="413" y="243"/>
                  </a:lnTo>
                  <a:lnTo>
                    <a:pt x="479" y="195"/>
                  </a:lnTo>
                  <a:lnTo>
                    <a:pt x="547" y="152"/>
                  </a:lnTo>
                  <a:lnTo>
                    <a:pt x="619" y="113"/>
                  </a:lnTo>
                  <a:lnTo>
                    <a:pt x="694" y="79"/>
                  </a:lnTo>
                  <a:lnTo>
                    <a:pt x="771" y="52"/>
                  </a:lnTo>
                  <a:lnTo>
                    <a:pt x="851" y="30"/>
                  </a:lnTo>
                  <a:lnTo>
                    <a:pt x="933" y="13"/>
                  </a:lnTo>
                  <a:lnTo>
                    <a:pt x="1018" y="3"/>
                  </a:lnTo>
                  <a:lnTo>
                    <a:pt x="1104"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58" name="TextBox 57">
              <a:extLst>
                <a:ext uri="{FF2B5EF4-FFF2-40B4-BE49-F238E27FC236}">
                  <a16:creationId xmlns:a16="http://schemas.microsoft.com/office/drawing/2014/main" id="{0058F8A0-3FC8-B5F3-3CC5-8A9C24FABCE7}"/>
                </a:ext>
              </a:extLst>
            </p:cNvPr>
            <p:cNvSpPr txBox="1"/>
            <p:nvPr/>
          </p:nvSpPr>
          <p:spPr>
            <a:xfrm>
              <a:off x="9361303" y="2923201"/>
              <a:ext cx="450153" cy="19206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C3C3B"/>
                  </a:solidFill>
                  <a:effectLst/>
                  <a:uLnTx/>
                  <a:uFillTx/>
                  <a:latin typeface="Lato"/>
                  <a:ea typeface="Lato"/>
                  <a:cs typeface="Lato"/>
                  <a:sym typeface="Lato" panose="020F0502020204030203" pitchFamily="34" charset="0"/>
                </a:rPr>
                <a:t>Tokyo</a:t>
              </a:r>
              <a:endParaRPr kumimoji="0" lang="en-GB" sz="12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59" name="TextBox 58">
              <a:extLst>
                <a:ext uri="{FF2B5EF4-FFF2-40B4-BE49-F238E27FC236}">
                  <a16:creationId xmlns:a16="http://schemas.microsoft.com/office/drawing/2014/main" id="{FA4A9659-4CD3-74C2-65B0-6195E7F5FB91}"/>
                </a:ext>
              </a:extLst>
            </p:cNvPr>
            <p:cNvSpPr txBox="1"/>
            <p:nvPr/>
          </p:nvSpPr>
          <p:spPr>
            <a:xfrm>
              <a:off x="7717386" y="4195727"/>
              <a:ext cx="713575" cy="19206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C3C3B"/>
                  </a:solidFill>
                  <a:effectLst/>
                  <a:uLnTx/>
                  <a:uFillTx/>
                  <a:latin typeface="Lato"/>
                  <a:ea typeface="Lato"/>
                  <a:cs typeface="Lato"/>
                  <a:sym typeface="Lato" panose="020F0502020204030203" pitchFamily="34" charset="0"/>
                </a:rPr>
                <a:t>Singapore</a:t>
              </a:r>
              <a:endParaRPr kumimoji="0" lang="en-GB" sz="12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60" name="TextBox 59">
              <a:extLst>
                <a:ext uri="{FF2B5EF4-FFF2-40B4-BE49-F238E27FC236}">
                  <a16:creationId xmlns:a16="http://schemas.microsoft.com/office/drawing/2014/main" id="{A2FFD2C2-DA46-B50D-AC31-4876D4CC96AD}"/>
                </a:ext>
              </a:extLst>
            </p:cNvPr>
            <p:cNvSpPr txBox="1"/>
            <p:nvPr/>
          </p:nvSpPr>
          <p:spPr>
            <a:xfrm>
              <a:off x="7264382" y="3276306"/>
              <a:ext cx="451561" cy="1920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white">
                      <a:lumMod val="50000"/>
                    </a:prstClr>
                  </a:solidFill>
                  <a:effectLst/>
                  <a:uLnTx/>
                  <a:uFillTx/>
                  <a:latin typeface="Lato"/>
                  <a:ea typeface="Lato"/>
                  <a:cs typeface="Lato"/>
                  <a:sym typeface="Lato" panose="020F0502020204030203" pitchFamily="34" charset="0"/>
                </a:rPr>
                <a:t>Delhi</a:t>
              </a:r>
              <a:endParaRPr kumimoji="0" lang="en-GB" sz="1200" b="1" i="0" u="none" strike="noStrike" kern="1200" cap="none" spc="0" normalizeH="0" baseline="0" noProof="0">
                <a:ln>
                  <a:noFill/>
                </a:ln>
                <a:solidFill>
                  <a:prstClr val="white">
                    <a:lumMod val="50000"/>
                  </a:prstClr>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61" name="TextBox 60">
              <a:extLst>
                <a:ext uri="{FF2B5EF4-FFF2-40B4-BE49-F238E27FC236}">
                  <a16:creationId xmlns:a16="http://schemas.microsoft.com/office/drawing/2014/main" id="{E821BB91-DD19-747A-4CE0-F8AA1C653DCE}"/>
                </a:ext>
              </a:extLst>
            </p:cNvPr>
            <p:cNvSpPr txBox="1"/>
            <p:nvPr/>
          </p:nvSpPr>
          <p:spPr>
            <a:xfrm>
              <a:off x="4176542" y="2343507"/>
              <a:ext cx="715243" cy="19206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white">
                      <a:lumMod val="50000"/>
                    </a:prstClr>
                  </a:solidFill>
                  <a:effectLst/>
                  <a:uLnTx/>
                  <a:uFillTx/>
                  <a:latin typeface="Lato"/>
                  <a:ea typeface="Lato"/>
                  <a:cs typeface="Lato"/>
                  <a:sym typeface="Lato" panose="020F0502020204030203" pitchFamily="34" charset="0"/>
                </a:rPr>
                <a:t>New York</a:t>
              </a:r>
              <a:endParaRPr kumimoji="0" lang="en-GB" sz="1200" b="1" i="0" u="none" strike="noStrike" kern="1200" cap="none" spc="0" normalizeH="0" baseline="0" noProof="0">
                <a:ln>
                  <a:noFill/>
                </a:ln>
                <a:solidFill>
                  <a:prstClr val="white">
                    <a:lumMod val="50000"/>
                  </a:prstClr>
                </a:solidFill>
                <a:effectLst/>
                <a:uLnTx/>
                <a:uFillTx/>
                <a:latin typeface="Lato" panose="020F0502020204030203" pitchFamily="34" charset="0"/>
                <a:ea typeface="Lato" panose="020F0502020204030203" pitchFamily="34" charset="0"/>
                <a:cs typeface="Lato" panose="020F0502020204030203" pitchFamily="34" charset="0"/>
              </a:endParaRPr>
            </a:p>
          </p:txBody>
        </p:sp>
      </p:grpSp>
      <p:grpSp>
        <p:nvGrpSpPr>
          <p:cNvPr id="50" name="Group 49">
            <a:extLst>
              <a:ext uri="{FF2B5EF4-FFF2-40B4-BE49-F238E27FC236}">
                <a16:creationId xmlns:a16="http://schemas.microsoft.com/office/drawing/2014/main" id="{1B44E3CD-9D01-7049-8BD6-98438B2296FD}"/>
              </a:ext>
            </a:extLst>
          </p:cNvPr>
          <p:cNvGrpSpPr/>
          <p:nvPr/>
        </p:nvGrpSpPr>
        <p:grpSpPr>
          <a:xfrm>
            <a:off x="5700079" y="3365209"/>
            <a:ext cx="581626" cy="348657"/>
            <a:chOff x="5553584" y="3304253"/>
            <a:chExt cx="604931" cy="362626"/>
          </a:xfrm>
        </p:grpSpPr>
        <p:sp>
          <p:nvSpPr>
            <p:cNvPr id="215" name="Freeform 584">
              <a:extLst>
                <a:ext uri="{FF2B5EF4-FFF2-40B4-BE49-F238E27FC236}">
                  <a16:creationId xmlns:a16="http://schemas.microsoft.com/office/drawing/2014/main" id="{83E07861-F3E0-5B93-80CB-544324DBD4B3}"/>
                </a:ext>
              </a:extLst>
            </p:cNvPr>
            <p:cNvSpPr>
              <a:spLocks noChangeAspect="1"/>
            </p:cNvSpPr>
            <p:nvPr/>
          </p:nvSpPr>
          <p:spPr bwMode="auto">
            <a:xfrm>
              <a:off x="5553584" y="3304253"/>
              <a:ext cx="142527" cy="223849"/>
            </a:xfrm>
            <a:custGeom>
              <a:avLst/>
              <a:gdLst>
                <a:gd name="T0" fmla="*/ 945 w 2208"/>
                <a:gd name="T1" fmla="*/ 627 h 3469"/>
                <a:gd name="T2" fmla="*/ 768 w 2208"/>
                <a:gd name="T3" fmla="*/ 731 h 3469"/>
                <a:gd name="T4" fmla="*/ 647 w 2208"/>
                <a:gd name="T5" fmla="*/ 896 h 3469"/>
                <a:gd name="T6" fmla="*/ 602 w 2208"/>
                <a:gd name="T7" fmla="*/ 1103 h 3469"/>
                <a:gd name="T8" fmla="*/ 647 w 2208"/>
                <a:gd name="T9" fmla="*/ 1311 h 3469"/>
                <a:gd name="T10" fmla="*/ 768 w 2208"/>
                <a:gd name="T11" fmla="*/ 1476 h 3469"/>
                <a:gd name="T12" fmla="*/ 945 w 2208"/>
                <a:gd name="T13" fmla="*/ 1580 h 3469"/>
                <a:gd name="T14" fmla="*/ 1159 w 2208"/>
                <a:gd name="T15" fmla="*/ 1603 h 3469"/>
                <a:gd name="T16" fmla="*/ 1356 w 2208"/>
                <a:gd name="T17" fmla="*/ 1537 h 3469"/>
                <a:gd name="T18" fmla="*/ 1508 w 2208"/>
                <a:gd name="T19" fmla="*/ 1400 h 3469"/>
                <a:gd name="T20" fmla="*/ 1593 w 2208"/>
                <a:gd name="T21" fmla="*/ 1211 h 3469"/>
                <a:gd name="T22" fmla="*/ 1593 w 2208"/>
                <a:gd name="T23" fmla="*/ 996 h 3469"/>
                <a:gd name="T24" fmla="*/ 1508 w 2208"/>
                <a:gd name="T25" fmla="*/ 807 h 3469"/>
                <a:gd name="T26" fmla="*/ 1356 w 2208"/>
                <a:gd name="T27" fmla="*/ 670 h 3469"/>
                <a:gd name="T28" fmla="*/ 1159 w 2208"/>
                <a:gd name="T29" fmla="*/ 604 h 3469"/>
                <a:gd name="T30" fmla="*/ 1274 w 2208"/>
                <a:gd name="T31" fmla="*/ 13 h 3469"/>
                <a:gd name="T32" fmla="*/ 1589 w 2208"/>
                <a:gd name="T33" fmla="*/ 113 h 3469"/>
                <a:gd name="T34" fmla="*/ 1855 w 2208"/>
                <a:gd name="T35" fmla="*/ 297 h 3469"/>
                <a:gd name="T36" fmla="*/ 2057 w 2208"/>
                <a:gd name="T37" fmla="*/ 549 h 3469"/>
                <a:gd name="T38" fmla="*/ 2179 w 2208"/>
                <a:gd name="T39" fmla="*/ 853 h 3469"/>
                <a:gd name="T40" fmla="*/ 2206 w 2208"/>
                <a:gd name="T41" fmla="*/ 1170 h 3469"/>
                <a:gd name="T42" fmla="*/ 2161 w 2208"/>
                <a:gd name="T43" fmla="*/ 1439 h 3469"/>
                <a:gd name="T44" fmla="*/ 2075 w 2208"/>
                <a:gd name="T45" fmla="*/ 1707 h 3469"/>
                <a:gd name="T46" fmla="*/ 1971 w 2208"/>
                <a:gd name="T47" fmla="*/ 1930 h 3469"/>
                <a:gd name="T48" fmla="*/ 1886 w 2208"/>
                <a:gd name="T49" fmla="*/ 2080 h 3469"/>
                <a:gd name="T50" fmla="*/ 1778 w 2208"/>
                <a:gd name="T51" fmla="*/ 2270 h 3469"/>
                <a:gd name="T52" fmla="*/ 1657 w 2208"/>
                <a:gd name="T53" fmla="*/ 2484 h 3469"/>
                <a:gd name="T54" fmla="*/ 1531 w 2208"/>
                <a:gd name="T55" fmla="*/ 2709 h 3469"/>
                <a:gd name="T56" fmla="*/ 1409 w 2208"/>
                <a:gd name="T57" fmla="*/ 2924 h 3469"/>
                <a:gd name="T58" fmla="*/ 1301 w 2208"/>
                <a:gd name="T59" fmla="*/ 3117 h 3469"/>
                <a:gd name="T60" fmla="*/ 1216 w 2208"/>
                <a:gd name="T61" fmla="*/ 3269 h 3469"/>
                <a:gd name="T62" fmla="*/ 1163 w 2208"/>
                <a:gd name="T63" fmla="*/ 3365 h 3469"/>
                <a:gd name="T64" fmla="*/ 1104 w 2208"/>
                <a:gd name="T65" fmla="*/ 3469 h 3469"/>
                <a:gd name="T66" fmla="*/ 1045 w 2208"/>
                <a:gd name="T67" fmla="*/ 3366 h 3469"/>
                <a:gd name="T68" fmla="*/ 993 w 2208"/>
                <a:gd name="T69" fmla="*/ 3272 h 3469"/>
                <a:gd name="T70" fmla="*/ 909 w 2208"/>
                <a:gd name="T71" fmla="*/ 3124 h 3469"/>
                <a:gd name="T72" fmla="*/ 803 w 2208"/>
                <a:gd name="T73" fmla="*/ 2936 h 3469"/>
                <a:gd name="T74" fmla="*/ 684 w 2208"/>
                <a:gd name="T75" fmla="*/ 2725 h 3469"/>
                <a:gd name="T76" fmla="*/ 561 w 2208"/>
                <a:gd name="T77" fmla="*/ 2507 h 3469"/>
                <a:gd name="T78" fmla="*/ 444 w 2208"/>
                <a:gd name="T79" fmla="*/ 2295 h 3469"/>
                <a:gd name="T80" fmla="*/ 340 w 2208"/>
                <a:gd name="T81" fmla="*/ 2108 h 3469"/>
                <a:gd name="T82" fmla="*/ 258 w 2208"/>
                <a:gd name="T83" fmla="*/ 1960 h 3469"/>
                <a:gd name="T84" fmla="*/ 157 w 2208"/>
                <a:gd name="T85" fmla="*/ 1752 h 3469"/>
                <a:gd name="T86" fmla="*/ 57 w 2208"/>
                <a:gd name="T87" fmla="*/ 1469 h 3469"/>
                <a:gd name="T88" fmla="*/ 2 w 2208"/>
                <a:gd name="T89" fmla="*/ 1177 h 3469"/>
                <a:gd name="T90" fmla="*/ 29 w 2208"/>
                <a:gd name="T91" fmla="*/ 853 h 3469"/>
                <a:gd name="T92" fmla="*/ 151 w 2208"/>
                <a:gd name="T93" fmla="*/ 549 h 3469"/>
                <a:gd name="T94" fmla="*/ 353 w 2208"/>
                <a:gd name="T95" fmla="*/ 297 h 3469"/>
                <a:gd name="T96" fmla="*/ 619 w 2208"/>
                <a:gd name="T97" fmla="*/ 113 h 3469"/>
                <a:gd name="T98" fmla="*/ 933 w 2208"/>
                <a:gd name="T99" fmla="*/ 13 h 3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08" h="3469">
                  <a:moveTo>
                    <a:pt x="1104" y="601"/>
                  </a:moveTo>
                  <a:lnTo>
                    <a:pt x="1049" y="604"/>
                  </a:lnTo>
                  <a:lnTo>
                    <a:pt x="996" y="612"/>
                  </a:lnTo>
                  <a:lnTo>
                    <a:pt x="945" y="627"/>
                  </a:lnTo>
                  <a:lnTo>
                    <a:pt x="897" y="646"/>
                  </a:lnTo>
                  <a:lnTo>
                    <a:pt x="851" y="670"/>
                  </a:lnTo>
                  <a:lnTo>
                    <a:pt x="808" y="699"/>
                  </a:lnTo>
                  <a:lnTo>
                    <a:pt x="768" y="731"/>
                  </a:lnTo>
                  <a:lnTo>
                    <a:pt x="732" y="767"/>
                  </a:lnTo>
                  <a:lnTo>
                    <a:pt x="700" y="807"/>
                  </a:lnTo>
                  <a:lnTo>
                    <a:pt x="672" y="850"/>
                  </a:lnTo>
                  <a:lnTo>
                    <a:pt x="647" y="896"/>
                  </a:lnTo>
                  <a:lnTo>
                    <a:pt x="629" y="945"/>
                  </a:lnTo>
                  <a:lnTo>
                    <a:pt x="614" y="996"/>
                  </a:lnTo>
                  <a:lnTo>
                    <a:pt x="605" y="1049"/>
                  </a:lnTo>
                  <a:lnTo>
                    <a:pt x="602" y="1103"/>
                  </a:lnTo>
                  <a:lnTo>
                    <a:pt x="605" y="1158"/>
                  </a:lnTo>
                  <a:lnTo>
                    <a:pt x="614" y="1211"/>
                  </a:lnTo>
                  <a:lnTo>
                    <a:pt x="629" y="1262"/>
                  </a:lnTo>
                  <a:lnTo>
                    <a:pt x="647" y="1311"/>
                  </a:lnTo>
                  <a:lnTo>
                    <a:pt x="672" y="1357"/>
                  </a:lnTo>
                  <a:lnTo>
                    <a:pt x="700" y="1400"/>
                  </a:lnTo>
                  <a:lnTo>
                    <a:pt x="732" y="1440"/>
                  </a:lnTo>
                  <a:lnTo>
                    <a:pt x="768" y="1476"/>
                  </a:lnTo>
                  <a:lnTo>
                    <a:pt x="808" y="1508"/>
                  </a:lnTo>
                  <a:lnTo>
                    <a:pt x="851" y="1537"/>
                  </a:lnTo>
                  <a:lnTo>
                    <a:pt x="897" y="1561"/>
                  </a:lnTo>
                  <a:lnTo>
                    <a:pt x="945" y="1580"/>
                  </a:lnTo>
                  <a:lnTo>
                    <a:pt x="996" y="1595"/>
                  </a:lnTo>
                  <a:lnTo>
                    <a:pt x="1049" y="1603"/>
                  </a:lnTo>
                  <a:lnTo>
                    <a:pt x="1104" y="1606"/>
                  </a:lnTo>
                  <a:lnTo>
                    <a:pt x="1159" y="1603"/>
                  </a:lnTo>
                  <a:lnTo>
                    <a:pt x="1211" y="1595"/>
                  </a:lnTo>
                  <a:lnTo>
                    <a:pt x="1261" y="1580"/>
                  </a:lnTo>
                  <a:lnTo>
                    <a:pt x="1311" y="1561"/>
                  </a:lnTo>
                  <a:lnTo>
                    <a:pt x="1356" y="1537"/>
                  </a:lnTo>
                  <a:lnTo>
                    <a:pt x="1399" y="1508"/>
                  </a:lnTo>
                  <a:lnTo>
                    <a:pt x="1439" y="1476"/>
                  </a:lnTo>
                  <a:lnTo>
                    <a:pt x="1475" y="1440"/>
                  </a:lnTo>
                  <a:lnTo>
                    <a:pt x="1508" y="1400"/>
                  </a:lnTo>
                  <a:lnTo>
                    <a:pt x="1536" y="1357"/>
                  </a:lnTo>
                  <a:lnTo>
                    <a:pt x="1560" y="1311"/>
                  </a:lnTo>
                  <a:lnTo>
                    <a:pt x="1579" y="1262"/>
                  </a:lnTo>
                  <a:lnTo>
                    <a:pt x="1593" y="1211"/>
                  </a:lnTo>
                  <a:lnTo>
                    <a:pt x="1601" y="1158"/>
                  </a:lnTo>
                  <a:lnTo>
                    <a:pt x="1605" y="1103"/>
                  </a:lnTo>
                  <a:lnTo>
                    <a:pt x="1601" y="1049"/>
                  </a:lnTo>
                  <a:lnTo>
                    <a:pt x="1593" y="996"/>
                  </a:lnTo>
                  <a:lnTo>
                    <a:pt x="1579" y="945"/>
                  </a:lnTo>
                  <a:lnTo>
                    <a:pt x="1560" y="896"/>
                  </a:lnTo>
                  <a:lnTo>
                    <a:pt x="1536" y="850"/>
                  </a:lnTo>
                  <a:lnTo>
                    <a:pt x="1508" y="807"/>
                  </a:lnTo>
                  <a:lnTo>
                    <a:pt x="1475" y="767"/>
                  </a:lnTo>
                  <a:lnTo>
                    <a:pt x="1439" y="731"/>
                  </a:lnTo>
                  <a:lnTo>
                    <a:pt x="1399" y="699"/>
                  </a:lnTo>
                  <a:lnTo>
                    <a:pt x="1356" y="670"/>
                  </a:lnTo>
                  <a:lnTo>
                    <a:pt x="1311" y="646"/>
                  </a:lnTo>
                  <a:lnTo>
                    <a:pt x="1261" y="627"/>
                  </a:lnTo>
                  <a:lnTo>
                    <a:pt x="1211" y="612"/>
                  </a:lnTo>
                  <a:lnTo>
                    <a:pt x="1159" y="604"/>
                  </a:lnTo>
                  <a:lnTo>
                    <a:pt x="1104" y="601"/>
                  </a:lnTo>
                  <a:close/>
                  <a:moveTo>
                    <a:pt x="1104" y="0"/>
                  </a:moveTo>
                  <a:lnTo>
                    <a:pt x="1190" y="3"/>
                  </a:lnTo>
                  <a:lnTo>
                    <a:pt x="1274" y="13"/>
                  </a:lnTo>
                  <a:lnTo>
                    <a:pt x="1357" y="30"/>
                  </a:lnTo>
                  <a:lnTo>
                    <a:pt x="1437" y="52"/>
                  </a:lnTo>
                  <a:lnTo>
                    <a:pt x="1514" y="79"/>
                  </a:lnTo>
                  <a:lnTo>
                    <a:pt x="1589" y="113"/>
                  </a:lnTo>
                  <a:lnTo>
                    <a:pt x="1660" y="152"/>
                  </a:lnTo>
                  <a:lnTo>
                    <a:pt x="1728" y="195"/>
                  </a:lnTo>
                  <a:lnTo>
                    <a:pt x="1793" y="243"/>
                  </a:lnTo>
                  <a:lnTo>
                    <a:pt x="1855" y="297"/>
                  </a:lnTo>
                  <a:lnTo>
                    <a:pt x="1912" y="354"/>
                  </a:lnTo>
                  <a:lnTo>
                    <a:pt x="1964" y="415"/>
                  </a:lnTo>
                  <a:lnTo>
                    <a:pt x="2013" y="480"/>
                  </a:lnTo>
                  <a:lnTo>
                    <a:pt x="2057" y="549"/>
                  </a:lnTo>
                  <a:lnTo>
                    <a:pt x="2096" y="621"/>
                  </a:lnTo>
                  <a:lnTo>
                    <a:pt x="2128" y="695"/>
                  </a:lnTo>
                  <a:lnTo>
                    <a:pt x="2156" y="773"/>
                  </a:lnTo>
                  <a:lnTo>
                    <a:pt x="2179" y="853"/>
                  </a:lnTo>
                  <a:lnTo>
                    <a:pt x="2194" y="936"/>
                  </a:lnTo>
                  <a:lnTo>
                    <a:pt x="2205" y="1020"/>
                  </a:lnTo>
                  <a:lnTo>
                    <a:pt x="2208" y="1107"/>
                  </a:lnTo>
                  <a:lnTo>
                    <a:pt x="2206" y="1170"/>
                  </a:lnTo>
                  <a:lnTo>
                    <a:pt x="2200" y="1235"/>
                  </a:lnTo>
                  <a:lnTo>
                    <a:pt x="2190" y="1301"/>
                  </a:lnTo>
                  <a:lnTo>
                    <a:pt x="2176" y="1370"/>
                  </a:lnTo>
                  <a:lnTo>
                    <a:pt x="2161" y="1439"/>
                  </a:lnTo>
                  <a:lnTo>
                    <a:pt x="2142" y="1507"/>
                  </a:lnTo>
                  <a:lnTo>
                    <a:pt x="2122" y="1576"/>
                  </a:lnTo>
                  <a:lnTo>
                    <a:pt x="2099" y="1642"/>
                  </a:lnTo>
                  <a:lnTo>
                    <a:pt x="2075" y="1707"/>
                  </a:lnTo>
                  <a:lnTo>
                    <a:pt x="2049" y="1768"/>
                  </a:lnTo>
                  <a:lnTo>
                    <a:pt x="2023" y="1827"/>
                  </a:lnTo>
                  <a:lnTo>
                    <a:pt x="1997" y="1881"/>
                  </a:lnTo>
                  <a:lnTo>
                    <a:pt x="1971" y="1930"/>
                  </a:lnTo>
                  <a:lnTo>
                    <a:pt x="1952" y="1963"/>
                  </a:lnTo>
                  <a:lnTo>
                    <a:pt x="1931" y="1999"/>
                  </a:lnTo>
                  <a:lnTo>
                    <a:pt x="1909" y="2037"/>
                  </a:lnTo>
                  <a:lnTo>
                    <a:pt x="1886" y="2080"/>
                  </a:lnTo>
                  <a:lnTo>
                    <a:pt x="1861" y="2124"/>
                  </a:lnTo>
                  <a:lnTo>
                    <a:pt x="1834" y="2170"/>
                  </a:lnTo>
                  <a:lnTo>
                    <a:pt x="1806" y="2219"/>
                  </a:lnTo>
                  <a:lnTo>
                    <a:pt x="1778" y="2270"/>
                  </a:lnTo>
                  <a:lnTo>
                    <a:pt x="1748" y="2321"/>
                  </a:lnTo>
                  <a:lnTo>
                    <a:pt x="1718" y="2375"/>
                  </a:lnTo>
                  <a:lnTo>
                    <a:pt x="1687" y="2430"/>
                  </a:lnTo>
                  <a:lnTo>
                    <a:pt x="1657" y="2484"/>
                  </a:lnTo>
                  <a:lnTo>
                    <a:pt x="1625" y="2540"/>
                  </a:lnTo>
                  <a:lnTo>
                    <a:pt x="1594" y="2596"/>
                  </a:lnTo>
                  <a:lnTo>
                    <a:pt x="1563" y="2653"/>
                  </a:lnTo>
                  <a:lnTo>
                    <a:pt x="1531" y="2709"/>
                  </a:lnTo>
                  <a:lnTo>
                    <a:pt x="1500" y="2763"/>
                  </a:lnTo>
                  <a:lnTo>
                    <a:pt x="1469" y="2818"/>
                  </a:lnTo>
                  <a:lnTo>
                    <a:pt x="1439" y="2872"/>
                  </a:lnTo>
                  <a:lnTo>
                    <a:pt x="1409" y="2924"/>
                  </a:lnTo>
                  <a:lnTo>
                    <a:pt x="1381" y="2976"/>
                  </a:lnTo>
                  <a:lnTo>
                    <a:pt x="1354" y="3024"/>
                  </a:lnTo>
                  <a:lnTo>
                    <a:pt x="1326" y="3071"/>
                  </a:lnTo>
                  <a:lnTo>
                    <a:pt x="1301" y="3117"/>
                  </a:lnTo>
                  <a:lnTo>
                    <a:pt x="1278" y="3159"/>
                  </a:lnTo>
                  <a:lnTo>
                    <a:pt x="1255" y="3199"/>
                  </a:lnTo>
                  <a:lnTo>
                    <a:pt x="1235" y="3235"/>
                  </a:lnTo>
                  <a:lnTo>
                    <a:pt x="1216" y="3269"/>
                  </a:lnTo>
                  <a:lnTo>
                    <a:pt x="1199" y="3299"/>
                  </a:lnTo>
                  <a:lnTo>
                    <a:pt x="1185" y="3325"/>
                  </a:lnTo>
                  <a:lnTo>
                    <a:pt x="1172" y="3347"/>
                  </a:lnTo>
                  <a:lnTo>
                    <a:pt x="1163" y="3365"/>
                  </a:lnTo>
                  <a:lnTo>
                    <a:pt x="1154" y="3379"/>
                  </a:lnTo>
                  <a:lnTo>
                    <a:pt x="1150" y="3387"/>
                  </a:lnTo>
                  <a:lnTo>
                    <a:pt x="1148" y="3390"/>
                  </a:lnTo>
                  <a:lnTo>
                    <a:pt x="1104" y="3469"/>
                  </a:lnTo>
                  <a:lnTo>
                    <a:pt x="1060" y="3390"/>
                  </a:lnTo>
                  <a:lnTo>
                    <a:pt x="1058" y="3387"/>
                  </a:lnTo>
                  <a:lnTo>
                    <a:pt x="1053" y="3379"/>
                  </a:lnTo>
                  <a:lnTo>
                    <a:pt x="1045" y="3366"/>
                  </a:lnTo>
                  <a:lnTo>
                    <a:pt x="1036" y="3348"/>
                  </a:lnTo>
                  <a:lnTo>
                    <a:pt x="1023" y="3327"/>
                  </a:lnTo>
                  <a:lnTo>
                    <a:pt x="1010" y="3302"/>
                  </a:lnTo>
                  <a:lnTo>
                    <a:pt x="993" y="3272"/>
                  </a:lnTo>
                  <a:lnTo>
                    <a:pt x="974" y="3240"/>
                  </a:lnTo>
                  <a:lnTo>
                    <a:pt x="954" y="3204"/>
                  </a:lnTo>
                  <a:lnTo>
                    <a:pt x="932" y="3165"/>
                  </a:lnTo>
                  <a:lnTo>
                    <a:pt x="909" y="3124"/>
                  </a:lnTo>
                  <a:lnTo>
                    <a:pt x="884" y="3080"/>
                  </a:lnTo>
                  <a:lnTo>
                    <a:pt x="858" y="3034"/>
                  </a:lnTo>
                  <a:lnTo>
                    <a:pt x="831" y="2986"/>
                  </a:lnTo>
                  <a:lnTo>
                    <a:pt x="803" y="2936"/>
                  </a:lnTo>
                  <a:lnTo>
                    <a:pt x="774" y="2885"/>
                  </a:lnTo>
                  <a:lnTo>
                    <a:pt x="745" y="2833"/>
                  </a:lnTo>
                  <a:lnTo>
                    <a:pt x="715" y="2779"/>
                  </a:lnTo>
                  <a:lnTo>
                    <a:pt x="684" y="2725"/>
                  </a:lnTo>
                  <a:lnTo>
                    <a:pt x="654" y="2671"/>
                  </a:lnTo>
                  <a:lnTo>
                    <a:pt x="623" y="2616"/>
                  </a:lnTo>
                  <a:lnTo>
                    <a:pt x="592" y="2561"/>
                  </a:lnTo>
                  <a:lnTo>
                    <a:pt x="561" y="2507"/>
                  </a:lnTo>
                  <a:lnTo>
                    <a:pt x="531" y="2452"/>
                  </a:lnTo>
                  <a:lnTo>
                    <a:pt x="502" y="2399"/>
                  </a:lnTo>
                  <a:lnTo>
                    <a:pt x="472" y="2347"/>
                  </a:lnTo>
                  <a:lnTo>
                    <a:pt x="444" y="2295"/>
                  </a:lnTo>
                  <a:lnTo>
                    <a:pt x="416" y="2246"/>
                  </a:lnTo>
                  <a:lnTo>
                    <a:pt x="389" y="2197"/>
                  </a:lnTo>
                  <a:lnTo>
                    <a:pt x="364" y="2151"/>
                  </a:lnTo>
                  <a:lnTo>
                    <a:pt x="340" y="2108"/>
                  </a:lnTo>
                  <a:lnTo>
                    <a:pt x="317" y="2066"/>
                  </a:lnTo>
                  <a:lnTo>
                    <a:pt x="296" y="2028"/>
                  </a:lnTo>
                  <a:lnTo>
                    <a:pt x="276" y="1992"/>
                  </a:lnTo>
                  <a:lnTo>
                    <a:pt x="258" y="1960"/>
                  </a:lnTo>
                  <a:lnTo>
                    <a:pt x="242" y="1930"/>
                  </a:lnTo>
                  <a:lnTo>
                    <a:pt x="214" y="1875"/>
                  </a:lnTo>
                  <a:lnTo>
                    <a:pt x="186" y="1816"/>
                  </a:lnTo>
                  <a:lnTo>
                    <a:pt x="157" y="1752"/>
                  </a:lnTo>
                  <a:lnTo>
                    <a:pt x="130" y="1685"/>
                  </a:lnTo>
                  <a:lnTo>
                    <a:pt x="104" y="1615"/>
                  </a:lnTo>
                  <a:lnTo>
                    <a:pt x="79" y="1543"/>
                  </a:lnTo>
                  <a:lnTo>
                    <a:pt x="57" y="1469"/>
                  </a:lnTo>
                  <a:lnTo>
                    <a:pt x="38" y="1396"/>
                  </a:lnTo>
                  <a:lnTo>
                    <a:pt x="22" y="1321"/>
                  </a:lnTo>
                  <a:lnTo>
                    <a:pt x="10" y="1249"/>
                  </a:lnTo>
                  <a:lnTo>
                    <a:pt x="2" y="1177"/>
                  </a:lnTo>
                  <a:lnTo>
                    <a:pt x="0" y="1107"/>
                  </a:lnTo>
                  <a:lnTo>
                    <a:pt x="3" y="1020"/>
                  </a:lnTo>
                  <a:lnTo>
                    <a:pt x="13" y="936"/>
                  </a:lnTo>
                  <a:lnTo>
                    <a:pt x="29" y="853"/>
                  </a:lnTo>
                  <a:lnTo>
                    <a:pt x="51" y="773"/>
                  </a:lnTo>
                  <a:lnTo>
                    <a:pt x="79" y="695"/>
                  </a:lnTo>
                  <a:lnTo>
                    <a:pt x="112" y="621"/>
                  </a:lnTo>
                  <a:lnTo>
                    <a:pt x="151" y="549"/>
                  </a:lnTo>
                  <a:lnTo>
                    <a:pt x="194" y="480"/>
                  </a:lnTo>
                  <a:lnTo>
                    <a:pt x="242" y="415"/>
                  </a:lnTo>
                  <a:lnTo>
                    <a:pt x="296" y="354"/>
                  </a:lnTo>
                  <a:lnTo>
                    <a:pt x="353" y="297"/>
                  </a:lnTo>
                  <a:lnTo>
                    <a:pt x="413" y="243"/>
                  </a:lnTo>
                  <a:lnTo>
                    <a:pt x="479" y="195"/>
                  </a:lnTo>
                  <a:lnTo>
                    <a:pt x="547" y="152"/>
                  </a:lnTo>
                  <a:lnTo>
                    <a:pt x="619" y="113"/>
                  </a:lnTo>
                  <a:lnTo>
                    <a:pt x="694" y="79"/>
                  </a:lnTo>
                  <a:lnTo>
                    <a:pt x="771" y="52"/>
                  </a:lnTo>
                  <a:lnTo>
                    <a:pt x="851" y="30"/>
                  </a:lnTo>
                  <a:lnTo>
                    <a:pt x="933" y="13"/>
                  </a:lnTo>
                  <a:lnTo>
                    <a:pt x="1018" y="3"/>
                  </a:lnTo>
                  <a:lnTo>
                    <a:pt x="1104" y="0"/>
                  </a:lnTo>
                  <a:close/>
                </a:path>
              </a:pathLst>
            </a:custGeom>
            <a:solidFill>
              <a:schemeClr val="tx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36" name="TextBox 335">
              <a:extLst>
                <a:ext uri="{FF2B5EF4-FFF2-40B4-BE49-F238E27FC236}">
                  <a16:creationId xmlns:a16="http://schemas.microsoft.com/office/drawing/2014/main" id="{8AC9C2D8-F9DE-0E2A-336C-290FBB08DD28}"/>
                </a:ext>
              </a:extLst>
            </p:cNvPr>
            <p:cNvSpPr txBox="1"/>
            <p:nvPr/>
          </p:nvSpPr>
          <p:spPr>
            <a:xfrm>
              <a:off x="5691155" y="3474814"/>
              <a:ext cx="467360" cy="1920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C3C3B"/>
                  </a:solidFill>
                  <a:effectLst/>
                  <a:uLnTx/>
                  <a:uFillTx/>
                  <a:latin typeface="Lato"/>
                  <a:ea typeface="Lato"/>
                  <a:cs typeface="Lato"/>
                  <a:sym typeface="Lato" panose="020F0502020204030203" pitchFamily="34" charset="0"/>
                </a:rPr>
                <a:t>Berlin</a:t>
              </a:r>
              <a:endParaRPr kumimoji="0" lang="en-GB" sz="12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endParaRPr>
            </a:p>
          </p:txBody>
        </p:sp>
      </p:grpSp>
      <p:grpSp>
        <p:nvGrpSpPr>
          <p:cNvPr id="51" name="Group 50">
            <a:extLst>
              <a:ext uri="{FF2B5EF4-FFF2-40B4-BE49-F238E27FC236}">
                <a16:creationId xmlns:a16="http://schemas.microsoft.com/office/drawing/2014/main" id="{EC158F6C-C681-C793-AD96-54C854088A4C}"/>
              </a:ext>
            </a:extLst>
          </p:cNvPr>
          <p:cNvGrpSpPr/>
          <p:nvPr/>
        </p:nvGrpSpPr>
        <p:grpSpPr>
          <a:xfrm>
            <a:off x="5298462" y="3524880"/>
            <a:ext cx="465077" cy="358186"/>
            <a:chOff x="5135945" y="3470356"/>
            <a:chExt cx="483718" cy="372541"/>
          </a:xfrm>
        </p:grpSpPr>
        <p:sp>
          <p:nvSpPr>
            <p:cNvPr id="216" name="Freeform 584">
              <a:extLst>
                <a:ext uri="{FF2B5EF4-FFF2-40B4-BE49-F238E27FC236}">
                  <a16:creationId xmlns:a16="http://schemas.microsoft.com/office/drawing/2014/main" id="{2EA9B9E8-0A60-7842-887B-9BF5918C2CC4}"/>
                </a:ext>
              </a:extLst>
            </p:cNvPr>
            <p:cNvSpPr>
              <a:spLocks noChangeAspect="1"/>
            </p:cNvSpPr>
            <p:nvPr/>
          </p:nvSpPr>
          <p:spPr bwMode="auto">
            <a:xfrm>
              <a:off x="5135945" y="3470356"/>
              <a:ext cx="142527" cy="223849"/>
            </a:xfrm>
            <a:custGeom>
              <a:avLst/>
              <a:gdLst>
                <a:gd name="T0" fmla="*/ 945 w 2208"/>
                <a:gd name="T1" fmla="*/ 627 h 3469"/>
                <a:gd name="T2" fmla="*/ 768 w 2208"/>
                <a:gd name="T3" fmla="*/ 731 h 3469"/>
                <a:gd name="T4" fmla="*/ 647 w 2208"/>
                <a:gd name="T5" fmla="*/ 896 h 3469"/>
                <a:gd name="T6" fmla="*/ 602 w 2208"/>
                <a:gd name="T7" fmla="*/ 1103 h 3469"/>
                <a:gd name="T8" fmla="*/ 647 w 2208"/>
                <a:gd name="T9" fmla="*/ 1311 h 3469"/>
                <a:gd name="T10" fmla="*/ 768 w 2208"/>
                <a:gd name="T11" fmla="*/ 1476 h 3469"/>
                <a:gd name="T12" fmla="*/ 945 w 2208"/>
                <a:gd name="T13" fmla="*/ 1580 h 3469"/>
                <a:gd name="T14" fmla="*/ 1159 w 2208"/>
                <a:gd name="T15" fmla="*/ 1603 h 3469"/>
                <a:gd name="T16" fmla="*/ 1356 w 2208"/>
                <a:gd name="T17" fmla="*/ 1537 h 3469"/>
                <a:gd name="T18" fmla="*/ 1508 w 2208"/>
                <a:gd name="T19" fmla="*/ 1400 h 3469"/>
                <a:gd name="T20" fmla="*/ 1593 w 2208"/>
                <a:gd name="T21" fmla="*/ 1211 h 3469"/>
                <a:gd name="T22" fmla="*/ 1593 w 2208"/>
                <a:gd name="T23" fmla="*/ 996 h 3469"/>
                <a:gd name="T24" fmla="*/ 1508 w 2208"/>
                <a:gd name="T25" fmla="*/ 807 h 3469"/>
                <a:gd name="T26" fmla="*/ 1356 w 2208"/>
                <a:gd name="T27" fmla="*/ 670 h 3469"/>
                <a:gd name="T28" fmla="*/ 1159 w 2208"/>
                <a:gd name="T29" fmla="*/ 604 h 3469"/>
                <a:gd name="T30" fmla="*/ 1274 w 2208"/>
                <a:gd name="T31" fmla="*/ 13 h 3469"/>
                <a:gd name="T32" fmla="*/ 1589 w 2208"/>
                <a:gd name="T33" fmla="*/ 113 h 3469"/>
                <a:gd name="T34" fmla="*/ 1855 w 2208"/>
                <a:gd name="T35" fmla="*/ 297 h 3469"/>
                <a:gd name="T36" fmla="*/ 2057 w 2208"/>
                <a:gd name="T37" fmla="*/ 549 h 3469"/>
                <a:gd name="T38" fmla="*/ 2179 w 2208"/>
                <a:gd name="T39" fmla="*/ 853 h 3469"/>
                <a:gd name="T40" fmla="*/ 2206 w 2208"/>
                <a:gd name="T41" fmla="*/ 1170 h 3469"/>
                <a:gd name="T42" fmla="*/ 2161 w 2208"/>
                <a:gd name="T43" fmla="*/ 1439 h 3469"/>
                <a:gd name="T44" fmla="*/ 2075 w 2208"/>
                <a:gd name="T45" fmla="*/ 1707 h 3469"/>
                <a:gd name="T46" fmla="*/ 1971 w 2208"/>
                <a:gd name="T47" fmla="*/ 1930 h 3469"/>
                <a:gd name="T48" fmla="*/ 1886 w 2208"/>
                <a:gd name="T49" fmla="*/ 2080 h 3469"/>
                <a:gd name="T50" fmla="*/ 1778 w 2208"/>
                <a:gd name="T51" fmla="*/ 2270 h 3469"/>
                <a:gd name="T52" fmla="*/ 1657 w 2208"/>
                <a:gd name="T53" fmla="*/ 2484 h 3469"/>
                <a:gd name="T54" fmla="*/ 1531 w 2208"/>
                <a:gd name="T55" fmla="*/ 2709 h 3469"/>
                <a:gd name="T56" fmla="*/ 1409 w 2208"/>
                <a:gd name="T57" fmla="*/ 2924 h 3469"/>
                <a:gd name="T58" fmla="*/ 1301 w 2208"/>
                <a:gd name="T59" fmla="*/ 3117 h 3469"/>
                <a:gd name="T60" fmla="*/ 1216 w 2208"/>
                <a:gd name="T61" fmla="*/ 3269 h 3469"/>
                <a:gd name="T62" fmla="*/ 1163 w 2208"/>
                <a:gd name="T63" fmla="*/ 3365 h 3469"/>
                <a:gd name="T64" fmla="*/ 1104 w 2208"/>
                <a:gd name="T65" fmla="*/ 3469 h 3469"/>
                <a:gd name="T66" fmla="*/ 1045 w 2208"/>
                <a:gd name="T67" fmla="*/ 3366 h 3469"/>
                <a:gd name="T68" fmla="*/ 993 w 2208"/>
                <a:gd name="T69" fmla="*/ 3272 h 3469"/>
                <a:gd name="T70" fmla="*/ 909 w 2208"/>
                <a:gd name="T71" fmla="*/ 3124 h 3469"/>
                <a:gd name="T72" fmla="*/ 803 w 2208"/>
                <a:gd name="T73" fmla="*/ 2936 h 3469"/>
                <a:gd name="T74" fmla="*/ 684 w 2208"/>
                <a:gd name="T75" fmla="*/ 2725 h 3469"/>
                <a:gd name="T76" fmla="*/ 561 w 2208"/>
                <a:gd name="T77" fmla="*/ 2507 h 3469"/>
                <a:gd name="T78" fmla="*/ 444 w 2208"/>
                <a:gd name="T79" fmla="*/ 2295 h 3469"/>
                <a:gd name="T80" fmla="*/ 340 w 2208"/>
                <a:gd name="T81" fmla="*/ 2108 h 3469"/>
                <a:gd name="T82" fmla="*/ 258 w 2208"/>
                <a:gd name="T83" fmla="*/ 1960 h 3469"/>
                <a:gd name="T84" fmla="*/ 157 w 2208"/>
                <a:gd name="T85" fmla="*/ 1752 h 3469"/>
                <a:gd name="T86" fmla="*/ 57 w 2208"/>
                <a:gd name="T87" fmla="*/ 1469 h 3469"/>
                <a:gd name="T88" fmla="*/ 2 w 2208"/>
                <a:gd name="T89" fmla="*/ 1177 h 3469"/>
                <a:gd name="T90" fmla="*/ 29 w 2208"/>
                <a:gd name="T91" fmla="*/ 853 h 3469"/>
                <a:gd name="T92" fmla="*/ 151 w 2208"/>
                <a:gd name="T93" fmla="*/ 549 h 3469"/>
                <a:gd name="T94" fmla="*/ 353 w 2208"/>
                <a:gd name="T95" fmla="*/ 297 h 3469"/>
                <a:gd name="T96" fmla="*/ 619 w 2208"/>
                <a:gd name="T97" fmla="*/ 113 h 3469"/>
                <a:gd name="T98" fmla="*/ 933 w 2208"/>
                <a:gd name="T99" fmla="*/ 13 h 3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08" h="3469">
                  <a:moveTo>
                    <a:pt x="1104" y="601"/>
                  </a:moveTo>
                  <a:lnTo>
                    <a:pt x="1049" y="604"/>
                  </a:lnTo>
                  <a:lnTo>
                    <a:pt x="996" y="612"/>
                  </a:lnTo>
                  <a:lnTo>
                    <a:pt x="945" y="627"/>
                  </a:lnTo>
                  <a:lnTo>
                    <a:pt x="897" y="646"/>
                  </a:lnTo>
                  <a:lnTo>
                    <a:pt x="851" y="670"/>
                  </a:lnTo>
                  <a:lnTo>
                    <a:pt x="808" y="699"/>
                  </a:lnTo>
                  <a:lnTo>
                    <a:pt x="768" y="731"/>
                  </a:lnTo>
                  <a:lnTo>
                    <a:pt x="732" y="767"/>
                  </a:lnTo>
                  <a:lnTo>
                    <a:pt x="700" y="807"/>
                  </a:lnTo>
                  <a:lnTo>
                    <a:pt x="672" y="850"/>
                  </a:lnTo>
                  <a:lnTo>
                    <a:pt x="647" y="896"/>
                  </a:lnTo>
                  <a:lnTo>
                    <a:pt x="629" y="945"/>
                  </a:lnTo>
                  <a:lnTo>
                    <a:pt x="614" y="996"/>
                  </a:lnTo>
                  <a:lnTo>
                    <a:pt x="605" y="1049"/>
                  </a:lnTo>
                  <a:lnTo>
                    <a:pt x="602" y="1103"/>
                  </a:lnTo>
                  <a:lnTo>
                    <a:pt x="605" y="1158"/>
                  </a:lnTo>
                  <a:lnTo>
                    <a:pt x="614" y="1211"/>
                  </a:lnTo>
                  <a:lnTo>
                    <a:pt x="629" y="1262"/>
                  </a:lnTo>
                  <a:lnTo>
                    <a:pt x="647" y="1311"/>
                  </a:lnTo>
                  <a:lnTo>
                    <a:pt x="672" y="1357"/>
                  </a:lnTo>
                  <a:lnTo>
                    <a:pt x="700" y="1400"/>
                  </a:lnTo>
                  <a:lnTo>
                    <a:pt x="732" y="1440"/>
                  </a:lnTo>
                  <a:lnTo>
                    <a:pt x="768" y="1476"/>
                  </a:lnTo>
                  <a:lnTo>
                    <a:pt x="808" y="1508"/>
                  </a:lnTo>
                  <a:lnTo>
                    <a:pt x="851" y="1537"/>
                  </a:lnTo>
                  <a:lnTo>
                    <a:pt x="897" y="1561"/>
                  </a:lnTo>
                  <a:lnTo>
                    <a:pt x="945" y="1580"/>
                  </a:lnTo>
                  <a:lnTo>
                    <a:pt x="996" y="1595"/>
                  </a:lnTo>
                  <a:lnTo>
                    <a:pt x="1049" y="1603"/>
                  </a:lnTo>
                  <a:lnTo>
                    <a:pt x="1104" y="1606"/>
                  </a:lnTo>
                  <a:lnTo>
                    <a:pt x="1159" y="1603"/>
                  </a:lnTo>
                  <a:lnTo>
                    <a:pt x="1211" y="1595"/>
                  </a:lnTo>
                  <a:lnTo>
                    <a:pt x="1261" y="1580"/>
                  </a:lnTo>
                  <a:lnTo>
                    <a:pt x="1311" y="1561"/>
                  </a:lnTo>
                  <a:lnTo>
                    <a:pt x="1356" y="1537"/>
                  </a:lnTo>
                  <a:lnTo>
                    <a:pt x="1399" y="1508"/>
                  </a:lnTo>
                  <a:lnTo>
                    <a:pt x="1439" y="1476"/>
                  </a:lnTo>
                  <a:lnTo>
                    <a:pt x="1475" y="1440"/>
                  </a:lnTo>
                  <a:lnTo>
                    <a:pt x="1508" y="1400"/>
                  </a:lnTo>
                  <a:lnTo>
                    <a:pt x="1536" y="1357"/>
                  </a:lnTo>
                  <a:lnTo>
                    <a:pt x="1560" y="1311"/>
                  </a:lnTo>
                  <a:lnTo>
                    <a:pt x="1579" y="1262"/>
                  </a:lnTo>
                  <a:lnTo>
                    <a:pt x="1593" y="1211"/>
                  </a:lnTo>
                  <a:lnTo>
                    <a:pt x="1601" y="1158"/>
                  </a:lnTo>
                  <a:lnTo>
                    <a:pt x="1605" y="1103"/>
                  </a:lnTo>
                  <a:lnTo>
                    <a:pt x="1601" y="1049"/>
                  </a:lnTo>
                  <a:lnTo>
                    <a:pt x="1593" y="996"/>
                  </a:lnTo>
                  <a:lnTo>
                    <a:pt x="1579" y="945"/>
                  </a:lnTo>
                  <a:lnTo>
                    <a:pt x="1560" y="896"/>
                  </a:lnTo>
                  <a:lnTo>
                    <a:pt x="1536" y="850"/>
                  </a:lnTo>
                  <a:lnTo>
                    <a:pt x="1508" y="807"/>
                  </a:lnTo>
                  <a:lnTo>
                    <a:pt x="1475" y="767"/>
                  </a:lnTo>
                  <a:lnTo>
                    <a:pt x="1439" y="731"/>
                  </a:lnTo>
                  <a:lnTo>
                    <a:pt x="1399" y="699"/>
                  </a:lnTo>
                  <a:lnTo>
                    <a:pt x="1356" y="670"/>
                  </a:lnTo>
                  <a:lnTo>
                    <a:pt x="1311" y="646"/>
                  </a:lnTo>
                  <a:lnTo>
                    <a:pt x="1261" y="627"/>
                  </a:lnTo>
                  <a:lnTo>
                    <a:pt x="1211" y="612"/>
                  </a:lnTo>
                  <a:lnTo>
                    <a:pt x="1159" y="604"/>
                  </a:lnTo>
                  <a:lnTo>
                    <a:pt x="1104" y="601"/>
                  </a:lnTo>
                  <a:close/>
                  <a:moveTo>
                    <a:pt x="1104" y="0"/>
                  </a:moveTo>
                  <a:lnTo>
                    <a:pt x="1190" y="3"/>
                  </a:lnTo>
                  <a:lnTo>
                    <a:pt x="1274" y="13"/>
                  </a:lnTo>
                  <a:lnTo>
                    <a:pt x="1357" y="30"/>
                  </a:lnTo>
                  <a:lnTo>
                    <a:pt x="1437" y="52"/>
                  </a:lnTo>
                  <a:lnTo>
                    <a:pt x="1514" y="79"/>
                  </a:lnTo>
                  <a:lnTo>
                    <a:pt x="1589" y="113"/>
                  </a:lnTo>
                  <a:lnTo>
                    <a:pt x="1660" y="152"/>
                  </a:lnTo>
                  <a:lnTo>
                    <a:pt x="1728" y="195"/>
                  </a:lnTo>
                  <a:lnTo>
                    <a:pt x="1793" y="243"/>
                  </a:lnTo>
                  <a:lnTo>
                    <a:pt x="1855" y="297"/>
                  </a:lnTo>
                  <a:lnTo>
                    <a:pt x="1912" y="354"/>
                  </a:lnTo>
                  <a:lnTo>
                    <a:pt x="1964" y="415"/>
                  </a:lnTo>
                  <a:lnTo>
                    <a:pt x="2013" y="480"/>
                  </a:lnTo>
                  <a:lnTo>
                    <a:pt x="2057" y="549"/>
                  </a:lnTo>
                  <a:lnTo>
                    <a:pt x="2096" y="621"/>
                  </a:lnTo>
                  <a:lnTo>
                    <a:pt x="2128" y="695"/>
                  </a:lnTo>
                  <a:lnTo>
                    <a:pt x="2156" y="773"/>
                  </a:lnTo>
                  <a:lnTo>
                    <a:pt x="2179" y="853"/>
                  </a:lnTo>
                  <a:lnTo>
                    <a:pt x="2194" y="936"/>
                  </a:lnTo>
                  <a:lnTo>
                    <a:pt x="2205" y="1020"/>
                  </a:lnTo>
                  <a:lnTo>
                    <a:pt x="2208" y="1107"/>
                  </a:lnTo>
                  <a:lnTo>
                    <a:pt x="2206" y="1170"/>
                  </a:lnTo>
                  <a:lnTo>
                    <a:pt x="2200" y="1235"/>
                  </a:lnTo>
                  <a:lnTo>
                    <a:pt x="2190" y="1301"/>
                  </a:lnTo>
                  <a:lnTo>
                    <a:pt x="2176" y="1370"/>
                  </a:lnTo>
                  <a:lnTo>
                    <a:pt x="2161" y="1439"/>
                  </a:lnTo>
                  <a:lnTo>
                    <a:pt x="2142" y="1507"/>
                  </a:lnTo>
                  <a:lnTo>
                    <a:pt x="2122" y="1576"/>
                  </a:lnTo>
                  <a:lnTo>
                    <a:pt x="2099" y="1642"/>
                  </a:lnTo>
                  <a:lnTo>
                    <a:pt x="2075" y="1707"/>
                  </a:lnTo>
                  <a:lnTo>
                    <a:pt x="2049" y="1768"/>
                  </a:lnTo>
                  <a:lnTo>
                    <a:pt x="2023" y="1827"/>
                  </a:lnTo>
                  <a:lnTo>
                    <a:pt x="1997" y="1881"/>
                  </a:lnTo>
                  <a:lnTo>
                    <a:pt x="1971" y="1930"/>
                  </a:lnTo>
                  <a:lnTo>
                    <a:pt x="1952" y="1963"/>
                  </a:lnTo>
                  <a:lnTo>
                    <a:pt x="1931" y="1999"/>
                  </a:lnTo>
                  <a:lnTo>
                    <a:pt x="1909" y="2037"/>
                  </a:lnTo>
                  <a:lnTo>
                    <a:pt x="1886" y="2080"/>
                  </a:lnTo>
                  <a:lnTo>
                    <a:pt x="1861" y="2124"/>
                  </a:lnTo>
                  <a:lnTo>
                    <a:pt x="1834" y="2170"/>
                  </a:lnTo>
                  <a:lnTo>
                    <a:pt x="1806" y="2219"/>
                  </a:lnTo>
                  <a:lnTo>
                    <a:pt x="1778" y="2270"/>
                  </a:lnTo>
                  <a:lnTo>
                    <a:pt x="1748" y="2321"/>
                  </a:lnTo>
                  <a:lnTo>
                    <a:pt x="1718" y="2375"/>
                  </a:lnTo>
                  <a:lnTo>
                    <a:pt x="1687" y="2430"/>
                  </a:lnTo>
                  <a:lnTo>
                    <a:pt x="1657" y="2484"/>
                  </a:lnTo>
                  <a:lnTo>
                    <a:pt x="1625" y="2540"/>
                  </a:lnTo>
                  <a:lnTo>
                    <a:pt x="1594" y="2596"/>
                  </a:lnTo>
                  <a:lnTo>
                    <a:pt x="1563" y="2653"/>
                  </a:lnTo>
                  <a:lnTo>
                    <a:pt x="1531" y="2709"/>
                  </a:lnTo>
                  <a:lnTo>
                    <a:pt x="1500" y="2763"/>
                  </a:lnTo>
                  <a:lnTo>
                    <a:pt x="1469" y="2818"/>
                  </a:lnTo>
                  <a:lnTo>
                    <a:pt x="1439" y="2872"/>
                  </a:lnTo>
                  <a:lnTo>
                    <a:pt x="1409" y="2924"/>
                  </a:lnTo>
                  <a:lnTo>
                    <a:pt x="1381" y="2976"/>
                  </a:lnTo>
                  <a:lnTo>
                    <a:pt x="1354" y="3024"/>
                  </a:lnTo>
                  <a:lnTo>
                    <a:pt x="1326" y="3071"/>
                  </a:lnTo>
                  <a:lnTo>
                    <a:pt x="1301" y="3117"/>
                  </a:lnTo>
                  <a:lnTo>
                    <a:pt x="1278" y="3159"/>
                  </a:lnTo>
                  <a:lnTo>
                    <a:pt x="1255" y="3199"/>
                  </a:lnTo>
                  <a:lnTo>
                    <a:pt x="1235" y="3235"/>
                  </a:lnTo>
                  <a:lnTo>
                    <a:pt x="1216" y="3269"/>
                  </a:lnTo>
                  <a:lnTo>
                    <a:pt x="1199" y="3299"/>
                  </a:lnTo>
                  <a:lnTo>
                    <a:pt x="1185" y="3325"/>
                  </a:lnTo>
                  <a:lnTo>
                    <a:pt x="1172" y="3347"/>
                  </a:lnTo>
                  <a:lnTo>
                    <a:pt x="1163" y="3365"/>
                  </a:lnTo>
                  <a:lnTo>
                    <a:pt x="1154" y="3379"/>
                  </a:lnTo>
                  <a:lnTo>
                    <a:pt x="1150" y="3387"/>
                  </a:lnTo>
                  <a:lnTo>
                    <a:pt x="1148" y="3390"/>
                  </a:lnTo>
                  <a:lnTo>
                    <a:pt x="1104" y="3469"/>
                  </a:lnTo>
                  <a:lnTo>
                    <a:pt x="1060" y="3390"/>
                  </a:lnTo>
                  <a:lnTo>
                    <a:pt x="1058" y="3387"/>
                  </a:lnTo>
                  <a:lnTo>
                    <a:pt x="1053" y="3379"/>
                  </a:lnTo>
                  <a:lnTo>
                    <a:pt x="1045" y="3366"/>
                  </a:lnTo>
                  <a:lnTo>
                    <a:pt x="1036" y="3348"/>
                  </a:lnTo>
                  <a:lnTo>
                    <a:pt x="1023" y="3327"/>
                  </a:lnTo>
                  <a:lnTo>
                    <a:pt x="1010" y="3302"/>
                  </a:lnTo>
                  <a:lnTo>
                    <a:pt x="993" y="3272"/>
                  </a:lnTo>
                  <a:lnTo>
                    <a:pt x="974" y="3240"/>
                  </a:lnTo>
                  <a:lnTo>
                    <a:pt x="954" y="3204"/>
                  </a:lnTo>
                  <a:lnTo>
                    <a:pt x="932" y="3165"/>
                  </a:lnTo>
                  <a:lnTo>
                    <a:pt x="909" y="3124"/>
                  </a:lnTo>
                  <a:lnTo>
                    <a:pt x="884" y="3080"/>
                  </a:lnTo>
                  <a:lnTo>
                    <a:pt x="858" y="3034"/>
                  </a:lnTo>
                  <a:lnTo>
                    <a:pt x="831" y="2986"/>
                  </a:lnTo>
                  <a:lnTo>
                    <a:pt x="803" y="2936"/>
                  </a:lnTo>
                  <a:lnTo>
                    <a:pt x="774" y="2885"/>
                  </a:lnTo>
                  <a:lnTo>
                    <a:pt x="745" y="2833"/>
                  </a:lnTo>
                  <a:lnTo>
                    <a:pt x="715" y="2779"/>
                  </a:lnTo>
                  <a:lnTo>
                    <a:pt x="684" y="2725"/>
                  </a:lnTo>
                  <a:lnTo>
                    <a:pt x="654" y="2671"/>
                  </a:lnTo>
                  <a:lnTo>
                    <a:pt x="623" y="2616"/>
                  </a:lnTo>
                  <a:lnTo>
                    <a:pt x="592" y="2561"/>
                  </a:lnTo>
                  <a:lnTo>
                    <a:pt x="561" y="2507"/>
                  </a:lnTo>
                  <a:lnTo>
                    <a:pt x="531" y="2452"/>
                  </a:lnTo>
                  <a:lnTo>
                    <a:pt x="502" y="2399"/>
                  </a:lnTo>
                  <a:lnTo>
                    <a:pt x="472" y="2347"/>
                  </a:lnTo>
                  <a:lnTo>
                    <a:pt x="444" y="2295"/>
                  </a:lnTo>
                  <a:lnTo>
                    <a:pt x="416" y="2246"/>
                  </a:lnTo>
                  <a:lnTo>
                    <a:pt x="389" y="2197"/>
                  </a:lnTo>
                  <a:lnTo>
                    <a:pt x="364" y="2151"/>
                  </a:lnTo>
                  <a:lnTo>
                    <a:pt x="340" y="2108"/>
                  </a:lnTo>
                  <a:lnTo>
                    <a:pt x="317" y="2066"/>
                  </a:lnTo>
                  <a:lnTo>
                    <a:pt x="296" y="2028"/>
                  </a:lnTo>
                  <a:lnTo>
                    <a:pt x="276" y="1992"/>
                  </a:lnTo>
                  <a:lnTo>
                    <a:pt x="258" y="1960"/>
                  </a:lnTo>
                  <a:lnTo>
                    <a:pt x="242" y="1930"/>
                  </a:lnTo>
                  <a:lnTo>
                    <a:pt x="214" y="1875"/>
                  </a:lnTo>
                  <a:lnTo>
                    <a:pt x="186" y="1816"/>
                  </a:lnTo>
                  <a:lnTo>
                    <a:pt x="157" y="1752"/>
                  </a:lnTo>
                  <a:lnTo>
                    <a:pt x="130" y="1685"/>
                  </a:lnTo>
                  <a:lnTo>
                    <a:pt x="104" y="1615"/>
                  </a:lnTo>
                  <a:lnTo>
                    <a:pt x="79" y="1543"/>
                  </a:lnTo>
                  <a:lnTo>
                    <a:pt x="57" y="1469"/>
                  </a:lnTo>
                  <a:lnTo>
                    <a:pt x="38" y="1396"/>
                  </a:lnTo>
                  <a:lnTo>
                    <a:pt x="22" y="1321"/>
                  </a:lnTo>
                  <a:lnTo>
                    <a:pt x="10" y="1249"/>
                  </a:lnTo>
                  <a:lnTo>
                    <a:pt x="2" y="1177"/>
                  </a:lnTo>
                  <a:lnTo>
                    <a:pt x="0" y="1107"/>
                  </a:lnTo>
                  <a:lnTo>
                    <a:pt x="3" y="1020"/>
                  </a:lnTo>
                  <a:lnTo>
                    <a:pt x="13" y="936"/>
                  </a:lnTo>
                  <a:lnTo>
                    <a:pt x="29" y="853"/>
                  </a:lnTo>
                  <a:lnTo>
                    <a:pt x="51" y="773"/>
                  </a:lnTo>
                  <a:lnTo>
                    <a:pt x="79" y="695"/>
                  </a:lnTo>
                  <a:lnTo>
                    <a:pt x="112" y="621"/>
                  </a:lnTo>
                  <a:lnTo>
                    <a:pt x="151" y="549"/>
                  </a:lnTo>
                  <a:lnTo>
                    <a:pt x="194" y="480"/>
                  </a:lnTo>
                  <a:lnTo>
                    <a:pt x="242" y="415"/>
                  </a:lnTo>
                  <a:lnTo>
                    <a:pt x="296" y="354"/>
                  </a:lnTo>
                  <a:lnTo>
                    <a:pt x="353" y="297"/>
                  </a:lnTo>
                  <a:lnTo>
                    <a:pt x="413" y="243"/>
                  </a:lnTo>
                  <a:lnTo>
                    <a:pt x="479" y="195"/>
                  </a:lnTo>
                  <a:lnTo>
                    <a:pt x="547" y="152"/>
                  </a:lnTo>
                  <a:lnTo>
                    <a:pt x="619" y="113"/>
                  </a:lnTo>
                  <a:lnTo>
                    <a:pt x="694" y="79"/>
                  </a:lnTo>
                  <a:lnTo>
                    <a:pt x="771" y="52"/>
                  </a:lnTo>
                  <a:lnTo>
                    <a:pt x="851" y="30"/>
                  </a:lnTo>
                  <a:lnTo>
                    <a:pt x="933" y="13"/>
                  </a:lnTo>
                  <a:lnTo>
                    <a:pt x="1018" y="3"/>
                  </a:lnTo>
                  <a:lnTo>
                    <a:pt x="1104" y="0"/>
                  </a:lnTo>
                  <a:close/>
                </a:path>
              </a:pathLst>
            </a:custGeom>
            <a:solidFill>
              <a:schemeClr val="tx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45" name="TextBox 344">
              <a:extLst>
                <a:ext uri="{FF2B5EF4-FFF2-40B4-BE49-F238E27FC236}">
                  <a16:creationId xmlns:a16="http://schemas.microsoft.com/office/drawing/2014/main" id="{95B65BFC-A987-C911-F656-5953886D49B0}"/>
                </a:ext>
              </a:extLst>
            </p:cNvPr>
            <p:cNvSpPr txBox="1"/>
            <p:nvPr/>
          </p:nvSpPr>
          <p:spPr>
            <a:xfrm>
              <a:off x="5230196" y="3650830"/>
              <a:ext cx="389467" cy="19206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C3C3B"/>
                  </a:solidFill>
                  <a:effectLst/>
                  <a:uLnTx/>
                  <a:uFillTx/>
                  <a:latin typeface="Lato"/>
                  <a:ea typeface="Lato"/>
                  <a:cs typeface="Lato"/>
                  <a:sym typeface="Lato" panose="020F0502020204030203" pitchFamily="34" charset="0"/>
                </a:rPr>
                <a:t>Paris</a:t>
              </a:r>
              <a:endParaRPr kumimoji="0" lang="en-GB" sz="12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endParaRPr>
            </a:p>
          </p:txBody>
        </p:sp>
      </p:grpSp>
      <p:grpSp>
        <p:nvGrpSpPr>
          <p:cNvPr id="490" name="Group 489">
            <a:extLst>
              <a:ext uri="{FF2B5EF4-FFF2-40B4-BE49-F238E27FC236}">
                <a16:creationId xmlns:a16="http://schemas.microsoft.com/office/drawing/2014/main" id="{3DD1AB5F-3E66-8175-66BD-9A30FABDCFDB}"/>
              </a:ext>
            </a:extLst>
          </p:cNvPr>
          <p:cNvGrpSpPr/>
          <p:nvPr/>
        </p:nvGrpSpPr>
        <p:grpSpPr>
          <a:xfrm>
            <a:off x="5673950" y="3968892"/>
            <a:ext cx="443189" cy="409917"/>
            <a:chOff x="5526418" y="3932151"/>
            <a:chExt cx="460948" cy="426344"/>
          </a:xfrm>
        </p:grpSpPr>
        <p:sp>
          <p:nvSpPr>
            <p:cNvPr id="328" name="Freeform 584">
              <a:extLst>
                <a:ext uri="{FF2B5EF4-FFF2-40B4-BE49-F238E27FC236}">
                  <a16:creationId xmlns:a16="http://schemas.microsoft.com/office/drawing/2014/main" id="{787E8D88-842A-63E9-617B-6A13022059D4}"/>
                </a:ext>
              </a:extLst>
            </p:cNvPr>
            <p:cNvSpPr>
              <a:spLocks noChangeAspect="1"/>
            </p:cNvSpPr>
            <p:nvPr/>
          </p:nvSpPr>
          <p:spPr bwMode="auto">
            <a:xfrm>
              <a:off x="5537012" y="3932151"/>
              <a:ext cx="142527" cy="223849"/>
            </a:xfrm>
            <a:custGeom>
              <a:avLst/>
              <a:gdLst>
                <a:gd name="T0" fmla="*/ 945 w 2208"/>
                <a:gd name="T1" fmla="*/ 627 h 3469"/>
                <a:gd name="T2" fmla="*/ 768 w 2208"/>
                <a:gd name="T3" fmla="*/ 731 h 3469"/>
                <a:gd name="T4" fmla="*/ 647 w 2208"/>
                <a:gd name="T5" fmla="*/ 896 h 3469"/>
                <a:gd name="T6" fmla="*/ 602 w 2208"/>
                <a:gd name="T7" fmla="*/ 1103 h 3469"/>
                <a:gd name="T8" fmla="*/ 647 w 2208"/>
                <a:gd name="T9" fmla="*/ 1311 h 3469"/>
                <a:gd name="T10" fmla="*/ 768 w 2208"/>
                <a:gd name="T11" fmla="*/ 1476 h 3469"/>
                <a:gd name="T12" fmla="*/ 945 w 2208"/>
                <a:gd name="T13" fmla="*/ 1580 h 3469"/>
                <a:gd name="T14" fmla="*/ 1159 w 2208"/>
                <a:gd name="T15" fmla="*/ 1603 h 3469"/>
                <a:gd name="T16" fmla="*/ 1356 w 2208"/>
                <a:gd name="T17" fmla="*/ 1537 h 3469"/>
                <a:gd name="T18" fmla="*/ 1508 w 2208"/>
                <a:gd name="T19" fmla="*/ 1400 h 3469"/>
                <a:gd name="T20" fmla="*/ 1593 w 2208"/>
                <a:gd name="T21" fmla="*/ 1211 h 3469"/>
                <a:gd name="T22" fmla="*/ 1593 w 2208"/>
                <a:gd name="T23" fmla="*/ 996 h 3469"/>
                <a:gd name="T24" fmla="*/ 1508 w 2208"/>
                <a:gd name="T25" fmla="*/ 807 h 3469"/>
                <a:gd name="T26" fmla="*/ 1356 w 2208"/>
                <a:gd name="T27" fmla="*/ 670 h 3469"/>
                <a:gd name="T28" fmla="*/ 1159 w 2208"/>
                <a:gd name="T29" fmla="*/ 604 h 3469"/>
                <a:gd name="T30" fmla="*/ 1274 w 2208"/>
                <a:gd name="T31" fmla="*/ 13 h 3469"/>
                <a:gd name="T32" fmla="*/ 1589 w 2208"/>
                <a:gd name="T33" fmla="*/ 113 h 3469"/>
                <a:gd name="T34" fmla="*/ 1855 w 2208"/>
                <a:gd name="T35" fmla="*/ 297 h 3469"/>
                <a:gd name="T36" fmla="*/ 2057 w 2208"/>
                <a:gd name="T37" fmla="*/ 549 h 3469"/>
                <a:gd name="T38" fmla="*/ 2179 w 2208"/>
                <a:gd name="T39" fmla="*/ 853 h 3469"/>
                <a:gd name="T40" fmla="*/ 2206 w 2208"/>
                <a:gd name="T41" fmla="*/ 1170 h 3469"/>
                <a:gd name="T42" fmla="*/ 2161 w 2208"/>
                <a:gd name="T43" fmla="*/ 1439 h 3469"/>
                <a:gd name="T44" fmla="*/ 2075 w 2208"/>
                <a:gd name="T45" fmla="*/ 1707 h 3469"/>
                <a:gd name="T46" fmla="*/ 1971 w 2208"/>
                <a:gd name="T47" fmla="*/ 1930 h 3469"/>
                <a:gd name="T48" fmla="*/ 1886 w 2208"/>
                <a:gd name="T49" fmla="*/ 2080 h 3469"/>
                <a:gd name="T50" fmla="*/ 1778 w 2208"/>
                <a:gd name="T51" fmla="*/ 2270 h 3469"/>
                <a:gd name="T52" fmla="*/ 1657 w 2208"/>
                <a:gd name="T53" fmla="*/ 2484 h 3469"/>
                <a:gd name="T54" fmla="*/ 1531 w 2208"/>
                <a:gd name="T55" fmla="*/ 2709 h 3469"/>
                <a:gd name="T56" fmla="*/ 1409 w 2208"/>
                <a:gd name="T57" fmla="*/ 2924 h 3469"/>
                <a:gd name="T58" fmla="*/ 1301 w 2208"/>
                <a:gd name="T59" fmla="*/ 3117 h 3469"/>
                <a:gd name="T60" fmla="*/ 1216 w 2208"/>
                <a:gd name="T61" fmla="*/ 3269 h 3469"/>
                <a:gd name="T62" fmla="*/ 1163 w 2208"/>
                <a:gd name="T63" fmla="*/ 3365 h 3469"/>
                <a:gd name="T64" fmla="*/ 1104 w 2208"/>
                <a:gd name="T65" fmla="*/ 3469 h 3469"/>
                <a:gd name="T66" fmla="*/ 1045 w 2208"/>
                <a:gd name="T67" fmla="*/ 3366 h 3469"/>
                <a:gd name="T68" fmla="*/ 993 w 2208"/>
                <a:gd name="T69" fmla="*/ 3272 h 3469"/>
                <a:gd name="T70" fmla="*/ 909 w 2208"/>
                <a:gd name="T71" fmla="*/ 3124 h 3469"/>
                <a:gd name="T72" fmla="*/ 803 w 2208"/>
                <a:gd name="T73" fmla="*/ 2936 h 3469"/>
                <a:gd name="T74" fmla="*/ 684 w 2208"/>
                <a:gd name="T75" fmla="*/ 2725 h 3469"/>
                <a:gd name="T76" fmla="*/ 561 w 2208"/>
                <a:gd name="T77" fmla="*/ 2507 h 3469"/>
                <a:gd name="T78" fmla="*/ 444 w 2208"/>
                <a:gd name="T79" fmla="*/ 2295 h 3469"/>
                <a:gd name="T80" fmla="*/ 340 w 2208"/>
                <a:gd name="T81" fmla="*/ 2108 h 3469"/>
                <a:gd name="T82" fmla="*/ 258 w 2208"/>
                <a:gd name="T83" fmla="*/ 1960 h 3469"/>
                <a:gd name="T84" fmla="*/ 157 w 2208"/>
                <a:gd name="T85" fmla="*/ 1752 h 3469"/>
                <a:gd name="T86" fmla="*/ 57 w 2208"/>
                <a:gd name="T87" fmla="*/ 1469 h 3469"/>
                <a:gd name="T88" fmla="*/ 2 w 2208"/>
                <a:gd name="T89" fmla="*/ 1177 h 3469"/>
                <a:gd name="T90" fmla="*/ 29 w 2208"/>
                <a:gd name="T91" fmla="*/ 853 h 3469"/>
                <a:gd name="T92" fmla="*/ 151 w 2208"/>
                <a:gd name="T93" fmla="*/ 549 h 3469"/>
                <a:gd name="T94" fmla="*/ 353 w 2208"/>
                <a:gd name="T95" fmla="*/ 297 h 3469"/>
                <a:gd name="T96" fmla="*/ 619 w 2208"/>
                <a:gd name="T97" fmla="*/ 113 h 3469"/>
                <a:gd name="T98" fmla="*/ 933 w 2208"/>
                <a:gd name="T99" fmla="*/ 13 h 3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08" h="3469">
                  <a:moveTo>
                    <a:pt x="1104" y="601"/>
                  </a:moveTo>
                  <a:lnTo>
                    <a:pt x="1049" y="604"/>
                  </a:lnTo>
                  <a:lnTo>
                    <a:pt x="996" y="612"/>
                  </a:lnTo>
                  <a:lnTo>
                    <a:pt x="945" y="627"/>
                  </a:lnTo>
                  <a:lnTo>
                    <a:pt x="897" y="646"/>
                  </a:lnTo>
                  <a:lnTo>
                    <a:pt x="851" y="670"/>
                  </a:lnTo>
                  <a:lnTo>
                    <a:pt x="808" y="699"/>
                  </a:lnTo>
                  <a:lnTo>
                    <a:pt x="768" y="731"/>
                  </a:lnTo>
                  <a:lnTo>
                    <a:pt x="732" y="767"/>
                  </a:lnTo>
                  <a:lnTo>
                    <a:pt x="700" y="807"/>
                  </a:lnTo>
                  <a:lnTo>
                    <a:pt x="672" y="850"/>
                  </a:lnTo>
                  <a:lnTo>
                    <a:pt x="647" y="896"/>
                  </a:lnTo>
                  <a:lnTo>
                    <a:pt x="629" y="945"/>
                  </a:lnTo>
                  <a:lnTo>
                    <a:pt x="614" y="996"/>
                  </a:lnTo>
                  <a:lnTo>
                    <a:pt x="605" y="1049"/>
                  </a:lnTo>
                  <a:lnTo>
                    <a:pt x="602" y="1103"/>
                  </a:lnTo>
                  <a:lnTo>
                    <a:pt x="605" y="1158"/>
                  </a:lnTo>
                  <a:lnTo>
                    <a:pt x="614" y="1211"/>
                  </a:lnTo>
                  <a:lnTo>
                    <a:pt x="629" y="1262"/>
                  </a:lnTo>
                  <a:lnTo>
                    <a:pt x="647" y="1311"/>
                  </a:lnTo>
                  <a:lnTo>
                    <a:pt x="672" y="1357"/>
                  </a:lnTo>
                  <a:lnTo>
                    <a:pt x="700" y="1400"/>
                  </a:lnTo>
                  <a:lnTo>
                    <a:pt x="732" y="1440"/>
                  </a:lnTo>
                  <a:lnTo>
                    <a:pt x="768" y="1476"/>
                  </a:lnTo>
                  <a:lnTo>
                    <a:pt x="808" y="1508"/>
                  </a:lnTo>
                  <a:lnTo>
                    <a:pt x="851" y="1537"/>
                  </a:lnTo>
                  <a:lnTo>
                    <a:pt x="897" y="1561"/>
                  </a:lnTo>
                  <a:lnTo>
                    <a:pt x="945" y="1580"/>
                  </a:lnTo>
                  <a:lnTo>
                    <a:pt x="996" y="1595"/>
                  </a:lnTo>
                  <a:lnTo>
                    <a:pt x="1049" y="1603"/>
                  </a:lnTo>
                  <a:lnTo>
                    <a:pt x="1104" y="1606"/>
                  </a:lnTo>
                  <a:lnTo>
                    <a:pt x="1159" y="1603"/>
                  </a:lnTo>
                  <a:lnTo>
                    <a:pt x="1211" y="1595"/>
                  </a:lnTo>
                  <a:lnTo>
                    <a:pt x="1261" y="1580"/>
                  </a:lnTo>
                  <a:lnTo>
                    <a:pt x="1311" y="1561"/>
                  </a:lnTo>
                  <a:lnTo>
                    <a:pt x="1356" y="1537"/>
                  </a:lnTo>
                  <a:lnTo>
                    <a:pt x="1399" y="1508"/>
                  </a:lnTo>
                  <a:lnTo>
                    <a:pt x="1439" y="1476"/>
                  </a:lnTo>
                  <a:lnTo>
                    <a:pt x="1475" y="1440"/>
                  </a:lnTo>
                  <a:lnTo>
                    <a:pt x="1508" y="1400"/>
                  </a:lnTo>
                  <a:lnTo>
                    <a:pt x="1536" y="1357"/>
                  </a:lnTo>
                  <a:lnTo>
                    <a:pt x="1560" y="1311"/>
                  </a:lnTo>
                  <a:lnTo>
                    <a:pt x="1579" y="1262"/>
                  </a:lnTo>
                  <a:lnTo>
                    <a:pt x="1593" y="1211"/>
                  </a:lnTo>
                  <a:lnTo>
                    <a:pt x="1601" y="1158"/>
                  </a:lnTo>
                  <a:lnTo>
                    <a:pt x="1605" y="1103"/>
                  </a:lnTo>
                  <a:lnTo>
                    <a:pt x="1601" y="1049"/>
                  </a:lnTo>
                  <a:lnTo>
                    <a:pt x="1593" y="996"/>
                  </a:lnTo>
                  <a:lnTo>
                    <a:pt x="1579" y="945"/>
                  </a:lnTo>
                  <a:lnTo>
                    <a:pt x="1560" y="896"/>
                  </a:lnTo>
                  <a:lnTo>
                    <a:pt x="1536" y="850"/>
                  </a:lnTo>
                  <a:lnTo>
                    <a:pt x="1508" y="807"/>
                  </a:lnTo>
                  <a:lnTo>
                    <a:pt x="1475" y="767"/>
                  </a:lnTo>
                  <a:lnTo>
                    <a:pt x="1439" y="731"/>
                  </a:lnTo>
                  <a:lnTo>
                    <a:pt x="1399" y="699"/>
                  </a:lnTo>
                  <a:lnTo>
                    <a:pt x="1356" y="670"/>
                  </a:lnTo>
                  <a:lnTo>
                    <a:pt x="1311" y="646"/>
                  </a:lnTo>
                  <a:lnTo>
                    <a:pt x="1261" y="627"/>
                  </a:lnTo>
                  <a:lnTo>
                    <a:pt x="1211" y="612"/>
                  </a:lnTo>
                  <a:lnTo>
                    <a:pt x="1159" y="604"/>
                  </a:lnTo>
                  <a:lnTo>
                    <a:pt x="1104" y="601"/>
                  </a:lnTo>
                  <a:close/>
                  <a:moveTo>
                    <a:pt x="1104" y="0"/>
                  </a:moveTo>
                  <a:lnTo>
                    <a:pt x="1190" y="3"/>
                  </a:lnTo>
                  <a:lnTo>
                    <a:pt x="1274" y="13"/>
                  </a:lnTo>
                  <a:lnTo>
                    <a:pt x="1357" y="30"/>
                  </a:lnTo>
                  <a:lnTo>
                    <a:pt x="1437" y="52"/>
                  </a:lnTo>
                  <a:lnTo>
                    <a:pt x="1514" y="79"/>
                  </a:lnTo>
                  <a:lnTo>
                    <a:pt x="1589" y="113"/>
                  </a:lnTo>
                  <a:lnTo>
                    <a:pt x="1660" y="152"/>
                  </a:lnTo>
                  <a:lnTo>
                    <a:pt x="1728" y="195"/>
                  </a:lnTo>
                  <a:lnTo>
                    <a:pt x="1793" y="243"/>
                  </a:lnTo>
                  <a:lnTo>
                    <a:pt x="1855" y="297"/>
                  </a:lnTo>
                  <a:lnTo>
                    <a:pt x="1912" y="354"/>
                  </a:lnTo>
                  <a:lnTo>
                    <a:pt x="1964" y="415"/>
                  </a:lnTo>
                  <a:lnTo>
                    <a:pt x="2013" y="480"/>
                  </a:lnTo>
                  <a:lnTo>
                    <a:pt x="2057" y="549"/>
                  </a:lnTo>
                  <a:lnTo>
                    <a:pt x="2096" y="621"/>
                  </a:lnTo>
                  <a:lnTo>
                    <a:pt x="2128" y="695"/>
                  </a:lnTo>
                  <a:lnTo>
                    <a:pt x="2156" y="773"/>
                  </a:lnTo>
                  <a:lnTo>
                    <a:pt x="2179" y="853"/>
                  </a:lnTo>
                  <a:lnTo>
                    <a:pt x="2194" y="936"/>
                  </a:lnTo>
                  <a:lnTo>
                    <a:pt x="2205" y="1020"/>
                  </a:lnTo>
                  <a:lnTo>
                    <a:pt x="2208" y="1107"/>
                  </a:lnTo>
                  <a:lnTo>
                    <a:pt x="2206" y="1170"/>
                  </a:lnTo>
                  <a:lnTo>
                    <a:pt x="2200" y="1235"/>
                  </a:lnTo>
                  <a:lnTo>
                    <a:pt x="2190" y="1301"/>
                  </a:lnTo>
                  <a:lnTo>
                    <a:pt x="2176" y="1370"/>
                  </a:lnTo>
                  <a:lnTo>
                    <a:pt x="2161" y="1439"/>
                  </a:lnTo>
                  <a:lnTo>
                    <a:pt x="2142" y="1507"/>
                  </a:lnTo>
                  <a:lnTo>
                    <a:pt x="2122" y="1576"/>
                  </a:lnTo>
                  <a:lnTo>
                    <a:pt x="2099" y="1642"/>
                  </a:lnTo>
                  <a:lnTo>
                    <a:pt x="2075" y="1707"/>
                  </a:lnTo>
                  <a:lnTo>
                    <a:pt x="2049" y="1768"/>
                  </a:lnTo>
                  <a:lnTo>
                    <a:pt x="2023" y="1827"/>
                  </a:lnTo>
                  <a:lnTo>
                    <a:pt x="1997" y="1881"/>
                  </a:lnTo>
                  <a:lnTo>
                    <a:pt x="1971" y="1930"/>
                  </a:lnTo>
                  <a:lnTo>
                    <a:pt x="1952" y="1963"/>
                  </a:lnTo>
                  <a:lnTo>
                    <a:pt x="1931" y="1999"/>
                  </a:lnTo>
                  <a:lnTo>
                    <a:pt x="1909" y="2037"/>
                  </a:lnTo>
                  <a:lnTo>
                    <a:pt x="1886" y="2080"/>
                  </a:lnTo>
                  <a:lnTo>
                    <a:pt x="1861" y="2124"/>
                  </a:lnTo>
                  <a:lnTo>
                    <a:pt x="1834" y="2170"/>
                  </a:lnTo>
                  <a:lnTo>
                    <a:pt x="1806" y="2219"/>
                  </a:lnTo>
                  <a:lnTo>
                    <a:pt x="1778" y="2270"/>
                  </a:lnTo>
                  <a:lnTo>
                    <a:pt x="1748" y="2321"/>
                  </a:lnTo>
                  <a:lnTo>
                    <a:pt x="1718" y="2375"/>
                  </a:lnTo>
                  <a:lnTo>
                    <a:pt x="1687" y="2430"/>
                  </a:lnTo>
                  <a:lnTo>
                    <a:pt x="1657" y="2484"/>
                  </a:lnTo>
                  <a:lnTo>
                    <a:pt x="1625" y="2540"/>
                  </a:lnTo>
                  <a:lnTo>
                    <a:pt x="1594" y="2596"/>
                  </a:lnTo>
                  <a:lnTo>
                    <a:pt x="1563" y="2653"/>
                  </a:lnTo>
                  <a:lnTo>
                    <a:pt x="1531" y="2709"/>
                  </a:lnTo>
                  <a:lnTo>
                    <a:pt x="1500" y="2763"/>
                  </a:lnTo>
                  <a:lnTo>
                    <a:pt x="1469" y="2818"/>
                  </a:lnTo>
                  <a:lnTo>
                    <a:pt x="1439" y="2872"/>
                  </a:lnTo>
                  <a:lnTo>
                    <a:pt x="1409" y="2924"/>
                  </a:lnTo>
                  <a:lnTo>
                    <a:pt x="1381" y="2976"/>
                  </a:lnTo>
                  <a:lnTo>
                    <a:pt x="1354" y="3024"/>
                  </a:lnTo>
                  <a:lnTo>
                    <a:pt x="1326" y="3071"/>
                  </a:lnTo>
                  <a:lnTo>
                    <a:pt x="1301" y="3117"/>
                  </a:lnTo>
                  <a:lnTo>
                    <a:pt x="1278" y="3159"/>
                  </a:lnTo>
                  <a:lnTo>
                    <a:pt x="1255" y="3199"/>
                  </a:lnTo>
                  <a:lnTo>
                    <a:pt x="1235" y="3235"/>
                  </a:lnTo>
                  <a:lnTo>
                    <a:pt x="1216" y="3269"/>
                  </a:lnTo>
                  <a:lnTo>
                    <a:pt x="1199" y="3299"/>
                  </a:lnTo>
                  <a:lnTo>
                    <a:pt x="1185" y="3325"/>
                  </a:lnTo>
                  <a:lnTo>
                    <a:pt x="1172" y="3347"/>
                  </a:lnTo>
                  <a:lnTo>
                    <a:pt x="1163" y="3365"/>
                  </a:lnTo>
                  <a:lnTo>
                    <a:pt x="1154" y="3379"/>
                  </a:lnTo>
                  <a:lnTo>
                    <a:pt x="1150" y="3387"/>
                  </a:lnTo>
                  <a:lnTo>
                    <a:pt x="1148" y="3390"/>
                  </a:lnTo>
                  <a:lnTo>
                    <a:pt x="1104" y="3469"/>
                  </a:lnTo>
                  <a:lnTo>
                    <a:pt x="1060" y="3390"/>
                  </a:lnTo>
                  <a:lnTo>
                    <a:pt x="1058" y="3387"/>
                  </a:lnTo>
                  <a:lnTo>
                    <a:pt x="1053" y="3379"/>
                  </a:lnTo>
                  <a:lnTo>
                    <a:pt x="1045" y="3366"/>
                  </a:lnTo>
                  <a:lnTo>
                    <a:pt x="1036" y="3348"/>
                  </a:lnTo>
                  <a:lnTo>
                    <a:pt x="1023" y="3327"/>
                  </a:lnTo>
                  <a:lnTo>
                    <a:pt x="1010" y="3302"/>
                  </a:lnTo>
                  <a:lnTo>
                    <a:pt x="993" y="3272"/>
                  </a:lnTo>
                  <a:lnTo>
                    <a:pt x="974" y="3240"/>
                  </a:lnTo>
                  <a:lnTo>
                    <a:pt x="954" y="3204"/>
                  </a:lnTo>
                  <a:lnTo>
                    <a:pt x="932" y="3165"/>
                  </a:lnTo>
                  <a:lnTo>
                    <a:pt x="909" y="3124"/>
                  </a:lnTo>
                  <a:lnTo>
                    <a:pt x="884" y="3080"/>
                  </a:lnTo>
                  <a:lnTo>
                    <a:pt x="858" y="3034"/>
                  </a:lnTo>
                  <a:lnTo>
                    <a:pt x="831" y="2986"/>
                  </a:lnTo>
                  <a:lnTo>
                    <a:pt x="803" y="2936"/>
                  </a:lnTo>
                  <a:lnTo>
                    <a:pt x="774" y="2885"/>
                  </a:lnTo>
                  <a:lnTo>
                    <a:pt x="745" y="2833"/>
                  </a:lnTo>
                  <a:lnTo>
                    <a:pt x="715" y="2779"/>
                  </a:lnTo>
                  <a:lnTo>
                    <a:pt x="684" y="2725"/>
                  </a:lnTo>
                  <a:lnTo>
                    <a:pt x="654" y="2671"/>
                  </a:lnTo>
                  <a:lnTo>
                    <a:pt x="623" y="2616"/>
                  </a:lnTo>
                  <a:lnTo>
                    <a:pt x="592" y="2561"/>
                  </a:lnTo>
                  <a:lnTo>
                    <a:pt x="561" y="2507"/>
                  </a:lnTo>
                  <a:lnTo>
                    <a:pt x="531" y="2452"/>
                  </a:lnTo>
                  <a:lnTo>
                    <a:pt x="502" y="2399"/>
                  </a:lnTo>
                  <a:lnTo>
                    <a:pt x="472" y="2347"/>
                  </a:lnTo>
                  <a:lnTo>
                    <a:pt x="444" y="2295"/>
                  </a:lnTo>
                  <a:lnTo>
                    <a:pt x="416" y="2246"/>
                  </a:lnTo>
                  <a:lnTo>
                    <a:pt x="389" y="2197"/>
                  </a:lnTo>
                  <a:lnTo>
                    <a:pt x="364" y="2151"/>
                  </a:lnTo>
                  <a:lnTo>
                    <a:pt x="340" y="2108"/>
                  </a:lnTo>
                  <a:lnTo>
                    <a:pt x="317" y="2066"/>
                  </a:lnTo>
                  <a:lnTo>
                    <a:pt x="296" y="2028"/>
                  </a:lnTo>
                  <a:lnTo>
                    <a:pt x="276" y="1992"/>
                  </a:lnTo>
                  <a:lnTo>
                    <a:pt x="258" y="1960"/>
                  </a:lnTo>
                  <a:lnTo>
                    <a:pt x="242" y="1930"/>
                  </a:lnTo>
                  <a:lnTo>
                    <a:pt x="214" y="1875"/>
                  </a:lnTo>
                  <a:lnTo>
                    <a:pt x="186" y="1816"/>
                  </a:lnTo>
                  <a:lnTo>
                    <a:pt x="157" y="1752"/>
                  </a:lnTo>
                  <a:lnTo>
                    <a:pt x="130" y="1685"/>
                  </a:lnTo>
                  <a:lnTo>
                    <a:pt x="104" y="1615"/>
                  </a:lnTo>
                  <a:lnTo>
                    <a:pt x="79" y="1543"/>
                  </a:lnTo>
                  <a:lnTo>
                    <a:pt x="57" y="1469"/>
                  </a:lnTo>
                  <a:lnTo>
                    <a:pt x="38" y="1396"/>
                  </a:lnTo>
                  <a:lnTo>
                    <a:pt x="22" y="1321"/>
                  </a:lnTo>
                  <a:lnTo>
                    <a:pt x="10" y="1249"/>
                  </a:lnTo>
                  <a:lnTo>
                    <a:pt x="2" y="1177"/>
                  </a:lnTo>
                  <a:lnTo>
                    <a:pt x="0" y="1107"/>
                  </a:lnTo>
                  <a:lnTo>
                    <a:pt x="3" y="1020"/>
                  </a:lnTo>
                  <a:lnTo>
                    <a:pt x="13" y="936"/>
                  </a:lnTo>
                  <a:lnTo>
                    <a:pt x="29" y="853"/>
                  </a:lnTo>
                  <a:lnTo>
                    <a:pt x="51" y="773"/>
                  </a:lnTo>
                  <a:lnTo>
                    <a:pt x="79" y="695"/>
                  </a:lnTo>
                  <a:lnTo>
                    <a:pt x="112" y="621"/>
                  </a:lnTo>
                  <a:lnTo>
                    <a:pt x="151" y="549"/>
                  </a:lnTo>
                  <a:lnTo>
                    <a:pt x="194" y="480"/>
                  </a:lnTo>
                  <a:lnTo>
                    <a:pt x="242" y="415"/>
                  </a:lnTo>
                  <a:lnTo>
                    <a:pt x="296" y="354"/>
                  </a:lnTo>
                  <a:lnTo>
                    <a:pt x="353" y="297"/>
                  </a:lnTo>
                  <a:lnTo>
                    <a:pt x="413" y="243"/>
                  </a:lnTo>
                  <a:lnTo>
                    <a:pt x="479" y="195"/>
                  </a:lnTo>
                  <a:lnTo>
                    <a:pt x="547" y="152"/>
                  </a:lnTo>
                  <a:lnTo>
                    <a:pt x="619" y="113"/>
                  </a:lnTo>
                  <a:lnTo>
                    <a:pt x="694" y="79"/>
                  </a:lnTo>
                  <a:lnTo>
                    <a:pt x="771" y="52"/>
                  </a:lnTo>
                  <a:lnTo>
                    <a:pt x="851" y="30"/>
                  </a:lnTo>
                  <a:lnTo>
                    <a:pt x="933" y="13"/>
                  </a:lnTo>
                  <a:lnTo>
                    <a:pt x="1018" y="3"/>
                  </a:lnTo>
                  <a:lnTo>
                    <a:pt x="1104" y="0"/>
                  </a:lnTo>
                  <a:close/>
                </a:path>
              </a:pathLst>
            </a:custGeom>
            <a:solidFill>
              <a:schemeClr val="tx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46" name="TextBox 345">
              <a:extLst>
                <a:ext uri="{FF2B5EF4-FFF2-40B4-BE49-F238E27FC236}">
                  <a16:creationId xmlns:a16="http://schemas.microsoft.com/office/drawing/2014/main" id="{E5F0076F-F081-AC5D-6D81-294BD21E46A6}"/>
                </a:ext>
              </a:extLst>
            </p:cNvPr>
            <p:cNvSpPr txBox="1"/>
            <p:nvPr/>
          </p:nvSpPr>
          <p:spPr>
            <a:xfrm>
              <a:off x="5526418" y="4166429"/>
              <a:ext cx="460948" cy="1920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C3C3B"/>
                  </a:solidFill>
                  <a:effectLst/>
                  <a:uLnTx/>
                  <a:uFillTx/>
                  <a:latin typeface="Lato"/>
                  <a:ea typeface="Lato"/>
                  <a:cs typeface="Lato"/>
                  <a:sym typeface="Lato" panose="020F0502020204030203" pitchFamily="34" charset="0"/>
                </a:rPr>
                <a:t>Rome</a:t>
              </a:r>
              <a:endParaRPr kumimoji="0" lang="en-GB" sz="12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endParaRPr>
            </a:p>
          </p:txBody>
        </p:sp>
      </p:grpSp>
      <p:grpSp>
        <p:nvGrpSpPr>
          <p:cNvPr id="44" name="Group 43">
            <a:extLst>
              <a:ext uri="{FF2B5EF4-FFF2-40B4-BE49-F238E27FC236}">
                <a16:creationId xmlns:a16="http://schemas.microsoft.com/office/drawing/2014/main" id="{BCDA9E33-BD0A-99E1-9FA5-923933E36634}"/>
              </a:ext>
            </a:extLst>
          </p:cNvPr>
          <p:cNvGrpSpPr/>
          <p:nvPr/>
        </p:nvGrpSpPr>
        <p:grpSpPr>
          <a:xfrm>
            <a:off x="6234508" y="3948508"/>
            <a:ext cx="529500" cy="414429"/>
            <a:chOff x="6109417" y="3910925"/>
            <a:chExt cx="550715" cy="431034"/>
          </a:xfrm>
        </p:grpSpPr>
        <p:sp>
          <p:nvSpPr>
            <p:cNvPr id="325" name="Freeform 584">
              <a:extLst>
                <a:ext uri="{FF2B5EF4-FFF2-40B4-BE49-F238E27FC236}">
                  <a16:creationId xmlns:a16="http://schemas.microsoft.com/office/drawing/2014/main" id="{2835558B-BE93-DAFC-6F16-EC94CFCBCA9F}"/>
                </a:ext>
              </a:extLst>
            </p:cNvPr>
            <p:cNvSpPr>
              <a:spLocks noChangeAspect="1"/>
            </p:cNvSpPr>
            <p:nvPr/>
          </p:nvSpPr>
          <p:spPr bwMode="auto">
            <a:xfrm>
              <a:off x="6152693" y="4118110"/>
              <a:ext cx="142527" cy="223849"/>
            </a:xfrm>
            <a:custGeom>
              <a:avLst/>
              <a:gdLst>
                <a:gd name="T0" fmla="*/ 945 w 2208"/>
                <a:gd name="T1" fmla="*/ 627 h 3469"/>
                <a:gd name="T2" fmla="*/ 768 w 2208"/>
                <a:gd name="T3" fmla="*/ 731 h 3469"/>
                <a:gd name="T4" fmla="*/ 647 w 2208"/>
                <a:gd name="T5" fmla="*/ 896 h 3469"/>
                <a:gd name="T6" fmla="*/ 602 w 2208"/>
                <a:gd name="T7" fmla="*/ 1103 h 3469"/>
                <a:gd name="T8" fmla="*/ 647 w 2208"/>
                <a:gd name="T9" fmla="*/ 1311 h 3469"/>
                <a:gd name="T10" fmla="*/ 768 w 2208"/>
                <a:gd name="T11" fmla="*/ 1476 h 3469"/>
                <a:gd name="T12" fmla="*/ 945 w 2208"/>
                <a:gd name="T13" fmla="*/ 1580 h 3469"/>
                <a:gd name="T14" fmla="*/ 1159 w 2208"/>
                <a:gd name="T15" fmla="*/ 1603 h 3469"/>
                <a:gd name="T16" fmla="*/ 1356 w 2208"/>
                <a:gd name="T17" fmla="*/ 1537 h 3469"/>
                <a:gd name="T18" fmla="*/ 1508 w 2208"/>
                <a:gd name="T19" fmla="*/ 1400 h 3469"/>
                <a:gd name="T20" fmla="*/ 1593 w 2208"/>
                <a:gd name="T21" fmla="*/ 1211 h 3469"/>
                <a:gd name="T22" fmla="*/ 1593 w 2208"/>
                <a:gd name="T23" fmla="*/ 996 h 3469"/>
                <a:gd name="T24" fmla="*/ 1508 w 2208"/>
                <a:gd name="T25" fmla="*/ 807 h 3469"/>
                <a:gd name="T26" fmla="*/ 1356 w 2208"/>
                <a:gd name="T27" fmla="*/ 670 h 3469"/>
                <a:gd name="T28" fmla="*/ 1159 w 2208"/>
                <a:gd name="T29" fmla="*/ 604 h 3469"/>
                <a:gd name="T30" fmla="*/ 1274 w 2208"/>
                <a:gd name="T31" fmla="*/ 13 h 3469"/>
                <a:gd name="T32" fmla="*/ 1589 w 2208"/>
                <a:gd name="T33" fmla="*/ 113 h 3469"/>
                <a:gd name="T34" fmla="*/ 1855 w 2208"/>
                <a:gd name="T35" fmla="*/ 297 h 3469"/>
                <a:gd name="T36" fmla="*/ 2057 w 2208"/>
                <a:gd name="T37" fmla="*/ 549 h 3469"/>
                <a:gd name="T38" fmla="*/ 2179 w 2208"/>
                <a:gd name="T39" fmla="*/ 853 h 3469"/>
                <a:gd name="T40" fmla="*/ 2206 w 2208"/>
                <a:gd name="T41" fmla="*/ 1170 h 3469"/>
                <a:gd name="T42" fmla="*/ 2161 w 2208"/>
                <a:gd name="T43" fmla="*/ 1439 h 3469"/>
                <a:gd name="T44" fmla="*/ 2075 w 2208"/>
                <a:gd name="T45" fmla="*/ 1707 h 3469"/>
                <a:gd name="T46" fmla="*/ 1971 w 2208"/>
                <a:gd name="T47" fmla="*/ 1930 h 3469"/>
                <a:gd name="T48" fmla="*/ 1886 w 2208"/>
                <a:gd name="T49" fmla="*/ 2080 h 3469"/>
                <a:gd name="T50" fmla="*/ 1778 w 2208"/>
                <a:gd name="T51" fmla="*/ 2270 h 3469"/>
                <a:gd name="T52" fmla="*/ 1657 w 2208"/>
                <a:gd name="T53" fmla="*/ 2484 h 3469"/>
                <a:gd name="T54" fmla="*/ 1531 w 2208"/>
                <a:gd name="T55" fmla="*/ 2709 h 3469"/>
                <a:gd name="T56" fmla="*/ 1409 w 2208"/>
                <a:gd name="T57" fmla="*/ 2924 h 3469"/>
                <a:gd name="T58" fmla="*/ 1301 w 2208"/>
                <a:gd name="T59" fmla="*/ 3117 h 3469"/>
                <a:gd name="T60" fmla="*/ 1216 w 2208"/>
                <a:gd name="T61" fmla="*/ 3269 h 3469"/>
                <a:gd name="T62" fmla="*/ 1163 w 2208"/>
                <a:gd name="T63" fmla="*/ 3365 h 3469"/>
                <a:gd name="T64" fmla="*/ 1104 w 2208"/>
                <a:gd name="T65" fmla="*/ 3469 h 3469"/>
                <a:gd name="T66" fmla="*/ 1045 w 2208"/>
                <a:gd name="T67" fmla="*/ 3366 h 3469"/>
                <a:gd name="T68" fmla="*/ 993 w 2208"/>
                <a:gd name="T69" fmla="*/ 3272 h 3469"/>
                <a:gd name="T70" fmla="*/ 909 w 2208"/>
                <a:gd name="T71" fmla="*/ 3124 h 3469"/>
                <a:gd name="T72" fmla="*/ 803 w 2208"/>
                <a:gd name="T73" fmla="*/ 2936 h 3469"/>
                <a:gd name="T74" fmla="*/ 684 w 2208"/>
                <a:gd name="T75" fmla="*/ 2725 h 3469"/>
                <a:gd name="T76" fmla="*/ 561 w 2208"/>
                <a:gd name="T77" fmla="*/ 2507 h 3469"/>
                <a:gd name="T78" fmla="*/ 444 w 2208"/>
                <a:gd name="T79" fmla="*/ 2295 h 3469"/>
                <a:gd name="T80" fmla="*/ 340 w 2208"/>
                <a:gd name="T81" fmla="*/ 2108 h 3469"/>
                <a:gd name="T82" fmla="*/ 258 w 2208"/>
                <a:gd name="T83" fmla="*/ 1960 h 3469"/>
                <a:gd name="T84" fmla="*/ 157 w 2208"/>
                <a:gd name="T85" fmla="*/ 1752 h 3469"/>
                <a:gd name="T86" fmla="*/ 57 w 2208"/>
                <a:gd name="T87" fmla="*/ 1469 h 3469"/>
                <a:gd name="T88" fmla="*/ 2 w 2208"/>
                <a:gd name="T89" fmla="*/ 1177 h 3469"/>
                <a:gd name="T90" fmla="*/ 29 w 2208"/>
                <a:gd name="T91" fmla="*/ 853 h 3469"/>
                <a:gd name="T92" fmla="*/ 151 w 2208"/>
                <a:gd name="T93" fmla="*/ 549 h 3469"/>
                <a:gd name="T94" fmla="*/ 353 w 2208"/>
                <a:gd name="T95" fmla="*/ 297 h 3469"/>
                <a:gd name="T96" fmla="*/ 619 w 2208"/>
                <a:gd name="T97" fmla="*/ 113 h 3469"/>
                <a:gd name="T98" fmla="*/ 933 w 2208"/>
                <a:gd name="T99" fmla="*/ 13 h 3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08" h="3469">
                  <a:moveTo>
                    <a:pt x="1104" y="601"/>
                  </a:moveTo>
                  <a:lnTo>
                    <a:pt x="1049" y="604"/>
                  </a:lnTo>
                  <a:lnTo>
                    <a:pt x="996" y="612"/>
                  </a:lnTo>
                  <a:lnTo>
                    <a:pt x="945" y="627"/>
                  </a:lnTo>
                  <a:lnTo>
                    <a:pt x="897" y="646"/>
                  </a:lnTo>
                  <a:lnTo>
                    <a:pt x="851" y="670"/>
                  </a:lnTo>
                  <a:lnTo>
                    <a:pt x="808" y="699"/>
                  </a:lnTo>
                  <a:lnTo>
                    <a:pt x="768" y="731"/>
                  </a:lnTo>
                  <a:lnTo>
                    <a:pt x="732" y="767"/>
                  </a:lnTo>
                  <a:lnTo>
                    <a:pt x="700" y="807"/>
                  </a:lnTo>
                  <a:lnTo>
                    <a:pt x="672" y="850"/>
                  </a:lnTo>
                  <a:lnTo>
                    <a:pt x="647" y="896"/>
                  </a:lnTo>
                  <a:lnTo>
                    <a:pt x="629" y="945"/>
                  </a:lnTo>
                  <a:lnTo>
                    <a:pt x="614" y="996"/>
                  </a:lnTo>
                  <a:lnTo>
                    <a:pt x="605" y="1049"/>
                  </a:lnTo>
                  <a:lnTo>
                    <a:pt x="602" y="1103"/>
                  </a:lnTo>
                  <a:lnTo>
                    <a:pt x="605" y="1158"/>
                  </a:lnTo>
                  <a:lnTo>
                    <a:pt x="614" y="1211"/>
                  </a:lnTo>
                  <a:lnTo>
                    <a:pt x="629" y="1262"/>
                  </a:lnTo>
                  <a:lnTo>
                    <a:pt x="647" y="1311"/>
                  </a:lnTo>
                  <a:lnTo>
                    <a:pt x="672" y="1357"/>
                  </a:lnTo>
                  <a:lnTo>
                    <a:pt x="700" y="1400"/>
                  </a:lnTo>
                  <a:lnTo>
                    <a:pt x="732" y="1440"/>
                  </a:lnTo>
                  <a:lnTo>
                    <a:pt x="768" y="1476"/>
                  </a:lnTo>
                  <a:lnTo>
                    <a:pt x="808" y="1508"/>
                  </a:lnTo>
                  <a:lnTo>
                    <a:pt x="851" y="1537"/>
                  </a:lnTo>
                  <a:lnTo>
                    <a:pt x="897" y="1561"/>
                  </a:lnTo>
                  <a:lnTo>
                    <a:pt x="945" y="1580"/>
                  </a:lnTo>
                  <a:lnTo>
                    <a:pt x="996" y="1595"/>
                  </a:lnTo>
                  <a:lnTo>
                    <a:pt x="1049" y="1603"/>
                  </a:lnTo>
                  <a:lnTo>
                    <a:pt x="1104" y="1606"/>
                  </a:lnTo>
                  <a:lnTo>
                    <a:pt x="1159" y="1603"/>
                  </a:lnTo>
                  <a:lnTo>
                    <a:pt x="1211" y="1595"/>
                  </a:lnTo>
                  <a:lnTo>
                    <a:pt x="1261" y="1580"/>
                  </a:lnTo>
                  <a:lnTo>
                    <a:pt x="1311" y="1561"/>
                  </a:lnTo>
                  <a:lnTo>
                    <a:pt x="1356" y="1537"/>
                  </a:lnTo>
                  <a:lnTo>
                    <a:pt x="1399" y="1508"/>
                  </a:lnTo>
                  <a:lnTo>
                    <a:pt x="1439" y="1476"/>
                  </a:lnTo>
                  <a:lnTo>
                    <a:pt x="1475" y="1440"/>
                  </a:lnTo>
                  <a:lnTo>
                    <a:pt x="1508" y="1400"/>
                  </a:lnTo>
                  <a:lnTo>
                    <a:pt x="1536" y="1357"/>
                  </a:lnTo>
                  <a:lnTo>
                    <a:pt x="1560" y="1311"/>
                  </a:lnTo>
                  <a:lnTo>
                    <a:pt x="1579" y="1262"/>
                  </a:lnTo>
                  <a:lnTo>
                    <a:pt x="1593" y="1211"/>
                  </a:lnTo>
                  <a:lnTo>
                    <a:pt x="1601" y="1158"/>
                  </a:lnTo>
                  <a:lnTo>
                    <a:pt x="1605" y="1103"/>
                  </a:lnTo>
                  <a:lnTo>
                    <a:pt x="1601" y="1049"/>
                  </a:lnTo>
                  <a:lnTo>
                    <a:pt x="1593" y="996"/>
                  </a:lnTo>
                  <a:lnTo>
                    <a:pt x="1579" y="945"/>
                  </a:lnTo>
                  <a:lnTo>
                    <a:pt x="1560" y="896"/>
                  </a:lnTo>
                  <a:lnTo>
                    <a:pt x="1536" y="850"/>
                  </a:lnTo>
                  <a:lnTo>
                    <a:pt x="1508" y="807"/>
                  </a:lnTo>
                  <a:lnTo>
                    <a:pt x="1475" y="767"/>
                  </a:lnTo>
                  <a:lnTo>
                    <a:pt x="1439" y="731"/>
                  </a:lnTo>
                  <a:lnTo>
                    <a:pt x="1399" y="699"/>
                  </a:lnTo>
                  <a:lnTo>
                    <a:pt x="1356" y="670"/>
                  </a:lnTo>
                  <a:lnTo>
                    <a:pt x="1311" y="646"/>
                  </a:lnTo>
                  <a:lnTo>
                    <a:pt x="1261" y="627"/>
                  </a:lnTo>
                  <a:lnTo>
                    <a:pt x="1211" y="612"/>
                  </a:lnTo>
                  <a:lnTo>
                    <a:pt x="1159" y="604"/>
                  </a:lnTo>
                  <a:lnTo>
                    <a:pt x="1104" y="601"/>
                  </a:lnTo>
                  <a:close/>
                  <a:moveTo>
                    <a:pt x="1104" y="0"/>
                  </a:moveTo>
                  <a:lnTo>
                    <a:pt x="1190" y="3"/>
                  </a:lnTo>
                  <a:lnTo>
                    <a:pt x="1274" y="13"/>
                  </a:lnTo>
                  <a:lnTo>
                    <a:pt x="1357" y="30"/>
                  </a:lnTo>
                  <a:lnTo>
                    <a:pt x="1437" y="52"/>
                  </a:lnTo>
                  <a:lnTo>
                    <a:pt x="1514" y="79"/>
                  </a:lnTo>
                  <a:lnTo>
                    <a:pt x="1589" y="113"/>
                  </a:lnTo>
                  <a:lnTo>
                    <a:pt x="1660" y="152"/>
                  </a:lnTo>
                  <a:lnTo>
                    <a:pt x="1728" y="195"/>
                  </a:lnTo>
                  <a:lnTo>
                    <a:pt x="1793" y="243"/>
                  </a:lnTo>
                  <a:lnTo>
                    <a:pt x="1855" y="297"/>
                  </a:lnTo>
                  <a:lnTo>
                    <a:pt x="1912" y="354"/>
                  </a:lnTo>
                  <a:lnTo>
                    <a:pt x="1964" y="415"/>
                  </a:lnTo>
                  <a:lnTo>
                    <a:pt x="2013" y="480"/>
                  </a:lnTo>
                  <a:lnTo>
                    <a:pt x="2057" y="549"/>
                  </a:lnTo>
                  <a:lnTo>
                    <a:pt x="2096" y="621"/>
                  </a:lnTo>
                  <a:lnTo>
                    <a:pt x="2128" y="695"/>
                  </a:lnTo>
                  <a:lnTo>
                    <a:pt x="2156" y="773"/>
                  </a:lnTo>
                  <a:lnTo>
                    <a:pt x="2179" y="853"/>
                  </a:lnTo>
                  <a:lnTo>
                    <a:pt x="2194" y="936"/>
                  </a:lnTo>
                  <a:lnTo>
                    <a:pt x="2205" y="1020"/>
                  </a:lnTo>
                  <a:lnTo>
                    <a:pt x="2208" y="1107"/>
                  </a:lnTo>
                  <a:lnTo>
                    <a:pt x="2206" y="1170"/>
                  </a:lnTo>
                  <a:lnTo>
                    <a:pt x="2200" y="1235"/>
                  </a:lnTo>
                  <a:lnTo>
                    <a:pt x="2190" y="1301"/>
                  </a:lnTo>
                  <a:lnTo>
                    <a:pt x="2176" y="1370"/>
                  </a:lnTo>
                  <a:lnTo>
                    <a:pt x="2161" y="1439"/>
                  </a:lnTo>
                  <a:lnTo>
                    <a:pt x="2142" y="1507"/>
                  </a:lnTo>
                  <a:lnTo>
                    <a:pt x="2122" y="1576"/>
                  </a:lnTo>
                  <a:lnTo>
                    <a:pt x="2099" y="1642"/>
                  </a:lnTo>
                  <a:lnTo>
                    <a:pt x="2075" y="1707"/>
                  </a:lnTo>
                  <a:lnTo>
                    <a:pt x="2049" y="1768"/>
                  </a:lnTo>
                  <a:lnTo>
                    <a:pt x="2023" y="1827"/>
                  </a:lnTo>
                  <a:lnTo>
                    <a:pt x="1997" y="1881"/>
                  </a:lnTo>
                  <a:lnTo>
                    <a:pt x="1971" y="1930"/>
                  </a:lnTo>
                  <a:lnTo>
                    <a:pt x="1952" y="1963"/>
                  </a:lnTo>
                  <a:lnTo>
                    <a:pt x="1931" y="1999"/>
                  </a:lnTo>
                  <a:lnTo>
                    <a:pt x="1909" y="2037"/>
                  </a:lnTo>
                  <a:lnTo>
                    <a:pt x="1886" y="2080"/>
                  </a:lnTo>
                  <a:lnTo>
                    <a:pt x="1861" y="2124"/>
                  </a:lnTo>
                  <a:lnTo>
                    <a:pt x="1834" y="2170"/>
                  </a:lnTo>
                  <a:lnTo>
                    <a:pt x="1806" y="2219"/>
                  </a:lnTo>
                  <a:lnTo>
                    <a:pt x="1778" y="2270"/>
                  </a:lnTo>
                  <a:lnTo>
                    <a:pt x="1748" y="2321"/>
                  </a:lnTo>
                  <a:lnTo>
                    <a:pt x="1718" y="2375"/>
                  </a:lnTo>
                  <a:lnTo>
                    <a:pt x="1687" y="2430"/>
                  </a:lnTo>
                  <a:lnTo>
                    <a:pt x="1657" y="2484"/>
                  </a:lnTo>
                  <a:lnTo>
                    <a:pt x="1625" y="2540"/>
                  </a:lnTo>
                  <a:lnTo>
                    <a:pt x="1594" y="2596"/>
                  </a:lnTo>
                  <a:lnTo>
                    <a:pt x="1563" y="2653"/>
                  </a:lnTo>
                  <a:lnTo>
                    <a:pt x="1531" y="2709"/>
                  </a:lnTo>
                  <a:lnTo>
                    <a:pt x="1500" y="2763"/>
                  </a:lnTo>
                  <a:lnTo>
                    <a:pt x="1469" y="2818"/>
                  </a:lnTo>
                  <a:lnTo>
                    <a:pt x="1439" y="2872"/>
                  </a:lnTo>
                  <a:lnTo>
                    <a:pt x="1409" y="2924"/>
                  </a:lnTo>
                  <a:lnTo>
                    <a:pt x="1381" y="2976"/>
                  </a:lnTo>
                  <a:lnTo>
                    <a:pt x="1354" y="3024"/>
                  </a:lnTo>
                  <a:lnTo>
                    <a:pt x="1326" y="3071"/>
                  </a:lnTo>
                  <a:lnTo>
                    <a:pt x="1301" y="3117"/>
                  </a:lnTo>
                  <a:lnTo>
                    <a:pt x="1278" y="3159"/>
                  </a:lnTo>
                  <a:lnTo>
                    <a:pt x="1255" y="3199"/>
                  </a:lnTo>
                  <a:lnTo>
                    <a:pt x="1235" y="3235"/>
                  </a:lnTo>
                  <a:lnTo>
                    <a:pt x="1216" y="3269"/>
                  </a:lnTo>
                  <a:lnTo>
                    <a:pt x="1199" y="3299"/>
                  </a:lnTo>
                  <a:lnTo>
                    <a:pt x="1185" y="3325"/>
                  </a:lnTo>
                  <a:lnTo>
                    <a:pt x="1172" y="3347"/>
                  </a:lnTo>
                  <a:lnTo>
                    <a:pt x="1163" y="3365"/>
                  </a:lnTo>
                  <a:lnTo>
                    <a:pt x="1154" y="3379"/>
                  </a:lnTo>
                  <a:lnTo>
                    <a:pt x="1150" y="3387"/>
                  </a:lnTo>
                  <a:lnTo>
                    <a:pt x="1148" y="3390"/>
                  </a:lnTo>
                  <a:lnTo>
                    <a:pt x="1104" y="3469"/>
                  </a:lnTo>
                  <a:lnTo>
                    <a:pt x="1060" y="3390"/>
                  </a:lnTo>
                  <a:lnTo>
                    <a:pt x="1058" y="3387"/>
                  </a:lnTo>
                  <a:lnTo>
                    <a:pt x="1053" y="3379"/>
                  </a:lnTo>
                  <a:lnTo>
                    <a:pt x="1045" y="3366"/>
                  </a:lnTo>
                  <a:lnTo>
                    <a:pt x="1036" y="3348"/>
                  </a:lnTo>
                  <a:lnTo>
                    <a:pt x="1023" y="3327"/>
                  </a:lnTo>
                  <a:lnTo>
                    <a:pt x="1010" y="3302"/>
                  </a:lnTo>
                  <a:lnTo>
                    <a:pt x="993" y="3272"/>
                  </a:lnTo>
                  <a:lnTo>
                    <a:pt x="974" y="3240"/>
                  </a:lnTo>
                  <a:lnTo>
                    <a:pt x="954" y="3204"/>
                  </a:lnTo>
                  <a:lnTo>
                    <a:pt x="932" y="3165"/>
                  </a:lnTo>
                  <a:lnTo>
                    <a:pt x="909" y="3124"/>
                  </a:lnTo>
                  <a:lnTo>
                    <a:pt x="884" y="3080"/>
                  </a:lnTo>
                  <a:lnTo>
                    <a:pt x="858" y="3034"/>
                  </a:lnTo>
                  <a:lnTo>
                    <a:pt x="831" y="2986"/>
                  </a:lnTo>
                  <a:lnTo>
                    <a:pt x="803" y="2936"/>
                  </a:lnTo>
                  <a:lnTo>
                    <a:pt x="774" y="2885"/>
                  </a:lnTo>
                  <a:lnTo>
                    <a:pt x="745" y="2833"/>
                  </a:lnTo>
                  <a:lnTo>
                    <a:pt x="715" y="2779"/>
                  </a:lnTo>
                  <a:lnTo>
                    <a:pt x="684" y="2725"/>
                  </a:lnTo>
                  <a:lnTo>
                    <a:pt x="654" y="2671"/>
                  </a:lnTo>
                  <a:lnTo>
                    <a:pt x="623" y="2616"/>
                  </a:lnTo>
                  <a:lnTo>
                    <a:pt x="592" y="2561"/>
                  </a:lnTo>
                  <a:lnTo>
                    <a:pt x="561" y="2507"/>
                  </a:lnTo>
                  <a:lnTo>
                    <a:pt x="531" y="2452"/>
                  </a:lnTo>
                  <a:lnTo>
                    <a:pt x="502" y="2399"/>
                  </a:lnTo>
                  <a:lnTo>
                    <a:pt x="472" y="2347"/>
                  </a:lnTo>
                  <a:lnTo>
                    <a:pt x="444" y="2295"/>
                  </a:lnTo>
                  <a:lnTo>
                    <a:pt x="416" y="2246"/>
                  </a:lnTo>
                  <a:lnTo>
                    <a:pt x="389" y="2197"/>
                  </a:lnTo>
                  <a:lnTo>
                    <a:pt x="364" y="2151"/>
                  </a:lnTo>
                  <a:lnTo>
                    <a:pt x="340" y="2108"/>
                  </a:lnTo>
                  <a:lnTo>
                    <a:pt x="317" y="2066"/>
                  </a:lnTo>
                  <a:lnTo>
                    <a:pt x="296" y="2028"/>
                  </a:lnTo>
                  <a:lnTo>
                    <a:pt x="276" y="1992"/>
                  </a:lnTo>
                  <a:lnTo>
                    <a:pt x="258" y="1960"/>
                  </a:lnTo>
                  <a:lnTo>
                    <a:pt x="242" y="1930"/>
                  </a:lnTo>
                  <a:lnTo>
                    <a:pt x="214" y="1875"/>
                  </a:lnTo>
                  <a:lnTo>
                    <a:pt x="186" y="1816"/>
                  </a:lnTo>
                  <a:lnTo>
                    <a:pt x="157" y="1752"/>
                  </a:lnTo>
                  <a:lnTo>
                    <a:pt x="130" y="1685"/>
                  </a:lnTo>
                  <a:lnTo>
                    <a:pt x="104" y="1615"/>
                  </a:lnTo>
                  <a:lnTo>
                    <a:pt x="79" y="1543"/>
                  </a:lnTo>
                  <a:lnTo>
                    <a:pt x="57" y="1469"/>
                  </a:lnTo>
                  <a:lnTo>
                    <a:pt x="38" y="1396"/>
                  </a:lnTo>
                  <a:lnTo>
                    <a:pt x="22" y="1321"/>
                  </a:lnTo>
                  <a:lnTo>
                    <a:pt x="10" y="1249"/>
                  </a:lnTo>
                  <a:lnTo>
                    <a:pt x="2" y="1177"/>
                  </a:lnTo>
                  <a:lnTo>
                    <a:pt x="0" y="1107"/>
                  </a:lnTo>
                  <a:lnTo>
                    <a:pt x="3" y="1020"/>
                  </a:lnTo>
                  <a:lnTo>
                    <a:pt x="13" y="936"/>
                  </a:lnTo>
                  <a:lnTo>
                    <a:pt x="29" y="853"/>
                  </a:lnTo>
                  <a:lnTo>
                    <a:pt x="51" y="773"/>
                  </a:lnTo>
                  <a:lnTo>
                    <a:pt x="79" y="695"/>
                  </a:lnTo>
                  <a:lnTo>
                    <a:pt x="112" y="621"/>
                  </a:lnTo>
                  <a:lnTo>
                    <a:pt x="151" y="549"/>
                  </a:lnTo>
                  <a:lnTo>
                    <a:pt x="194" y="480"/>
                  </a:lnTo>
                  <a:lnTo>
                    <a:pt x="242" y="415"/>
                  </a:lnTo>
                  <a:lnTo>
                    <a:pt x="296" y="354"/>
                  </a:lnTo>
                  <a:lnTo>
                    <a:pt x="353" y="297"/>
                  </a:lnTo>
                  <a:lnTo>
                    <a:pt x="413" y="243"/>
                  </a:lnTo>
                  <a:lnTo>
                    <a:pt x="479" y="195"/>
                  </a:lnTo>
                  <a:lnTo>
                    <a:pt x="547" y="152"/>
                  </a:lnTo>
                  <a:lnTo>
                    <a:pt x="619" y="113"/>
                  </a:lnTo>
                  <a:lnTo>
                    <a:pt x="694" y="79"/>
                  </a:lnTo>
                  <a:lnTo>
                    <a:pt x="771" y="52"/>
                  </a:lnTo>
                  <a:lnTo>
                    <a:pt x="851" y="30"/>
                  </a:lnTo>
                  <a:lnTo>
                    <a:pt x="933" y="13"/>
                  </a:lnTo>
                  <a:lnTo>
                    <a:pt x="1018" y="3"/>
                  </a:lnTo>
                  <a:lnTo>
                    <a:pt x="1104" y="0"/>
                  </a:lnTo>
                  <a:close/>
                </a:path>
              </a:pathLst>
            </a:custGeom>
            <a:solidFill>
              <a:schemeClr val="tx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48" name="TextBox 347">
              <a:extLst>
                <a:ext uri="{FF2B5EF4-FFF2-40B4-BE49-F238E27FC236}">
                  <a16:creationId xmlns:a16="http://schemas.microsoft.com/office/drawing/2014/main" id="{F68C7A9C-36D7-41BC-1816-FE7F634F9020}"/>
                </a:ext>
              </a:extLst>
            </p:cNvPr>
            <p:cNvSpPr txBox="1"/>
            <p:nvPr/>
          </p:nvSpPr>
          <p:spPr>
            <a:xfrm>
              <a:off x="6109417" y="3910925"/>
              <a:ext cx="550715" cy="1920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C3C3B"/>
                  </a:solidFill>
                  <a:effectLst/>
                  <a:uLnTx/>
                  <a:uFillTx/>
                  <a:latin typeface="Lato"/>
                  <a:ea typeface="Lato"/>
                  <a:cs typeface="Lato"/>
                  <a:sym typeface="Lato" panose="020F0502020204030203" pitchFamily="34" charset="0"/>
                </a:rPr>
                <a:t>Athens</a:t>
              </a:r>
              <a:endParaRPr kumimoji="0" lang="en-GB" sz="12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endParaRPr>
            </a:p>
          </p:txBody>
        </p:sp>
      </p:grpSp>
      <p:grpSp>
        <p:nvGrpSpPr>
          <p:cNvPr id="53" name="Group 52">
            <a:extLst>
              <a:ext uri="{FF2B5EF4-FFF2-40B4-BE49-F238E27FC236}">
                <a16:creationId xmlns:a16="http://schemas.microsoft.com/office/drawing/2014/main" id="{DDD27755-D630-F2CB-1C75-60EF2D0E8EB7}"/>
              </a:ext>
            </a:extLst>
          </p:cNvPr>
          <p:cNvGrpSpPr/>
          <p:nvPr/>
        </p:nvGrpSpPr>
        <p:grpSpPr>
          <a:xfrm>
            <a:off x="4940508" y="3142659"/>
            <a:ext cx="592630" cy="417491"/>
            <a:chOff x="4763576" y="3072788"/>
            <a:chExt cx="616375" cy="434219"/>
          </a:xfrm>
        </p:grpSpPr>
        <p:sp>
          <p:nvSpPr>
            <p:cNvPr id="213" name="Freeform 584">
              <a:extLst>
                <a:ext uri="{FF2B5EF4-FFF2-40B4-BE49-F238E27FC236}">
                  <a16:creationId xmlns:a16="http://schemas.microsoft.com/office/drawing/2014/main" id="{B65DFB0A-1930-9A50-0483-1D344730E841}"/>
                </a:ext>
              </a:extLst>
            </p:cNvPr>
            <p:cNvSpPr>
              <a:spLocks noChangeAspect="1"/>
            </p:cNvSpPr>
            <p:nvPr/>
          </p:nvSpPr>
          <p:spPr bwMode="auto">
            <a:xfrm>
              <a:off x="4977631" y="3283158"/>
              <a:ext cx="142527" cy="223849"/>
            </a:xfrm>
            <a:custGeom>
              <a:avLst/>
              <a:gdLst>
                <a:gd name="T0" fmla="*/ 945 w 2208"/>
                <a:gd name="T1" fmla="*/ 627 h 3469"/>
                <a:gd name="T2" fmla="*/ 768 w 2208"/>
                <a:gd name="T3" fmla="*/ 731 h 3469"/>
                <a:gd name="T4" fmla="*/ 647 w 2208"/>
                <a:gd name="T5" fmla="*/ 896 h 3469"/>
                <a:gd name="T6" fmla="*/ 602 w 2208"/>
                <a:gd name="T7" fmla="*/ 1103 h 3469"/>
                <a:gd name="T8" fmla="*/ 647 w 2208"/>
                <a:gd name="T9" fmla="*/ 1311 h 3469"/>
                <a:gd name="T10" fmla="*/ 768 w 2208"/>
                <a:gd name="T11" fmla="*/ 1476 h 3469"/>
                <a:gd name="T12" fmla="*/ 945 w 2208"/>
                <a:gd name="T13" fmla="*/ 1580 h 3469"/>
                <a:gd name="T14" fmla="*/ 1159 w 2208"/>
                <a:gd name="T15" fmla="*/ 1603 h 3469"/>
                <a:gd name="T16" fmla="*/ 1356 w 2208"/>
                <a:gd name="T17" fmla="*/ 1537 h 3469"/>
                <a:gd name="T18" fmla="*/ 1508 w 2208"/>
                <a:gd name="T19" fmla="*/ 1400 h 3469"/>
                <a:gd name="T20" fmla="*/ 1593 w 2208"/>
                <a:gd name="T21" fmla="*/ 1211 h 3469"/>
                <a:gd name="T22" fmla="*/ 1593 w 2208"/>
                <a:gd name="T23" fmla="*/ 996 h 3469"/>
                <a:gd name="T24" fmla="*/ 1508 w 2208"/>
                <a:gd name="T25" fmla="*/ 807 h 3469"/>
                <a:gd name="T26" fmla="*/ 1356 w 2208"/>
                <a:gd name="T27" fmla="*/ 670 h 3469"/>
                <a:gd name="T28" fmla="*/ 1159 w 2208"/>
                <a:gd name="T29" fmla="*/ 604 h 3469"/>
                <a:gd name="T30" fmla="*/ 1274 w 2208"/>
                <a:gd name="T31" fmla="*/ 13 h 3469"/>
                <a:gd name="T32" fmla="*/ 1589 w 2208"/>
                <a:gd name="T33" fmla="*/ 113 h 3469"/>
                <a:gd name="T34" fmla="*/ 1855 w 2208"/>
                <a:gd name="T35" fmla="*/ 297 h 3469"/>
                <a:gd name="T36" fmla="*/ 2057 w 2208"/>
                <a:gd name="T37" fmla="*/ 549 h 3469"/>
                <a:gd name="T38" fmla="*/ 2179 w 2208"/>
                <a:gd name="T39" fmla="*/ 853 h 3469"/>
                <a:gd name="T40" fmla="*/ 2206 w 2208"/>
                <a:gd name="T41" fmla="*/ 1170 h 3469"/>
                <a:gd name="T42" fmla="*/ 2161 w 2208"/>
                <a:gd name="T43" fmla="*/ 1439 h 3469"/>
                <a:gd name="T44" fmla="*/ 2075 w 2208"/>
                <a:gd name="T45" fmla="*/ 1707 h 3469"/>
                <a:gd name="T46" fmla="*/ 1971 w 2208"/>
                <a:gd name="T47" fmla="*/ 1930 h 3469"/>
                <a:gd name="T48" fmla="*/ 1886 w 2208"/>
                <a:gd name="T49" fmla="*/ 2080 h 3469"/>
                <a:gd name="T50" fmla="*/ 1778 w 2208"/>
                <a:gd name="T51" fmla="*/ 2270 h 3469"/>
                <a:gd name="T52" fmla="*/ 1657 w 2208"/>
                <a:gd name="T53" fmla="*/ 2484 h 3469"/>
                <a:gd name="T54" fmla="*/ 1531 w 2208"/>
                <a:gd name="T55" fmla="*/ 2709 h 3469"/>
                <a:gd name="T56" fmla="*/ 1409 w 2208"/>
                <a:gd name="T57" fmla="*/ 2924 h 3469"/>
                <a:gd name="T58" fmla="*/ 1301 w 2208"/>
                <a:gd name="T59" fmla="*/ 3117 h 3469"/>
                <a:gd name="T60" fmla="*/ 1216 w 2208"/>
                <a:gd name="T61" fmla="*/ 3269 h 3469"/>
                <a:gd name="T62" fmla="*/ 1163 w 2208"/>
                <a:gd name="T63" fmla="*/ 3365 h 3469"/>
                <a:gd name="T64" fmla="*/ 1104 w 2208"/>
                <a:gd name="T65" fmla="*/ 3469 h 3469"/>
                <a:gd name="T66" fmla="*/ 1045 w 2208"/>
                <a:gd name="T67" fmla="*/ 3366 h 3469"/>
                <a:gd name="T68" fmla="*/ 993 w 2208"/>
                <a:gd name="T69" fmla="*/ 3272 h 3469"/>
                <a:gd name="T70" fmla="*/ 909 w 2208"/>
                <a:gd name="T71" fmla="*/ 3124 h 3469"/>
                <a:gd name="T72" fmla="*/ 803 w 2208"/>
                <a:gd name="T73" fmla="*/ 2936 h 3469"/>
                <a:gd name="T74" fmla="*/ 684 w 2208"/>
                <a:gd name="T75" fmla="*/ 2725 h 3469"/>
                <a:gd name="T76" fmla="*/ 561 w 2208"/>
                <a:gd name="T77" fmla="*/ 2507 h 3469"/>
                <a:gd name="T78" fmla="*/ 444 w 2208"/>
                <a:gd name="T79" fmla="*/ 2295 h 3469"/>
                <a:gd name="T80" fmla="*/ 340 w 2208"/>
                <a:gd name="T81" fmla="*/ 2108 h 3469"/>
                <a:gd name="T82" fmla="*/ 258 w 2208"/>
                <a:gd name="T83" fmla="*/ 1960 h 3469"/>
                <a:gd name="T84" fmla="*/ 157 w 2208"/>
                <a:gd name="T85" fmla="*/ 1752 h 3469"/>
                <a:gd name="T86" fmla="*/ 57 w 2208"/>
                <a:gd name="T87" fmla="*/ 1469 h 3469"/>
                <a:gd name="T88" fmla="*/ 2 w 2208"/>
                <a:gd name="T89" fmla="*/ 1177 h 3469"/>
                <a:gd name="T90" fmla="*/ 29 w 2208"/>
                <a:gd name="T91" fmla="*/ 853 h 3469"/>
                <a:gd name="T92" fmla="*/ 151 w 2208"/>
                <a:gd name="T93" fmla="*/ 549 h 3469"/>
                <a:gd name="T94" fmla="*/ 353 w 2208"/>
                <a:gd name="T95" fmla="*/ 297 h 3469"/>
                <a:gd name="T96" fmla="*/ 619 w 2208"/>
                <a:gd name="T97" fmla="*/ 113 h 3469"/>
                <a:gd name="T98" fmla="*/ 933 w 2208"/>
                <a:gd name="T99" fmla="*/ 13 h 3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08" h="3469">
                  <a:moveTo>
                    <a:pt x="1104" y="601"/>
                  </a:moveTo>
                  <a:lnTo>
                    <a:pt x="1049" y="604"/>
                  </a:lnTo>
                  <a:lnTo>
                    <a:pt x="996" y="612"/>
                  </a:lnTo>
                  <a:lnTo>
                    <a:pt x="945" y="627"/>
                  </a:lnTo>
                  <a:lnTo>
                    <a:pt x="897" y="646"/>
                  </a:lnTo>
                  <a:lnTo>
                    <a:pt x="851" y="670"/>
                  </a:lnTo>
                  <a:lnTo>
                    <a:pt x="808" y="699"/>
                  </a:lnTo>
                  <a:lnTo>
                    <a:pt x="768" y="731"/>
                  </a:lnTo>
                  <a:lnTo>
                    <a:pt x="732" y="767"/>
                  </a:lnTo>
                  <a:lnTo>
                    <a:pt x="700" y="807"/>
                  </a:lnTo>
                  <a:lnTo>
                    <a:pt x="672" y="850"/>
                  </a:lnTo>
                  <a:lnTo>
                    <a:pt x="647" y="896"/>
                  </a:lnTo>
                  <a:lnTo>
                    <a:pt x="629" y="945"/>
                  </a:lnTo>
                  <a:lnTo>
                    <a:pt x="614" y="996"/>
                  </a:lnTo>
                  <a:lnTo>
                    <a:pt x="605" y="1049"/>
                  </a:lnTo>
                  <a:lnTo>
                    <a:pt x="602" y="1103"/>
                  </a:lnTo>
                  <a:lnTo>
                    <a:pt x="605" y="1158"/>
                  </a:lnTo>
                  <a:lnTo>
                    <a:pt x="614" y="1211"/>
                  </a:lnTo>
                  <a:lnTo>
                    <a:pt x="629" y="1262"/>
                  </a:lnTo>
                  <a:lnTo>
                    <a:pt x="647" y="1311"/>
                  </a:lnTo>
                  <a:lnTo>
                    <a:pt x="672" y="1357"/>
                  </a:lnTo>
                  <a:lnTo>
                    <a:pt x="700" y="1400"/>
                  </a:lnTo>
                  <a:lnTo>
                    <a:pt x="732" y="1440"/>
                  </a:lnTo>
                  <a:lnTo>
                    <a:pt x="768" y="1476"/>
                  </a:lnTo>
                  <a:lnTo>
                    <a:pt x="808" y="1508"/>
                  </a:lnTo>
                  <a:lnTo>
                    <a:pt x="851" y="1537"/>
                  </a:lnTo>
                  <a:lnTo>
                    <a:pt x="897" y="1561"/>
                  </a:lnTo>
                  <a:lnTo>
                    <a:pt x="945" y="1580"/>
                  </a:lnTo>
                  <a:lnTo>
                    <a:pt x="996" y="1595"/>
                  </a:lnTo>
                  <a:lnTo>
                    <a:pt x="1049" y="1603"/>
                  </a:lnTo>
                  <a:lnTo>
                    <a:pt x="1104" y="1606"/>
                  </a:lnTo>
                  <a:lnTo>
                    <a:pt x="1159" y="1603"/>
                  </a:lnTo>
                  <a:lnTo>
                    <a:pt x="1211" y="1595"/>
                  </a:lnTo>
                  <a:lnTo>
                    <a:pt x="1261" y="1580"/>
                  </a:lnTo>
                  <a:lnTo>
                    <a:pt x="1311" y="1561"/>
                  </a:lnTo>
                  <a:lnTo>
                    <a:pt x="1356" y="1537"/>
                  </a:lnTo>
                  <a:lnTo>
                    <a:pt x="1399" y="1508"/>
                  </a:lnTo>
                  <a:lnTo>
                    <a:pt x="1439" y="1476"/>
                  </a:lnTo>
                  <a:lnTo>
                    <a:pt x="1475" y="1440"/>
                  </a:lnTo>
                  <a:lnTo>
                    <a:pt x="1508" y="1400"/>
                  </a:lnTo>
                  <a:lnTo>
                    <a:pt x="1536" y="1357"/>
                  </a:lnTo>
                  <a:lnTo>
                    <a:pt x="1560" y="1311"/>
                  </a:lnTo>
                  <a:lnTo>
                    <a:pt x="1579" y="1262"/>
                  </a:lnTo>
                  <a:lnTo>
                    <a:pt x="1593" y="1211"/>
                  </a:lnTo>
                  <a:lnTo>
                    <a:pt x="1601" y="1158"/>
                  </a:lnTo>
                  <a:lnTo>
                    <a:pt x="1605" y="1103"/>
                  </a:lnTo>
                  <a:lnTo>
                    <a:pt x="1601" y="1049"/>
                  </a:lnTo>
                  <a:lnTo>
                    <a:pt x="1593" y="996"/>
                  </a:lnTo>
                  <a:lnTo>
                    <a:pt x="1579" y="945"/>
                  </a:lnTo>
                  <a:lnTo>
                    <a:pt x="1560" y="896"/>
                  </a:lnTo>
                  <a:lnTo>
                    <a:pt x="1536" y="850"/>
                  </a:lnTo>
                  <a:lnTo>
                    <a:pt x="1508" y="807"/>
                  </a:lnTo>
                  <a:lnTo>
                    <a:pt x="1475" y="767"/>
                  </a:lnTo>
                  <a:lnTo>
                    <a:pt x="1439" y="731"/>
                  </a:lnTo>
                  <a:lnTo>
                    <a:pt x="1399" y="699"/>
                  </a:lnTo>
                  <a:lnTo>
                    <a:pt x="1356" y="670"/>
                  </a:lnTo>
                  <a:lnTo>
                    <a:pt x="1311" y="646"/>
                  </a:lnTo>
                  <a:lnTo>
                    <a:pt x="1261" y="627"/>
                  </a:lnTo>
                  <a:lnTo>
                    <a:pt x="1211" y="612"/>
                  </a:lnTo>
                  <a:lnTo>
                    <a:pt x="1159" y="604"/>
                  </a:lnTo>
                  <a:lnTo>
                    <a:pt x="1104" y="601"/>
                  </a:lnTo>
                  <a:close/>
                  <a:moveTo>
                    <a:pt x="1104" y="0"/>
                  </a:moveTo>
                  <a:lnTo>
                    <a:pt x="1190" y="3"/>
                  </a:lnTo>
                  <a:lnTo>
                    <a:pt x="1274" y="13"/>
                  </a:lnTo>
                  <a:lnTo>
                    <a:pt x="1357" y="30"/>
                  </a:lnTo>
                  <a:lnTo>
                    <a:pt x="1437" y="52"/>
                  </a:lnTo>
                  <a:lnTo>
                    <a:pt x="1514" y="79"/>
                  </a:lnTo>
                  <a:lnTo>
                    <a:pt x="1589" y="113"/>
                  </a:lnTo>
                  <a:lnTo>
                    <a:pt x="1660" y="152"/>
                  </a:lnTo>
                  <a:lnTo>
                    <a:pt x="1728" y="195"/>
                  </a:lnTo>
                  <a:lnTo>
                    <a:pt x="1793" y="243"/>
                  </a:lnTo>
                  <a:lnTo>
                    <a:pt x="1855" y="297"/>
                  </a:lnTo>
                  <a:lnTo>
                    <a:pt x="1912" y="354"/>
                  </a:lnTo>
                  <a:lnTo>
                    <a:pt x="1964" y="415"/>
                  </a:lnTo>
                  <a:lnTo>
                    <a:pt x="2013" y="480"/>
                  </a:lnTo>
                  <a:lnTo>
                    <a:pt x="2057" y="549"/>
                  </a:lnTo>
                  <a:lnTo>
                    <a:pt x="2096" y="621"/>
                  </a:lnTo>
                  <a:lnTo>
                    <a:pt x="2128" y="695"/>
                  </a:lnTo>
                  <a:lnTo>
                    <a:pt x="2156" y="773"/>
                  </a:lnTo>
                  <a:lnTo>
                    <a:pt x="2179" y="853"/>
                  </a:lnTo>
                  <a:lnTo>
                    <a:pt x="2194" y="936"/>
                  </a:lnTo>
                  <a:lnTo>
                    <a:pt x="2205" y="1020"/>
                  </a:lnTo>
                  <a:lnTo>
                    <a:pt x="2208" y="1107"/>
                  </a:lnTo>
                  <a:lnTo>
                    <a:pt x="2206" y="1170"/>
                  </a:lnTo>
                  <a:lnTo>
                    <a:pt x="2200" y="1235"/>
                  </a:lnTo>
                  <a:lnTo>
                    <a:pt x="2190" y="1301"/>
                  </a:lnTo>
                  <a:lnTo>
                    <a:pt x="2176" y="1370"/>
                  </a:lnTo>
                  <a:lnTo>
                    <a:pt x="2161" y="1439"/>
                  </a:lnTo>
                  <a:lnTo>
                    <a:pt x="2142" y="1507"/>
                  </a:lnTo>
                  <a:lnTo>
                    <a:pt x="2122" y="1576"/>
                  </a:lnTo>
                  <a:lnTo>
                    <a:pt x="2099" y="1642"/>
                  </a:lnTo>
                  <a:lnTo>
                    <a:pt x="2075" y="1707"/>
                  </a:lnTo>
                  <a:lnTo>
                    <a:pt x="2049" y="1768"/>
                  </a:lnTo>
                  <a:lnTo>
                    <a:pt x="2023" y="1827"/>
                  </a:lnTo>
                  <a:lnTo>
                    <a:pt x="1997" y="1881"/>
                  </a:lnTo>
                  <a:lnTo>
                    <a:pt x="1971" y="1930"/>
                  </a:lnTo>
                  <a:lnTo>
                    <a:pt x="1952" y="1963"/>
                  </a:lnTo>
                  <a:lnTo>
                    <a:pt x="1931" y="1999"/>
                  </a:lnTo>
                  <a:lnTo>
                    <a:pt x="1909" y="2037"/>
                  </a:lnTo>
                  <a:lnTo>
                    <a:pt x="1886" y="2080"/>
                  </a:lnTo>
                  <a:lnTo>
                    <a:pt x="1861" y="2124"/>
                  </a:lnTo>
                  <a:lnTo>
                    <a:pt x="1834" y="2170"/>
                  </a:lnTo>
                  <a:lnTo>
                    <a:pt x="1806" y="2219"/>
                  </a:lnTo>
                  <a:lnTo>
                    <a:pt x="1778" y="2270"/>
                  </a:lnTo>
                  <a:lnTo>
                    <a:pt x="1748" y="2321"/>
                  </a:lnTo>
                  <a:lnTo>
                    <a:pt x="1718" y="2375"/>
                  </a:lnTo>
                  <a:lnTo>
                    <a:pt x="1687" y="2430"/>
                  </a:lnTo>
                  <a:lnTo>
                    <a:pt x="1657" y="2484"/>
                  </a:lnTo>
                  <a:lnTo>
                    <a:pt x="1625" y="2540"/>
                  </a:lnTo>
                  <a:lnTo>
                    <a:pt x="1594" y="2596"/>
                  </a:lnTo>
                  <a:lnTo>
                    <a:pt x="1563" y="2653"/>
                  </a:lnTo>
                  <a:lnTo>
                    <a:pt x="1531" y="2709"/>
                  </a:lnTo>
                  <a:lnTo>
                    <a:pt x="1500" y="2763"/>
                  </a:lnTo>
                  <a:lnTo>
                    <a:pt x="1469" y="2818"/>
                  </a:lnTo>
                  <a:lnTo>
                    <a:pt x="1439" y="2872"/>
                  </a:lnTo>
                  <a:lnTo>
                    <a:pt x="1409" y="2924"/>
                  </a:lnTo>
                  <a:lnTo>
                    <a:pt x="1381" y="2976"/>
                  </a:lnTo>
                  <a:lnTo>
                    <a:pt x="1354" y="3024"/>
                  </a:lnTo>
                  <a:lnTo>
                    <a:pt x="1326" y="3071"/>
                  </a:lnTo>
                  <a:lnTo>
                    <a:pt x="1301" y="3117"/>
                  </a:lnTo>
                  <a:lnTo>
                    <a:pt x="1278" y="3159"/>
                  </a:lnTo>
                  <a:lnTo>
                    <a:pt x="1255" y="3199"/>
                  </a:lnTo>
                  <a:lnTo>
                    <a:pt x="1235" y="3235"/>
                  </a:lnTo>
                  <a:lnTo>
                    <a:pt x="1216" y="3269"/>
                  </a:lnTo>
                  <a:lnTo>
                    <a:pt x="1199" y="3299"/>
                  </a:lnTo>
                  <a:lnTo>
                    <a:pt x="1185" y="3325"/>
                  </a:lnTo>
                  <a:lnTo>
                    <a:pt x="1172" y="3347"/>
                  </a:lnTo>
                  <a:lnTo>
                    <a:pt x="1163" y="3365"/>
                  </a:lnTo>
                  <a:lnTo>
                    <a:pt x="1154" y="3379"/>
                  </a:lnTo>
                  <a:lnTo>
                    <a:pt x="1150" y="3387"/>
                  </a:lnTo>
                  <a:lnTo>
                    <a:pt x="1148" y="3390"/>
                  </a:lnTo>
                  <a:lnTo>
                    <a:pt x="1104" y="3469"/>
                  </a:lnTo>
                  <a:lnTo>
                    <a:pt x="1060" y="3390"/>
                  </a:lnTo>
                  <a:lnTo>
                    <a:pt x="1058" y="3387"/>
                  </a:lnTo>
                  <a:lnTo>
                    <a:pt x="1053" y="3379"/>
                  </a:lnTo>
                  <a:lnTo>
                    <a:pt x="1045" y="3366"/>
                  </a:lnTo>
                  <a:lnTo>
                    <a:pt x="1036" y="3348"/>
                  </a:lnTo>
                  <a:lnTo>
                    <a:pt x="1023" y="3327"/>
                  </a:lnTo>
                  <a:lnTo>
                    <a:pt x="1010" y="3302"/>
                  </a:lnTo>
                  <a:lnTo>
                    <a:pt x="993" y="3272"/>
                  </a:lnTo>
                  <a:lnTo>
                    <a:pt x="974" y="3240"/>
                  </a:lnTo>
                  <a:lnTo>
                    <a:pt x="954" y="3204"/>
                  </a:lnTo>
                  <a:lnTo>
                    <a:pt x="932" y="3165"/>
                  </a:lnTo>
                  <a:lnTo>
                    <a:pt x="909" y="3124"/>
                  </a:lnTo>
                  <a:lnTo>
                    <a:pt x="884" y="3080"/>
                  </a:lnTo>
                  <a:lnTo>
                    <a:pt x="858" y="3034"/>
                  </a:lnTo>
                  <a:lnTo>
                    <a:pt x="831" y="2986"/>
                  </a:lnTo>
                  <a:lnTo>
                    <a:pt x="803" y="2936"/>
                  </a:lnTo>
                  <a:lnTo>
                    <a:pt x="774" y="2885"/>
                  </a:lnTo>
                  <a:lnTo>
                    <a:pt x="745" y="2833"/>
                  </a:lnTo>
                  <a:lnTo>
                    <a:pt x="715" y="2779"/>
                  </a:lnTo>
                  <a:lnTo>
                    <a:pt x="684" y="2725"/>
                  </a:lnTo>
                  <a:lnTo>
                    <a:pt x="654" y="2671"/>
                  </a:lnTo>
                  <a:lnTo>
                    <a:pt x="623" y="2616"/>
                  </a:lnTo>
                  <a:lnTo>
                    <a:pt x="592" y="2561"/>
                  </a:lnTo>
                  <a:lnTo>
                    <a:pt x="561" y="2507"/>
                  </a:lnTo>
                  <a:lnTo>
                    <a:pt x="531" y="2452"/>
                  </a:lnTo>
                  <a:lnTo>
                    <a:pt x="502" y="2399"/>
                  </a:lnTo>
                  <a:lnTo>
                    <a:pt x="472" y="2347"/>
                  </a:lnTo>
                  <a:lnTo>
                    <a:pt x="444" y="2295"/>
                  </a:lnTo>
                  <a:lnTo>
                    <a:pt x="416" y="2246"/>
                  </a:lnTo>
                  <a:lnTo>
                    <a:pt x="389" y="2197"/>
                  </a:lnTo>
                  <a:lnTo>
                    <a:pt x="364" y="2151"/>
                  </a:lnTo>
                  <a:lnTo>
                    <a:pt x="340" y="2108"/>
                  </a:lnTo>
                  <a:lnTo>
                    <a:pt x="317" y="2066"/>
                  </a:lnTo>
                  <a:lnTo>
                    <a:pt x="296" y="2028"/>
                  </a:lnTo>
                  <a:lnTo>
                    <a:pt x="276" y="1992"/>
                  </a:lnTo>
                  <a:lnTo>
                    <a:pt x="258" y="1960"/>
                  </a:lnTo>
                  <a:lnTo>
                    <a:pt x="242" y="1930"/>
                  </a:lnTo>
                  <a:lnTo>
                    <a:pt x="214" y="1875"/>
                  </a:lnTo>
                  <a:lnTo>
                    <a:pt x="186" y="1816"/>
                  </a:lnTo>
                  <a:lnTo>
                    <a:pt x="157" y="1752"/>
                  </a:lnTo>
                  <a:lnTo>
                    <a:pt x="130" y="1685"/>
                  </a:lnTo>
                  <a:lnTo>
                    <a:pt x="104" y="1615"/>
                  </a:lnTo>
                  <a:lnTo>
                    <a:pt x="79" y="1543"/>
                  </a:lnTo>
                  <a:lnTo>
                    <a:pt x="57" y="1469"/>
                  </a:lnTo>
                  <a:lnTo>
                    <a:pt x="38" y="1396"/>
                  </a:lnTo>
                  <a:lnTo>
                    <a:pt x="22" y="1321"/>
                  </a:lnTo>
                  <a:lnTo>
                    <a:pt x="10" y="1249"/>
                  </a:lnTo>
                  <a:lnTo>
                    <a:pt x="2" y="1177"/>
                  </a:lnTo>
                  <a:lnTo>
                    <a:pt x="0" y="1107"/>
                  </a:lnTo>
                  <a:lnTo>
                    <a:pt x="3" y="1020"/>
                  </a:lnTo>
                  <a:lnTo>
                    <a:pt x="13" y="936"/>
                  </a:lnTo>
                  <a:lnTo>
                    <a:pt x="29" y="853"/>
                  </a:lnTo>
                  <a:lnTo>
                    <a:pt x="51" y="773"/>
                  </a:lnTo>
                  <a:lnTo>
                    <a:pt x="79" y="695"/>
                  </a:lnTo>
                  <a:lnTo>
                    <a:pt x="112" y="621"/>
                  </a:lnTo>
                  <a:lnTo>
                    <a:pt x="151" y="549"/>
                  </a:lnTo>
                  <a:lnTo>
                    <a:pt x="194" y="480"/>
                  </a:lnTo>
                  <a:lnTo>
                    <a:pt x="242" y="415"/>
                  </a:lnTo>
                  <a:lnTo>
                    <a:pt x="296" y="354"/>
                  </a:lnTo>
                  <a:lnTo>
                    <a:pt x="353" y="297"/>
                  </a:lnTo>
                  <a:lnTo>
                    <a:pt x="413" y="243"/>
                  </a:lnTo>
                  <a:lnTo>
                    <a:pt x="479" y="195"/>
                  </a:lnTo>
                  <a:lnTo>
                    <a:pt x="547" y="152"/>
                  </a:lnTo>
                  <a:lnTo>
                    <a:pt x="619" y="113"/>
                  </a:lnTo>
                  <a:lnTo>
                    <a:pt x="694" y="79"/>
                  </a:lnTo>
                  <a:lnTo>
                    <a:pt x="771" y="52"/>
                  </a:lnTo>
                  <a:lnTo>
                    <a:pt x="851" y="30"/>
                  </a:lnTo>
                  <a:lnTo>
                    <a:pt x="933" y="13"/>
                  </a:lnTo>
                  <a:lnTo>
                    <a:pt x="1018" y="3"/>
                  </a:lnTo>
                  <a:lnTo>
                    <a:pt x="1104" y="0"/>
                  </a:lnTo>
                  <a:close/>
                </a:path>
              </a:pathLst>
            </a:custGeom>
            <a:solidFill>
              <a:schemeClr val="tx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49" name="TextBox 348">
              <a:extLst>
                <a:ext uri="{FF2B5EF4-FFF2-40B4-BE49-F238E27FC236}">
                  <a16:creationId xmlns:a16="http://schemas.microsoft.com/office/drawing/2014/main" id="{13423C1C-7364-50E0-D99F-620232F9B175}"/>
                </a:ext>
              </a:extLst>
            </p:cNvPr>
            <p:cNvSpPr txBox="1"/>
            <p:nvPr/>
          </p:nvSpPr>
          <p:spPr>
            <a:xfrm>
              <a:off x="4763576" y="3072788"/>
              <a:ext cx="616375" cy="1920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C3C3B"/>
                  </a:solidFill>
                  <a:effectLst/>
                  <a:uLnTx/>
                  <a:uFillTx/>
                  <a:latin typeface="Lato"/>
                  <a:ea typeface="Lato"/>
                  <a:cs typeface="Lato"/>
                  <a:sym typeface="Lato" panose="020F0502020204030203" pitchFamily="34" charset="0"/>
                </a:rPr>
                <a:t>Oxford</a:t>
              </a:r>
              <a:endParaRPr kumimoji="0" lang="en-GB" sz="12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endParaRPr>
            </a:p>
          </p:txBody>
        </p:sp>
      </p:grpSp>
      <p:grpSp>
        <p:nvGrpSpPr>
          <p:cNvPr id="17" name="Group 16">
            <a:extLst>
              <a:ext uri="{FF2B5EF4-FFF2-40B4-BE49-F238E27FC236}">
                <a16:creationId xmlns:a16="http://schemas.microsoft.com/office/drawing/2014/main" id="{97FCCF33-6D8D-2650-B097-30390016E1E8}"/>
              </a:ext>
            </a:extLst>
          </p:cNvPr>
          <p:cNvGrpSpPr/>
          <p:nvPr/>
        </p:nvGrpSpPr>
        <p:grpSpPr>
          <a:xfrm>
            <a:off x="4580607" y="4024918"/>
            <a:ext cx="555985" cy="425196"/>
            <a:chOff x="4498880" y="3605374"/>
            <a:chExt cx="578262" cy="442232"/>
          </a:xfrm>
        </p:grpSpPr>
        <p:sp>
          <p:nvSpPr>
            <p:cNvPr id="324" name="Freeform 584">
              <a:extLst>
                <a:ext uri="{FF2B5EF4-FFF2-40B4-BE49-F238E27FC236}">
                  <a16:creationId xmlns:a16="http://schemas.microsoft.com/office/drawing/2014/main" id="{446C7F2B-55C2-DEAD-9586-53E9564515E3}"/>
                </a:ext>
              </a:extLst>
            </p:cNvPr>
            <p:cNvSpPr>
              <a:spLocks noChangeAspect="1"/>
            </p:cNvSpPr>
            <p:nvPr/>
          </p:nvSpPr>
          <p:spPr bwMode="auto">
            <a:xfrm>
              <a:off x="4813064" y="3605374"/>
              <a:ext cx="142527" cy="223849"/>
            </a:xfrm>
            <a:custGeom>
              <a:avLst/>
              <a:gdLst>
                <a:gd name="T0" fmla="*/ 945 w 2208"/>
                <a:gd name="T1" fmla="*/ 627 h 3469"/>
                <a:gd name="T2" fmla="*/ 768 w 2208"/>
                <a:gd name="T3" fmla="*/ 731 h 3469"/>
                <a:gd name="T4" fmla="*/ 647 w 2208"/>
                <a:gd name="T5" fmla="*/ 896 h 3469"/>
                <a:gd name="T6" fmla="*/ 602 w 2208"/>
                <a:gd name="T7" fmla="*/ 1103 h 3469"/>
                <a:gd name="T8" fmla="*/ 647 w 2208"/>
                <a:gd name="T9" fmla="*/ 1311 h 3469"/>
                <a:gd name="T10" fmla="*/ 768 w 2208"/>
                <a:gd name="T11" fmla="*/ 1476 h 3469"/>
                <a:gd name="T12" fmla="*/ 945 w 2208"/>
                <a:gd name="T13" fmla="*/ 1580 h 3469"/>
                <a:gd name="T14" fmla="*/ 1159 w 2208"/>
                <a:gd name="T15" fmla="*/ 1603 h 3469"/>
                <a:gd name="T16" fmla="*/ 1356 w 2208"/>
                <a:gd name="T17" fmla="*/ 1537 h 3469"/>
                <a:gd name="T18" fmla="*/ 1508 w 2208"/>
                <a:gd name="T19" fmla="*/ 1400 h 3469"/>
                <a:gd name="T20" fmla="*/ 1593 w 2208"/>
                <a:gd name="T21" fmla="*/ 1211 h 3469"/>
                <a:gd name="T22" fmla="*/ 1593 w 2208"/>
                <a:gd name="T23" fmla="*/ 996 h 3469"/>
                <a:gd name="T24" fmla="*/ 1508 w 2208"/>
                <a:gd name="T25" fmla="*/ 807 h 3469"/>
                <a:gd name="T26" fmla="*/ 1356 w 2208"/>
                <a:gd name="T27" fmla="*/ 670 h 3469"/>
                <a:gd name="T28" fmla="*/ 1159 w 2208"/>
                <a:gd name="T29" fmla="*/ 604 h 3469"/>
                <a:gd name="T30" fmla="*/ 1274 w 2208"/>
                <a:gd name="T31" fmla="*/ 13 h 3469"/>
                <a:gd name="T32" fmla="*/ 1589 w 2208"/>
                <a:gd name="T33" fmla="*/ 113 h 3469"/>
                <a:gd name="T34" fmla="*/ 1855 w 2208"/>
                <a:gd name="T35" fmla="*/ 297 h 3469"/>
                <a:gd name="T36" fmla="*/ 2057 w 2208"/>
                <a:gd name="T37" fmla="*/ 549 h 3469"/>
                <a:gd name="T38" fmla="*/ 2179 w 2208"/>
                <a:gd name="T39" fmla="*/ 853 h 3469"/>
                <a:gd name="T40" fmla="*/ 2206 w 2208"/>
                <a:gd name="T41" fmla="*/ 1170 h 3469"/>
                <a:gd name="T42" fmla="*/ 2161 w 2208"/>
                <a:gd name="T43" fmla="*/ 1439 h 3469"/>
                <a:gd name="T44" fmla="*/ 2075 w 2208"/>
                <a:gd name="T45" fmla="*/ 1707 h 3469"/>
                <a:gd name="T46" fmla="*/ 1971 w 2208"/>
                <a:gd name="T47" fmla="*/ 1930 h 3469"/>
                <a:gd name="T48" fmla="*/ 1886 w 2208"/>
                <a:gd name="T49" fmla="*/ 2080 h 3469"/>
                <a:gd name="T50" fmla="*/ 1778 w 2208"/>
                <a:gd name="T51" fmla="*/ 2270 h 3469"/>
                <a:gd name="T52" fmla="*/ 1657 w 2208"/>
                <a:gd name="T53" fmla="*/ 2484 h 3469"/>
                <a:gd name="T54" fmla="*/ 1531 w 2208"/>
                <a:gd name="T55" fmla="*/ 2709 h 3469"/>
                <a:gd name="T56" fmla="*/ 1409 w 2208"/>
                <a:gd name="T57" fmla="*/ 2924 h 3469"/>
                <a:gd name="T58" fmla="*/ 1301 w 2208"/>
                <a:gd name="T59" fmla="*/ 3117 h 3469"/>
                <a:gd name="T60" fmla="*/ 1216 w 2208"/>
                <a:gd name="T61" fmla="*/ 3269 h 3469"/>
                <a:gd name="T62" fmla="*/ 1163 w 2208"/>
                <a:gd name="T63" fmla="*/ 3365 h 3469"/>
                <a:gd name="T64" fmla="*/ 1104 w 2208"/>
                <a:gd name="T65" fmla="*/ 3469 h 3469"/>
                <a:gd name="T66" fmla="*/ 1045 w 2208"/>
                <a:gd name="T67" fmla="*/ 3366 h 3469"/>
                <a:gd name="T68" fmla="*/ 993 w 2208"/>
                <a:gd name="T69" fmla="*/ 3272 h 3469"/>
                <a:gd name="T70" fmla="*/ 909 w 2208"/>
                <a:gd name="T71" fmla="*/ 3124 h 3469"/>
                <a:gd name="T72" fmla="*/ 803 w 2208"/>
                <a:gd name="T73" fmla="*/ 2936 h 3469"/>
                <a:gd name="T74" fmla="*/ 684 w 2208"/>
                <a:gd name="T75" fmla="*/ 2725 h 3469"/>
                <a:gd name="T76" fmla="*/ 561 w 2208"/>
                <a:gd name="T77" fmla="*/ 2507 h 3469"/>
                <a:gd name="T78" fmla="*/ 444 w 2208"/>
                <a:gd name="T79" fmla="*/ 2295 h 3469"/>
                <a:gd name="T80" fmla="*/ 340 w 2208"/>
                <a:gd name="T81" fmla="*/ 2108 h 3469"/>
                <a:gd name="T82" fmla="*/ 258 w 2208"/>
                <a:gd name="T83" fmla="*/ 1960 h 3469"/>
                <a:gd name="T84" fmla="*/ 157 w 2208"/>
                <a:gd name="T85" fmla="*/ 1752 h 3469"/>
                <a:gd name="T86" fmla="*/ 57 w 2208"/>
                <a:gd name="T87" fmla="*/ 1469 h 3469"/>
                <a:gd name="T88" fmla="*/ 2 w 2208"/>
                <a:gd name="T89" fmla="*/ 1177 h 3469"/>
                <a:gd name="T90" fmla="*/ 29 w 2208"/>
                <a:gd name="T91" fmla="*/ 853 h 3469"/>
                <a:gd name="T92" fmla="*/ 151 w 2208"/>
                <a:gd name="T93" fmla="*/ 549 h 3469"/>
                <a:gd name="T94" fmla="*/ 353 w 2208"/>
                <a:gd name="T95" fmla="*/ 297 h 3469"/>
                <a:gd name="T96" fmla="*/ 619 w 2208"/>
                <a:gd name="T97" fmla="*/ 113 h 3469"/>
                <a:gd name="T98" fmla="*/ 933 w 2208"/>
                <a:gd name="T99" fmla="*/ 13 h 3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08" h="3469">
                  <a:moveTo>
                    <a:pt x="1104" y="601"/>
                  </a:moveTo>
                  <a:lnTo>
                    <a:pt x="1049" y="604"/>
                  </a:lnTo>
                  <a:lnTo>
                    <a:pt x="996" y="612"/>
                  </a:lnTo>
                  <a:lnTo>
                    <a:pt x="945" y="627"/>
                  </a:lnTo>
                  <a:lnTo>
                    <a:pt x="897" y="646"/>
                  </a:lnTo>
                  <a:lnTo>
                    <a:pt x="851" y="670"/>
                  </a:lnTo>
                  <a:lnTo>
                    <a:pt x="808" y="699"/>
                  </a:lnTo>
                  <a:lnTo>
                    <a:pt x="768" y="731"/>
                  </a:lnTo>
                  <a:lnTo>
                    <a:pt x="732" y="767"/>
                  </a:lnTo>
                  <a:lnTo>
                    <a:pt x="700" y="807"/>
                  </a:lnTo>
                  <a:lnTo>
                    <a:pt x="672" y="850"/>
                  </a:lnTo>
                  <a:lnTo>
                    <a:pt x="647" y="896"/>
                  </a:lnTo>
                  <a:lnTo>
                    <a:pt x="629" y="945"/>
                  </a:lnTo>
                  <a:lnTo>
                    <a:pt x="614" y="996"/>
                  </a:lnTo>
                  <a:lnTo>
                    <a:pt x="605" y="1049"/>
                  </a:lnTo>
                  <a:lnTo>
                    <a:pt x="602" y="1103"/>
                  </a:lnTo>
                  <a:lnTo>
                    <a:pt x="605" y="1158"/>
                  </a:lnTo>
                  <a:lnTo>
                    <a:pt x="614" y="1211"/>
                  </a:lnTo>
                  <a:lnTo>
                    <a:pt x="629" y="1262"/>
                  </a:lnTo>
                  <a:lnTo>
                    <a:pt x="647" y="1311"/>
                  </a:lnTo>
                  <a:lnTo>
                    <a:pt x="672" y="1357"/>
                  </a:lnTo>
                  <a:lnTo>
                    <a:pt x="700" y="1400"/>
                  </a:lnTo>
                  <a:lnTo>
                    <a:pt x="732" y="1440"/>
                  </a:lnTo>
                  <a:lnTo>
                    <a:pt x="768" y="1476"/>
                  </a:lnTo>
                  <a:lnTo>
                    <a:pt x="808" y="1508"/>
                  </a:lnTo>
                  <a:lnTo>
                    <a:pt x="851" y="1537"/>
                  </a:lnTo>
                  <a:lnTo>
                    <a:pt x="897" y="1561"/>
                  </a:lnTo>
                  <a:lnTo>
                    <a:pt x="945" y="1580"/>
                  </a:lnTo>
                  <a:lnTo>
                    <a:pt x="996" y="1595"/>
                  </a:lnTo>
                  <a:lnTo>
                    <a:pt x="1049" y="1603"/>
                  </a:lnTo>
                  <a:lnTo>
                    <a:pt x="1104" y="1606"/>
                  </a:lnTo>
                  <a:lnTo>
                    <a:pt x="1159" y="1603"/>
                  </a:lnTo>
                  <a:lnTo>
                    <a:pt x="1211" y="1595"/>
                  </a:lnTo>
                  <a:lnTo>
                    <a:pt x="1261" y="1580"/>
                  </a:lnTo>
                  <a:lnTo>
                    <a:pt x="1311" y="1561"/>
                  </a:lnTo>
                  <a:lnTo>
                    <a:pt x="1356" y="1537"/>
                  </a:lnTo>
                  <a:lnTo>
                    <a:pt x="1399" y="1508"/>
                  </a:lnTo>
                  <a:lnTo>
                    <a:pt x="1439" y="1476"/>
                  </a:lnTo>
                  <a:lnTo>
                    <a:pt x="1475" y="1440"/>
                  </a:lnTo>
                  <a:lnTo>
                    <a:pt x="1508" y="1400"/>
                  </a:lnTo>
                  <a:lnTo>
                    <a:pt x="1536" y="1357"/>
                  </a:lnTo>
                  <a:lnTo>
                    <a:pt x="1560" y="1311"/>
                  </a:lnTo>
                  <a:lnTo>
                    <a:pt x="1579" y="1262"/>
                  </a:lnTo>
                  <a:lnTo>
                    <a:pt x="1593" y="1211"/>
                  </a:lnTo>
                  <a:lnTo>
                    <a:pt x="1601" y="1158"/>
                  </a:lnTo>
                  <a:lnTo>
                    <a:pt x="1605" y="1103"/>
                  </a:lnTo>
                  <a:lnTo>
                    <a:pt x="1601" y="1049"/>
                  </a:lnTo>
                  <a:lnTo>
                    <a:pt x="1593" y="996"/>
                  </a:lnTo>
                  <a:lnTo>
                    <a:pt x="1579" y="945"/>
                  </a:lnTo>
                  <a:lnTo>
                    <a:pt x="1560" y="896"/>
                  </a:lnTo>
                  <a:lnTo>
                    <a:pt x="1536" y="850"/>
                  </a:lnTo>
                  <a:lnTo>
                    <a:pt x="1508" y="807"/>
                  </a:lnTo>
                  <a:lnTo>
                    <a:pt x="1475" y="767"/>
                  </a:lnTo>
                  <a:lnTo>
                    <a:pt x="1439" y="731"/>
                  </a:lnTo>
                  <a:lnTo>
                    <a:pt x="1399" y="699"/>
                  </a:lnTo>
                  <a:lnTo>
                    <a:pt x="1356" y="670"/>
                  </a:lnTo>
                  <a:lnTo>
                    <a:pt x="1311" y="646"/>
                  </a:lnTo>
                  <a:lnTo>
                    <a:pt x="1261" y="627"/>
                  </a:lnTo>
                  <a:lnTo>
                    <a:pt x="1211" y="612"/>
                  </a:lnTo>
                  <a:lnTo>
                    <a:pt x="1159" y="604"/>
                  </a:lnTo>
                  <a:lnTo>
                    <a:pt x="1104" y="601"/>
                  </a:lnTo>
                  <a:close/>
                  <a:moveTo>
                    <a:pt x="1104" y="0"/>
                  </a:moveTo>
                  <a:lnTo>
                    <a:pt x="1190" y="3"/>
                  </a:lnTo>
                  <a:lnTo>
                    <a:pt x="1274" y="13"/>
                  </a:lnTo>
                  <a:lnTo>
                    <a:pt x="1357" y="30"/>
                  </a:lnTo>
                  <a:lnTo>
                    <a:pt x="1437" y="52"/>
                  </a:lnTo>
                  <a:lnTo>
                    <a:pt x="1514" y="79"/>
                  </a:lnTo>
                  <a:lnTo>
                    <a:pt x="1589" y="113"/>
                  </a:lnTo>
                  <a:lnTo>
                    <a:pt x="1660" y="152"/>
                  </a:lnTo>
                  <a:lnTo>
                    <a:pt x="1728" y="195"/>
                  </a:lnTo>
                  <a:lnTo>
                    <a:pt x="1793" y="243"/>
                  </a:lnTo>
                  <a:lnTo>
                    <a:pt x="1855" y="297"/>
                  </a:lnTo>
                  <a:lnTo>
                    <a:pt x="1912" y="354"/>
                  </a:lnTo>
                  <a:lnTo>
                    <a:pt x="1964" y="415"/>
                  </a:lnTo>
                  <a:lnTo>
                    <a:pt x="2013" y="480"/>
                  </a:lnTo>
                  <a:lnTo>
                    <a:pt x="2057" y="549"/>
                  </a:lnTo>
                  <a:lnTo>
                    <a:pt x="2096" y="621"/>
                  </a:lnTo>
                  <a:lnTo>
                    <a:pt x="2128" y="695"/>
                  </a:lnTo>
                  <a:lnTo>
                    <a:pt x="2156" y="773"/>
                  </a:lnTo>
                  <a:lnTo>
                    <a:pt x="2179" y="853"/>
                  </a:lnTo>
                  <a:lnTo>
                    <a:pt x="2194" y="936"/>
                  </a:lnTo>
                  <a:lnTo>
                    <a:pt x="2205" y="1020"/>
                  </a:lnTo>
                  <a:lnTo>
                    <a:pt x="2208" y="1107"/>
                  </a:lnTo>
                  <a:lnTo>
                    <a:pt x="2206" y="1170"/>
                  </a:lnTo>
                  <a:lnTo>
                    <a:pt x="2200" y="1235"/>
                  </a:lnTo>
                  <a:lnTo>
                    <a:pt x="2190" y="1301"/>
                  </a:lnTo>
                  <a:lnTo>
                    <a:pt x="2176" y="1370"/>
                  </a:lnTo>
                  <a:lnTo>
                    <a:pt x="2161" y="1439"/>
                  </a:lnTo>
                  <a:lnTo>
                    <a:pt x="2142" y="1507"/>
                  </a:lnTo>
                  <a:lnTo>
                    <a:pt x="2122" y="1576"/>
                  </a:lnTo>
                  <a:lnTo>
                    <a:pt x="2099" y="1642"/>
                  </a:lnTo>
                  <a:lnTo>
                    <a:pt x="2075" y="1707"/>
                  </a:lnTo>
                  <a:lnTo>
                    <a:pt x="2049" y="1768"/>
                  </a:lnTo>
                  <a:lnTo>
                    <a:pt x="2023" y="1827"/>
                  </a:lnTo>
                  <a:lnTo>
                    <a:pt x="1997" y="1881"/>
                  </a:lnTo>
                  <a:lnTo>
                    <a:pt x="1971" y="1930"/>
                  </a:lnTo>
                  <a:lnTo>
                    <a:pt x="1952" y="1963"/>
                  </a:lnTo>
                  <a:lnTo>
                    <a:pt x="1931" y="1999"/>
                  </a:lnTo>
                  <a:lnTo>
                    <a:pt x="1909" y="2037"/>
                  </a:lnTo>
                  <a:lnTo>
                    <a:pt x="1886" y="2080"/>
                  </a:lnTo>
                  <a:lnTo>
                    <a:pt x="1861" y="2124"/>
                  </a:lnTo>
                  <a:lnTo>
                    <a:pt x="1834" y="2170"/>
                  </a:lnTo>
                  <a:lnTo>
                    <a:pt x="1806" y="2219"/>
                  </a:lnTo>
                  <a:lnTo>
                    <a:pt x="1778" y="2270"/>
                  </a:lnTo>
                  <a:lnTo>
                    <a:pt x="1748" y="2321"/>
                  </a:lnTo>
                  <a:lnTo>
                    <a:pt x="1718" y="2375"/>
                  </a:lnTo>
                  <a:lnTo>
                    <a:pt x="1687" y="2430"/>
                  </a:lnTo>
                  <a:lnTo>
                    <a:pt x="1657" y="2484"/>
                  </a:lnTo>
                  <a:lnTo>
                    <a:pt x="1625" y="2540"/>
                  </a:lnTo>
                  <a:lnTo>
                    <a:pt x="1594" y="2596"/>
                  </a:lnTo>
                  <a:lnTo>
                    <a:pt x="1563" y="2653"/>
                  </a:lnTo>
                  <a:lnTo>
                    <a:pt x="1531" y="2709"/>
                  </a:lnTo>
                  <a:lnTo>
                    <a:pt x="1500" y="2763"/>
                  </a:lnTo>
                  <a:lnTo>
                    <a:pt x="1469" y="2818"/>
                  </a:lnTo>
                  <a:lnTo>
                    <a:pt x="1439" y="2872"/>
                  </a:lnTo>
                  <a:lnTo>
                    <a:pt x="1409" y="2924"/>
                  </a:lnTo>
                  <a:lnTo>
                    <a:pt x="1381" y="2976"/>
                  </a:lnTo>
                  <a:lnTo>
                    <a:pt x="1354" y="3024"/>
                  </a:lnTo>
                  <a:lnTo>
                    <a:pt x="1326" y="3071"/>
                  </a:lnTo>
                  <a:lnTo>
                    <a:pt x="1301" y="3117"/>
                  </a:lnTo>
                  <a:lnTo>
                    <a:pt x="1278" y="3159"/>
                  </a:lnTo>
                  <a:lnTo>
                    <a:pt x="1255" y="3199"/>
                  </a:lnTo>
                  <a:lnTo>
                    <a:pt x="1235" y="3235"/>
                  </a:lnTo>
                  <a:lnTo>
                    <a:pt x="1216" y="3269"/>
                  </a:lnTo>
                  <a:lnTo>
                    <a:pt x="1199" y="3299"/>
                  </a:lnTo>
                  <a:lnTo>
                    <a:pt x="1185" y="3325"/>
                  </a:lnTo>
                  <a:lnTo>
                    <a:pt x="1172" y="3347"/>
                  </a:lnTo>
                  <a:lnTo>
                    <a:pt x="1163" y="3365"/>
                  </a:lnTo>
                  <a:lnTo>
                    <a:pt x="1154" y="3379"/>
                  </a:lnTo>
                  <a:lnTo>
                    <a:pt x="1150" y="3387"/>
                  </a:lnTo>
                  <a:lnTo>
                    <a:pt x="1148" y="3390"/>
                  </a:lnTo>
                  <a:lnTo>
                    <a:pt x="1104" y="3469"/>
                  </a:lnTo>
                  <a:lnTo>
                    <a:pt x="1060" y="3390"/>
                  </a:lnTo>
                  <a:lnTo>
                    <a:pt x="1058" y="3387"/>
                  </a:lnTo>
                  <a:lnTo>
                    <a:pt x="1053" y="3379"/>
                  </a:lnTo>
                  <a:lnTo>
                    <a:pt x="1045" y="3366"/>
                  </a:lnTo>
                  <a:lnTo>
                    <a:pt x="1036" y="3348"/>
                  </a:lnTo>
                  <a:lnTo>
                    <a:pt x="1023" y="3327"/>
                  </a:lnTo>
                  <a:lnTo>
                    <a:pt x="1010" y="3302"/>
                  </a:lnTo>
                  <a:lnTo>
                    <a:pt x="993" y="3272"/>
                  </a:lnTo>
                  <a:lnTo>
                    <a:pt x="974" y="3240"/>
                  </a:lnTo>
                  <a:lnTo>
                    <a:pt x="954" y="3204"/>
                  </a:lnTo>
                  <a:lnTo>
                    <a:pt x="932" y="3165"/>
                  </a:lnTo>
                  <a:lnTo>
                    <a:pt x="909" y="3124"/>
                  </a:lnTo>
                  <a:lnTo>
                    <a:pt x="884" y="3080"/>
                  </a:lnTo>
                  <a:lnTo>
                    <a:pt x="858" y="3034"/>
                  </a:lnTo>
                  <a:lnTo>
                    <a:pt x="831" y="2986"/>
                  </a:lnTo>
                  <a:lnTo>
                    <a:pt x="803" y="2936"/>
                  </a:lnTo>
                  <a:lnTo>
                    <a:pt x="774" y="2885"/>
                  </a:lnTo>
                  <a:lnTo>
                    <a:pt x="745" y="2833"/>
                  </a:lnTo>
                  <a:lnTo>
                    <a:pt x="715" y="2779"/>
                  </a:lnTo>
                  <a:lnTo>
                    <a:pt x="684" y="2725"/>
                  </a:lnTo>
                  <a:lnTo>
                    <a:pt x="654" y="2671"/>
                  </a:lnTo>
                  <a:lnTo>
                    <a:pt x="623" y="2616"/>
                  </a:lnTo>
                  <a:lnTo>
                    <a:pt x="592" y="2561"/>
                  </a:lnTo>
                  <a:lnTo>
                    <a:pt x="561" y="2507"/>
                  </a:lnTo>
                  <a:lnTo>
                    <a:pt x="531" y="2452"/>
                  </a:lnTo>
                  <a:lnTo>
                    <a:pt x="502" y="2399"/>
                  </a:lnTo>
                  <a:lnTo>
                    <a:pt x="472" y="2347"/>
                  </a:lnTo>
                  <a:lnTo>
                    <a:pt x="444" y="2295"/>
                  </a:lnTo>
                  <a:lnTo>
                    <a:pt x="416" y="2246"/>
                  </a:lnTo>
                  <a:lnTo>
                    <a:pt x="389" y="2197"/>
                  </a:lnTo>
                  <a:lnTo>
                    <a:pt x="364" y="2151"/>
                  </a:lnTo>
                  <a:lnTo>
                    <a:pt x="340" y="2108"/>
                  </a:lnTo>
                  <a:lnTo>
                    <a:pt x="317" y="2066"/>
                  </a:lnTo>
                  <a:lnTo>
                    <a:pt x="296" y="2028"/>
                  </a:lnTo>
                  <a:lnTo>
                    <a:pt x="276" y="1992"/>
                  </a:lnTo>
                  <a:lnTo>
                    <a:pt x="258" y="1960"/>
                  </a:lnTo>
                  <a:lnTo>
                    <a:pt x="242" y="1930"/>
                  </a:lnTo>
                  <a:lnTo>
                    <a:pt x="214" y="1875"/>
                  </a:lnTo>
                  <a:lnTo>
                    <a:pt x="186" y="1816"/>
                  </a:lnTo>
                  <a:lnTo>
                    <a:pt x="157" y="1752"/>
                  </a:lnTo>
                  <a:lnTo>
                    <a:pt x="130" y="1685"/>
                  </a:lnTo>
                  <a:lnTo>
                    <a:pt x="104" y="1615"/>
                  </a:lnTo>
                  <a:lnTo>
                    <a:pt x="79" y="1543"/>
                  </a:lnTo>
                  <a:lnTo>
                    <a:pt x="57" y="1469"/>
                  </a:lnTo>
                  <a:lnTo>
                    <a:pt x="38" y="1396"/>
                  </a:lnTo>
                  <a:lnTo>
                    <a:pt x="22" y="1321"/>
                  </a:lnTo>
                  <a:lnTo>
                    <a:pt x="10" y="1249"/>
                  </a:lnTo>
                  <a:lnTo>
                    <a:pt x="2" y="1177"/>
                  </a:lnTo>
                  <a:lnTo>
                    <a:pt x="0" y="1107"/>
                  </a:lnTo>
                  <a:lnTo>
                    <a:pt x="3" y="1020"/>
                  </a:lnTo>
                  <a:lnTo>
                    <a:pt x="13" y="936"/>
                  </a:lnTo>
                  <a:lnTo>
                    <a:pt x="29" y="853"/>
                  </a:lnTo>
                  <a:lnTo>
                    <a:pt x="51" y="773"/>
                  </a:lnTo>
                  <a:lnTo>
                    <a:pt x="79" y="695"/>
                  </a:lnTo>
                  <a:lnTo>
                    <a:pt x="112" y="621"/>
                  </a:lnTo>
                  <a:lnTo>
                    <a:pt x="151" y="549"/>
                  </a:lnTo>
                  <a:lnTo>
                    <a:pt x="194" y="480"/>
                  </a:lnTo>
                  <a:lnTo>
                    <a:pt x="242" y="415"/>
                  </a:lnTo>
                  <a:lnTo>
                    <a:pt x="296" y="354"/>
                  </a:lnTo>
                  <a:lnTo>
                    <a:pt x="353" y="297"/>
                  </a:lnTo>
                  <a:lnTo>
                    <a:pt x="413" y="243"/>
                  </a:lnTo>
                  <a:lnTo>
                    <a:pt x="479" y="195"/>
                  </a:lnTo>
                  <a:lnTo>
                    <a:pt x="547" y="152"/>
                  </a:lnTo>
                  <a:lnTo>
                    <a:pt x="619" y="113"/>
                  </a:lnTo>
                  <a:lnTo>
                    <a:pt x="694" y="79"/>
                  </a:lnTo>
                  <a:lnTo>
                    <a:pt x="771" y="52"/>
                  </a:lnTo>
                  <a:lnTo>
                    <a:pt x="851" y="30"/>
                  </a:lnTo>
                  <a:lnTo>
                    <a:pt x="933" y="13"/>
                  </a:lnTo>
                  <a:lnTo>
                    <a:pt x="1018" y="3"/>
                  </a:lnTo>
                  <a:lnTo>
                    <a:pt x="1104" y="0"/>
                  </a:lnTo>
                  <a:close/>
                </a:path>
              </a:pathLst>
            </a:custGeom>
            <a:solidFill>
              <a:schemeClr val="tx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47" name="TextBox 346">
              <a:extLst>
                <a:ext uri="{FF2B5EF4-FFF2-40B4-BE49-F238E27FC236}">
                  <a16:creationId xmlns:a16="http://schemas.microsoft.com/office/drawing/2014/main" id="{7F31A0D3-F63E-BCB4-D2C9-B034856CB140}"/>
                </a:ext>
              </a:extLst>
            </p:cNvPr>
            <p:cNvSpPr txBox="1"/>
            <p:nvPr/>
          </p:nvSpPr>
          <p:spPr>
            <a:xfrm>
              <a:off x="4498880" y="3855541"/>
              <a:ext cx="578262" cy="1920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C3C3B"/>
                  </a:solidFill>
                  <a:effectLst/>
                  <a:uLnTx/>
                  <a:uFillTx/>
                  <a:latin typeface="Lato"/>
                  <a:ea typeface="Lato"/>
                  <a:cs typeface="Lato"/>
                  <a:sym typeface="Lato" panose="020F0502020204030203" pitchFamily="34" charset="0"/>
                </a:rPr>
                <a:t>Madrid</a:t>
              </a:r>
              <a:endParaRPr kumimoji="0" lang="en-GB" sz="12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endParaRPr>
            </a:p>
          </p:txBody>
        </p:sp>
      </p:grpSp>
      <p:sp>
        <p:nvSpPr>
          <p:cNvPr id="492" name="Rectangle 491">
            <a:extLst>
              <a:ext uri="{FF2B5EF4-FFF2-40B4-BE49-F238E27FC236}">
                <a16:creationId xmlns:a16="http://schemas.microsoft.com/office/drawing/2014/main" id="{A80D8D05-EEBA-4BF2-26D9-A9CF1CAF606E}"/>
              </a:ext>
            </a:extLst>
          </p:cNvPr>
          <p:cNvSpPr/>
          <p:nvPr/>
        </p:nvSpPr>
        <p:spPr>
          <a:xfrm>
            <a:off x="9824861" y="1711279"/>
            <a:ext cx="264170" cy="229004"/>
          </a:xfrm>
          <a:custGeom>
            <a:avLst/>
            <a:gdLst>
              <a:gd name="connsiteX0" fmla="*/ 0 w 468957"/>
              <a:gd name="connsiteY0" fmla="*/ 0 h 821936"/>
              <a:gd name="connsiteX1" fmla="*/ 468957 w 468957"/>
              <a:gd name="connsiteY1" fmla="*/ 0 h 821936"/>
              <a:gd name="connsiteX2" fmla="*/ 468957 w 468957"/>
              <a:gd name="connsiteY2" fmla="*/ 821936 h 821936"/>
              <a:gd name="connsiteX3" fmla="*/ 0 w 468957"/>
              <a:gd name="connsiteY3" fmla="*/ 821936 h 821936"/>
              <a:gd name="connsiteX4" fmla="*/ 0 w 468957"/>
              <a:gd name="connsiteY4" fmla="*/ 0 h 821936"/>
              <a:gd name="connsiteX0" fmla="*/ 0 w 530870"/>
              <a:gd name="connsiteY0" fmla="*/ 0 h 850511"/>
              <a:gd name="connsiteX1" fmla="*/ 530870 w 530870"/>
              <a:gd name="connsiteY1" fmla="*/ 28575 h 850511"/>
              <a:gd name="connsiteX2" fmla="*/ 530870 w 530870"/>
              <a:gd name="connsiteY2" fmla="*/ 850511 h 850511"/>
              <a:gd name="connsiteX3" fmla="*/ 61913 w 530870"/>
              <a:gd name="connsiteY3" fmla="*/ 850511 h 850511"/>
              <a:gd name="connsiteX4" fmla="*/ 0 w 530870"/>
              <a:gd name="connsiteY4" fmla="*/ 0 h 850511"/>
              <a:gd name="connsiteX0" fmla="*/ 0 w 530870"/>
              <a:gd name="connsiteY0" fmla="*/ 0 h 850511"/>
              <a:gd name="connsiteX1" fmla="*/ 530870 w 530870"/>
              <a:gd name="connsiteY1" fmla="*/ 28575 h 850511"/>
              <a:gd name="connsiteX2" fmla="*/ 530870 w 530870"/>
              <a:gd name="connsiteY2" fmla="*/ 850511 h 850511"/>
              <a:gd name="connsiteX3" fmla="*/ 59531 w 530870"/>
              <a:gd name="connsiteY3" fmla="*/ 557617 h 850511"/>
              <a:gd name="connsiteX4" fmla="*/ 0 w 530870"/>
              <a:gd name="connsiteY4" fmla="*/ 0 h 850511"/>
              <a:gd name="connsiteX0" fmla="*/ 0 w 530870"/>
              <a:gd name="connsiteY0" fmla="*/ 0 h 617148"/>
              <a:gd name="connsiteX1" fmla="*/ 530870 w 530870"/>
              <a:gd name="connsiteY1" fmla="*/ 28575 h 617148"/>
              <a:gd name="connsiteX2" fmla="*/ 247501 w 530870"/>
              <a:gd name="connsiteY2" fmla="*/ 617148 h 617148"/>
              <a:gd name="connsiteX3" fmla="*/ 59531 w 530870"/>
              <a:gd name="connsiteY3" fmla="*/ 557617 h 617148"/>
              <a:gd name="connsiteX4" fmla="*/ 0 w 530870"/>
              <a:gd name="connsiteY4" fmla="*/ 0 h 617148"/>
              <a:gd name="connsiteX0" fmla="*/ 0 w 309413"/>
              <a:gd name="connsiteY0" fmla="*/ 0 h 617148"/>
              <a:gd name="connsiteX1" fmla="*/ 309413 w 309413"/>
              <a:gd name="connsiteY1" fmla="*/ 388144 h 617148"/>
              <a:gd name="connsiteX2" fmla="*/ 247501 w 309413"/>
              <a:gd name="connsiteY2" fmla="*/ 617148 h 617148"/>
              <a:gd name="connsiteX3" fmla="*/ 59531 w 309413"/>
              <a:gd name="connsiteY3" fmla="*/ 557617 h 617148"/>
              <a:gd name="connsiteX4" fmla="*/ 0 w 309413"/>
              <a:gd name="connsiteY4" fmla="*/ 0 h 617148"/>
              <a:gd name="connsiteX0" fmla="*/ 0 w 264170"/>
              <a:gd name="connsiteY0" fmla="*/ 0 h 229004"/>
              <a:gd name="connsiteX1" fmla="*/ 264170 w 264170"/>
              <a:gd name="connsiteY1" fmla="*/ 0 h 229004"/>
              <a:gd name="connsiteX2" fmla="*/ 202258 w 264170"/>
              <a:gd name="connsiteY2" fmla="*/ 229004 h 229004"/>
              <a:gd name="connsiteX3" fmla="*/ 14288 w 264170"/>
              <a:gd name="connsiteY3" fmla="*/ 169473 h 229004"/>
              <a:gd name="connsiteX4" fmla="*/ 0 w 264170"/>
              <a:gd name="connsiteY4" fmla="*/ 0 h 229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70" h="229004">
                <a:moveTo>
                  <a:pt x="0" y="0"/>
                </a:moveTo>
                <a:lnTo>
                  <a:pt x="264170" y="0"/>
                </a:lnTo>
                <a:lnTo>
                  <a:pt x="202258" y="229004"/>
                </a:lnTo>
                <a:lnTo>
                  <a:pt x="14288" y="169473"/>
                </a:lnTo>
                <a:lnTo>
                  <a:pt x="0" y="0"/>
                </a:lnTo>
                <a:close/>
              </a:path>
            </a:pathLst>
          </a:custGeom>
          <a:solidFill>
            <a:schemeClr val="bg1"/>
          </a:solidFill>
          <a:ln w="635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grpSp>
        <p:nvGrpSpPr>
          <p:cNvPr id="360" name="Group 359">
            <a:extLst>
              <a:ext uri="{FF2B5EF4-FFF2-40B4-BE49-F238E27FC236}">
                <a16:creationId xmlns:a16="http://schemas.microsoft.com/office/drawing/2014/main" id="{B7E1AADC-C539-D481-5C32-BB95190D87F6}"/>
              </a:ext>
            </a:extLst>
          </p:cNvPr>
          <p:cNvGrpSpPr/>
          <p:nvPr/>
        </p:nvGrpSpPr>
        <p:grpSpPr>
          <a:xfrm>
            <a:off x="10031444" y="1617203"/>
            <a:ext cx="1993924" cy="4590073"/>
            <a:chOff x="10031444" y="1617203"/>
            <a:chExt cx="1993924" cy="4590073"/>
          </a:xfrm>
        </p:grpSpPr>
        <p:sp>
          <p:nvSpPr>
            <p:cNvPr id="21" name="TextBox 20">
              <a:extLst>
                <a:ext uri="{FF2B5EF4-FFF2-40B4-BE49-F238E27FC236}">
                  <a16:creationId xmlns:a16="http://schemas.microsoft.com/office/drawing/2014/main" id="{05FC306B-F03B-F3D4-761E-A16411A34D9B}"/>
                </a:ext>
              </a:extLst>
            </p:cNvPr>
            <p:cNvSpPr txBox="1"/>
            <p:nvPr/>
          </p:nvSpPr>
          <p:spPr>
            <a:xfrm>
              <a:off x="10699006" y="1617203"/>
              <a:ext cx="1326362" cy="892552"/>
            </a:xfrm>
            <a:prstGeom prst="rect">
              <a:avLst/>
            </a:prstGeom>
            <a:noFill/>
          </p:spPr>
          <p:txBody>
            <a:bodyPr wrap="square" lIns="0" tIns="0" rIns="0" bIns="0" rtlCol="0" anchor="t">
              <a:spAutoFit/>
            </a:bodyPr>
            <a:lstStyle>
              <a:defPPr>
                <a:defRPr lang="en-US"/>
              </a:defPPr>
              <a:lvl1pPr>
                <a:spcAft>
                  <a:spcPts val="600"/>
                </a:spcAft>
                <a:defRPr sz="48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a:ln>
                    <a:noFill/>
                  </a:ln>
                  <a:solidFill>
                    <a:srgbClr val="3C3C3B"/>
                  </a:solidFill>
                  <a:effectLst/>
                  <a:uLnTx/>
                  <a:uFillTx/>
                  <a:latin typeface="Lato"/>
                  <a:ea typeface="Lato"/>
                  <a:cs typeface="Lato"/>
                  <a:sym typeface="Lato" panose="020F0502020204030203" pitchFamily="34" charset="0"/>
                </a:rPr>
                <a:t>14</a:t>
              </a:r>
              <a:r>
                <a:rPr kumimoji="0" lang="en-GB" sz="3200" b="0" i="0" u="none" strike="noStrike" kern="1200" cap="none" spc="0" normalizeH="0" baseline="0" noProof="0">
                  <a:ln>
                    <a:noFill/>
                  </a:ln>
                  <a:solidFill>
                    <a:srgbClr val="3C3C3B"/>
                  </a:solidFill>
                  <a:effectLst/>
                  <a:uLnTx/>
                  <a:uFillTx/>
                  <a:latin typeface="Lato"/>
                  <a:ea typeface="Lato"/>
                  <a:cs typeface="Lato"/>
                  <a:sym typeface="Lato" panose="020F0502020204030203" pitchFamily="34" charset="0"/>
                </a:rPr>
                <a:t> </a:t>
              </a:r>
              <a:r>
                <a:rPr kumimoji="0" lang="en-GB" sz="2000" b="0" i="0" u="none" strike="noStrike" kern="1200" cap="none" spc="0" normalizeH="0" baseline="0" noProof="0">
                  <a:ln>
                    <a:noFill/>
                  </a:ln>
                  <a:solidFill>
                    <a:srgbClr val="3C3C3B"/>
                  </a:solidFill>
                  <a:effectLst/>
                  <a:uLnTx/>
                  <a:uFillTx/>
                  <a:latin typeface="Lato"/>
                  <a:ea typeface="Lato"/>
                  <a:cs typeface="Lato"/>
                  <a:sym typeface="Lato" panose="020F0502020204030203" pitchFamily="34" charset="0"/>
                </a:rPr>
                <a:t>offi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a:ln>
                    <a:noFill/>
                  </a:ln>
                  <a:solidFill>
                    <a:srgbClr val="3C3C3B"/>
                  </a:solidFill>
                  <a:effectLst/>
                  <a:uLnTx/>
                  <a:uFillTx/>
                  <a:latin typeface="Lato"/>
                  <a:ea typeface="Lato"/>
                  <a:cs typeface="Lato"/>
                  <a:sym typeface="Lato" panose="020F0502020204030203" pitchFamily="34" charset="0"/>
                </a:rPr>
                <a:t>and two more coming soon</a:t>
              </a:r>
            </a:p>
          </p:txBody>
        </p:sp>
        <p:sp>
          <p:nvSpPr>
            <p:cNvPr id="537" name="TextBox 536">
              <a:extLst>
                <a:ext uri="{FF2B5EF4-FFF2-40B4-BE49-F238E27FC236}">
                  <a16:creationId xmlns:a16="http://schemas.microsoft.com/office/drawing/2014/main" id="{2ED8D44E-D7D5-C701-91C7-B80DE2AF98A6}"/>
                </a:ext>
              </a:extLst>
            </p:cNvPr>
            <p:cNvSpPr txBox="1"/>
            <p:nvPr/>
          </p:nvSpPr>
          <p:spPr>
            <a:xfrm>
              <a:off x="10699006" y="2798657"/>
              <a:ext cx="1170571" cy="63094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600+</a:t>
              </a:r>
              <a:endParaRPr kumimoji="0" lang="en-GB" sz="44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arket experts</a:t>
              </a:r>
            </a:p>
          </p:txBody>
        </p:sp>
        <p:sp>
          <p:nvSpPr>
            <p:cNvPr id="139" name="TextBox 138">
              <a:extLst>
                <a:ext uri="{FF2B5EF4-FFF2-40B4-BE49-F238E27FC236}">
                  <a16:creationId xmlns:a16="http://schemas.microsoft.com/office/drawing/2014/main" id="{0FAA592C-95C2-DC60-E2EB-6A2CC21B052E}"/>
                </a:ext>
              </a:extLst>
            </p:cNvPr>
            <p:cNvSpPr txBox="1"/>
            <p:nvPr/>
          </p:nvSpPr>
          <p:spPr>
            <a:xfrm>
              <a:off x="10697007" y="3991742"/>
              <a:ext cx="954526" cy="83099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85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ubscribing </a:t>
              </a:r>
              <a:br>
                <a:rPr kumimoji="0" lang="en-GB" sz="13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kumimoji="0" lang="en-GB" sz="13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mpanies</a:t>
              </a:r>
            </a:p>
          </p:txBody>
        </p:sp>
        <p:sp>
          <p:nvSpPr>
            <p:cNvPr id="625" name="TextBox 624">
              <a:extLst>
                <a:ext uri="{FF2B5EF4-FFF2-40B4-BE49-F238E27FC236}">
                  <a16:creationId xmlns:a16="http://schemas.microsoft.com/office/drawing/2014/main" id="{90416690-FE15-6392-EFDF-4C4FC332F59F}"/>
                </a:ext>
              </a:extLst>
            </p:cNvPr>
            <p:cNvSpPr txBox="1"/>
            <p:nvPr/>
          </p:nvSpPr>
          <p:spPr>
            <a:xfrm>
              <a:off x="10683923" y="5176225"/>
              <a:ext cx="1075349" cy="103105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15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ransactions </a:t>
              </a:r>
              <a:br>
                <a:rPr kumimoji="0" lang="en-GB" sz="13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kumimoji="0" lang="en-GB" sz="13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upported in </a:t>
              </a:r>
              <a:br>
                <a:rPr kumimoji="0" lang="en-GB" sz="13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kumimoji="0" lang="en-GB" sz="13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2023</a:t>
              </a:r>
            </a:p>
          </p:txBody>
        </p:sp>
        <p:grpSp>
          <p:nvGrpSpPr>
            <p:cNvPr id="638" name="Group 637">
              <a:extLst>
                <a:ext uri="{FF2B5EF4-FFF2-40B4-BE49-F238E27FC236}">
                  <a16:creationId xmlns:a16="http://schemas.microsoft.com/office/drawing/2014/main" id="{3714D633-DFA9-2CAB-9161-21FA0C1C8FF8}"/>
                </a:ext>
              </a:extLst>
            </p:cNvPr>
            <p:cNvGrpSpPr/>
            <p:nvPr/>
          </p:nvGrpSpPr>
          <p:grpSpPr>
            <a:xfrm>
              <a:off x="10031444" y="1625444"/>
              <a:ext cx="511650" cy="511650"/>
              <a:chOff x="7864083" y="1259656"/>
              <a:chExt cx="1107922" cy="1107922"/>
            </a:xfrm>
          </p:grpSpPr>
          <p:sp>
            <p:nvSpPr>
              <p:cNvPr id="639" name="Oval 638">
                <a:extLst>
                  <a:ext uri="{FF2B5EF4-FFF2-40B4-BE49-F238E27FC236}">
                    <a16:creationId xmlns:a16="http://schemas.microsoft.com/office/drawing/2014/main" id="{CDB94D44-5A39-786E-7DFD-70F431F1E9D1}"/>
                  </a:ext>
                </a:extLst>
              </p:cNvPr>
              <p:cNvSpPr/>
              <p:nvPr/>
            </p:nvSpPr>
            <p:spPr>
              <a:xfrm>
                <a:off x="7864083" y="1259656"/>
                <a:ext cx="1107922" cy="1107922"/>
              </a:xfrm>
              <a:prstGeom prst="ellipse">
                <a:avLst/>
              </a:prstGeom>
              <a:solidFill>
                <a:schemeClr val="bg2"/>
              </a:solidFill>
              <a:ln w="6350" cmpd="sng">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1076" name="Group 1075">
                <a:extLst>
                  <a:ext uri="{FF2B5EF4-FFF2-40B4-BE49-F238E27FC236}">
                    <a16:creationId xmlns:a16="http://schemas.microsoft.com/office/drawing/2014/main" id="{22FD68F7-1533-A3B7-0114-191EF195499C}"/>
                  </a:ext>
                </a:extLst>
              </p:cNvPr>
              <p:cNvGrpSpPr/>
              <p:nvPr/>
            </p:nvGrpSpPr>
            <p:grpSpPr>
              <a:xfrm>
                <a:off x="8119782" y="1402473"/>
                <a:ext cx="559580" cy="766874"/>
                <a:chOff x="5516608" y="3536380"/>
                <a:chExt cx="767257" cy="1051485"/>
              </a:xfrm>
            </p:grpSpPr>
            <p:sp>
              <p:nvSpPr>
                <p:cNvPr id="1084" name="Graphic 571">
                  <a:extLst>
                    <a:ext uri="{FF2B5EF4-FFF2-40B4-BE49-F238E27FC236}">
                      <a16:creationId xmlns:a16="http://schemas.microsoft.com/office/drawing/2014/main" id="{D524FD40-F5B0-062B-B09A-44DEA35B068B}"/>
                    </a:ext>
                  </a:extLst>
                </p:cNvPr>
                <p:cNvSpPr/>
                <p:nvPr/>
              </p:nvSpPr>
              <p:spPr>
                <a:xfrm>
                  <a:off x="5516608" y="3730615"/>
                  <a:ext cx="767257" cy="857250"/>
                </a:xfrm>
                <a:custGeom>
                  <a:avLst/>
                  <a:gdLst>
                    <a:gd name="connsiteX0" fmla="*/ 130235 w 767257"/>
                    <a:gd name="connsiteY0" fmla="*/ 199863 h 857250"/>
                    <a:gd name="connsiteX1" fmla="*/ 170964 w 767257"/>
                    <a:gd name="connsiteY1" fmla="*/ 214541 h 857250"/>
                    <a:gd name="connsiteX2" fmla="*/ 183280 w 767257"/>
                    <a:gd name="connsiteY2" fmla="*/ 258118 h 857250"/>
                    <a:gd name="connsiteX3" fmla="*/ 168602 w 767257"/>
                    <a:gd name="connsiteY3" fmla="*/ 308324 h 857250"/>
                    <a:gd name="connsiteX4" fmla="*/ 155810 w 767257"/>
                    <a:gd name="connsiteY4" fmla="*/ 323002 h 857250"/>
                    <a:gd name="connsiteX5" fmla="*/ 192748 w 767257"/>
                    <a:gd name="connsiteY5" fmla="*/ 366579 h 857250"/>
                    <a:gd name="connsiteX6" fmla="*/ 177117 w 767257"/>
                    <a:gd name="connsiteY6" fmla="*/ 403993 h 857250"/>
                    <a:gd name="connsiteX7" fmla="*/ 166697 w 767257"/>
                    <a:gd name="connsiteY7" fmla="*/ 422462 h 857250"/>
                    <a:gd name="connsiteX8" fmla="*/ 164325 w 767257"/>
                    <a:gd name="connsiteY8" fmla="*/ 427673 h 857250"/>
                    <a:gd name="connsiteX9" fmla="*/ 168592 w 767257"/>
                    <a:gd name="connsiteY9" fmla="*/ 432406 h 857250"/>
                    <a:gd name="connsiteX10" fmla="*/ 186118 w 767257"/>
                    <a:gd name="connsiteY10" fmla="*/ 435731 h 857250"/>
                    <a:gd name="connsiteX11" fmla="*/ 215475 w 767257"/>
                    <a:gd name="connsiteY11" fmla="*/ 419157 h 857250"/>
                    <a:gd name="connsiteX12" fmla="*/ 220685 w 767257"/>
                    <a:gd name="connsiteY12" fmla="*/ 397364 h 857250"/>
                    <a:gd name="connsiteX13" fmla="*/ 248631 w 767257"/>
                    <a:gd name="connsiteY13" fmla="*/ 383162 h 857250"/>
                    <a:gd name="connsiteX14" fmla="*/ 283683 w 767257"/>
                    <a:gd name="connsiteY14" fmla="*/ 397364 h 857250"/>
                    <a:gd name="connsiteX15" fmla="*/ 305467 w 767257"/>
                    <a:gd name="connsiteY15" fmla="*/ 435264 h 857250"/>
                    <a:gd name="connsiteX16" fmla="*/ 269948 w 767257"/>
                    <a:gd name="connsiteY16" fmla="*/ 483565 h 857250"/>
                    <a:gd name="connsiteX17" fmla="*/ 242478 w 767257"/>
                    <a:gd name="connsiteY17" fmla="*/ 521922 h 857250"/>
                    <a:gd name="connsiteX18" fmla="*/ 246745 w 767257"/>
                    <a:gd name="connsiteY18" fmla="*/ 539934 h 857250"/>
                    <a:gd name="connsiteX19" fmla="*/ 261899 w 767257"/>
                    <a:gd name="connsiteY19" fmla="*/ 543249 h 857250"/>
                    <a:gd name="connsiteX20" fmla="*/ 289370 w 767257"/>
                    <a:gd name="connsiteY20" fmla="*/ 538505 h 857250"/>
                    <a:gd name="connsiteX21" fmla="*/ 318735 w 767257"/>
                    <a:gd name="connsiteY21" fmla="*/ 532829 h 857250"/>
                    <a:gd name="connsiteX22" fmla="*/ 341948 w 767257"/>
                    <a:gd name="connsiteY22" fmla="*/ 538505 h 857250"/>
                    <a:gd name="connsiteX23" fmla="*/ 354263 w 767257"/>
                    <a:gd name="connsiteY23" fmla="*/ 557451 h 857250"/>
                    <a:gd name="connsiteX24" fmla="*/ 343357 w 767257"/>
                    <a:gd name="connsiteY24" fmla="*/ 584445 h 857250"/>
                    <a:gd name="connsiteX25" fmla="*/ 334366 w 767257"/>
                    <a:gd name="connsiteY25" fmla="*/ 608609 h 857250"/>
                    <a:gd name="connsiteX26" fmla="*/ 352368 w 767257"/>
                    <a:gd name="connsiteY26" fmla="*/ 617601 h 857250"/>
                    <a:gd name="connsiteX27" fmla="*/ 388353 w 767257"/>
                    <a:gd name="connsiteY27" fmla="*/ 658330 h 857250"/>
                    <a:gd name="connsiteX28" fmla="*/ 379828 w 767257"/>
                    <a:gd name="connsiteY28" fmla="*/ 677742 h 857250"/>
                    <a:gd name="connsiteX29" fmla="*/ 415823 w 767257"/>
                    <a:gd name="connsiteY29" fmla="*/ 679637 h 857250"/>
                    <a:gd name="connsiteX30" fmla="*/ 548430 w 767257"/>
                    <a:gd name="connsiteY30" fmla="*/ 652643 h 857250"/>
                    <a:gd name="connsiteX31" fmla="*/ 546068 w 767257"/>
                    <a:gd name="connsiteY31" fmla="*/ 649319 h 857250"/>
                    <a:gd name="connsiteX32" fmla="*/ 520017 w 767257"/>
                    <a:gd name="connsiteY32" fmla="*/ 599113 h 857250"/>
                    <a:gd name="connsiteX33" fmla="*/ 584902 w 767257"/>
                    <a:gd name="connsiteY33" fmla="*/ 520494 h 857250"/>
                    <a:gd name="connsiteX34" fmla="*/ 637003 w 767257"/>
                    <a:gd name="connsiteY34" fmla="*/ 464134 h 857250"/>
                    <a:gd name="connsiteX35" fmla="*/ 610010 w 767257"/>
                    <a:gd name="connsiteY35" fmla="*/ 445665 h 857250"/>
                    <a:gd name="connsiteX36" fmla="*/ 531390 w 767257"/>
                    <a:gd name="connsiteY36" fmla="*/ 443294 h 857250"/>
                    <a:gd name="connsiteX37" fmla="*/ 449456 w 767257"/>
                    <a:gd name="connsiteY37" fmla="*/ 442827 h 857250"/>
                    <a:gd name="connsiteX38" fmla="*/ 401622 w 767257"/>
                    <a:gd name="connsiteY38" fmla="*/ 405879 h 857250"/>
                    <a:gd name="connsiteX39" fmla="*/ 424358 w 767257"/>
                    <a:gd name="connsiteY39" fmla="*/ 360874 h 857250"/>
                    <a:gd name="connsiteX40" fmla="*/ 439512 w 767257"/>
                    <a:gd name="connsiteY40" fmla="*/ 334832 h 857250"/>
                    <a:gd name="connsiteX41" fmla="*/ 405413 w 767257"/>
                    <a:gd name="connsiteY41" fmla="*/ 281311 h 857250"/>
                    <a:gd name="connsiteX42" fmla="*/ 362321 w 767257"/>
                    <a:gd name="connsiteY42" fmla="*/ 213122 h 857250"/>
                    <a:gd name="connsiteX43" fmla="*/ 436683 w 767257"/>
                    <a:gd name="connsiteY43" fmla="*/ 163382 h 857250"/>
                    <a:gd name="connsiteX44" fmla="*/ 541820 w 767257"/>
                    <a:gd name="connsiteY44" fmla="*/ 260947 h 857250"/>
                    <a:gd name="connsiteX45" fmla="*/ 557917 w 767257"/>
                    <a:gd name="connsiteY45" fmla="*/ 320621 h 857250"/>
                    <a:gd name="connsiteX46" fmla="*/ 579234 w 767257"/>
                    <a:gd name="connsiteY46" fmla="*/ 340995 h 857250"/>
                    <a:gd name="connsiteX47" fmla="*/ 610010 w 767257"/>
                    <a:gd name="connsiteY47" fmla="*/ 335785 h 857250"/>
                    <a:gd name="connsiteX48" fmla="*/ 642690 w 767257"/>
                    <a:gd name="connsiteY48" fmla="*/ 329155 h 857250"/>
                    <a:gd name="connsiteX49" fmla="*/ 701888 w 767257"/>
                    <a:gd name="connsiteY49" fmla="*/ 343843 h 857250"/>
                    <a:gd name="connsiteX50" fmla="*/ 719890 w 767257"/>
                    <a:gd name="connsiteY50" fmla="*/ 377466 h 857250"/>
                    <a:gd name="connsiteX51" fmla="*/ 727472 w 767257"/>
                    <a:gd name="connsiteY51" fmla="*/ 398307 h 857250"/>
                    <a:gd name="connsiteX52" fmla="*/ 739788 w 767257"/>
                    <a:gd name="connsiteY52" fmla="*/ 404936 h 857250"/>
                    <a:gd name="connsiteX53" fmla="*/ 743569 w 767257"/>
                    <a:gd name="connsiteY53" fmla="*/ 351415 h 857250"/>
                    <a:gd name="connsiteX54" fmla="*/ 742150 w 767257"/>
                    <a:gd name="connsiteY54" fmla="*/ 317316 h 857250"/>
                    <a:gd name="connsiteX55" fmla="*/ 744998 w 767257"/>
                    <a:gd name="connsiteY55" fmla="*/ 308791 h 857250"/>
                    <a:gd name="connsiteX56" fmla="*/ 753047 w 767257"/>
                    <a:gd name="connsiteY56" fmla="*/ 304533 h 857250"/>
                    <a:gd name="connsiteX57" fmla="*/ 761581 w 767257"/>
                    <a:gd name="connsiteY57" fmla="*/ 306896 h 857250"/>
                    <a:gd name="connsiteX58" fmla="*/ 765839 w 767257"/>
                    <a:gd name="connsiteY58" fmla="*/ 314954 h 857250"/>
                    <a:gd name="connsiteX59" fmla="*/ 767258 w 767257"/>
                    <a:gd name="connsiteY59" fmla="*/ 351415 h 857250"/>
                    <a:gd name="connsiteX60" fmla="*/ 761571 w 767257"/>
                    <a:gd name="connsiteY60" fmla="*/ 420567 h 857250"/>
                    <a:gd name="connsiteX61" fmla="*/ 664464 w 767257"/>
                    <a:gd name="connsiteY61" fmla="*/ 600075 h 857250"/>
                    <a:gd name="connsiteX62" fmla="*/ 572586 w 767257"/>
                    <a:gd name="connsiteY62" fmla="*/ 667331 h 857250"/>
                    <a:gd name="connsiteX63" fmla="*/ 415823 w 767257"/>
                    <a:gd name="connsiteY63" fmla="*/ 703326 h 857250"/>
                    <a:gd name="connsiteX64" fmla="*/ 354721 w 767257"/>
                    <a:gd name="connsiteY64" fmla="*/ 698116 h 857250"/>
                    <a:gd name="connsiteX65" fmla="*/ 167659 w 767257"/>
                    <a:gd name="connsiteY65" fmla="*/ 600075 h 857250"/>
                    <a:gd name="connsiteX66" fmla="*/ 64884 w 767257"/>
                    <a:gd name="connsiteY66" fmla="*/ 351425 h 857250"/>
                    <a:gd name="connsiteX67" fmla="*/ 92831 w 767257"/>
                    <a:gd name="connsiteY67" fmla="*/ 210760 h 857250"/>
                    <a:gd name="connsiteX68" fmla="*/ 136874 w 767257"/>
                    <a:gd name="connsiteY68" fmla="*/ 137827 h 857250"/>
                    <a:gd name="connsiteX69" fmla="*/ 144456 w 767257"/>
                    <a:gd name="connsiteY69" fmla="*/ 133083 h 857250"/>
                    <a:gd name="connsiteX70" fmla="*/ 153448 w 767257"/>
                    <a:gd name="connsiteY70" fmla="*/ 135455 h 857250"/>
                    <a:gd name="connsiteX71" fmla="*/ 158182 w 767257"/>
                    <a:gd name="connsiteY71" fmla="*/ 143513 h 857250"/>
                    <a:gd name="connsiteX72" fmla="*/ 155343 w 767257"/>
                    <a:gd name="connsiteY72" fmla="*/ 152038 h 857250"/>
                    <a:gd name="connsiteX73" fmla="*/ 124082 w 767257"/>
                    <a:gd name="connsiteY73" fmla="*/ 200349 h 857250"/>
                    <a:gd name="connsiteX74" fmla="*/ 130235 w 767257"/>
                    <a:gd name="connsiteY74" fmla="*/ 199863 h 857250"/>
                    <a:gd name="connsiteX75" fmla="*/ 112243 w 767257"/>
                    <a:gd name="connsiteY75" fmla="*/ 225914 h 857250"/>
                    <a:gd name="connsiteX76" fmla="*/ 88573 w 767257"/>
                    <a:gd name="connsiteY76" fmla="*/ 351425 h 857250"/>
                    <a:gd name="connsiteX77" fmla="*/ 184242 w 767257"/>
                    <a:gd name="connsiteY77" fmla="*/ 583502 h 857250"/>
                    <a:gd name="connsiteX78" fmla="*/ 352368 w 767257"/>
                    <a:gd name="connsiteY78" fmla="*/ 673960 h 857250"/>
                    <a:gd name="connsiteX79" fmla="*/ 364674 w 767257"/>
                    <a:gd name="connsiteY79" fmla="*/ 657387 h 857250"/>
                    <a:gd name="connsiteX80" fmla="*/ 347634 w 767257"/>
                    <a:gd name="connsiteY80" fmla="*/ 640813 h 857250"/>
                    <a:gd name="connsiteX81" fmla="*/ 311163 w 767257"/>
                    <a:gd name="connsiteY81" fmla="*/ 608609 h 857250"/>
                    <a:gd name="connsiteX82" fmla="*/ 322059 w 767257"/>
                    <a:gd name="connsiteY82" fmla="*/ 574500 h 857250"/>
                    <a:gd name="connsiteX83" fmla="*/ 329165 w 767257"/>
                    <a:gd name="connsiteY83" fmla="*/ 558403 h 857250"/>
                    <a:gd name="connsiteX84" fmla="*/ 318745 w 767257"/>
                    <a:gd name="connsiteY84" fmla="*/ 556517 h 857250"/>
                    <a:gd name="connsiteX85" fmla="*/ 295065 w 767257"/>
                    <a:gd name="connsiteY85" fmla="*/ 561727 h 857250"/>
                    <a:gd name="connsiteX86" fmla="*/ 261918 w 767257"/>
                    <a:gd name="connsiteY86" fmla="*/ 566928 h 857250"/>
                    <a:gd name="connsiteX87" fmla="*/ 230191 w 767257"/>
                    <a:gd name="connsiteY87" fmla="*/ 557460 h 857250"/>
                    <a:gd name="connsiteX88" fmla="*/ 218827 w 767257"/>
                    <a:gd name="connsiteY88" fmla="*/ 521941 h 857250"/>
                    <a:gd name="connsiteX89" fmla="*/ 254346 w 767257"/>
                    <a:gd name="connsiteY89" fmla="*/ 466058 h 857250"/>
                    <a:gd name="connsiteX90" fmla="*/ 281816 w 767257"/>
                    <a:gd name="connsiteY90" fmla="*/ 434330 h 857250"/>
                    <a:gd name="connsiteX91" fmla="*/ 269034 w 767257"/>
                    <a:gd name="connsiteY91" fmla="*/ 415862 h 857250"/>
                    <a:gd name="connsiteX92" fmla="*/ 248660 w 767257"/>
                    <a:gd name="connsiteY92" fmla="*/ 406870 h 857250"/>
                    <a:gd name="connsiteX93" fmla="*/ 242040 w 767257"/>
                    <a:gd name="connsiteY93" fmla="*/ 408280 h 857250"/>
                    <a:gd name="connsiteX94" fmla="*/ 238716 w 767257"/>
                    <a:gd name="connsiteY94" fmla="*/ 423443 h 857250"/>
                    <a:gd name="connsiteX95" fmla="*/ 186147 w 767257"/>
                    <a:gd name="connsiteY95" fmla="*/ 459438 h 857250"/>
                    <a:gd name="connsiteX96" fmla="*/ 157734 w 767257"/>
                    <a:gd name="connsiteY96" fmla="*/ 453276 h 857250"/>
                    <a:gd name="connsiteX97" fmla="*/ 141161 w 767257"/>
                    <a:gd name="connsiteY97" fmla="*/ 427234 h 857250"/>
                    <a:gd name="connsiteX98" fmla="*/ 157248 w 767257"/>
                    <a:gd name="connsiteY98" fmla="*/ 391239 h 857250"/>
                    <a:gd name="connsiteX99" fmla="*/ 169088 w 767257"/>
                    <a:gd name="connsiteY99" fmla="*/ 366617 h 857250"/>
                    <a:gd name="connsiteX100" fmla="*/ 164830 w 767257"/>
                    <a:gd name="connsiteY100" fmla="*/ 353349 h 857250"/>
                    <a:gd name="connsiteX101" fmla="*/ 134055 w 767257"/>
                    <a:gd name="connsiteY101" fmla="*/ 343881 h 857250"/>
                    <a:gd name="connsiteX102" fmla="*/ 124101 w 767257"/>
                    <a:gd name="connsiteY102" fmla="*/ 338195 h 857250"/>
                    <a:gd name="connsiteX103" fmla="*/ 123634 w 767257"/>
                    <a:gd name="connsiteY103" fmla="*/ 326831 h 857250"/>
                    <a:gd name="connsiteX104" fmla="*/ 151105 w 767257"/>
                    <a:gd name="connsiteY104" fmla="*/ 292246 h 857250"/>
                    <a:gd name="connsiteX105" fmla="*/ 159629 w 767257"/>
                    <a:gd name="connsiteY105" fmla="*/ 258156 h 857250"/>
                    <a:gd name="connsiteX106" fmla="*/ 153476 w 767257"/>
                    <a:gd name="connsiteY106" fmla="*/ 230210 h 857250"/>
                    <a:gd name="connsiteX107" fmla="*/ 130264 w 767257"/>
                    <a:gd name="connsiteY107" fmla="*/ 223571 h 857250"/>
                    <a:gd name="connsiteX108" fmla="*/ 112243 w 767257"/>
                    <a:gd name="connsiteY108" fmla="*/ 225914 h 857250"/>
                    <a:gd name="connsiteX109" fmla="*/ 309267 w 767257"/>
                    <a:gd name="connsiteY109" fmla="*/ 81458 h 857250"/>
                    <a:gd name="connsiteX110" fmla="*/ 367036 w 767257"/>
                    <a:gd name="connsiteY110" fmla="*/ 99470 h 857250"/>
                    <a:gd name="connsiteX111" fmla="*/ 385039 w 767257"/>
                    <a:gd name="connsiteY111" fmla="*/ 112728 h 857250"/>
                    <a:gd name="connsiteX112" fmla="*/ 400669 w 767257"/>
                    <a:gd name="connsiteY112" fmla="*/ 105623 h 857250"/>
                    <a:gd name="connsiteX113" fmla="*/ 415833 w 767257"/>
                    <a:gd name="connsiteY113" fmla="*/ 55416 h 857250"/>
                    <a:gd name="connsiteX114" fmla="*/ 411566 w 767257"/>
                    <a:gd name="connsiteY114" fmla="*/ 27003 h 857250"/>
                    <a:gd name="connsiteX115" fmla="*/ 411099 w 767257"/>
                    <a:gd name="connsiteY115" fmla="*/ 24165 h 857250"/>
                    <a:gd name="connsiteX116" fmla="*/ 222599 w 767257"/>
                    <a:gd name="connsiteY116" fmla="*/ 86678 h 857250"/>
                    <a:gd name="connsiteX117" fmla="*/ 232067 w 767257"/>
                    <a:gd name="connsiteY117" fmla="*/ 99936 h 857250"/>
                    <a:gd name="connsiteX118" fmla="*/ 248641 w 767257"/>
                    <a:gd name="connsiteY118" fmla="*/ 114624 h 857250"/>
                    <a:gd name="connsiteX119" fmla="*/ 252432 w 767257"/>
                    <a:gd name="connsiteY119" fmla="*/ 112728 h 857250"/>
                    <a:gd name="connsiteX120" fmla="*/ 264271 w 767257"/>
                    <a:gd name="connsiteY120" fmla="*/ 101832 h 857250"/>
                    <a:gd name="connsiteX121" fmla="*/ 309267 w 767257"/>
                    <a:gd name="connsiteY121" fmla="*/ 81458 h 857250"/>
                    <a:gd name="connsiteX122" fmla="*/ 281797 w 767257"/>
                    <a:gd name="connsiteY122" fmla="*/ 117929 h 857250"/>
                    <a:gd name="connsiteX123" fmla="*/ 248650 w 767257"/>
                    <a:gd name="connsiteY123" fmla="*/ 138293 h 857250"/>
                    <a:gd name="connsiteX124" fmla="*/ 213608 w 767257"/>
                    <a:gd name="connsiteY124" fmla="*/ 115091 h 857250"/>
                    <a:gd name="connsiteX125" fmla="*/ 204130 w 767257"/>
                    <a:gd name="connsiteY125" fmla="*/ 101356 h 857250"/>
                    <a:gd name="connsiteX126" fmla="*/ 198444 w 767257"/>
                    <a:gd name="connsiteY126" fmla="*/ 106566 h 857250"/>
                    <a:gd name="connsiteX127" fmla="*/ 181394 w 767257"/>
                    <a:gd name="connsiteY127" fmla="*/ 105613 h 857250"/>
                    <a:gd name="connsiteX128" fmla="*/ 178556 w 767257"/>
                    <a:gd name="connsiteY128" fmla="*/ 97088 h 857250"/>
                    <a:gd name="connsiteX129" fmla="*/ 182337 w 767257"/>
                    <a:gd name="connsiteY129" fmla="*/ 89030 h 857250"/>
                    <a:gd name="connsiteX130" fmla="*/ 200806 w 767257"/>
                    <a:gd name="connsiteY130" fmla="*/ 73400 h 857250"/>
                    <a:gd name="connsiteX131" fmla="*/ 415833 w 767257"/>
                    <a:gd name="connsiteY131" fmla="*/ 0 h 857250"/>
                    <a:gd name="connsiteX132" fmla="*/ 420567 w 767257"/>
                    <a:gd name="connsiteY132" fmla="*/ 0 h 857250"/>
                    <a:gd name="connsiteX133" fmla="*/ 421043 w 767257"/>
                    <a:gd name="connsiteY133" fmla="*/ 476 h 857250"/>
                    <a:gd name="connsiteX134" fmla="*/ 629898 w 767257"/>
                    <a:gd name="connsiteY134" fmla="*/ 72466 h 857250"/>
                    <a:gd name="connsiteX135" fmla="*/ 664474 w 767257"/>
                    <a:gd name="connsiteY135" fmla="*/ 103251 h 857250"/>
                    <a:gd name="connsiteX136" fmla="*/ 720357 w 767257"/>
                    <a:gd name="connsiteY136" fmla="*/ 173812 h 857250"/>
                    <a:gd name="connsiteX137" fmla="*/ 720357 w 767257"/>
                    <a:gd name="connsiteY137" fmla="*/ 174288 h 857250"/>
                    <a:gd name="connsiteX138" fmla="*/ 756828 w 767257"/>
                    <a:gd name="connsiteY138" fmla="*/ 262861 h 857250"/>
                    <a:gd name="connsiteX139" fmla="*/ 755409 w 767257"/>
                    <a:gd name="connsiteY139" fmla="*/ 271853 h 857250"/>
                    <a:gd name="connsiteX140" fmla="*/ 748303 w 767257"/>
                    <a:gd name="connsiteY140" fmla="*/ 277073 h 857250"/>
                    <a:gd name="connsiteX141" fmla="*/ 739311 w 767257"/>
                    <a:gd name="connsiteY141" fmla="*/ 275644 h 857250"/>
                    <a:gd name="connsiteX142" fmla="*/ 734101 w 767257"/>
                    <a:gd name="connsiteY142" fmla="*/ 268548 h 857250"/>
                    <a:gd name="connsiteX143" fmla="*/ 703317 w 767257"/>
                    <a:gd name="connsiteY143" fmla="*/ 192291 h 857250"/>
                    <a:gd name="connsiteX144" fmla="*/ 680114 w 767257"/>
                    <a:gd name="connsiteY144" fmla="*/ 194662 h 857250"/>
                    <a:gd name="connsiteX145" fmla="*/ 671579 w 767257"/>
                    <a:gd name="connsiteY145" fmla="*/ 201292 h 857250"/>
                    <a:gd name="connsiteX146" fmla="*/ 676789 w 767257"/>
                    <a:gd name="connsiteY146" fmla="*/ 219751 h 857250"/>
                    <a:gd name="connsiteX147" fmla="*/ 682943 w 767257"/>
                    <a:gd name="connsiteY147" fmla="*/ 248164 h 857250"/>
                    <a:gd name="connsiteX148" fmla="*/ 674884 w 767257"/>
                    <a:gd name="connsiteY148" fmla="*/ 272796 h 857250"/>
                    <a:gd name="connsiteX149" fmla="*/ 652634 w 767257"/>
                    <a:gd name="connsiteY149" fmla="*/ 281797 h 857250"/>
                    <a:gd name="connsiteX150" fmla="*/ 621373 w 767257"/>
                    <a:gd name="connsiteY150" fmla="*/ 275634 h 857250"/>
                    <a:gd name="connsiteX151" fmla="*/ 601475 w 767257"/>
                    <a:gd name="connsiteY151" fmla="*/ 247221 h 857250"/>
                    <a:gd name="connsiteX152" fmla="*/ 601475 w 767257"/>
                    <a:gd name="connsiteY152" fmla="*/ 245335 h 857250"/>
                    <a:gd name="connsiteX153" fmla="*/ 606209 w 767257"/>
                    <a:gd name="connsiteY153" fmla="*/ 213598 h 857250"/>
                    <a:gd name="connsiteX154" fmla="*/ 592950 w 767257"/>
                    <a:gd name="connsiteY154" fmla="*/ 179499 h 857250"/>
                    <a:gd name="connsiteX155" fmla="*/ 576853 w 767257"/>
                    <a:gd name="connsiteY155" fmla="*/ 133560 h 857250"/>
                    <a:gd name="connsiteX156" fmla="*/ 603847 w 767257"/>
                    <a:gd name="connsiteY156" fmla="*/ 82410 h 857250"/>
                    <a:gd name="connsiteX157" fmla="*/ 435245 w 767257"/>
                    <a:gd name="connsiteY157" fmla="*/ 24155 h 857250"/>
                    <a:gd name="connsiteX158" fmla="*/ 439503 w 767257"/>
                    <a:gd name="connsiteY158" fmla="*/ 55407 h 857250"/>
                    <a:gd name="connsiteX159" fmla="*/ 416290 w 767257"/>
                    <a:gd name="connsiteY159" fmla="*/ 123130 h 857250"/>
                    <a:gd name="connsiteX160" fmla="*/ 381238 w 767257"/>
                    <a:gd name="connsiteY160" fmla="*/ 136865 h 857250"/>
                    <a:gd name="connsiteX161" fmla="*/ 373666 w 767257"/>
                    <a:gd name="connsiteY161" fmla="*/ 134017 h 857250"/>
                    <a:gd name="connsiteX162" fmla="*/ 353301 w 767257"/>
                    <a:gd name="connsiteY162" fmla="*/ 118862 h 857250"/>
                    <a:gd name="connsiteX163" fmla="*/ 309258 w 767257"/>
                    <a:gd name="connsiteY163" fmla="*/ 105127 h 857250"/>
                    <a:gd name="connsiteX164" fmla="*/ 281797 w 767257"/>
                    <a:gd name="connsiteY164" fmla="*/ 117929 h 857250"/>
                    <a:gd name="connsiteX165" fmla="*/ 316363 w 767257"/>
                    <a:gd name="connsiteY165" fmla="*/ 230648 h 857250"/>
                    <a:gd name="connsiteX166" fmla="*/ 349987 w 767257"/>
                    <a:gd name="connsiteY166" fmla="*/ 242964 h 857250"/>
                    <a:gd name="connsiteX167" fmla="*/ 364665 w 767257"/>
                    <a:gd name="connsiteY167" fmla="*/ 275644 h 857250"/>
                    <a:gd name="connsiteX168" fmla="*/ 349987 w 767257"/>
                    <a:gd name="connsiteY168" fmla="*/ 307858 h 857250"/>
                    <a:gd name="connsiteX169" fmla="*/ 316363 w 767257"/>
                    <a:gd name="connsiteY169" fmla="*/ 321583 h 857250"/>
                    <a:gd name="connsiteX170" fmla="*/ 282264 w 767257"/>
                    <a:gd name="connsiteY170" fmla="*/ 307381 h 857250"/>
                    <a:gd name="connsiteX171" fmla="*/ 267586 w 767257"/>
                    <a:gd name="connsiteY171" fmla="*/ 275644 h 857250"/>
                    <a:gd name="connsiteX172" fmla="*/ 282264 w 767257"/>
                    <a:gd name="connsiteY172" fmla="*/ 242964 h 857250"/>
                    <a:gd name="connsiteX173" fmla="*/ 316363 w 767257"/>
                    <a:gd name="connsiteY173" fmla="*/ 230648 h 857250"/>
                    <a:gd name="connsiteX174" fmla="*/ 291275 w 767257"/>
                    <a:gd name="connsiteY174" fmla="*/ 275634 h 857250"/>
                    <a:gd name="connsiteX175" fmla="*/ 298371 w 767257"/>
                    <a:gd name="connsiteY175" fmla="*/ 290322 h 857250"/>
                    <a:gd name="connsiteX176" fmla="*/ 316373 w 767257"/>
                    <a:gd name="connsiteY176" fmla="*/ 297904 h 857250"/>
                    <a:gd name="connsiteX177" fmla="*/ 333899 w 767257"/>
                    <a:gd name="connsiteY177" fmla="*/ 290798 h 857250"/>
                    <a:gd name="connsiteX178" fmla="*/ 341005 w 767257"/>
                    <a:gd name="connsiteY178" fmla="*/ 275634 h 857250"/>
                    <a:gd name="connsiteX179" fmla="*/ 333899 w 767257"/>
                    <a:gd name="connsiteY179" fmla="*/ 260004 h 857250"/>
                    <a:gd name="connsiteX180" fmla="*/ 316373 w 767257"/>
                    <a:gd name="connsiteY180" fmla="*/ 254318 h 857250"/>
                    <a:gd name="connsiteX181" fmla="*/ 298371 w 767257"/>
                    <a:gd name="connsiteY181" fmla="*/ 260471 h 857250"/>
                    <a:gd name="connsiteX182" fmla="*/ 291275 w 767257"/>
                    <a:gd name="connsiteY182" fmla="*/ 275634 h 857250"/>
                    <a:gd name="connsiteX183" fmla="*/ 23679 w 767257"/>
                    <a:gd name="connsiteY183" fmla="*/ 344310 h 857250"/>
                    <a:gd name="connsiteX184" fmla="*/ 23679 w 767257"/>
                    <a:gd name="connsiteY184" fmla="*/ 350472 h 857250"/>
                    <a:gd name="connsiteX185" fmla="*/ 83363 w 767257"/>
                    <a:gd name="connsiteY185" fmla="*/ 559337 h 857250"/>
                    <a:gd name="connsiteX186" fmla="*/ 84773 w 767257"/>
                    <a:gd name="connsiteY186" fmla="*/ 568338 h 857250"/>
                    <a:gd name="connsiteX187" fmla="*/ 80039 w 767257"/>
                    <a:gd name="connsiteY187" fmla="*/ 575434 h 857250"/>
                    <a:gd name="connsiteX188" fmla="*/ 73409 w 767257"/>
                    <a:gd name="connsiteY188" fmla="*/ 577806 h 857250"/>
                    <a:gd name="connsiteX189" fmla="*/ 63465 w 767257"/>
                    <a:gd name="connsiteY189" fmla="*/ 572119 h 857250"/>
                    <a:gd name="connsiteX190" fmla="*/ 0 w 767257"/>
                    <a:gd name="connsiteY190" fmla="*/ 350463 h 857250"/>
                    <a:gd name="connsiteX191" fmla="*/ 0 w 767257"/>
                    <a:gd name="connsiteY191" fmla="*/ 344300 h 857250"/>
                    <a:gd name="connsiteX192" fmla="*/ 3791 w 767257"/>
                    <a:gd name="connsiteY192" fmla="*/ 335775 h 857250"/>
                    <a:gd name="connsiteX193" fmla="*/ 11840 w 767257"/>
                    <a:gd name="connsiteY193" fmla="*/ 332451 h 857250"/>
                    <a:gd name="connsiteX194" fmla="*/ 20374 w 767257"/>
                    <a:gd name="connsiteY194" fmla="*/ 335775 h 857250"/>
                    <a:gd name="connsiteX195" fmla="*/ 23679 w 767257"/>
                    <a:gd name="connsiteY195" fmla="*/ 344310 h 857250"/>
                    <a:gd name="connsiteX196" fmla="*/ 120291 w 767257"/>
                    <a:gd name="connsiteY196" fmla="*/ 608124 h 857250"/>
                    <a:gd name="connsiteX197" fmla="*/ 138293 w 767257"/>
                    <a:gd name="connsiteY197" fmla="*/ 627069 h 857250"/>
                    <a:gd name="connsiteX198" fmla="*/ 414404 w 767257"/>
                    <a:gd name="connsiteY198" fmla="*/ 741207 h 857250"/>
                    <a:gd name="connsiteX199" fmla="*/ 430035 w 767257"/>
                    <a:gd name="connsiteY199" fmla="*/ 741207 h 857250"/>
                    <a:gd name="connsiteX200" fmla="*/ 541801 w 767257"/>
                    <a:gd name="connsiteY200" fmla="*/ 721319 h 857250"/>
                    <a:gd name="connsiteX201" fmla="*/ 550802 w 767257"/>
                    <a:gd name="connsiteY201" fmla="*/ 722271 h 857250"/>
                    <a:gd name="connsiteX202" fmla="*/ 556955 w 767257"/>
                    <a:gd name="connsiteY202" fmla="*/ 728891 h 857250"/>
                    <a:gd name="connsiteX203" fmla="*/ 556012 w 767257"/>
                    <a:gd name="connsiteY203" fmla="*/ 737892 h 857250"/>
                    <a:gd name="connsiteX204" fmla="*/ 549383 w 767257"/>
                    <a:gd name="connsiteY204" fmla="*/ 744045 h 857250"/>
                    <a:gd name="connsiteX205" fmla="*/ 441874 w 767257"/>
                    <a:gd name="connsiteY205" fmla="*/ 764410 h 857250"/>
                    <a:gd name="connsiteX206" fmla="*/ 441874 w 767257"/>
                    <a:gd name="connsiteY206" fmla="*/ 833561 h 857250"/>
                    <a:gd name="connsiteX207" fmla="*/ 481660 w 767257"/>
                    <a:gd name="connsiteY207" fmla="*/ 833561 h 857250"/>
                    <a:gd name="connsiteX208" fmla="*/ 489709 w 767257"/>
                    <a:gd name="connsiteY208" fmla="*/ 836876 h 857250"/>
                    <a:gd name="connsiteX209" fmla="*/ 493500 w 767257"/>
                    <a:gd name="connsiteY209" fmla="*/ 845410 h 857250"/>
                    <a:gd name="connsiteX210" fmla="*/ 489709 w 767257"/>
                    <a:gd name="connsiteY210" fmla="*/ 853459 h 857250"/>
                    <a:gd name="connsiteX211" fmla="*/ 481660 w 767257"/>
                    <a:gd name="connsiteY211" fmla="*/ 857250 h 857250"/>
                    <a:gd name="connsiteX212" fmla="*/ 374152 w 767257"/>
                    <a:gd name="connsiteY212" fmla="*/ 857250 h 857250"/>
                    <a:gd name="connsiteX213" fmla="*/ 365617 w 767257"/>
                    <a:gd name="connsiteY213" fmla="*/ 853459 h 857250"/>
                    <a:gd name="connsiteX214" fmla="*/ 362302 w 767257"/>
                    <a:gd name="connsiteY214" fmla="*/ 845410 h 857250"/>
                    <a:gd name="connsiteX215" fmla="*/ 365617 w 767257"/>
                    <a:gd name="connsiteY215" fmla="*/ 836876 h 857250"/>
                    <a:gd name="connsiteX216" fmla="*/ 374152 w 767257"/>
                    <a:gd name="connsiteY216" fmla="*/ 833561 h 857250"/>
                    <a:gd name="connsiteX217" fmla="*/ 418195 w 767257"/>
                    <a:gd name="connsiteY217" fmla="*/ 833561 h 857250"/>
                    <a:gd name="connsiteX218" fmla="*/ 418195 w 767257"/>
                    <a:gd name="connsiteY218" fmla="*/ 764886 h 857250"/>
                    <a:gd name="connsiteX219" fmla="*/ 414414 w 767257"/>
                    <a:gd name="connsiteY219" fmla="*/ 764886 h 857250"/>
                    <a:gd name="connsiteX220" fmla="*/ 121720 w 767257"/>
                    <a:gd name="connsiteY220" fmla="*/ 643642 h 857250"/>
                    <a:gd name="connsiteX221" fmla="*/ 102775 w 767257"/>
                    <a:gd name="connsiteY221" fmla="*/ 623745 h 857250"/>
                    <a:gd name="connsiteX222" fmla="*/ 99936 w 767257"/>
                    <a:gd name="connsiteY222" fmla="*/ 615220 h 857250"/>
                    <a:gd name="connsiteX223" fmla="*/ 103718 w 767257"/>
                    <a:gd name="connsiteY223" fmla="*/ 607162 h 857250"/>
                    <a:gd name="connsiteX224" fmla="*/ 112243 w 767257"/>
                    <a:gd name="connsiteY224" fmla="*/ 604323 h 857250"/>
                    <a:gd name="connsiteX225" fmla="*/ 120291 w 767257"/>
                    <a:gd name="connsiteY225" fmla="*/ 608124 h 857250"/>
                    <a:gd name="connsiteX226" fmla="*/ 385991 w 767257"/>
                    <a:gd name="connsiteY226" fmla="*/ 213131 h 857250"/>
                    <a:gd name="connsiteX227" fmla="*/ 420091 w 767257"/>
                    <a:gd name="connsiteY227" fmla="*/ 262861 h 857250"/>
                    <a:gd name="connsiteX228" fmla="*/ 463182 w 767257"/>
                    <a:gd name="connsiteY228" fmla="*/ 334851 h 857250"/>
                    <a:gd name="connsiteX229" fmla="*/ 441398 w 767257"/>
                    <a:gd name="connsiteY229" fmla="*/ 377485 h 857250"/>
                    <a:gd name="connsiteX230" fmla="*/ 425301 w 767257"/>
                    <a:gd name="connsiteY230" fmla="*/ 405898 h 857250"/>
                    <a:gd name="connsiteX231" fmla="*/ 452295 w 767257"/>
                    <a:gd name="connsiteY231" fmla="*/ 419624 h 857250"/>
                    <a:gd name="connsiteX232" fmla="*/ 530914 w 767257"/>
                    <a:gd name="connsiteY232" fmla="*/ 420100 h 857250"/>
                    <a:gd name="connsiteX233" fmla="*/ 560280 w 767257"/>
                    <a:gd name="connsiteY233" fmla="*/ 419624 h 857250"/>
                    <a:gd name="connsiteX234" fmla="*/ 613791 w 767257"/>
                    <a:gd name="connsiteY234" fmla="*/ 422472 h 857250"/>
                    <a:gd name="connsiteX235" fmla="*/ 660683 w 767257"/>
                    <a:gd name="connsiteY235" fmla="*/ 464153 h 857250"/>
                    <a:gd name="connsiteX236" fmla="*/ 595798 w 767257"/>
                    <a:gd name="connsiteY236" fmla="*/ 541820 h 857250"/>
                    <a:gd name="connsiteX237" fmla="*/ 543697 w 767257"/>
                    <a:gd name="connsiteY237" fmla="*/ 599132 h 857250"/>
                    <a:gd name="connsiteX238" fmla="*/ 564537 w 767257"/>
                    <a:gd name="connsiteY238" fmla="*/ 634651 h 857250"/>
                    <a:gd name="connsiteX239" fmla="*/ 570224 w 767257"/>
                    <a:gd name="connsiteY239" fmla="*/ 641756 h 857250"/>
                    <a:gd name="connsiteX240" fmla="*/ 647891 w 767257"/>
                    <a:gd name="connsiteY240" fmla="*/ 583502 h 857250"/>
                    <a:gd name="connsiteX241" fmla="*/ 735511 w 767257"/>
                    <a:gd name="connsiteY241" fmla="*/ 428149 h 857250"/>
                    <a:gd name="connsiteX242" fmla="*/ 709927 w 767257"/>
                    <a:gd name="connsiteY242" fmla="*/ 414414 h 857250"/>
                    <a:gd name="connsiteX243" fmla="*/ 696668 w 767257"/>
                    <a:gd name="connsiteY243" fmla="*/ 382686 h 857250"/>
                    <a:gd name="connsiteX244" fmla="*/ 687191 w 767257"/>
                    <a:gd name="connsiteY244" fmla="*/ 362322 h 857250"/>
                    <a:gd name="connsiteX245" fmla="*/ 642671 w 767257"/>
                    <a:gd name="connsiteY245" fmla="*/ 352844 h 857250"/>
                    <a:gd name="connsiteX246" fmla="*/ 617572 w 767257"/>
                    <a:gd name="connsiteY246" fmla="*/ 358054 h 857250"/>
                    <a:gd name="connsiteX247" fmla="*/ 579215 w 767257"/>
                    <a:gd name="connsiteY247" fmla="*/ 364684 h 857250"/>
                    <a:gd name="connsiteX248" fmla="*/ 535638 w 767257"/>
                    <a:gd name="connsiteY248" fmla="*/ 329165 h 857250"/>
                    <a:gd name="connsiteX249" fmla="*/ 518589 w 767257"/>
                    <a:gd name="connsiteY249" fmla="*/ 267119 h 857250"/>
                    <a:gd name="connsiteX250" fmla="*/ 436655 w 767257"/>
                    <a:gd name="connsiteY250" fmla="*/ 187081 h 857250"/>
                    <a:gd name="connsiteX251" fmla="*/ 392135 w 767257"/>
                    <a:gd name="connsiteY251" fmla="*/ 197501 h 857250"/>
                    <a:gd name="connsiteX252" fmla="*/ 385991 w 767257"/>
                    <a:gd name="connsiteY252" fmla="*/ 213131 h 857250"/>
                    <a:gd name="connsiteX253" fmla="*/ 622783 w 767257"/>
                    <a:gd name="connsiteY253" fmla="*/ 97088 h 857250"/>
                    <a:gd name="connsiteX254" fmla="*/ 600532 w 767257"/>
                    <a:gd name="connsiteY254" fmla="*/ 133550 h 857250"/>
                    <a:gd name="connsiteX255" fmla="*/ 614258 w 767257"/>
                    <a:gd name="connsiteY255" fmla="*/ 169069 h 857250"/>
                    <a:gd name="connsiteX256" fmla="*/ 629888 w 767257"/>
                    <a:gd name="connsiteY256" fmla="*/ 214065 h 857250"/>
                    <a:gd name="connsiteX257" fmla="*/ 629888 w 767257"/>
                    <a:gd name="connsiteY257" fmla="*/ 215960 h 857250"/>
                    <a:gd name="connsiteX258" fmla="*/ 625154 w 767257"/>
                    <a:gd name="connsiteY258" fmla="*/ 247698 h 857250"/>
                    <a:gd name="connsiteX259" fmla="*/ 630841 w 767257"/>
                    <a:gd name="connsiteY259" fmla="*/ 254318 h 857250"/>
                    <a:gd name="connsiteX260" fmla="*/ 652634 w 767257"/>
                    <a:gd name="connsiteY260" fmla="*/ 258108 h 857250"/>
                    <a:gd name="connsiteX261" fmla="*/ 657368 w 767257"/>
                    <a:gd name="connsiteY261" fmla="*/ 256689 h 857250"/>
                    <a:gd name="connsiteX262" fmla="*/ 659254 w 767257"/>
                    <a:gd name="connsiteY262" fmla="*/ 248155 h 857250"/>
                    <a:gd name="connsiteX263" fmla="*/ 654520 w 767257"/>
                    <a:gd name="connsiteY263" fmla="*/ 227314 h 857250"/>
                    <a:gd name="connsiteX264" fmla="*/ 647891 w 767257"/>
                    <a:gd name="connsiteY264" fmla="*/ 201273 h 857250"/>
                    <a:gd name="connsiteX265" fmla="*/ 689096 w 767257"/>
                    <a:gd name="connsiteY265" fmla="*/ 169059 h 857250"/>
                    <a:gd name="connsiteX266" fmla="*/ 647891 w 767257"/>
                    <a:gd name="connsiteY266" fmla="*/ 119805 h 857250"/>
                    <a:gd name="connsiteX267" fmla="*/ 622783 w 767257"/>
                    <a:gd name="connsiteY267" fmla="*/ 97088 h 857250"/>
                    <a:gd name="connsiteX268" fmla="*/ 470297 w 767257"/>
                    <a:gd name="connsiteY268" fmla="*/ 490195 h 857250"/>
                    <a:gd name="connsiteX269" fmla="*/ 452771 w 767257"/>
                    <a:gd name="connsiteY269" fmla="*/ 496824 h 857250"/>
                    <a:gd name="connsiteX270" fmla="*/ 446141 w 767257"/>
                    <a:gd name="connsiteY270" fmla="*/ 512455 h 857250"/>
                    <a:gd name="connsiteX271" fmla="*/ 452771 w 767257"/>
                    <a:gd name="connsiteY271" fmla="*/ 526656 h 857250"/>
                    <a:gd name="connsiteX272" fmla="*/ 470297 w 767257"/>
                    <a:gd name="connsiteY272" fmla="*/ 533762 h 857250"/>
                    <a:gd name="connsiteX273" fmla="*/ 488299 w 767257"/>
                    <a:gd name="connsiteY273" fmla="*/ 527142 h 857250"/>
                    <a:gd name="connsiteX274" fmla="*/ 494919 w 767257"/>
                    <a:gd name="connsiteY274" fmla="*/ 512455 h 857250"/>
                    <a:gd name="connsiteX275" fmla="*/ 488299 w 767257"/>
                    <a:gd name="connsiteY275" fmla="*/ 496357 h 857250"/>
                    <a:gd name="connsiteX276" fmla="*/ 470297 w 767257"/>
                    <a:gd name="connsiteY276" fmla="*/ 490195 h 857250"/>
                    <a:gd name="connsiteX277" fmla="*/ 504396 w 767257"/>
                    <a:gd name="connsiteY277" fmla="*/ 479298 h 857250"/>
                    <a:gd name="connsiteX278" fmla="*/ 518598 w 767257"/>
                    <a:gd name="connsiteY278" fmla="*/ 512445 h 857250"/>
                    <a:gd name="connsiteX279" fmla="*/ 504396 w 767257"/>
                    <a:gd name="connsiteY279" fmla="*/ 544182 h 857250"/>
                    <a:gd name="connsiteX280" fmla="*/ 470297 w 767257"/>
                    <a:gd name="connsiteY280" fmla="*/ 557441 h 857250"/>
                    <a:gd name="connsiteX281" fmla="*/ 436674 w 767257"/>
                    <a:gd name="connsiteY281" fmla="*/ 543716 h 857250"/>
                    <a:gd name="connsiteX282" fmla="*/ 422462 w 767257"/>
                    <a:gd name="connsiteY282" fmla="*/ 512455 h 857250"/>
                    <a:gd name="connsiteX283" fmla="*/ 436674 w 767257"/>
                    <a:gd name="connsiteY283" fmla="*/ 479308 h 857250"/>
                    <a:gd name="connsiteX284" fmla="*/ 470297 w 767257"/>
                    <a:gd name="connsiteY284" fmla="*/ 466515 h 857250"/>
                    <a:gd name="connsiteX285" fmla="*/ 504396 w 767257"/>
                    <a:gd name="connsiteY285" fmla="*/ 479298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767257" h="857250">
                      <a:moveTo>
                        <a:pt x="130235" y="199863"/>
                      </a:moveTo>
                      <a:cubicBezTo>
                        <a:pt x="149181" y="199863"/>
                        <a:pt x="162763" y="204759"/>
                        <a:pt x="170964" y="214541"/>
                      </a:cubicBezTo>
                      <a:cubicBezTo>
                        <a:pt x="179175" y="224333"/>
                        <a:pt x="183280" y="238858"/>
                        <a:pt x="183280" y="258118"/>
                      </a:cubicBezTo>
                      <a:cubicBezTo>
                        <a:pt x="183280" y="280854"/>
                        <a:pt x="178384" y="297590"/>
                        <a:pt x="168602" y="308324"/>
                      </a:cubicBezTo>
                      <a:lnTo>
                        <a:pt x="155810" y="323002"/>
                      </a:lnTo>
                      <a:cubicBezTo>
                        <a:pt x="180442" y="329003"/>
                        <a:pt x="192748" y="343529"/>
                        <a:pt x="192748" y="366579"/>
                      </a:cubicBezTo>
                      <a:cubicBezTo>
                        <a:pt x="192748" y="375104"/>
                        <a:pt x="187538" y="387572"/>
                        <a:pt x="177117" y="403993"/>
                      </a:cubicBezTo>
                      <a:cubicBezTo>
                        <a:pt x="172383" y="411261"/>
                        <a:pt x="168907" y="417414"/>
                        <a:pt x="166697" y="422462"/>
                      </a:cubicBezTo>
                      <a:cubicBezTo>
                        <a:pt x="165430" y="425929"/>
                        <a:pt x="164640" y="427673"/>
                        <a:pt x="164325" y="427673"/>
                      </a:cubicBezTo>
                      <a:cubicBezTo>
                        <a:pt x="164640" y="427987"/>
                        <a:pt x="166068" y="429558"/>
                        <a:pt x="168592" y="432406"/>
                      </a:cubicBezTo>
                      <a:cubicBezTo>
                        <a:pt x="173641" y="434616"/>
                        <a:pt x="179489" y="435731"/>
                        <a:pt x="186118" y="435731"/>
                      </a:cubicBezTo>
                      <a:cubicBezTo>
                        <a:pt x="203473" y="435731"/>
                        <a:pt x="213274" y="430206"/>
                        <a:pt x="215475" y="419157"/>
                      </a:cubicBezTo>
                      <a:cubicBezTo>
                        <a:pt x="217370" y="408727"/>
                        <a:pt x="219104" y="401479"/>
                        <a:pt x="220685" y="397364"/>
                      </a:cubicBezTo>
                      <a:cubicBezTo>
                        <a:pt x="226047" y="387896"/>
                        <a:pt x="235372" y="383162"/>
                        <a:pt x="248631" y="383162"/>
                      </a:cubicBezTo>
                      <a:cubicBezTo>
                        <a:pt x="260318" y="383162"/>
                        <a:pt x="271996" y="387896"/>
                        <a:pt x="283683" y="397364"/>
                      </a:cubicBezTo>
                      <a:cubicBezTo>
                        <a:pt x="298199" y="408423"/>
                        <a:pt x="305467" y="421043"/>
                        <a:pt x="305467" y="435264"/>
                      </a:cubicBezTo>
                      <a:cubicBezTo>
                        <a:pt x="305467" y="445999"/>
                        <a:pt x="293627" y="462096"/>
                        <a:pt x="269948" y="483565"/>
                      </a:cubicBezTo>
                      <a:cubicBezTo>
                        <a:pt x="251641" y="500301"/>
                        <a:pt x="242478" y="513093"/>
                        <a:pt x="242478" y="521922"/>
                      </a:cubicBezTo>
                      <a:cubicBezTo>
                        <a:pt x="242478" y="532038"/>
                        <a:pt x="243897" y="538029"/>
                        <a:pt x="246745" y="539934"/>
                      </a:cubicBezTo>
                      <a:cubicBezTo>
                        <a:pt x="248945" y="542134"/>
                        <a:pt x="254003" y="543249"/>
                        <a:pt x="261899" y="543249"/>
                      </a:cubicBezTo>
                      <a:cubicBezTo>
                        <a:pt x="266633" y="543249"/>
                        <a:pt x="275787" y="541668"/>
                        <a:pt x="289370" y="538505"/>
                      </a:cubicBezTo>
                      <a:cubicBezTo>
                        <a:pt x="303886" y="534724"/>
                        <a:pt x="313687" y="532829"/>
                        <a:pt x="318735" y="532829"/>
                      </a:cubicBezTo>
                      <a:cubicBezTo>
                        <a:pt x="327260" y="532829"/>
                        <a:pt x="334994" y="534714"/>
                        <a:pt x="341948" y="538505"/>
                      </a:cubicBezTo>
                      <a:cubicBezTo>
                        <a:pt x="350149" y="543563"/>
                        <a:pt x="354263" y="549878"/>
                        <a:pt x="354263" y="557451"/>
                      </a:cubicBezTo>
                      <a:cubicBezTo>
                        <a:pt x="354263" y="559346"/>
                        <a:pt x="350625" y="568357"/>
                        <a:pt x="343357" y="584445"/>
                      </a:cubicBezTo>
                      <a:cubicBezTo>
                        <a:pt x="337995" y="597075"/>
                        <a:pt x="334994" y="605133"/>
                        <a:pt x="334366" y="608609"/>
                      </a:cubicBezTo>
                      <a:cubicBezTo>
                        <a:pt x="334680" y="612077"/>
                        <a:pt x="340681" y="615077"/>
                        <a:pt x="352368" y="617601"/>
                      </a:cubicBezTo>
                      <a:cubicBezTo>
                        <a:pt x="376361" y="622649"/>
                        <a:pt x="388353" y="636232"/>
                        <a:pt x="388353" y="658330"/>
                      </a:cubicBezTo>
                      <a:cubicBezTo>
                        <a:pt x="388353" y="663693"/>
                        <a:pt x="385515" y="670170"/>
                        <a:pt x="379828" y="677742"/>
                      </a:cubicBezTo>
                      <a:cubicBezTo>
                        <a:pt x="395611" y="679009"/>
                        <a:pt x="407613" y="679637"/>
                        <a:pt x="415823" y="679637"/>
                      </a:cubicBezTo>
                      <a:cubicBezTo>
                        <a:pt x="464125" y="679637"/>
                        <a:pt x="508330" y="670636"/>
                        <a:pt x="548430" y="652643"/>
                      </a:cubicBezTo>
                      <a:lnTo>
                        <a:pt x="546068" y="649319"/>
                      </a:lnTo>
                      <a:cubicBezTo>
                        <a:pt x="528695" y="626897"/>
                        <a:pt x="520017" y="610172"/>
                        <a:pt x="520017" y="599113"/>
                      </a:cubicBezTo>
                      <a:cubicBezTo>
                        <a:pt x="520017" y="570062"/>
                        <a:pt x="541649" y="543858"/>
                        <a:pt x="584902" y="520494"/>
                      </a:cubicBezTo>
                      <a:cubicBezTo>
                        <a:pt x="619630" y="501863"/>
                        <a:pt x="637003" y="483070"/>
                        <a:pt x="637003" y="464134"/>
                      </a:cubicBezTo>
                      <a:cubicBezTo>
                        <a:pt x="637003" y="455285"/>
                        <a:pt x="628012" y="449132"/>
                        <a:pt x="610010" y="445665"/>
                      </a:cubicBezTo>
                      <a:cubicBezTo>
                        <a:pt x="597065" y="443455"/>
                        <a:pt x="570862" y="442665"/>
                        <a:pt x="531390" y="443294"/>
                      </a:cubicBezTo>
                      <a:cubicBezTo>
                        <a:pt x="490023" y="444875"/>
                        <a:pt x="462715" y="444713"/>
                        <a:pt x="449456" y="442827"/>
                      </a:cubicBezTo>
                      <a:cubicBezTo>
                        <a:pt x="417557" y="439036"/>
                        <a:pt x="401622" y="426720"/>
                        <a:pt x="401622" y="405879"/>
                      </a:cubicBezTo>
                      <a:cubicBezTo>
                        <a:pt x="401622" y="391030"/>
                        <a:pt x="409204" y="376037"/>
                        <a:pt x="424358" y="360874"/>
                      </a:cubicBezTo>
                      <a:cubicBezTo>
                        <a:pt x="434464" y="350139"/>
                        <a:pt x="439512" y="341462"/>
                        <a:pt x="439512" y="334832"/>
                      </a:cubicBezTo>
                      <a:cubicBezTo>
                        <a:pt x="439512" y="318097"/>
                        <a:pt x="428149" y="300257"/>
                        <a:pt x="405413" y="281311"/>
                      </a:cubicBezTo>
                      <a:cubicBezTo>
                        <a:pt x="376685" y="258270"/>
                        <a:pt x="362321" y="235534"/>
                        <a:pt x="362321" y="213122"/>
                      </a:cubicBezTo>
                      <a:cubicBezTo>
                        <a:pt x="362321" y="179965"/>
                        <a:pt x="387106" y="163382"/>
                        <a:pt x="436683" y="163382"/>
                      </a:cubicBezTo>
                      <a:cubicBezTo>
                        <a:pt x="489090" y="163382"/>
                        <a:pt x="524142" y="195901"/>
                        <a:pt x="541820" y="260947"/>
                      </a:cubicBezTo>
                      <a:lnTo>
                        <a:pt x="557917" y="320621"/>
                      </a:lnTo>
                      <a:cubicBezTo>
                        <a:pt x="563280" y="334204"/>
                        <a:pt x="570395" y="340995"/>
                        <a:pt x="579234" y="340995"/>
                      </a:cubicBezTo>
                      <a:cubicBezTo>
                        <a:pt x="588388" y="340995"/>
                        <a:pt x="598646" y="339252"/>
                        <a:pt x="610010" y="335785"/>
                      </a:cubicBezTo>
                      <a:cubicBezTo>
                        <a:pt x="622325" y="331365"/>
                        <a:pt x="633222" y="329155"/>
                        <a:pt x="642690" y="329155"/>
                      </a:cubicBezTo>
                      <a:cubicBezTo>
                        <a:pt x="670160" y="329155"/>
                        <a:pt x="689896" y="334051"/>
                        <a:pt x="701888" y="343843"/>
                      </a:cubicBezTo>
                      <a:cubicBezTo>
                        <a:pt x="710736" y="350472"/>
                        <a:pt x="716737" y="361674"/>
                        <a:pt x="719890" y="377466"/>
                      </a:cubicBezTo>
                      <a:cubicBezTo>
                        <a:pt x="722424" y="388830"/>
                        <a:pt x="724948" y="395783"/>
                        <a:pt x="727472" y="398307"/>
                      </a:cubicBezTo>
                      <a:cubicBezTo>
                        <a:pt x="730006" y="401469"/>
                        <a:pt x="734101" y="403670"/>
                        <a:pt x="739788" y="404936"/>
                      </a:cubicBezTo>
                      <a:cubicBezTo>
                        <a:pt x="742312" y="389782"/>
                        <a:pt x="743569" y="371942"/>
                        <a:pt x="743569" y="351415"/>
                      </a:cubicBezTo>
                      <a:cubicBezTo>
                        <a:pt x="743569" y="339738"/>
                        <a:pt x="743093" y="328365"/>
                        <a:pt x="742150" y="317316"/>
                      </a:cubicBezTo>
                      <a:cubicBezTo>
                        <a:pt x="741836" y="313849"/>
                        <a:pt x="742779" y="311001"/>
                        <a:pt x="744998" y="308791"/>
                      </a:cubicBezTo>
                      <a:cubicBezTo>
                        <a:pt x="747198" y="306257"/>
                        <a:pt x="749894" y="304838"/>
                        <a:pt x="753047" y="304533"/>
                      </a:cubicBezTo>
                      <a:cubicBezTo>
                        <a:pt x="756209" y="304219"/>
                        <a:pt x="759047" y="305000"/>
                        <a:pt x="761581" y="306896"/>
                      </a:cubicBezTo>
                      <a:cubicBezTo>
                        <a:pt x="764115" y="308791"/>
                        <a:pt x="765524" y="311468"/>
                        <a:pt x="765839" y="314954"/>
                      </a:cubicBezTo>
                      <a:cubicBezTo>
                        <a:pt x="766791" y="326955"/>
                        <a:pt x="767258" y="339100"/>
                        <a:pt x="767258" y="351415"/>
                      </a:cubicBezTo>
                      <a:cubicBezTo>
                        <a:pt x="767258" y="375733"/>
                        <a:pt x="765362" y="398783"/>
                        <a:pt x="761571" y="420567"/>
                      </a:cubicBezTo>
                      <a:cubicBezTo>
                        <a:pt x="747979" y="489404"/>
                        <a:pt x="715613" y="549231"/>
                        <a:pt x="664464" y="600075"/>
                      </a:cubicBezTo>
                      <a:cubicBezTo>
                        <a:pt x="636051" y="628488"/>
                        <a:pt x="605428" y="650910"/>
                        <a:pt x="572586" y="667331"/>
                      </a:cubicBezTo>
                      <a:cubicBezTo>
                        <a:pt x="525218" y="691334"/>
                        <a:pt x="472964" y="703326"/>
                        <a:pt x="415823" y="703326"/>
                      </a:cubicBezTo>
                      <a:cubicBezTo>
                        <a:pt x="395297" y="703326"/>
                        <a:pt x="374933" y="701583"/>
                        <a:pt x="354721" y="698116"/>
                      </a:cubicBezTo>
                      <a:cubicBezTo>
                        <a:pt x="284007" y="686753"/>
                        <a:pt x="221647" y="654063"/>
                        <a:pt x="167659" y="600075"/>
                      </a:cubicBezTo>
                      <a:cubicBezTo>
                        <a:pt x="99146" y="531562"/>
                        <a:pt x="64884" y="448675"/>
                        <a:pt x="64884" y="351425"/>
                      </a:cubicBezTo>
                      <a:cubicBezTo>
                        <a:pt x="64884" y="301219"/>
                        <a:pt x="74200" y="254337"/>
                        <a:pt x="92831" y="210760"/>
                      </a:cubicBezTo>
                      <a:cubicBezTo>
                        <a:pt x="104518" y="184547"/>
                        <a:pt x="119196" y="160239"/>
                        <a:pt x="136874" y="137827"/>
                      </a:cubicBezTo>
                      <a:cubicBezTo>
                        <a:pt x="138770" y="135293"/>
                        <a:pt x="141303" y="133721"/>
                        <a:pt x="144456" y="133083"/>
                      </a:cubicBezTo>
                      <a:cubicBezTo>
                        <a:pt x="147923" y="132779"/>
                        <a:pt x="150933" y="133560"/>
                        <a:pt x="153448" y="135455"/>
                      </a:cubicBezTo>
                      <a:cubicBezTo>
                        <a:pt x="155981" y="137665"/>
                        <a:pt x="157553" y="140351"/>
                        <a:pt x="158182" y="143513"/>
                      </a:cubicBezTo>
                      <a:cubicBezTo>
                        <a:pt x="158496" y="146666"/>
                        <a:pt x="157553" y="149514"/>
                        <a:pt x="155343" y="152038"/>
                      </a:cubicBezTo>
                      <a:cubicBezTo>
                        <a:pt x="143656" y="167821"/>
                        <a:pt x="133245" y="183937"/>
                        <a:pt x="124082" y="200349"/>
                      </a:cubicBezTo>
                      <a:lnTo>
                        <a:pt x="130235" y="199863"/>
                      </a:lnTo>
                      <a:close/>
                      <a:moveTo>
                        <a:pt x="112243" y="225914"/>
                      </a:moveTo>
                      <a:cubicBezTo>
                        <a:pt x="96460" y="263490"/>
                        <a:pt x="88573" y="305324"/>
                        <a:pt x="88573" y="351425"/>
                      </a:cubicBezTo>
                      <a:cubicBezTo>
                        <a:pt x="88573" y="442055"/>
                        <a:pt x="120463" y="519408"/>
                        <a:pt x="184242" y="583502"/>
                      </a:cubicBezTo>
                      <a:cubicBezTo>
                        <a:pt x="232543" y="631803"/>
                        <a:pt x="288588" y="661959"/>
                        <a:pt x="352368" y="673960"/>
                      </a:cubicBezTo>
                      <a:cubicBezTo>
                        <a:pt x="359626" y="666064"/>
                        <a:pt x="363731" y="660540"/>
                        <a:pt x="364674" y="657387"/>
                      </a:cubicBezTo>
                      <a:cubicBezTo>
                        <a:pt x="364674" y="648538"/>
                        <a:pt x="358997" y="643014"/>
                        <a:pt x="347634" y="640813"/>
                      </a:cubicBezTo>
                      <a:cubicBezTo>
                        <a:pt x="323317" y="635765"/>
                        <a:pt x="311163" y="625021"/>
                        <a:pt x="311163" y="608609"/>
                      </a:cubicBezTo>
                      <a:cubicBezTo>
                        <a:pt x="311163" y="602285"/>
                        <a:pt x="314792" y="590931"/>
                        <a:pt x="322059" y="574500"/>
                      </a:cubicBezTo>
                      <a:lnTo>
                        <a:pt x="329165" y="558403"/>
                      </a:lnTo>
                      <a:cubicBezTo>
                        <a:pt x="326965" y="557136"/>
                        <a:pt x="323479" y="556517"/>
                        <a:pt x="318745" y="556517"/>
                      </a:cubicBezTo>
                      <a:cubicBezTo>
                        <a:pt x="315897" y="556517"/>
                        <a:pt x="308010" y="558251"/>
                        <a:pt x="295065" y="561727"/>
                      </a:cubicBezTo>
                      <a:cubicBezTo>
                        <a:pt x="279597" y="565194"/>
                        <a:pt x="268548" y="566928"/>
                        <a:pt x="261918" y="566928"/>
                      </a:cubicBezTo>
                      <a:cubicBezTo>
                        <a:pt x="247393" y="566928"/>
                        <a:pt x="236811" y="563775"/>
                        <a:pt x="230191" y="557460"/>
                      </a:cubicBezTo>
                      <a:cubicBezTo>
                        <a:pt x="222609" y="549888"/>
                        <a:pt x="218827" y="538048"/>
                        <a:pt x="218827" y="521941"/>
                      </a:cubicBezTo>
                      <a:cubicBezTo>
                        <a:pt x="218827" y="506159"/>
                        <a:pt x="230657" y="487528"/>
                        <a:pt x="254346" y="466058"/>
                      </a:cubicBezTo>
                      <a:cubicBezTo>
                        <a:pt x="271082" y="450590"/>
                        <a:pt x="280245" y="440017"/>
                        <a:pt x="281816" y="434330"/>
                      </a:cubicBezTo>
                      <a:cubicBezTo>
                        <a:pt x="281816" y="428644"/>
                        <a:pt x="277559" y="422491"/>
                        <a:pt x="269034" y="415862"/>
                      </a:cubicBezTo>
                      <a:cubicBezTo>
                        <a:pt x="261766" y="409861"/>
                        <a:pt x="254975" y="406870"/>
                        <a:pt x="248660" y="406870"/>
                      </a:cubicBezTo>
                      <a:cubicBezTo>
                        <a:pt x="244878" y="406870"/>
                        <a:pt x="242659" y="407346"/>
                        <a:pt x="242040" y="408280"/>
                      </a:cubicBezTo>
                      <a:lnTo>
                        <a:pt x="238716" y="423443"/>
                      </a:lnTo>
                      <a:cubicBezTo>
                        <a:pt x="234296" y="447437"/>
                        <a:pt x="216770" y="459438"/>
                        <a:pt x="186147" y="459438"/>
                      </a:cubicBezTo>
                      <a:cubicBezTo>
                        <a:pt x="176032" y="459438"/>
                        <a:pt x="166564" y="457381"/>
                        <a:pt x="157734" y="453276"/>
                      </a:cubicBezTo>
                      <a:cubicBezTo>
                        <a:pt x="146675" y="447275"/>
                        <a:pt x="141161" y="438598"/>
                        <a:pt x="141161" y="427234"/>
                      </a:cubicBezTo>
                      <a:cubicBezTo>
                        <a:pt x="141161" y="419652"/>
                        <a:pt x="146523" y="407660"/>
                        <a:pt x="157248" y="391239"/>
                      </a:cubicBezTo>
                      <a:cubicBezTo>
                        <a:pt x="165144" y="378609"/>
                        <a:pt x="169088" y="370399"/>
                        <a:pt x="169088" y="366617"/>
                      </a:cubicBezTo>
                      <a:cubicBezTo>
                        <a:pt x="169088" y="360921"/>
                        <a:pt x="167678" y="356511"/>
                        <a:pt x="164830" y="353349"/>
                      </a:cubicBezTo>
                      <a:cubicBezTo>
                        <a:pt x="159468" y="347663"/>
                        <a:pt x="149200" y="344510"/>
                        <a:pt x="134055" y="343881"/>
                      </a:cubicBezTo>
                      <a:cubicBezTo>
                        <a:pt x="129321" y="343881"/>
                        <a:pt x="125997" y="341986"/>
                        <a:pt x="124101" y="338195"/>
                      </a:cubicBezTo>
                      <a:cubicBezTo>
                        <a:pt x="121901" y="334404"/>
                        <a:pt x="121739" y="330613"/>
                        <a:pt x="123634" y="326831"/>
                      </a:cubicBezTo>
                      <a:cubicBezTo>
                        <a:pt x="128683" y="317983"/>
                        <a:pt x="137836" y="306457"/>
                        <a:pt x="151105" y="292246"/>
                      </a:cubicBezTo>
                      <a:cubicBezTo>
                        <a:pt x="156791" y="286569"/>
                        <a:pt x="159629" y="275206"/>
                        <a:pt x="159629" y="258156"/>
                      </a:cubicBezTo>
                      <a:cubicBezTo>
                        <a:pt x="159629" y="244573"/>
                        <a:pt x="157572" y="235258"/>
                        <a:pt x="153476" y="230210"/>
                      </a:cubicBezTo>
                      <a:cubicBezTo>
                        <a:pt x="149695" y="225781"/>
                        <a:pt x="141951" y="223571"/>
                        <a:pt x="130264" y="223571"/>
                      </a:cubicBezTo>
                      <a:cubicBezTo>
                        <a:pt x="126768" y="223542"/>
                        <a:pt x="120767" y="224342"/>
                        <a:pt x="112243" y="225914"/>
                      </a:cubicBezTo>
                      <a:close/>
                      <a:moveTo>
                        <a:pt x="309267" y="81458"/>
                      </a:moveTo>
                      <a:cubicBezTo>
                        <a:pt x="331051" y="81458"/>
                        <a:pt x="350310" y="87459"/>
                        <a:pt x="367036" y="99470"/>
                      </a:cubicBezTo>
                      <a:lnTo>
                        <a:pt x="385039" y="112728"/>
                      </a:lnTo>
                      <a:cubicBezTo>
                        <a:pt x="390087" y="112414"/>
                        <a:pt x="395297" y="110052"/>
                        <a:pt x="400669" y="105623"/>
                      </a:cubicBezTo>
                      <a:cubicBezTo>
                        <a:pt x="410775" y="96784"/>
                        <a:pt x="415833" y="80048"/>
                        <a:pt x="415833" y="55416"/>
                      </a:cubicBezTo>
                      <a:cubicBezTo>
                        <a:pt x="415833" y="50683"/>
                        <a:pt x="414414" y="41205"/>
                        <a:pt x="411566" y="27003"/>
                      </a:cubicBezTo>
                      <a:lnTo>
                        <a:pt x="411099" y="24165"/>
                      </a:lnTo>
                      <a:cubicBezTo>
                        <a:pt x="340052" y="25108"/>
                        <a:pt x="277216" y="45949"/>
                        <a:pt x="222599" y="86678"/>
                      </a:cubicBezTo>
                      <a:cubicBezTo>
                        <a:pt x="225752" y="92040"/>
                        <a:pt x="228914" y="96460"/>
                        <a:pt x="232067" y="99936"/>
                      </a:cubicBezTo>
                      <a:cubicBezTo>
                        <a:pt x="239649" y="109414"/>
                        <a:pt x="245174" y="114310"/>
                        <a:pt x="248641" y="114624"/>
                      </a:cubicBezTo>
                      <a:lnTo>
                        <a:pt x="252432" y="112728"/>
                      </a:lnTo>
                      <a:cubicBezTo>
                        <a:pt x="255899" y="110519"/>
                        <a:pt x="259842" y="106890"/>
                        <a:pt x="264271" y="101832"/>
                      </a:cubicBezTo>
                      <a:cubicBezTo>
                        <a:pt x="276901" y="88249"/>
                        <a:pt x="291903" y="81458"/>
                        <a:pt x="309267" y="81458"/>
                      </a:cubicBezTo>
                      <a:close/>
                      <a:moveTo>
                        <a:pt x="281797" y="117929"/>
                      </a:moveTo>
                      <a:cubicBezTo>
                        <a:pt x="269177" y="131512"/>
                        <a:pt x="258118" y="138293"/>
                        <a:pt x="248650" y="138293"/>
                      </a:cubicBezTo>
                      <a:cubicBezTo>
                        <a:pt x="237915" y="138293"/>
                        <a:pt x="226228" y="130559"/>
                        <a:pt x="213608" y="115091"/>
                      </a:cubicBezTo>
                      <a:cubicBezTo>
                        <a:pt x="210131" y="111300"/>
                        <a:pt x="206978" y="106718"/>
                        <a:pt x="204130" y="101356"/>
                      </a:cubicBezTo>
                      <a:lnTo>
                        <a:pt x="198444" y="106566"/>
                      </a:lnTo>
                      <a:cubicBezTo>
                        <a:pt x="192443" y="111300"/>
                        <a:pt x="186757" y="110985"/>
                        <a:pt x="181394" y="105613"/>
                      </a:cubicBezTo>
                      <a:cubicBezTo>
                        <a:pt x="179194" y="103413"/>
                        <a:pt x="178241" y="100565"/>
                        <a:pt x="178556" y="97088"/>
                      </a:cubicBezTo>
                      <a:cubicBezTo>
                        <a:pt x="178860" y="93926"/>
                        <a:pt x="180137" y="91250"/>
                        <a:pt x="182337" y="89030"/>
                      </a:cubicBezTo>
                      <a:lnTo>
                        <a:pt x="200806" y="73400"/>
                      </a:lnTo>
                      <a:cubicBezTo>
                        <a:pt x="262700" y="24460"/>
                        <a:pt x="334366" y="0"/>
                        <a:pt x="415833" y="0"/>
                      </a:cubicBezTo>
                      <a:lnTo>
                        <a:pt x="420567" y="0"/>
                      </a:lnTo>
                      <a:lnTo>
                        <a:pt x="421043" y="476"/>
                      </a:lnTo>
                      <a:cubicBezTo>
                        <a:pt x="499653" y="1105"/>
                        <a:pt x="569281" y="25098"/>
                        <a:pt x="629898" y="72466"/>
                      </a:cubicBezTo>
                      <a:cubicBezTo>
                        <a:pt x="644423" y="84153"/>
                        <a:pt x="655949" y="94412"/>
                        <a:pt x="664474" y="103251"/>
                      </a:cubicBezTo>
                      <a:cubicBezTo>
                        <a:pt x="685314" y="123768"/>
                        <a:pt x="703945" y="147295"/>
                        <a:pt x="720357" y="173812"/>
                      </a:cubicBezTo>
                      <a:lnTo>
                        <a:pt x="720357" y="174288"/>
                      </a:lnTo>
                      <a:cubicBezTo>
                        <a:pt x="737092" y="202073"/>
                        <a:pt x="749246" y="231600"/>
                        <a:pt x="756828" y="262861"/>
                      </a:cubicBezTo>
                      <a:cubicBezTo>
                        <a:pt x="757771" y="266014"/>
                        <a:pt x="757304" y="269015"/>
                        <a:pt x="755409" y="271853"/>
                      </a:cubicBezTo>
                      <a:cubicBezTo>
                        <a:pt x="753828" y="274701"/>
                        <a:pt x="751465" y="276425"/>
                        <a:pt x="748303" y="277073"/>
                      </a:cubicBezTo>
                      <a:cubicBezTo>
                        <a:pt x="745150" y="278016"/>
                        <a:pt x="742150" y="277539"/>
                        <a:pt x="739311" y="275644"/>
                      </a:cubicBezTo>
                      <a:cubicBezTo>
                        <a:pt x="736463" y="274072"/>
                        <a:pt x="734739" y="271701"/>
                        <a:pt x="734101" y="268548"/>
                      </a:cubicBezTo>
                      <a:cubicBezTo>
                        <a:pt x="727472" y="241716"/>
                        <a:pt x="717214" y="216294"/>
                        <a:pt x="703317" y="192291"/>
                      </a:cubicBezTo>
                      <a:cubicBezTo>
                        <a:pt x="693849" y="192291"/>
                        <a:pt x="686105" y="193081"/>
                        <a:pt x="680114" y="194662"/>
                      </a:cubicBezTo>
                      <a:cubicBezTo>
                        <a:pt x="674418" y="196558"/>
                        <a:pt x="671579" y="198768"/>
                        <a:pt x="671579" y="201292"/>
                      </a:cubicBezTo>
                      <a:cubicBezTo>
                        <a:pt x="671579" y="204130"/>
                        <a:pt x="673322" y="210283"/>
                        <a:pt x="676789" y="219751"/>
                      </a:cubicBezTo>
                      <a:cubicBezTo>
                        <a:pt x="680895" y="232696"/>
                        <a:pt x="682943" y="242173"/>
                        <a:pt x="682943" y="248164"/>
                      </a:cubicBezTo>
                      <a:cubicBezTo>
                        <a:pt x="682943" y="258594"/>
                        <a:pt x="680256" y="266795"/>
                        <a:pt x="674884" y="272796"/>
                      </a:cubicBezTo>
                      <a:cubicBezTo>
                        <a:pt x="669512" y="278797"/>
                        <a:pt x="662102" y="281797"/>
                        <a:pt x="652634" y="281797"/>
                      </a:cubicBezTo>
                      <a:cubicBezTo>
                        <a:pt x="640947" y="281797"/>
                        <a:pt x="630526" y="279740"/>
                        <a:pt x="621373" y="275634"/>
                      </a:cubicBezTo>
                      <a:cubicBezTo>
                        <a:pt x="608105" y="269634"/>
                        <a:pt x="601475" y="260166"/>
                        <a:pt x="601475" y="247221"/>
                      </a:cubicBezTo>
                      <a:lnTo>
                        <a:pt x="601475" y="245335"/>
                      </a:lnTo>
                      <a:lnTo>
                        <a:pt x="606209" y="213598"/>
                      </a:lnTo>
                      <a:cubicBezTo>
                        <a:pt x="606209" y="209179"/>
                        <a:pt x="601799" y="197815"/>
                        <a:pt x="592950" y="179499"/>
                      </a:cubicBezTo>
                      <a:cubicBezTo>
                        <a:pt x="582216" y="158029"/>
                        <a:pt x="576853" y="142723"/>
                        <a:pt x="576853" y="133560"/>
                      </a:cubicBezTo>
                      <a:cubicBezTo>
                        <a:pt x="576853" y="116205"/>
                        <a:pt x="585845" y="99146"/>
                        <a:pt x="603847" y="82410"/>
                      </a:cubicBezTo>
                      <a:cubicBezTo>
                        <a:pt x="554593" y="47034"/>
                        <a:pt x="498396" y="27623"/>
                        <a:pt x="435245" y="24155"/>
                      </a:cubicBezTo>
                      <a:cubicBezTo>
                        <a:pt x="438083" y="39310"/>
                        <a:pt x="439503" y="49730"/>
                        <a:pt x="439503" y="55407"/>
                      </a:cubicBezTo>
                      <a:cubicBezTo>
                        <a:pt x="439503" y="86982"/>
                        <a:pt x="431768" y="109566"/>
                        <a:pt x="416290" y="123130"/>
                      </a:cubicBezTo>
                      <a:cubicBezTo>
                        <a:pt x="406184" y="132283"/>
                        <a:pt x="394516" y="136865"/>
                        <a:pt x="381238" y="136865"/>
                      </a:cubicBezTo>
                      <a:cubicBezTo>
                        <a:pt x="378085" y="136865"/>
                        <a:pt x="375561" y="135912"/>
                        <a:pt x="373666" y="134017"/>
                      </a:cubicBezTo>
                      <a:lnTo>
                        <a:pt x="353301" y="118862"/>
                      </a:lnTo>
                      <a:cubicBezTo>
                        <a:pt x="340357" y="109699"/>
                        <a:pt x="325669" y="105127"/>
                        <a:pt x="309258" y="105127"/>
                      </a:cubicBezTo>
                      <a:cubicBezTo>
                        <a:pt x="298533" y="105137"/>
                        <a:pt x="289370" y="109404"/>
                        <a:pt x="281797" y="117929"/>
                      </a:cubicBezTo>
                      <a:close/>
                      <a:moveTo>
                        <a:pt x="316363" y="230648"/>
                      </a:moveTo>
                      <a:cubicBezTo>
                        <a:pt x="330260" y="230648"/>
                        <a:pt x="341471" y="234763"/>
                        <a:pt x="349987" y="242964"/>
                      </a:cubicBezTo>
                      <a:cubicBezTo>
                        <a:pt x="359769" y="252441"/>
                        <a:pt x="364665" y="263338"/>
                        <a:pt x="364665" y="275644"/>
                      </a:cubicBezTo>
                      <a:cubicBezTo>
                        <a:pt x="364665" y="288274"/>
                        <a:pt x="359769" y="299009"/>
                        <a:pt x="349987" y="307858"/>
                      </a:cubicBezTo>
                      <a:cubicBezTo>
                        <a:pt x="341462" y="317011"/>
                        <a:pt x="330260" y="321583"/>
                        <a:pt x="316363" y="321583"/>
                      </a:cubicBezTo>
                      <a:cubicBezTo>
                        <a:pt x="302790" y="321583"/>
                        <a:pt x="291427" y="316849"/>
                        <a:pt x="282264" y="307381"/>
                      </a:cubicBezTo>
                      <a:cubicBezTo>
                        <a:pt x="272482" y="299171"/>
                        <a:pt x="267586" y="288588"/>
                        <a:pt x="267586" y="275644"/>
                      </a:cubicBezTo>
                      <a:cubicBezTo>
                        <a:pt x="267586" y="263652"/>
                        <a:pt x="272482" y="252765"/>
                        <a:pt x="282264" y="242964"/>
                      </a:cubicBezTo>
                      <a:cubicBezTo>
                        <a:pt x="291427" y="234753"/>
                        <a:pt x="302800" y="230648"/>
                        <a:pt x="316363" y="230648"/>
                      </a:cubicBezTo>
                      <a:close/>
                      <a:moveTo>
                        <a:pt x="291275" y="275634"/>
                      </a:moveTo>
                      <a:cubicBezTo>
                        <a:pt x="291275" y="281321"/>
                        <a:pt x="293637" y="286217"/>
                        <a:pt x="298371" y="290322"/>
                      </a:cubicBezTo>
                      <a:cubicBezTo>
                        <a:pt x="303428" y="295370"/>
                        <a:pt x="309429" y="297904"/>
                        <a:pt x="316373" y="297904"/>
                      </a:cubicBezTo>
                      <a:cubicBezTo>
                        <a:pt x="323317" y="297904"/>
                        <a:pt x="329165" y="295532"/>
                        <a:pt x="333899" y="290798"/>
                      </a:cubicBezTo>
                      <a:cubicBezTo>
                        <a:pt x="338633" y="286064"/>
                        <a:pt x="341005" y="281016"/>
                        <a:pt x="341005" y="275634"/>
                      </a:cubicBezTo>
                      <a:cubicBezTo>
                        <a:pt x="341005" y="269958"/>
                        <a:pt x="338633" y="264738"/>
                        <a:pt x="333899" y="260004"/>
                      </a:cubicBezTo>
                      <a:cubicBezTo>
                        <a:pt x="329794" y="256223"/>
                        <a:pt x="323955" y="254318"/>
                        <a:pt x="316373" y="254318"/>
                      </a:cubicBezTo>
                      <a:cubicBezTo>
                        <a:pt x="308791" y="254318"/>
                        <a:pt x="302800" y="256375"/>
                        <a:pt x="298371" y="260471"/>
                      </a:cubicBezTo>
                      <a:cubicBezTo>
                        <a:pt x="293637" y="265233"/>
                        <a:pt x="291275" y="270281"/>
                        <a:pt x="291275" y="275634"/>
                      </a:cubicBezTo>
                      <a:close/>
                      <a:moveTo>
                        <a:pt x="23679" y="344310"/>
                      </a:moveTo>
                      <a:lnTo>
                        <a:pt x="23679" y="350472"/>
                      </a:lnTo>
                      <a:cubicBezTo>
                        <a:pt x="23679" y="427825"/>
                        <a:pt x="43577" y="497453"/>
                        <a:pt x="83363" y="559337"/>
                      </a:cubicBezTo>
                      <a:cubicBezTo>
                        <a:pt x="84934" y="562175"/>
                        <a:pt x="85420" y="565175"/>
                        <a:pt x="84773" y="568338"/>
                      </a:cubicBezTo>
                      <a:cubicBezTo>
                        <a:pt x="84144" y="571491"/>
                        <a:pt x="82572" y="573853"/>
                        <a:pt x="80039" y="575434"/>
                      </a:cubicBezTo>
                      <a:cubicBezTo>
                        <a:pt x="77514" y="577015"/>
                        <a:pt x="75305" y="577806"/>
                        <a:pt x="73409" y="577806"/>
                      </a:cubicBezTo>
                      <a:cubicBezTo>
                        <a:pt x="69628" y="577806"/>
                        <a:pt x="66313" y="575910"/>
                        <a:pt x="63465" y="572119"/>
                      </a:cubicBezTo>
                      <a:cubicBezTo>
                        <a:pt x="21165" y="507073"/>
                        <a:pt x="0" y="433187"/>
                        <a:pt x="0" y="350463"/>
                      </a:cubicBezTo>
                      <a:lnTo>
                        <a:pt x="0" y="344300"/>
                      </a:lnTo>
                      <a:cubicBezTo>
                        <a:pt x="0" y="341147"/>
                        <a:pt x="1267" y="338299"/>
                        <a:pt x="3791" y="335775"/>
                      </a:cubicBezTo>
                      <a:cubicBezTo>
                        <a:pt x="5991" y="333566"/>
                        <a:pt x="8687" y="332451"/>
                        <a:pt x="11840" y="332451"/>
                      </a:cubicBezTo>
                      <a:cubicBezTo>
                        <a:pt x="15316" y="332451"/>
                        <a:pt x="18155" y="333556"/>
                        <a:pt x="20374" y="335775"/>
                      </a:cubicBezTo>
                      <a:cubicBezTo>
                        <a:pt x="22574" y="338319"/>
                        <a:pt x="23679" y="341157"/>
                        <a:pt x="23679" y="344310"/>
                      </a:cubicBezTo>
                      <a:close/>
                      <a:moveTo>
                        <a:pt x="120291" y="608124"/>
                      </a:moveTo>
                      <a:lnTo>
                        <a:pt x="138293" y="627069"/>
                      </a:lnTo>
                      <a:cubicBezTo>
                        <a:pt x="215017" y="703164"/>
                        <a:pt x="307057" y="741207"/>
                        <a:pt x="414404" y="741207"/>
                      </a:cubicBezTo>
                      <a:lnTo>
                        <a:pt x="430035" y="741207"/>
                      </a:lnTo>
                      <a:cubicBezTo>
                        <a:pt x="469506" y="739950"/>
                        <a:pt x="506759" y="733320"/>
                        <a:pt x="541801" y="721319"/>
                      </a:cubicBezTo>
                      <a:cubicBezTo>
                        <a:pt x="544963" y="720366"/>
                        <a:pt x="547954" y="720690"/>
                        <a:pt x="550802" y="722271"/>
                      </a:cubicBezTo>
                      <a:cubicBezTo>
                        <a:pt x="553641" y="723529"/>
                        <a:pt x="555698" y="725738"/>
                        <a:pt x="556955" y="728891"/>
                      </a:cubicBezTo>
                      <a:cubicBezTo>
                        <a:pt x="557908" y="732053"/>
                        <a:pt x="557584" y="735044"/>
                        <a:pt x="556012" y="737892"/>
                      </a:cubicBezTo>
                      <a:cubicBezTo>
                        <a:pt x="554746" y="740731"/>
                        <a:pt x="552536" y="742788"/>
                        <a:pt x="549383" y="744045"/>
                      </a:cubicBezTo>
                      <a:cubicBezTo>
                        <a:pt x="516226" y="755094"/>
                        <a:pt x="480393" y="761886"/>
                        <a:pt x="441874" y="764410"/>
                      </a:cubicBezTo>
                      <a:lnTo>
                        <a:pt x="441874" y="833561"/>
                      </a:lnTo>
                      <a:lnTo>
                        <a:pt x="481660" y="833561"/>
                      </a:lnTo>
                      <a:cubicBezTo>
                        <a:pt x="484813" y="833561"/>
                        <a:pt x="487499" y="834666"/>
                        <a:pt x="489709" y="836876"/>
                      </a:cubicBezTo>
                      <a:cubicBezTo>
                        <a:pt x="492242" y="839410"/>
                        <a:pt x="493500" y="842248"/>
                        <a:pt x="493500" y="845410"/>
                      </a:cubicBezTo>
                      <a:cubicBezTo>
                        <a:pt x="493500" y="848573"/>
                        <a:pt x="492233" y="851249"/>
                        <a:pt x="489709" y="853459"/>
                      </a:cubicBezTo>
                      <a:cubicBezTo>
                        <a:pt x="487499" y="855983"/>
                        <a:pt x="484813" y="857250"/>
                        <a:pt x="481660" y="857250"/>
                      </a:cubicBezTo>
                      <a:lnTo>
                        <a:pt x="374152" y="857250"/>
                      </a:lnTo>
                      <a:cubicBezTo>
                        <a:pt x="370999" y="857250"/>
                        <a:pt x="368151" y="855983"/>
                        <a:pt x="365617" y="853459"/>
                      </a:cubicBezTo>
                      <a:cubicBezTo>
                        <a:pt x="363417" y="851259"/>
                        <a:pt x="362302" y="848563"/>
                        <a:pt x="362302" y="845410"/>
                      </a:cubicBezTo>
                      <a:cubicBezTo>
                        <a:pt x="362302" y="842258"/>
                        <a:pt x="363407" y="839410"/>
                        <a:pt x="365617" y="836876"/>
                      </a:cubicBezTo>
                      <a:cubicBezTo>
                        <a:pt x="368151" y="834676"/>
                        <a:pt x="370989" y="833561"/>
                        <a:pt x="374152" y="833561"/>
                      </a:cubicBezTo>
                      <a:lnTo>
                        <a:pt x="418195" y="833561"/>
                      </a:lnTo>
                      <a:lnTo>
                        <a:pt x="418195" y="764886"/>
                      </a:lnTo>
                      <a:lnTo>
                        <a:pt x="414414" y="764886"/>
                      </a:lnTo>
                      <a:cubicBezTo>
                        <a:pt x="300114" y="764886"/>
                        <a:pt x="202549" y="724472"/>
                        <a:pt x="121720" y="643642"/>
                      </a:cubicBezTo>
                      <a:cubicBezTo>
                        <a:pt x="119510" y="641433"/>
                        <a:pt x="113186" y="634803"/>
                        <a:pt x="102775" y="623745"/>
                      </a:cubicBezTo>
                      <a:cubicBezTo>
                        <a:pt x="100574" y="621221"/>
                        <a:pt x="99622" y="618382"/>
                        <a:pt x="99936" y="615220"/>
                      </a:cubicBezTo>
                      <a:cubicBezTo>
                        <a:pt x="99936" y="612067"/>
                        <a:pt x="101203" y="609381"/>
                        <a:pt x="103718" y="607162"/>
                      </a:cubicBezTo>
                      <a:cubicBezTo>
                        <a:pt x="106251" y="604961"/>
                        <a:pt x="109080" y="604009"/>
                        <a:pt x="112243" y="604323"/>
                      </a:cubicBezTo>
                      <a:cubicBezTo>
                        <a:pt x="115405" y="604333"/>
                        <a:pt x="118081" y="605600"/>
                        <a:pt x="120291" y="608124"/>
                      </a:cubicBezTo>
                      <a:close/>
                      <a:moveTo>
                        <a:pt x="385991" y="213131"/>
                      </a:moveTo>
                      <a:cubicBezTo>
                        <a:pt x="385991" y="227971"/>
                        <a:pt x="397354" y="244545"/>
                        <a:pt x="420091" y="262861"/>
                      </a:cubicBezTo>
                      <a:cubicBezTo>
                        <a:pt x="448818" y="286864"/>
                        <a:pt x="463182" y="310848"/>
                        <a:pt x="463182" y="334851"/>
                      </a:cubicBezTo>
                      <a:cubicBezTo>
                        <a:pt x="463182" y="347167"/>
                        <a:pt x="455914" y="361379"/>
                        <a:pt x="441398" y="377485"/>
                      </a:cubicBezTo>
                      <a:cubicBezTo>
                        <a:pt x="430663" y="388220"/>
                        <a:pt x="425301" y="397688"/>
                        <a:pt x="425301" y="405898"/>
                      </a:cubicBezTo>
                      <a:cubicBezTo>
                        <a:pt x="425301" y="412528"/>
                        <a:pt x="434292" y="417109"/>
                        <a:pt x="452295" y="419624"/>
                      </a:cubicBezTo>
                      <a:cubicBezTo>
                        <a:pt x="463982" y="420891"/>
                        <a:pt x="490185" y="421043"/>
                        <a:pt x="530914" y="420100"/>
                      </a:cubicBezTo>
                      <a:lnTo>
                        <a:pt x="560280" y="419624"/>
                      </a:lnTo>
                      <a:cubicBezTo>
                        <a:pt x="584283" y="419624"/>
                        <a:pt x="602113" y="420576"/>
                        <a:pt x="613791" y="422472"/>
                      </a:cubicBezTo>
                      <a:cubicBezTo>
                        <a:pt x="645052" y="428473"/>
                        <a:pt x="660683" y="442360"/>
                        <a:pt x="660683" y="464153"/>
                      </a:cubicBezTo>
                      <a:cubicBezTo>
                        <a:pt x="660683" y="492566"/>
                        <a:pt x="639051" y="518455"/>
                        <a:pt x="595798" y="541820"/>
                      </a:cubicBezTo>
                      <a:cubicBezTo>
                        <a:pt x="561070" y="560451"/>
                        <a:pt x="543697" y="579549"/>
                        <a:pt x="543697" y="599132"/>
                      </a:cubicBezTo>
                      <a:cubicBezTo>
                        <a:pt x="543697" y="604818"/>
                        <a:pt x="550640" y="616658"/>
                        <a:pt x="564537" y="634651"/>
                      </a:cubicBezTo>
                      <a:lnTo>
                        <a:pt x="570224" y="641756"/>
                      </a:lnTo>
                      <a:cubicBezTo>
                        <a:pt x="596427" y="627859"/>
                        <a:pt x="622325" y="608438"/>
                        <a:pt x="647891" y="583502"/>
                      </a:cubicBezTo>
                      <a:cubicBezTo>
                        <a:pt x="693039" y="538344"/>
                        <a:pt x="722252" y="486566"/>
                        <a:pt x="735511" y="428149"/>
                      </a:cubicBezTo>
                      <a:cubicBezTo>
                        <a:pt x="724776" y="425939"/>
                        <a:pt x="716251" y="421357"/>
                        <a:pt x="709927" y="414414"/>
                      </a:cubicBezTo>
                      <a:cubicBezTo>
                        <a:pt x="704564" y="409051"/>
                        <a:pt x="700145" y="398469"/>
                        <a:pt x="696668" y="382686"/>
                      </a:cubicBezTo>
                      <a:cubicBezTo>
                        <a:pt x="694458" y="372570"/>
                        <a:pt x="691296" y="365798"/>
                        <a:pt x="687191" y="362322"/>
                      </a:cubicBezTo>
                      <a:cubicBezTo>
                        <a:pt x="678666" y="355997"/>
                        <a:pt x="663826" y="352844"/>
                        <a:pt x="642671" y="352844"/>
                      </a:cubicBezTo>
                      <a:cubicBezTo>
                        <a:pt x="636670" y="352844"/>
                        <a:pt x="628307" y="354587"/>
                        <a:pt x="617572" y="358054"/>
                      </a:cubicBezTo>
                      <a:cubicBezTo>
                        <a:pt x="603361" y="362483"/>
                        <a:pt x="590569" y="364684"/>
                        <a:pt x="579215" y="364684"/>
                      </a:cubicBezTo>
                      <a:cubicBezTo>
                        <a:pt x="559318" y="364684"/>
                        <a:pt x="544801" y="352844"/>
                        <a:pt x="535638" y="329165"/>
                      </a:cubicBezTo>
                      <a:lnTo>
                        <a:pt x="518589" y="267119"/>
                      </a:lnTo>
                      <a:cubicBezTo>
                        <a:pt x="504701" y="213751"/>
                        <a:pt x="477393" y="187081"/>
                        <a:pt x="436655" y="187081"/>
                      </a:cubicBezTo>
                      <a:cubicBezTo>
                        <a:pt x="414871" y="187081"/>
                        <a:pt x="400021" y="190557"/>
                        <a:pt x="392135" y="197501"/>
                      </a:cubicBezTo>
                      <a:cubicBezTo>
                        <a:pt x="388039" y="200968"/>
                        <a:pt x="385991" y="206178"/>
                        <a:pt x="385991" y="213131"/>
                      </a:cubicBezTo>
                      <a:close/>
                      <a:moveTo>
                        <a:pt x="622783" y="97088"/>
                      </a:moveTo>
                      <a:cubicBezTo>
                        <a:pt x="607943" y="109709"/>
                        <a:pt x="600532" y="121882"/>
                        <a:pt x="600532" y="133550"/>
                      </a:cubicBezTo>
                      <a:cubicBezTo>
                        <a:pt x="600532" y="138913"/>
                        <a:pt x="605104" y="150762"/>
                        <a:pt x="614258" y="169069"/>
                      </a:cubicBezTo>
                      <a:cubicBezTo>
                        <a:pt x="624678" y="190852"/>
                        <a:pt x="629888" y="205854"/>
                        <a:pt x="629888" y="214065"/>
                      </a:cubicBezTo>
                      <a:lnTo>
                        <a:pt x="629888" y="215960"/>
                      </a:lnTo>
                      <a:lnTo>
                        <a:pt x="625154" y="247698"/>
                      </a:lnTo>
                      <a:cubicBezTo>
                        <a:pt x="625154" y="250536"/>
                        <a:pt x="627050" y="252746"/>
                        <a:pt x="630841" y="254318"/>
                      </a:cubicBezTo>
                      <a:cubicBezTo>
                        <a:pt x="636842" y="256851"/>
                        <a:pt x="644109" y="258108"/>
                        <a:pt x="652634" y="258108"/>
                      </a:cubicBezTo>
                      <a:cubicBezTo>
                        <a:pt x="655158" y="258108"/>
                        <a:pt x="656739" y="257632"/>
                        <a:pt x="657368" y="256689"/>
                      </a:cubicBezTo>
                      <a:cubicBezTo>
                        <a:pt x="658625" y="255422"/>
                        <a:pt x="659254" y="252584"/>
                        <a:pt x="659254" y="248155"/>
                      </a:cubicBezTo>
                      <a:cubicBezTo>
                        <a:pt x="659254" y="244050"/>
                        <a:pt x="657682" y="237106"/>
                        <a:pt x="654520" y="227314"/>
                      </a:cubicBezTo>
                      <a:cubicBezTo>
                        <a:pt x="650100" y="215627"/>
                        <a:pt x="647891" y="206940"/>
                        <a:pt x="647891" y="201273"/>
                      </a:cubicBezTo>
                      <a:cubicBezTo>
                        <a:pt x="647891" y="183271"/>
                        <a:pt x="661626" y="172526"/>
                        <a:pt x="689096" y="169059"/>
                      </a:cubicBezTo>
                      <a:cubicBezTo>
                        <a:pt x="676780" y="151381"/>
                        <a:pt x="663045" y="134960"/>
                        <a:pt x="647891" y="119805"/>
                      </a:cubicBezTo>
                      <a:cubicBezTo>
                        <a:pt x="640623" y="112557"/>
                        <a:pt x="632260" y="104975"/>
                        <a:pt x="622783" y="97088"/>
                      </a:cubicBezTo>
                      <a:close/>
                      <a:moveTo>
                        <a:pt x="470297" y="490195"/>
                      </a:moveTo>
                      <a:cubicBezTo>
                        <a:pt x="463667" y="490195"/>
                        <a:pt x="457819" y="492395"/>
                        <a:pt x="452771" y="496824"/>
                      </a:cubicBezTo>
                      <a:cubicBezTo>
                        <a:pt x="448351" y="501244"/>
                        <a:pt x="446141" y="506454"/>
                        <a:pt x="446141" y="512455"/>
                      </a:cubicBezTo>
                      <a:cubicBezTo>
                        <a:pt x="446141" y="517817"/>
                        <a:pt x="448351" y="522561"/>
                        <a:pt x="452771" y="526656"/>
                      </a:cubicBezTo>
                      <a:cubicBezTo>
                        <a:pt x="457505" y="531400"/>
                        <a:pt x="463344" y="533762"/>
                        <a:pt x="470297" y="533762"/>
                      </a:cubicBezTo>
                      <a:cubicBezTo>
                        <a:pt x="477869" y="533762"/>
                        <a:pt x="483870" y="531562"/>
                        <a:pt x="488299" y="527142"/>
                      </a:cubicBezTo>
                      <a:cubicBezTo>
                        <a:pt x="492719" y="522713"/>
                        <a:pt x="494919" y="517817"/>
                        <a:pt x="494919" y="512455"/>
                      </a:cubicBezTo>
                      <a:cubicBezTo>
                        <a:pt x="494919" y="506139"/>
                        <a:pt x="492719" y="500767"/>
                        <a:pt x="488299" y="496357"/>
                      </a:cubicBezTo>
                      <a:cubicBezTo>
                        <a:pt x="483556" y="492252"/>
                        <a:pt x="477555" y="490195"/>
                        <a:pt x="470297" y="490195"/>
                      </a:cubicBezTo>
                      <a:close/>
                      <a:moveTo>
                        <a:pt x="504396" y="479298"/>
                      </a:moveTo>
                      <a:cubicBezTo>
                        <a:pt x="513864" y="488452"/>
                        <a:pt x="518598" y="499501"/>
                        <a:pt x="518598" y="512445"/>
                      </a:cubicBezTo>
                      <a:cubicBezTo>
                        <a:pt x="518598" y="525075"/>
                        <a:pt x="513864" y="535657"/>
                        <a:pt x="504396" y="544182"/>
                      </a:cubicBezTo>
                      <a:cubicBezTo>
                        <a:pt x="496186" y="553022"/>
                        <a:pt x="484813" y="557441"/>
                        <a:pt x="470297" y="557441"/>
                      </a:cubicBezTo>
                      <a:cubicBezTo>
                        <a:pt x="456714" y="557441"/>
                        <a:pt x="445503" y="552869"/>
                        <a:pt x="436674" y="543716"/>
                      </a:cubicBezTo>
                      <a:cubicBezTo>
                        <a:pt x="427196" y="535819"/>
                        <a:pt x="422462" y="525399"/>
                        <a:pt x="422462" y="512455"/>
                      </a:cubicBezTo>
                      <a:cubicBezTo>
                        <a:pt x="422462" y="499824"/>
                        <a:pt x="427196" y="488775"/>
                        <a:pt x="436674" y="479308"/>
                      </a:cubicBezTo>
                      <a:cubicBezTo>
                        <a:pt x="446141" y="470773"/>
                        <a:pt x="457352" y="466515"/>
                        <a:pt x="470297" y="466515"/>
                      </a:cubicBezTo>
                      <a:cubicBezTo>
                        <a:pt x="484184" y="466515"/>
                        <a:pt x="495548" y="470773"/>
                        <a:pt x="504396" y="479298"/>
                      </a:cubicBezTo>
                      <a:close/>
                    </a:path>
                  </a:pathLst>
                </a:custGeom>
                <a:solidFill>
                  <a:schemeClr val="tx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085" name="Freeform 584">
                  <a:extLst>
                    <a:ext uri="{FF2B5EF4-FFF2-40B4-BE49-F238E27FC236}">
                      <a16:creationId xmlns:a16="http://schemas.microsoft.com/office/drawing/2014/main" id="{69B30706-B750-72CB-27C6-EABEF15F02B9}"/>
                    </a:ext>
                  </a:extLst>
                </p:cNvPr>
                <p:cNvSpPr/>
                <p:nvPr/>
              </p:nvSpPr>
              <p:spPr bwMode="auto">
                <a:xfrm>
                  <a:off x="5930507" y="3536380"/>
                  <a:ext cx="212119" cy="333151"/>
                </a:xfrm>
                <a:custGeom>
                  <a:avLst/>
                  <a:gdLst>
                    <a:gd name="T0" fmla="*/ 945 w 2208"/>
                    <a:gd name="T1" fmla="*/ 627 h 3469"/>
                    <a:gd name="T2" fmla="*/ 768 w 2208"/>
                    <a:gd name="T3" fmla="*/ 731 h 3469"/>
                    <a:gd name="T4" fmla="*/ 647 w 2208"/>
                    <a:gd name="T5" fmla="*/ 896 h 3469"/>
                    <a:gd name="T6" fmla="*/ 602 w 2208"/>
                    <a:gd name="T7" fmla="*/ 1103 h 3469"/>
                    <a:gd name="T8" fmla="*/ 647 w 2208"/>
                    <a:gd name="T9" fmla="*/ 1311 h 3469"/>
                    <a:gd name="T10" fmla="*/ 768 w 2208"/>
                    <a:gd name="T11" fmla="*/ 1476 h 3469"/>
                    <a:gd name="T12" fmla="*/ 945 w 2208"/>
                    <a:gd name="T13" fmla="*/ 1580 h 3469"/>
                    <a:gd name="T14" fmla="*/ 1159 w 2208"/>
                    <a:gd name="T15" fmla="*/ 1603 h 3469"/>
                    <a:gd name="T16" fmla="*/ 1356 w 2208"/>
                    <a:gd name="T17" fmla="*/ 1537 h 3469"/>
                    <a:gd name="T18" fmla="*/ 1508 w 2208"/>
                    <a:gd name="T19" fmla="*/ 1400 h 3469"/>
                    <a:gd name="T20" fmla="*/ 1593 w 2208"/>
                    <a:gd name="T21" fmla="*/ 1211 h 3469"/>
                    <a:gd name="T22" fmla="*/ 1593 w 2208"/>
                    <a:gd name="T23" fmla="*/ 996 h 3469"/>
                    <a:gd name="T24" fmla="*/ 1508 w 2208"/>
                    <a:gd name="T25" fmla="*/ 807 h 3469"/>
                    <a:gd name="T26" fmla="*/ 1356 w 2208"/>
                    <a:gd name="T27" fmla="*/ 670 h 3469"/>
                    <a:gd name="T28" fmla="*/ 1159 w 2208"/>
                    <a:gd name="T29" fmla="*/ 604 h 3469"/>
                    <a:gd name="T30" fmla="*/ 1274 w 2208"/>
                    <a:gd name="T31" fmla="*/ 13 h 3469"/>
                    <a:gd name="T32" fmla="*/ 1589 w 2208"/>
                    <a:gd name="T33" fmla="*/ 113 h 3469"/>
                    <a:gd name="T34" fmla="*/ 1855 w 2208"/>
                    <a:gd name="T35" fmla="*/ 297 h 3469"/>
                    <a:gd name="T36" fmla="*/ 2057 w 2208"/>
                    <a:gd name="T37" fmla="*/ 549 h 3469"/>
                    <a:gd name="T38" fmla="*/ 2179 w 2208"/>
                    <a:gd name="T39" fmla="*/ 853 h 3469"/>
                    <a:gd name="T40" fmla="*/ 2206 w 2208"/>
                    <a:gd name="T41" fmla="*/ 1170 h 3469"/>
                    <a:gd name="T42" fmla="*/ 2161 w 2208"/>
                    <a:gd name="T43" fmla="*/ 1439 h 3469"/>
                    <a:gd name="T44" fmla="*/ 2075 w 2208"/>
                    <a:gd name="T45" fmla="*/ 1707 h 3469"/>
                    <a:gd name="T46" fmla="*/ 1971 w 2208"/>
                    <a:gd name="T47" fmla="*/ 1930 h 3469"/>
                    <a:gd name="T48" fmla="*/ 1886 w 2208"/>
                    <a:gd name="T49" fmla="*/ 2080 h 3469"/>
                    <a:gd name="T50" fmla="*/ 1778 w 2208"/>
                    <a:gd name="T51" fmla="*/ 2270 h 3469"/>
                    <a:gd name="T52" fmla="*/ 1657 w 2208"/>
                    <a:gd name="T53" fmla="*/ 2484 h 3469"/>
                    <a:gd name="T54" fmla="*/ 1531 w 2208"/>
                    <a:gd name="T55" fmla="*/ 2709 h 3469"/>
                    <a:gd name="T56" fmla="*/ 1409 w 2208"/>
                    <a:gd name="T57" fmla="*/ 2924 h 3469"/>
                    <a:gd name="T58" fmla="*/ 1301 w 2208"/>
                    <a:gd name="T59" fmla="*/ 3117 h 3469"/>
                    <a:gd name="T60" fmla="*/ 1216 w 2208"/>
                    <a:gd name="T61" fmla="*/ 3269 h 3469"/>
                    <a:gd name="T62" fmla="*/ 1163 w 2208"/>
                    <a:gd name="T63" fmla="*/ 3365 h 3469"/>
                    <a:gd name="T64" fmla="*/ 1104 w 2208"/>
                    <a:gd name="T65" fmla="*/ 3469 h 3469"/>
                    <a:gd name="T66" fmla="*/ 1045 w 2208"/>
                    <a:gd name="T67" fmla="*/ 3366 h 3469"/>
                    <a:gd name="T68" fmla="*/ 993 w 2208"/>
                    <a:gd name="T69" fmla="*/ 3272 h 3469"/>
                    <a:gd name="T70" fmla="*/ 909 w 2208"/>
                    <a:gd name="T71" fmla="*/ 3124 h 3469"/>
                    <a:gd name="T72" fmla="*/ 803 w 2208"/>
                    <a:gd name="T73" fmla="*/ 2936 h 3469"/>
                    <a:gd name="T74" fmla="*/ 684 w 2208"/>
                    <a:gd name="T75" fmla="*/ 2725 h 3469"/>
                    <a:gd name="T76" fmla="*/ 561 w 2208"/>
                    <a:gd name="T77" fmla="*/ 2507 h 3469"/>
                    <a:gd name="T78" fmla="*/ 444 w 2208"/>
                    <a:gd name="T79" fmla="*/ 2295 h 3469"/>
                    <a:gd name="T80" fmla="*/ 340 w 2208"/>
                    <a:gd name="T81" fmla="*/ 2108 h 3469"/>
                    <a:gd name="T82" fmla="*/ 258 w 2208"/>
                    <a:gd name="T83" fmla="*/ 1960 h 3469"/>
                    <a:gd name="T84" fmla="*/ 157 w 2208"/>
                    <a:gd name="T85" fmla="*/ 1752 h 3469"/>
                    <a:gd name="T86" fmla="*/ 57 w 2208"/>
                    <a:gd name="T87" fmla="*/ 1469 h 3469"/>
                    <a:gd name="T88" fmla="*/ 2 w 2208"/>
                    <a:gd name="T89" fmla="*/ 1177 h 3469"/>
                    <a:gd name="T90" fmla="*/ 29 w 2208"/>
                    <a:gd name="T91" fmla="*/ 853 h 3469"/>
                    <a:gd name="T92" fmla="*/ 151 w 2208"/>
                    <a:gd name="T93" fmla="*/ 549 h 3469"/>
                    <a:gd name="T94" fmla="*/ 353 w 2208"/>
                    <a:gd name="T95" fmla="*/ 297 h 3469"/>
                    <a:gd name="T96" fmla="*/ 619 w 2208"/>
                    <a:gd name="T97" fmla="*/ 113 h 3469"/>
                    <a:gd name="T98" fmla="*/ 933 w 2208"/>
                    <a:gd name="T99" fmla="*/ 13 h 3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08" h="3469">
                      <a:moveTo>
                        <a:pt x="1104" y="601"/>
                      </a:moveTo>
                      <a:lnTo>
                        <a:pt x="1049" y="604"/>
                      </a:lnTo>
                      <a:lnTo>
                        <a:pt x="996" y="612"/>
                      </a:lnTo>
                      <a:lnTo>
                        <a:pt x="945" y="627"/>
                      </a:lnTo>
                      <a:lnTo>
                        <a:pt x="897" y="646"/>
                      </a:lnTo>
                      <a:lnTo>
                        <a:pt x="851" y="670"/>
                      </a:lnTo>
                      <a:lnTo>
                        <a:pt x="808" y="699"/>
                      </a:lnTo>
                      <a:lnTo>
                        <a:pt x="768" y="731"/>
                      </a:lnTo>
                      <a:lnTo>
                        <a:pt x="732" y="767"/>
                      </a:lnTo>
                      <a:lnTo>
                        <a:pt x="700" y="807"/>
                      </a:lnTo>
                      <a:lnTo>
                        <a:pt x="672" y="850"/>
                      </a:lnTo>
                      <a:lnTo>
                        <a:pt x="647" y="896"/>
                      </a:lnTo>
                      <a:lnTo>
                        <a:pt x="629" y="945"/>
                      </a:lnTo>
                      <a:lnTo>
                        <a:pt x="614" y="996"/>
                      </a:lnTo>
                      <a:lnTo>
                        <a:pt x="605" y="1049"/>
                      </a:lnTo>
                      <a:lnTo>
                        <a:pt x="602" y="1103"/>
                      </a:lnTo>
                      <a:lnTo>
                        <a:pt x="605" y="1158"/>
                      </a:lnTo>
                      <a:lnTo>
                        <a:pt x="614" y="1211"/>
                      </a:lnTo>
                      <a:lnTo>
                        <a:pt x="629" y="1262"/>
                      </a:lnTo>
                      <a:lnTo>
                        <a:pt x="647" y="1311"/>
                      </a:lnTo>
                      <a:lnTo>
                        <a:pt x="672" y="1357"/>
                      </a:lnTo>
                      <a:lnTo>
                        <a:pt x="700" y="1400"/>
                      </a:lnTo>
                      <a:lnTo>
                        <a:pt x="732" y="1440"/>
                      </a:lnTo>
                      <a:lnTo>
                        <a:pt x="768" y="1476"/>
                      </a:lnTo>
                      <a:lnTo>
                        <a:pt x="808" y="1508"/>
                      </a:lnTo>
                      <a:lnTo>
                        <a:pt x="851" y="1537"/>
                      </a:lnTo>
                      <a:lnTo>
                        <a:pt x="897" y="1561"/>
                      </a:lnTo>
                      <a:lnTo>
                        <a:pt x="945" y="1580"/>
                      </a:lnTo>
                      <a:lnTo>
                        <a:pt x="996" y="1595"/>
                      </a:lnTo>
                      <a:lnTo>
                        <a:pt x="1049" y="1603"/>
                      </a:lnTo>
                      <a:lnTo>
                        <a:pt x="1104" y="1606"/>
                      </a:lnTo>
                      <a:lnTo>
                        <a:pt x="1159" y="1603"/>
                      </a:lnTo>
                      <a:lnTo>
                        <a:pt x="1211" y="1595"/>
                      </a:lnTo>
                      <a:lnTo>
                        <a:pt x="1261" y="1580"/>
                      </a:lnTo>
                      <a:lnTo>
                        <a:pt x="1311" y="1561"/>
                      </a:lnTo>
                      <a:lnTo>
                        <a:pt x="1356" y="1537"/>
                      </a:lnTo>
                      <a:lnTo>
                        <a:pt x="1399" y="1508"/>
                      </a:lnTo>
                      <a:lnTo>
                        <a:pt x="1439" y="1476"/>
                      </a:lnTo>
                      <a:lnTo>
                        <a:pt x="1475" y="1440"/>
                      </a:lnTo>
                      <a:lnTo>
                        <a:pt x="1508" y="1400"/>
                      </a:lnTo>
                      <a:lnTo>
                        <a:pt x="1536" y="1357"/>
                      </a:lnTo>
                      <a:lnTo>
                        <a:pt x="1560" y="1311"/>
                      </a:lnTo>
                      <a:lnTo>
                        <a:pt x="1579" y="1262"/>
                      </a:lnTo>
                      <a:lnTo>
                        <a:pt x="1593" y="1211"/>
                      </a:lnTo>
                      <a:lnTo>
                        <a:pt x="1601" y="1158"/>
                      </a:lnTo>
                      <a:lnTo>
                        <a:pt x="1605" y="1103"/>
                      </a:lnTo>
                      <a:lnTo>
                        <a:pt x="1601" y="1049"/>
                      </a:lnTo>
                      <a:lnTo>
                        <a:pt x="1593" y="996"/>
                      </a:lnTo>
                      <a:lnTo>
                        <a:pt x="1579" y="945"/>
                      </a:lnTo>
                      <a:lnTo>
                        <a:pt x="1560" y="896"/>
                      </a:lnTo>
                      <a:lnTo>
                        <a:pt x="1536" y="850"/>
                      </a:lnTo>
                      <a:lnTo>
                        <a:pt x="1508" y="807"/>
                      </a:lnTo>
                      <a:lnTo>
                        <a:pt x="1475" y="767"/>
                      </a:lnTo>
                      <a:lnTo>
                        <a:pt x="1439" y="731"/>
                      </a:lnTo>
                      <a:lnTo>
                        <a:pt x="1399" y="699"/>
                      </a:lnTo>
                      <a:lnTo>
                        <a:pt x="1356" y="670"/>
                      </a:lnTo>
                      <a:lnTo>
                        <a:pt x="1311" y="646"/>
                      </a:lnTo>
                      <a:lnTo>
                        <a:pt x="1261" y="627"/>
                      </a:lnTo>
                      <a:lnTo>
                        <a:pt x="1211" y="612"/>
                      </a:lnTo>
                      <a:lnTo>
                        <a:pt x="1159" y="604"/>
                      </a:lnTo>
                      <a:lnTo>
                        <a:pt x="1104" y="601"/>
                      </a:lnTo>
                      <a:close/>
                      <a:moveTo>
                        <a:pt x="1104" y="0"/>
                      </a:moveTo>
                      <a:lnTo>
                        <a:pt x="1190" y="3"/>
                      </a:lnTo>
                      <a:lnTo>
                        <a:pt x="1274" y="13"/>
                      </a:lnTo>
                      <a:lnTo>
                        <a:pt x="1357" y="30"/>
                      </a:lnTo>
                      <a:lnTo>
                        <a:pt x="1437" y="52"/>
                      </a:lnTo>
                      <a:lnTo>
                        <a:pt x="1514" y="79"/>
                      </a:lnTo>
                      <a:lnTo>
                        <a:pt x="1589" y="113"/>
                      </a:lnTo>
                      <a:lnTo>
                        <a:pt x="1660" y="152"/>
                      </a:lnTo>
                      <a:lnTo>
                        <a:pt x="1728" y="195"/>
                      </a:lnTo>
                      <a:lnTo>
                        <a:pt x="1793" y="243"/>
                      </a:lnTo>
                      <a:lnTo>
                        <a:pt x="1855" y="297"/>
                      </a:lnTo>
                      <a:lnTo>
                        <a:pt x="1912" y="354"/>
                      </a:lnTo>
                      <a:lnTo>
                        <a:pt x="1964" y="415"/>
                      </a:lnTo>
                      <a:lnTo>
                        <a:pt x="2013" y="480"/>
                      </a:lnTo>
                      <a:lnTo>
                        <a:pt x="2057" y="549"/>
                      </a:lnTo>
                      <a:lnTo>
                        <a:pt x="2096" y="621"/>
                      </a:lnTo>
                      <a:lnTo>
                        <a:pt x="2128" y="695"/>
                      </a:lnTo>
                      <a:lnTo>
                        <a:pt x="2156" y="773"/>
                      </a:lnTo>
                      <a:lnTo>
                        <a:pt x="2179" y="853"/>
                      </a:lnTo>
                      <a:lnTo>
                        <a:pt x="2194" y="936"/>
                      </a:lnTo>
                      <a:lnTo>
                        <a:pt x="2205" y="1020"/>
                      </a:lnTo>
                      <a:lnTo>
                        <a:pt x="2208" y="1107"/>
                      </a:lnTo>
                      <a:lnTo>
                        <a:pt x="2206" y="1170"/>
                      </a:lnTo>
                      <a:lnTo>
                        <a:pt x="2200" y="1235"/>
                      </a:lnTo>
                      <a:lnTo>
                        <a:pt x="2190" y="1301"/>
                      </a:lnTo>
                      <a:lnTo>
                        <a:pt x="2176" y="1370"/>
                      </a:lnTo>
                      <a:lnTo>
                        <a:pt x="2161" y="1439"/>
                      </a:lnTo>
                      <a:lnTo>
                        <a:pt x="2142" y="1507"/>
                      </a:lnTo>
                      <a:lnTo>
                        <a:pt x="2122" y="1576"/>
                      </a:lnTo>
                      <a:lnTo>
                        <a:pt x="2099" y="1642"/>
                      </a:lnTo>
                      <a:lnTo>
                        <a:pt x="2075" y="1707"/>
                      </a:lnTo>
                      <a:lnTo>
                        <a:pt x="2049" y="1768"/>
                      </a:lnTo>
                      <a:lnTo>
                        <a:pt x="2023" y="1827"/>
                      </a:lnTo>
                      <a:lnTo>
                        <a:pt x="1997" y="1881"/>
                      </a:lnTo>
                      <a:lnTo>
                        <a:pt x="1971" y="1930"/>
                      </a:lnTo>
                      <a:lnTo>
                        <a:pt x="1952" y="1963"/>
                      </a:lnTo>
                      <a:lnTo>
                        <a:pt x="1931" y="1999"/>
                      </a:lnTo>
                      <a:lnTo>
                        <a:pt x="1909" y="2037"/>
                      </a:lnTo>
                      <a:lnTo>
                        <a:pt x="1886" y="2080"/>
                      </a:lnTo>
                      <a:lnTo>
                        <a:pt x="1861" y="2124"/>
                      </a:lnTo>
                      <a:lnTo>
                        <a:pt x="1834" y="2170"/>
                      </a:lnTo>
                      <a:lnTo>
                        <a:pt x="1806" y="2219"/>
                      </a:lnTo>
                      <a:lnTo>
                        <a:pt x="1778" y="2270"/>
                      </a:lnTo>
                      <a:lnTo>
                        <a:pt x="1748" y="2321"/>
                      </a:lnTo>
                      <a:lnTo>
                        <a:pt x="1718" y="2375"/>
                      </a:lnTo>
                      <a:lnTo>
                        <a:pt x="1687" y="2430"/>
                      </a:lnTo>
                      <a:lnTo>
                        <a:pt x="1657" y="2484"/>
                      </a:lnTo>
                      <a:lnTo>
                        <a:pt x="1625" y="2540"/>
                      </a:lnTo>
                      <a:lnTo>
                        <a:pt x="1594" y="2596"/>
                      </a:lnTo>
                      <a:lnTo>
                        <a:pt x="1563" y="2653"/>
                      </a:lnTo>
                      <a:lnTo>
                        <a:pt x="1531" y="2709"/>
                      </a:lnTo>
                      <a:lnTo>
                        <a:pt x="1500" y="2763"/>
                      </a:lnTo>
                      <a:lnTo>
                        <a:pt x="1469" y="2818"/>
                      </a:lnTo>
                      <a:lnTo>
                        <a:pt x="1439" y="2872"/>
                      </a:lnTo>
                      <a:lnTo>
                        <a:pt x="1409" y="2924"/>
                      </a:lnTo>
                      <a:lnTo>
                        <a:pt x="1381" y="2976"/>
                      </a:lnTo>
                      <a:lnTo>
                        <a:pt x="1354" y="3024"/>
                      </a:lnTo>
                      <a:lnTo>
                        <a:pt x="1326" y="3071"/>
                      </a:lnTo>
                      <a:lnTo>
                        <a:pt x="1301" y="3117"/>
                      </a:lnTo>
                      <a:lnTo>
                        <a:pt x="1278" y="3159"/>
                      </a:lnTo>
                      <a:lnTo>
                        <a:pt x="1255" y="3199"/>
                      </a:lnTo>
                      <a:lnTo>
                        <a:pt x="1235" y="3235"/>
                      </a:lnTo>
                      <a:lnTo>
                        <a:pt x="1216" y="3269"/>
                      </a:lnTo>
                      <a:lnTo>
                        <a:pt x="1199" y="3299"/>
                      </a:lnTo>
                      <a:lnTo>
                        <a:pt x="1185" y="3325"/>
                      </a:lnTo>
                      <a:lnTo>
                        <a:pt x="1172" y="3347"/>
                      </a:lnTo>
                      <a:lnTo>
                        <a:pt x="1163" y="3365"/>
                      </a:lnTo>
                      <a:lnTo>
                        <a:pt x="1154" y="3379"/>
                      </a:lnTo>
                      <a:lnTo>
                        <a:pt x="1150" y="3387"/>
                      </a:lnTo>
                      <a:lnTo>
                        <a:pt x="1148" y="3390"/>
                      </a:lnTo>
                      <a:lnTo>
                        <a:pt x="1104" y="3469"/>
                      </a:lnTo>
                      <a:lnTo>
                        <a:pt x="1060" y="3390"/>
                      </a:lnTo>
                      <a:lnTo>
                        <a:pt x="1058" y="3387"/>
                      </a:lnTo>
                      <a:lnTo>
                        <a:pt x="1053" y="3379"/>
                      </a:lnTo>
                      <a:lnTo>
                        <a:pt x="1045" y="3366"/>
                      </a:lnTo>
                      <a:lnTo>
                        <a:pt x="1036" y="3348"/>
                      </a:lnTo>
                      <a:lnTo>
                        <a:pt x="1023" y="3327"/>
                      </a:lnTo>
                      <a:lnTo>
                        <a:pt x="1010" y="3302"/>
                      </a:lnTo>
                      <a:lnTo>
                        <a:pt x="993" y="3272"/>
                      </a:lnTo>
                      <a:lnTo>
                        <a:pt x="974" y="3240"/>
                      </a:lnTo>
                      <a:lnTo>
                        <a:pt x="954" y="3204"/>
                      </a:lnTo>
                      <a:lnTo>
                        <a:pt x="932" y="3165"/>
                      </a:lnTo>
                      <a:lnTo>
                        <a:pt x="909" y="3124"/>
                      </a:lnTo>
                      <a:lnTo>
                        <a:pt x="884" y="3080"/>
                      </a:lnTo>
                      <a:lnTo>
                        <a:pt x="858" y="3034"/>
                      </a:lnTo>
                      <a:lnTo>
                        <a:pt x="831" y="2986"/>
                      </a:lnTo>
                      <a:lnTo>
                        <a:pt x="803" y="2936"/>
                      </a:lnTo>
                      <a:lnTo>
                        <a:pt x="774" y="2885"/>
                      </a:lnTo>
                      <a:lnTo>
                        <a:pt x="745" y="2833"/>
                      </a:lnTo>
                      <a:lnTo>
                        <a:pt x="715" y="2779"/>
                      </a:lnTo>
                      <a:lnTo>
                        <a:pt x="684" y="2725"/>
                      </a:lnTo>
                      <a:lnTo>
                        <a:pt x="654" y="2671"/>
                      </a:lnTo>
                      <a:lnTo>
                        <a:pt x="623" y="2616"/>
                      </a:lnTo>
                      <a:lnTo>
                        <a:pt x="592" y="2561"/>
                      </a:lnTo>
                      <a:lnTo>
                        <a:pt x="561" y="2507"/>
                      </a:lnTo>
                      <a:lnTo>
                        <a:pt x="531" y="2452"/>
                      </a:lnTo>
                      <a:lnTo>
                        <a:pt x="502" y="2399"/>
                      </a:lnTo>
                      <a:lnTo>
                        <a:pt x="472" y="2347"/>
                      </a:lnTo>
                      <a:lnTo>
                        <a:pt x="444" y="2295"/>
                      </a:lnTo>
                      <a:lnTo>
                        <a:pt x="416" y="2246"/>
                      </a:lnTo>
                      <a:lnTo>
                        <a:pt x="389" y="2197"/>
                      </a:lnTo>
                      <a:lnTo>
                        <a:pt x="364" y="2151"/>
                      </a:lnTo>
                      <a:lnTo>
                        <a:pt x="340" y="2108"/>
                      </a:lnTo>
                      <a:lnTo>
                        <a:pt x="317" y="2066"/>
                      </a:lnTo>
                      <a:lnTo>
                        <a:pt x="296" y="2028"/>
                      </a:lnTo>
                      <a:lnTo>
                        <a:pt x="276" y="1992"/>
                      </a:lnTo>
                      <a:lnTo>
                        <a:pt x="258" y="1960"/>
                      </a:lnTo>
                      <a:lnTo>
                        <a:pt x="242" y="1930"/>
                      </a:lnTo>
                      <a:lnTo>
                        <a:pt x="214" y="1875"/>
                      </a:lnTo>
                      <a:lnTo>
                        <a:pt x="186" y="1816"/>
                      </a:lnTo>
                      <a:lnTo>
                        <a:pt x="157" y="1752"/>
                      </a:lnTo>
                      <a:lnTo>
                        <a:pt x="130" y="1685"/>
                      </a:lnTo>
                      <a:lnTo>
                        <a:pt x="104" y="1615"/>
                      </a:lnTo>
                      <a:lnTo>
                        <a:pt x="79" y="1543"/>
                      </a:lnTo>
                      <a:lnTo>
                        <a:pt x="57" y="1469"/>
                      </a:lnTo>
                      <a:lnTo>
                        <a:pt x="38" y="1396"/>
                      </a:lnTo>
                      <a:lnTo>
                        <a:pt x="22" y="1321"/>
                      </a:lnTo>
                      <a:lnTo>
                        <a:pt x="10" y="1249"/>
                      </a:lnTo>
                      <a:lnTo>
                        <a:pt x="2" y="1177"/>
                      </a:lnTo>
                      <a:lnTo>
                        <a:pt x="0" y="1107"/>
                      </a:lnTo>
                      <a:lnTo>
                        <a:pt x="3" y="1020"/>
                      </a:lnTo>
                      <a:lnTo>
                        <a:pt x="13" y="936"/>
                      </a:lnTo>
                      <a:lnTo>
                        <a:pt x="29" y="853"/>
                      </a:lnTo>
                      <a:lnTo>
                        <a:pt x="51" y="773"/>
                      </a:lnTo>
                      <a:lnTo>
                        <a:pt x="79" y="695"/>
                      </a:lnTo>
                      <a:lnTo>
                        <a:pt x="112" y="621"/>
                      </a:lnTo>
                      <a:lnTo>
                        <a:pt x="151" y="549"/>
                      </a:lnTo>
                      <a:lnTo>
                        <a:pt x="194" y="480"/>
                      </a:lnTo>
                      <a:lnTo>
                        <a:pt x="242" y="415"/>
                      </a:lnTo>
                      <a:lnTo>
                        <a:pt x="296" y="354"/>
                      </a:lnTo>
                      <a:lnTo>
                        <a:pt x="353" y="297"/>
                      </a:lnTo>
                      <a:lnTo>
                        <a:pt x="413" y="243"/>
                      </a:lnTo>
                      <a:lnTo>
                        <a:pt x="479" y="195"/>
                      </a:lnTo>
                      <a:lnTo>
                        <a:pt x="547" y="152"/>
                      </a:lnTo>
                      <a:lnTo>
                        <a:pt x="619" y="113"/>
                      </a:lnTo>
                      <a:lnTo>
                        <a:pt x="694" y="79"/>
                      </a:lnTo>
                      <a:lnTo>
                        <a:pt x="771" y="52"/>
                      </a:lnTo>
                      <a:lnTo>
                        <a:pt x="851" y="30"/>
                      </a:lnTo>
                      <a:lnTo>
                        <a:pt x="933" y="13"/>
                      </a:lnTo>
                      <a:lnTo>
                        <a:pt x="1018" y="3"/>
                      </a:lnTo>
                      <a:lnTo>
                        <a:pt x="1104" y="0"/>
                      </a:lnTo>
                      <a:close/>
                    </a:path>
                  </a:pathLst>
                </a:custGeom>
                <a:solidFill>
                  <a:schemeClr val="tx2"/>
                </a:solidFill>
                <a:ln w="22225" cmpd="sng">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grpSp>
        <p:grpSp>
          <p:nvGrpSpPr>
            <p:cNvPr id="1086" name="Group 1085">
              <a:extLst>
                <a:ext uri="{FF2B5EF4-FFF2-40B4-BE49-F238E27FC236}">
                  <a16:creationId xmlns:a16="http://schemas.microsoft.com/office/drawing/2014/main" id="{3A1534E9-9A63-261E-CFD0-F7C4656B8F9F}"/>
                </a:ext>
              </a:extLst>
            </p:cNvPr>
            <p:cNvGrpSpPr/>
            <p:nvPr/>
          </p:nvGrpSpPr>
          <p:grpSpPr>
            <a:xfrm>
              <a:off x="10038779" y="3982532"/>
              <a:ext cx="511650" cy="511650"/>
              <a:chOff x="7864083" y="3831726"/>
              <a:chExt cx="1107922" cy="1107922"/>
            </a:xfrm>
          </p:grpSpPr>
          <p:sp>
            <p:nvSpPr>
              <p:cNvPr id="1087" name="Oval 1086">
                <a:extLst>
                  <a:ext uri="{FF2B5EF4-FFF2-40B4-BE49-F238E27FC236}">
                    <a16:creationId xmlns:a16="http://schemas.microsoft.com/office/drawing/2014/main" id="{E1D5F60E-9578-CE26-D070-CB63B1BC8A78}"/>
                  </a:ext>
                </a:extLst>
              </p:cNvPr>
              <p:cNvSpPr/>
              <p:nvPr/>
            </p:nvSpPr>
            <p:spPr>
              <a:xfrm>
                <a:off x="7864083" y="3831726"/>
                <a:ext cx="1107922" cy="1107922"/>
              </a:xfrm>
              <a:prstGeom prst="ellipse">
                <a:avLst/>
              </a:prstGeom>
              <a:solidFill>
                <a:schemeClr val="bg2"/>
              </a:solidFill>
              <a:ln w="6350" cmpd="sng">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208" name="Group 207">
                <a:extLst>
                  <a:ext uri="{FF2B5EF4-FFF2-40B4-BE49-F238E27FC236}">
                    <a16:creationId xmlns:a16="http://schemas.microsoft.com/office/drawing/2014/main" id="{D89DC1BB-6425-1B27-54AF-38501AC7AA31}"/>
                  </a:ext>
                </a:extLst>
              </p:cNvPr>
              <p:cNvGrpSpPr/>
              <p:nvPr/>
            </p:nvGrpSpPr>
            <p:grpSpPr>
              <a:xfrm>
                <a:off x="8066277" y="4083630"/>
                <a:ext cx="704134" cy="496064"/>
                <a:chOff x="666470" y="4042603"/>
                <a:chExt cx="965461" cy="680169"/>
              </a:xfrm>
            </p:grpSpPr>
            <p:sp>
              <p:nvSpPr>
                <p:cNvPr id="209" name="Graphic 564">
                  <a:extLst>
                    <a:ext uri="{FF2B5EF4-FFF2-40B4-BE49-F238E27FC236}">
                      <a16:creationId xmlns:a16="http://schemas.microsoft.com/office/drawing/2014/main" id="{3FC02E39-7248-B549-E8A3-42441BBFDB65}"/>
                    </a:ext>
                  </a:extLst>
                </p:cNvPr>
                <p:cNvSpPr/>
                <p:nvPr/>
              </p:nvSpPr>
              <p:spPr>
                <a:xfrm>
                  <a:off x="955696" y="4042603"/>
                  <a:ext cx="384600" cy="386950"/>
                </a:xfrm>
                <a:custGeom>
                  <a:avLst/>
                  <a:gdLst>
                    <a:gd name="connsiteX0" fmla="*/ 361093 w 553402"/>
                    <a:gd name="connsiteY0" fmla="*/ 293416 h 556782"/>
                    <a:gd name="connsiteX1" fmla="*/ 410648 w 553402"/>
                    <a:gd name="connsiteY1" fmla="*/ 74125 h 556782"/>
                    <a:gd name="connsiteX2" fmla="*/ 191357 w 553402"/>
                    <a:gd name="connsiteY2" fmla="*/ 24569 h 556782"/>
                    <a:gd name="connsiteX3" fmla="*/ 141802 w 553402"/>
                    <a:gd name="connsiteY3" fmla="*/ 243861 h 556782"/>
                    <a:gd name="connsiteX4" fmla="*/ 191357 w 553402"/>
                    <a:gd name="connsiteY4" fmla="*/ 293416 h 556782"/>
                    <a:gd name="connsiteX5" fmla="*/ 0 w 553402"/>
                    <a:gd name="connsiteY5" fmla="*/ 556783 h 556782"/>
                    <a:gd name="connsiteX6" fmla="*/ 38100 w 553402"/>
                    <a:gd name="connsiteY6" fmla="*/ 556783 h 556782"/>
                    <a:gd name="connsiteX7" fmla="*/ 276701 w 553402"/>
                    <a:gd name="connsiteY7" fmla="*/ 318181 h 556782"/>
                    <a:gd name="connsiteX8" fmla="*/ 515303 w 553402"/>
                    <a:gd name="connsiteY8" fmla="*/ 556783 h 556782"/>
                    <a:gd name="connsiteX9" fmla="*/ 553403 w 553402"/>
                    <a:gd name="connsiteY9" fmla="*/ 556783 h 556782"/>
                    <a:gd name="connsiteX10" fmla="*/ 361093 w 553402"/>
                    <a:gd name="connsiteY10" fmla="*/ 293416 h 556782"/>
                    <a:gd name="connsiteX11" fmla="*/ 276225 w 553402"/>
                    <a:gd name="connsiteY11" fmla="*/ 38241 h 556782"/>
                    <a:gd name="connsiteX12" fmla="*/ 397288 w 553402"/>
                    <a:gd name="connsiteY12" fmla="*/ 159114 h 556782"/>
                    <a:gd name="connsiteX13" fmla="*/ 276415 w 553402"/>
                    <a:gd name="connsiteY13" fmla="*/ 280176 h 556782"/>
                    <a:gd name="connsiteX14" fmla="*/ 155353 w 553402"/>
                    <a:gd name="connsiteY14" fmla="*/ 159304 h 556782"/>
                    <a:gd name="connsiteX15" fmla="*/ 155353 w 553402"/>
                    <a:gd name="connsiteY15" fmla="*/ 159114 h 556782"/>
                    <a:gd name="connsiteX16" fmla="*/ 276225 w 553402"/>
                    <a:gd name="connsiteY16" fmla="*/ 38241 h 556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53402" h="556782">
                      <a:moveTo>
                        <a:pt x="361093" y="293416"/>
                      </a:moveTo>
                      <a:cubicBezTo>
                        <a:pt x="435333" y="246545"/>
                        <a:pt x="457520" y="148365"/>
                        <a:pt x="410648" y="74125"/>
                      </a:cubicBezTo>
                      <a:cubicBezTo>
                        <a:pt x="363777" y="-115"/>
                        <a:pt x="265597" y="-22302"/>
                        <a:pt x="191357" y="24569"/>
                      </a:cubicBezTo>
                      <a:cubicBezTo>
                        <a:pt x="117117" y="71441"/>
                        <a:pt x="94930" y="169621"/>
                        <a:pt x="141802" y="243861"/>
                      </a:cubicBezTo>
                      <a:cubicBezTo>
                        <a:pt x="154428" y="263860"/>
                        <a:pt x="171358" y="280790"/>
                        <a:pt x="191357" y="293416"/>
                      </a:cubicBezTo>
                      <a:cubicBezTo>
                        <a:pt x="77306" y="330554"/>
                        <a:pt x="83" y="436837"/>
                        <a:pt x="0" y="556783"/>
                      </a:cubicBezTo>
                      <a:lnTo>
                        <a:pt x="38100" y="556783"/>
                      </a:lnTo>
                      <a:cubicBezTo>
                        <a:pt x="38100" y="425007"/>
                        <a:pt x="144925" y="318181"/>
                        <a:pt x="276701" y="318181"/>
                      </a:cubicBezTo>
                      <a:cubicBezTo>
                        <a:pt x="408477" y="318181"/>
                        <a:pt x="515303" y="425007"/>
                        <a:pt x="515303" y="556783"/>
                      </a:cubicBezTo>
                      <a:lnTo>
                        <a:pt x="553403" y="556783"/>
                      </a:lnTo>
                      <a:cubicBezTo>
                        <a:pt x="553186" y="436582"/>
                        <a:pt x="475521" y="330220"/>
                        <a:pt x="361093" y="293416"/>
                      </a:cubicBezTo>
                      <a:close/>
                      <a:moveTo>
                        <a:pt x="276225" y="38241"/>
                      </a:moveTo>
                      <a:cubicBezTo>
                        <a:pt x="343034" y="38189"/>
                        <a:pt x="397235" y="92305"/>
                        <a:pt x="397288" y="159114"/>
                      </a:cubicBezTo>
                      <a:cubicBezTo>
                        <a:pt x="397340" y="225922"/>
                        <a:pt x="343224" y="280124"/>
                        <a:pt x="276415" y="280176"/>
                      </a:cubicBezTo>
                      <a:cubicBezTo>
                        <a:pt x="209607" y="280229"/>
                        <a:pt x="155405" y="226113"/>
                        <a:pt x="155353" y="159304"/>
                      </a:cubicBezTo>
                      <a:cubicBezTo>
                        <a:pt x="155353" y="159241"/>
                        <a:pt x="155353" y="159177"/>
                        <a:pt x="155353" y="159114"/>
                      </a:cubicBezTo>
                      <a:cubicBezTo>
                        <a:pt x="155405" y="92380"/>
                        <a:pt x="209491" y="38294"/>
                        <a:pt x="276225" y="38241"/>
                      </a:cubicBezTo>
                      <a:close/>
                    </a:path>
                  </a:pathLst>
                </a:custGeom>
                <a:solidFill>
                  <a:schemeClr val="tx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10" name="Rectangle: Rounded Corners 209">
                  <a:extLst>
                    <a:ext uri="{FF2B5EF4-FFF2-40B4-BE49-F238E27FC236}">
                      <a16:creationId xmlns:a16="http://schemas.microsoft.com/office/drawing/2014/main" id="{554327D7-5506-C57A-73FF-F4F7AF179812}"/>
                    </a:ext>
                  </a:extLst>
                </p:cNvPr>
                <p:cNvSpPr/>
                <p:nvPr/>
              </p:nvSpPr>
              <p:spPr>
                <a:xfrm>
                  <a:off x="954054" y="4352654"/>
                  <a:ext cx="407146" cy="113917"/>
                </a:xfrm>
                <a:prstGeom prst="roundRect">
                  <a:avLst>
                    <a:gd name="adj" fmla="val 50000"/>
                  </a:avLst>
                </a:prstGeom>
                <a:solidFill>
                  <a:schemeClr val="bg2"/>
                </a:solidFill>
                <a:ln w="6350">
                  <a:solidFill>
                    <a:schemeClr val="bg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14" name="Graphic 564">
                  <a:extLst>
                    <a:ext uri="{FF2B5EF4-FFF2-40B4-BE49-F238E27FC236}">
                      <a16:creationId xmlns:a16="http://schemas.microsoft.com/office/drawing/2014/main" id="{32C237A4-5F8B-35E1-B50A-FFA8DD5FFDAD}"/>
                    </a:ext>
                  </a:extLst>
                </p:cNvPr>
                <p:cNvSpPr/>
                <p:nvPr/>
              </p:nvSpPr>
              <p:spPr>
                <a:xfrm>
                  <a:off x="666470" y="4264149"/>
                  <a:ext cx="384600" cy="386950"/>
                </a:xfrm>
                <a:custGeom>
                  <a:avLst/>
                  <a:gdLst>
                    <a:gd name="connsiteX0" fmla="*/ 361093 w 553402"/>
                    <a:gd name="connsiteY0" fmla="*/ 293416 h 556782"/>
                    <a:gd name="connsiteX1" fmla="*/ 410648 w 553402"/>
                    <a:gd name="connsiteY1" fmla="*/ 74125 h 556782"/>
                    <a:gd name="connsiteX2" fmla="*/ 191357 w 553402"/>
                    <a:gd name="connsiteY2" fmla="*/ 24569 h 556782"/>
                    <a:gd name="connsiteX3" fmla="*/ 141802 w 553402"/>
                    <a:gd name="connsiteY3" fmla="*/ 243861 h 556782"/>
                    <a:gd name="connsiteX4" fmla="*/ 191357 w 553402"/>
                    <a:gd name="connsiteY4" fmla="*/ 293416 h 556782"/>
                    <a:gd name="connsiteX5" fmla="*/ 0 w 553402"/>
                    <a:gd name="connsiteY5" fmla="*/ 556783 h 556782"/>
                    <a:gd name="connsiteX6" fmla="*/ 38100 w 553402"/>
                    <a:gd name="connsiteY6" fmla="*/ 556783 h 556782"/>
                    <a:gd name="connsiteX7" fmla="*/ 276701 w 553402"/>
                    <a:gd name="connsiteY7" fmla="*/ 318181 h 556782"/>
                    <a:gd name="connsiteX8" fmla="*/ 515303 w 553402"/>
                    <a:gd name="connsiteY8" fmla="*/ 556783 h 556782"/>
                    <a:gd name="connsiteX9" fmla="*/ 553403 w 553402"/>
                    <a:gd name="connsiteY9" fmla="*/ 556783 h 556782"/>
                    <a:gd name="connsiteX10" fmla="*/ 361093 w 553402"/>
                    <a:gd name="connsiteY10" fmla="*/ 293416 h 556782"/>
                    <a:gd name="connsiteX11" fmla="*/ 276225 w 553402"/>
                    <a:gd name="connsiteY11" fmla="*/ 38241 h 556782"/>
                    <a:gd name="connsiteX12" fmla="*/ 397288 w 553402"/>
                    <a:gd name="connsiteY12" fmla="*/ 159114 h 556782"/>
                    <a:gd name="connsiteX13" fmla="*/ 276415 w 553402"/>
                    <a:gd name="connsiteY13" fmla="*/ 280176 h 556782"/>
                    <a:gd name="connsiteX14" fmla="*/ 155353 w 553402"/>
                    <a:gd name="connsiteY14" fmla="*/ 159304 h 556782"/>
                    <a:gd name="connsiteX15" fmla="*/ 155353 w 553402"/>
                    <a:gd name="connsiteY15" fmla="*/ 159114 h 556782"/>
                    <a:gd name="connsiteX16" fmla="*/ 276225 w 553402"/>
                    <a:gd name="connsiteY16" fmla="*/ 38241 h 556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53402" h="556782">
                      <a:moveTo>
                        <a:pt x="361093" y="293416"/>
                      </a:moveTo>
                      <a:cubicBezTo>
                        <a:pt x="435333" y="246545"/>
                        <a:pt x="457520" y="148365"/>
                        <a:pt x="410648" y="74125"/>
                      </a:cubicBezTo>
                      <a:cubicBezTo>
                        <a:pt x="363777" y="-115"/>
                        <a:pt x="265597" y="-22302"/>
                        <a:pt x="191357" y="24569"/>
                      </a:cubicBezTo>
                      <a:cubicBezTo>
                        <a:pt x="117117" y="71441"/>
                        <a:pt x="94930" y="169621"/>
                        <a:pt x="141802" y="243861"/>
                      </a:cubicBezTo>
                      <a:cubicBezTo>
                        <a:pt x="154428" y="263860"/>
                        <a:pt x="171358" y="280790"/>
                        <a:pt x="191357" y="293416"/>
                      </a:cubicBezTo>
                      <a:cubicBezTo>
                        <a:pt x="77306" y="330554"/>
                        <a:pt x="83" y="436837"/>
                        <a:pt x="0" y="556783"/>
                      </a:cubicBezTo>
                      <a:lnTo>
                        <a:pt x="38100" y="556783"/>
                      </a:lnTo>
                      <a:cubicBezTo>
                        <a:pt x="38100" y="425007"/>
                        <a:pt x="144925" y="318181"/>
                        <a:pt x="276701" y="318181"/>
                      </a:cubicBezTo>
                      <a:cubicBezTo>
                        <a:pt x="408477" y="318181"/>
                        <a:pt x="515303" y="425007"/>
                        <a:pt x="515303" y="556783"/>
                      </a:cubicBezTo>
                      <a:lnTo>
                        <a:pt x="553403" y="556783"/>
                      </a:lnTo>
                      <a:cubicBezTo>
                        <a:pt x="553186" y="436582"/>
                        <a:pt x="475521" y="330220"/>
                        <a:pt x="361093" y="293416"/>
                      </a:cubicBezTo>
                      <a:close/>
                      <a:moveTo>
                        <a:pt x="276225" y="38241"/>
                      </a:moveTo>
                      <a:cubicBezTo>
                        <a:pt x="343034" y="38189"/>
                        <a:pt x="397235" y="92305"/>
                        <a:pt x="397288" y="159114"/>
                      </a:cubicBezTo>
                      <a:cubicBezTo>
                        <a:pt x="397340" y="225922"/>
                        <a:pt x="343224" y="280124"/>
                        <a:pt x="276415" y="280176"/>
                      </a:cubicBezTo>
                      <a:cubicBezTo>
                        <a:pt x="209607" y="280229"/>
                        <a:pt x="155405" y="226113"/>
                        <a:pt x="155353" y="159304"/>
                      </a:cubicBezTo>
                      <a:cubicBezTo>
                        <a:pt x="155353" y="159241"/>
                        <a:pt x="155353" y="159177"/>
                        <a:pt x="155353" y="159114"/>
                      </a:cubicBezTo>
                      <a:cubicBezTo>
                        <a:pt x="155405" y="92380"/>
                        <a:pt x="209491" y="38294"/>
                        <a:pt x="276225" y="38241"/>
                      </a:cubicBezTo>
                      <a:close/>
                    </a:path>
                  </a:pathLst>
                </a:custGeom>
                <a:solidFill>
                  <a:schemeClr val="tx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17" name="Graphic 564">
                  <a:extLst>
                    <a:ext uri="{FF2B5EF4-FFF2-40B4-BE49-F238E27FC236}">
                      <a16:creationId xmlns:a16="http://schemas.microsoft.com/office/drawing/2014/main" id="{4F75D869-94E3-E985-C63B-1778DC9827FC}"/>
                    </a:ext>
                  </a:extLst>
                </p:cNvPr>
                <p:cNvSpPr/>
                <p:nvPr/>
              </p:nvSpPr>
              <p:spPr>
                <a:xfrm>
                  <a:off x="1247331" y="4264149"/>
                  <a:ext cx="384600" cy="386950"/>
                </a:xfrm>
                <a:custGeom>
                  <a:avLst/>
                  <a:gdLst>
                    <a:gd name="connsiteX0" fmla="*/ 361093 w 553402"/>
                    <a:gd name="connsiteY0" fmla="*/ 293416 h 556782"/>
                    <a:gd name="connsiteX1" fmla="*/ 410648 w 553402"/>
                    <a:gd name="connsiteY1" fmla="*/ 74125 h 556782"/>
                    <a:gd name="connsiteX2" fmla="*/ 191357 w 553402"/>
                    <a:gd name="connsiteY2" fmla="*/ 24569 h 556782"/>
                    <a:gd name="connsiteX3" fmla="*/ 141802 w 553402"/>
                    <a:gd name="connsiteY3" fmla="*/ 243861 h 556782"/>
                    <a:gd name="connsiteX4" fmla="*/ 191357 w 553402"/>
                    <a:gd name="connsiteY4" fmla="*/ 293416 h 556782"/>
                    <a:gd name="connsiteX5" fmla="*/ 0 w 553402"/>
                    <a:gd name="connsiteY5" fmla="*/ 556783 h 556782"/>
                    <a:gd name="connsiteX6" fmla="*/ 38100 w 553402"/>
                    <a:gd name="connsiteY6" fmla="*/ 556783 h 556782"/>
                    <a:gd name="connsiteX7" fmla="*/ 276701 w 553402"/>
                    <a:gd name="connsiteY7" fmla="*/ 318181 h 556782"/>
                    <a:gd name="connsiteX8" fmla="*/ 515303 w 553402"/>
                    <a:gd name="connsiteY8" fmla="*/ 556783 h 556782"/>
                    <a:gd name="connsiteX9" fmla="*/ 553403 w 553402"/>
                    <a:gd name="connsiteY9" fmla="*/ 556783 h 556782"/>
                    <a:gd name="connsiteX10" fmla="*/ 361093 w 553402"/>
                    <a:gd name="connsiteY10" fmla="*/ 293416 h 556782"/>
                    <a:gd name="connsiteX11" fmla="*/ 276225 w 553402"/>
                    <a:gd name="connsiteY11" fmla="*/ 38241 h 556782"/>
                    <a:gd name="connsiteX12" fmla="*/ 397288 w 553402"/>
                    <a:gd name="connsiteY12" fmla="*/ 159114 h 556782"/>
                    <a:gd name="connsiteX13" fmla="*/ 276415 w 553402"/>
                    <a:gd name="connsiteY13" fmla="*/ 280176 h 556782"/>
                    <a:gd name="connsiteX14" fmla="*/ 155353 w 553402"/>
                    <a:gd name="connsiteY14" fmla="*/ 159304 h 556782"/>
                    <a:gd name="connsiteX15" fmla="*/ 155353 w 553402"/>
                    <a:gd name="connsiteY15" fmla="*/ 159114 h 556782"/>
                    <a:gd name="connsiteX16" fmla="*/ 276225 w 553402"/>
                    <a:gd name="connsiteY16" fmla="*/ 38241 h 556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53402" h="556782">
                      <a:moveTo>
                        <a:pt x="361093" y="293416"/>
                      </a:moveTo>
                      <a:cubicBezTo>
                        <a:pt x="435333" y="246545"/>
                        <a:pt x="457520" y="148365"/>
                        <a:pt x="410648" y="74125"/>
                      </a:cubicBezTo>
                      <a:cubicBezTo>
                        <a:pt x="363777" y="-115"/>
                        <a:pt x="265597" y="-22302"/>
                        <a:pt x="191357" y="24569"/>
                      </a:cubicBezTo>
                      <a:cubicBezTo>
                        <a:pt x="117117" y="71441"/>
                        <a:pt x="94930" y="169621"/>
                        <a:pt x="141802" y="243861"/>
                      </a:cubicBezTo>
                      <a:cubicBezTo>
                        <a:pt x="154428" y="263860"/>
                        <a:pt x="171358" y="280790"/>
                        <a:pt x="191357" y="293416"/>
                      </a:cubicBezTo>
                      <a:cubicBezTo>
                        <a:pt x="77306" y="330554"/>
                        <a:pt x="83" y="436837"/>
                        <a:pt x="0" y="556783"/>
                      </a:cubicBezTo>
                      <a:lnTo>
                        <a:pt x="38100" y="556783"/>
                      </a:lnTo>
                      <a:cubicBezTo>
                        <a:pt x="38100" y="425007"/>
                        <a:pt x="144925" y="318181"/>
                        <a:pt x="276701" y="318181"/>
                      </a:cubicBezTo>
                      <a:cubicBezTo>
                        <a:pt x="408477" y="318181"/>
                        <a:pt x="515303" y="425007"/>
                        <a:pt x="515303" y="556783"/>
                      </a:cubicBezTo>
                      <a:lnTo>
                        <a:pt x="553403" y="556783"/>
                      </a:lnTo>
                      <a:cubicBezTo>
                        <a:pt x="553186" y="436582"/>
                        <a:pt x="475521" y="330220"/>
                        <a:pt x="361093" y="293416"/>
                      </a:cubicBezTo>
                      <a:close/>
                      <a:moveTo>
                        <a:pt x="276225" y="38241"/>
                      </a:moveTo>
                      <a:cubicBezTo>
                        <a:pt x="343034" y="38189"/>
                        <a:pt x="397235" y="92305"/>
                        <a:pt x="397288" y="159114"/>
                      </a:cubicBezTo>
                      <a:cubicBezTo>
                        <a:pt x="397340" y="225922"/>
                        <a:pt x="343224" y="280124"/>
                        <a:pt x="276415" y="280176"/>
                      </a:cubicBezTo>
                      <a:cubicBezTo>
                        <a:pt x="209607" y="280229"/>
                        <a:pt x="155405" y="226113"/>
                        <a:pt x="155353" y="159304"/>
                      </a:cubicBezTo>
                      <a:cubicBezTo>
                        <a:pt x="155353" y="159241"/>
                        <a:pt x="155353" y="159177"/>
                        <a:pt x="155353" y="159114"/>
                      </a:cubicBezTo>
                      <a:cubicBezTo>
                        <a:pt x="155405" y="92380"/>
                        <a:pt x="209491" y="38294"/>
                        <a:pt x="276225" y="38241"/>
                      </a:cubicBezTo>
                      <a:close/>
                    </a:path>
                  </a:pathLst>
                </a:custGeom>
                <a:solidFill>
                  <a:schemeClr val="tx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18" name="Rectangle: Rounded Corners 217">
                  <a:extLst>
                    <a:ext uri="{FF2B5EF4-FFF2-40B4-BE49-F238E27FC236}">
                      <a16:creationId xmlns:a16="http://schemas.microsoft.com/office/drawing/2014/main" id="{BF1EA413-E5C8-FD9A-36E3-640D7CA03076}"/>
                    </a:ext>
                  </a:extLst>
                </p:cNvPr>
                <p:cNvSpPr/>
                <p:nvPr/>
              </p:nvSpPr>
              <p:spPr>
                <a:xfrm>
                  <a:off x="977812" y="4529296"/>
                  <a:ext cx="359629" cy="155724"/>
                </a:xfrm>
                <a:prstGeom prst="roundRect">
                  <a:avLst>
                    <a:gd name="adj" fmla="val 50000"/>
                  </a:avLst>
                </a:prstGeom>
                <a:solidFill>
                  <a:schemeClr val="bg2"/>
                </a:solidFill>
                <a:ln w="6350">
                  <a:solidFill>
                    <a:schemeClr val="bg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19" name="Graphic 564">
                  <a:extLst>
                    <a:ext uri="{FF2B5EF4-FFF2-40B4-BE49-F238E27FC236}">
                      <a16:creationId xmlns:a16="http://schemas.microsoft.com/office/drawing/2014/main" id="{754A4EA4-CF00-90AA-B3F4-F7AAA37EA2FB}"/>
                    </a:ext>
                  </a:extLst>
                </p:cNvPr>
                <p:cNvSpPr/>
                <p:nvPr/>
              </p:nvSpPr>
              <p:spPr>
                <a:xfrm>
                  <a:off x="959403" y="4335822"/>
                  <a:ext cx="384600" cy="386950"/>
                </a:xfrm>
                <a:custGeom>
                  <a:avLst/>
                  <a:gdLst>
                    <a:gd name="connsiteX0" fmla="*/ 361093 w 553402"/>
                    <a:gd name="connsiteY0" fmla="*/ 293416 h 556782"/>
                    <a:gd name="connsiteX1" fmla="*/ 410648 w 553402"/>
                    <a:gd name="connsiteY1" fmla="*/ 74125 h 556782"/>
                    <a:gd name="connsiteX2" fmla="*/ 191357 w 553402"/>
                    <a:gd name="connsiteY2" fmla="*/ 24569 h 556782"/>
                    <a:gd name="connsiteX3" fmla="*/ 141802 w 553402"/>
                    <a:gd name="connsiteY3" fmla="*/ 243861 h 556782"/>
                    <a:gd name="connsiteX4" fmla="*/ 191357 w 553402"/>
                    <a:gd name="connsiteY4" fmla="*/ 293416 h 556782"/>
                    <a:gd name="connsiteX5" fmla="*/ 0 w 553402"/>
                    <a:gd name="connsiteY5" fmla="*/ 556783 h 556782"/>
                    <a:gd name="connsiteX6" fmla="*/ 38100 w 553402"/>
                    <a:gd name="connsiteY6" fmla="*/ 556783 h 556782"/>
                    <a:gd name="connsiteX7" fmla="*/ 276701 w 553402"/>
                    <a:gd name="connsiteY7" fmla="*/ 318181 h 556782"/>
                    <a:gd name="connsiteX8" fmla="*/ 515303 w 553402"/>
                    <a:gd name="connsiteY8" fmla="*/ 556783 h 556782"/>
                    <a:gd name="connsiteX9" fmla="*/ 553403 w 553402"/>
                    <a:gd name="connsiteY9" fmla="*/ 556783 h 556782"/>
                    <a:gd name="connsiteX10" fmla="*/ 361093 w 553402"/>
                    <a:gd name="connsiteY10" fmla="*/ 293416 h 556782"/>
                    <a:gd name="connsiteX11" fmla="*/ 276225 w 553402"/>
                    <a:gd name="connsiteY11" fmla="*/ 38241 h 556782"/>
                    <a:gd name="connsiteX12" fmla="*/ 397288 w 553402"/>
                    <a:gd name="connsiteY12" fmla="*/ 159114 h 556782"/>
                    <a:gd name="connsiteX13" fmla="*/ 276415 w 553402"/>
                    <a:gd name="connsiteY13" fmla="*/ 280176 h 556782"/>
                    <a:gd name="connsiteX14" fmla="*/ 155353 w 553402"/>
                    <a:gd name="connsiteY14" fmla="*/ 159304 h 556782"/>
                    <a:gd name="connsiteX15" fmla="*/ 155353 w 553402"/>
                    <a:gd name="connsiteY15" fmla="*/ 159114 h 556782"/>
                    <a:gd name="connsiteX16" fmla="*/ 276225 w 553402"/>
                    <a:gd name="connsiteY16" fmla="*/ 38241 h 556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53402" h="556782">
                      <a:moveTo>
                        <a:pt x="361093" y="293416"/>
                      </a:moveTo>
                      <a:cubicBezTo>
                        <a:pt x="435333" y="246545"/>
                        <a:pt x="457520" y="148365"/>
                        <a:pt x="410648" y="74125"/>
                      </a:cubicBezTo>
                      <a:cubicBezTo>
                        <a:pt x="363777" y="-115"/>
                        <a:pt x="265597" y="-22302"/>
                        <a:pt x="191357" y="24569"/>
                      </a:cubicBezTo>
                      <a:cubicBezTo>
                        <a:pt x="117117" y="71441"/>
                        <a:pt x="94930" y="169621"/>
                        <a:pt x="141802" y="243861"/>
                      </a:cubicBezTo>
                      <a:cubicBezTo>
                        <a:pt x="154428" y="263860"/>
                        <a:pt x="171358" y="280790"/>
                        <a:pt x="191357" y="293416"/>
                      </a:cubicBezTo>
                      <a:cubicBezTo>
                        <a:pt x="77306" y="330554"/>
                        <a:pt x="83" y="436837"/>
                        <a:pt x="0" y="556783"/>
                      </a:cubicBezTo>
                      <a:lnTo>
                        <a:pt x="38100" y="556783"/>
                      </a:lnTo>
                      <a:cubicBezTo>
                        <a:pt x="38100" y="425007"/>
                        <a:pt x="144925" y="318181"/>
                        <a:pt x="276701" y="318181"/>
                      </a:cubicBezTo>
                      <a:cubicBezTo>
                        <a:pt x="408477" y="318181"/>
                        <a:pt x="515303" y="425007"/>
                        <a:pt x="515303" y="556783"/>
                      </a:cubicBezTo>
                      <a:lnTo>
                        <a:pt x="553403" y="556783"/>
                      </a:lnTo>
                      <a:cubicBezTo>
                        <a:pt x="553186" y="436582"/>
                        <a:pt x="475521" y="330220"/>
                        <a:pt x="361093" y="293416"/>
                      </a:cubicBezTo>
                      <a:close/>
                      <a:moveTo>
                        <a:pt x="276225" y="38241"/>
                      </a:moveTo>
                      <a:cubicBezTo>
                        <a:pt x="343034" y="38189"/>
                        <a:pt x="397235" y="92305"/>
                        <a:pt x="397288" y="159114"/>
                      </a:cubicBezTo>
                      <a:cubicBezTo>
                        <a:pt x="397340" y="225922"/>
                        <a:pt x="343224" y="280124"/>
                        <a:pt x="276415" y="280176"/>
                      </a:cubicBezTo>
                      <a:cubicBezTo>
                        <a:pt x="209607" y="280229"/>
                        <a:pt x="155405" y="226113"/>
                        <a:pt x="155353" y="159304"/>
                      </a:cubicBezTo>
                      <a:cubicBezTo>
                        <a:pt x="155353" y="159241"/>
                        <a:pt x="155353" y="159177"/>
                        <a:pt x="155353" y="159114"/>
                      </a:cubicBezTo>
                      <a:cubicBezTo>
                        <a:pt x="155405" y="92380"/>
                        <a:pt x="209491" y="38294"/>
                        <a:pt x="276225" y="38241"/>
                      </a:cubicBezTo>
                      <a:close/>
                    </a:path>
                  </a:pathLst>
                </a:custGeom>
                <a:solidFill>
                  <a:schemeClr val="tx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grpSp>
        <p:grpSp>
          <p:nvGrpSpPr>
            <p:cNvPr id="220" name="Group 219">
              <a:extLst>
                <a:ext uri="{FF2B5EF4-FFF2-40B4-BE49-F238E27FC236}">
                  <a16:creationId xmlns:a16="http://schemas.microsoft.com/office/drawing/2014/main" id="{87ACE1EB-8B17-8D48-67FA-6AD860664557}"/>
                </a:ext>
              </a:extLst>
            </p:cNvPr>
            <p:cNvGrpSpPr/>
            <p:nvPr/>
          </p:nvGrpSpPr>
          <p:grpSpPr>
            <a:xfrm>
              <a:off x="10035530" y="2803988"/>
              <a:ext cx="511650" cy="511650"/>
              <a:chOff x="7864083" y="2545691"/>
              <a:chExt cx="1107922" cy="1107922"/>
            </a:xfrm>
          </p:grpSpPr>
          <p:sp>
            <p:nvSpPr>
              <p:cNvPr id="221" name="Oval 220">
                <a:extLst>
                  <a:ext uri="{FF2B5EF4-FFF2-40B4-BE49-F238E27FC236}">
                    <a16:creationId xmlns:a16="http://schemas.microsoft.com/office/drawing/2014/main" id="{2DD10E5F-DE15-3F48-9AEB-8165FB76275F}"/>
                  </a:ext>
                </a:extLst>
              </p:cNvPr>
              <p:cNvSpPr/>
              <p:nvPr/>
            </p:nvSpPr>
            <p:spPr>
              <a:xfrm>
                <a:off x="7864083" y="2545691"/>
                <a:ext cx="1107922" cy="1107922"/>
              </a:xfrm>
              <a:prstGeom prst="ellipse">
                <a:avLst/>
              </a:prstGeom>
              <a:solidFill>
                <a:schemeClr val="bg2"/>
              </a:solidFill>
              <a:ln w="6350" cmpd="sng">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222" name="Group 221">
                <a:extLst>
                  <a:ext uri="{FF2B5EF4-FFF2-40B4-BE49-F238E27FC236}">
                    <a16:creationId xmlns:a16="http://schemas.microsoft.com/office/drawing/2014/main" id="{7E45374F-3B9F-B266-1DDB-22A02FB5F8E1}"/>
                  </a:ext>
                </a:extLst>
              </p:cNvPr>
              <p:cNvGrpSpPr/>
              <p:nvPr/>
            </p:nvGrpSpPr>
            <p:grpSpPr>
              <a:xfrm>
                <a:off x="8047680" y="2870656"/>
                <a:ext cx="740730" cy="457994"/>
                <a:chOff x="377183" y="2557693"/>
                <a:chExt cx="1389203" cy="858947"/>
              </a:xfrm>
            </p:grpSpPr>
            <p:grpSp>
              <p:nvGrpSpPr>
                <p:cNvPr id="223" name="Group 222">
                  <a:extLst>
                    <a:ext uri="{FF2B5EF4-FFF2-40B4-BE49-F238E27FC236}">
                      <a16:creationId xmlns:a16="http://schemas.microsoft.com/office/drawing/2014/main" id="{E8C5075D-A484-E993-6143-0D35ABD09AEA}"/>
                    </a:ext>
                  </a:extLst>
                </p:cNvPr>
                <p:cNvGrpSpPr/>
                <p:nvPr/>
              </p:nvGrpSpPr>
              <p:grpSpPr>
                <a:xfrm>
                  <a:off x="377183" y="2756727"/>
                  <a:ext cx="1389203" cy="659913"/>
                  <a:chOff x="5081911" y="3456060"/>
                  <a:chExt cx="1389203" cy="659913"/>
                </a:xfrm>
                <a:solidFill>
                  <a:schemeClr val="tx2"/>
                </a:solidFill>
              </p:grpSpPr>
              <p:sp>
                <p:nvSpPr>
                  <p:cNvPr id="227" name="Graphic 564">
                    <a:extLst>
                      <a:ext uri="{FF2B5EF4-FFF2-40B4-BE49-F238E27FC236}">
                        <a16:creationId xmlns:a16="http://schemas.microsoft.com/office/drawing/2014/main" id="{C37C2F8E-B261-C165-5641-27246F52208D}"/>
                      </a:ext>
                    </a:extLst>
                  </p:cNvPr>
                  <p:cNvSpPr/>
                  <p:nvPr/>
                </p:nvSpPr>
                <p:spPr>
                  <a:xfrm>
                    <a:off x="5081911" y="3456060"/>
                    <a:ext cx="553402" cy="556782"/>
                  </a:xfrm>
                  <a:custGeom>
                    <a:avLst/>
                    <a:gdLst>
                      <a:gd name="connsiteX0" fmla="*/ 361093 w 553402"/>
                      <a:gd name="connsiteY0" fmla="*/ 293416 h 556782"/>
                      <a:gd name="connsiteX1" fmla="*/ 410648 w 553402"/>
                      <a:gd name="connsiteY1" fmla="*/ 74125 h 556782"/>
                      <a:gd name="connsiteX2" fmla="*/ 191357 w 553402"/>
                      <a:gd name="connsiteY2" fmla="*/ 24569 h 556782"/>
                      <a:gd name="connsiteX3" fmla="*/ 141802 w 553402"/>
                      <a:gd name="connsiteY3" fmla="*/ 243861 h 556782"/>
                      <a:gd name="connsiteX4" fmla="*/ 191357 w 553402"/>
                      <a:gd name="connsiteY4" fmla="*/ 293416 h 556782"/>
                      <a:gd name="connsiteX5" fmla="*/ 0 w 553402"/>
                      <a:gd name="connsiteY5" fmla="*/ 556783 h 556782"/>
                      <a:gd name="connsiteX6" fmla="*/ 38100 w 553402"/>
                      <a:gd name="connsiteY6" fmla="*/ 556783 h 556782"/>
                      <a:gd name="connsiteX7" fmla="*/ 276701 w 553402"/>
                      <a:gd name="connsiteY7" fmla="*/ 318181 h 556782"/>
                      <a:gd name="connsiteX8" fmla="*/ 515303 w 553402"/>
                      <a:gd name="connsiteY8" fmla="*/ 556783 h 556782"/>
                      <a:gd name="connsiteX9" fmla="*/ 553403 w 553402"/>
                      <a:gd name="connsiteY9" fmla="*/ 556783 h 556782"/>
                      <a:gd name="connsiteX10" fmla="*/ 361093 w 553402"/>
                      <a:gd name="connsiteY10" fmla="*/ 293416 h 556782"/>
                      <a:gd name="connsiteX11" fmla="*/ 276225 w 553402"/>
                      <a:gd name="connsiteY11" fmla="*/ 38241 h 556782"/>
                      <a:gd name="connsiteX12" fmla="*/ 397288 w 553402"/>
                      <a:gd name="connsiteY12" fmla="*/ 159114 h 556782"/>
                      <a:gd name="connsiteX13" fmla="*/ 276415 w 553402"/>
                      <a:gd name="connsiteY13" fmla="*/ 280176 h 556782"/>
                      <a:gd name="connsiteX14" fmla="*/ 155353 w 553402"/>
                      <a:gd name="connsiteY14" fmla="*/ 159304 h 556782"/>
                      <a:gd name="connsiteX15" fmla="*/ 155353 w 553402"/>
                      <a:gd name="connsiteY15" fmla="*/ 159114 h 556782"/>
                      <a:gd name="connsiteX16" fmla="*/ 276225 w 553402"/>
                      <a:gd name="connsiteY16" fmla="*/ 38241 h 556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53402" h="556782">
                        <a:moveTo>
                          <a:pt x="361093" y="293416"/>
                        </a:moveTo>
                        <a:cubicBezTo>
                          <a:pt x="435333" y="246545"/>
                          <a:pt x="457520" y="148365"/>
                          <a:pt x="410648" y="74125"/>
                        </a:cubicBezTo>
                        <a:cubicBezTo>
                          <a:pt x="363777" y="-115"/>
                          <a:pt x="265597" y="-22302"/>
                          <a:pt x="191357" y="24569"/>
                        </a:cubicBezTo>
                        <a:cubicBezTo>
                          <a:pt x="117117" y="71441"/>
                          <a:pt x="94930" y="169621"/>
                          <a:pt x="141802" y="243861"/>
                        </a:cubicBezTo>
                        <a:cubicBezTo>
                          <a:pt x="154428" y="263860"/>
                          <a:pt x="171358" y="280790"/>
                          <a:pt x="191357" y="293416"/>
                        </a:cubicBezTo>
                        <a:cubicBezTo>
                          <a:pt x="77306" y="330554"/>
                          <a:pt x="83" y="436837"/>
                          <a:pt x="0" y="556783"/>
                        </a:cubicBezTo>
                        <a:lnTo>
                          <a:pt x="38100" y="556783"/>
                        </a:lnTo>
                        <a:cubicBezTo>
                          <a:pt x="38100" y="425007"/>
                          <a:pt x="144925" y="318181"/>
                          <a:pt x="276701" y="318181"/>
                        </a:cubicBezTo>
                        <a:cubicBezTo>
                          <a:pt x="408477" y="318181"/>
                          <a:pt x="515303" y="425007"/>
                          <a:pt x="515303" y="556783"/>
                        </a:cubicBezTo>
                        <a:lnTo>
                          <a:pt x="553403" y="556783"/>
                        </a:lnTo>
                        <a:cubicBezTo>
                          <a:pt x="553186" y="436582"/>
                          <a:pt x="475521" y="330220"/>
                          <a:pt x="361093" y="293416"/>
                        </a:cubicBezTo>
                        <a:close/>
                        <a:moveTo>
                          <a:pt x="276225" y="38241"/>
                        </a:moveTo>
                        <a:cubicBezTo>
                          <a:pt x="343034" y="38189"/>
                          <a:pt x="397235" y="92305"/>
                          <a:pt x="397288" y="159114"/>
                        </a:cubicBezTo>
                        <a:cubicBezTo>
                          <a:pt x="397340" y="225922"/>
                          <a:pt x="343224" y="280124"/>
                          <a:pt x="276415" y="280176"/>
                        </a:cubicBezTo>
                        <a:cubicBezTo>
                          <a:pt x="209607" y="280229"/>
                          <a:pt x="155405" y="226113"/>
                          <a:pt x="155353" y="159304"/>
                        </a:cubicBezTo>
                        <a:cubicBezTo>
                          <a:pt x="155353" y="159241"/>
                          <a:pt x="155353" y="159177"/>
                          <a:pt x="155353" y="159114"/>
                        </a:cubicBezTo>
                        <a:cubicBezTo>
                          <a:pt x="155405" y="92380"/>
                          <a:pt x="209491" y="38294"/>
                          <a:pt x="276225" y="3824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28" name="Graphic 564">
                    <a:extLst>
                      <a:ext uri="{FF2B5EF4-FFF2-40B4-BE49-F238E27FC236}">
                        <a16:creationId xmlns:a16="http://schemas.microsoft.com/office/drawing/2014/main" id="{0D01D0CC-0783-566F-A6B6-1096070370B0}"/>
                      </a:ext>
                    </a:extLst>
                  </p:cNvPr>
                  <p:cNvSpPr/>
                  <p:nvPr/>
                </p:nvSpPr>
                <p:spPr>
                  <a:xfrm>
                    <a:off x="5917712" y="3456060"/>
                    <a:ext cx="553402" cy="556782"/>
                  </a:xfrm>
                  <a:custGeom>
                    <a:avLst/>
                    <a:gdLst>
                      <a:gd name="connsiteX0" fmla="*/ 361093 w 553402"/>
                      <a:gd name="connsiteY0" fmla="*/ 293416 h 556782"/>
                      <a:gd name="connsiteX1" fmla="*/ 410648 w 553402"/>
                      <a:gd name="connsiteY1" fmla="*/ 74125 h 556782"/>
                      <a:gd name="connsiteX2" fmla="*/ 191357 w 553402"/>
                      <a:gd name="connsiteY2" fmla="*/ 24569 h 556782"/>
                      <a:gd name="connsiteX3" fmla="*/ 141802 w 553402"/>
                      <a:gd name="connsiteY3" fmla="*/ 243861 h 556782"/>
                      <a:gd name="connsiteX4" fmla="*/ 191357 w 553402"/>
                      <a:gd name="connsiteY4" fmla="*/ 293416 h 556782"/>
                      <a:gd name="connsiteX5" fmla="*/ 0 w 553402"/>
                      <a:gd name="connsiteY5" fmla="*/ 556783 h 556782"/>
                      <a:gd name="connsiteX6" fmla="*/ 38100 w 553402"/>
                      <a:gd name="connsiteY6" fmla="*/ 556783 h 556782"/>
                      <a:gd name="connsiteX7" fmla="*/ 276701 w 553402"/>
                      <a:gd name="connsiteY7" fmla="*/ 318181 h 556782"/>
                      <a:gd name="connsiteX8" fmla="*/ 515303 w 553402"/>
                      <a:gd name="connsiteY8" fmla="*/ 556783 h 556782"/>
                      <a:gd name="connsiteX9" fmla="*/ 553403 w 553402"/>
                      <a:gd name="connsiteY9" fmla="*/ 556783 h 556782"/>
                      <a:gd name="connsiteX10" fmla="*/ 361093 w 553402"/>
                      <a:gd name="connsiteY10" fmla="*/ 293416 h 556782"/>
                      <a:gd name="connsiteX11" fmla="*/ 276225 w 553402"/>
                      <a:gd name="connsiteY11" fmla="*/ 38241 h 556782"/>
                      <a:gd name="connsiteX12" fmla="*/ 397288 w 553402"/>
                      <a:gd name="connsiteY12" fmla="*/ 159114 h 556782"/>
                      <a:gd name="connsiteX13" fmla="*/ 276415 w 553402"/>
                      <a:gd name="connsiteY13" fmla="*/ 280176 h 556782"/>
                      <a:gd name="connsiteX14" fmla="*/ 155353 w 553402"/>
                      <a:gd name="connsiteY14" fmla="*/ 159304 h 556782"/>
                      <a:gd name="connsiteX15" fmla="*/ 155353 w 553402"/>
                      <a:gd name="connsiteY15" fmla="*/ 159114 h 556782"/>
                      <a:gd name="connsiteX16" fmla="*/ 276225 w 553402"/>
                      <a:gd name="connsiteY16" fmla="*/ 38241 h 556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53402" h="556782">
                        <a:moveTo>
                          <a:pt x="361093" y="293416"/>
                        </a:moveTo>
                        <a:cubicBezTo>
                          <a:pt x="435333" y="246545"/>
                          <a:pt x="457520" y="148365"/>
                          <a:pt x="410648" y="74125"/>
                        </a:cubicBezTo>
                        <a:cubicBezTo>
                          <a:pt x="363777" y="-115"/>
                          <a:pt x="265597" y="-22302"/>
                          <a:pt x="191357" y="24569"/>
                        </a:cubicBezTo>
                        <a:cubicBezTo>
                          <a:pt x="117117" y="71441"/>
                          <a:pt x="94930" y="169621"/>
                          <a:pt x="141802" y="243861"/>
                        </a:cubicBezTo>
                        <a:cubicBezTo>
                          <a:pt x="154428" y="263860"/>
                          <a:pt x="171358" y="280790"/>
                          <a:pt x="191357" y="293416"/>
                        </a:cubicBezTo>
                        <a:cubicBezTo>
                          <a:pt x="77306" y="330554"/>
                          <a:pt x="83" y="436837"/>
                          <a:pt x="0" y="556783"/>
                        </a:cubicBezTo>
                        <a:lnTo>
                          <a:pt x="38100" y="556783"/>
                        </a:lnTo>
                        <a:cubicBezTo>
                          <a:pt x="38100" y="425007"/>
                          <a:pt x="144925" y="318181"/>
                          <a:pt x="276701" y="318181"/>
                        </a:cubicBezTo>
                        <a:cubicBezTo>
                          <a:pt x="408477" y="318181"/>
                          <a:pt x="515303" y="425007"/>
                          <a:pt x="515303" y="556783"/>
                        </a:cubicBezTo>
                        <a:lnTo>
                          <a:pt x="553403" y="556783"/>
                        </a:lnTo>
                        <a:cubicBezTo>
                          <a:pt x="553186" y="436582"/>
                          <a:pt x="475521" y="330220"/>
                          <a:pt x="361093" y="293416"/>
                        </a:cubicBezTo>
                        <a:close/>
                        <a:moveTo>
                          <a:pt x="276225" y="38241"/>
                        </a:moveTo>
                        <a:cubicBezTo>
                          <a:pt x="343034" y="38189"/>
                          <a:pt x="397235" y="92305"/>
                          <a:pt x="397288" y="159114"/>
                        </a:cubicBezTo>
                        <a:cubicBezTo>
                          <a:pt x="397340" y="225922"/>
                          <a:pt x="343224" y="280124"/>
                          <a:pt x="276415" y="280176"/>
                        </a:cubicBezTo>
                        <a:cubicBezTo>
                          <a:pt x="209607" y="280229"/>
                          <a:pt x="155405" y="226113"/>
                          <a:pt x="155353" y="159304"/>
                        </a:cubicBezTo>
                        <a:cubicBezTo>
                          <a:pt x="155353" y="159241"/>
                          <a:pt x="155353" y="159177"/>
                          <a:pt x="155353" y="159114"/>
                        </a:cubicBezTo>
                        <a:cubicBezTo>
                          <a:pt x="155405" y="92380"/>
                          <a:pt x="209491" y="38294"/>
                          <a:pt x="276225" y="3824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29" name="Rectangle: Rounded Corners 228">
                    <a:extLst>
                      <a:ext uri="{FF2B5EF4-FFF2-40B4-BE49-F238E27FC236}">
                        <a16:creationId xmlns:a16="http://schemas.microsoft.com/office/drawing/2014/main" id="{7CBCC1E8-3A2F-01A9-58D2-90B1E576C9A4}"/>
                      </a:ext>
                    </a:extLst>
                  </p:cNvPr>
                  <p:cNvSpPr/>
                  <p:nvPr/>
                </p:nvSpPr>
                <p:spPr>
                  <a:xfrm>
                    <a:off x="5529902" y="3837581"/>
                    <a:ext cx="517470" cy="224071"/>
                  </a:xfrm>
                  <a:prstGeom prst="roundRect">
                    <a:avLst>
                      <a:gd name="adj" fmla="val 50000"/>
                    </a:avLst>
                  </a:prstGeom>
                  <a:solidFill>
                    <a:schemeClr val="bg2"/>
                  </a:solidFill>
                  <a:ln w="6350">
                    <a:solidFill>
                      <a:schemeClr val="bg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0" name="Graphic 564">
                    <a:extLst>
                      <a:ext uri="{FF2B5EF4-FFF2-40B4-BE49-F238E27FC236}">
                        <a16:creationId xmlns:a16="http://schemas.microsoft.com/office/drawing/2014/main" id="{49FC949B-6528-151C-5530-616DA84A7112}"/>
                      </a:ext>
                    </a:extLst>
                  </p:cNvPr>
                  <p:cNvSpPr/>
                  <p:nvPr/>
                </p:nvSpPr>
                <p:spPr>
                  <a:xfrm>
                    <a:off x="5503413" y="3559191"/>
                    <a:ext cx="553402" cy="556782"/>
                  </a:xfrm>
                  <a:custGeom>
                    <a:avLst/>
                    <a:gdLst>
                      <a:gd name="connsiteX0" fmla="*/ 361093 w 553402"/>
                      <a:gd name="connsiteY0" fmla="*/ 293416 h 556782"/>
                      <a:gd name="connsiteX1" fmla="*/ 410648 w 553402"/>
                      <a:gd name="connsiteY1" fmla="*/ 74125 h 556782"/>
                      <a:gd name="connsiteX2" fmla="*/ 191357 w 553402"/>
                      <a:gd name="connsiteY2" fmla="*/ 24569 h 556782"/>
                      <a:gd name="connsiteX3" fmla="*/ 141802 w 553402"/>
                      <a:gd name="connsiteY3" fmla="*/ 243861 h 556782"/>
                      <a:gd name="connsiteX4" fmla="*/ 191357 w 553402"/>
                      <a:gd name="connsiteY4" fmla="*/ 293416 h 556782"/>
                      <a:gd name="connsiteX5" fmla="*/ 0 w 553402"/>
                      <a:gd name="connsiteY5" fmla="*/ 556783 h 556782"/>
                      <a:gd name="connsiteX6" fmla="*/ 38100 w 553402"/>
                      <a:gd name="connsiteY6" fmla="*/ 556783 h 556782"/>
                      <a:gd name="connsiteX7" fmla="*/ 276701 w 553402"/>
                      <a:gd name="connsiteY7" fmla="*/ 318181 h 556782"/>
                      <a:gd name="connsiteX8" fmla="*/ 515303 w 553402"/>
                      <a:gd name="connsiteY8" fmla="*/ 556783 h 556782"/>
                      <a:gd name="connsiteX9" fmla="*/ 553403 w 553402"/>
                      <a:gd name="connsiteY9" fmla="*/ 556783 h 556782"/>
                      <a:gd name="connsiteX10" fmla="*/ 361093 w 553402"/>
                      <a:gd name="connsiteY10" fmla="*/ 293416 h 556782"/>
                      <a:gd name="connsiteX11" fmla="*/ 276225 w 553402"/>
                      <a:gd name="connsiteY11" fmla="*/ 38241 h 556782"/>
                      <a:gd name="connsiteX12" fmla="*/ 397288 w 553402"/>
                      <a:gd name="connsiteY12" fmla="*/ 159114 h 556782"/>
                      <a:gd name="connsiteX13" fmla="*/ 276415 w 553402"/>
                      <a:gd name="connsiteY13" fmla="*/ 280176 h 556782"/>
                      <a:gd name="connsiteX14" fmla="*/ 155353 w 553402"/>
                      <a:gd name="connsiteY14" fmla="*/ 159304 h 556782"/>
                      <a:gd name="connsiteX15" fmla="*/ 155353 w 553402"/>
                      <a:gd name="connsiteY15" fmla="*/ 159114 h 556782"/>
                      <a:gd name="connsiteX16" fmla="*/ 276225 w 553402"/>
                      <a:gd name="connsiteY16" fmla="*/ 38241 h 556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53402" h="556782">
                        <a:moveTo>
                          <a:pt x="361093" y="293416"/>
                        </a:moveTo>
                        <a:cubicBezTo>
                          <a:pt x="435333" y="246545"/>
                          <a:pt x="457520" y="148365"/>
                          <a:pt x="410648" y="74125"/>
                        </a:cubicBezTo>
                        <a:cubicBezTo>
                          <a:pt x="363777" y="-115"/>
                          <a:pt x="265597" y="-22302"/>
                          <a:pt x="191357" y="24569"/>
                        </a:cubicBezTo>
                        <a:cubicBezTo>
                          <a:pt x="117117" y="71441"/>
                          <a:pt x="94930" y="169621"/>
                          <a:pt x="141802" y="243861"/>
                        </a:cubicBezTo>
                        <a:cubicBezTo>
                          <a:pt x="154428" y="263860"/>
                          <a:pt x="171358" y="280790"/>
                          <a:pt x="191357" y="293416"/>
                        </a:cubicBezTo>
                        <a:cubicBezTo>
                          <a:pt x="77306" y="330554"/>
                          <a:pt x="83" y="436837"/>
                          <a:pt x="0" y="556783"/>
                        </a:cubicBezTo>
                        <a:lnTo>
                          <a:pt x="38100" y="556783"/>
                        </a:lnTo>
                        <a:cubicBezTo>
                          <a:pt x="38100" y="425007"/>
                          <a:pt x="144925" y="318181"/>
                          <a:pt x="276701" y="318181"/>
                        </a:cubicBezTo>
                        <a:cubicBezTo>
                          <a:pt x="408477" y="318181"/>
                          <a:pt x="515303" y="425007"/>
                          <a:pt x="515303" y="556783"/>
                        </a:cubicBezTo>
                        <a:lnTo>
                          <a:pt x="553403" y="556783"/>
                        </a:lnTo>
                        <a:cubicBezTo>
                          <a:pt x="553186" y="436582"/>
                          <a:pt x="475521" y="330220"/>
                          <a:pt x="361093" y="293416"/>
                        </a:cubicBezTo>
                        <a:close/>
                        <a:moveTo>
                          <a:pt x="276225" y="38241"/>
                        </a:moveTo>
                        <a:cubicBezTo>
                          <a:pt x="343034" y="38189"/>
                          <a:pt x="397235" y="92305"/>
                          <a:pt x="397288" y="159114"/>
                        </a:cubicBezTo>
                        <a:cubicBezTo>
                          <a:pt x="397340" y="225922"/>
                          <a:pt x="343224" y="280124"/>
                          <a:pt x="276415" y="280176"/>
                        </a:cubicBezTo>
                        <a:cubicBezTo>
                          <a:pt x="209607" y="280229"/>
                          <a:pt x="155405" y="226113"/>
                          <a:pt x="155353" y="159304"/>
                        </a:cubicBezTo>
                        <a:cubicBezTo>
                          <a:pt x="155353" y="159241"/>
                          <a:pt x="155353" y="159177"/>
                          <a:pt x="155353" y="159114"/>
                        </a:cubicBezTo>
                        <a:cubicBezTo>
                          <a:pt x="155405" y="92380"/>
                          <a:pt x="209491" y="38294"/>
                          <a:pt x="276225" y="3824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224" name="Star: 5 Points 223">
                  <a:extLst>
                    <a:ext uri="{FF2B5EF4-FFF2-40B4-BE49-F238E27FC236}">
                      <a16:creationId xmlns:a16="http://schemas.microsoft.com/office/drawing/2014/main" id="{279FB18C-87F5-591F-C2DF-7FAAB75299B5}"/>
                    </a:ext>
                  </a:extLst>
                </p:cNvPr>
                <p:cNvSpPr/>
                <p:nvPr/>
              </p:nvSpPr>
              <p:spPr>
                <a:xfrm>
                  <a:off x="579120" y="2557693"/>
                  <a:ext cx="156191" cy="156191"/>
                </a:xfrm>
                <a:prstGeom prst="star5">
                  <a:avLst/>
                </a:prstGeom>
                <a:solidFill>
                  <a:schemeClr val="tx2"/>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25" name="Star: 5 Points 224">
                  <a:extLst>
                    <a:ext uri="{FF2B5EF4-FFF2-40B4-BE49-F238E27FC236}">
                      <a16:creationId xmlns:a16="http://schemas.microsoft.com/office/drawing/2014/main" id="{881863D5-D343-4502-DA9D-9914C8AED4F4}"/>
                    </a:ext>
                  </a:extLst>
                </p:cNvPr>
                <p:cNvSpPr/>
                <p:nvPr/>
              </p:nvSpPr>
              <p:spPr>
                <a:xfrm>
                  <a:off x="984640" y="2640942"/>
                  <a:ext cx="156191" cy="156191"/>
                </a:xfrm>
                <a:prstGeom prst="star5">
                  <a:avLst/>
                </a:prstGeom>
                <a:solidFill>
                  <a:schemeClr val="tx2"/>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26" name="Star: 5 Points 225">
                  <a:extLst>
                    <a:ext uri="{FF2B5EF4-FFF2-40B4-BE49-F238E27FC236}">
                      <a16:creationId xmlns:a16="http://schemas.microsoft.com/office/drawing/2014/main" id="{152401A8-6DD1-A288-2730-7F785CCCA4C8}"/>
                    </a:ext>
                  </a:extLst>
                </p:cNvPr>
                <p:cNvSpPr/>
                <p:nvPr/>
              </p:nvSpPr>
              <p:spPr>
                <a:xfrm>
                  <a:off x="1412249" y="2563214"/>
                  <a:ext cx="156191" cy="156191"/>
                </a:xfrm>
                <a:prstGeom prst="star5">
                  <a:avLst/>
                </a:prstGeom>
                <a:solidFill>
                  <a:schemeClr val="tx2"/>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grpSp>
        <p:grpSp>
          <p:nvGrpSpPr>
            <p:cNvPr id="231" name="Group 230">
              <a:extLst>
                <a:ext uri="{FF2B5EF4-FFF2-40B4-BE49-F238E27FC236}">
                  <a16:creationId xmlns:a16="http://schemas.microsoft.com/office/drawing/2014/main" id="{76DADA14-CDD3-664E-973B-CFE72469B9B1}"/>
                </a:ext>
              </a:extLst>
            </p:cNvPr>
            <p:cNvGrpSpPr/>
            <p:nvPr/>
          </p:nvGrpSpPr>
          <p:grpSpPr>
            <a:xfrm>
              <a:off x="10047570" y="5161076"/>
              <a:ext cx="511650" cy="511650"/>
              <a:chOff x="7864083" y="5117761"/>
              <a:chExt cx="1107922" cy="1107922"/>
            </a:xfrm>
          </p:grpSpPr>
          <p:sp>
            <p:nvSpPr>
              <p:cNvPr id="232" name="Oval 231">
                <a:extLst>
                  <a:ext uri="{FF2B5EF4-FFF2-40B4-BE49-F238E27FC236}">
                    <a16:creationId xmlns:a16="http://schemas.microsoft.com/office/drawing/2014/main" id="{6CC2C782-31DE-B65B-9E22-D9C30A89F06D}"/>
                  </a:ext>
                </a:extLst>
              </p:cNvPr>
              <p:cNvSpPr/>
              <p:nvPr/>
            </p:nvSpPr>
            <p:spPr>
              <a:xfrm>
                <a:off x="7864083" y="5117761"/>
                <a:ext cx="1107922" cy="1107922"/>
              </a:xfrm>
              <a:prstGeom prst="ellipse">
                <a:avLst/>
              </a:prstGeom>
              <a:solidFill>
                <a:schemeClr val="bg2"/>
              </a:solidFill>
              <a:ln w="6350" cmpd="sng">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233" name="Group 232">
                <a:extLst>
                  <a:ext uri="{FF2B5EF4-FFF2-40B4-BE49-F238E27FC236}">
                    <a16:creationId xmlns:a16="http://schemas.microsoft.com/office/drawing/2014/main" id="{E1B52336-D6F5-C592-57B2-AEBD03D025E5}"/>
                  </a:ext>
                </a:extLst>
              </p:cNvPr>
              <p:cNvGrpSpPr/>
              <p:nvPr/>
            </p:nvGrpSpPr>
            <p:grpSpPr>
              <a:xfrm>
                <a:off x="8108473" y="5412809"/>
                <a:ext cx="619142" cy="517826"/>
                <a:chOff x="5035619" y="4264481"/>
                <a:chExt cx="848924" cy="710007"/>
              </a:xfrm>
              <a:solidFill>
                <a:schemeClr val="tx1"/>
              </a:solidFill>
            </p:grpSpPr>
            <p:sp>
              <p:nvSpPr>
                <p:cNvPr id="234" name="Freeform: Shape 233">
                  <a:extLst>
                    <a:ext uri="{FF2B5EF4-FFF2-40B4-BE49-F238E27FC236}">
                      <a16:creationId xmlns:a16="http://schemas.microsoft.com/office/drawing/2014/main" id="{C5B3BD26-C0BC-7F7A-B0C1-11F74EA16605}"/>
                    </a:ext>
                  </a:extLst>
                </p:cNvPr>
                <p:cNvSpPr/>
                <p:nvPr/>
              </p:nvSpPr>
              <p:spPr>
                <a:xfrm>
                  <a:off x="5116627" y="4515360"/>
                  <a:ext cx="606342" cy="459128"/>
                </a:xfrm>
                <a:custGeom>
                  <a:avLst/>
                  <a:gdLst>
                    <a:gd name="connsiteX0" fmla="*/ 159205 w 606342"/>
                    <a:gd name="connsiteY0" fmla="*/ 305205 h 459128"/>
                    <a:gd name="connsiteX1" fmla="*/ 141774 w 606342"/>
                    <a:gd name="connsiteY1" fmla="*/ 292346 h 459128"/>
                    <a:gd name="connsiteX2" fmla="*/ 135964 w 606342"/>
                    <a:gd name="connsiteY2" fmla="*/ 311396 h 459128"/>
                    <a:gd name="connsiteX3" fmla="*/ 133678 w 606342"/>
                    <a:gd name="connsiteY3" fmla="*/ 314825 h 459128"/>
                    <a:gd name="connsiteX4" fmla="*/ 149299 w 606342"/>
                    <a:gd name="connsiteY4" fmla="*/ 326446 h 459128"/>
                    <a:gd name="connsiteX5" fmla="*/ 152156 w 606342"/>
                    <a:gd name="connsiteY5" fmla="*/ 328541 h 459128"/>
                    <a:gd name="connsiteX6" fmla="*/ 155395 w 606342"/>
                    <a:gd name="connsiteY6" fmla="*/ 323683 h 459128"/>
                    <a:gd name="connsiteX7" fmla="*/ 162253 w 606342"/>
                    <a:gd name="connsiteY7" fmla="*/ 307396 h 459128"/>
                    <a:gd name="connsiteX8" fmla="*/ 275791 w 606342"/>
                    <a:gd name="connsiteY8" fmla="*/ 391787 h 459128"/>
                    <a:gd name="connsiteX9" fmla="*/ 262075 w 606342"/>
                    <a:gd name="connsiteY9" fmla="*/ 381310 h 459128"/>
                    <a:gd name="connsiteX10" fmla="*/ 245025 w 606342"/>
                    <a:gd name="connsiteY10" fmla="*/ 397121 h 459128"/>
                    <a:gd name="connsiteX11" fmla="*/ 263503 w 606342"/>
                    <a:gd name="connsiteY11" fmla="*/ 410837 h 459128"/>
                    <a:gd name="connsiteX12" fmla="*/ 264170 w 606342"/>
                    <a:gd name="connsiteY12" fmla="*/ 411409 h 459128"/>
                    <a:gd name="connsiteX13" fmla="*/ 280172 w 606342"/>
                    <a:gd name="connsiteY13" fmla="*/ 394645 h 459128"/>
                    <a:gd name="connsiteX14" fmla="*/ 606213 w 606342"/>
                    <a:gd name="connsiteY14" fmla="*/ 317492 h 459128"/>
                    <a:gd name="connsiteX15" fmla="*/ 606213 w 606342"/>
                    <a:gd name="connsiteY15" fmla="*/ 314349 h 459128"/>
                    <a:gd name="connsiteX16" fmla="*/ 606213 w 606342"/>
                    <a:gd name="connsiteY16" fmla="*/ 307777 h 459128"/>
                    <a:gd name="connsiteX17" fmla="*/ 603927 w 606342"/>
                    <a:gd name="connsiteY17" fmla="*/ 291203 h 459128"/>
                    <a:gd name="connsiteX18" fmla="*/ 600784 w 606342"/>
                    <a:gd name="connsiteY18" fmla="*/ 284726 h 459128"/>
                    <a:gd name="connsiteX19" fmla="*/ 600784 w 606342"/>
                    <a:gd name="connsiteY19" fmla="*/ 284726 h 459128"/>
                    <a:gd name="connsiteX20" fmla="*/ 562112 w 606342"/>
                    <a:gd name="connsiteY20" fmla="*/ 240911 h 459128"/>
                    <a:gd name="connsiteX21" fmla="*/ 550301 w 606342"/>
                    <a:gd name="connsiteY21" fmla="*/ 232148 h 459128"/>
                    <a:gd name="connsiteX22" fmla="*/ 582877 w 606342"/>
                    <a:gd name="connsiteY22" fmla="*/ 299871 h 459128"/>
                    <a:gd name="connsiteX23" fmla="*/ 582877 w 606342"/>
                    <a:gd name="connsiteY23" fmla="*/ 299871 h 459128"/>
                    <a:gd name="connsiteX24" fmla="*/ 583734 w 606342"/>
                    <a:gd name="connsiteY24" fmla="*/ 315111 h 459128"/>
                    <a:gd name="connsiteX25" fmla="*/ 583734 w 606342"/>
                    <a:gd name="connsiteY25" fmla="*/ 319302 h 459128"/>
                    <a:gd name="connsiteX26" fmla="*/ 578971 w 606342"/>
                    <a:gd name="connsiteY26" fmla="*/ 334637 h 459128"/>
                    <a:gd name="connsiteX27" fmla="*/ 573447 w 606342"/>
                    <a:gd name="connsiteY27" fmla="*/ 340352 h 459128"/>
                    <a:gd name="connsiteX28" fmla="*/ 572304 w 606342"/>
                    <a:gd name="connsiteY28" fmla="*/ 341114 h 459128"/>
                    <a:gd name="connsiteX29" fmla="*/ 547158 w 606342"/>
                    <a:gd name="connsiteY29" fmla="*/ 341114 h 459128"/>
                    <a:gd name="connsiteX30" fmla="*/ 395425 w 606342"/>
                    <a:gd name="connsiteY30" fmla="*/ 220147 h 459128"/>
                    <a:gd name="connsiteX31" fmla="*/ 379309 w 606342"/>
                    <a:gd name="connsiteY31" fmla="*/ 222582 h 459128"/>
                    <a:gd name="connsiteX32" fmla="*/ 380947 w 606342"/>
                    <a:gd name="connsiteY32" fmla="*/ 238054 h 459128"/>
                    <a:gd name="connsiteX33" fmla="*/ 494485 w 606342"/>
                    <a:gd name="connsiteY33" fmla="*/ 329494 h 459128"/>
                    <a:gd name="connsiteX34" fmla="*/ 519250 w 606342"/>
                    <a:gd name="connsiteY34" fmla="*/ 364450 h 459128"/>
                    <a:gd name="connsiteX35" fmla="*/ 520583 w 606342"/>
                    <a:gd name="connsiteY35" fmla="*/ 368260 h 459128"/>
                    <a:gd name="connsiteX36" fmla="*/ 518583 w 606342"/>
                    <a:gd name="connsiteY36" fmla="*/ 377785 h 459128"/>
                    <a:gd name="connsiteX37" fmla="*/ 517726 w 606342"/>
                    <a:gd name="connsiteY37" fmla="*/ 378643 h 459128"/>
                    <a:gd name="connsiteX38" fmla="*/ 496009 w 606342"/>
                    <a:gd name="connsiteY38" fmla="*/ 386072 h 459128"/>
                    <a:gd name="connsiteX39" fmla="*/ 477911 w 606342"/>
                    <a:gd name="connsiteY39" fmla="*/ 378071 h 459128"/>
                    <a:gd name="connsiteX40" fmla="*/ 347800 w 606342"/>
                    <a:gd name="connsiteY40" fmla="*/ 261771 h 459128"/>
                    <a:gd name="connsiteX41" fmla="*/ 331512 w 606342"/>
                    <a:gd name="connsiteY41" fmla="*/ 262628 h 459128"/>
                    <a:gd name="connsiteX42" fmla="*/ 332369 w 606342"/>
                    <a:gd name="connsiteY42" fmla="*/ 278916 h 459128"/>
                    <a:gd name="connsiteX43" fmla="*/ 439716 w 606342"/>
                    <a:gd name="connsiteY43" fmla="*/ 376261 h 459128"/>
                    <a:gd name="connsiteX44" fmla="*/ 442669 w 606342"/>
                    <a:gd name="connsiteY44" fmla="*/ 381119 h 459128"/>
                    <a:gd name="connsiteX45" fmla="*/ 442669 w 606342"/>
                    <a:gd name="connsiteY45" fmla="*/ 382262 h 459128"/>
                    <a:gd name="connsiteX46" fmla="*/ 448193 w 606342"/>
                    <a:gd name="connsiteY46" fmla="*/ 397978 h 459128"/>
                    <a:gd name="connsiteX47" fmla="*/ 447431 w 606342"/>
                    <a:gd name="connsiteY47" fmla="*/ 411694 h 459128"/>
                    <a:gd name="connsiteX48" fmla="*/ 445812 w 606342"/>
                    <a:gd name="connsiteY48" fmla="*/ 415123 h 459128"/>
                    <a:gd name="connsiteX49" fmla="*/ 439716 w 606342"/>
                    <a:gd name="connsiteY49" fmla="*/ 420267 h 459128"/>
                    <a:gd name="connsiteX50" fmla="*/ 404950 w 606342"/>
                    <a:gd name="connsiteY50" fmla="*/ 410742 h 459128"/>
                    <a:gd name="connsiteX51" fmla="*/ 329321 w 606342"/>
                    <a:gd name="connsiteY51" fmla="*/ 334542 h 459128"/>
                    <a:gd name="connsiteX52" fmla="*/ 313224 w 606342"/>
                    <a:gd name="connsiteY52" fmla="*/ 334542 h 459128"/>
                    <a:gd name="connsiteX53" fmla="*/ 312557 w 606342"/>
                    <a:gd name="connsiteY53" fmla="*/ 350544 h 459128"/>
                    <a:gd name="connsiteX54" fmla="*/ 374946 w 606342"/>
                    <a:gd name="connsiteY54" fmla="*/ 420648 h 459128"/>
                    <a:gd name="connsiteX55" fmla="*/ 374784 w 606342"/>
                    <a:gd name="connsiteY55" fmla="*/ 434117 h 459128"/>
                    <a:gd name="connsiteX56" fmla="*/ 373422 w 606342"/>
                    <a:gd name="connsiteY56" fmla="*/ 435221 h 459128"/>
                    <a:gd name="connsiteX57" fmla="*/ 372184 w 606342"/>
                    <a:gd name="connsiteY57" fmla="*/ 436078 h 459128"/>
                    <a:gd name="connsiteX58" fmla="*/ 328750 w 606342"/>
                    <a:gd name="connsiteY58" fmla="*/ 426553 h 459128"/>
                    <a:gd name="connsiteX59" fmla="*/ 308271 w 606342"/>
                    <a:gd name="connsiteY59" fmla="*/ 415504 h 459128"/>
                    <a:gd name="connsiteX60" fmla="*/ 306556 w 606342"/>
                    <a:gd name="connsiteY60" fmla="*/ 419219 h 459128"/>
                    <a:gd name="connsiteX61" fmla="*/ 292364 w 606342"/>
                    <a:gd name="connsiteY61" fmla="*/ 432554 h 459128"/>
                    <a:gd name="connsiteX62" fmla="*/ 375613 w 606342"/>
                    <a:gd name="connsiteY62" fmla="*/ 459129 h 459128"/>
                    <a:gd name="connsiteX63" fmla="*/ 382090 w 606342"/>
                    <a:gd name="connsiteY63" fmla="*/ 457129 h 459128"/>
                    <a:gd name="connsiteX64" fmla="*/ 385900 w 606342"/>
                    <a:gd name="connsiteY64" fmla="*/ 454271 h 459128"/>
                    <a:gd name="connsiteX65" fmla="*/ 399139 w 606342"/>
                    <a:gd name="connsiteY65" fmla="*/ 435793 h 459128"/>
                    <a:gd name="connsiteX66" fmla="*/ 445907 w 606342"/>
                    <a:gd name="connsiteY66" fmla="*/ 442270 h 459128"/>
                    <a:gd name="connsiteX67" fmla="*/ 466386 w 606342"/>
                    <a:gd name="connsiteY67" fmla="*/ 425029 h 459128"/>
                    <a:gd name="connsiteX68" fmla="*/ 468005 w 606342"/>
                    <a:gd name="connsiteY68" fmla="*/ 421600 h 459128"/>
                    <a:gd name="connsiteX69" fmla="*/ 471625 w 606342"/>
                    <a:gd name="connsiteY69" fmla="*/ 401788 h 459128"/>
                    <a:gd name="connsiteX70" fmla="*/ 491818 w 606342"/>
                    <a:gd name="connsiteY70" fmla="*/ 409027 h 459128"/>
                    <a:gd name="connsiteX71" fmla="*/ 534204 w 606342"/>
                    <a:gd name="connsiteY71" fmla="*/ 394549 h 459128"/>
                    <a:gd name="connsiteX72" fmla="*/ 535061 w 606342"/>
                    <a:gd name="connsiteY72" fmla="*/ 393597 h 459128"/>
                    <a:gd name="connsiteX73" fmla="*/ 543253 w 606342"/>
                    <a:gd name="connsiteY73" fmla="*/ 365784 h 459128"/>
                    <a:gd name="connsiteX74" fmla="*/ 585067 w 606342"/>
                    <a:gd name="connsiteY74" fmla="*/ 360164 h 459128"/>
                    <a:gd name="connsiteX75" fmla="*/ 585925 w 606342"/>
                    <a:gd name="connsiteY75" fmla="*/ 359021 h 459128"/>
                    <a:gd name="connsiteX76" fmla="*/ 595450 w 606342"/>
                    <a:gd name="connsiteY76" fmla="*/ 349496 h 459128"/>
                    <a:gd name="connsiteX77" fmla="*/ 606213 w 606342"/>
                    <a:gd name="connsiteY77" fmla="*/ 317492 h 459128"/>
                    <a:gd name="connsiteX78" fmla="*/ 362182 w 606342"/>
                    <a:gd name="connsiteY78" fmla="*/ 30218 h 459128"/>
                    <a:gd name="connsiteX79" fmla="*/ 362182 w 606342"/>
                    <a:gd name="connsiteY79" fmla="*/ 30790 h 459128"/>
                    <a:gd name="connsiteX80" fmla="*/ 386281 w 606342"/>
                    <a:gd name="connsiteY80" fmla="*/ 30790 h 459128"/>
                    <a:gd name="connsiteX81" fmla="*/ 390281 w 606342"/>
                    <a:gd name="connsiteY81" fmla="*/ 30790 h 459128"/>
                    <a:gd name="connsiteX82" fmla="*/ 377708 w 606342"/>
                    <a:gd name="connsiteY82" fmla="*/ 12311 h 459128"/>
                    <a:gd name="connsiteX83" fmla="*/ 369231 w 606342"/>
                    <a:gd name="connsiteY83" fmla="*/ 7263 h 459128"/>
                    <a:gd name="connsiteX84" fmla="*/ 293031 w 606342"/>
                    <a:gd name="connsiteY84" fmla="*/ 500 h 459128"/>
                    <a:gd name="connsiteX85" fmla="*/ 278172 w 606342"/>
                    <a:gd name="connsiteY85" fmla="*/ 500 h 459128"/>
                    <a:gd name="connsiteX86" fmla="*/ 131201 w 606342"/>
                    <a:gd name="connsiteY86" fmla="*/ 21741 h 459128"/>
                    <a:gd name="connsiteX87" fmla="*/ 121676 w 606342"/>
                    <a:gd name="connsiteY87" fmla="*/ 23074 h 459128"/>
                    <a:gd name="connsiteX88" fmla="*/ 87577 w 606342"/>
                    <a:gd name="connsiteY88" fmla="*/ 24313 h 459128"/>
                    <a:gd name="connsiteX89" fmla="*/ 109960 w 606342"/>
                    <a:gd name="connsiteY89" fmla="*/ 36124 h 459128"/>
                    <a:gd name="connsiteX90" fmla="*/ 108055 w 606342"/>
                    <a:gd name="connsiteY90" fmla="*/ 46601 h 459128"/>
                    <a:gd name="connsiteX91" fmla="*/ 123105 w 606342"/>
                    <a:gd name="connsiteY91" fmla="*/ 46601 h 459128"/>
                    <a:gd name="connsiteX92" fmla="*/ 124343 w 606342"/>
                    <a:gd name="connsiteY92" fmla="*/ 46601 h 459128"/>
                    <a:gd name="connsiteX93" fmla="*/ 131773 w 606342"/>
                    <a:gd name="connsiteY93" fmla="*/ 45553 h 459128"/>
                    <a:gd name="connsiteX94" fmla="*/ 281125 w 606342"/>
                    <a:gd name="connsiteY94" fmla="*/ 23836 h 459128"/>
                    <a:gd name="connsiteX95" fmla="*/ 290078 w 606342"/>
                    <a:gd name="connsiteY95" fmla="*/ 23836 h 459128"/>
                    <a:gd name="connsiteX96" fmla="*/ 308652 w 606342"/>
                    <a:gd name="connsiteY96" fmla="*/ 25456 h 459128"/>
                    <a:gd name="connsiteX97" fmla="*/ 93387 w 606342"/>
                    <a:gd name="connsiteY97" fmla="*/ 273296 h 459128"/>
                    <a:gd name="connsiteX98" fmla="*/ 74337 w 606342"/>
                    <a:gd name="connsiteY98" fmla="*/ 266914 h 459128"/>
                    <a:gd name="connsiteX99" fmla="*/ 49000 w 606342"/>
                    <a:gd name="connsiteY99" fmla="*/ 261866 h 459128"/>
                    <a:gd name="connsiteX100" fmla="*/ 42809 w 606342"/>
                    <a:gd name="connsiteY100" fmla="*/ 261866 h 459128"/>
                    <a:gd name="connsiteX101" fmla="*/ 27093 w 606342"/>
                    <a:gd name="connsiteY101" fmla="*/ 261866 h 459128"/>
                    <a:gd name="connsiteX102" fmla="*/ 32046 w 606342"/>
                    <a:gd name="connsiteY102" fmla="*/ 245959 h 459128"/>
                    <a:gd name="connsiteX103" fmla="*/ 18330 w 606342"/>
                    <a:gd name="connsiteY103" fmla="*/ 267676 h 459128"/>
                    <a:gd name="connsiteX104" fmla="*/ 2518 w 606342"/>
                    <a:gd name="connsiteY104" fmla="*/ 262819 h 459128"/>
                    <a:gd name="connsiteX105" fmla="*/ 518 w 606342"/>
                    <a:gd name="connsiteY105" fmla="*/ 269105 h 459128"/>
                    <a:gd name="connsiteX106" fmla="*/ 2137 w 606342"/>
                    <a:gd name="connsiteY106" fmla="*/ 279297 h 459128"/>
                    <a:gd name="connsiteX107" fmla="*/ 11662 w 606342"/>
                    <a:gd name="connsiteY107" fmla="*/ 284059 h 459128"/>
                    <a:gd name="connsiteX108" fmla="*/ 34808 w 606342"/>
                    <a:gd name="connsiteY108" fmla="*/ 284059 h 459128"/>
                    <a:gd name="connsiteX109" fmla="*/ 42809 w 606342"/>
                    <a:gd name="connsiteY109" fmla="*/ 284059 h 459128"/>
                    <a:gd name="connsiteX110" fmla="*/ 67479 w 606342"/>
                    <a:gd name="connsiteY110" fmla="*/ 288250 h 459128"/>
                    <a:gd name="connsiteX111" fmla="*/ 80814 w 606342"/>
                    <a:gd name="connsiteY111" fmla="*/ 292727 h 459128"/>
                    <a:gd name="connsiteX112" fmla="*/ 102817 w 606342"/>
                    <a:gd name="connsiteY112" fmla="*/ 300061 h 459128"/>
                    <a:gd name="connsiteX113" fmla="*/ 107198 w 606342"/>
                    <a:gd name="connsiteY113" fmla="*/ 292441 h 459128"/>
                    <a:gd name="connsiteX114" fmla="*/ 119200 w 606342"/>
                    <a:gd name="connsiteY114" fmla="*/ 282154 h 459128"/>
                    <a:gd name="connsiteX115" fmla="*/ 212735 w 606342"/>
                    <a:gd name="connsiteY115" fmla="*/ 344829 h 459128"/>
                    <a:gd name="connsiteX116" fmla="*/ 202639 w 606342"/>
                    <a:gd name="connsiteY116" fmla="*/ 337304 h 459128"/>
                    <a:gd name="connsiteX117" fmla="*/ 187208 w 606342"/>
                    <a:gd name="connsiteY117" fmla="*/ 354449 h 459128"/>
                    <a:gd name="connsiteX118" fmla="*/ 206258 w 606342"/>
                    <a:gd name="connsiteY118" fmla="*/ 368260 h 459128"/>
                    <a:gd name="connsiteX119" fmla="*/ 206258 w 606342"/>
                    <a:gd name="connsiteY119" fmla="*/ 368260 h 459128"/>
                    <a:gd name="connsiteX120" fmla="*/ 221308 w 606342"/>
                    <a:gd name="connsiteY120" fmla="*/ 350830 h 459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606342" h="459128">
                      <a:moveTo>
                        <a:pt x="159205" y="305205"/>
                      </a:moveTo>
                      <a:lnTo>
                        <a:pt x="141774" y="292346"/>
                      </a:lnTo>
                      <a:cubicBezTo>
                        <a:pt x="141201" y="299035"/>
                        <a:pt x="139221" y="305527"/>
                        <a:pt x="135964" y="311396"/>
                      </a:cubicBezTo>
                      <a:cubicBezTo>
                        <a:pt x="135202" y="312666"/>
                        <a:pt x="134440" y="313809"/>
                        <a:pt x="133678" y="314825"/>
                      </a:cubicBezTo>
                      <a:lnTo>
                        <a:pt x="149299" y="326446"/>
                      </a:lnTo>
                      <a:lnTo>
                        <a:pt x="152156" y="328541"/>
                      </a:lnTo>
                      <a:cubicBezTo>
                        <a:pt x="153299" y="326922"/>
                        <a:pt x="154347" y="325303"/>
                        <a:pt x="155395" y="323683"/>
                      </a:cubicBezTo>
                      <a:cubicBezTo>
                        <a:pt x="158481" y="318627"/>
                        <a:pt x="160792" y="313137"/>
                        <a:pt x="162253" y="307396"/>
                      </a:cubicBezTo>
                      <a:close/>
                      <a:moveTo>
                        <a:pt x="275791" y="391787"/>
                      </a:moveTo>
                      <a:lnTo>
                        <a:pt x="262075" y="381310"/>
                      </a:lnTo>
                      <a:cubicBezTo>
                        <a:pt x="257208" y="387397"/>
                        <a:pt x="251462" y="392726"/>
                        <a:pt x="245025" y="397121"/>
                      </a:cubicBezTo>
                      <a:lnTo>
                        <a:pt x="263503" y="410837"/>
                      </a:lnTo>
                      <a:lnTo>
                        <a:pt x="264170" y="411409"/>
                      </a:lnTo>
                      <a:cubicBezTo>
                        <a:pt x="270089" y="406410"/>
                        <a:pt x="275454" y="400790"/>
                        <a:pt x="280172" y="394645"/>
                      </a:cubicBezTo>
                      <a:close/>
                      <a:moveTo>
                        <a:pt x="606213" y="317492"/>
                      </a:moveTo>
                      <a:cubicBezTo>
                        <a:pt x="606213" y="317016"/>
                        <a:pt x="606213" y="315873"/>
                        <a:pt x="606213" y="314349"/>
                      </a:cubicBezTo>
                      <a:cubicBezTo>
                        <a:pt x="606213" y="312825"/>
                        <a:pt x="606213" y="309682"/>
                        <a:pt x="606213" y="307777"/>
                      </a:cubicBezTo>
                      <a:cubicBezTo>
                        <a:pt x="606457" y="302159"/>
                        <a:pt x="605683" y="296544"/>
                        <a:pt x="603927" y="291203"/>
                      </a:cubicBezTo>
                      <a:lnTo>
                        <a:pt x="600784" y="284726"/>
                      </a:lnTo>
                      <a:lnTo>
                        <a:pt x="600784" y="284726"/>
                      </a:lnTo>
                      <a:cubicBezTo>
                        <a:pt x="591050" y="267613"/>
                        <a:pt x="577884" y="252696"/>
                        <a:pt x="562112" y="240911"/>
                      </a:cubicBezTo>
                      <a:lnTo>
                        <a:pt x="550301" y="232148"/>
                      </a:lnTo>
                      <a:lnTo>
                        <a:pt x="582877" y="299871"/>
                      </a:lnTo>
                      <a:lnTo>
                        <a:pt x="582877" y="299871"/>
                      </a:lnTo>
                      <a:cubicBezTo>
                        <a:pt x="582877" y="303300"/>
                        <a:pt x="583639" y="312063"/>
                        <a:pt x="583734" y="315111"/>
                      </a:cubicBezTo>
                      <a:cubicBezTo>
                        <a:pt x="583829" y="318159"/>
                        <a:pt x="583734" y="318254"/>
                        <a:pt x="583734" y="319302"/>
                      </a:cubicBezTo>
                      <a:cubicBezTo>
                        <a:pt x="584312" y="324850"/>
                        <a:pt x="582590" y="330392"/>
                        <a:pt x="578971" y="334637"/>
                      </a:cubicBezTo>
                      <a:cubicBezTo>
                        <a:pt x="577281" y="336683"/>
                        <a:pt x="575434" y="338594"/>
                        <a:pt x="573447" y="340352"/>
                      </a:cubicBezTo>
                      <a:lnTo>
                        <a:pt x="572304" y="341114"/>
                      </a:lnTo>
                      <a:cubicBezTo>
                        <a:pt x="564756" y="346404"/>
                        <a:pt x="554705" y="346404"/>
                        <a:pt x="547158" y="341114"/>
                      </a:cubicBezTo>
                      <a:lnTo>
                        <a:pt x="395425" y="220147"/>
                      </a:lnTo>
                      <a:cubicBezTo>
                        <a:pt x="390302" y="216369"/>
                        <a:pt x="383086" y="217459"/>
                        <a:pt x="379309" y="222582"/>
                      </a:cubicBezTo>
                      <a:cubicBezTo>
                        <a:pt x="375767" y="227386"/>
                        <a:pt x="376477" y="234099"/>
                        <a:pt x="380947" y="238054"/>
                      </a:cubicBezTo>
                      <a:lnTo>
                        <a:pt x="494485" y="329494"/>
                      </a:lnTo>
                      <a:cubicBezTo>
                        <a:pt x="505840" y="338606"/>
                        <a:pt x="514419" y="350715"/>
                        <a:pt x="519250" y="364450"/>
                      </a:cubicBezTo>
                      <a:lnTo>
                        <a:pt x="520583" y="368260"/>
                      </a:lnTo>
                      <a:cubicBezTo>
                        <a:pt x="521711" y="371562"/>
                        <a:pt x="520944" y="375216"/>
                        <a:pt x="518583" y="377785"/>
                      </a:cubicBezTo>
                      <a:lnTo>
                        <a:pt x="517726" y="378643"/>
                      </a:lnTo>
                      <a:cubicBezTo>
                        <a:pt x="511843" y="384045"/>
                        <a:pt x="503968" y="386740"/>
                        <a:pt x="496009" y="386072"/>
                      </a:cubicBezTo>
                      <a:cubicBezTo>
                        <a:pt x="489377" y="385045"/>
                        <a:pt x="483134" y="382285"/>
                        <a:pt x="477911" y="378071"/>
                      </a:cubicBezTo>
                      <a:lnTo>
                        <a:pt x="347800" y="261771"/>
                      </a:lnTo>
                      <a:cubicBezTo>
                        <a:pt x="343065" y="257510"/>
                        <a:pt x="335773" y="257894"/>
                        <a:pt x="331512" y="262628"/>
                      </a:cubicBezTo>
                      <a:cubicBezTo>
                        <a:pt x="327251" y="267363"/>
                        <a:pt x="327635" y="274655"/>
                        <a:pt x="332369" y="278916"/>
                      </a:cubicBezTo>
                      <a:lnTo>
                        <a:pt x="439716" y="376261"/>
                      </a:lnTo>
                      <a:cubicBezTo>
                        <a:pt x="441172" y="377542"/>
                        <a:pt x="442202" y="379237"/>
                        <a:pt x="442669" y="381119"/>
                      </a:cubicBezTo>
                      <a:lnTo>
                        <a:pt x="442669" y="382262"/>
                      </a:lnTo>
                      <a:lnTo>
                        <a:pt x="448193" y="397978"/>
                      </a:lnTo>
                      <a:cubicBezTo>
                        <a:pt x="448624" y="402563"/>
                        <a:pt x="448367" y="407186"/>
                        <a:pt x="447431" y="411694"/>
                      </a:cubicBezTo>
                      <a:lnTo>
                        <a:pt x="445812" y="415123"/>
                      </a:lnTo>
                      <a:cubicBezTo>
                        <a:pt x="444630" y="417647"/>
                        <a:pt x="442403" y="419527"/>
                        <a:pt x="439716" y="420267"/>
                      </a:cubicBezTo>
                      <a:cubicBezTo>
                        <a:pt x="427257" y="423686"/>
                        <a:pt x="413926" y="420033"/>
                        <a:pt x="404950" y="410742"/>
                      </a:cubicBezTo>
                      <a:lnTo>
                        <a:pt x="329321" y="334542"/>
                      </a:lnTo>
                      <a:cubicBezTo>
                        <a:pt x="324824" y="330224"/>
                        <a:pt x="317721" y="330224"/>
                        <a:pt x="313224" y="334542"/>
                      </a:cubicBezTo>
                      <a:cubicBezTo>
                        <a:pt x="308677" y="338802"/>
                        <a:pt x="308381" y="345920"/>
                        <a:pt x="312557" y="350544"/>
                      </a:cubicBezTo>
                      <a:lnTo>
                        <a:pt x="374946" y="420648"/>
                      </a:lnTo>
                      <a:cubicBezTo>
                        <a:pt x="378621" y="424412"/>
                        <a:pt x="378548" y="430443"/>
                        <a:pt x="374784" y="434117"/>
                      </a:cubicBezTo>
                      <a:cubicBezTo>
                        <a:pt x="374365" y="434526"/>
                        <a:pt x="373909" y="434896"/>
                        <a:pt x="373422" y="435221"/>
                      </a:cubicBezTo>
                      <a:lnTo>
                        <a:pt x="372184" y="436078"/>
                      </a:lnTo>
                      <a:cubicBezTo>
                        <a:pt x="357237" y="435655"/>
                        <a:pt x="342502" y="432423"/>
                        <a:pt x="328750" y="426553"/>
                      </a:cubicBezTo>
                      <a:cubicBezTo>
                        <a:pt x="321567" y="423572"/>
                        <a:pt x="314706" y="419870"/>
                        <a:pt x="308271" y="415504"/>
                      </a:cubicBezTo>
                      <a:cubicBezTo>
                        <a:pt x="307848" y="416806"/>
                        <a:pt x="307273" y="418053"/>
                        <a:pt x="306556" y="419219"/>
                      </a:cubicBezTo>
                      <a:cubicBezTo>
                        <a:pt x="303099" y="424850"/>
                        <a:pt x="298199" y="429454"/>
                        <a:pt x="292364" y="432554"/>
                      </a:cubicBezTo>
                      <a:cubicBezTo>
                        <a:pt x="316720" y="449764"/>
                        <a:pt x="345790" y="459044"/>
                        <a:pt x="375613" y="459129"/>
                      </a:cubicBezTo>
                      <a:cubicBezTo>
                        <a:pt x="377918" y="459093"/>
                        <a:pt x="380165" y="458399"/>
                        <a:pt x="382090" y="457129"/>
                      </a:cubicBezTo>
                      <a:lnTo>
                        <a:pt x="385900" y="454271"/>
                      </a:lnTo>
                      <a:cubicBezTo>
                        <a:pt x="392324" y="449835"/>
                        <a:pt x="397005" y="443302"/>
                        <a:pt x="399139" y="435793"/>
                      </a:cubicBezTo>
                      <a:cubicBezTo>
                        <a:pt x="413118" y="444451"/>
                        <a:pt x="430102" y="446803"/>
                        <a:pt x="445907" y="442270"/>
                      </a:cubicBezTo>
                      <a:cubicBezTo>
                        <a:pt x="454865" y="439679"/>
                        <a:pt x="462306" y="433415"/>
                        <a:pt x="466386" y="425029"/>
                      </a:cubicBezTo>
                      <a:lnTo>
                        <a:pt x="468005" y="421600"/>
                      </a:lnTo>
                      <a:cubicBezTo>
                        <a:pt x="470477" y="415291"/>
                        <a:pt x="471706" y="408564"/>
                        <a:pt x="471625" y="401788"/>
                      </a:cubicBezTo>
                      <a:cubicBezTo>
                        <a:pt x="477888" y="405347"/>
                        <a:pt x="484720" y="407796"/>
                        <a:pt x="491818" y="409027"/>
                      </a:cubicBezTo>
                      <a:cubicBezTo>
                        <a:pt x="507416" y="410930"/>
                        <a:pt x="523029" y="405597"/>
                        <a:pt x="534204" y="394549"/>
                      </a:cubicBezTo>
                      <a:lnTo>
                        <a:pt x="535061" y="393597"/>
                      </a:lnTo>
                      <a:cubicBezTo>
                        <a:pt x="542048" y="386150"/>
                        <a:pt x="545088" y="375829"/>
                        <a:pt x="543253" y="365784"/>
                      </a:cubicBezTo>
                      <a:cubicBezTo>
                        <a:pt x="557267" y="370905"/>
                        <a:pt x="572903" y="368804"/>
                        <a:pt x="585067" y="360164"/>
                      </a:cubicBezTo>
                      <a:lnTo>
                        <a:pt x="585925" y="359021"/>
                      </a:lnTo>
                      <a:cubicBezTo>
                        <a:pt x="589464" y="356233"/>
                        <a:pt x="592661" y="353036"/>
                        <a:pt x="595450" y="349496"/>
                      </a:cubicBezTo>
                      <a:cubicBezTo>
                        <a:pt x="603236" y="340733"/>
                        <a:pt x="607122" y="329179"/>
                        <a:pt x="606213" y="317492"/>
                      </a:cubicBezTo>
                      <a:close/>
                      <a:moveTo>
                        <a:pt x="362182" y="30218"/>
                      </a:moveTo>
                      <a:lnTo>
                        <a:pt x="362182" y="30790"/>
                      </a:lnTo>
                      <a:lnTo>
                        <a:pt x="386281" y="30790"/>
                      </a:lnTo>
                      <a:cubicBezTo>
                        <a:pt x="387608" y="30608"/>
                        <a:pt x="388954" y="30608"/>
                        <a:pt x="390281" y="30790"/>
                      </a:cubicBezTo>
                      <a:lnTo>
                        <a:pt x="377708" y="12311"/>
                      </a:lnTo>
                      <a:cubicBezTo>
                        <a:pt x="375763" y="9463"/>
                        <a:pt x="372662" y="7616"/>
                        <a:pt x="369231" y="7263"/>
                      </a:cubicBezTo>
                      <a:lnTo>
                        <a:pt x="293031" y="500"/>
                      </a:lnTo>
                      <a:cubicBezTo>
                        <a:pt x="288100" y="-167"/>
                        <a:pt x="283102" y="-167"/>
                        <a:pt x="278172" y="500"/>
                      </a:cubicBezTo>
                      <a:lnTo>
                        <a:pt x="131201" y="21741"/>
                      </a:lnTo>
                      <a:lnTo>
                        <a:pt x="121676" y="23074"/>
                      </a:lnTo>
                      <a:lnTo>
                        <a:pt x="87577" y="24313"/>
                      </a:lnTo>
                      <a:lnTo>
                        <a:pt x="109960" y="36124"/>
                      </a:lnTo>
                      <a:cubicBezTo>
                        <a:pt x="109389" y="39648"/>
                        <a:pt x="108722" y="43077"/>
                        <a:pt x="108055" y="46601"/>
                      </a:cubicBezTo>
                      <a:lnTo>
                        <a:pt x="123105" y="46601"/>
                      </a:lnTo>
                      <a:lnTo>
                        <a:pt x="124343" y="46601"/>
                      </a:lnTo>
                      <a:lnTo>
                        <a:pt x="131773" y="45553"/>
                      </a:lnTo>
                      <a:lnTo>
                        <a:pt x="281125" y="23836"/>
                      </a:lnTo>
                      <a:cubicBezTo>
                        <a:pt x="284091" y="23366"/>
                        <a:pt x="287112" y="23366"/>
                        <a:pt x="290078" y="23836"/>
                      </a:cubicBezTo>
                      <a:lnTo>
                        <a:pt x="308652" y="25456"/>
                      </a:lnTo>
                      <a:close/>
                      <a:moveTo>
                        <a:pt x="93387" y="273296"/>
                      </a:moveTo>
                      <a:lnTo>
                        <a:pt x="74337" y="266914"/>
                      </a:lnTo>
                      <a:cubicBezTo>
                        <a:pt x="66149" y="264131"/>
                        <a:pt x="57630" y="262433"/>
                        <a:pt x="49000" y="261866"/>
                      </a:cubicBezTo>
                      <a:cubicBezTo>
                        <a:pt x="46939" y="261721"/>
                        <a:pt x="44870" y="261721"/>
                        <a:pt x="42809" y="261866"/>
                      </a:cubicBezTo>
                      <a:lnTo>
                        <a:pt x="27093" y="261866"/>
                      </a:lnTo>
                      <a:lnTo>
                        <a:pt x="32046" y="245959"/>
                      </a:lnTo>
                      <a:cubicBezTo>
                        <a:pt x="27664" y="253262"/>
                        <a:pt x="23092" y="260501"/>
                        <a:pt x="18330" y="267676"/>
                      </a:cubicBezTo>
                      <a:lnTo>
                        <a:pt x="2518" y="262819"/>
                      </a:lnTo>
                      <a:lnTo>
                        <a:pt x="518" y="269105"/>
                      </a:lnTo>
                      <a:cubicBezTo>
                        <a:pt x="-548" y="272570"/>
                        <a:pt x="50" y="276333"/>
                        <a:pt x="2137" y="279297"/>
                      </a:cubicBezTo>
                      <a:cubicBezTo>
                        <a:pt x="4311" y="282383"/>
                        <a:pt x="7889" y="284172"/>
                        <a:pt x="11662" y="284059"/>
                      </a:cubicBezTo>
                      <a:lnTo>
                        <a:pt x="34808" y="284059"/>
                      </a:lnTo>
                      <a:lnTo>
                        <a:pt x="42809" y="284059"/>
                      </a:lnTo>
                      <a:cubicBezTo>
                        <a:pt x="51200" y="284166"/>
                        <a:pt x="59523" y="285580"/>
                        <a:pt x="67479" y="288250"/>
                      </a:cubicBezTo>
                      <a:lnTo>
                        <a:pt x="80814" y="292727"/>
                      </a:lnTo>
                      <a:lnTo>
                        <a:pt x="102817" y="300061"/>
                      </a:lnTo>
                      <a:cubicBezTo>
                        <a:pt x="104055" y="297680"/>
                        <a:pt x="105484" y="295108"/>
                        <a:pt x="107198" y="292441"/>
                      </a:cubicBezTo>
                      <a:cubicBezTo>
                        <a:pt x="110531" y="288303"/>
                        <a:pt x="114600" y="284815"/>
                        <a:pt x="119200" y="282154"/>
                      </a:cubicBezTo>
                      <a:close/>
                      <a:moveTo>
                        <a:pt x="212735" y="344829"/>
                      </a:moveTo>
                      <a:lnTo>
                        <a:pt x="202639" y="337304"/>
                      </a:lnTo>
                      <a:cubicBezTo>
                        <a:pt x="198226" y="343637"/>
                        <a:pt x="193043" y="349396"/>
                        <a:pt x="187208" y="354449"/>
                      </a:cubicBezTo>
                      <a:lnTo>
                        <a:pt x="206258" y="368260"/>
                      </a:lnTo>
                      <a:lnTo>
                        <a:pt x="206258" y="368260"/>
                      </a:lnTo>
                      <a:cubicBezTo>
                        <a:pt x="211771" y="362898"/>
                        <a:pt x="216807" y="357066"/>
                        <a:pt x="221308" y="35083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5" name="Freeform: Shape 234">
                  <a:extLst>
                    <a:ext uri="{FF2B5EF4-FFF2-40B4-BE49-F238E27FC236}">
                      <a16:creationId xmlns:a16="http://schemas.microsoft.com/office/drawing/2014/main" id="{10BDF96A-DEBE-63D6-72F8-7AFD2BBB177F}"/>
                    </a:ext>
                  </a:extLst>
                </p:cNvPr>
                <p:cNvSpPr/>
                <p:nvPr/>
              </p:nvSpPr>
              <p:spPr>
                <a:xfrm>
                  <a:off x="5323450" y="4523861"/>
                  <a:ext cx="490639" cy="299275"/>
                </a:xfrm>
                <a:custGeom>
                  <a:avLst/>
                  <a:gdLst>
                    <a:gd name="connsiteX0" fmla="*/ 462160 w 490639"/>
                    <a:gd name="connsiteY0" fmla="*/ 258699 h 299275"/>
                    <a:gd name="connsiteX1" fmla="*/ 453778 w 490639"/>
                    <a:gd name="connsiteY1" fmla="*/ 245650 h 299275"/>
                    <a:gd name="connsiteX2" fmla="*/ 442062 w 490639"/>
                    <a:gd name="connsiteY2" fmla="*/ 250412 h 299275"/>
                    <a:gd name="connsiteX3" fmla="*/ 435013 w 490639"/>
                    <a:gd name="connsiteY3" fmla="*/ 259271 h 299275"/>
                    <a:gd name="connsiteX4" fmla="*/ 435013 w 490639"/>
                    <a:gd name="connsiteY4" fmla="*/ 261080 h 299275"/>
                    <a:gd name="connsiteX5" fmla="*/ 419964 w 490639"/>
                    <a:gd name="connsiteY5" fmla="*/ 276225 h 299275"/>
                    <a:gd name="connsiteX6" fmla="*/ 393294 w 490639"/>
                    <a:gd name="connsiteY6" fmla="*/ 276225 h 299275"/>
                    <a:gd name="connsiteX7" fmla="*/ 354622 w 490639"/>
                    <a:gd name="connsiteY7" fmla="*/ 232410 h 299275"/>
                    <a:gd name="connsiteX8" fmla="*/ 342811 w 490639"/>
                    <a:gd name="connsiteY8" fmla="*/ 223647 h 299275"/>
                    <a:gd name="connsiteX9" fmla="*/ 200508 w 490639"/>
                    <a:gd name="connsiteY9" fmla="*/ 117824 h 299275"/>
                    <a:gd name="connsiteX10" fmla="*/ 144501 w 490639"/>
                    <a:gd name="connsiteY10" fmla="*/ 97155 h 299275"/>
                    <a:gd name="connsiteX11" fmla="*/ 117545 w 490639"/>
                    <a:gd name="connsiteY11" fmla="*/ 95250 h 299275"/>
                    <a:gd name="connsiteX12" fmla="*/ 108877 w 490639"/>
                    <a:gd name="connsiteY12" fmla="*/ 98298 h 299275"/>
                    <a:gd name="connsiteX13" fmla="*/ 105163 w 490639"/>
                    <a:gd name="connsiteY13" fmla="*/ 106680 h 299275"/>
                    <a:gd name="connsiteX14" fmla="*/ 40107 w 490639"/>
                    <a:gd name="connsiteY14" fmla="*/ 173355 h 299275"/>
                    <a:gd name="connsiteX15" fmla="*/ 36202 w 490639"/>
                    <a:gd name="connsiteY15" fmla="*/ 173355 h 299275"/>
                    <a:gd name="connsiteX16" fmla="*/ 22676 w 490639"/>
                    <a:gd name="connsiteY16" fmla="*/ 161354 h 299275"/>
                    <a:gd name="connsiteX17" fmla="*/ 22676 w 490639"/>
                    <a:gd name="connsiteY17" fmla="*/ 159925 h 299275"/>
                    <a:gd name="connsiteX18" fmla="*/ 24676 w 490639"/>
                    <a:gd name="connsiteY18" fmla="*/ 157544 h 299275"/>
                    <a:gd name="connsiteX19" fmla="*/ 34201 w 490639"/>
                    <a:gd name="connsiteY19" fmla="*/ 143066 h 299275"/>
                    <a:gd name="connsiteX20" fmla="*/ 48489 w 490639"/>
                    <a:gd name="connsiteY20" fmla="*/ 94774 h 299275"/>
                    <a:gd name="connsiteX21" fmla="*/ 69539 w 490639"/>
                    <a:gd name="connsiteY21" fmla="*/ 64770 h 299275"/>
                    <a:gd name="connsiteX22" fmla="*/ 132595 w 490639"/>
                    <a:gd name="connsiteY22" fmla="*/ 24670 h 299275"/>
                    <a:gd name="connsiteX23" fmla="*/ 142120 w 490639"/>
                    <a:gd name="connsiteY23" fmla="*/ 22098 h 299275"/>
                    <a:gd name="connsiteX24" fmla="*/ 180220 w 490639"/>
                    <a:gd name="connsiteY24" fmla="*/ 22098 h 299275"/>
                    <a:gd name="connsiteX25" fmla="*/ 184220 w 490639"/>
                    <a:gd name="connsiteY25" fmla="*/ 22098 h 299275"/>
                    <a:gd name="connsiteX26" fmla="*/ 187459 w 490639"/>
                    <a:gd name="connsiteY26" fmla="*/ 23146 h 299275"/>
                    <a:gd name="connsiteX27" fmla="*/ 250514 w 490639"/>
                    <a:gd name="connsiteY27" fmla="*/ 45720 h 299275"/>
                    <a:gd name="connsiteX28" fmla="*/ 306616 w 490639"/>
                    <a:gd name="connsiteY28" fmla="*/ 55245 h 299275"/>
                    <a:gd name="connsiteX29" fmla="*/ 351193 w 490639"/>
                    <a:gd name="connsiteY29" fmla="*/ 50959 h 299275"/>
                    <a:gd name="connsiteX30" fmla="*/ 373577 w 490639"/>
                    <a:gd name="connsiteY30" fmla="*/ 45720 h 299275"/>
                    <a:gd name="connsiteX31" fmla="*/ 370243 w 490639"/>
                    <a:gd name="connsiteY31" fmla="*/ 27908 h 299275"/>
                    <a:gd name="connsiteX32" fmla="*/ 397199 w 490639"/>
                    <a:gd name="connsiteY32" fmla="*/ 13716 h 299275"/>
                    <a:gd name="connsiteX33" fmla="*/ 392151 w 490639"/>
                    <a:gd name="connsiteY33" fmla="*/ 14383 h 299275"/>
                    <a:gd name="connsiteX34" fmla="*/ 378054 w 490639"/>
                    <a:gd name="connsiteY34" fmla="*/ 19812 h 299275"/>
                    <a:gd name="connsiteX35" fmla="*/ 347098 w 490639"/>
                    <a:gd name="connsiteY35" fmla="*/ 29337 h 299275"/>
                    <a:gd name="connsiteX36" fmla="*/ 306807 w 490639"/>
                    <a:gd name="connsiteY36" fmla="*/ 33242 h 299275"/>
                    <a:gd name="connsiteX37" fmla="*/ 257944 w 490639"/>
                    <a:gd name="connsiteY37" fmla="*/ 24575 h 299275"/>
                    <a:gd name="connsiteX38" fmla="*/ 195174 w 490639"/>
                    <a:gd name="connsiteY38" fmla="*/ 3048 h 299275"/>
                    <a:gd name="connsiteX39" fmla="*/ 179839 w 490639"/>
                    <a:gd name="connsiteY39" fmla="*/ 0 h 299275"/>
                    <a:gd name="connsiteX40" fmla="*/ 141739 w 490639"/>
                    <a:gd name="connsiteY40" fmla="*/ 0 h 299275"/>
                    <a:gd name="connsiteX41" fmla="*/ 120307 w 490639"/>
                    <a:gd name="connsiteY41" fmla="*/ 6191 h 299275"/>
                    <a:gd name="connsiteX42" fmla="*/ 102115 w 490639"/>
                    <a:gd name="connsiteY42" fmla="*/ 17145 h 299275"/>
                    <a:gd name="connsiteX43" fmla="*/ 57252 w 490639"/>
                    <a:gd name="connsiteY43" fmla="*/ 45720 h 299275"/>
                    <a:gd name="connsiteX44" fmla="*/ 25819 w 490639"/>
                    <a:gd name="connsiteY44" fmla="*/ 90297 h 299275"/>
                    <a:gd name="connsiteX45" fmla="*/ 25819 w 490639"/>
                    <a:gd name="connsiteY45" fmla="*/ 91154 h 299275"/>
                    <a:gd name="connsiteX46" fmla="*/ 14770 w 490639"/>
                    <a:gd name="connsiteY46" fmla="*/ 131064 h 299275"/>
                    <a:gd name="connsiteX47" fmla="*/ 6293 w 490639"/>
                    <a:gd name="connsiteY47" fmla="*/ 144590 h 299275"/>
                    <a:gd name="connsiteX48" fmla="*/ 197 w 490639"/>
                    <a:gd name="connsiteY48" fmla="*/ 164497 h 299275"/>
                    <a:gd name="connsiteX49" fmla="*/ 28105 w 490639"/>
                    <a:gd name="connsiteY49" fmla="*/ 195167 h 299275"/>
                    <a:gd name="connsiteX50" fmla="*/ 32296 w 490639"/>
                    <a:gd name="connsiteY50" fmla="*/ 196406 h 299275"/>
                    <a:gd name="connsiteX51" fmla="*/ 40583 w 490639"/>
                    <a:gd name="connsiteY51" fmla="*/ 196406 h 299275"/>
                    <a:gd name="connsiteX52" fmla="*/ 127546 w 490639"/>
                    <a:gd name="connsiteY52" fmla="*/ 118967 h 299275"/>
                    <a:gd name="connsiteX53" fmla="*/ 143072 w 490639"/>
                    <a:gd name="connsiteY53" fmla="*/ 120110 h 299275"/>
                    <a:gd name="connsiteX54" fmla="*/ 186982 w 490639"/>
                    <a:gd name="connsiteY54" fmla="*/ 136303 h 299275"/>
                    <a:gd name="connsiteX55" fmla="*/ 341002 w 490639"/>
                    <a:gd name="connsiteY55" fmla="*/ 250889 h 299275"/>
                    <a:gd name="connsiteX56" fmla="*/ 375482 w 490639"/>
                    <a:gd name="connsiteY56" fmla="*/ 291656 h 299275"/>
                    <a:gd name="connsiteX57" fmla="*/ 376149 w 490639"/>
                    <a:gd name="connsiteY57" fmla="*/ 292894 h 299275"/>
                    <a:gd name="connsiteX58" fmla="*/ 386436 w 490639"/>
                    <a:gd name="connsiteY58" fmla="*/ 299276 h 299275"/>
                    <a:gd name="connsiteX59" fmla="*/ 420059 w 490639"/>
                    <a:gd name="connsiteY59" fmla="*/ 299276 h 299275"/>
                    <a:gd name="connsiteX60" fmla="*/ 451873 w 490639"/>
                    <a:gd name="connsiteY60" fmla="*/ 282035 h 299275"/>
                    <a:gd name="connsiteX61" fmla="*/ 457302 w 490639"/>
                    <a:gd name="connsiteY61" fmla="*/ 269177 h 299275"/>
                    <a:gd name="connsiteX62" fmla="*/ 483877 w 490639"/>
                    <a:gd name="connsiteY62" fmla="*/ 258128 h 299275"/>
                    <a:gd name="connsiteX63" fmla="*/ 490639 w 490639"/>
                    <a:gd name="connsiteY63" fmla="*/ 250698 h 29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490639" h="299275">
                      <a:moveTo>
                        <a:pt x="462160" y="258699"/>
                      </a:moveTo>
                      <a:cubicBezTo>
                        <a:pt x="459302" y="254413"/>
                        <a:pt x="456445" y="250031"/>
                        <a:pt x="453778" y="245650"/>
                      </a:cubicBezTo>
                      <a:lnTo>
                        <a:pt x="442062" y="250412"/>
                      </a:lnTo>
                      <a:cubicBezTo>
                        <a:pt x="438358" y="251973"/>
                        <a:pt x="435703" y="255311"/>
                        <a:pt x="435013" y="259271"/>
                      </a:cubicBezTo>
                      <a:cubicBezTo>
                        <a:pt x="435013" y="259842"/>
                        <a:pt x="435013" y="260509"/>
                        <a:pt x="435013" y="261080"/>
                      </a:cubicBezTo>
                      <a:cubicBezTo>
                        <a:pt x="435014" y="269407"/>
                        <a:pt x="428291" y="276173"/>
                        <a:pt x="419964" y="276225"/>
                      </a:cubicBezTo>
                      <a:lnTo>
                        <a:pt x="393294" y="276225"/>
                      </a:lnTo>
                      <a:cubicBezTo>
                        <a:pt x="383560" y="259112"/>
                        <a:pt x="370394" y="244195"/>
                        <a:pt x="354622" y="232410"/>
                      </a:cubicBezTo>
                      <a:lnTo>
                        <a:pt x="342811" y="223647"/>
                      </a:lnTo>
                      <a:lnTo>
                        <a:pt x="200508" y="117824"/>
                      </a:lnTo>
                      <a:cubicBezTo>
                        <a:pt x="184215" y="105693"/>
                        <a:pt x="164769" y="98516"/>
                        <a:pt x="144501" y="97155"/>
                      </a:cubicBezTo>
                      <a:lnTo>
                        <a:pt x="117545" y="95250"/>
                      </a:lnTo>
                      <a:cubicBezTo>
                        <a:pt x="114352" y="94972"/>
                        <a:pt x="111194" y="96083"/>
                        <a:pt x="108877" y="98298"/>
                      </a:cubicBezTo>
                      <a:cubicBezTo>
                        <a:pt x="106524" y="100451"/>
                        <a:pt x="105177" y="103490"/>
                        <a:pt x="105163" y="106680"/>
                      </a:cubicBezTo>
                      <a:cubicBezTo>
                        <a:pt x="105173" y="142880"/>
                        <a:pt x="76297" y="172476"/>
                        <a:pt x="40107" y="173355"/>
                      </a:cubicBezTo>
                      <a:lnTo>
                        <a:pt x="36202" y="173355"/>
                      </a:lnTo>
                      <a:cubicBezTo>
                        <a:pt x="23914" y="166592"/>
                        <a:pt x="22771" y="161925"/>
                        <a:pt x="22676" y="161354"/>
                      </a:cubicBezTo>
                      <a:cubicBezTo>
                        <a:pt x="22536" y="160888"/>
                        <a:pt x="22536" y="160391"/>
                        <a:pt x="22676" y="159925"/>
                      </a:cubicBezTo>
                      <a:cubicBezTo>
                        <a:pt x="23469" y="159246"/>
                        <a:pt x="24145" y="158441"/>
                        <a:pt x="24676" y="157544"/>
                      </a:cubicBezTo>
                      <a:lnTo>
                        <a:pt x="34201" y="143066"/>
                      </a:lnTo>
                      <a:cubicBezTo>
                        <a:pt x="41513" y="127835"/>
                        <a:pt x="46337" y="111531"/>
                        <a:pt x="48489" y="94774"/>
                      </a:cubicBezTo>
                      <a:cubicBezTo>
                        <a:pt x="51222" y="82365"/>
                        <a:pt x="58801" y="71563"/>
                        <a:pt x="69539" y="64770"/>
                      </a:cubicBezTo>
                      <a:lnTo>
                        <a:pt x="132595" y="24670"/>
                      </a:lnTo>
                      <a:cubicBezTo>
                        <a:pt x="135451" y="22903"/>
                        <a:pt x="138762" y="22009"/>
                        <a:pt x="142120" y="22098"/>
                      </a:cubicBezTo>
                      <a:lnTo>
                        <a:pt x="180220" y="22098"/>
                      </a:lnTo>
                      <a:cubicBezTo>
                        <a:pt x="181547" y="21917"/>
                        <a:pt x="182893" y="21917"/>
                        <a:pt x="184220" y="22098"/>
                      </a:cubicBezTo>
                      <a:cubicBezTo>
                        <a:pt x="185334" y="22331"/>
                        <a:pt x="186419" y="22682"/>
                        <a:pt x="187459" y="23146"/>
                      </a:cubicBezTo>
                      <a:lnTo>
                        <a:pt x="250514" y="45720"/>
                      </a:lnTo>
                      <a:cubicBezTo>
                        <a:pt x="268581" y="51892"/>
                        <a:pt x="287525" y="55109"/>
                        <a:pt x="306616" y="55245"/>
                      </a:cubicBezTo>
                      <a:cubicBezTo>
                        <a:pt x="321587" y="55443"/>
                        <a:pt x="336535" y="54006"/>
                        <a:pt x="351193" y="50959"/>
                      </a:cubicBezTo>
                      <a:cubicBezTo>
                        <a:pt x="358747" y="49636"/>
                        <a:pt x="366221" y="47887"/>
                        <a:pt x="373577" y="45720"/>
                      </a:cubicBezTo>
                      <a:cubicBezTo>
                        <a:pt x="372339" y="39815"/>
                        <a:pt x="371291" y="33814"/>
                        <a:pt x="370243" y="27908"/>
                      </a:cubicBezTo>
                      <a:lnTo>
                        <a:pt x="397199" y="13716"/>
                      </a:lnTo>
                      <a:cubicBezTo>
                        <a:pt x="395487" y="13508"/>
                        <a:pt x="393750" y="13737"/>
                        <a:pt x="392151" y="14383"/>
                      </a:cubicBezTo>
                      <a:lnTo>
                        <a:pt x="378054" y="19812"/>
                      </a:lnTo>
                      <a:cubicBezTo>
                        <a:pt x="368028" y="23870"/>
                        <a:pt x="357671" y="27057"/>
                        <a:pt x="347098" y="29337"/>
                      </a:cubicBezTo>
                      <a:cubicBezTo>
                        <a:pt x="333852" y="32116"/>
                        <a:pt x="320340" y="33425"/>
                        <a:pt x="306807" y="33242"/>
                      </a:cubicBezTo>
                      <a:cubicBezTo>
                        <a:pt x="290162" y="32964"/>
                        <a:pt x="273668" y="30038"/>
                        <a:pt x="257944" y="24575"/>
                      </a:cubicBezTo>
                      <a:lnTo>
                        <a:pt x="195174" y="3048"/>
                      </a:lnTo>
                      <a:cubicBezTo>
                        <a:pt x="190312" y="1033"/>
                        <a:pt x="185101" y="-2"/>
                        <a:pt x="179839" y="0"/>
                      </a:cubicBezTo>
                      <a:lnTo>
                        <a:pt x="141739" y="0"/>
                      </a:lnTo>
                      <a:cubicBezTo>
                        <a:pt x="134152" y="-10"/>
                        <a:pt x="126720" y="2137"/>
                        <a:pt x="120307" y="6191"/>
                      </a:cubicBezTo>
                      <a:lnTo>
                        <a:pt x="102115" y="17145"/>
                      </a:lnTo>
                      <a:lnTo>
                        <a:pt x="57252" y="45720"/>
                      </a:lnTo>
                      <a:cubicBezTo>
                        <a:pt x="41247" y="55790"/>
                        <a:pt x="29930" y="71839"/>
                        <a:pt x="25819" y="90297"/>
                      </a:cubicBezTo>
                      <a:cubicBezTo>
                        <a:pt x="25775" y="90581"/>
                        <a:pt x="25775" y="90870"/>
                        <a:pt x="25819" y="91154"/>
                      </a:cubicBezTo>
                      <a:cubicBezTo>
                        <a:pt x="24131" y="104931"/>
                        <a:pt x="20407" y="118381"/>
                        <a:pt x="14770" y="131064"/>
                      </a:cubicBezTo>
                      <a:lnTo>
                        <a:pt x="6293" y="144590"/>
                      </a:lnTo>
                      <a:cubicBezTo>
                        <a:pt x="1514" y="150051"/>
                        <a:pt x="-705" y="157295"/>
                        <a:pt x="197" y="164497"/>
                      </a:cubicBezTo>
                      <a:cubicBezTo>
                        <a:pt x="1721" y="176022"/>
                        <a:pt x="11151" y="186404"/>
                        <a:pt x="28105" y="195167"/>
                      </a:cubicBezTo>
                      <a:cubicBezTo>
                        <a:pt x="29407" y="195853"/>
                        <a:pt x="30831" y="196273"/>
                        <a:pt x="32296" y="196406"/>
                      </a:cubicBezTo>
                      <a:cubicBezTo>
                        <a:pt x="32296" y="196406"/>
                        <a:pt x="35440" y="196406"/>
                        <a:pt x="40583" y="196406"/>
                      </a:cubicBezTo>
                      <a:cubicBezTo>
                        <a:pt x="84659" y="195462"/>
                        <a:pt x="121519" y="162639"/>
                        <a:pt x="127546" y="118967"/>
                      </a:cubicBezTo>
                      <a:lnTo>
                        <a:pt x="143072" y="120110"/>
                      </a:lnTo>
                      <a:cubicBezTo>
                        <a:pt x="158962" y="121171"/>
                        <a:pt x="174208" y="126794"/>
                        <a:pt x="186982" y="136303"/>
                      </a:cubicBezTo>
                      <a:lnTo>
                        <a:pt x="341002" y="250889"/>
                      </a:lnTo>
                      <a:cubicBezTo>
                        <a:pt x="355442" y="261682"/>
                        <a:pt x="367234" y="275624"/>
                        <a:pt x="375482" y="291656"/>
                      </a:cubicBezTo>
                      <a:cubicBezTo>
                        <a:pt x="375741" y="292047"/>
                        <a:pt x="375964" y="292462"/>
                        <a:pt x="376149" y="292894"/>
                      </a:cubicBezTo>
                      <a:cubicBezTo>
                        <a:pt x="378077" y="296811"/>
                        <a:pt x="382069" y="299288"/>
                        <a:pt x="386436" y="299276"/>
                      </a:cubicBezTo>
                      <a:lnTo>
                        <a:pt x="420059" y="299276"/>
                      </a:lnTo>
                      <a:cubicBezTo>
                        <a:pt x="432890" y="299252"/>
                        <a:pt x="444848" y="292772"/>
                        <a:pt x="451873" y="282035"/>
                      </a:cubicBezTo>
                      <a:cubicBezTo>
                        <a:pt x="454506" y="278145"/>
                        <a:pt x="456351" y="273777"/>
                        <a:pt x="457302" y="269177"/>
                      </a:cubicBezTo>
                      <a:lnTo>
                        <a:pt x="483877" y="258128"/>
                      </a:lnTo>
                      <a:cubicBezTo>
                        <a:pt x="487157" y="256828"/>
                        <a:pt x="489653" y="254086"/>
                        <a:pt x="490639" y="25069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6" name="Freeform: Shape 235">
                  <a:extLst>
                    <a:ext uri="{FF2B5EF4-FFF2-40B4-BE49-F238E27FC236}">
                      <a16:creationId xmlns:a16="http://schemas.microsoft.com/office/drawing/2014/main" id="{8161D717-F701-66D8-EDD2-666A0480B292}"/>
                    </a:ext>
                  </a:extLst>
                </p:cNvPr>
                <p:cNvSpPr/>
                <p:nvPr/>
              </p:nvSpPr>
              <p:spPr>
                <a:xfrm>
                  <a:off x="5035619" y="4488858"/>
                  <a:ext cx="215447" cy="318749"/>
                </a:xfrm>
                <a:custGeom>
                  <a:avLst/>
                  <a:gdLst>
                    <a:gd name="connsiteX0" fmla="*/ 212209 w 215447"/>
                    <a:gd name="connsiteY0" fmla="*/ 48243 h 318749"/>
                    <a:gd name="connsiteX1" fmla="*/ 209351 w 215447"/>
                    <a:gd name="connsiteY1" fmla="*/ 46147 h 318749"/>
                    <a:gd name="connsiteX2" fmla="*/ 124007 w 215447"/>
                    <a:gd name="connsiteY2" fmla="*/ 1380 h 318749"/>
                    <a:gd name="connsiteX3" fmla="*/ 108634 w 215447"/>
                    <a:gd name="connsiteY3" fmla="*/ 5921 h 318749"/>
                    <a:gd name="connsiteX4" fmla="*/ 108005 w 215447"/>
                    <a:gd name="connsiteY4" fmla="*/ 7285 h 318749"/>
                    <a:gd name="connsiteX5" fmla="*/ 1039 w 215447"/>
                    <a:gd name="connsiteY5" fmla="*/ 277033 h 318749"/>
                    <a:gd name="connsiteX6" fmla="*/ 1039 w 215447"/>
                    <a:gd name="connsiteY6" fmla="*/ 286558 h 318749"/>
                    <a:gd name="connsiteX7" fmla="*/ 8278 w 215447"/>
                    <a:gd name="connsiteY7" fmla="*/ 292559 h 318749"/>
                    <a:gd name="connsiteX8" fmla="*/ 100766 w 215447"/>
                    <a:gd name="connsiteY8" fmla="*/ 318372 h 318749"/>
                    <a:gd name="connsiteX9" fmla="*/ 113339 w 215447"/>
                    <a:gd name="connsiteY9" fmla="*/ 313800 h 318749"/>
                    <a:gd name="connsiteX10" fmla="*/ 115054 w 215447"/>
                    <a:gd name="connsiteY10" fmla="*/ 311228 h 318749"/>
                    <a:gd name="connsiteX11" fmla="*/ 129627 w 215447"/>
                    <a:gd name="connsiteY11" fmla="*/ 288749 h 318749"/>
                    <a:gd name="connsiteX12" fmla="*/ 213066 w 215447"/>
                    <a:gd name="connsiteY12" fmla="*/ 71198 h 318749"/>
                    <a:gd name="connsiteX13" fmla="*/ 215352 w 215447"/>
                    <a:gd name="connsiteY13" fmla="*/ 57863 h 318749"/>
                    <a:gd name="connsiteX14" fmla="*/ 212209 w 215447"/>
                    <a:gd name="connsiteY14" fmla="*/ 48243 h 318749"/>
                    <a:gd name="connsiteX15" fmla="*/ 113053 w 215447"/>
                    <a:gd name="connsiteY15" fmla="*/ 271985 h 318749"/>
                    <a:gd name="connsiteX16" fmla="*/ 99337 w 215447"/>
                    <a:gd name="connsiteY16" fmla="*/ 293702 h 318749"/>
                    <a:gd name="connsiteX17" fmla="*/ 83526 w 215447"/>
                    <a:gd name="connsiteY17" fmla="*/ 289321 h 318749"/>
                    <a:gd name="connsiteX18" fmla="*/ 27138 w 215447"/>
                    <a:gd name="connsiteY18" fmla="*/ 273604 h 318749"/>
                    <a:gd name="connsiteX19" fmla="*/ 125055 w 215447"/>
                    <a:gd name="connsiteY19" fmla="*/ 27669 h 318749"/>
                    <a:gd name="connsiteX20" fmla="*/ 168870 w 215447"/>
                    <a:gd name="connsiteY20" fmla="*/ 50815 h 318749"/>
                    <a:gd name="connsiteX21" fmla="*/ 191254 w 215447"/>
                    <a:gd name="connsiteY21" fmla="*/ 62626 h 318749"/>
                    <a:gd name="connsiteX22" fmla="*/ 189349 w 215447"/>
                    <a:gd name="connsiteY22" fmla="*/ 73103 h 318749"/>
                    <a:gd name="connsiteX23" fmla="*/ 113053 w 215447"/>
                    <a:gd name="connsiteY23" fmla="*/ 271985 h 318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15447" h="318749">
                      <a:moveTo>
                        <a:pt x="212209" y="48243"/>
                      </a:moveTo>
                      <a:cubicBezTo>
                        <a:pt x="211362" y="47410"/>
                        <a:pt x="210400" y="46704"/>
                        <a:pt x="209351" y="46147"/>
                      </a:cubicBezTo>
                      <a:lnTo>
                        <a:pt x="124007" y="1380"/>
                      </a:lnTo>
                      <a:cubicBezTo>
                        <a:pt x="118508" y="-1611"/>
                        <a:pt x="111625" y="422"/>
                        <a:pt x="108634" y="5921"/>
                      </a:cubicBezTo>
                      <a:cubicBezTo>
                        <a:pt x="108395" y="6361"/>
                        <a:pt x="108184" y="6817"/>
                        <a:pt x="108005" y="7285"/>
                      </a:cubicBezTo>
                      <a:lnTo>
                        <a:pt x="1039" y="277033"/>
                      </a:lnTo>
                      <a:cubicBezTo>
                        <a:pt x="-346" y="280057"/>
                        <a:pt x="-346" y="283535"/>
                        <a:pt x="1039" y="286558"/>
                      </a:cubicBezTo>
                      <a:cubicBezTo>
                        <a:pt x="2509" y="289482"/>
                        <a:pt x="5133" y="291657"/>
                        <a:pt x="8278" y="292559"/>
                      </a:cubicBezTo>
                      <a:lnTo>
                        <a:pt x="100766" y="318372"/>
                      </a:lnTo>
                      <a:cubicBezTo>
                        <a:pt x="105500" y="319597"/>
                        <a:pt x="110499" y="317779"/>
                        <a:pt x="113339" y="313800"/>
                      </a:cubicBezTo>
                      <a:lnTo>
                        <a:pt x="115054" y="311228"/>
                      </a:lnTo>
                      <a:cubicBezTo>
                        <a:pt x="120102" y="303894"/>
                        <a:pt x="124579" y="296369"/>
                        <a:pt x="129627" y="288749"/>
                      </a:cubicBezTo>
                      <a:cubicBezTo>
                        <a:pt x="170910" y="222143"/>
                        <a:pt x="199221" y="148328"/>
                        <a:pt x="213066" y="71198"/>
                      </a:cubicBezTo>
                      <a:cubicBezTo>
                        <a:pt x="213923" y="66721"/>
                        <a:pt x="214685" y="62340"/>
                        <a:pt x="215352" y="57863"/>
                      </a:cubicBezTo>
                      <a:cubicBezTo>
                        <a:pt x="215801" y="54347"/>
                        <a:pt x="214647" y="50816"/>
                        <a:pt x="212209" y="48243"/>
                      </a:cubicBezTo>
                      <a:close/>
                      <a:moveTo>
                        <a:pt x="113053" y="271985"/>
                      </a:moveTo>
                      <a:cubicBezTo>
                        <a:pt x="108672" y="279288"/>
                        <a:pt x="104100" y="286527"/>
                        <a:pt x="99337" y="293702"/>
                      </a:cubicBezTo>
                      <a:lnTo>
                        <a:pt x="83526" y="289321"/>
                      </a:lnTo>
                      <a:lnTo>
                        <a:pt x="27138" y="273604"/>
                      </a:lnTo>
                      <a:lnTo>
                        <a:pt x="125055" y="27669"/>
                      </a:lnTo>
                      <a:lnTo>
                        <a:pt x="168870" y="50815"/>
                      </a:lnTo>
                      <a:lnTo>
                        <a:pt x="191254" y="62626"/>
                      </a:lnTo>
                      <a:cubicBezTo>
                        <a:pt x="190682" y="66150"/>
                        <a:pt x="190015" y="69579"/>
                        <a:pt x="189349" y="73103"/>
                      </a:cubicBezTo>
                      <a:cubicBezTo>
                        <a:pt x="176013" y="143426"/>
                        <a:pt x="150172" y="210786"/>
                        <a:pt x="113053" y="27198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7" name="Freeform: Shape 236">
                  <a:extLst>
                    <a:ext uri="{FF2B5EF4-FFF2-40B4-BE49-F238E27FC236}">
                      <a16:creationId xmlns:a16="http://schemas.microsoft.com/office/drawing/2014/main" id="{18594CFB-08F0-A335-2F1E-BD6CA04DCE2A}"/>
                    </a:ext>
                  </a:extLst>
                </p:cNvPr>
                <p:cNvSpPr/>
                <p:nvPr/>
              </p:nvSpPr>
              <p:spPr>
                <a:xfrm>
                  <a:off x="5669451" y="4488857"/>
                  <a:ext cx="215092" cy="318377"/>
                </a:xfrm>
                <a:custGeom>
                  <a:avLst/>
                  <a:gdLst>
                    <a:gd name="connsiteX0" fmla="*/ 214075 w 215092"/>
                    <a:gd name="connsiteY0" fmla="*/ 277034 h 318377"/>
                    <a:gd name="connsiteX1" fmla="*/ 107109 w 215092"/>
                    <a:gd name="connsiteY1" fmla="*/ 7286 h 318377"/>
                    <a:gd name="connsiteX2" fmla="*/ 92472 w 215092"/>
                    <a:gd name="connsiteY2" fmla="*/ 752 h 318377"/>
                    <a:gd name="connsiteX3" fmla="*/ 91107 w 215092"/>
                    <a:gd name="connsiteY3" fmla="*/ 1381 h 318377"/>
                    <a:gd name="connsiteX4" fmla="*/ 6144 w 215092"/>
                    <a:gd name="connsiteY4" fmla="*/ 46148 h 318377"/>
                    <a:gd name="connsiteX5" fmla="*/ 144 w 215092"/>
                    <a:gd name="connsiteY5" fmla="*/ 58150 h 318377"/>
                    <a:gd name="connsiteX6" fmla="*/ 1096 w 215092"/>
                    <a:gd name="connsiteY6" fmla="*/ 63579 h 318377"/>
                    <a:gd name="connsiteX7" fmla="*/ 5192 w 215092"/>
                    <a:gd name="connsiteY7" fmla="*/ 86249 h 318377"/>
                    <a:gd name="connsiteX8" fmla="*/ 89012 w 215092"/>
                    <a:gd name="connsiteY8" fmla="*/ 294275 h 318377"/>
                    <a:gd name="connsiteX9" fmla="*/ 101775 w 215092"/>
                    <a:gd name="connsiteY9" fmla="*/ 313325 h 318377"/>
                    <a:gd name="connsiteX10" fmla="*/ 105681 w 215092"/>
                    <a:gd name="connsiteY10" fmla="*/ 316754 h 318377"/>
                    <a:gd name="connsiteX11" fmla="*/ 111300 w 215092"/>
                    <a:gd name="connsiteY11" fmla="*/ 318278 h 318377"/>
                    <a:gd name="connsiteX12" fmla="*/ 114348 w 215092"/>
                    <a:gd name="connsiteY12" fmla="*/ 318278 h 318377"/>
                    <a:gd name="connsiteX13" fmla="*/ 206836 w 215092"/>
                    <a:gd name="connsiteY13" fmla="*/ 292465 h 318377"/>
                    <a:gd name="connsiteX14" fmla="*/ 214075 w 215092"/>
                    <a:gd name="connsiteY14" fmla="*/ 286464 h 318377"/>
                    <a:gd name="connsiteX15" fmla="*/ 214075 w 215092"/>
                    <a:gd name="connsiteY15" fmla="*/ 277034 h 318377"/>
                    <a:gd name="connsiteX16" fmla="*/ 144447 w 215092"/>
                    <a:gd name="connsiteY16" fmla="*/ 285702 h 318377"/>
                    <a:gd name="connsiteX17" fmla="*/ 115872 w 215092"/>
                    <a:gd name="connsiteY17" fmla="*/ 293703 h 318377"/>
                    <a:gd name="connsiteX18" fmla="*/ 107490 w 215092"/>
                    <a:gd name="connsiteY18" fmla="*/ 280654 h 318377"/>
                    <a:gd name="connsiteX19" fmla="*/ 27290 w 215092"/>
                    <a:gd name="connsiteY19" fmla="*/ 80629 h 318377"/>
                    <a:gd name="connsiteX20" fmla="*/ 23956 w 215092"/>
                    <a:gd name="connsiteY20" fmla="*/ 62817 h 318377"/>
                    <a:gd name="connsiteX21" fmla="*/ 50912 w 215092"/>
                    <a:gd name="connsiteY21" fmla="*/ 48625 h 318377"/>
                    <a:gd name="connsiteX22" fmla="*/ 90250 w 215092"/>
                    <a:gd name="connsiteY22" fmla="*/ 27670 h 318377"/>
                    <a:gd name="connsiteX23" fmla="*/ 188358 w 215092"/>
                    <a:gd name="connsiteY23" fmla="*/ 273605 h 318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15092" h="318377">
                      <a:moveTo>
                        <a:pt x="214075" y="277034"/>
                      </a:moveTo>
                      <a:lnTo>
                        <a:pt x="107109" y="7286"/>
                      </a:lnTo>
                      <a:cubicBezTo>
                        <a:pt x="104872" y="1440"/>
                        <a:pt x="98318" y="-1486"/>
                        <a:pt x="92472" y="752"/>
                      </a:cubicBezTo>
                      <a:cubicBezTo>
                        <a:pt x="92003" y="931"/>
                        <a:pt x="91548" y="1141"/>
                        <a:pt x="91107" y="1381"/>
                      </a:cubicBezTo>
                      <a:lnTo>
                        <a:pt x="6144" y="46148"/>
                      </a:lnTo>
                      <a:cubicBezTo>
                        <a:pt x="1781" y="48452"/>
                        <a:pt x="-631" y="53277"/>
                        <a:pt x="144" y="58150"/>
                      </a:cubicBezTo>
                      <a:cubicBezTo>
                        <a:pt x="144" y="59960"/>
                        <a:pt x="715" y="61769"/>
                        <a:pt x="1096" y="63579"/>
                      </a:cubicBezTo>
                      <a:cubicBezTo>
                        <a:pt x="2239" y="71199"/>
                        <a:pt x="3668" y="78724"/>
                        <a:pt x="5192" y="86249"/>
                      </a:cubicBezTo>
                      <a:cubicBezTo>
                        <a:pt x="20336" y="160084"/>
                        <a:pt x="48735" y="230565"/>
                        <a:pt x="89012" y="294275"/>
                      </a:cubicBezTo>
                      <a:cubicBezTo>
                        <a:pt x="93108" y="300847"/>
                        <a:pt x="97394" y="307229"/>
                        <a:pt x="101775" y="313325"/>
                      </a:cubicBezTo>
                      <a:cubicBezTo>
                        <a:pt x="102762" y="314783"/>
                        <a:pt x="104107" y="315964"/>
                        <a:pt x="105681" y="316754"/>
                      </a:cubicBezTo>
                      <a:cubicBezTo>
                        <a:pt x="107374" y="317778"/>
                        <a:pt x="109321" y="318306"/>
                        <a:pt x="111300" y="318278"/>
                      </a:cubicBezTo>
                      <a:cubicBezTo>
                        <a:pt x="112312" y="318411"/>
                        <a:pt x="113337" y="318411"/>
                        <a:pt x="114348" y="318278"/>
                      </a:cubicBezTo>
                      <a:lnTo>
                        <a:pt x="206836" y="292465"/>
                      </a:lnTo>
                      <a:cubicBezTo>
                        <a:pt x="209981" y="291563"/>
                        <a:pt x="212606" y="289387"/>
                        <a:pt x="214075" y="286464"/>
                      </a:cubicBezTo>
                      <a:cubicBezTo>
                        <a:pt x="215432" y="283467"/>
                        <a:pt x="215432" y="280031"/>
                        <a:pt x="214075" y="277034"/>
                      </a:cubicBezTo>
                      <a:close/>
                      <a:moveTo>
                        <a:pt x="144447" y="285702"/>
                      </a:moveTo>
                      <a:lnTo>
                        <a:pt x="115872" y="293703"/>
                      </a:lnTo>
                      <a:cubicBezTo>
                        <a:pt x="113015" y="289417"/>
                        <a:pt x="110157" y="285035"/>
                        <a:pt x="107490" y="280654"/>
                      </a:cubicBezTo>
                      <a:cubicBezTo>
                        <a:pt x="68856" y="219390"/>
                        <a:pt x="41681" y="151613"/>
                        <a:pt x="27290" y="80629"/>
                      </a:cubicBezTo>
                      <a:cubicBezTo>
                        <a:pt x="26052" y="74723"/>
                        <a:pt x="25004" y="68723"/>
                        <a:pt x="23956" y="62817"/>
                      </a:cubicBezTo>
                      <a:lnTo>
                        <a:pt x="50912" y="48625"/>
                      </a:lnTo>
                      <a:lnTo>
                        <a:pt x="90250" y="27670"/>
                      </a:lnTo>
                      <a:lnTo>
                        <a:pt x="188358" y="27360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8" name="Freeform: Shape 237">
                  <a:extLst>
                    <a:ext uri="{FF2B5EF4-FFF2-40B4-BE49-F238E27FC236}">
                      <a16:creationId xmlns:a16="http://schemas.microsoft.com/office/drawing/2014/main" id="{71720376-D981-BE7D-EEF3-E396D2B793EE}"/>
                    </a:ext>
                  </a:extLst>
                </p:cNvPr>
                <p:cNvSpPr/>
                <p:nvPr/>
              </p:nvSpPr>
              <p:spPr>
                <a:xfrm>
                  <a:off x="5354968" y="4876017"/>
                  <a:ext cx="94665" cy="98186"/>
                </a:xfrm>
                <a:custGeom>
                  <a:avLst/>
                  <a:gdLst>
                    <a:gd name="connsiteX0" fmla="*/ 77073 w 94665"/>
                    <a:gd name="connsiteY0" fmla="*/ 5222 h 98186"/>
                    <a:gd name="connsiteX1" fmla="*/ 61167 w 94665"/>
                    <a:gd name="connsiteY1" fmla="*/ 79 h 98186"/>
                    <a:gd name="connsiteX2" fmla="*/ 37164 w 94665"/>
                    <a:gd name="connsiteY2" fmla="*/ 4841 h 98186"/>
                    <a:gd name="connsiteX3" fmla="*/ 32592 w 94665"/>
                    <a:gd name="connsiteY3" fmla="*/ 7127 h 98186"/>
                    <a:gd name="connsiteX4" fmla="*/ 30972 w 94665"/>
                    <a:gd name="connsiteY4" fmla="*/ 9985 h 98186"/>
                    <a:gd name="connsiteX5" fmla="*/ 23352 w 94665"/>
                    <a:gd name="connsiteY5" fmla="*/ 20653 h 98186"/>
                    <a:gd name="connsiteX6" fmla="*/ 6684 w 94665"/>
                    <a:gd name="connsiteY6" fmla="*/ 36464 h 98186"/>
                    <a:gd name="connsiteX7" fmla="*/ 5731 w 94665"/>
                    <a:gd name="connsiteY7" fmla="*/ 37131 h 98186"/>
                    <a:gd name="connsiteX8" fmla="*/ 111 w 94665"/>
                    <a:gd name="connsiteY8" fmla="*/ 65039 h 98186"/>
                    <a:gd name="connsiteX9" fmla="*/ 16780 w 94665"/>
                    <a:gd name="connsiteY9" fmla="*/ 91423 h 98186"/>
                    <a:gd name="connsiteX10" fmla="*/ 40593 w 94665"/>
                    <a:gd name="connsiteY10" fmla="*/ 98186 h 98186"/>
                    <a:gd name="connsiteX11" fmla="*/ 66596 w 94665"/>
                    <a:gd name="connsiteY11" fmla="*/ 91042 h 98186"/>
                    <a:gd name="connsiteX12" fmla="*/ 76121 w 94665"/>
                    <a:gd name="connsiteY12" fmla="*/ 84470 h 98186"/>
                    <a:gd name="connsiteX13" fmla="*/ 87932 w 94665"/>
                    <a:gd name="connsiteY13" fmla="*/ 70754 h 98186"/>
                    <a:gd name="connsiteX14" fmla="*/ 90408 w 94665"/>
                    <a:gd name="connsiteY14" fmla="*/ 65992 h 98186"/>
                    <a:gd name="connsiteX15" fmla="*/ 94599 w 94665"/>
                    <a:gd name="connsiteY15" fmla="*/ 41131 h 98186"/>
                    <a:gd name="connsiteX16" fmla="*/ 77073 w 94665"/>
                    <a:gd name="connsiteY16" fmla="*/ 5222 h 98186"/>
                    <a:gd name="connsiteX17" fmla="*/ 68215 w 94665"/>
                    <a:gd name="connsiteY17" fmla="*/ 58658 h 98186"/>
                    <a:gd name="connsiteX18" fmla="*/ 54023 w 94665"/>
                    <a:gd name="connsiteY18" fmla="*/ 71993 h 98186"/>
                    <a:gd name="connsiteX19" fmla="*/ 29067 w 94665"/>
                    <a:gd name="connsiteY19" fmla="*/ 71993 h 98186"/>
                    <a:gd name="connsiteX20" fmla="*/ 24591 w 94665"/>
                    <a:gd name="connsiteY20" fmla="*/ 51990 h 98186"/>
                    <a:gd name="connsiteX21" fmla="*/ 25162 w 94665"/>
                    <a:gd name="connsiteY21" fmla="*/ 50371 h 98186"/>
                    <a:gd name="connsiteX22" fmla="*/ 32592 w 94665"/>
                    <a:gd name="connsiteY22" fmla="*/ 36464 h 98186"/>
                    <a:gd name="connsiteX23" fmla="*/ 37449 w 94665"/>
                    <a:gd name="connsiteY23" fmla="*/ 31416 h 98186"/>
                    <a:gd name="connsiteX24" fmla="*/ 46974 w 94665"/>
                    <a:gd name="connsiteY24" fmla="*/ 26082 h 98186"/>
                    <a:gd name="connsiteX25" fmla="*/ 48879 w 94665"/>
                    <a:gd name="connsiteY25" fmla="*/ 25320 h 98186"/>
                    <a:gd name="connsiteX26" fmla="*/ 58404 w 94665"/>
                    <a:gd name="connsiteY26" fmla="*/ 23225 h 98186"/>
                    <a:gd name="connsiteX27" fmla="*/ 65072 w 94665"/>
                    <a:gd name="connsiteY27" fmla="*/ 25034 h 98186"/>
                    <a:gd name="connsiteX28" fmla="*/ 71358 w 94665"/>
                    <a:gd name="connsiteY28" fmla="*/ 41513 h 98186"/>
                    <a:gd name="connsiteX29" fmla="*/ 71358 w 94665"/>
                    <a:gd name="connsiteY29" fmla="*/ 42846 h 98186"/>
                    <a:gd name="connsiteX30" fmla="*/ 69739 w 94665"/>
                    <a:gd name="connsiteY30" fmla="*/ 54943 h 98186"/>
                    <a:gd name="connsiteX31" fmla="*/ 68215 w 94665"/>
                    <a:gd name="connsiteY31" fmla="*/ 58657 h 98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4665" h="98186">
                      <a:moveTo>
                        <a:pt x="77073" y="5222"/>
                      </a:moveTo>
                      <a:cubicBezTo>
                        <a:pt x="72292" y="2188"/>
                        <a:pt x="66819" y="419"/>
                        <a:pt x="61167" y="79"/>
                      </a:cubicBezTo>
                      <a:cubicBezTo>
                        <a:pt x="52892" y="-391"/>
                        <a:pt x="44633" y="1248"/>
                        <a:pt x="37164" y="4841"/>
                      </a:cubicBezTo>
                      <a:lnTo>
                        <a:pt x="32592" y="7127"/>
                      </a:lnTo>
                      <a:cubicBezTo>
                        <a:pt x="32020" y="8175"/>
                        <a:pt x="31544" y="9127"/>
                        <a:pt x="30972" y="9985"/>
                      </a:cubicBezTo>
                      <a:cubicBezTo>
                        <a:pt x="28633" y="13680"/>
                        <a:pt x="26089" y="17241"/>
                        <a:pt x="23352" y="20653"/>
                      </a:cubicBezTo>
                      <a:cubicBezTo>
                        <a:pt x="18602" y="26712"/>
                        <a:pt x="12985" y="32040"/>
                        <a:pt x="6684" y="36464"/>
                      </a:cubicBezTo>
                      <a:lnTo>
                        <a:pt x="5731" y="37131"/>
                      </a:lnTo>
                      <a:cubicBezTo>
                        <a:pt x="1435" y="45777"/>
                        <a:pt x="-504" y="55404"/>
                        <a:pt x="111" y="65039"/>
                      </a:cubicBezTo>
                      <a:cubicBezTo>
                        <a:pt x="1201" y="75969"/>
                        <a:pt x="7378" y="85746"/>
                        <a:pt x="16780" y="91423"/>
                      </a:cubicBezTo>
                      <a:cubicBezTo>
                        <a:pt x="23918" y="95885"/>
                        <a:pt x="32175" y="98230"/>
                        <a:pt x="40593" y="98186"/>
                      </a:cubicBezTo>
                      <a:cubicBezTo>
                        <a:pt x="49733" y="98102"/>
                        <a:pt x="58695" y="95640"/>
                        <a:pt x="66596" y="91042"/>
                      </a:cubicBezTo>
                      <a:cubicBezTo>
                        <a:pt x="69992" y="89191"/>
                        <a:pt x="73184" y="86988"/>
                        <a:pt x="76121" y="84470"/>
                      </a:cubicBezTo>
                      <a:cubicBezTo>
                        <a:pt x="80739" y="80532"/>
                        <a:pt x="84723" y="75906"/>
                        <a:pt x="87932" y="70754"/>
                      </a:cubicBezTo>
                      <a:cubicBezTo>
                        <a:pt x="88857" y="69221"/>
                        <a:pt x="89685" y="67630"/>
                        <a:pt x="90408" y="65992"/>
                      </a:cubicBezTo>
                      <a:cubicBezTo>
                        <a:pt x="93570" y="58101"/>
                        <a:pt x="94999" y="49623"/>
                        <a:pt x="94599" y="41131"/>
                      </a:cubicBezTo>
                      <a:cubicBezTo>
                        <a:pt x="95333" y="26942"/>
                        <a:pt x="88711" y="13374"/>
                        <a:pt x="77073" y="5222"/>
                      </a:cubicBezTo>
                      <a:close/>
                      <a:moveTo>
                        <a:pt x="68215" y="58658"/>
                      </a:moveTo>
                      <a:cubicBezTo>
                        <a:pt x="64758" y="64288"/>
                        <a:pt x="59858" y="68893"/>
                        <a:pt x="54023" y="71993"/>
                      </a:cubicBezTo>
                      <a:cubicBezTo>
                        <a:pt x="46335" y="76572"/>
                        <a:pt x="36756" y="76572"/>
                        <a:pt x="29067" y="71993"/>
                      </a:cubicBezTo>
                      <a:cubicBezTo>
                        <a:pt x="22971" y="68087"/>
                        <a:pt x="21447" y="61420"/>
                        <a:pt x="24591" y="51990"/>
                      </a:cubicBezTo>
                      <a:lnTo>
                        <a:pt x="25162" y="50371"/>
                      </a:lnTo>
                      <a:cubicBezTo>
                        <a:pt x="27197" y="45513"/>
                        <a:pt x="29685" y="40857"/>
                        <a:pt x="32592" y="36464"/>
                      </a:cubicBezTo>
                      <a:cubicBezTo>
                        <a:pt x="33912" y="34517"/>
                        <a:pt x="35555" y="32810"/>
                        <a:pt x="37449" y="31416"/>
                      </a:cubicBezTo>
                      <a:cubicBezTo>
                        <a:pt x="40438" y="29324"/>
                        <a:pt x="43629" y="27537"/>
                        <a:pt x="46974" y="26082"/>
                      </a:cubicBezTo>
                      <a:lnTo>
                        <a:pt x="48879" y="25320"/>
                      </a:lnTo>
                      <a:cubicBezTo>
                        <a:pt x="51883" y="23992"/>
                        <a:pt x="55121" y="23280"/>
                        <a:pt x="58404" y="23225"/>
                      </a:cubicBezTo>
                      <a:cubicBezTo>
                        <a:pt x="60759" y="23138"/>
                        <a:pt x="63084" y="23769"/>
                        <a:pt x="65072" y="25034"/>
                      </a:cubicBezTo>
                      <a:cubicBezTo>
                        <a:pt x="69737" y="29168"/>
                        <a:pt x="72085" y="35322"/>
                        <a:pt x="71358" y="41513"/>
                      </a:cubicBezTo>
                      <a:lnTo>
                        <a:pt x="71358" y="42846"/>
                      </a:lnTo>
                      <a:cubicBezTo>
                        <a:pt x="71472" y="46939"/>
                        <a:pt x="70925" y="51024"/>
                        <a:pt x="69739" y="54943"/>
                      </a:cubicBezTo>
                      <a:cubicBezTo>
                        <a:pt x="69377" y="56236"/>
                        <a:pt x="68865" y="57482"/>
                        <a:pt x="68215" y="5865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9" name="Freeform: Shape 238">
                  <a:extLst>
                    <a:ext uri="{FF2B5EF4-FFF2-40B4-BE49-F238E27FC236}">
                      <a16:creationId xmlns:a16="http://schemas.microsoft.com/office/drawing/2014/main" id="{9CCB9F9A-2714-25C0-0B6A-D8672D36735F}"/>
                    </a:ext>
                  </a:extLst>
                </p:cNvPr>
                <p:cNvSpPr/>
                <p:nvPr/>
              </p:nvSpPr>
              <p:spPr>
                <a:xfrm>
                  <a:off x="5299041" y="4801772"/>
                  <a:ext cx="121898" cy="140998"/>
                </a:xfrm>
                <a:custGeom>
                  <a:avLst/>
                  <a:gdLst>
                    <a:gd name="connsiteX0" fmla="*/ 98710 w 121898"/>
                    <a:gd name="connsiteY0" fmla="*/ 7268 h 140998"/>
                    <a:gd name="connsiteX1" fmla="*/ 52895 w 121898"/>
                    <a:gd name="connsiteY1" fmla="*/ 3934 h 140998"/>
                    <a:gd name="connsiteX2" fmla="*/ 41179 w 121898"/>
                    <a:gd name="connsiteY2" fmla="*/ 10030 h 140998"/>
                    <a:gd name="connsiteX3" fmla="*/ 33274 w 121898"/>
                    <a:gd name="connsiteY3" fmla="*/ 16602 h 140998"/>
                    <a:gd name="connsiteX4" fmla="*/ 35083 w 121898"/>
                    <a:gd name="connsiteY4" fmla="*/ 23079 h 140998"/>
                    <a:gd name="connsiteX5" fmla="*/ 28225 w 121898"/>
                    <a:gd name="connsiteY5" fmla="*/ 38986 h 140998"/>
                    <a:gd name="connsiteX6" fmla="*/ 24415 w 121898"/>
                    <a:gd name="connsiteY6" fmla="*/ 44796 h 140998"/>
                    <a:gd name="connsiteX7" fmla="*/ 20129 w 121898"/>
                    <a:gd name="connsiteY7" fmla="*/ 51083 h 140998"/>
                    <a:gd name="connsiteX8" fmla="*/ 4699 w 121898"/>
                    <a:gd name="connsiteY8" fmla="*/ 68228 h 140998"/>
                    <a:gd name="connsiteX9" fmla="*/ 1841 w 121898"/>
                    <a:gd name="connsiteY9" fmla="*/ 70514 h 140998"/>
                    <a:gd name="connsiteX10" fmla="*/ 127 w 121898"/>
                    <a:gd name="connsiteY10" fmla="*/ 91659 h 140998"/>
                    <a:gd name="connsiteX11" fmla="*/ 793 w 121898"/>
                    <a:gd name="connsiteY11" fmla="*/ 97660 h 140998"/>
                    <a:gd name="connsiteX12" fmla="*/ 22510 w 121898"/>
                    <a:gd name="connsiteY12" fmla="*/ 134522 h 140998"/>
                    <a:gd name="connsiteX13" fmla="*/ 44513 w 121898"/>
                    <a:gd name="connsiteY13" fmla="*/ 140999 h 140998"/>
                    <a:gd name="connsiteX14" fmla="*/ 56038 w 121898"/>
                    <a:gd name="connsiteY14" fmla="*/ 139284 h 140998"/>
                    <a:gd name="connsiteX15" fmla="*/ 69373 w 121898"/>
                    <a:gd name="connsiteY15" fmla="*/ 133855 h 140998"/>
                    <a:gd name="connsiteX16" fmla="*/ 80518 w 121898"/>
                    <a:gd name="connsiteY16" fmla="*/ 126235 h 140998"/>
                    <a:gd name="connsiteX17" fmla="*/ 81756 w 121898"/>
                    <a:gd name="connsiteY17" fmla="*/ 125187 h 140998"/>
                    <a:gd name="connsiteX18" fmla="*/ 97758 w 121898"/>
                    <a:gd name="connsiteY18" fmla="*/ 108423 h 140998"/>
                    <a:gd name="connsiteX19" fmla="*/ 104616 w 121898"/>
                    <a:gd name="connsiteY19" fmla="*/ 98898 h 140998"/>
                    <a:gd name="connsiteX20" fmla="*/ 106426 w 121898"/>
                    <a:gd name="connsiteY20" fmla="*/ 96136 h 140998"/>
                    <a:gd name="connsiteX21" fmla="*/ 117094 w 121898"/>
                    <a:gd name="connsiteY21" fmla="*/ 73943 h 140998"/>
                    <a:gd name="connsiteX22" fmla="*/ 121094 w 121898"/>
                    <a:gd name="connsiteY22" fmla="*/ 60132 h 140998"/>
                    <a:gd name="connsiteX23" fmla="*/ 98710 w 121898"/>
                    <a:gd name="connsiteY23" fmla="*/ 7268 h 140998"/>
                    <a:gd name="connsiteX24" fmla="*/ 61563 w 121898"/>
                    <a:gd name="connsiteY24" fmla="*/ 112043 h 140998"/>
                    <a:gd name="connsiteX25" fmla="*/ 58134 w 121898"/>
                    <a:gd name="connsiteY25" fmla="*/ 114234 h 140998"/>
                    <a:gd name="connsiteX26" fmla="*/ 35179 w 121898"/>
                    <a:gd name="connsiteY26" fmla="*/ 115281 h 140998"/>
                    <a:gd name="connsiteX27" fmla="*/ 22987 w 121898"/>
                    <a:gd name="connsiteY27" fmla="*/ 90707 h 140998"/>
                    <a:gd name="connsiteX28" fmla="*/ 22987 w 121898"/>
                    <a:gd name="connsiteY28" fmla="*/ 82992 h 140998"/>
                    <a:gd name="connsiteX29" fmla="*/ 22987 w 121898"/>
                    <a:gd name="connsiteY29" fmla="*/ 82230 h 140998"/>
                    <a:gd name="connsiteX30" fmla="*/ 29940 w 121898"/>
                    <a:gd name="connsiteY30" fmla="*/ 58798 h 140998"/>
                    <a:gd name="connsiteX31" fmla="*/ 34131 w 121898"/>
                    <a:gd name="connsiteY31" fmla="*/ 51273 h 140998"/>
                    <a:gd name="connsiteX32" fmla="*/ 53181 w 121898"/>
                    <a:gd name="connsiteY32" fmla="*/ 29461 h 140998"/>
                    <a:gd name="connsiteX33" fmla="*/ 57372 w 121898"/>
                    <a:gd name="connsiteY33" fmla="*/ 26985 h 140998"/>
                    <a:gd name="connsiteX34" fmla="*/ 72326 w 121898"/>
                    <a:gd name="connsiteY34" fmla="*/ 23175 h 140998"/>
                    <a:gd name="connsiteX35" fmla="*/ 85756 w 121898"/>
                    <a:gd name="connsiteY35" fmla="*/ 26985 h 140998"/>
                    <a:gd name="connsiteX36" fmla="*/ 98710 w 121898"/>
                    <a:gd name="connsiteY36" fmla="*/ 57274 h 140998"/>
                    <a:gd name="connsiteX37" fmla="*/ 94234 w 121898"/>
                    <a:gd name="connsiteY37" fmla="*/ 70419 h 140998"/>
                    <a:gd name="connsiteX38" fmla="*/ 88900 w 121898"/>
                    <a:gd name="connsiteY38" fmla="*/ 81372 h 140998"/>
                    <a:gd name="connsiteX39" fmla="*/ 87280 w 121898"/>
                    <a:gd name="connsiteY39" fmla="*/ 84230 h 140998"/>
                    <a:gd name="connsiteX40" fmla="*/ 79660 w 121898"/>
                    <a:gd name="connsiteY40" fmla="*/ 94898 h 140998"/>
                    <a:gd name="connsiteX41" fmla="*/ 62611 w 121898"/>
                    <a:gd name="connsiteY41" fmla="*/ 110709 h 140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21898" h="140998">
                      <a:moveTo>
                        <a:pt x="98710" y="7268"/>
                      </a:moveTo>
                      <a:cubicBezTo>
                        <a:pt x="84839" y="-1069"/>
                        <a:pt x="67827" y="-2307"/>
                        <a:pt x="52895" y="3934"/>
                      </a:cubicBezTo>
                      <a:cubicBezTo>
                        <a:pt x="48785" y="5546"/>
                        <a:pt x="44858" y="7590"/>
                        <a:pt x="41179" y="10030"/>
                      </a:cubicBezTo>
                      <a:cubicBezTo>
                        <a:pt x="38349" y="11975"/>
                        <a:pt x="35703" y="14175"/>
                        <a:pt x="33274" y="16602"/>
                      </a:cubicBezTo>
                      <a:cubicBezTo>
                        <a:pt x="34120" y="18686"/>
                        <a:pt x="34727" y="20859"/>
                        <a:pt x="35083" y="23079"/>
                      </a:cubicBezTo>
                      <a:cubicBezTo>
                        <a:pt x="35845" y="27461"/>
                        <a:pt x="33274" y="31557"/>
                        <a:pt x="28225" y="38986"/>
                      </a:cubicBezTo>
                      <a:lnTo>
                        <a:pt x="24415" y="44796"/>
                      </a:lnTo>
                      <a:cubicBezTo>
                        <a:pt x="23097" y="46965"/>
                        <a:pt x="21666" y="49063"/>
                        <a:pt x="20129" y="51083"/>
                      </a:cubicBezTo>
                      <a:cubicBezTo>
                        <a:pt x="15717" y="57416"/>
                        <a:pt x="10533" y="63175"/>
                        <a:pt x="4699" y="68228"/>
                      </a:cubicBezTo>
                      <a:cubicBezTo>
                        <a:pt x="3793" y="69047"/>
                        <a:pt x="2839" y="69811"/>
                        <a:pt x="1841" y="70514"/>
                      </a:cubicBezTo>
                      <a:cubicBezTo>
                        <a:pt x="296" y="77449"/>
                        <a:pt x="-281" y="84565"/>
                        <a:pt x="127" y="91659"/>
                      </a:cubicBezTo>
                      <a:cubicBezTo>
                        <a:pt x="207" y="93673"/>
                        <a:pt x="430" y="95678"/>
                        <a:pt x="793" y="97660"/>
                      </a:cubicBezTo>
                      <a:cubicBezTo>
                        <a:pt x="2132" y="112584"/>
                        <a:pt x="10105" y="126117"/>
                        <a:pt x="22510" y="134522"/>
                      </a:cubicBezTo>
                      <a:cubicBezTo>
                        <a:pt x="29076" y="138737"/>
                        <a:pt x="36711" y="140985"/>
                        <a:pt x="44513" y="140999"/>
                      </a:cubicBezTo>
                      <a:cubicBezTo>
                        <a:pt x="48413" y="140935"/>
                        <a:pt x="52288" y="140359"/>
                        <a:pt x="56038" y="139284"/>
                      </a:cubicBezTo>
                      <a:cubicBezTo>
                        <a:pt x="60692" y="138037"/>
                        <a:pt x="65172" y="136213"/>
                        <a:pt x="69373" y="133855"/>
                      </a:cubicBezTo>
                      <a:cubicBezTo>
                        <a:pt x="73311" y="131657"/>
                        <a:pt x="77041" y="129106"/>
                        <a:pt x="80518" y="126235"/>
                      </a:cubicBezTo>
                      <a:cubicBezTo>
                        <a:pt x="80972" y="125938"/>
                        <a:pt x="81388" y="125586"/>
                        <a:pt x="81756" y="125187"/>
                      </a:cubicBezTo>
                      <a:cubicBezTo>
                        <a:pt x="87675" y="120189"/>
                        <a:pt x="93040" y="114569"/>
                        <a:pt x="97758" y="108423"/>
                      </a:cubicBezTo>
                      <a:cubicBezTo>
                        <a:pt x="100171" y="105502"/>
                        <a:pt x="102457" y="102327"/>
                        <a:pt x="104616" y="98898"/>
                      </a:cubicBezTo>
                      <a:lnTo>
                        <a:pt x="106426" y="96136"/>
                      </a:lnTo>
                      <a:cubicBezTo>
                        <a:pt x="110590" y="89046"/>
                        <a:pt x="114158" y="81623"/>
                        <a:pt x="117094" y="73943"/>
                      </a:cubicBezTo>
                      <a:cubicBezTo>
                        <a:pt x="118901" y="69490"/>
                        <a:pt x="120241" y="64861"/>
                        <a:pt x="121094" y="60132"/>
                      </a:cubicBezTo>
                      <a:cubicBezTo>
                        <a:pt x="124709" y="39638"/>
                        <a:pt x="115943" y="18934"/>
                        <a:pt x="98710" y="7268"/>
                      </a:cubicBezTo>
                      <a:close/>
                      <a:moveTo>
                        <a:pt x="61563" y="112043"/>
                      </a:moveTo>
                      <a:cubicBezTo>
                        <a:pt x="60464" y="112840"/>
                        <a:pt x="59319" y="113572"/>
                        <a:pt x="58134" y="114234"/>
                      </a:cubicBezTo>
                      <a:cubicBezTo>
                        <a:pt x="51417" y="119247"/>
                        <a:pt x="42324" y="119662"/>
                        <a:pt x="35179" y="115281"/>
                      </a:cubicBezTo>
                      <a:cubicBezTo>
                        <a:pt x="27363" y="109557"/>
                        <a:pt x="22817" y="100393"/>
                        <a:pt x="22987" y="90707"/>
                      </a:cubicBezTo>
                      <a:cubicBezTo>
                        <a:pt x="22798" y="88139"/>
                        <a:pt x="22798" y="85560"/>
                        <a:pt x="22987" y="82992"/>
                      </a:cubicBezTo>
                      <a:cubicBezTo>
                        <a:pt x="22946" y="82739"/>
                        <a:pt x="22946" y="82482"/>
                        <a:pt x="22987" y="82230"/>
                      </a:cubicBezTo>
                      <a:cubicBezTo>
                        <a:pt x="23885" y="74066"/>
                        <a:pt x="26240" y="66130"/>
                        <a:pt x="29940" y="58798"/>
                      </a:cubicBezTo>
                      <a:cubicBezTo>
                        <a:pt x="31207" y="56220"/>
                        <a:pt x="32606" y="53708"/>
                        <a:pt x="34131" y="51273"/>
                      </a:cubicBezTo>
                      <a:cubicBezTo>
                        <a:pt x="39392" y="43119"/>
                        <a:pt x="45809" y="35772"/>
                        <a:pt x="53181" y="29461"/>
                      </a:cubicBezTo>
                      <a:cubicBezTo>
                        <a:pt x="54535" y="28565"/>
                        <a:pt x="55934" y="27739"/>
                        <a:pt x="57372" y="26985"/>
                      </a:cubicBezTo>
                      <a:cubicBezTo>
                        <a:pt x="61983" y="24546"/>
                        <a:pt x="67110" y="23240"/>
                        <a:pt x="72326" y="23175"/>
                      </a:cubicBezTo>
                      <a:cubicBezTo>
                        <a:pt x="77078" y="23114"/>
                        <a:pt x="81744" y="24438"/>
                        <a:pt x="85756" y="26985"/>
                      </a:cubicBezTo>
                      <a:cubicBezTo>
                        <a:pt x="95787" y="33545"/>
                        <a:pt x="100896" y="45489"/>
                        <a:pt x="98710" y="57274"/>
                      </a:cubicBezTo>
                      <a:cubicBezTo>
                        <a:pt x="97709" y="61808"/>
                        <a:pt x="96207" y="66216"/>
                        <a:pt x="94234" y="70419"/>
                      </a:cubicBezTo>
                      <a:cubicBezTo>
                        <a:pt x="92704" y="74186"/>
                        <a:pt x="90922" y="77845"/>
                        <a:pt x="88900" y="81372"/>
                      </a:cubicBezTo>
                      <a:cubicBezTo>
                        <a:pt x="88328" y="82420"/>
                        <a:pt x="87852" y="83373"/>
                        <a:pt x="87280" y="84230"/>
                      </a:cubicBezTo>
                      <a:cubicBezTo>
                        <a:pt x="84941" y="87925"/>
                        <a:pt x="82397" y="91486"/>
                        <a:pt x="79660" y="94898"/>
                      </a:cubicBezTo>
                      <a:cubicBezTo>
                        <a:pt x="74794" y="100986"/>
                        <a:pt x="69047" y="106315"/>
                        <a:pt x="62611" y="11070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40" name="Freeform: Shape 239">
                  <a:extLst>
                    <a:ext uri="{FF2B5EF4-FFF2-40B4-BE49-F238E27FC236}">
                      <a16:creationId xmlns:a16="http://schemas.microsoft.com/office/drawing/2014/main" id="{4830C865-4AF1-3151-32E9-524705C4B981}"/>
                    </a:ext>
                  </a:extLst>
                </p:cNvPr>
                <p:cNvSpPr/>
                <p:nvPr/>
              </p:nvSpPr>
              <p:spPr>
                <a:xfrm>
                  <a:off x="5190657" y="4769551"/>
                  <a:ext cx="91012" cy="100353"/>
                </a:xfrm>
                <a:custGeom>
                  <a:avLst/>
                  <a:gdLst>
                    <a:gd name="connsiteX0" fmla="*/ 88699 w 91012"/>
                    <a:gd name="connsiteY0" fmla="*/ 21486 h 100353"/>
                    <a:gd name="connsiteX1" fmla="*/ 83937 w 91012"/>
                    <a:gd name="connsiteY1" fmla="*/ 13200 h 100353"/>
                    <a:gd name="connsiteX2" fmla="*/ 50885 w 91012"/>
                    <a:gd name="connsiteY2" fmla="*/ 627 h 100353"/>
                    <a:gd name="connsiteX3" fmla="*/ 19357 w 91012"/>
                    <a:gd name="connsiteY3" fmla="*/ 19677 h 100353"/>
                    <a:gd name="connsiteX4" fmla="*/ 13261 w 91012"/>
                    <a:gd name="connsiteY4" fmla="*/ 26916 h 100353"/>
                    <a:gd name="connsiteX5" fmla="*/ 6403 w 91012"/>
                    <a:gd name="connsiteY5" fmla="*/ 39584 h 100353"/>
                    <a:gd name="connsiteX6" fmla="*/ 117 w 91012"/>
                    <a:gd name="connsiteY6" fmla="*/ 61872 h 100353"/>
                    <a:gd name="connsiteX7" fmla="*/ 16595 w 91012"/>
                    <a:gd name="connsiteY7" fmla="*/ 94353 h 100353"/>
                    <a:gd name="connsiteX8" fmla="*/ 49742 w 91012"/>
                    <a:gd name="connsiteY8" fmla="*/ 97972 h 100353"/>
                    <a:gd name="connsiteX9" fmla="*/ 53838 w 91012"/>
                    <a:gd name="connsiteY9" fmla="*/ 96162 h 100353"/>
                    <a:gd name="connsiteX10" fmla="*/ 72888 w 91012"/>
                    <a:gd name="connsiteY10" fmla="*/ 80541 h 100353"/>
                    <a:gd name="connsiteX11" fmla="*/ 77745 w 91012"/>
                    <a:gd name="connsiteY11" fmla="*/ 74445 h 100353"/>
                    <a:gd name="connsiteX12" fmla="*/ 80984 w 91012"/>
                    <a:gd name="connsiteY12" fmla="*/ 69588 h 100353"/>
                    <a:gd name="connsiteX13" fmla="*/ 90509 w 91012"/>
                    <a:gd name="connsiteY13" fmla="*/ 42251 h 100353"/>
                    <a:gd name="connsiteX14" fmla="*/ 88699 w 91012"/>
                    <a:gd name="connsiteY14" fmla="*/ 21486 h 100353"/>
                    <a:gd name="connsiteX15" fmla="*/ 67935 w 91012"/>
                    <a:gd name="connsiteY15" fmla="*/ 35107 h 100353"/>
                    <a:gd name="connsiteX16" fmla="*/ 67935 w 91012"/>
                    <a:gd name="connsiteY16" fmla="*/ 38155 h 100353"/>
                    <a:gd name="connsiteX17" fmla="*/ 62124 w 91012"/>
                    <a:gd name="connsiteY17" fmla="*/ 57205 h 100353"/>
                    <a:gd name="connsiteX18" fmla="*/ 59838 w 91012"/>
                    <a:gd name="connsiteY18" fmla="*/ 60634 h 100353"/>
                    <a:gd name="connsiteX19" fmla="*/ 52314 w 91012"/>
                    <a:gd name="connsiteY19" fmla="*/ 69397 h 100353"/>
                    <a:gd name="connsiteX20" fmla="*/ 44122 w 91012"/>
                    <a:gd name="connsiteY20" fmla="*/ 75493 h 100353"/>
                    <a:gd name="connsiteX21" fmla="*/ 29358 w 91012"/>
                    <a:gd name="connsiteY21" fmla="*/ 74826 h 100353"/>
                    <a:gd name="connsiteX22" fmla="*/ 23358 w 91012"/>
                    <a:gd name="connsiteY22" fmla="*/ 62825 h 100353"/>
                    <a:gd name="connsiteX23" fmla="*/ 28596 w 91012"/>
                    <a:gd name="connsiteY23" fmla="*/ 46442 h 100353"/>
                    <a:gd name="connsiteX24" fmla="*/ 32978 w 91012"/>
                    <a:gd name="connsiteY24" fmla="*/ 38822 h 100353"/>
                    <a:gd name="connsiteX25" fmla="*/ 45170 w 91012"/>
                    <a:gd name="connsiteY25" fmla="*/ 27963 h 100353"/>
                    <a:gd name="connsiteX26" fmla="*/ 54695 w 91012"/>
                    <a:gd name="connsiteY26" fmla="*/ 23296 h 100353"/>
                    <a:gd name="connsiteX27" fmla="*/ 56790 w 91012"/>
                    <a:gd name="connsiteY27" fmla="*/ 23296 h 100353"/>
                    <a:gd name="connsiteX28" fmla="*/ 66315 w 91012"/>
                    <a:gd name="connsiteY28" fmla="*/ 29964 h 100353"/>
                    <a:gd name="connsiteX29" fmla="*/ 67077 w 91012"/>
                    <a:gd name="connsiteY29" fmla="*/ 35202 h 100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1012" h="100353">
                      <a:moveTo>
                        <a:pt x="88699" y="21486"/>
                      </a:moveTo>
                      <a:cubicBezTo>
                        <a:pt x="87568" y="18486"/>
                        <a:pt x="85959" y="15688"/>
                        <a:pt x="83937" y="13200"/>
                      </a:cubicBezTo>
                      <a:cubicBezTo>
                        <a:pt x="76219" y="3048"/>
                        <a:pt x="63398" y="-1829"/>
                        <a:pt x="50885" y="627"/>
                      </a:cubicBezTo>
                      <a:cubicBezTo>
                        <a:pt x="38911" y="4156"/>
                        <a:pt x="28051" y="10718"/>
                        <a:pt x="19357" y="19677"/>
                      </a:cubicBezTo>
                      <a:cubicBezTo>
                        <a:pt x="17053" y="21847"/>
                        <a:pt x="15007" y="24276"/>
                        <a:pt x="13261" y="26916"/>
                      </a:cubicBezTo>
                      <a:cubicBezTo>
                        <a:pt x="10669" y="30966"/>
                        <a:pt x="8377" y="35200"/>
                        <a:pt x="6403" y="39584"/>
                      </a:cubicBezTo>
                      <a:cubicBezTo>
                        <a:pt x="2927" y="46553"/>
                        <a:pt x="794" y="54114"/>
                        <a:pt x="117" y="61872"/>
                      </a:cubicBezTo>
                      <a:cubicBezTo>
                        <a:pt x="-955" y="74940"/>
                        <a:pt x="5417" y="87499"/>
                        <a:pt x="16595" y="94353"/>
                      </a:cubicBezTo>
                      <a:cubicBezTo>
                        <a:pt x="26430" y="100788"/>
                        <a:pt x="38750" y="102133"/>
                        <a:pt x="49742" y="97972"/>
                      </a:cubicBezTo>
                      <a:lnTo>
                        <a:pt x="53838" y="96162"/>
                      </a:lnTo>
                      <a:cubicBezTo>
                        <a:pt x="61179" y="92297"/>
                        <a:pt x="67659" y="86983"/>
                        <a:pt x="72888" y="80541"/>
                      </a:cubicBezTo>
                      <a:cubicBezTo>
                        <a:pt x="74610" y="78594"/>
                        <a:pt x="76231" y="76559"/>
                        <a:pt x="77745" y="74445"/>
                      </a:cubicBezTo>
                      <a:cubicBezTo>
                        <a:pt x="78888" y="72826"/>
                        <a:pt x="79936" y="71207"/>
                        <a:pt x="80984" y="69588"/>
                      </a:cubicBezTo>
                      <a:cubicBezTo>
                        <a:pt x="85914" y="61185"/>
                        <a:pt x="89150" y="51898"/>
                        <a:pt x="90509" y="42251"/>
                      </a:cubicBezTo>
                      <a:cubicBezTo>
                        <a:pt x="91570" y="35284"/>
                        <a:pt x="90949" y="28165"/>
                        <a:pt x="88699" y="21486"/>
                      </a:cubicBezTo>
                      <a:close/>
                      <a:moveTo>
                        <a:pt x="67935" y="35107"/>
                      </a:moveTo>
                      <a:cubicBezTo>
                        <a:pt x="67935" y="36060"/>
                        <a:pt x="67935" y="37107"/>
                        <a:pt x="67935" y="38155"/>
                      </a:cubicBezTo>
                      <a:cubicBezTo>
                        <a:pt x="67362" y="44844"/>
                        <a:pt x="65382" y="51336"/>
                        <a:pt x="62124" y="57205"/>
                      </a:cubicBezTo>
                      <a:cubicBezTo>
                        <a:pt x="61362" y="58475"/>
                        <a:pt x="60600" y="59618"/>
                        <a:pt x="59838" y="60634"/>
                      </a:cubicBezTo>
                      <a:cubicBezTo>
                        <a:pt x="57623" y="63794"/>
                        <a:pt x="55103" y="66729"/>
                        <a:pt x="52314" y="69397"/>
                      </a:cubicBezTo>
                      <a:cubicBezTo>
                        <a:pt x="49902" y="71826"/>
                        <a:pt x="47141" y="73880"/>
                        <a:pt x="44122" y="75493"/>
                      </a:cubicBezTo>
                      <a:cubicBezTo>
                        <a:pt x="39475" y="78098"/>
                        <a:pt x="33752" y="77839"/>
                        <a:pt x="29358" y="74826"/>
                      </a:cubicBezTo>
                      <a:cubicBezTo>
                        <a:pt x="25059" y="72461"/>
                        <a:pt x="22671" y="67684"/>
                        <a:pt x="23358" y="62825"/>
                      </a:cubicBezTo>
                      <a:cubicBezTo>
                        <a:pt x="24029" y="57077"/>
                        <a:pt x="25808" y="51513"/>
                        <a:pt x="28596" y="46442"/>
                      </a:cubicBezTo>
                      <a:cubicBezTo>
                        <a:pt x="29835" y="44061"/>
                        <a:pt x="31263" y="41489"/>
                        <a:pt x="32978" y="38822"/>
                      </a:cubicBezTo>
                      <a:cubicBezTo>
                        <a:pt x="36314" y="34460"/>
                        <a:pt x="40452" y="30774"/>
                        <a:pt x="45170" y="27963"/>
                      </a:cubicBezTo>
                      <a:cubicBezTo>
                        <a:pt x="48099" y="25950"/>
                        <a:pt x="51308" y="24377"/>
                        <a:pt x="54695" y="23296"/>
                      </a:cubicBezTo>
                      <a:cubicBezTo>
                        <a:pt x="55391" y="23206"/>
                        <a:pt x="56095" y="23206"/>
                        <a:pt x="56790" y="23296"/>
                      </a:cubicBezTo>
                      <a:cubicBezTo>
                        <a:pt x="61020" y="23392"/>
                        <a:pt x="64778" y="26022"/>
                        <a:pt x="66315" y="29964"/>
                      </a:cubicBezTo>
                      <a:cubicBezTo>
                        <a:pt x="66866" y="31654"/>
                        <a:pt x="67123" y="33426"/>
                        <a:pt x="67077" y="3520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41" name="Freeform: Shape 240">
                  <a:extLst>
                    <a:ext uri="{FF2B5EF4-FFF2-40B4-BE49-F238E27FC236}">
                      <a16:creationId xmlns:a16="http://schemas.microsoft.com/office/drawing/2014/main" id="{461A5BE8-F439-6C28-C0E6-ED6FDC107479}"/>
                    </a:ext>
                  </a:extLst>
                </p:cNvPr>
                <p:cNvSpPr/>
                <p:nvPr/>
              </p:nvSpPr>
              <p:spPr>
                <a:xfrm>
                  <a:off x="5240071" y="4774267"/>
                  <a:ext cx="117044" cy="128689"/>
                </a:xfrm>
                <a:custGeom>
                  <a:avLst/>
                  <a:gdLst>
                    <a:gd name="connsiteX0" fmla="*/ 116914 w 117044"/>
                    <a:gd name="connsiteY0" fmla="*/ 46965 h 128689"/>
                    <a:gd name="connsiteX1" fmla="*/ 111961 w 117044"/>
                    <a:gd name="connsiteY1" fmla="*/ 31440 h 128689"/>
                    <a:gd name="connsiteX2" fmla="*/ 91577 w 117044"/>
                    <a:gd name="connsiteY2" fmla="*/ 8675 h 128689"/>
                    <a:gd name="connsiteX3" fmla="*/ 46143 w 117044"/>
                    <a:gd name="connsiteY3" fmla="*/ 2198 h 128689"/>
                    <a:gd name="connsiteX4" fmla="*/ 34522 w 117044"/>
                    <a:gd name="connsiteY4" fmla="*/ 8484 h 128689"/>
                    <a:gd name="connsiteX5" fmla="*/ 21378 w 117044"/>
                    <a:gd name="connsiteY5" fmla="*/ 25629 h 128689"/>
                    <a:gd name="connsiteX6" fmla="*/ 18520 w 117044"/>
                    <a:gd name="connsiteY6" fmla="*/ 30297 h 128689"/>
                    <a:gd name="connsiteX7" fmla="*/ 18520 w 117044"/>
                    <a:gd name="connsiteY7" fmla="*/ 30297 h 128689"/>
                    <a:gd name="connsiteX8" fmla="*/ 18520 w 117044"/>
                    <a:gd name="connsiteY8" fmla="*/ 33345 h 128689"/>
                    <a:gd name="connsiteX9" fmla="*/ 12710 w 117044"/>
                    <a:gd name="connsiteY9" fmla="*/ 52395 h 128689"/>
                    <a:gd name="connsiteX10" fmla="*/ 10424 w 117044"/>
                    <a:gd name="connsiteY10" fmla="*/ 55824 h 128689"/>
                    <a:gd name="connsiteX11" fmla="*/ 2899 w 117044"/>
                    <a:gd name="connsiteY11" fmla="*/ 64587 h 128689"/>
                    <a:gd name="connsiteX12" fmla="*/ 137 w 117044"/>
                    <a:gd name="connsiteY12" fmla="*/ 80398 h 128689"/>
                    <a:gd name="connsiteX13" fmla="*/ 804 w 117044"/>
                    <a:gd name="connsiteY13" fmla="*/ 93066 h 128689"/>
                    <a:gd name="connsiteX14" fmla="*/ 41571 w 117044"/>
                    <a:gd name="connsiteY14" fmla="*/ 128690 h 128689"/>
                    <a:gd name="connsiteX15" fmla="*/ 59764 w 117044"/>
                    <a:gd name="connsiteY15" fmla="*/ 124880 h 128689"/>
                    <a:gd name="connsiteX16" fmla="*/ 73289 w 117044"/>
                    <a:gd name="connsiteY16" fmla="*/ 117260 h 128689"/>
                    <a:gd name="connsiteX17" fmla="*/ 82243 w 117044"/>
                    <a:gd name="connsiteY17" fmla="*/ 109926 h 128689"/>
                    <a:gd name="connsiteX18" fmla="*/ 97292 w 117044"/>
                    <a:gd name="connsiteY18" fmla="*/ 92495 h 128689"/>
                    <a:gd name="connsiteX19" fmla="*/ 102531 w 117044"/>
                    <a:gd name="connsiteY19" fmla="*/ 84684 h 128689"/>
                    <a:gd name="connsiteX20" fmla="*/ 105960 w 117044"/>
                    <a:gd name="connsiteY20" fmla="*/ 79446 h 128689"/>
                    <a:gd name="connsiteX21" fmla="*/ 116628 w 117044"/>
                    <a:gd name="connsiteY21" fmla="*/ 54395 h 128689"/>
                    <a:gd name="connsiteX22" fmla="*/ 116914 w 117044"/>
                    <a:gd name="connsiteY22" fmla="*/ 46965 h 128689"/>
                    <a:gd name="connsiteX23" fmla="*/ 60907 w 117044"/>
                    <a:gd name="connsiteY23" fmla="*/ 98019 h 128689"/>
                    <a:gd name="connsiteX24" fmla="*/ 31855 w 117044"/>
                    <a:gd name="connsiteY24" fmla="*/ 103163 h 128689"/>
                    <a:gd name="connsiteX25" fmla="*/ 22997 w 117044"/>
                    <a:gd name="connsiteY25" fmla="*/ 82017 h 128689"/>
                    <a:gd name="connsiteX26" fmla="*/ 23854 w 117044"/>
                    <a:gd name="connsiteY26" fmla="*/ 75826 h 128689"/>
                    <a:gd name="connsiteX27" fmla="*/ 25855 w 117044"/>
                    <a:gd name="connsiteY27" fmla="*/ 67635 h 128689"/>
                    <a:gd name="connsiteX28" fmla="*/ 35380 w 117044"/>
                    <a:gd name="connsiteY28" fmla="*/ 46299 h 128689"/>
                    <a:gd name="connsiteX29" fmla="*/ 37189 w 117044"/>
                    <a:gd name="connsiteY29" fmla="*/ 43251 h 128689"/>
                    <a:gd name="connsiteX30" fmla="*/ 40714 w 117044"/>
                    <a:gd name="connsiteY30" fmla="*/ 37536 h 128689"/>
                    <a:gd name="connsiteX31" fmla="*/ 40714 w 117044"/>
                    <a:gd name="connsiteY31" fmla="*/ 37536 h 128689"/>
                    <a:gd name="connsiteX32" fmla="*/ 52144 w 117044"/>
                    <a:gd name="connsiteY32" fmla="*/ 24486 h 128689"/>
                    <a:gd name="connsiteX33" fmla="*/ 61192 w 117044"/>
                    <a:gd name="connsiteY33" fmla="*/ 23153 h 128689"/>
                    <a:gd name="connsiteX34" fmla="*/ 78814 w 117044"/>
                    <a:gd name="connsiteY34" fmla="*/ 28296 h 128689"/>
                    <a:gd name="connsiteX35" fmla="*/ 91863 w 117044"/>
                    <a:gd name="connsiteY35" fmla="*/ 44298 h 128689"/>
                    <a:gd name="connsiteX36" fmla="*/ 93673 w 117044"/>
                    <a:gd name="connsiteY36" fmla="*/ 50775 h 128689"/>
                    <a:gd name="connsiteX37" fmla="*/ 86815 w 117044"/>
                    <a:gd name="connsiteY37" fmla="*/ 66682 h 128689"/>
                    <a:gd name="connsiteX38" fmla="*/ 83005 w 117044"/>
                    <a:gd name="connsiteY38" fmla="*/ 72492 h 128689"/>
                    <a:gd name="connsiteX39" fmla="*/ 78718 w 117044"/>
                    <a:gd name="connsiteY39" fmla="*/ 78779 h 128689"/>
                    <a:gd name="connsiteX40" fmla="*/ 63288 w 117044"/>
                    <a:gd name="connsiteY40" fmla="*/ 95924 h 128689"/>
                    <a:gd name="connsiteX41" fmla="*/ 60907 w 117044"/>
                    <a:gd name="connsiteY41" fmla="*/ 98019 h 128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7044" h="128689">
                      <a:moveTo>
                        <a:pt x="116914" y="46965"/>
                      </a:moveTo>
                      <a:cubicBezTo>
                        <a:pt x="116090" y="41562"/>
                        <a:pt x="114419" y="36322"/>
                        <a:pt x="111961" y="31440"/>
                      </a:cubicBezTo>
                      <a:cubicBezTo>
                        <a:pt x="107442" y="22086"/>
                        <a:pt x="100377" y="14196"/>
                        <a:pt x="91577" y="8675"/>
                      </a:cubicBezTo>
                      <a:cubicBezTo>
                        <a:pt x="78057" y="113"/>
                        <a:pt x="61517" y="-2245"/>
                        <a:pt x="46143" y="2198"/>
                      </a:cubicBezTo>
                      <a:cubicBezTo>
                        <a:pt x="41879" y="3473"/>
                        <a:pt x="37923" y="5613"/>
                        <a:pt x="34522" y="8484"/>
                      </a:cubicBezTo>
                      <a:cubicBezTo>
                        <a:pt x="29200" y="13412"/>
                        <a:pt x="24755" y="19210"/>
                        <a:pt x="21378" y="25629"/>
                      </a:cubicBezTo>
                      <a:lnTo>
                        <a:pt x="18520" y="30297"/>
                      </a:lnTo>
                      <a:lnTo>
                        <a:pt x="18520" y="30297"/>
                      </a:lnTo>
                      <a:cubicBezTo>
                        <a:pt x="18520" y="31249"/>
                        <a:pt x="18520" y="32297"/>
                        <a:pt x="18520" y="33345"/>
                      </a:cubicBezTo>
                      <a:cubicBezTo>
                        <a:pt x="17948" y="40033"/>
                        <a:pt x="15968" y="46525"/>
                        <a:pt x="12710" y="52395"/>
                      </a:cubicBezTo>
                      <a:cubicBezTo>
                        <a:pt x="11948" y="53665"/>
                        <a:pt x="11186" y="54808"/>
                        <a:pt x="10424" y="55824"/>
                      </a:cubicBezTo>
                      <a:cubicBezTo>
                        <a:pt x="8209" y="58984"/>
                        <a:pt x="5688" y="61919"/>
                        <a:pt x="2899" y="64587"/>
                      </a:cubicBezTo>
                      <a:cubicBezTo>
                        <a:pt x="1413" y="69742"/>
                        <a:pt x="486" y="75044"/>
                        <a:pt x="137" y="80398"/>
                      </a:cubicBezTo>
                      <a:cubicBezTo>
                        <a:pt x="-176" y="84632"/>
                        <a:pt x="48" y="88889"/>
                        <a:pt x="804" y="93066"/>
                      </a:cubicBezTo>
                      <a:cubicBezTo>
                        <a:pt x="3797" y="113343"/>
                        <a:pt x="21076" y="128442"/>
                        <a:pt x="41571" y="128690"/>
                      </a:cubicBezTo>
                      <a:cubicBezTo>
                        <a:pt x="47825" y="128610"/>
                        <a:pt x="54003" y="127316"/>
                        <a:pt x="59764" y="124880"/>
                      </a:cubicBezTo>
                      <a:cubicBezTo>
                        <a:pt x="64554" y="122875"/>
                        <a:pt x="69093" y="120318"/>
                        <a:pt x="73289" y="117260"/>
                      </a:cubicBezTo>
                      <a:cubicBezTo>
                        <a:pt x="76407" y="114983"/>
                        <a:pt x="79396" y="112534"/>
                        <a:pt x="82243" y="109926"/>
                      </a:cubicBezTo>
                      <a:cubicBezTo>
                        <a:pt x="87756" y="104563"/>
                        <a:pt x="92791" y="98731"/>
                        <a:pt x="97292" y="92495"/>
                      </a:cubicBezTo>
                      <a:cubicBezTo>
                        <a:pt x="99007" y="90018"/>
                        <a:pt x="100816" y="87447"/>
                        <a:pt x="102531" y="84684"/>
                      </a:cubicBezTo>
                      <a:lnTo>
                        <a:pt x="105960" y="79446"/>
                      </a:lnTo>
                      <a:cubicBezTo>
                        <a:pt x="111722" y="72218"/>
                        <a:pt x="115410" y="63558"/>
                        <a:pt x="116628" y="54395"/>
                      </a:cubicBezTo>
                      <a:cubicBezTo>
                        <a:pt x="117061" y="51943"/>
                        <a:pt x="117157" y="49443"/>
                        <a:pt x="116914" y="46965"/>
                      </a:cubicBezTo>
                      <a:close/>
                      <a:moveTo>
                        <a:pt x="60907" y="98019"/>
                      </a:moveTo>
                      <a:cubicBezTo>
                        <a:pt x="51382" y="105639"/>
                        <a:pt x="40523" y="108592"/>
                        <a:pt x="31855" y="103163"/>
                      </a:cubicBezTo>
                      <a:cubicBezTo>
                        <a:pt x="24885" y="98565"/>
                        <a:pt x="21385" y="90210"/>
                        <a:pt x="22997" y="82017"/>
                      </a:cubicBezTo>
                      <a:cubicBezTo>
                        <a:pt x="23109" y="79933"/>
                        <a:pt x="23395" y="77862"/>
                        <a:pt x="23854" y="75826"/>
                      </a:cubicBezTo>
                      <a:cubicBezTo>
                        <a:pt x="24328" y="73052"/>
                        <a:pt x="24997" y="70315"/>
                        <a:pt x="25855" y="67635"/>
                      </a:cubicBezTo>
                      <a:cubicBezTo>
                        <a:pt x="28232" y="60193"/>
                        <a:pt x="31426" y="53037"/>
                        <a:pt x="35380" y="46299"/>
                      </a:cubicBezTo>
                      <a:lnTo>
                        <a:pt x="37189" y="43251"/>
                      </a:lnTo>
                      <a:cubicBezTo>
                        <a:pt x="38523" y="41346"/>
                        <a:pt x="39571" y="39345"/>
                        <a:pt x="40714" y="37536"/>
                      </a:cubicBezTo>
                      <a:cubicBezTo>
                        <a:pt x="40714" y="37536"/>
                        <a:pt x="40714" y="37536"/>
                        <a:pt x="40714" y="37536"/>
                      </a:cubicBezTo>
                      <a:cubicBezTo>
                        <a:pt x="45286" y="29820"/>
                        <a:pt x="47857" y="25725"/>
                        <a:pt x="52144" y="24486"/>
                      </a:cubicBezTo>
                      <a:cubicBezTo>
                        <a:pt x="55082" y="23617"/>
                        <a:pt x="58128" y="23168"/>
                        <a:pt x="61192" y="23153"/>
                      </a:cubicBezTo>
                      <a:cubicBezTo>
                        <a:pt x="67428" y="23210"/>
                        <a:pt x="73527" y="24990"/>
                        <a:pt x="78814" y="28296"/>
                      </a:cubicBezTo>
                      <a:cubicBezTo>
                        <a:pt x="84793" y="32064"/>
                        <a:pt x="89376" y="37683"/>
                        <a:pt x="91863" y="44298"/>
                      </a:cubicBezTo>
                      <a:cubicBezTo>
                        <a:pt x="92709" y="46382"/>
                        <a:pt x="93316" y="48555"/>
                        <a:pt x="93673" y="50775"/>
                      </a:cubicBezTo>
                      <a:cubicBezTo>
                        <a:pt x="94435" y="55157"/>
                        <a:pt x="91863" y="59253"/>
                        <a:pt x="86815" y="66682"/>
                      </a:cubicBezTo>
                      <a:lnTo>
                        <a:pt x="83005" y="72492"/>
                      </a:lnTo>
                      <a:cubicBezTo>
                        <a:pt x="81686" y="74661"/>
                        <a:pt x="80255" y="76759"/>
                        <a:pt x="78718" y="78779"/>
                      </a:cubicBezTo>
                      <a:cubicBezTo>
                        <a:pt x="74306" y="85112"/>
                        <a:pt x="69123" y="90871"/>
                        <a:pt x="63288" y="95924"/>
                      </a:cubicBezTo>
                      <a:cubicBezTo>
                        <a:pt x="62532" y="96664"/>
                        <a:pt x="61737" y="97363"/>
                        <a:pt x="60907" y="9801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42" name="Freeform: Shape 241">
                  <a:extLst>
                    <a:ext uri="{FF2B5EF4-FFF2-40B4-BE49-F238E27FC236}">
                      <a16:creationId xmlns:a16="http://schemas.microsoft.com/office/drawing/2014/main" id="{A763211E-0BBC-6126-2F09-C7D58F3A6155}"/>
                    </a:ext>
                  </a:extLst>
                </p:cNvPr>
                <p:cNvSpPr/>
                <p:nvPr/>
              </p:nvSpPr>
              <p:spPr>
                <a:xfrm>
                  <a:off x="5232998" y="4363499"/>
                  <a:ext cx="81879" cy="109023"/>
                </a:xfrm>
                <a:custGeom>
                  <a:avLst/>
                  <a:gdLst>
                    <a:gd name="connsiteX0" fmla="*/ 70361 w 81879"/>
                    <a:gd name="connsiteY0" fmla="*/ 109023 h 109023"/>
                    <a:gd name="connsiteX1" fmla="*/ 60836 w 81879"/>
                    <a:gd name="connsiteY1" fmla="*/ 103975 h 109023"/>
                    <a:gd name="connsiteX2" fmla="*/ 1781 w 81879"/>
                    <a:gd name="connsiteY2" fmla="*/ 17678 h 109023"/>
                    <a:gd name="connsiteX3" fmla="*/ 5374 w 81879"/>
                    <a:gd name="connsiteY3" fmla="*/ 1780 h 109023"/>
                    <a:gd name="connsiteX4" fmla="*/ 20831 w 81879"/>
                    <a:gd name="connsiteY4" fmla="*/ 4724 h 109023"/>
                    <a:gd name="connsiteX5" fmla="*/ 79886 w 81879"/>
                    <a:gd name="connsiteY5" fmla="*/ 91021 h 109023"/>
                    <a:gd name="connsiteX6" fmla="*/ 76830 w 81879"/>
                    <a:gd name="connsiteY6" fmla="*/ 107031 h 109023"/>
                    <a:gd name="connsiteX7" fmla="*/ 70361 w 81879"/>
                    <a:gd name="connsiteY7" fmla="*/ 109023 h 109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879" h="109023">
                      <a:moveTo>
                        <a:pt x="70361" y="109023"/>
                      </a:moveTo>
                      <a:cubicBezTo>
                        <a:pt x="66546" y="109020"/>
                        <a:pt x="62980" y="107130"/>
                        <a:pt x="60836" y="103975"/>
                      </a:cubicBezTo>
                      <a:lnTo>
                        <a:pt x="1781" y="17678"/>
                      </a:lnTo>
                      <a:cubicBezTo>
                        <a:pt x="-1617" y="12296"/>
                        <a:pt x="-8" y="5178"/>
                        <a:pt x="5374" y="1780"/>
                      </a:cubicBezTo>
                      <a:cubicBezTo>
                        <a:pt x="10499" y="-1455"/>
                        <a:pt x="17254" y="-168"/>
                        <a:pt x="20831" y="4724"/>
                      </a:cubicBezTo>
                      <a:lnTo>
                        <a:pt x="79886" y="91021"/>
                      </a:lnTo>
                      <a:cubicBezTo>
                        <a:pt x="83463" y="96286"/>
                        <a:pt x="82095" y="103454"/>
                        <a:pt x="76830" y="107031"/>
                      </a:cubicBezTo>
                      <a:cubicBezTo>
                        <a:pt x="74922" y="108328"/>
                        <a:pt x="72668" y="109022"/>
                        <a:pt x="70361" y="10902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43" name="Freeform: Shape 242">
                  <a:extLst>
                    <a:ext uri="{FF2B5EF4-FFF2-40B4-BE49-F238E27FC236}">
                      <a16:creationId xmlns:a16="http://schemas.microsoft.com/office/drawing/2014/main" id="{98BE9160-4B45-E386-6427-CA0086431C47}"/>
                    </a:ext>
                  </a:extLst>
                </p:cNvPr>
                <p:cNvSpPr/>
                <p:nvPr/>
              </p:nvSpPr>
              <p:spPr>
                <a:xfrm rot="541033">
                  <a:off x="5438460" y="4264481"/>
                  <a:ext cx="49936" cy="188800"/>
                </a:xfrm>
                <a:custGeom>
                  <a:avLst/>
                  <a:gdLst>
                    <a:gd name="connsiteX0" fmla="*/ 37972 w 49936"/>
                    <a:gd name="connsiteY0" fmla="*/ 188800 h 188800"/>
                    <a:gd name="connsiteX1" fmla="*/ 26637 w 49936"/>
                    <a:gd name="connsiteY1" fmla="*/ 179275 h 188800"/>
                    <a:gd name="connsiteX2" fmla="*/ 158 w 49936"/>
                    <a:gd name="connsiteY2" fmla="*/ 13635 h 188800"/>
                    <a:gd name="connsiteX3" fmla="*/ 9825 w 49936"/>
                    <a:gd name="connsiteY3" fmla="*/ 158 h 188800"/>
                    <a:gd name="connsiteX4" fmla="*/ 23303 w 49936"/>
                    <a:gd name="connsiteY4" fmla="*/ 9825 h 188800"/>
                    <a:gd name="connsiteX5" fmla="*/ 49783 w 49936"/>
                    <a:gd name="connsiteY5" fmla="*/ 175370 h 188800"/>
                    <a:gd name="connsiteX6" fmla="*/ 40273 w 49936"/>
                    <a:gd name="connsiteY6" fmla="*/ 188607 h 188800"/>
                    <a:gd name="connsiteX7" fmla="*/ 40258 w 49936"/>
                    <a:gd name="connsiteY7" fmla="*/ 188610 h 18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36" h="188800">
                      <a:moveTo>
                        <a:pt x="37972" y="188800"/>
                      </a:moveTo>
                      <a:cubicBezTo>
                        <a:pt x="32384" y="188793"/>
                        <a:pt x="27607" y="184778"/>
                        <a:pt x="26637" y="179275"/>
                      </a:cubicBezTo>
                      <a:lnTo>
                        <a:pt x="158" y="13635"/>
                      </a:lnTo>
                      <a:cubicBezTo>
                        <a:pt x="-895" y="7244"/>
                        <a:pt x="3434" y="1210"/>
                        <a:pt x="9825" y="158"/>
                      </a:cubicBezTo>
                      <a:cubicBezTo>
                        <a:pt x="16217" y="-895"/>
                        <a:pt x="22251" y="3434"/>
                        <a:pt x="23303" y="9825"/>
                      </a:cubicBezTo>
                      <a:lnTo>
                        <a:pt x="49783" y="175370"/>
                      </a:lnTo>
                      <a:cubicBezTo>
                        <a:pt x="50812" y="181651"/>
                        <a:pt x="46554" y="187578"/>
                        <a:pt x="40273" y="188607"/>
                      </a:cubicBezTo>
                      <a:cubicBezTo>
                        <a:pt x="40268" y="188608"/>
                        <a:pt x="40263" y="188609"/>
                        <a:pt x="40258" y="18861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44" name="Freeform: Shape 243">
                  <a:extLst>
                    <a:ext uri="{FF2B5EF4-FFF2-40B4-BE49-F238E27FC236}">
                      <a16:creationId xmlns:a16="http://schemas.microsoft.com/office/drawing/2014/main" id="{7C70D847-70C9-FC06-F8C0-AEE5147CB2C8}"/>
                    </a:ext>
                  </a:extLst>
                </p:cNvPr>
                <p:cNvSpPr/>
                <p:nvPr/>
              </p:nvSpPr>
              <p:spPr>
                <a:xfrm>
                  <a:off x="5594165" y="4362753"/>
                  <a:ext cx="82033" cy="109768"/>
                </a:xfrm>
                <a:custGeom>
                  <a:avLst/>
                  <a:gdLst>
                    <a:gd name="connsiteX0" fmla="*/ 11517 w 82033"/>
                    <a:gd name="connsiteY0" fmla="*/ 109768 h 109768"/>
                    <a:gd name="connsiteX1" fmla="*/ 0 w 82033"/>
                    <a:gd name="connsiteY1" fmla="*/ 98235 h 109768"/>
                    <a:gd name="connsiteX2" fmla="*/ 1992 w 82033"/>
                    <a:gd name="connsiteY2" fmla="*/ 91766 h 109768"/>
                    <a:gd name="connsiteX3" fmla="*/ 60761 w 82033"/>
                    <a:gd name="connsiteY3" fmla="*/ 5374 h 109768"/>
                    <a:gd name="connsiteX4" fmla="*/ 76659 w 82033"/>
                    <a:gd name="connsiteY4" fmla="*/ 1781 h 109768"/>
                    <a:gd name="connsiteX5" fmla="*/ 80253 w 82033"/>
                    <a:gd name="connsiteY5" fmla="*/ 17679 h 109768"/>
                    <a:gd name="connsiteX6" fmla="*/ 79811 w 82033"/>
                    <a:gd name="connsiteY6" fmla="*/ 18329 h 109768"/>
                    <a:gd name="connsiteX7" fmla="*/ 20756 w 82033"/>
                    <a:gd name="connsiteY7" fmla="*/ 104625 h 109768"/>
                    <a:gd name="connsiteX8" fmla="*/ 11517 w 82033"/>
                    <a:gd name="connsiteY8" fmla="*/ 109769 h 109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033" h="109768">
                      <a:moveTo>
                        <a:pt x="11517" y="109768"/>
                      </a:moveTo>
                      <a:cubicBezTo>
                        <a:pt x="5152" y="109764"/>
                        <a:pt x="-4" y="104600"/>
                        <a:pt x="0" y="98235"/>
                      </a:cubicBezTo>
                      <a:cubicBezTo>
                        <a:pt x="2" y="95928"/>
                        <a:pt x="696" y="93675"/>
                        <a:pt x="1992" y="91766"/>
                      </a:cubicBezTo>
                      <a:lnTo>
                        <a:pt x="60761" y="5374"/>
                      </a:lnTo>
                      <a:cubicBezTo>
                        <a:pt x="64159" y="-8"/>
                        <a:pt x="71277" y="-1617"/>
                        <a:pt x="76659" y="1781"/>
                      </a:cubicBezTo>
                      <a:cubicBezTo>
                        <a:pt x="82042" y="5179"/>
                        <a:pt x="83651" y="12297"/>
                        <a:pt x="80253" y="17679"/>
                      </a:cubicBezTo>
                      <a:cubicBezTo>
                        <a:pt x="80113" y="17900"/>
                        <a:pt x="79966" y="18117"/>
                        <a:pt x="79811" y="18329"/>
                      </a:cubicBezTo>
                      <a:lnTo>
                        <a:pt x="20756" y="104625"/>
                      </a:lnTo>
                      <a:cubicBezTo>
                        <a:pt x="18691" y="107735"/>
                        <a:pt x="15248" y="109651"/>
                        <a:pt x="11517" y="10976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grpSp>
      </p:grpSp>
      <p:sp>
        <p:nvSpPr>
          <p:cNvPr id="13" name="Text Placeholder 14">
            <a:extLst>
              <a:ext uri="{FF2B5EF4-FFF2-40B4-BE49-F238E27FC236}">
                <a16:creationId xmlns:a16="http://schemas.microsoft.com/office/drawing/2014/main" id="{ED18F46C-A777-F297-08C1-C798FABF27F7}"/>
              </a:ext>
            </a:extLst>
          </p:cNvPr>
          <p:cNvSpPr txBox="1">
            <a:spLocks/>
          </p:cNvSpPr>
          <p:nvPr/>
        </p:nvSpPr>
        <p:spPr>
          <a:xfrm>
            <a:off x="381597" y="79401"/>
            <a:ext cx="3852265" cy="184666"/>
          </a:xfrm>
          <a:prstGeom prst="rect">
            <a:avLst/>
          </a:prstGeom>
        </p:spPr>
        <p:txBody>
          <a:bodyPr vert="horz" wrap="square" lIns="0" tIns="0" rIns="0" bIns="0" rtlCol="0">
            <a:sp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750"/>
              </a:spcBef>
              <a:spcAft>
                <a:spcPts val="0"/>
              </a:spcAft>
              <a:buClrTx/>
              <a:buSzTx/>
              <a:buFont typeface="Wingdings" panose="05000000000000000000" pitchFamily="2" charset="2"/>
              <a:buNone/>
              <a:tabLst/>
              <a:defRPr/>
            </a:pPr>
            <a:r>
              <a:rPr kumimoji="0" lang="en-AU" sz="1200" b="0" i="0" u="none" strike="noStrike" kern="1200" cap="none" spc="0" normalizeH="0" baseline="0" noProof="0">
                <a:ln>
                  <a:noFill/>
                </a:ln>
                <a:solidFill>
                  <a:srgbClr val="838383"/>
                </a:solidFill>
                <a:effectLst/>
                <a:uLnTx/>
                <a:uFillTx/>
                <a:latin typeface="Lato" panose="020F0502020204030203" pitchFamily="34" charset="0"/>
                <a:sym typeface="Lato" panose="020F0502020204030203" pitchFamily="34" charset="0"/>
              </a:rPr>
              <a:t>        Appendix</a:t>
            </a:r>
            <a:endParaRPr kumimoji="0" lang="en-GB" sz="1200" b="0" i="0" u="none" strike="noStrike" kern="1200" cap="none" spc="0" normalizeH="0" baseline="0" noProof="0">
              <a:ln>
                <a:noFill/>
              </a:ln>
              <a:solidFill>
                <a:srgbClr val="838383"/>
              </a:solidFill>
              <a:effectLst/>
              <a:uLnTx/>
              <a:uFillTx/>
              <a:latin typeface="Lato" panose="020F0502020204030203" pitchFamily="34" charset="0"/>
              <a:sym typeface="Lato" panose="020F0502020204030203" pitchFamily="34" charset="0"/>
            </a:endParaRPr>
          </a:p>
        </p:txBody>
      </p:sp>
      <p:sp>
        <p:nvSpPr>
          <p:cNvPr id="24" name="Oval 23">
            <a:extLst>
              <a:ext uri="{FF2B5EF4-FFF2-40B4-BE49-F238E27FC236}">
                <a16:creationId xmlns:a16="http://schemas.microsoft.com/office/drawing/2014/main" id="{06F1EB10-27FD-0DB1-D80A-ED550BDD901F}"/>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t>
            </a:r>
          </a:p>
        </p:txBody>
      </p:sp>
    </p:spTree>
    <p:extLst>
      <p:ext uri="{BB962C8B-B14F-4D97-AF65-F5344CB8AC3E}">
        <p14:creationId xmlns:p14="http://schemas.microsoft.com/office/powerpoint/2010/main" val="37643416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BF5F4D8-4454-65A5-B07F-2849F6C4278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1184" imgH="1182" progId="TCLayout.ActiveDocument.1">
                  <p:embed/>
                </p:oleObj>
              </mc:Choice>
              <mc:Fallback>
                <p:oleObj name="think-cell Slide" r:id="rId4" imgW="1184" imgH="1182" progId="TCLayout.ActiveDocument.1">
                  <p:embed/>
                  <p:pic>
                    <p:nvPicPr>
                      <p:cNvPr id="6" name="Object 5" hidden="1">
                        <a:extLst>
                          <a:ext uri="{FF2B5EF4-FFF2-40B4-BE49-F238E27FC236}">
                            <a16:creationId xmlns:a16="http://schemas.microsoft.com/office/drawing/2014/main" id="{0BF5F4D8-4454-65A5-B07F-2849F6C427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7330CD49-7833-F296-58CC-CDC3D50302FB}"/>
              </a:ext>
            </a:extLst>
          </p:cNvPr>
          <p:cNvSpPr>
            <a:spLocks noGrp="1"/>
          </p:cNvSpPr>
          <p:nvPr>
            <p:ph type="body" sz="quarter" idx="22"/>
          </p:nvPr>
        </p:nvSpPr>
        <p:spPr>
          <a:xfrm>
            <a:off x="381001" y="6715169"/>
            <a:ext cx="1500411" cy="110800"/>
          </a:xfrm>
        </p:spPr>
        <p:txBody>
          <a:bodyPr/>
          <a:lstStyle/>
          <a:p>
            <a:r>
              <a:rPr lang="de-DE">
                <a:latin typeface="Lato" panose="020F0502020204030203" pitchFamily="34" charset="0"/>
              </a:rPr>
              <a:t>Sources: Aurora Energy Research</a:t>
            </a:r>
          </a:p>
        </p:txBody>
      </p:sp>
      <p:sp>
        <p:nvSpPr>
          <p:cNvPr id="4" name="Text Placeholder 3">
            <a:extLst>
              <a:ext uri="{FF2B5EF4-FFF2-40B4-BE49-F238E27FC236}">
                <a16:creationId xmlns:a16="http://schemas.microsoft.com/office/drawing/2014/main" id="{5A4E0DA5-86C7-E80C-FBF8-B0865D255F1C}"/>
              </a:ext>
            </a:extLst>
          </p:cNvPr>
          <p:cNvSpPr>
            <a:spLocks noGrp="1"/>
          </p:cNvSpPr>
          <p:nvPr>
            <p:ph type="body" sz="quarter" idx="32"/>
          </p:nvPr>
        </p:nvSpPr>
        <p:spPr/>
        <p:txBody>
          <a:bodyPr/>
          <a:lstStyle/>
          <a:p>
            <a:endParaRPr lang="de-DE">
              <a:latin typeface="Lato" panose="020F0502020204030203" pitchFamily="34" charset="0"/>
            </a:endParaRPr>
          </a:p>
        </p:txBody>
      </p:sp>
      <p:sp>
        <p:nvSpPr>
          <p:cNvPr id="7" name="Title 3">
            <a:extLst>
              <a:ext uri="{FF2B5EF4-FFF2-40B4-BE49-F238E27FC236}">
                <a16:creationId xmlns:a16="http://schemas.microsoft.com/office/drawing/2014/main" id="{ABBC7519-3DAA-9581-8C55-994B47A12EC7}"/>
              </a:ext>
            </a:extLst>
          </p:cNvPr>
          <p:cNvSpPr>
            <a:spLocks noGrp="1"/>
          </p:cNvSpPr>
          <p:nvPr>
            <p:ph type="title"/>
          </p:nvPr>
        </p:nvSpPr>
        <p:spPr>
          <a:xfrm>
            <a:off x="381599" y="411856"/>
            <a:ext cx="9277019" cy="609398"/>
          </a:xfrm>
        </p:spPr>
        <p:txBody>
          <a:bodyPr vert="horz"/>
          <a:lstStyle/>
          <a:p>
            <a:r>
              <a:rPr lang="en-GB" b="1" i="0" u="none" strike="noStrike">
                <a:solidFill>
                  <a:schemeClr val="tx1"/>
                </a:solidFill>
                <a:effectLst/>
                <a:latin typeface="Lato" panose="020F0502020204030203" pitchFamily="34" charset="0"/>
              </a:rPr>
              <a:t>Our market leading models underpin a comprehensive range of</a:t>
            </a:r>
            <a:br>
              <a:rPr lang="en-GB" b="1" i="0" u="none" strike="noStrike">
                <a:solidFill>
                  <a:schemeClr val="tx1"/>
                </a:solidFill>
                <a:effectLst/>
                <a:latin typeface="Lato" panose="020F0502020204030203" pitchFamily="34" charset="0"/>
              </a:rPr>
            </a:br>
            <a:r>
              <a:rPr lang="en-GB" b="1" i="0" u="none" strike="noStrike">
                <a:solidFill>
                  <a:schemeClr val="tx1"/>
                </a:solidFill>
                <a:effectLst/>
                <a:latin typeface="Lato" panose="020F0502020204030203" pitchFamily="34" charset="0"/>
              </a:rPr>
              <a:t>seamlessly integrated services</a:t>
            </a:r>
            <a:r>
              <a:rPr lang="en-GB" b="0" i="0">
                <a:solidFill>
                  <a:schemeClr val="tx1"/>
                </a:solidFill>
                <a:effectLst/>
                <a:latin typeface="Lato" panose="020F0502020204030203" pitchFamily="34" charset="0"/>
              </a:rPr>
              <a:t>​ </a:t>
            </a:r>
            <a:r>
              <a:rPr lang="en-GB">
                <a:solidFill>
                  <a:schemeClr val="tx1"/>
                </a:solidFill>
              </a:rPr>
              <a:t>to best suit your needs</a:t>
            </a:r>
            <a:br>
              <a:rPr lang="en-GB" b="0" i="0">
                <a:solidFill>
                  <a:schemeClr val="tx1"/>
                </a:solidFill>
                <a:effectLst/>
                <a:latin typeface="Lato" panose="020F0502020204030203" pitchFamily="34" charset="0"/>
              </a:rPr>
            </a:br>
            <a:r>
              <a:rPr lang="en-GB" b="0" i="0">
                <a:solidFill>
                  <a:schemeClr val="tx1"/>
                </a:solidFill>
                <a:effectLst/>
                <a:latin typeface="Lato" panose="020F0502020204030203" pitchFamily="34" charset="0"/>
              </a:rPr>
              <a:t>​</a:t>
            </a:r>
            <a:endParaRPr lang="en-GB">
              <a:solidFill>
                <a:schemeClr val="tx1"/>
              </a:solidFill>
              <a:latin typeface="Lato" panose="020F0502020204030203" pitchFamily="34" charset="0"/>
            </a:endParaRPr>
          </a:p>
        </p:txBody>
      </p:sp>
      <p:sp>
        <p:nvSpPr>
          <p:cNvPr id="8" name="Rectangle 7">
            <a:extLst>
              <a:ext uri="{FF2B5EF4-FFF2-40B4-BE49-F238E27FC236}">
                <a16:creationId xmlns:a16="http://schemas.microsoft.com/office/drawing/2014/main" id="{4E25E5BA-C460-B736-A579-0DD0A0880BEC}"/>
              </a:ext>
            </a:extLst>
          </p:cNvPr>
          <p:cNvSpPr/>
          <p:nvPr/>
        </p:nvSpPr>
        <p:spPr>
          <a:xfrm>
            <a:off x="1448903" y="3956866"/>
            <a:ext cx="10151861" cy="1062840"/>
          </a:xfrm>
          <a:prstGeom prst="rect">
            <a:avLst/>
          </a:prstGeom>
          <a:gradFill>
            <a:gsLst>
              <a:gs pos="0">
                <a:schemeClr val="accent3"/>
              </a:gs>
              <a:gs pos="44000">
                <a:schemeClr val="accent3"/>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ato" panose="020F0502020204030203" pitchFamily="34" charset="0"/>
              <a:ea typeface="+mn-ea"/>
              <a:cs typeface="+mn-cs"/>
              <a:sym typeface="Lato" panose="020F0502020204030203" pitchFamily="34" charset="0"/>
            </a:endParaRPr>
          </a:p>
        </p:txBody>
      </p:sp>
      <p:sp>
        <p:nvSpPr>
          <p:cNvPr id="10" name="Rectangle 9">
            <a:extLst>
              <a:ext uri="{FF2B5EF4-FFF2-40B4-BE49-F238E27FC236}">
                <a16:creationId xmlns:a16="http://schemas.microsoft.com/office/drawing/2014/main" id="{F4D79418-F4AA-0A65-EFD5-A63DF31E7647}"/>
              </a:ext>
            </a:extLst>
          </p:cNvPr>
          <p:cNvSpPr/>
          <p:nvPr/>
        </p:nvSpPr>
        <p:spPr>
          <a:xfrm>
            <a:off x="2495826" y="1525214"/>
            <a:ext cx="9104938" cy="1069224"/>
          </a:xfrm>
          <a:prstGeom prst="rect">
            <a:avLst/>
          </a:prstGeom>
          <a:gradFill flip="none" rotWithShape="1">
            <a:gsLst>
              <a:gs pos="0">
                <a:schemeClr val="bg2"/>
              </a:gs>
              <a:gs pos="50000">
                <a:schemeClr val="bg2"/>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ato" panose="020F0502020204030203" pitchFamily="34" charset="0"/>
              <a:ea typeface="+mn-ea"/>
              <a:cs typeface="+mn-cs"/>
              <a:sym typeface="Lato" panose="020F0502020204030203" pitchFamily="34" charset="0"/>
            </a:endParaRPr>
          </a:p>
        </p:txBody>
      </p:sp>
      <p:sp>
        <p:nvSpPr>
          <p:cNvPr id="12" name="Rectangle 11">
            <a:extLst>
              <a:ext uri="{FF2B5EF4-FFF2-40B4-BE49-F238E27FC236}">
                <a16:creationId xmlns:a16="http://schemas.microsoft.com/office/drawing/2014/main" id="{1F9EEA18-DB80-F9E0-B571-DA439E4C4AA6}"/>
              </a:ext>
            </a:extLst>
          </p:cNvPr>
          <p:cNvSpPr/>
          <p:nvPr/>
        </p:nvSpPr>
        <p:spPr>
          <a:xfrm>
            <a:off x="2174039" y="2735545"/>
            <a:ext cx="9426725" cy="1067846"/>
          </a:xfrm>
          <a:prstGeom prst="rect">
            <a:avLst/>
          </a:prstGeom>
          <a:gradFill>
            <a:gsLst>
              <a:gs pos="0">
                <a:schemeClr val="accent4"/>
              </a:gs>
              <a:gs pos="50000">
                <a:schemeClr val="accent4"/>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ato" panose="020F0502020204030203" pitchFamily="34" charset="0"/>
              <a:ea typeface="+mn-ea"/>
              <a:cs typeface="+mn-cs"/>
              <a:sym typeface="Lato" panose="020F0502020204030203" pitchFamily="34" charset="0"/>
            </a:endParaRPr>
          </a:p>
        </p:txBody>
      </p:sp>
      <p:sp>
        <p:nvSpPr>
          <p:cNvPr id="5" name="Freeform 23">
            <a:extLst>
              <a:ext uri="{FF2B5EF4-FFF2-40B4-BE49-F238E27FC236}">
                <a16:creationId xmlns:a16="http://schemas.microsoft.com/office/drawing/2014/main" id="{D55A8019-3E73-0437-0871-21DE2B184FEF}"/>
              </a:ext>
            </a:extLst>
          </p:cNvPr>
          <p:cNvSpPr/>
          <p:nvPr/>
        </p:nvSpPr>
        <p:spPr>
          <a:xfrm flipH="1">
            <a:off x="283772" y="5245312"/>
            <a:ext cx="4597220" cy="1059974"/>
          </a:xfrm>
          <a:custGeom>
            <a:avLst/>
            <a:gdLst>
              <a:gd name="connsiteX0" fmla="*/ 2093885 w 2349485"/>
              <a:gd name="connsiteY0" fmla="*/ 0 h 385762"/>
              <a:gd name="connsiteX1" fmla="*/ 257175 w 2349485"/>
              <a:gd name="connsiteY1" fmla="*/ 0 h 385762"/>
              <a:gd name="connsiteX2" fmla="*/ 0 w 2349485"/>
              <a:gd name="connsiteY2" fmla="*/ 385762 h 385762"/>
              <a:gd name="connsiteX3" fmla="*/ 257175 w 2349485"/>
              <a:gd name="connsiteY3" fmla="*/ 385762 h 385762"/>
              <a:gd name="connsiteX4" fmla="*/ 2093885 w 2349485"/>
              <a:gd name="connsiteY4" fmla="*/ 385762 h 385762"/>
              <a:gd name="connsiteX5" fmla="*/ 2349485 w 2349485"/>
              <a:gd name="connsiteY5" fmla="*/ 385762 h 385762"/>
              <a:gd name="connsiteX0" fmla="*/ 2093885 w 2466368"/>
              <a:gd name="connsiteY0" fmla="*/ 0 h 386651"/>
              <a:gd name="connsiteX1" fmla="*/ 257175 w 2466368"/>
              <a:gd name="connsiteY1" fmla="*/ 0 h 386651"/>
              <a:gd name="connsiteX2" fmla="*/ 0 w 2466368"/>
              <a:gd name="connsiteY2" fmla="*/ 385762 h 386651"/>
              <a:gd name="connsiteX3" fmla="*/ 257175 w 2466368"/>
              <a:gd name="connsiteY3" fmla="*/ 385762 h 386651"/>
              <a:gd name="connsiteX4" fmla="*/ 2093885 w 2466368"/>
              <a:gd name="connsiteY4" fmla="*/ 385762 h 386651"/>
              <a:gd name="connsiteX5" fmla="*/ 2466368 w 2466368"/>
              <a:gd name="connsiteY5" fmla="*/ 386651 h 386651"/>
              <a:gd name="connsiteX6" fmla="*/ 2093885 w 2466368"/>
              <a:gd name="connsiteY6" fmla="*/ 0 h 386651"/>
              <a:gd name="connsiteX0" fmla="*/ 2093885 w 2461930"/>
              <a:gd name="connsiteY0" fmla="*/ 0 h 386651"/>
              <a:gd name="connsiteX1" fmla="*/ 257175 w 2461930"/>
              <a:gd name="connsiteY1" fmla="*/ 0 h 386651"/>
              <a:gd name="connsiteX2" fmla="*/ 0 w 2461930"/>
              <a:gd name="connsiteY2" fmla="*/ 385762 h 386651"/>
              <a:gd name="connsiteX3" fmla="*/ 257175 w 2461930"/>
              <a:gd name="connsiteY3" fmla="*/ 385762 h 386651"/>
              <a:gd name="connsiteX4" fmla="*/ 2093885 w 2461930"/>
              <a:gd name="connsiteY4" fmla="*/ 385762 h 386651"/>
              <a:gd name="connsiteX5" fmla="*/ 2461930 w 2461930"/>
              <a:gd name="connsiteY5" fmla="*/ 386651 h 386651"/>
              <a:gd name="connsiteX6" fmla="*/ 2093885 w 2461930"/>
              <a:gd name="connsiteY6" fmla="*/ 0 h 386651"/>
              <a:gd name="connsiteX0" fmla="*/ 2093885 w 2093885"/>
              <a:gd name="connsiteY0" fmla="*/ 0 h 385762"/>
              <a:gd name="connsiteX1" fmla="*/ 257175 w 2093885"/>
              <a:gd name="connsiteY1" fmla="*/ 0 h 385762"/>
              <a:gd name="connsiteX2" fmla="*/ 0 w 2093885"/>
              <a:gd name="connsiteY2" fmla="*/ 385762 h 385762"/>
              <a:gd name="connsiteX3" fmla="*/ 257175 w 2093885"/>
              <a:gd name="connsiteY3" fmla="*/ 385762 h 385762"/>
              <a:gd name="connsiteX4" fmla="*/ 2093885 w 2093885"/>
              <a:gd name="connsiteY4" fmla="*/ 385762 h 385762"/>
              <a:gd name="connsiteX5" fmla="*/ 2093885 w 2093885"/>
              <a:gd name="connsiteY5" fmla="*/ 0 h 385762"/>
              <a:gd name="connsiteX0" fmla="*/ 2093885 w 2425299"/>
              <a:gd name="connsiteY0" fmla="*/ 0 h 385762"/>
              <a:gd name="connsiteX1" fmla="*/ 257175 w 2425299"/>
              <a:gd name="connsiteY1" fmla="*/ 0 h 385762"/>
              <a:gd name="connsiteX2" fmla="*/ 0 w 2425299"/>
              <a:gd name="connsiteY2" fmla="*/ 385762 h 385762"/>
              <a:gd name="connsiteX3" fmla="*/ 257175 w 2425299"/>
              <a:gd name="connsiteY3" fmla="*/ 385762 h 385762"/>
              <a:gd name="connsiteX4" fmla="*/ 2425299 w 2425299"/>
              <a:gd name="connsiteY4" fmla="*/ 383984 h 385762"/>
              <a:gd name="connsiteX5" fmla="*/ 2093885 w 2425299"/>
              <a:gd name="connsiteY5" fmla="*/ 0 h 385762"/>
              <a:gd name="connsiteX0" fmla="*/ 1836710 w 2168124"/>
              <a:gd name="connsiteY0" fmla="*/ 0 h 385762"/>
              <a:gd name="connsiteX1" fmla="*/ 0 w 2168124"/>
              <a:gd name="connsiteY1" fmla="*/ 0 h 385762"/>
              <a:gd name="connsiteX2" fmla="*/ 0 w 2168124"/>
              <a:gd name="connsiteY2" fmla="*/ 385762 h 385762"/>
              <a:gd name="connsiteX3" fmla="*/ 2168124 w 2168124"/>
              <a:gd name="connsiteY3" fmla="*/ 383984 h 385762"/>
              <a:gd name="connsiteX4" fmla="*/ 1836710 w 2168124"/>
              <a:gd name="connsiteY4" fmla="*/ 0 h 385762"/>
              <a:gd name="connsiteX0" fmla="*/ 2193275 w 2524689"/>
              <a:gd name="connsiteY0" fmla="*/ 0 h 383984"/>
              <a:gd name="connsiteX1" fmla="*/ 356565 w 2524689"/>
              <a:gd name="connsiteY1" fmla="*/ 0 h 383984"/>
              <a:gd name="connsiteX2" fmla="*/ 0 w 2524689"/>
              <a:gd name="connsiteY2" fmla="*/ 383984 h 383984"/>
              <a:gd name="connsiteX3" fmla="*/ 2524689 w 2524689"/>
              <a:gd name="connsiteY3" fmla="*/ 383984 h 383984"/>
              <a:gd name="connsiteX4" fmla="*/ 2193275 w 2524689"/>
              <a:gd name="connsiteY4" fmla="*/ 0 h 383984"/>
              <a:gd name="connsiteX0" fmla="*/ 2193275 w 2672121"/>
              <a:gd name="connsiteY0" fmla="*/ 0 h 549279"/>
              <a:gd name="connsiteX1" fmla="*/ 356565 w 2672121"/>
              <a:gd name="connsiteY1" fmla="*/ 0 h 549279"/>
              <a:gd name="connsiteX2" fmla="*/ 0 w 2672121"/>
              <a:gd name="connsiteY2" fmla="*/ 383984 h 549279"/>
              <a:gd name="connsiteX3" fmla="*/ 2672121 w 2672121"/>
              <a:gd name="connsiteY3" fmla="*/ 549279 h 549279"/>
              <a:gd name="connsiteX4" fmla="*/ 2193275 w 2672121"/>
              <a:gd name="connsiteY4" fmla="*/ 0 h 549279"/>
              <a:gd name="connsiteX0" fmla="*/ 2433127 w 2911973"/>
              <a:gd name="connsiteY0" fmla="*/ 0 h 549279"/>
              <a:gd name="connsiteX1" fmla="*/ 596417 w 2911973"/>
              <a:gd name="connsiteY1" fmla="*/ 0 h 549279"/>
              <a:gd name="connsiteX2" fmla="*/ 0 w 2911973"/>
              <a:gd name="connsiteY2" fmla="*/ 545312 h 549279"/>
              <a:gd name="connsiteX3" fmla="*/ 2911973 w 2911973"/>
              <a:gd name="connsiteY3" fmla="*/ 549279 h 549279"/>
              <a:gd name="connsiteX4" fmla="*/ 2433127 w 2911973"/>
              <a:gd name="connsiteY4" fmla="*/ 0 h 549279"/>
              <a:gd name="connsiteX0" fmla="*/ 2433127 w 2905372"/>
              <a:gd name="connsiteY0" fmla="*/ 0 h 549279"/>
              <a:gd name="connsiteX1" fmla="*/ 596417 w 2905372"/>
              <a:gd name="connsiteY1" fmla="*/ 0 h 549279"/>
              <a:gd name="connsiteX2" fmla="*/ 0 w 2905372"/>
              <a:gd name="connsiteY2" fmla="*/ 545312 h 549279"/>
              <a:gd name="connsiteX3" fmla="*/ 2905372 w 2905372"/>
              <a:gd name="connsiteY3" fmla="*/ 549279 h 549279"/>
              <a:gd name="connsiteX4" fmla="*/ 2433127 w 2905372"/>
              <a:gd name="connsiteY4" fmla="*/ 0 h 549279"/>
              <a:gd name="connsiteX0" fmla="*/ 2433127 w 2905372"/>
              <a:gd name="connsiteY0" fmla="*/ 1323 h 550602"/>
              <a:gd name="connsiteX1" fmla="*/ 1364384 w 2905372"/>
              <a:gd name="connsiteY1" fmla="*/ 0 h 550602"/>
              <a:gd name="connsiteX2" fmla="*/ 0 w 2905372"/>
              <a:gd name="connsiteY2" fmla="*/ 546635 h 550602"/>
              <a:gd name="connsiteX3" fmla="*/ 2905372 w 2905372"/>
              <a:gd name="connsiteY3" fmla="*/ 550602 h 550602"/>
              <a:gd name="connsiteX4" fmla="*/ 2433127 w 2905372"/>
              <a:gd name="connsiteY4" fmla="*/ 1323 h 550602"/>
              <a:gd name="connsiteX0" fmla="*/ 1568338 w 2040583"/>
              <a:gd name="connsiteY0" fmla="*/ 1323 h 550602"/>
              <a:gd name="connsiteX1" fmla="*/ 499595 w 2040583"/>
              <a:gd name="connsiteY1" fmla="*/ 0 h 550602"/>
              <a:gd name="connsiteX2" fmla="*/ 0 w 2040583"/>
              <a:gd name="connsiteY2" fmla="*/ 550602 h 550602"/>
              <a:gd name="connsiteX3" fmla="*/ 2040583 w 2040583"/>
              <a:gd name="connsiteY3" fmla="*/ 550602 h 550602"/>
              <a:gd name="connsiteX4" fmla="*/ 1568338 w 2040583"/>
              <a:gd name="connsiteY4" fmla="*/ 1323 h 550602"/>
              <a:gd name="connsiteX0" fmla="*/ 2142577 w 2614822"/>
              <a:gd name="connsiteY0" fmla="*/ 2645 h 551924"/>
              <a:gd name="connsiteX1" fmla="*/ 0 w 2614822"/>
              <a:gd name="connsiteY1" fmla="*/ 0 h 551924"/>
              <a:gd name="connsiteX2" fmla="*/ 574239 w 2614822"/>
              <a:gd name="connsiteY2" fmla="*/ 551924 h 551924"/>
              <a:gd name="connsiteX3" fmla="*/ 2614822 w 2614822"/>
              <a:gd name="connsiteY3" fmla="*/ 551924 h 551924"/>
              <a:gd name="connsiteX4" fmla="*/ 2142577 w 2614822"/>
              <a:gd name="connsiteY4" fmla="*/ 2645 h 551924"/>
              <a:gd name="connsiteX0" fmla="*/ 2694983 w 3167228"/>
              <a:gd name="connsiteY0" fmla="*/ 2645 h 551924"/>
              <a:gd name="connsiteX1" fmla="*/ 552406 w 3167228"/>
              <a:gd name="connsiteY1" fmla="*/ 0 h 551924"/>
              <a:gd name="connsiteX2" fmla="*/ 0 w 3167228"/>
              <a:gd name="connsiteY2" fmla="*/ 547957 h 551924"/>
              <a:gd name="connsiteX3" fmla="*/ 3167228 w 3167228"/>
              <a:gd name="connsiteY3" fmla="*/ 551924 h 551924"/>
              <a:gd name="connsiteX4" fmla="*/ 2694983 w 3167228"/>
              <a:gd name="connsiteY4" fmla="*/ 2645 h 551924"/>
              <a:gd name="connsiteX0" fmla="*/ 2692783 w 3167228"/>
              <a:gd name="connsiteY0" fmla="*/ 1323 h 551924"/>
              <a:gd name="connsiteX1" fmla="*/ 552406 w 3167228"/>
              <a:gd name="connsiteY1" fmla="*/ 0 h 551924"/>
              <a:gd name="connsiteX2" fmla="*/ 0 w 3167228"/>
              <a:gd name="connsiteY2" fmla="*/ 547957 h 551924"/>
              <a:gd name="connsiteX3" fmla="*/ 3167228 w 3167228"/>
              <a:gd name="connsiteY3" fmla="*/ 551924 h 551924"/>
              <a:gd name="connsiteX4" fmla="*/ 2692783 w 3167228"/>
              <a:gd name="connsiteY4" fmla="*/ 1323 h 551924"/>
              <a:gd name="connsiteX0" fmla="*/ 2557686 w 3032131"/>
              <a:gd name="connsiteY0" fmla="*/ 1323 h 551924"/>
              <a:gd name="connsiteX1" fmla="*/ 417309 w 3032131"/>
              <a:gd name="connsiteY1" fmla="*/ 0 h 551924"/>
              <a:gd name="connsiteX2" fmla="*/ 0 w 3032131"/>
              <a:gd name="connsiteY2" fmla="*/ 547957 h 551924"/>
              <a:gd name="connsiteX3" fmla="*/ 3032131 w 3032131"/>
              <a:gd name="connsiteY3" fmla="*/ 551924 h 551924"/>
              <a:gd name="connsiteX4" fmla="*/ 2557686 w 3032131"/>
              <a:gd name="connsiteY4" fmla="*/ 1323 h 551924"/>
              <a:gd name="connsiteX0" fmla="*/ 2557686 w 2907042"/>
              <a:gd name="connsiteY0" fmla="*/ 1323 h 547957"/>
              <a:gd name="connsiteX1" fmla="*/ 417309 w 2907042"/>
              <a:gd name="connsiteY1" fmla="*/ 0 h 547957"/>
              <a:gd name="connsiteX2" fmla="*/ 0 w 2907042"/>
              <a:gd name="connsiteY2" fmla="*/ 547957 h 547957"/>
              <a:gd name="connsiteX3" fmla="*/ 2907042 w 2907042"/>
              <a:gd name="connsiteY3" fmla="*/ 547362 h 547957"/>
              <a:gd name="connsiteX4" fmla="*/ 2557686 w 2907042"/>
              <a:gd name="connsiteY4" fmla="*/ 1323 h 547957"/>
              <a:gd name="connsiteX0" fmla="*/ 2592711 w 2907042"/>
              <a:gd name="connsiteY0" fmla="*/ 3604 h 547957"/>
              <a:gd name="connsiteX1" fmla="*/ 417309 w 2907042"/>
              <a:gd name="connsiteY1" fmla="*/ 0 h 547957"/>
              <a:gd name="connsiteX2" fmla="*/ 0 w 2907042"/>
              <a:gd name="connsiteY2" fmla="*/ 547957 h 547957"/>
              <a:gd name="connsiteX3" fmla="*/ 2907042 w 2907042"/>
              <a:gd name="connsiteY3" fmla="*/ 547362 h 547957"/>
              <a:gd name="connsiteX4" fmla="*/ 2592711 w 2907042"/>
              <a:gd name="connsiteY4" fmla="*/ 3604 h 547957"/>
              <a:gd name="connsiteX0" fmla="*/ 2512653 w 2826984"/>
              <a:gd name="connsiteY0" fmla="*/ 3604 h 550238"/>
              <a:gd name="connsiteX1" fmla="*/ 337251 w 2826984"/>
              <a:gd name="connsiteY1" fmla="*/ 0 h 550238"/>
              <a:gd name="connsiteX2" fmla="*/ 0 w 2826984"/>
              <a:gd name="connsiteY2" fmla="*/ 550238 h 550238"/>
              <a:gd name="connsiteX3" fmla="*/ 2826984 w 2826984"/>
              <a:gd name="connsiteY3" fmla="*/ 547362 h 550238"/>
              <a:gd name="connsiteX4" fmla="*/ 2512653 w 2826984"/>
              <a:gd name="connsiteY4" fmla="*/ 3604 h 550238"/>
              <a:gd name="connsiteX0" fmla="*/ 2537671 w 2852002"/>
              <a:gd name="connsiteY0" fmla="*/ 3604 h 547362"/>
              <a:gd name="connsiteX1" fmla="*/ 362269 w 2852002"/>
              <a:gd name="connsiteY1" fmla="*/ 0 h 547362"/>
              <a:gd name="connsiteX2" fmla="*/ 0 w 2852002"/>
              <a:gd name="connsiteY2" fmla="*/ 545676 h 547362"/>
              <a:gd name="connsiteX3" fmla="*/ 2852002 w 2852002"/>
              <a:gd name="connsiteY3" fmla="*/ 547362 h 547362"/>
              <a:gd name="connsiteX4" fmla="*/ 2537671 w 2852002"/>
              <a:gd name="connsiteY4" fmla="*/ 3604 h 547362"/>
              <a:gd name="connsiteX0" fmla="*/ 2537671 w 2852002"/>
              <a:gd name="connsiteY0" fmla="*/ 3604 h 547362"/>
              <a:gd name="connsiteX1" fmla="*/ 337870 w 2852002"/>
              <a:gd name="connsiteY1" fmla="*/ 0 h 547362"/>
              <a:gd name="connsiteX2" fmla="*/ 0 w 2852002"/>
              <a:gd name="connsiteY2" fmla="*/ 545676 h 547362"/>
              <a:gd name="connsiteX3" fmla="*/ 2852002 w 2852002"/>
              <a:gd name="connsiteY3" fmla="*/ 547362 h 547362"/>
              <a:gd name="connsiteX4" fmla="*/ 2537671 w 2852002"/>
              <a:gd name="connsiteY4" fmla="*/ 3604 h 547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2002" h="547362">
                <a:moveTo>
                  <a:pt x="2537671" y="3604"/>
                </a:moveTo>
                <a:lnTo>
                  <a:pt x="337870" y="0"/>
                </a:lnTo>
                <a:lnTo>
                  <a:pt x="0" y="545676"/>
                </a:lnTo>
                <a:lnTo>
                  <a:pt x="2852002" y="547362"/>
                </a:lnTo>
                <a:lnTo>
                  <a:pt x="2537671" y="3604"/>
                </a:lnTo>
                <a:close/>
              </a:path>
            </a:pathLst>
          </a:cu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ato" panose="020F0502020204030203" pitchFamily="34" charset="0"/>
              <a:ea typeface="+mn-ea"/>
              <a:cs typeface="+mn-cs"/>
              <a:sym typeface="Lato" panose="020F0502020204030203" pitchFamily="34" charset="0"/>
            </a:endParaRPr>
          </a:p>
        </p:txBody>
      </p:sp>
      <p:sp>
        <p:nvSpPr>
          <p:cNvPr id="9" name="Freeform 23">
            <a:extLst>
              <a:ext uri="{FF2B5EF4-FFF2-40B4-BE49-F238E27FC236}">
                <a16:creationId xmlns:a16="http://schemas.microsoft.com/office/drawing/2014/main" id="{68C35617-A7B0-7535-9BCA-FC8720752DE3}"/>
              </a:ext>
            </a:extLst>
          </p:cNvPr>
          <p:cNvSpPr/>
          <p:nvPr/>
        </p:nvSpPr>
        <p:spPr>
          <a:xfrm flipH="1">
            <a:off x="868480" y="3954833"/>
            <a:ext cx="3364825" cy="1068808"/>
          </a:xfrm>
          <a:custGeom>
            <a:avLst/>
            <a:gdLst>
              <a:gd name="connsiteX0" fmla="*/ 2093885 w 2349485"/>
              <a:gd name="connsiteY0" fmla="*/ 0 h 385762"/>
              <a:gd name="connsiteX1" fmla="*/ 257175 w 2349485"/>
              <a:gd name="connsiteY1" fmla="*/ 0 h 385762"/>
              <a:gd name="connsiteX2" fmla="*/ 0 w 2349485"/>
              <a:gd name="connsiteY2" fmla="*/ 385762 h 385762"/>
              <a:gd name="connsiteX3" fmla="*/ 257175 w 2349485"/>
              <a:gd name="connsiteY3" fmla="*/ 385762 h 385762"/>
              <a:gd name="connsiteX4" fmla="*/ 2093885 w 2349485"/>
              <a:gd name="connsiteY4" fmla="*/ 385762 h 385762"/>
              <a:gd name="connsiteX5" fmla="*/ 2349485 w 2349485"/>
              <a:gd name="connsiteY5" fmla="*/ 385762 h 385762"/>
              <a:gd name="connsiteX0" fmla="*/ 2093885 w 2466368"/>
              <a:gd name="connsiteY0" fmla="*/ 0 h 386651"/>
              <a:gd name="connsiteX1" fmla="*/ 257175 w 2466368"/>
              <a:gd name="connsiteY1" fmla="*/ 0 h 386651"/>
              <a:gd name="connsiteX2" fmla="*/ 0 w 2466368"/>
              <a:gd name="connsiteY2" fmla="*/ 385762 h 386651"/>
              <a:gd name="connsiteX3" fmla="*/ 257175 w 2466368"/>
              <a:gd name="connsiteY3" fmla="*/ 385762 h 386651"/>
              <a:gd name="connsiteX4" fmla="*/ 2093885 w 2466368"/>
              <a:gd name="connsiteY4" fmla="*/ 385762 h 386651"/>
              <a:gd name="connsiteX5" fmla="*/ 2466368 w 2466368"/>
              <a:gd name="connsiteY5" fmla="*/ 386651 h 386651"/>
              <a:gd name="connsiteX6" fmla="*/ 2093885 w 2466368"/>
              <a:gd name="connsiteY6" fmla="*/ 0 h 386651"/>
              <a:gd name="connsiteX0" fmla="*/ 2093885 w 2461930"/>
              <a:gd name="connsiteY0" fmla="*/ 0 h 386651"/>
              <a:gd name="connsiteX1" fmla="*/ 257175 w 2461930"/>
              <a:gd name="connsiteY1" fmla="*/ 0 h 386651"/>
              <a:gd name="connsiteX2" fmla="*/ 0 w 2461930"/>
              <a:gd name="connsiteY2" fmla="*/ 385762 h 386651"/>
              <a:gd name="connsiteX3" fmla="*/ 257175 w 2461930"/>
              <a:gd name="connsiteY3" fmla="*/ 385762 h 386651"/>
              <a:gd name="connsiteX4" fmla="*/ 2093885 w 2461930"/>
              <a:gd name="connsiteY4" fmla="*/ 385762 h 386651"/>
              <a:gd name="connsiteX5" fmla="*/ 2461930 w 2461930"/>
              <a:gd name="connsiteY5" fmla="*/ 386651 h 386651"/>
              <a:gd name="connsiteX6" fmla="*/ 2093885 w 2461930"/>
              <a:gd name="connsiteY6" fmla="*/ 0 h 386651"/>
              <a:gd name="connsiteX0" fmla="*/ 2093885 w 2093885"/>
              <a:gd name="connsiteY0" fmla="*/ 0 h 385762"/>
              <a:gd name="connsiteX1" fmla="*/ 257175 w 2093885"/>
              <a:gd name="connsiteY1" fmla="*/ 0 h 385762"/>
              <a:gd name="connsiteX2" fmla="*/ 0 w 2093885"/>
              <a:gd name="connsiteY2" fmla="*/ 385762 h 385762"/>
              <a:gd name="connsiteX3" fmla="*/ 257175 w 2093885"/>
              <a:gd name="connsiteY3" fmla="*/ 385762 h 385762"/>
              <a:gd name="connsiteX4" fmla="*/ 2093885 w 2093885"/>
              <a:gd name="connsiteY4" fmla="*/ 385762 h 385762"/>
              <a:gd name="connsiteX5" fmla="*/ 2093885 w 2093885"/>
              <a:gd name="connsiteY5" fmla="*/ 0 h 385762"/>
              <a:gd name="connsiteX0" fmla="*/ 2093885 w 2425299"/>
              <a:gd name="connsiteY0" fmla="*/ 0 h 385762"/>
              <a:gd name="connsiteX1" fmla="*/ 257175 w 2425299"/>
              <a:gd name="connsiteY1" fmla="*/ 0 h 385762"/>
              <a:gd name="connsiteX2" fmla="*/ 0 w 2425299"/>
              <a:gd name="connsiteY2" fmla="*/ 385762 h 385762"/>
              <a:gd name="connsiteX3" fmla="*/ 257175 w 2425299"/>
              <a:gd name="connsiteY3" fmla="*/ 385762 h 385762"/>
              <a:gd name="connsiteX4" fmla="*/ 2425299 w 2425299"/>
              <a:gd name="connsiteY4" fmla="*/ 383984 h 385762"/>
              <a:gd name="connsiteX5" fmla="*/ 2093885 w 2425299"/>
              <a:gd name="connsiteY5" fmla="*/ 0 h 385762"/>
              <a:gd name="connsiteX0" fmla="*/ 1836710 w 2168124"/>
              <a:gd name="connsiteY0" fmla="*/ 0 h 385762"/>
              <a:gd name="connsiteX1" fmla="*/ 0 w 2168124"/>
              <a:gd name="connsiteY1" fmla="*/ 0 h 385762"/>
              <a:gd name="connsiteX2" fmla="*/ 0 w 2168124"/>
              <a:gd name="connsiteY2" fmla="*/ 385762 h 385762"/>
              <a:gd name="connsiteX3" fmla="*/ 2168124 w 2168124"/>
              <a:gd name="connsiteY3" fmla="*/ 383984 h 385762"/>
              <a:gd name="connsiteX4" fmla="*/ 1836710 w 2168124"/>
              <a:gd name="connsiteY4" fmla="*/ 0 h 385762"/>
              <a:gd name="connsiteX0" fmla="*/ 2193275 w 2524689"/>
              <a:gd name="connsiteY0" fmla="*/ 0 h 383984"/>
              <a:gd name="connsiteX1" fmla="*/ 356565 w 2524689"/>
              <a:gd name="connsiteY1" fmla="*/ 0 h 383984"/>
              <a:gd name="connsiteX2" fmla="*/ 0 w 2524689"/>
              <a:gd name="connsiteY2" fmla="*/ 383984 h 383984"/>
              <a:gd name="connsiteX3" fmla="*/ 2524689 w 2524689"/>
              <a:gd name="connsiteY3" fmla="*/ 383984 h 383984"/>
              <a:gd name="connsiteX4" fmla="*/ 2193275 w 2524689"/>
              <a:gd name="connsiteY4" fmla="*/ 0 h 383984"/>
              <a:gd name="connsiteX0" fmla="*/ 2193275 w 2672121"/>
              <a:gd name="connsiteY0" fmla="*/ 0 h 549279"/>
              <a:gd name="connsiteX1" fmla="*/ 356565 w 2672121"/>
              <a:gd name="connsiteY1" fmla="*/ 0 h 549279"/>
              <a:gd name="connsiteX2" fmla="*/ 0 w 2672121"/>
              <a:gd name="connsiteY2" fmla="*/ 383984 h 549279"/>
              <a:gd name="connsiteX3" fmla="*/ 2672121 w 2672121"/>
              <a:gd name="connsiteY3" fmla="*/ 549279 h 549279"/>
              <a:gd name="connsiteX4" fmla="*/ 2193275 w 2672121"/>
              <a:gd name="connsiteY4" fmla="*/ 0 h 549279"/>
              <a:gd name="connsiteX0" fmla="*/ 2433127 w 2911973"/>
              <a:gd name="connsiteY0" fmla="*/ 0 h 549279"/>
              <a:gd name="connsiteX1" fmla="*/ 596417 w 2911973"/>
              <a:gd name="connsiteY1" fmla="*/ 0 h 549279"/>
              <a:gd name="connsiteX2" fmla="*/ 0 w 2911973"/>
              <a:gd name="connsiteY2" fmla="*/ 545312 h 549279"/>
              <a:gd name="connsiteX3" fmla="*/ 2911973 w 2911973"/>
              <a:gd name="connsiteY3" fmla="*/ 549279 h 549279"/>
              <a:gd name="connsiteX4" fmla="*/ 2433127 w 2911973"/>
              <a:gd name="connsiteY4" fmla="*/ 0 h 549279"/>
              <a:gd name="connsiteX0" fmla="*/ 2433127 w 2905372"/>
              <a:gd name="connsiteY0" fmla="*/ 0 h 549279"/>
              <a:gd name="connsiteX1" fmla="*/ 596417 w 2905372"/>
              <a:gd name="connsiteY1" fmla="*/ 0 h 549279"/>
              <a:gd name="connsiteX2" fmla="*/ 0 w 2905372"/>
              <a:gd name="connsiteY2" fmla="*/ 545312 h 549279"/>
              <a:gd name="connsiteX3" fmla="*/ 2905372 w 2905372"/>
              <a:gd name="connsiteY3" fmla="*/ 549279 h 549279"/>
              <a:gd name="connsiteX4" fmla="*/ 2433127 w 2905372"/>
              <a:gd name="connsiteY4" fmla="*/ 0 h 549279"/>
              <a:gd name="connsiteX0" fmla="*/ 2433127 w 2905372"/>
              <a:gd name="connsiteY0" fmla="*/ 1323 h 550602"/>
              <a:gd name="connsiteX1" fmla="*/ 1364384 w 2905372"/>
              <a:gd name="connsiteY1" fmla="*/ 0 h 550602"/>
              <a:gd name="connsiteX2" fmla="*/ 0 w 2905372"/>
              <a:gd name="connsiteY2" fmla="*/ 546635 h 550602"/>
              <a:gd name="connsiteX3" fmla="*/ 2905372 w 2905372"/>
              <a:gd name="connsiteY3" fmla="*/ 550602 h 550602"/>
              <a:gd name="connsiteX4" fmla="*/ 2433127 w 2905372"/>
              <a:gd name="connsiteY4" fmla="*/ 1323 h 550602"/>
              <a:gd name="connsiteX0" fmla="*/ 1568338 w 2040583"/>
              <a:gd name="connsiteY0" fmla="*/ 1323 h 550602"/>
              <a:gd name="connsiteX1" fmla="*/ 499595 w 2040583"/>
              <a:gd name="connsiteY1" fmla="*/ 0 h 550602"/>
              <a:gd name="connsiteX2" fmla="*/ 0 w 2040583"/>
              <a:gd name="connsiteY2" fmla="*/ 550602 h 550602"/>
              <a:gd name="connsiteX3" fmla="*/ 2040583 w 2040583"/>
              <a:gd name="connsiteY3" fmla="*/ 550602 h 550602"/>
              <a:gd name="connsiteX4" fmla="*/ 1568338 w 2040583"/>
              <a:gd name="connsiteY4" fmla="*/ 1323 h 550602"/>
              <a:gd name="connsiteX0" fmla="*/ 2142577 w 2614822"/>
              <a:gd name="connsiteY0" fmla="*/ 2645 h 551924"/>
              <a:gd name="connsiteX1" fmla="*/ 0 w 2614822"/>
              <a:gd name="connsiteY1" fmla="*/ 0 h 551924"/>
              <a:gd name="connsiteX2" fmla="*/ 574239 w 2614822"/>
              <a:gd name="connsiteY2" fmla="*/ 551924 h 551924"/>
              <a:gd name="connsiteX3" fmla="*/ 2614822 w 2614822"/>
              <a:gd name="connsiteY3" fmla="*/ 551924 h 551924"/>
              <a:gd name="connsiteX4" fmla="*/ 2142577 w 2614822"/>
              <a:gd name="connsiteY4" fmla="*/ 2645 h 551924"/>
              <a:gd name="connsiteX0" fmla="*/ 2694983 w 3167228"/>
              <a:gd name="connsiteY0" fmla="*/ 2645 h 551924"/>
              <a:gd name="connsiteX1" fmla="*/ 552406 w 3167228"/>
              <a:gd name="connsiteY1" fmla="*/ 0 h 551924"/>
              <a:gd name="connsiteX2" fmla="*/ 0 w 3167228"/>
              <a:gd name="connsiteY2" fmla="*/ 547957 h 551924"/>
              <a:gd name="connsiteX3" fmla="*/ 3167228 w 3167228"/>
              <a:gd name="connsiteY3" fmla="*/ 551924 h 551924"/>
              <a:gd name="connsiteX4" fmla="*/ 2694983 w 3167228"/>
              <a:gd name="connsiteY4" fmla="*/ 2645 h 551924"/>
              <a:gd name="connsiteX0" fmla="*/ 2692783 w 3167228"/>
              <a:gd name="connsiteY0" fmla="*/ 1323 h 551924"/>
              <a:gd name="connsiteX1" fmla="*/ 552406 w 3167228"/>
              <a:gd name="connsiteY1" fmla="*/ 0 h 551924"/>
              <a:gd name="connsiteX2" fmla="*/ 0 w 3167228"/>
              <a:gd name="connsiteY2" fmla="*/ 547957 h 551924"/>
              <a:gd name="connsiteX3" fmla="*/ 3167228 w 3167228"/>
              <a:gd name="connsiteY3" fmla="*/ 551924 h 551924"/>
              <a:gd name="connsiteX4" fmla="*/ 2692783 w 3167228"/>
              <a:gd name="connsiteY4" fmla="*/ 1323 h 551924"/>
              <a:gd name="connsiteX0" fmla="*/ 2692783 w 3167228"/>
              <a:gd name="connsiteY0" fmla="*/ 1323 h 551924"/>
              <a:gd name="connsiteX1" fmla="*/ 496878 w 3167228"/>
              <a:gd name="connsiteY1" fmla="*/ 0 h 551924"/>
              <a:gd name="connsiteX2" fmla="*/ 0 w 3167228"/>
              <a:gd name="connsiteY2" fmla="*/ 547957 h 551924"/>
              <a:gd name="connsiteX3" fmla="*/ 3167228 w 3167228"/>
              <a:gd name="connsiteY3" fmla="*/ 551924 h 551924"/>
              <a:gd name="connsiteX4" fmla="*/ 2692783 w 3167228"/>
              <a:gd name="connsiteY4" fmla="*/ 1323 h 551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7228" h="551924">
                <a:moveTo>
                  <a:pt x="2692783" y="1323"/>
                </a:moveTo>
                <a:lnTo>
                  <a:pt x="496878" y="0"/>
                </a:lnTo>
                <a:lnTo>
                  <a:pt x="0" y="547957"/>
                </a:lnTo>
                <a:lnTo>
                  <a:pt x="3167228" y="551924"/>
                </a:lnTo>
                <a:lnTo>
                  <a:pt x="2692783" y="1323"/>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ato" panose="020F0502020204030203" pitchFamily="34" charset="0"/>
              <a:ea typeface="+mn-ea"/>
              <a:cs typeface="+mn-cs"/>
              <a:sym typeface="Lato" panose="020F0502020204030203" pitchFamily="34" charset="0"/>
            </a:endParaRPr>
          </a:p>
        </p:txBody>
      </p:sp>
      <p:sp>
        <p:nvSpPr>
          <p:cNvPr id="11" name="Isosceles Triangle 10">
            <a:extLst>
              <a:ext uri="{FF2B5EF4-FFF2-40B4-BE49-F238E27FC236}">
                <a16:creationId xmlns:a16="http://schemas.microsoft.com/office/drawing/2014/main" id="{40385BBE-E11D-8E43-D34F-925247239D0D}"/>
              </a:ext>
            </a:extLst>
          </p:cNvPr>
          <p:cNvSpPr/>
          <p:nvPr/>
        </p:nvSpPr>
        <p:spPr>
          <a:xfrm>
            <a:off x="2004324" y="1526235"/>
            <a:ext cx="1024619" cy="1069224"/>
          </a:xfrm>
          <a:prstGeom prst="triangle">
            <a:avLst>
              <a:gd name="adj" fmla="val 48504"/>
            </a:avLst>
          </a:prstGeom>
          <a:solidFill>
            <a:schemeClr val="accent6">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ato" panose="020F0502020204030203" pitchFamily="34" charset="0"/>
              <a:ea typeface="+mn-ea"/>
              <a:cs typeface="+mn-cs"/>
              <a:sym typeface="Lato" panose="020F0502020204030203" pitchFamily="34" charset="0"/>
            </a:endParaRPr>
          </a:p>
        </p:txBody>
      </p:sp>
      <p:sp>
        <p:nvSpPr>
          <p:cNvPr id="13" name="Freeform 21">
            <a:extLst>
              <a:ext uri="{FF2B5EF4-FFF2-40B4-BE49-F238E27FC236}">
                <a16:creationId xmlns:a16="http://schemas.microsoft.com/office/drawing/2014/main" id="{818A332C-4F77-AF89-F926-EE022807D9BB}"/>
              </a:ext>
            </a:extLst>
          </p:cNvPr>
          <p:cNvSpPr/>
          <p:nvPr/>
        </p:nvSpPr>
        <p:spPr>
          <a:xfrm flipH="1">
            <a:off x="1438929" y="2737578"/>
            <a:ext cx="2168436" cy="1067846"/>
          </a:xfrm>
          <a:custGeom>
            <a:avLst/>
            <a:gdLst>
              <a:gd name="connsiteX0" fmla="*/ 1366836 w 1621629"/>
              <a:gd name="connsiteY0" fmla="*/ 0 h 385762"/>
              <a:gd name="connsiteX1" fmla="*/ 1366029 w 1621629"/>
              <a:gd name="connsiteY1" fmla="*/ 0 h 385762"/>
              <a:gd name="connsiteX2" fmla="*/ 257175 w 1621629"/>
              <a:gd name="connsiteY2" fmla="*/ 0 h 385762"/>
              <a:gd name="connsiteX3" fmla="*/ 257174 w 1621629"/>
              <a:gd name="connsiteY3" fmla="*/ 0 h 385762"/>
              <a:gd name="connsiteX4" fmla="*/ 257174 w 1621629"/>
              <a:gd name="connsiteY4" fmla="*/ 2 h 385762"/>
              <a:gd name="connsiteX5" fmla="*/ 0 w 1621629"/>
              <a:gd name="connsiteY5" fmla="*/ 385762 h 385762"/>
              <a:gd name="connsiteX6" fmla="*/ 257174 w 1621629"/>
              <a:gd name="connsiteY6" fmla="*/ 385762 h 385762"/>
              <a:gd name="connsiteX7" fmla="*/ 257175 w 1621629"/>
              <a:gd name="connsiteY7" fmla="*/ 385762 h 385762"/>
              <a:gd name="connsiteX8" fmla="*/ 1366029 w 1621629"/>
              <a:gd name="connsiteY8" fmla="*/ 385762 h 385762"/>
              <a:gd name="connsiteX9" fmla="*/ 1366836 w 1621629"/>
              <a:gd name="connsiteY9" fmla="*/ 385762 h 385762"/>
              <a:gd name="connsiteX10" fmla="*/ 1621629 w 1621629"/>
              <a:gd name="connsiteY10" fmla="*/ 385762 h 385762"/>
              <a:gd name="connsiteX11" fmla="*/ 1366836 w 1621629"/>
              <a:gd name="connsiteY11" fmla="*/ 1218 h 385762"/>
              <a:gd name="connsiteX0" fmla="*/ 1366836 w 1696239"/>
              <a:gd name="connsiteY0" fmla="*/ 0 h 386677"/>
              <a:gd name="connsiteX1" fmla="*/ 1366029 w 1696239"/>
              <a:gd name="connsiteY1" fmla="*/ 0 h 386677"/>
              <a:gd name="connsiteX2" fmla="*/ 257175 w 1696239"/>
              <a:gd name="connsiteY2" fmla="*/ 0 h 386677"/>
              <a:gd name="connsiteX3" fmla="*/ 257174 w 1696239"/>
              <a:gd name="connsiteY3" fmla="*/ 0 h 386677"/>
              <a:gd name="connsiteX4" fmla="*/ 257174 w 1696239"/>
              <a:gd name="connsiteY4" fmla="*/ 2 h 386677"/>
              <a:gd name="connsiteX5" fmla="*/ 0 w 1696239"/>
              <a:gd name="connsiteY5" fmla="*/ 385762 h 386677"/>
              <a:gd name="connsiteX6" fmla="*/ 257174 w 1696239"/>
              <a:gd name="connsiteY6" fmla="*/ 385762 h 386677"/>
              <a:gd name="connsiteX7" fmla="*/ 257175 w 1696239"/>
              <a:gd name="connsiteY7" fmla="*/ 385762 h 386677"/>
              <a:gd name="connsiteX8" fmla="*/ 1366029 w 1696239"/>
              <a:gd name="connsiteY8" fmla="*/ 385762 h 386677"/>
              <a:gd name="connsiteX9" fmla="*/ 1366836 w 1696239"/>
              <a:gd name="connsiteY9" fmla="*/ 385762 h 386677"/>
              <a:gd name="connsiteX10" fmla="*/ 1696239 w 1696239"/>
              <a:gd name="connsiteY10" fmla="*/ 386677 h 386677"/>
              <a:gd name="connsiteX11" fmla="*/ 1366836 w 1696239"/>
              <a:gd name="connsiteY11" fmla="*/ 1218 h 386677"/>
              <a:gd name="connsiteX12" fmla="*/ 1366836 w 1696239"/>
              <a:gd name="connsiteY12" fmla="*/ 0 h 386677"/>
              <a:gd name="connsiteX0" fmla="*/ 1446014 w 1775417"/>
              <a:gd name="connsiteY0" fmla="*/ 0 h 386677"/>
              <a:gd name="connsiteX1" fmla="*/ 1445207 w 1775417"/>
              <a:gd name="connsiteY1" fmla="*/ 0 h 386677"/>
              <a:gd name="connsiteX2" fmla="*/ 336353 w 1775417"/>
              <a:gd name="connsiteY2" fmla="*/ 0 h 386677"/>
              <a:gd name="connsiteX3" fmla="*/ 336352 w 1775417"/>
              <a:gd name="connsiteY3" fmla="*/ 0 h 386677"/>
              <a:gd name="connsiteX4" fmla="*/ 336352 w 1775417"/>
              <a:gd name="connsiteY4" fmla="*/ 2 h 386677"/>
              <a:gd name="connsiteX5" fmla="*/ 0 w 1775417"/>
              <a:gd name="connsiteY5" fmla="*/ 383933 h 386677"/>
              <a:gd name="connsiteX6" fmla="*/ 336352 w 1775417"/>
              <a:gd name="connsiteY6" fmla="*/ 385762 h 386677"/>
              <a:gd name="connsiteX7" fmla="*/ 336353 w 1775417"/>
              <a:gd name="connsiteY7" fmla="*/ 385762 h 386677"/>
              <a:gd name="connsiteX8" fmla="*/ 1445207 w 1775417"/>
              <a:gd name="connsiteY8" fmla="*/ 385762 h 386677"/>
              <a:gd name="connsiteX9" fmla="*/ 1446014 w 1775417"/>
              <a:gd name="connsiteY9" fmla="*/ 385762 h 386677"/>
              <a:gd name="connsiteX10" fmla="*/ 1775417 w 1775417"/>
              <a:gd name="connsiteY10" fmla="*/ 386677 h 386677"/>
              <a:gd name="connsiteX11" fmla="*/ 1446014 w 1775417"/>
              <a:gd name="connsiteY11" fmla="*/ 1218 h 386677"/>
              <a:gd name="connsiteX12" fmla="*/ 1446014 w 1775417"/>
              <a:gd name="connsiteY12" fmla="*/ 0 h 386677"/>
              <a:gd name="connsiteX0" fmla="*/ 1446014 w 1784639"/>
              <a:gd name="connsiteY0" fmla="*/ 0 h 387592"/>
              <a:gd name="connsiteX1" fmla="*/ 1445207 w 1784639"/>
              <a:gd name="connsiteY1" fmla="*/ 0 h 387592"/>
              <a:gd name="connsiteX2" fmla="*/ 336353 w 1784639"/>
              <a:gd name="connsiteY2" fmla="*/ 0 h 387592"/>
              <a:gd name="connsiteX3" fmla="*/ 336352 w 1784639"/>
              <a:gd name="connsiteY3" fmla="*/ 0 h 387592"/>
              <a:gd name="connsiteX4" fmla="*/ 336352 w 1784639"/>
              <a:gd name="connsiteY4" fmla="*/ 2 h 387592"/>
              <a:gd name="connsiteX5" fmla="*/ 0 w 1784639"/>
              <a:gd name="connsiteY5" fmla="*/ 383933 h 387592"/>
              <a:gd name="connsiteX6" fmla="*/ 336352 w 1784639"/>
              <a:gd name="connsiteY6" fmla="*/ 385762 h 387592"/>
              <a:gd name="connsiteX7" fmla="*/ 336353 w 1784639"/>
              <a:gd name="connsiteY7" fmla="*/ 385762 h 387592"/>
              <a:gd name="connsiteX8" fmla="*/ 1445207 w 1784639"/>
              <a:gd name="connsiteY8" fmla="*/ 385762 h 387592"/>
              <a:gd name="connsiteX9" fmla="*/ 1446014 w 1784639"/>
              <a:gd name="connsiteY9" fmla="*/ 385762 h 387592"/>
              <a:gd name="connsiteX10" fmla="*/ 1784639 w 1784639"/>
              <a:gd name="connsiteY10" fmla="*/ 387592 h 387592"/>
              <a:gd name="connsiteX11" fmla="*/ 1446014 w 1784639"/>
              <a:gd name="connsiteY11" fmla="*/ 1218 h 387592"/>
              <a:gd name="connsiteX12" fmla="*/ 1446014 w 1784639"/>
              <a:gd name="connsiteY12" fmla="*/ 0 h 387592"/>
              <a:gd name="connsiteX0" fmla="*/ 1446014 w 1941203"/>
              <a:gd name="connsiteY0" fmla="*/ 0 h 562425"/>
              <a:gd name="connsiteX1" fmla="*/ 1445207 w 1941203"/>
              <a:gd name="connsiteY1" fmla="*/ 0 h 562425"/>
              <a:gd name="connsiteX2" fmla="*/ 336353 w 1941203"/>
              <a:gd name="connsiteY2" fmla="*/ 0 h 562425"/>
              <a:gd name="connsiteX3" fmla="*/ 336352 w 1941203"/>
              <a:gd name="connsiteY3" fmla="*/ 0 h 562425"/>
              <a:gd name="connsiteX4" fmla="*/ 336352 w 1941203"/>
              <a:gd name="connsiteY4" fmla="*/ 2 h 562425"/>
              <a:gd name="connsiteX5" fmla="*/ 0 w 1941203"/>
              <a:gd name="connsiteY5" fmla="*/ 383933 h 562425"/>
              <a:gd name="connsiteX6" fmla="*/ 336352 w 1941203"/>
              <a:gd name="connsiteY6" fmla="*/ 385762 h 562425"/>
              <a:gd name="connsiteX7" fmla="*/ 336353 w 1941203"/>
              <a:gd name="connsiteY7" fmla="*/ 385762 h 562425"/>
              <a:gd name="connsiteX8" fmla="*/ 1445207 w 1941203"/>
              <a:gd name="connsiteY8" fmla="*/ 385762 h 562425"/>
              <a:gd name="connsiteX9" fmla="*/ 1446014 w 1941203"/>
              <a:gd name="connsiteY9" fmla="*/ 385762 h 562425"/>
              <a:gd name="connsiteX10" fmla="*/ 1941203 w 1941203"/>
              <a:gd name="connsiteY10" fmla="*/ 562425 h 562425"/>
              <a:gd name="connsiteX11" fmla="*/ 1446014 w 1941203"/>
              <a:gd name="connsiteY11" fmla="*/ 1218 h 562425"/>
              <a:gd name="connsiteX12" fmla="*/ 1446014 w 1941203"/>
              <a:gd name="connsiteY12" fmla="*/ 0 h 562425"/>
              <a:gd name="connsiteX0" fmla="*/ 1446014 w 1943881"/>
              <a:gd name="connsiteY0" fmla="*/ 0 h 569594"/>
              <a:gd name="connsiteX1" fmla="*/ 1445207 w 1943881"/>
              <a:gd name="connsiteY1" fmla="*/ 0 h 569594"/>
              <a:gd name="connsiteX2" fmla="*/ 336353 w 1943881"/>
              <a:gd name="connsiteY2" fmla="*/ 0 h 569594"/>
              <a:gd name="connsiteX3" fmla="*/ 336352 w 1943881"/>
              <a:gd name="connsiteY3" fmla="*/ 0 h 569594"/>
              <a:gd name="connsiteX4" fmla="*/ 336352 w 1943881"/>
              <a:gd name="connsiteY4" fmla="*/ 2 h 569594"/>
              <a:gd name="connsiteX5" fmla="*/ 0 w 1943881"/>
              <a:gd name="connsiteY5" fmla="*/ 383933 h 569594"/>
              <a:gd name="connsiteX6" fmla="*/ 336352 w 1943881"/>
              <a:gd name="connsiteY6" fmla="*/ 385762 h 569594"/>
              <a:gd name="connsiteX7" fmla="*/ 336353 w 1943881"/>
              <a:gd name="connsiteY7" fmla="*/ 385762 h 569594"/>
              <a:gd name="connsiteX8" fmla="*/ 1445207 w 1943881"/>
              <a:gd name="connsiteY8" fmla="*/ 385762 h 569594"/>
              <a:gd name="connsiteX9" fmla="*/ 1446014 w 1943881"/>
              <a:gd name="connsiteY9" fmla="*/ 385762 h 569594"/>
              <a:gd name="connsiteX10" fmla="*/ 1943881 w 1943881"/>
              <a:gd name="connsiteY10" fmla="*/ 569594 h 569594"/>
              <a:gd name="connsiteX11" fmla="*/ 1446014 w 1943881"/>
              <a:gd name="connsiteY11" fmla="*/ 1218 h 569594"/>
              <a:gd name="connsiteX12" fmla="*/ 1446014 w 1943881"/>
              <a:gd name="connsiteY12" fmla="*/ 0 h 569594"/>
              <a:gd name="connsiteX0" fmla="*/ 1446014 w 1943881"/>
              <a:gd name="connsiteY0" fmla="*/ 0 h 569594"/>
              <a:gd name="connsiteX1" fmla="*/ 1445207 w 1943881"/>
              <a:gd name="connsiteY1" fmla="*/ 0 h 569594"/>
              <a:gd name="connsiteX2" fmla="*/ 336353 w 1943881"/>
              <a:gd name="connsiteY2" fmla="*/ 0 h 569594"/>
              <a:gd name="connsiteX3" fmla="*/ 336352 w 1943881"/>
              <a:gd name="connsiteY3" fmla="*/ 0 h 569594"/>
              <a:gd name="connsiteX4" fmla="*/ 336352 w 1943881"/>
              <a:gd name="connsiteY4" fmla="*/ 2 h 569594"/>
              <a:gd name="connsiteX5" fmla="*/ 0 w 1943881"/>
              <a:gd name="connsiteY5" fmla="*/ 383933 h 569594"/>
              <a:gd name="connsiteX6" fmla="*/ 336352 w 1943881"/>
              <a:gd name="connsiteY6" fmla="*/ 385762 h 569594"/>
              <a:gd name="connsiteX7" fmla="*/ 336353 w 1943881"/>
              <a:gd name="connsiteY7" fmla="*/ 385762 h 569594"/>
              <a:gd name="connsiteX8" fmla="*/ 1445207 w 1943881"/>
              <a:gd name="connsiteY8" fmla="*/ 385762 h 569594"/>
              <a:gd name="connsiteX9" fmla="*/ 1943881 w 1943881"/>
              <a:gd name="connsiteY9" fmla="*/ 569594 h 569594"/>
              <a:gd name="connsiteX10" fmla="*/ 1446014 w 1943881"/>
              <a:gd name="connsiteY10" fmla="*/ 1218 h 569594"/>
              <a:gd name="connsiteX11" fmla="*/ 1446014 w 1943881"/>
              <a:gd name="connsiteY11" fmla="*/ 0 h 569594"/>
              <a:gd name="connsiteX0" fmla="*/ 1446014 w 1943881"/>
              <a:gd name="connsiteY0" fmla="*/ 0 h 655789"/>
              <a:gd name="connsiteX1" fmla="*/ 1445207 w 1943881"/>
              <a:gd name="connsiteY1" fmla="*/ 0 h 655789"/>
              <a:gd name="connsiteX2" fmla="*/ 336353 w 1943881"/>
              <a:gd name="connsiteY2" fmla="*/ 0 h 655789"/>
              <a:gd name="connsiteX3" fmla="*/ 336352 w 1943881"/>
              <a:gd name="connsiteY3" fmla="*/ 0 h 655789"/>
              <a:gd name="connsiteX4" fmla="*/ 336352 w 1943881"/>
              <a:gd name="connsiteY4" fmla="*/ 2 h 655789"/>
              <a:gd name="connsiteX5" fmla="*/ 0 w 1943881"/>
              <a:gd name="connsiteY5" fmla="*/ 383933 h 655789"/>
              <a:gd name="connsiteX6" fmla="*/ 336352 w 1943881"/>
              <a:gd name="connsiteY6" fmla="*/ 385762 h 655789"/>
              <a:gd name="connsiteX7" fmla="*/ 336353 w 1943881"/>
              <a:gd name="connsiteY7" fmla="*/ 385762 h 655789"/>
              <a:gd name="connsiteX8" fmla="*/ 1158700 w 1943881"/>
              <a:gd name="connsiteY8" fmla="*/ 655789 h 655789"/>
              <a:gd name="connsiteX9" fmla="*/ 1943881 w 1943881"/>
              <a:gd name="connsiteY9" fmla="*/ 569594 h 655789"/>
              <a:gd name="connsiteX10" fmla="*/ 1446014 w 1943881"/>
              <a:gd name="connsiteY10" fmla="*/ 1218 h 655789"/>
              <a:gd name="connsiteX11" fmla="*/ 1446014 w 1943881"/>
              <a:gd name="connsiteY11" fmla="*/ 0 h 655789"/>
              <a:gd name="connsiteX0" fmla="*/ 1446014 w 1943881"/>
              <a:gd name="connsiteY0" fmla="*/ 0 h 569594"/>
              <a:gd name="connsiteX1" fmla="*/ 1445207 w 1943881"/>
              <a:gd name="connsiteY1" fmla="*/ 0 h 569594"/>
              <a:gd name="connsiteX2" fmla="*/ 336353 w 1943881"/>
              <a:gd name="connsiteY2" fmla="*/ 0 h 569594"/>
              <a:gd name="connsiteX3" fmla="*/ 336352 w 1943881"/>
              <a:gd name="connsiteY3" fmla="*/ 0 h 569594"/>
              <a:gd name="connsiteX4" fmla="*/ 336352 w 1943881"/>
              <a:gd name="connsiteY4" fmla="*/ 2 h 569594"/>
              <a:gd name="connsiteX5" fmla="*/ 0 w 1943881"/>
              <a:gd name="connsiteY5" fmla="*/ 383933 h 569594"/>
              <a:gd name="connsiteX6" fmla="*/ 336352 w 1943881"/>
              <a:gd name="connsiteY6" fmla="*/ 385762 h 569594"/>
              <a:gd name="connsiteX7" fmla="*/ 336353 w 1943881"/>
              <a:gd name="connsiteY7" fmla="*/ 385762 h 569594"/>
              <a:gd name="connsiteX8" fmla="*/ 1943881 w 1943881"/>
              <a:gd name="connsiteY8" fmla="*/ 569594 h 569594"/>
              <a:gd name="connsiteX9" fmla="*/ 1446014 w 1943881"/>
              <a:gd name="connsiteY9" fmla="*/ 1218 h 569594"/>
              <a:gd name="connsiteX10" fmla="*/ 1446014 w 1943881"/>
              <a:gd name="connsiteY10" fmla="*/ 0 h 569594"/>
              <a:gd name="connsiteX0" fmla="*/ 1446014 w 1943881"/>
              <a:gd name="connsiteY0" fmla="*/ 0 h 569594"/>
              <a:gd name="connsiteX1" fmla="*/ 1445207 w 1943881"/>
              <a:gd name="connsiteY1" fmla="*/ 0 h 569594"/>
              <a:gd name="connsiteX2" fmla="*/ 336353 w 1943881"/>
              <a:gd name="connsiteY2" fmla="*/ 0 h 569594"/>
              <a:gd name="connsiteX3" fmla="*/ 336352 w 1943881"/>
              <a:gd name="connsiteY3" fmla="*/ 0 h 569594"/>
              <a:gd name="connsiteX4" fmla="*/ 336352 w 1943881"/>
              <a:gd name="connsiteY4" fmla="*/ 2 h 569594"/>
              <a:gd name="connsiteX5" fmla="*/ 0 w 1943881"/>
              <a:gd name="connsiteY5" fmla="*/ 383933 h 569594"/>
              <a:gd name="connsiteX6" fmla="*/ 336352 w 1943881"/>
              <a:gd name="connsiteY6" fmla="*/ 385762 h 569594"/>
              <a:gd name="connsiteX7" fmla="*/ 1943881 w 1943881"/>
              <a:gd name="connsiteY7" fmla="*/ 569594 h 569594"/>
              <a:gd name="connsiteX8" fmla="*/ 1446014 w 1943881"/>
              <a:gd name="connsiteY8" fmla="*/ 1218 h 569594"/>
              <a:gd name="connsiteX9" fmla="*/ 1446014 w 1943881"/>
              <a:gd name="connsiteY9" fmla="*/ 0 h 569594"/>
              <a:gd name="connsiteX0" fmla="*/ 1446014 w 1943881"/>
              <a:gd name="connsiteY0" fmla="*/ 0 h 569594"/>
              <a:gd name="connsiteX1" fmla="*/ 1445207 w 1943881"/>
              <a:gd name="connsiteY1" fmla="*/ 0 h 569594"/>
              <a:gd name="connsiteX2" fmla="*/ 336353 w 1943881"/>
              <a:gd name="connsiteY2" fmla="*/ 0 h 569594"/>
              <a:gd name="connsiteX3" fmla="*/ 336352 w 1943881"/>
              <a:gd name="connsiteY3" fmla="*/ 0 h 569594"/>
              <a:gd name="connsiteX4" fmla="*/ 336352 w 1943881"/>
              <a:gd name="connsiteY4" fmla="*/ 2 h 569594"/>
              <a:gd name="connsiteX5" fmla="*/ 0 w 1943881"/>
              <a:gd name="connsiteY5" fmla="*/ 383933 h 569594"/>
              <a:gd name="connsiteX6" fmla="*/ 1943881 w 1943881"/>
              <a:gd name="connsiteY6" fmla="*/ 569594 h 569594"/>
              <a:gd name="connsiteX7" fmla="*/ 1446014 w 1943881"/>
              <a:gd name="connsiteY7" fmla="*/ 1218 h 569594"/>
              <a:gd name="connsiteX8" fmla="*/ 1446014 w 1943881"/>
              <a:gd name="connsiteY8" fmla="*/ 0 h 569594"/>
              <a:gd name="connsiteX0" fmla="*/ 1446014 w 1939865"/>
              <a:gd name="connsiteY0" fmla="*/ 0 h 567204"/>
              <a:gd name="connsiteX1" fmla="*/ 1445207 w 1939865"/>
              <a:gd name="connsiteY1" fmla="*/ 0 h 567204"/>
              <a:gd name="connsiteX2" fmla="*/ 336353 w 1939865"/>
              <a:gd name="connsiteY2" fmla="*/ 0 h 567204"/>
              <a:gd name="connsiteX3" fmla="*/ 336352 w 1939865"/>
              <a:gd name="connsiteY3" fmla="*/ 0 h 567204"/>
              <a:gd name="connsiteX4" fmla="*/ 336352 w 1939865"/>
              <a:gd name="connsiteY4" fmla="*/ 2 h 567204"/>
              <a:gd name="connsiteX5" fmla="*/ 0 w 1939865"/>
              <a:gd name="connsiteY5" fmla="*/ 383933 h 567204"/>
              <a:gd name="connsiteX6" fmla="*/ 1939865 w 1939865"/>
              <a:gd name="connsiteY6" fmla="*/ 567204 h 567204"/>
              <a:gd name="connsiteX7" fmla="*/ 1446014 w 1939865"/>
              <a:gd name="connsiteY7" fmla="*/ 1218 h 567204"/>
              <a:gd name="connsiteX8" fmla="*/ 1446014 w 1939865"/>
              <a:gd name="connsiteY8" fmla="*/ 0 h 567204"/>
              <a:gd name="connsiteX0" fmla="*/ 1626754 w 2120605"/>
              <a:gd name="connsiteY0" fmla="*/ 0 h 567204"/>
              <a:gd name="connsiteX1" fmla="*/ 1625947 w 2120605"/>
              <a:gd name="connsiteY1" fmla="*/ 0 h 567204"/>
              <a:gd name="connsiteX2" fmla="*/ 517093 w 2120605"/>
              <a:gd name="connsiteY2" fmla="*/ 0 h 567204"/>
              <a:gd name="connsiteX3" fmla="*/ 517092 w 2120605"/>
              <a:gd name="connsiteY3" fmla="*/ 0 h 567204"/>
              <a:gd name="connsiteX4" fmla="*/ 517092 w 2120605"/>
              <a:gd name="connsiteY4" fmla="*/ 2 h 567204"/>
              <a:gd name="connsiteX5" fmla="*/ 0 w 2120605"/>
              <a:gd name="connsiteY5" fmla="*/ 563951 h 567204"/>
              <a:gd name="connsiteX6" fmla="*/ 2120605 w 2120605"/>
              <a:gd name="connsiteY6" fmla="*/ 567204 h 567204"/>
              <a:gd name="connsiteX7" fmla="*/ 1626754 w 2120605"/>
              <a:gd name="connsiteY7" fmla="*/ 1218 h 567204"/>
              <a:gd name="connsiteX8" fmla="*/ 1626754 w 2120605"/>
              <a:gd name="connsiteY8" fmla="*/ 0 h 567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20605" h="567204">
                <a:moveTo>
                  <a:pt x="1626754" y="0"/>
                </a:moveTo>
                <a:lnTo>
                  <a:pt x="1625947" y="0"/>
                </a:lnTo>
                <a:lnTo>
                  <a:pt x="517093" y="0"/>
                </a:lnTo>
                <a:lnTo>
                  <a:pt x="517092" y="0"/>
                </a:lnTo>
                <a:lnTo>
                  <a:pt x="517092" y="2"/>
                </a:lnTo>
                <a:lnTo>
                  <a:pt x="0" y="563951"/>
                </a:lnTo>
                <a:lnTo>
                  <a:pt x="2120605" y="567204"/>
                </a:lnTo>
                <a:lnTo>
                  <a:pt x="1626754" y="1218"/>
                </a:lnTo>
                <a:lnTo>
                  <a:pt x="1626754" y="0"/>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ato" panose="020F0502020204030203" pitchFamily="34" charset="0"/>
              <a:ea typeface="+mn-ea"/>
              <a:cs typeface="+mn-cs"/>
              <a:sym typeface="Lato" panose="020F0502020204030203" pitchFamily="34" charset="0"/>
            </a:endParaRPr>
          </a:p>
        </p:txBody>
      </p:sp>
      <p:sp>
        <p:nvSpPr>
          <p:cNvPr id="14" name="Rectangle 13">
            <a:extLst>
              <a:ext uri="{FF2B5EF4-FFF2-40B4-BE49-F238E27FC236}">
                <a16:creationId xmlns:a16="http://schemas.microsoft.com/office/drawing/2014/main" id="{4C486DE2-2F3B-E700-0210-1A121D57394D}"/>
              </a:ext>
            </a:extLst>
          </p:cNvPr>
          <p:cNvSpPr/>
          <p:nvPr/>
        </p:nvSpPr>
        <p:spPr>
          <a:xfrm>
            <a:off x="4937350" y="1712966"/>
            <a:ext cx="2757490" cy="646331"/>
          </a:xfrm>
          <a:prstGeom prst="rect">
            <a:avLst/>
          </a:prstGeom>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3C3C3B"/>
                </a:solidFill>
                <a:effectLst/>
                <a:uLnTx/>
                <a:uFillTx/>
                <a:latin typeface="Lato"/>
                <a:ea typeface="Lato"/>
                <a:cs typeface="Lato"/>
                <a:sym typeface="Lato" panose="020F0502020204030203" pitchFamily="34" charset="0"/>
              </a:rPr>
              <a:t>Advisory</a:t>
            </a:r>
            <a:br>
              <a:rPr kumimoji="0" lang="en-US" sz="2000" b="1" i="0" u="none" strike="noStrike" kern="1200" cap="none" spc="0" normalizeH="0" baseline="0" noProof="0">
                <a:ln>
                  <a:noFill/>
                </a:ln>
                <a:solidFill>
                  <a:srgbClr val="3C3C3B"/>
                </a:solidFill>
                <a:effectLst/>
                <a:uLnTx/>
                <a:uFillTx/>
                <a:latin typeface="Lato" panose="020F0502020204030203" pitchFamily="34" charset="0"/>
                <a:ea typeface="+mn-ea"/>
                <a:cs typeface="+mn-cs"/>
              </a:rPr>
            </a:br>
            <a:r>
              <a:rPr kumimoji="0" lang="en-US" sz="1200" b="1" i="0" u="none" strike="noStrike" kern="1200" cap="none" spc="0" normalizeH="0" baseline="0" noProof="0">
                <a:ln>
                  <a:noFill/>
                </a:ln>
                <a:solidFill>
                  <a:srgbClr val="3C3C3B"/>
                </a:solidFill>
                <a:effectLst/>
                <a:uLnTx/>
                <a:uFillTx/>
                <a:latin typeface="Lato"/>
                <a:ea typeface="Lato"/>
                <a:cs typeface="Lato"/>
                <a:sym typeface="Lato" panose="020F0502020204030203" pitchFamily="34" charset="0"/>
              </a:rPr>
              <a:t>Access tailored expert advice</a:t>
            </a:r>
            <a:br>
              <a:rPr kumimoji="0" lang="en-US" sz="1200" b="1" i="0" u="none" strike="noStrike" kern="1200" cap="none" spc="0" normalizeH="0" baseline="0" noProof="0">
                <a:ln>
                  <a:noFill/>
                </a:ln>
                <a:solidFill>
                  <a:srgbClr val="3C3C3B"/>
                </a:solidFill>
                <a:effectLst/>
                <a:uLnTx/>
                <a:uFillTx/>
                <a:latin typeface="Lato"/>
                <a:ea typeface="Lato"/>
                <a:cs typeface="Lato"/>
                <a:sym typeface="Lato" panose="020F0502020204030203" pitchFamily="34" charset="0"/>
              </a:rPr>
            </a:br>
            <a:r>
              <a:rPr kumimoji="0" lang="en-US" sz="1200" b="1" i="0" u="none" strike="noStrike" kern="1200" cap="none" spc="0" normalizeH="0" baseline="0" noProof="0">
                <a:ln>
                  <a:noFill/>
                </a:ln>
                <a:solidFill>
                  <a:srgbClr val="3C3C3B"/>
                </a:solidFill>
                <a:effectLst/>
                <a:uLnTx/>
                <a:uFillTx/>
                <a:latin typeface="Lato"/>
                <a:ea typeface="Lato"/>
                <a:cs typeface="Lato"/>
                <a:sym typeface="Lato" panose="020F0502020204030203" pitchFamily="34" charset="0"/>
              </a:rPr>
              <a:t>and analytics for your crucial projects</a:t>
            </a:r>
          </a:p>
        </p:txBody>
      </p:sp>
      <p:sp>
        <p:nvSpPr>
          <p:cNvPr id="15" name="Rectangle 14">
            <a:extLst>
              <a:ext uri="{FF2B5EF4-FFF2-40B4-BE49-F238E27FC236}">
                <a16:creationId xmlns:a16="http://schemas.microsoft.com/office/drawing/2014/main" id="{CAD25B3C-61D2-27CD-FCFF-814A59843969}"/>
              </a:ext>
            </a:extLst>
          </p:cNvPr>
          <p:cNvSpPr/>
          <p:nvPr/>
        </p:nvSpPr>
        <p:spPr>
          <a:xfrm>
            <a:off x="4937349" y="2940405"/>
            <a:ext cx="2492184" cy="646331"/>
          </a:xfrm>
          <a:prstGeom prst="rect">
            <a:avLst/>
          </a:prstGeom>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3C3C3B"/>
                </a:solidFill>
                <a:effectLst/>
                <a:uLnTx/>
                <a:uFillTx/>
                <a:latin typeface="Lato"/>
                <a:ea typeface="Lato"/>
                <a:cs typeface="Lato"/>
                <a:sym typeface="Lato" panose="020F0502020204030203" pitchFamily="34" charset="0"/>
              </a:rPr>
              <a:t>Software Solutions</a:t>
            </a:r>
            <a:br>
              <a:rPr kumimoji="0" lang="en-US" sz="2000" b="1" i="0" u="none" strike="noStrike" kern="1200" cap="none" spc="0" normalizeH="0" baseline="0" noProof="0">
                <a:ln>
                  <a:noFill/>
                </a:ln>
                <a:solidFill>
                  <a:srgbClr val="3C3C3B"/>
                </a:solidFill>
                <a:effectLst/>
                <a:uLnTx/>
                <a:uFillTx/>
                <a:latin typeface="Lato" panose="020F0502020204030203" pitchFamily="34" charset="0"/>
                <a:ea typeface="+mn-ea"/>
                <a:cs typeface="+mn-cs"/>
              </a:rPr>
            </a:br>
            <a:r>
              <a:rPr kumimoji="0" lang="en-US" sz="1200" b="1" i="0" u="none" strike="noStrike" kern="1200" cap="none" spc="0" normalizeH="0" baseline="0" noProof="0">
                <a:ln>
                  <a:noFill/>
                </a:ln>
                <a:solidFill>
                  <a:srgbClr val="3C3C3B"/>
                </a:solidFill>
                <a:effectLst/>
                <a:uLnTx/>
                <a:uFillTx/>
                <a:latin typeface="Lato"/>
                <a:ea typeface="Lato"/>
                <a:cs typeface="Lato"/>
                <a:sym typeface="Lato" panose="020F0502020204030203" pitchFamily="34" charset="0"/>
              </a:rPr>
              <a:t>Make standard analysis bespoke through direct access to our models</a:t>
            </a:r>
            <a:endParaRPr kumimoji="0" lang="en-US" sz="1200" b="1" i="0" u="none" strike="noStrike" kern="1200" cap="none" spc="0" normalizeH="0" baseline="0" noProof="0">
              <a:ln>
                <a:noFill/>
              </a:ln>
              <a:solidFill>
                <a:srgbClr val="3C3C3B"/>
              </a:solidFill>
              <a:effectLst/>
              <a:uLnTx/>
              <a:uFillTx/>
              <a:latin typeface="Lato"/>
              <a:ea typeface="Lato"/>
              <a:cs typeface="Lato"/>
            </a:endParaRPr>
          </a:p>
        </p:txBody>
      </p:sp>
      <p:sp>
        <p:nvSpPr>
          <p:cNvPr id="16" name="Rectangle 15">
            <a:extLst>
              <a:ext uri="{FF2B5EF4-FFF2-40B4-BE49-F238E27FC236}">
                <a16:creationId xmlns:a16="http://schemas.microsoft.com/office/drawing/2014/main" id="{E889A9C6-441F-DF3F-885A-3D5EF5FF0793}"/>
              </a:ext>
            </a:extLst>
          </p:cNvPr>
          <p:cNvSpPr/>
          <p:nvPr/>
        </p:nvSpPr>
        <p:spPr>
          <a:xfrm>
            <a:off x="4937349" y="4049702"/>
            <a:ext cx="2492188" cy="830997"/>
          </a:xfrm>
          <a:prstGeom prst="rect">
            <a:avLst/>
          </a:prstGeom>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3C3C3B"/>
                </a:solidFill>
                <a:effectLst/>
                <a:uLnTx/>
                <a:uFillTx/>
                <a:latin typeface="Lato"/>
                <a:ea typeface="Lato"/>
                <a:cs typeface="Lato"/>
                <a:sym typeface="Lato" panose="020F0502020204030203" pitchFamily="34" charset="0"/>
              </a:rPr>
              <a:t>Subscription Analytic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C3C3B"/>
                </a:solidFill>
                <a:effectLst/>
                <a:uLnTx/>
                <a:uFillTx/>
                <a:latin typeface="Lato"/>
                <a:ea typeface="Lato"/>
                <a:cs typeface="Lato"/>
                <a:sym typeface="Lato" panose="020F0502020204030203" pitchFamily="34" charset="0"/>
              </a:rPr>
              <a:t>Receive regularly updated forecasts, sample investment cases and</a:t>
            </a:r>
            <a:br>
              <a:rPr kumimoji="0" lang="en-US" sz="1200" b="1" i="0" u="none" strike="noStrike" kern="1200" cap="none" spc="0" normalizeH="0" baseline="0" noProof="0">
                <a:ln>
                  <a:noFill/>
                </a:ln>
                <a:solidFill>
                  <a:srgbClr val="3C3C3B"/>
                </a:solidFill>
                <a:effectLst/>
                <a:uLnTx/>
                <a:uFillTx/>
                <a:latin typeface="Lato"/>
                <a:ea typeface="Lato"/>
                <a:cs typeface="Lato"/>
                <a:sym typeface="Lato" panose="020F0502020204030203" pitchFamily="34" charset="0"/>
              </a:rPr>
            </a:br>
            <a:r>
              <a:rPr kumimoji="0" lang="en-US" sz="1200" b="1" i="0" u="none" strike="noStrike" kern="1200" cap="none" spc="0" normalizeH="0" baseline="0" noProof="0">
                <a:ln>
                  <a:noFill/>
                </a:ln>
                <a:solidFill>
                  <a:srgbClr val="3C3C3B"/>
                </a:solidFill>
                <a:effectLst/>
                <a:uLnTx/>
                <a:uFillTx/>
                <a:latin typeface="Lato"/>
                <a:ea typeface="Lato"/>
                <a:cs typeface="Lato"/>
                <a:sym typeface="Lato" panose="020F0502020204030203" pitchFamily="34" charset="0"/>
              </a:rPr>
              <a:t>timely deep-dives</a:t>
            </a:r>
            <a:endParaRPr kumimoji="0" lang="en-US" sz="1200" b="1" i="0" u="none" strike="noStrike" kern="1200" cap="none" spc="0" normalizeH="0" baseline="0" noProof="0">
              <a:ln>
                <a:noFill/>
              </a:ln>
              <a:solidFill>
                <a:srgbClr val="3C3C3B"/>
              </a:solidFill>
              <a:effectLst/>
              <a:uLnTx/>
              <a:uFillTx/>
              <a:latin typeface="Lato"/>
              <a:ea typeface="Lato"/>
              <a:cs typeface="Lato"/>
            </a:endParaRPr>
          </a:p>
        </p:txBody>
      </p:sp>
      <p:grpSp>
        <p:nvGrpSpPr>
          <p:cNvPr id="23" name="Group 22">
            <a:extLst>
              <a:ext uri="{FF2B5EF4-FFF2-40B4-BE49-F238E27FC236}">
                <a16:creationId xmlns:a16="http://schemas.microsoft.com/office/drawing/2014/main" id="{D2B51175-94DD-2225-CD2E-A807622442AA}"/>
              </a:ext>
            </a:extLst>
          </p:cNvPr>
          <p:cNvGrpSpPr/>
          <p:nvPr/>
        </p:nvGrpSpPr>
        <p:grpSpPr>
          <a:xfrm>
            <a:off x="2231597" y="2942925"/>
            <a:ext cx="583988" cy="583988"/>
            <a:chOff x="7613650" y="1387475"/>
            <a:chExt cx="284163" cy="284163"/>
          </a:xfrm>
          <a:solidFill>
            <a:schemeClr val="bg1"/>
          </a:solidFill>
        </p:grpSpPr>
        <p:sp>
          <p:nvSpPr>
            <p:cNvPr id="24" name="Freeform 4359">
              <a:extLst>
                <a:ext uri="{FF2B5EF4-FFF2-40B4-BE49-F238E27FC236}">
                  <a16:creationId xmlns:a16="http://schemas.microsoft.com/office/drawing/2014/main" id="{5267EEBE-FBCA-6DD4-81C9-762693FF2DA1}"/>
                </a:ext>
              </a:extLst>
            </p:cNvPr>
            <p:cNvSpPr>
              <a:spLocks noEditPoints="1"/>
            </p:cNvSpPr>
            <p:nvPr/>
          </p:nvSpPr>
          <p:spPr bwMode="auto">
            <a:xfrm>
              <a:off x="7613650" y="1471613"/>
              <a:ext cx="200025" cy="200025"/>
            </a:xfrm>
            <a:custGeom>
              <a:avLst/>
              <a:gdLst>
                <a:gd name="T0" fmla="*/ 276 w 629"/>
                <a:gd name="T1" fmla="*/ 436 h 629"/>
                <a:gd name="T2" fmla="*/ 233 w 629"/>
                <a:gd name="T3" fmla="*/ 411 h 629"/>
                <a:gd name="T4" fmla="*/ 202 w 629"/>
                <a:gd name="T5" fmla="*/ 374 h 629"/>
                <a:gd name="T6" fmla="*/ 187 w 629"/>
                <a:gd name="T7" fmla="*/ 325 h 629"/>
                <a:gd name="T8" fmla="*/ 192 w 629"/>
                <a:gd name="T9" fmla="*/ 274 h 629"/>
                <a:gd name="T10" fmla="*/ 216 w 629"/>
                <a:gd name="T11" fmla="*/ 231 h 629"/>
                <a:gd name="T12" fmla="*/ 253 w 629"/>
                <a:gd name="T13" fmla="*/ 199 h 629"/>
                <a:gd name="T14" fmla="*/ 301 w 629"/>
                <a:gd name="T15" fmla="*/ 184 h 629"/>
                <a:gd name="T16" fmla="*/ 352 w 629"/>
                <a:gd name="T17" fmla="*/ 190 h 629"/>
                <a:gd name="T18" fmla="*/ 395 w 629"/>
                <a:gd name="T19" fmla="*/ 213 h 629"/>
                <a:gd name="T20" fmla="*/ 426 w 629"/>
                <a:gd name="T21" fmla="*/ 252 h 629"/>
                <a:gd name="T22" fmla="*/ 441 w 629"/>
                <a:gd name="T23" fmla="*/ 300 h 629"/>
                <a:gd name="T24" fmla="*/ 436 w 629"/>
                <a:gd name="T25" fmla="*/ 350 h 629"/>
                <a:gd name="T26" fmla="*/ 413 w 629"/>
                <a:gd name="T27" fmla="*/ 394 h 629"/>
                <a:gd name="T28" fmla="*/ 375 w 629"/>
                <a:gd name="T29" fmla="*/ 425 h 629"/>
                <a:gd name="T30" fmla="*/ 327 w 629"/>
                <a:gd name="T31" fmla="*/ 440 h 629"/>
                <a:gd name="T32" fmla="*/ 572 w 629"/>
                <a:gd name="T33" fmla="*/ 346 h 629"/>
                <a:gd name="T34" fmla="*/ 574 w 629"/>
                <a:gd name="T35" fmla="*/ 302 h 629"/>
                <a:gd name="T36" fmla="*/ 620 w 629"/>
                <a:gd name="T37" fmla="*/ 241 h 629"/>
                <a:gd name="T38" fmla="*/ 628 w 629"/>
                <a:gd name="T39" fmla="*/ 231 h 629"/>
                <a:gd name="T40" fmla="*/ 625 w 629"/>
                <a:gd name="T41" fmla="*/ 219 h 629"/>
                <a:gd name="T42" fmla="*/ 544 w 629"/>
                <a:gd name="T43" fmla="*/ 84 h 629"/>
                <a:gd name="T44" fmla="*/ 532 w 629"/>
                <a:gd name="T45" fmla="*/ 83 h 629"/>
                <a:gd name="T46" fmla="*/ 447 w 629"/>
                <a:gd name="T47" fmla="*/ 88 h 629"/>
                <a:gd name="T48" fmla="*/ 407 w 629"/>
                <a:gd name="T49" fmla="*/ 69 h 629"/>
                <a:gd name="T50" fmla="*/ 404 w 629"/>
                <a:gd name="T51" fmla="*/ 7 h 629"/>
                <a:gd name="T52" fmla="*/ 395 w 629"/>
                <a:gd name="T53" fmla="*/ 0 h 629"/>
                <a:gd name="T54" fmla="*/ 235 w 629"/>
                <a:gd name="T55" fmla="*/ 1 h 629"/>
                <a:gd name="T56" fmla="*/ 227 w 629"/>
                <a:gd name="T57" fmla="*/ 10 h 629"/>
                <a:gd name="T58" fmla="*/ 216 w 629"/>
                <a:gd name="T59" fmla="*/ 72 h 629"/>
                <a:gd name="T60" fmla="*/ 177 w 629"/>
                <a:gd name="T61" fmla="*/ 91 h 629"/>
                <a:gd name="T62" fmla="*/ 98 w 629"/>
                <a:gd name="T63" fmla="*/ 84 h 629"/>
                <a:gd name="T64" fmla="*/ 87 w 629"/>
                <a:gd name="T65" fmla="*/ 83 h 629"/>
                <a:gd name="T66" fmla="*/ 78 w 629"/>
                <a:gd name="T67" fmla="*/ 90 h 629"/>
                <a:gd name="T68" fmla="*/ 1 w 629"/>
                <a:gd name="T69" fmla="*/ 228 h 629"/>
                <a:gd name="T70" fmla="*/ 57 w 629"/>
                <a:gd name="T71" fmla="*/ 269 h 629"/>
                <a:gd name="T72" fmla="*/ 54 w 629"/>
                <a:gd name="T73" fmla="*/ 313 h 629"/>
                <a:gd name="T74" fmla="*/ 57 w 629"/>
                <a:gd name="T75" fmla="*/ 355 h 629"/>
                <a:gd name="T76" fmla="*/ 2 w 629"/>
                <a:gd name="T77" fmla="*/ 391 h 629"/>
                <a:gd name="T78" fmla="*/ 1 w 629"/>
                <a:gd name="T79" fmla="*/ 402 h 629"/>
                <a:gd name="T80" fmla="*/ 86 w 629"/>
                <a:gd name="T81" fmla="*/ 543 h 629"/>
                <a:gd name="T82" fmla="*/ 98 w 629"/>
                <a:gd name="T83" fmla="*/ 542 h 629"/>
                <a:gd name="T84" fmla="*/ 177 w 629"/>
                <a:gd name="T85" fmla="*/ 533 h 629"/>
                <a:gd name="T86" fmla="*/ 216 w 629"/>
                <a:gd name="T87" fmla="*/ 552 h 629"/>
                <a:gd name="T88" fmla="*/ 227 w 629"/>
                <a:gd name="T89" fmla="*/ 620 h 629"/>
                <a:gd name="T90" fmla="*/ 235 w 629"/>
                <a:gd name="T91" fmla="*/ 628 h 629"/>
                <a:gd name="T92" fmla="*/ 395 w 629"/>
                <a:gd name="T93" fmla="*/ 629 h 629"/>
                <a:gd name="T94" fmla="*/ 404 w 629"/>
                <a:gd name="T95" fmla="*/ 623 h 629"/>
                <a:gd name="T96" fmla="*/ 407 w 629"/>
                <a:gd name="T97" fmla="*/ 556 h 629"/>
                <a:gd name="T98" fmla="*/ 447 w 629"/>
                <a:gd name="T99" fmla="*/ 538 h 629"/>
                <a:gd name="T100" fmla="*/ 533 w 629"/>
                <a:gd name="T101" fmla="*/ 543 h 629"/>
                <a:gd name="T102" fmla="*/ 545 w 629"/>
                <a:gd name="T103" fmla="*/ 543 h 629"/>
                <a:gd name="T104" fmla="*/ 627 w 629"/>
                <a:gd name="T105" fmla="*/ 405 h 629"/>
                <a:gd name="T106" fmla="*/ 628 w 629"/>
                <a:gd name="T107" fmla="*/ 394 h 629"/>
                <a:gd name="T108" fmla="*/ 621 w 629"/>
                <a:gd name="T109" fmla="*/ 385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29" h="629">
                  <a:moveTo>
                    <a:pt x="314" y="441"/>
                  </a:moveTo>
                  <a:lnTo>
                    <a:pt x="301" y="440"/>
                  </a:lnTo>
                  <a:lnTo>
                    <a:pt x="288" y="439"/>
                  </a:lnTo>
                  <a:lnTo>
                    <a:pt x="276" y="436"/>
                  </a:lnTo>
                  <a:lnTo>
                    <a:pt x="264" y="430"/>
                  </a:lnTo>
                  <a:lnTo>
                    <a:pt x="253" y="425"/>
                  </a:lnTo>
                  <a:lnTo>
                    <a:pt x="242" y="418"/>
                  </a:lnTo>
                  <a:lnTo>
                    <a:pt x="233" y="411"/>
                  </a:lnTo>
                  <a:lnTo>
                    <a:pt x="223" y="404"/>
                  </a:lnTo>
                  <a:lnTo>
                    <a:pt x="216" y="394"/>
                  </a:lnTo>
                  <a:lnTo>
                    <a:pt x="208" y="384"/>
                  </a:lnTo>
                  <a:lnTo>
                    <a:pt x="202" y="374"/>
                  </a:lnTo>
                  <a:lnTo>
                    <a:pt x="196" y="362"/>
                  </a:lnTo>
                  <a:lnTo>
                    <a:pt x="192" y="350"/>
                  </a:lnTo>
                  <a:lnTo>
                    <a:pt x="189" y="338"/>
                  </a:lnTo>
                  <a:lnTo>
                    <a:pt x="187" y="325"/>
                  </a:lnTo>
                  <a:lnTo>
                    <a:pt x="186" y="313"/>
                  </a:lnTo>
                  <a:lnTo>
                    <a:pt x="187" y="300"/>
                  </a:lnTo>
                  <a:lnTo>
                    <a:pt x="189" y="287"/>
                  </a:lnTo>
                  <a:lnTo>
                    <a:pt x="192" y="274"/>
                  </a:lnTo>
                  <a:lnTo>
                    <a:pt x="196" y="262"/>
                  </a:lnTo>
                  <a:lnTo>
                    <a:pt x="202" y="252"/>
                  </a:lnTo>
                  <a:lnTo>
                    <a:pt x="208" y="241"/>
                  </a:lnTo>
                  <a:lnTo>
                    <a:pt x="216" y="231"/>
                  </a:lnTo>
                  <a:lnTo>
                    <a:pt x="223" y="222"/>
                  </a:lnTo>
                  <a:lnTo>
                    <a:pt x="233" y="213"/>
                  </a:lnTo>
                  <a:lnTo>
                    <a:pt x="242" y="206"/>
                  </a:lnTo>
                  <a:lnTo>
                    <a:pt x="253" y="199"/>
                  </a:lnTo>
                  <a:lnTo>
                    <a:pt x="264" y="194"/>
                  </a:lnTo>
                  <a:lnTo>
                    <a:pt x="276" y="190"/>
                  </a:lnTo>
                  <a:lnTo>
                    <a:pt x="288" y="186"/>
                  </a:lnTo>
                  <a:lnTo>
                    <a:pt x="301" y="184"/>
                  </a:lnTo>
                  <a:lnTo>
                    <a:pt x="314" y="184"/>
                  </a:lnTo>
                  <a:lnTo>
                    <a:pt x="327" y="184"/>
                  </a:lnTo>
                  <a:lnTo>
                    <a:pt x="340" y="186"/>
                  </a:lnTo>
                  <a:lnTo>
                    <a:pt x="352" y="190"/>
                  </a:lnTo>
                  <a:lnTo>
                    <a:pt x="363" y="194"/>
                  </a:lnTo>
                  <a:lnTo>
                    <a:pt x="375" y="199"/>
                  </a:lnTo>
                  <a:lnTo>
                    <a:pt x="386" y="206"/>
                  </a:lnTo>
                  <a:lnTo>
                    <a:pt x="395" y="213"/>
                  </a:lnTo>
                  <a:lnTo>
                    <a:pt x="404" y="222"/>
                  </a:lnTo>
                  <a:lnTo>
                    <a:pt x="413" y="231"/>
                  </a:lnTo>
                  <a:lnTo>
                    <a:pt x="420" y="241"/>
                  </a:lnTo>
                  <a:lnTo>
                    <a:pt x="426" y="252"/>
                  </a:lnTo>
                  <a:lnTo>
                    <a:pt x="432" y="262"/>
                  </a:lnTo>
                  <a:lnTo>
                    <a:pt x="436" y="274"/>
                  </a:lnTo>
                  <a:lnTo>
                    <a:pt x="439" y="287"/>
                  </a:lnTo>
                  <a:lnTo>
                    <a:pt x="441" y="300"/>
                  </a:lnTo>
                  <a:lnTo>
                    <a:pt x="443" y="313"/>
                  </a:lnTo>
                  <a:lnTo>
                    <a:pt x="441" y="325"/>
                  </a:lnTo>
                  <a:lnTo>
                    <a:pt x="439" y="338"/>
                  </a:lnTo>
                  <a:lnTo>
                    <a:pt x="436" y="350"/>
                  </a:lnTo>
                  <a:lnTo>
                    <a:pt x="432" y="362"/>
                  </a:lnTo>
                  <a:lnTo>
                    <a:pt x="426" y="374"/>
                  </a:lnTo>
                  <a:lnTo>
                    <a:pt x="420" y="384"/>
                  </a:lnTo>
                  <a:lnTo>
                    <a:pt x="413" y="394"/>
                  </a:lnTo>
                  <a:lnTo>
                    <a:pt x="404" y="404"/>
                  </a:lnTo>
                  <a:lnTo>
                    <a:pt x="395" y="411"/>
                  </a:lnTo>
                  <a:lnTo>
                    <a:pt x="386" y="418"/>
                  </a:lnTo>
                  <a:lnTo>
                    <a:pt x="375" y="425"/>
                  </a:lnTo>
                  <a:lnTo>
                    <a:pt x="363" y="430"/>
                  </a:lnTo>
                  <a:lnTo>
                    <a:pt x="352" y="436"/>
                  </a:lnTo>
                  <a:lnTo>
                    <a:pt x="340" y="439"/>
                  </a:lnTo>
                  <a:lnTo>
                    <a:pt x="327" y="440"/>
                  </a:lnTo>
                  <a:lnTo>
                    <a:pt x="314" y="441"/>
                  </a:lnTo>
                  <a:close/>
                  <a:moveTo>
                    <a:pt x="621" y="385"/>
                  </a:moveTo>
                  <a:lnTo>
                    <a:pt x="571" y="355"/>
                  </a:lnTo>
                  <a:lnTo>
                    <a:pt x="572" y="346"/>
                  </a:lnTo>
                  <a:lnTo>
                    <a:pt x="573" y="335"/>
                  </a:lnTo>
                  <a:lnTo>
                    <a:pt x="574" y="323"/>
                  </a:lnTo>
                  <a:lnTo>
                    <a:pt x="574" y="313"/>
                  </a:lnTo>
                  <a:lnTo>
                    <a:pt x="574" y="302"/>
                  </a:lnTo>
                  <a:lnTo>
                    <a:pt x="573" y="291"/>
                  </a:lnTo>
                  <a:lnTo>
                    <a:pt x="572" y="280"/>
                  </a:lnTo>
                  <a:lnTo>
                    <a:pt x="570" y="269"/>
                  </a:lnTo>
                  <a:lnTo>
                    <a:pt x="620" y="241"/>
                  </a:lnTo>
                  <a:lnTo>
                    <a:pt x="623" y="239"/>
                  </a:lnTo>
                  <a:lnTo>
                    <a:pt x="624" y="237"/>
                  </a:lnTo>
                  <a:lnTo>
                    <a:pt x="627" y="234"/>
                  </a:lnTo>
                  <a:lnTo>
                    <a:pt x="628" y="231"/>
                  </a:lnTo>
                  <a:lnTo>
                    <a:pt x="628" y="228"/>
                  </a:lnTo>
                  <a:lnTo>
                    <a:pt x="628" y="226"/>
                  </a:lnTo>
                  <a:lnTo>
                    <a:pt x="628" y="223"/>
                  </a:lnTo>
                  <a:lnTo>
                    <a:pt x="625" y="219"/>
                  </a:lnTo>
                  <a:lnTo>
                    <a:pt x="551" y="90"/>
                  </a:lnTo>
                  <a:lnTo>
                    <a:pt x="548" y="87"/>
                  </a:lnTo>
                  <a:lnTo>
                    <a:pt x="546" y="85"/>
                  </a:lnTo>
                  <a:lnTo>
                    <a:pt x="544" y="84"/>
                  </a:lnTo>
                  <a:lnTo>
                    <a:pt x="541" y="83"/>
                  </a:lnTo>
                  <a:lnTo>
                    <a:pt x="539" y="81"/>
                  </a:lnTo>
                  <a:lnTo>
                    <a:pt x="536" y="81"/>
                  </a:lnTo>
                  <a:lnTo>
                    <a:pt x="532" y="83"/>
                  </a:lnTo>
                  <a:lnTo>
                    <a:pt x="530" y="84"/>
                  </a:lnTo>
                  <a:lnTo>
                    <a:pt x="481" y="113"/>
                  </a:lnTo>
                  <a:lnTo>
                    <a:pt x="465" y="99"/>
                  </a:lnTo>
                  <a:lnTo>
                    <a:pt x="447" y="88"/>
                  </a:lnTo>
                  <a:lnTo>
                    <a:pt x="438" y="83"/>
                  </a:lnTo>
                  <a:lnTo>
                    <a:pt x="429" y="77"/>
                  </a:lnTo>
                  <a:lnTo>
                    <a:pt x="418" y="73"/>
                  </a:lnTo>
                  <a:lnTo>
                    <a:pt x="407" y="69"/>
                  </a:lnTo>
                  <a:lnTo>
                    <a:pt x="407" y="15"/>
                  </a:lnTo>
                  <a:lnTo>
                    <a:pt x="407" y="12"/>
                  </a:lnTo>
                  <a:lnTo>
                    <a:pt x="406" y="10"/>
                  </a:lnTo>
                  <a:lnTo>
                    <a:pt x="404" y="7"/>
                  </a:lnTo>
                  <a:lnTo>
                    <a:pt x="403" y="4"/>
                  </a:lnTo>
                  <a:lnTo>
                    <a:pt x="401" y="2"/>
                  </a:lnTo>
                  <a:lnTo>
                    <a:pt x="398" y="1"/>
                  </a:lnTo>
                  <a:lnTo>
                    <a:pt x="395" y="0"/>
                  </a:lnTo>
                  <a:lnTo>
                    <a:pt x="392" y="0"/>
                  </a:lnTo>
                  <a:lnTo>
                    <a:pt x="241" y="0"/>
                  </a:lnTo>
                  <a:lnTo>
                    <a:pt x="238" y="0"/>
                  </a:lnTo>
                  <a:lnTo>
                    <a:pt x="235" y="1"/>
                  </a:lnTo>
                  <a:lnTo>
                    <a:pt x="233" y="2"/>
                  </a:lnTo>
                  <a:lnTo>
                    <a:pt x="231" y="4"/>
                  </a:lnTo>
                  <a:lnTo>
                    <a:pt x="229" y="7"/>
                  </a:lnTo>
                  <a:lnTo>
                    <a:pt x="227" y="10"/>
                  </a:lnTo>
                  <a:lnTo>
                    <a:pt x="226" y="12"/>
                  </a:lnTo>
                  <a:lnTo>
                    <a:pt x="226" y="15"/>
                  </a:lnTo>
                  <a:lnTo>
                    <a:pt x="226" y="69"/>
                  </a:lnTo>
                  <a:lnTo>
                    <a:pt x="216" y="72"/>
                  </a:lnTo>
                  <a:lnTo>
                    <a:pt x="206" y="76"/>
                  </a:lnTo>
                  <a:lnTo>
                    <a:pt x="196" y="80"/>
                  </a:lnTo>
                  <a:lnTo>
                    <a:pt x="187" y="86"/>
                  </a:lnTo>
                  <a:lnTo>
                    <a:pt x="177" y="91"/>
                  </a:lnTo>
                  <a:lnTo>
                    <a:pt x="168" y="98"/>
                  </a:lnTo>
                  <a:lnTo>
                    <a:pt x="159" y="105"/>
                  </a:lnTo>
                  <a:lnTo>
                    <a:pt x="149" y="113"/>
                  </a:lnTo>
                  <a:lnTo>
                    <a:pt x="98" y="84"/>
                  </a:lnTo>
                  <a:lnTo>
                    <a:pt x="96" y="83"/>
                  </a:lnTo>
                  <a:lnTo>
                    <a:pt x="93" y="81"/>
                  </a:lnTo>
                  <a:lnTo>
                    <a:pt x="90" y="81"/>
                  </a:lnTo>
                  <a:lnTo>
                    <a:pt x="87" y="83"/>
                  </a:lnTo>
                  <a:lnTo>
                    <a:pt x="84" y="84"/>
                  </a:lnTo>
                  <a:lnTo>
                    <a:pt x="82" y="85"/>
                  </a:lnTo>
                  <a:lnTo>
                    <a:pt x="80" y="87"/>
                  </a:lnTo>
                  <a:lnTo>
                    <a:pt x="78" y="90"/>
                  </a:lnTo>
                  <a:lnTo>
                    <a:pt x="3" y="219"/>
                  </a:lnTo>
                  <a:lnTo>
                    <a:pt x="1" y="222"/>
                  </a:lnTo>
                  <a:lnTo>
                    <a:pt x="1" y="225"/>
                  </a:lnTo>
                  <a:lnTo>
                    <a:pt x="1" y="228"/>
                  </a:lnTo>
                  <a:lnTo>
                    <a:pt x="1" y="230"/>
                  </a:lnTo>
                  <a:lnTo>
                    <a:pt x="4" y="236"/>
                  </a:lnTo>
                  <a:lnTo>
                    <a:pt x="8" y="241"/>
                  </a:lnTo>
                  <a:lnTo>
                    <a:pt x="57" y="269"/>
                  </a:lnTo>
                  <a:lnTo>
                    <a:pt x="56" y="280"/>
                  </a:lnTo>
                  <a:lnTo>
                    <a:pt x="55" y="291"/>
                  </a:lnTo>
                  <a:lnTo>
                    <a:pt x="54" y="302"/>
                  </a:lnTo>
                  <a:lnTo>
                    <a:pt x="54" y="313"/>
                  </a:lnTo>
                  <a:lnTo>
                    <a:pt x="54" y="323"/>
                  </a:lnTo>
                  <a:lnTo>
                    <a:pt x="55" y="335"/>
                  </a:lnTo>
                  <a:lnTo>
                    <a:pt x="56" y="346"/>
                  </a:lnTo>
                  <a:lnTo>
                    <a:pt x="57" y="355"/>
                  </a:lnTo>
                  <a:lnTo>
                    <a:pt x="7" y="385"/>
                  </a:lnTo>
                  <a:lnTo>
                    <a:pt x="5" y="387"/>
                  </a:lnTo>
                  <a:lnTo>
                    <a:pt x="3" y="389"/>
                  </a:lnTo>
                  <a:lnTo>
                    <a:pt x="2" y="391"/>
                  </a:lnTo>
                  <a:lnTo>
                    <a:pt x="1" y="394"/>
                  </a:lnTo>
                  <a:lnTo>
                    <a:pt x="0" y="396"/>
                  </a:lnTo>
                  <a:lnTo>
                    <a:pt x="1" y="399"/>
                  </a:lnTo>
                  <a:lnTo>
                    <a:pt x="1" y="402"/>
                  </a:lnTo>
                  <a:lnTo>
                    <a:pt x="2" y="405"/>
                  </a:lnTo>
                  <a:lnTo>
                    <a:pt x="78" y="536"/>
                  </a:lnTo>
                  <a:lnTo>
                    <a:pt x="81" y="540"/>
                  </a:lnTo>
                  <a:lnTo>
                    <a:pt x="86" y="543"/>
                  </a:lnTo>
                  <a:lnTo>
                    <a:pt x="89" y="544"/>
                  </a:lnTo>
                  <a:lnTo>
                    <a:pt x="93" y="544"/>
                  </a:lnTo>
                  <a:lnTo>
                    <a:pt x="95" y="543"/>
                  </a:lnTo>
                  <a:lnTo>
                    <a:pt x="98" y="542"/>
                  </a:lnTo>
                  <a:lnTo>
                    <a:pt x="149" y="513"/>
                  </a:lnTo>
                  <a:lnTo>
                    <a:pt x="159" y="520"/>
                  </a:lnTo>
                  <a:lnTo>
                    <a:pt x="168" y="527"/>
                  </a:lnTo>
                  <a:lnTo>
                    <a:pt x="177" y="533"/>
                  </a:lnTo>
                  <a:lnTo>
                    <a:pt x="187" y="539"/>
                  </a:lnTo>
                  <a:lnTo>
                    <a:pt x="196" y="544"/>
                  </a:lnTo>
                  <a:lnTo>
                    <a:pt x="206" y="549"/>
                  </a:lnTo>
                  <a:lnTo>
                    <a:pt x="216" y="552"/>
                  </a:lnTo>
                  <a:lnTo>
                    <a:pt x="226" y="556"/>
                  </a:lnTo>
                  <a:lnTo>
                    <a:pt x="226" y="614"/>
                  </a:lnTo>
                  <a:lnTo>
                    <a:pt x="226" y="617"/>
                  </a:lnTo>
                  <a:lnTo>
                    <a:pt x="227" y="620"/>
                  </a:lnTo>
                  <a:lnTo>
                    <a:pt x="229" y="623"/>
                  </a:lnTo>
                  <a:lnTo>
                    <a:pt x="231" y="625"/>
                  </a:lnTo>
                  <a:lnTo>
                    <a:pt x="233" y="627"/>
                  </a:lnTo>
                  <a:lnTo>
                    <a:pt x="235" y="628"/>
                  </a:lnTo>
                  <a:lnTo>
                    <a:pt x="238" y="629"/>
                  </a:lnTo>
                  <a:lnTo>
                    <a:pt x="241" y="629"/>
                  </a:lnTo>
                  <a:lnTo>
                    <a:pt x="392" y="629"/>
                  </a:lnTo>
                  <a:lnTo>
                    <a:pt x="395" y="629"/>
                  </a:lnTo>
                  <a:lnTo>
                    <a:pt x="398" y="628"/>
                  </a:lnTo>
                  <a:lnTo>
                    <a:pt x="401" y="627"/>
                  </a:lnTo>
                  <a:lnTo>
                    <a:pt x="403" y="625"/>
                  </a:lnTo>
                  <a:lnTo>
                    <a:pt x="404" y="623"/>
                  </a:lnTo>
                  <a:lnTo>
                    <a:pt x="406" y="620"/>
                  </a:lnTo>
                  <a:lnTo>
                    <a:pt x="407" y="617"/>
                  </a:lnTo>
                  <a:lnTo>
                    <a:pt x="407" y="614"/>
                  </a:lnTo>
                  <a:lnTo>
                    <a:pt x="407" y="556"/>
                  </a:lnTo>
                  <a:lnTo>
                    <a:pt x="418" y="552"/>
                  </a:lnTo>
                  <a:lnTo>
                    <a:pt x="429" y="548"/>
                  </a:lnTo>
                  <a:lnTo>
                    <a:pt x="438" y="544"/>
                  </a:lnTo>
                  <a:lnTo>
                    <a:pt x="447" y="538"/>
                  </a:lnTo>
                  <a:lnTo>
                    <a:pt x="465" y="527"/>
                  </a:lnTo>
                  <a:lnTo>
                    <a:pt x="481" y="513"/>
                  </a:lnTo>
                  <a:lnTo>
                    <a:pt x="530" y="542"/>
                  </a:lnTo>
                  <a:lnTo>
                    <a:pt x="533" y="543"/>
                  </a:lnTo>
                  <a:lnTo>
                    <a:pt x="537" y="544"/>
                  </a:lnTo>
                  <a:lnTo>
                    <a:pt x="539" y="544"/>
                  </a:lnTo>
                  <a:lnTo>
                    <a:pt x="542" y="543"/>
                  </a:lnTo>
                  <a:lnTo>
                    <a:pt x="545" y="543"/>
                  </a:lnTo>
                  <a:lnTo>
                    <a:pt x="547" y="540"/>
                  </a:lnTo>
                  <a:lnTo>
                    <a:pt x="550" y="539"/>
                  </a:lnTo>
                  <a:lnTo>
                    <a:pt x="552" y="536"/>
                  </a:lnTo>
                  <a:lnTo>
                    <a:pt x="627" y="405"/>
                  </a:lnTo>
                  <a:lnTo>
                    <a:pt x="628" y="402"/>
                  </a:lnTo>
                  <a:lnTo>
                    <a:pt x="628" y="399"/>
                  </a:lnTo>
                  <a:lnTo>
                    <a:pt x="629" y="396"/>
                  </a:lnTo>
                  <a:lnTo>
                    <a:pt x="628" y="394"/>
                  </a:lnTo>
                  <a:lnTo>
                    <a:pt x="627" y="391"/>
                  </a:lnTo>
                  <a:lnTo>
                    <a:pt x="625" y="389"/>
                  </a:lnTo>
                  <a:lnTo>
                    <a:pt x="623" y="387"/>
                  </a:lnTo>
                  <a:lnTo>
                    <a:pt x="621" y="3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panose="020F0502020204030203" pitchFamily="34" charset="0"/>
                <a:ea typeface="+mn-ea"/>
                <a:cs typeface="+mn-cs"/>
                <a:sym typeface="Lato" panose="020F0502020204030203" pitchFamily="34" charset="0"/>
              </a:endParaRPr>
            </a:p>
          </p:txBody>
        </p:sp>
        <p:sp>
          <p:nvSpPr>
            <p:cNvPr id="25" name="Freeform 4360">
              <a:extLst>
                <a:ext uri="{FF2B5EF4-FFF2-40B4-BE49-F238E27FC236}">
                  <a16:creationId xmlns:a16="http://schemas.microsoft.com/office/drawing/2014/main" id="{10EB9A66-48F6-AB2C-A652-64CC5A1982C5}"/>
                </a:ext>
              </a:extLst>
            </p:cNvPr>
            <p:cNvSpPr>
              <a:spLocks noEditPoints="1"/>
            </p:cNvSpPr>
            <p:nvPr/>
          </p:nvSpPr>
          <p:spPr bwMode="auto">
            <a:xfrm>
              <a:off x="7781925" y="1387475"/>
              <a:ext cx="115888" cy="117475"/>
            </a:xfrm>
            <a:custGeom>
              <a:avLst/>
              <a:gdLst>
                <a:gd name="T0" fmla="*/ 160 w 362"/>
                <a:gd name="T1" fmla="*/ 252 h 369"/>
                <a:gd name="T2" fmla="*/ 135 w 362"/>
                <a:gd name="T3" fmla="*/ 238 h 369"/>
                <a:gd name="T4" fmla="*/ 118 w 362"/>
                <a:gd name="T5" fmla="*/ 218 h 369"/>
                <a:gd name="T6" fmla="*/ 109 w 362"/>
                <a:gd name="T7" fmla="*/ 190 h 369"/>
                <a:gd name="T8" fmla="*/ 113 w 362"/>
                <a:gd name="T9" fmla="*/ 162 h 369"/>
                <a:gd name="T10" fmla="*/ 125 w 362"/>
                <a:gd name="T11" fmla="*/ 138 h 369"/>
                <a:gd name="T12" fmla="*/ 147 w 362"/>
                <a:gd name="T13" fmla="*/ 121 h 369"/>
                <a:gd name="T14" fmla="*/ 174 w 362"/>
                <a:gd name="T15" fmla="*/ 112 h 369"/>
                <a:gd name="T16" fmla="*/ 202 w 362"/>
                <a:gd name="T17" fmla="*/ 114 h 369"/>
                <a:gd name="T18" fmla="*/ 226 w 362"/>
                <a:gd name="T19" fmla="*/ 128 h 369"/>
                <a:gd name="T20" fmla="*/ 244 w 362"/>
                <a:gd name="T21" fmla="*/ 149 h 369"/>
                <a:gd name="T22" fmla="*/ 252 w 362"/>
                <a:gd name="T23" fmla="*/ 176 h 369"/>
                <a:gd name="T24" fmla="*/ 250 w 362"/>
                <a:gd name="T25" fmla="*/ 205 h 369"/>
                <a:gd name="T26" fmla="*/ 236 w 362"/>
                <a:gd name="T27" fmla="*/ 229 h 369"/>
                <a:gd name="T28" fmla="*/ 215 w 362"/>
                <a:gd name="T29" fmla="*/ 247 h 369"/>
                <a:gd name="T30" fmla="*/ 189 w 362"/>
                <a:gd name="T31" fmla="*/ 254 h 369"/>
                <a:gd name="T32" fmla="*/ 328 w 362"/>
                <a:gd name="T33" fmla="*/ 195 h 369"/>
                <a:gd name="T34" fmla="*/ 354 w 362"/>
                <a:gd name="T35" fmla="*/ 144 h 369"/>
                <a:gd name="T36" fmla="*/ 361 w 362"/>
                <a:gd name="T37" fmla="*/ 136 h 369"/>
                <a:gd name="T38" fmla="*/ 360 w 362"/>
                <a:gd name="T39" fmla="*/ 124 h 369"/>
                <a:gd name="T40" fmla="*/ 316 w 362"/>
                <a:gd name="T41" fmla="*/ 53 h 369"/>
                <a:gd name="T42" fmla="*/ 304 w 362"/>
                <a:gd name="T43" fmla="*/ 52 h 369"/>
                <a:gd name="T44" fmla="*/ 256 w 362"/>
                <a:gd name="T45" fmla="*/ 56 h 369"/>
                <a:gd name="T46" fmla="*/ 236 w 362"/>
                <a:gd name="T47" fmla="*/ 10 h 369"/>
                <a:gd name="T48" fmla="*/ 229 w 362"/>
                <a:gd name="T49" fmla="*/ 2 h 369"/>
                <a:gd name="T50" fmla="*/ 146 w 362"/>
                <a:gd name="T51" fmla="*/ 0 h 369"/>
                <a:gd name="T52" fmla="*/ 135 w 362"/>
                <a:gd name="T53" fmla="*/ 3 h 369"/>
                <a:gd name="T54" fmla="*/ 131 w 362"/>
                <a:gd name="T55" fmla="*/ 14 h 369"/>
                <a:gd name="T56" fmla="*/ 99 w 362"/>
                <a:gd name="T57" fmla="*/ 63 h 369"/>
                <a:gd name="T58" fmla="*/ 55 w 362"/>
                <a:gd name="T59" fmla="*/ 51 h 369"/>
                <a:gd name="T60" fmla="*/ 44 w 362"/>
                <a:gd name="T61" fmla="*/ 54 h 369"/>
                <a:gd name="T62" fmla="*/ 1 w 362"/>
                <a:gd name="T63" fmla="*/ 126 h 369"/>
                <a:gd name="T64" fmla="*/ 2 w 362"/>
                <a:gd name="T65" fmla="*/ 139 h 369"/>
                <a:gd name="T66" fmla="*/ 36 w 362"/>
                <a:gd name="T67" fmla="*/ 160 h 369"/>
                <a:gd name="T68" fmla="*/ 36 w 362"/>
                <a:gd name="T69" fmla="*/ 207 h 369"/>
                <a:gd name="T70" fmla="*/ 1 w 362"/>
                <a:gd name="T71" fmla="*/ 230 h 369"/>
                <a:gd name="T72" fmla="*/ 1 w 362"/>
                <a:gd name="T73" fmla="*/ 240 h 369"/>
                <a:gd name="T74" fmla="*/ 44 w 362"/>
                <a:gd name="T75" fmla="*/ 313 h 369"/>
                <a:gd name="T76" fmla="*/ 60 w 362"/>
                <a:gd name="T77" fmla="*/ 314 h 369"/>
                <a:gd name="T78" fmla="*/ 120 w 362"/>
                <a:gd name="T79" fmla="*/ 316 h 369"/>
                <a:gd name="T80" fmla="*/ 132 w 362"/>
                <a:gd name="T81" fmla="*/ 359 h 369"/>
                <a:gd name="T82" fmla="*/ 140 w 362"/>
                <a:gd name="T83" fmla="*/ 368 h 369"/>
                <a:gd name="T84" fmla="*/ 225 w 362"/>
                <a:gd name="T85" fmla="*/ 368 h 369"/>
                <a:gd name="T86" fmla="*/ 233 w 362"/>
                <a:gd name="T87" fmla="*/ 361 h 369"/>
                <a:gd name="T88" fmla="*/ 237 w 362"/>
                <a:gd name="T89" fmla="*/ 321 h 369"/>
                <a:gd name="T90" fmla="*/ 274 w 362"/>
                <a:gd name="T91" fmla="*/ 298 h 369"/>
                <a:gd name="T92" fmla="*/ 310 w 362"/>
                <a:gd name="T93" fmla="*/ 316 h 369"/>
                <a:gd name="T94" fmla="*/ 360 w 362"/>
                <a:gd name="T95" fmla="*/ 243 h 369"/>
                <a:gd name="T96" fmla="*/ 362 w 362"/>
                <a:gd name="T97" fmla="*/ 232 h 369"/>
                <a:gd name="T98" fmla="*/ 354 w 362"/>
                <a:gd name="T99" fmla="*/ 223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62" h="369">
                  <a:moveTo>
                    <a:pt x="181" y="255"/>
                  </a:moveTo>
                  <a:lnTo>
                    <a:pt x="174" y="254"/>
                  </a:lnTo>
                  <a:lnTo>
                    <a:pt x="166" y="253"/>
                  </a:lnTo>
                  <a:lnTo>
                    <a:pt x="160" y="252"/>
                  </a:lnTo>
                  <a:lnTo>
                    <a:pt x="153" y="249"/>
                  </a:lnTo>
                  <a:lnTo>
                    <a:pt x="147" y="247"/>
                  </a:lnTo>
                  <a:lnTo>
                    <a:pt x="141" y="243"/>
                  </a:lnTo>
                  <a:lnTo>
                    <a:pt x="135" y="238"/>
                  </a:lnTo>
                  <a:lnTo>
                    <a:pt x="131" y="234"/>
                  </a:lnTo>
                  <a:lnTo>
                    <a:pt x="125" y="229"/>
                  </a:lnTo>
                  <a:lnTo>
                    <a:pt x="122" y="223"/>
                  </a:lnTo>
                  <a:lnTo>
                    <a:pt x="118" y="218"/>
                  </a:lnTo>
                  <a:lnTo>
                    <a:pt x="115" y="212"/>
                  </a:lnTo>
                  <a:lnTo>
                    <a:pt x="113" y="205"/>
                  </a:lnTo>
                  <a:lnTo>
                    <a:pt x="110" y="198"/>
                  </a:lnTo>
                  <a:lnTo>
                    <a:pt x="109" y="190"/>
                  </a:lnTo>
                  <a:lnTo>
                    <a:pt x="109" y="183"/>
                  </a:lnTo>
                  <a:lnTo>
                    <a:pt x="109" y="176"/>
                  </a:lnTo>
                  <a:lnTo>
                    <a:pt x="110" y="169"/>
                  </a:lnTo>
                  <a:lnTo>
                    <a:pt x="113" y="162"/>
                  </a:lnTo>
                  <a:lnTo>
                    <a:pt x="115" y="156"/>
                  </a:lnTo>
                  <a:lnTo>
                    <a:pt x="118" y="149"/>
                  </a:lnTo>
                  <a:lnTo>
                    <a:pt x="122" y="143"/>
                  </a:lnTo>
                  <a:lnTo>
                    <a:pt x="125" y="138"/>
                  </a:lnTo>
                  <a:lnTo>
                    <a:pt x="131" y="132"/>
                  </a:lnTo>
                  <a:lnTo>
                    <a:pt x="135" y="128"/>
                  </a:lnTo>
                  <a:lnTo>
                    <a:pt x="141" y="124"/>
                  </a:lnTo>
                  <a:lnTo>
                    <a:pt x="147" y="121"/>
                  </a:lnTo>
                  <a:lnTo>
                    <a:pt x="153" y="117"/>
                  </a:lnTo>
                  <a:lnTo>
                    <a:pt x="160" y="114"/>
                  </a:lnTo>
                  <a:lnTo>
                    <a:pt x="166" y="113"/>
                  </a:lnTo>
                  <a:lnTo>
                    <a:pt x="174" y="112"/>
                  </a:lnTo>
                  <a:lnTo>
                    <a:pt x="181" y="111"/>
                  </a:lnTo>
                  <a:lnTo>
                    <a:pt x="189" y="112"/>
                  </a:lnTo>
                  <a:lnTo>
                    <a:pt x="195" y="113"/>
                  </a:lnTo>
                  <a:lnTo>
                    <a:pt x="202" y="114"/>
                  </a:lnTo>
                  <a:lnTo>
                    <a:pt x="209" y="117"/>
                  </a:lnTo>
                  <a:lnTo>
                    <a:pt x="215" y="121"/>
                  </a:lnTo>
                  <a:lnTo>
                    <a:pt x="221" y="124"/>
                  </a:lnTo>
                  <a:lnTo>
                    <a:pt x="226" y="128"/>
                  </a:lnTo>
                  <a:lnTo>
                    <a:pt x="231" y="132"/>
                  </a:lnTo>
                  <a:lnTo>
                    <a:pt x="236" y="138"/>
                  </a:lnTo>
                  <a:lnTo>
                    <a:pt x="240" y="143"/>
                  </a:lnTo>
                  <a:lnTo>
                    <a:pt x="244" y="149"/>
                  </a:lnTo>
                  <a:lnTo>
                    <a:pt x="247" y="156"/>
                  </a:lnTo>
                  <a:lnTo>
                    <a:pt x="250" y="162"/>
                  </a:lnTo>
                  <a:lnTo>
                    <a:pt x="251" y="169"/>
                  </a:lnTo>
                  <a:lnTo>
                    <a:pt x="252" y="176"/>
                  </a:lnTo>
                  <a:lnTo>
                    <a:pt x="253" y="183"/>
                  </a:lnTo>
                  <a:lnTo>
                    <a:pt x="252" y="190"/>
                  </a:lnTo>
                  <a:lnTo>
                    <a:pt x="251" y="198"/>
                  </a:lnTo>
                  <a:lnTo>
                    <a:pt x="250" y="205"/>
                  </a:lnTo>
                  <a:lnTo>
                    <a:pt x="247" y="212"/>
                  </a:lnTo>
                  <a:lnTo>
                    <a:pt x="244" y="218"/>
                  </a:lnTo>
                  <a:lnTo>
                    <a:pt x="240" y="223"/>
                  </a:lnTo>
                  <a:lnTo>
                    <a:pt x="236" y="229"/>
                  </a:lnTo>
                  <a:lnTo>
                    <a:pt x="231" y="234"/>
                  </a:lnTo>
                  <a:lnTo>
                    <a:pt x="226" y="238"/>
                  </a:lnTo>
                  <a:lnTo>
                    <a:pt x="221" y="243"/>
                  </a:lnTo>
                  <a:lnTo>
                    <a:pt x="215" y="247"/>
                  </a:lnTo>
                  <a:lnTo>
                    <a:pt x="209" y="249"/>
                  </a:lnTo>
                  <a:lnTo>
                    <a:pt x="202" y="252"/>
                  </a:lnTo>
                  <a:lnTo>
                    <a:pt x="195" y="253"/>
                  </a:lnTo>
                  <a:lnTo>
                    <a:pt x="189" y="254"/>
                  </a:lnTo>
                  <a:lnTo>
                    <a:pt x="181" y="255"/>
                  </a:lnTo>
                  <a:close/>
                  <a:moveTo>
                    <a:pt x="354" y="223"/>
                  </a:moveTo>
                  <a:lnTo>
                    <a:pt x="327" y="207"/>
                  </a:lnTo>
                  <a:lnTo>
                    <a:pt x="328" y="195"/>
                  </a:lnTo>
                  <a:lnTo>
                    <a:pt x="328" y="183"/>
                  </a:lnTo>
                  <a:lnTo>
                    <a:pt x="328" y="172"/>
                  </a:lnTo>
                  <a:lnTo>
                    <a:pt x="327" y="160"/>
                  </a:lnTo>
                  <a:lnTo>
                    <a:pt x="354" y="144"/>
                  </a:lnTo>
                  <a:lnTo>
                    <a:pt x="357" y="143"/>
                  </a:lnTo>
                  <a:lnTo>
                    <a:pt x="359" y="141"/>
                  </a:lnTo>
                  <a:lnTo>
                    <a:pt x="360" y="139"/>
                  </a:lnTo>
                  <a:lnTo>
                    <a:pt x="361" y="136"/>
                  </a:lnTo>
                  <a:lnTo>
                    <a:pt x="362" y="132"/>
                  </a:lnTo>
                  <a:lnTo>
                    <a:pt x="362" y="129"/>
                  </a:lnTo>
                  <a:lnTo>
                    <a:pt x="361" y="126"/>
                  </a:lnTo>
                  <a:lnTo>
                    <a:pt x="360" y="124"/>
                  </a:lnTo>
                  <a:lnTo>
                    <a:pt x="322" y="59"/>
                  </a:lnTo>
                  <a:lnTo>
                    <a:pt x="320" y="56"/>
                  </a:lnTo>
                  <a:lnTo>
                    <a:pt x="318" y="54"/>
                  </a:lnTo>
                  <a:lnTo>
                    <a:pt x="316" y="53"/>
                  </a:lnTo>
                  <a:lnTo>
                    <a:pt x="313" y="51"/>
                  </a:lnTo>
                  <a:lnTo>
                    <a:pt x="309" y="51"/>
                  </a:lnTo>
                  <a:lnTo>
                    <a:pt x="307" y="51"/>
                  </a:lnTo>
                  <a:lnTo>
                    <a:pt x="304" y="52"/>
                  </a:lnTo>
                  <a:lnTo>
                    <a:pt x="301" y="53"/>
                  </a:lnTo>
                  <a:lnTo>
                    <a:pt x="274" y="69"/>
                  </a:lnTo>
                  <a:lnTo>
                    <a:pt x="266" y="63"/>
                  </a:lnTo>
                  <a:lnTo>
                    <a:pt x="256" y="56"/>
                  </a:lnTo>
                  <a:lnTo>
                    <a:pt x="246" y="51"/>
                  </a:lnTo>
                  <a:lnTo>
                    <a:pt x="237" y="47"/>
                  </a:lnTo>
                  <a:lnTo>
                    <a:pt x="237" y="14"/>
                  </a:lnTo>
                  <a:lnTo>
                    <a:pt x="236" y="10"/>
                  </a:lnTo>
                  <a:lnTo>
                    <a:pt x="236" y="8"/>
                  </a:lnTo>
                  <a:lnTo>
                    <a:pt x="233" y="5"/>
                  </a:lnTo>
                  <a:lnTo>
                    <a:pt x="232" y="3"/>
                  </a:lnTo>
                  <a:lnTo>
                    <a:pt x="229" y="2"/>
                  </a:lnTo>
                  <a:lnTo>
                    <a:pt x="227" y="1"/>
                  </a:lnTo>
                  <a:lnTo>
                    <a:pt x="224" y="0"/>
                  </a:lnTo>
                  <a:lnTo>
                    <a:pt x="222" y="0"/>
                  </a:lnTo>
                  <a:lnTo>
                    <a:pt x="146" y="0"/>
                  </a:lnTo>
                  <a:lnTo>
                    <a:pt x="143" y="0"/>
                  </a:lnTo>
                  <a:lnTo>
                    <a:pt x="140" y="1"/>
                  </a:lnTo>
                  <a:lnTo>
                    <a:pt x="137" y="2"/>
                  </a:lnTo>
                  <a:lnTo>
                    <a:pt x="135" y="3"/>
                  </a:lnTo>
                  <a:lnTo>
                    <a:pt x="134" y="5"/>
                  </a:lnTo>
                  <a:lnTo>
                    <a:pt x="132" y="8"/>
                  </a:lnTo>
                  <a:lnTo>
                    <a:pt x="132" y="10"/>
                  </a:lnTo>
                  <a:lnTo>
                    <a:pt x="131" y="14"/>
                  </a:lnTo>
                  <a:lnTo>
                    <a:pt x="131" y="47"/>
                  </a:lnTo>
                  <a:lnTo>
                    <a:pt x="120" y="52"/>
                  </a:lnTo>
                  <a:lnTo>
                    <a:pt x="109" y="57"/>
                  </a:lnTo>
                  <a:lnTo>
                    <a:pt x="99" y="63"/>
                  </a:lnTo>
                  <a:lnTo>
                    <a:pt x="90" y="69"/>
                  </a:lnTo>
                  <a:lnTo>
                    <a:pt x="61" y="53"/>
                  </a:lnTo>
                  <a:lnTo>
                    <a:pt x="58" y="52"/>
                  </a:lnTo>
                  <a:lnTo>
                    <a:pt x="55" y="51"/>
                  </a:lnTo>
                  <a:lnTo>
                    <a:pt x="53" y="51"/>
                  </a:lnTo>
                  <a:lnTo>
                    <a:pt x="49" y="51"/>
                  </a:lnTo>
                  <a:lnTo>
                    <a:pt x="47" y="52"/>
                  </a:lnTo>
                  <a:lnTo>
                    <a:pt x="44" y="54"/>
                  </a:lnTo>
                  <a:lnTo>
                    <a:pt x="42" y="56"/>
                  </a:lnTo>
                  <a:lnTo>
                    <a:pt x="41" y="59"/>
                  </a:lnTo>
                  <a:lnTo>
                    <a:pt x="2" y="124"/>
                  </a:lnTo>
                  <a:lnTo>
                    <a:pt x="1" y="126"/>
                  </a:lnTo>
                  <a:lnTo>
                    <a:pt x="0" y="129"/>
                  </a:lnTo>
                  <a:lnTo>
                    <a:pt x="0" y="132"/>
                  </a:lnTo>
                  <a:lnTo>
                    <a:pt x="1" y="136"/>
                  </a:lnTo>
                  <a:lnTo>
                    <a:pt x="2" y="139"/>
                  </a:lnTo>
                  <a:lnTo>
                    <a:pt x="3" y="141"/>
                  </a:lnTo>
                  <a:lnTo>
                    <a:pt x="6" y="143"/>
                  </a:lnTo>
                  <a:lnTo>
                    <a:pt x="8" y="144"/>
                  </a:lnTo>
                  <a:lnTo>
                    <a:pt x="36" y="160"/>
                  </a:lnTo>
                  <a:lnTo>
                    <a:pt x="34" y="172"/>
                  </a:lnTo>
                  <a:lnTo>
                    <a:pt x="34" y="183"/>
                  </a:lnTo>
                  <a:lnTo>
                    <a:pt x="34" y="195"/>
                  </a:lnTo>
                  <a:lnTo>
                    <a:pt x="36" y="207"/>
                  </a:lnTo>
                  <a:lnTo>
                    <a:pt x="8" y="223"/>
                  </a:lnTo>
                  <a:lnTo>
                    <a:pt x="6" y="224"/>
                  </a:lnTo>
                  <a:lnTo>
                    <a:pt x="3" y="227"/>
                  </a:lnTo>
                  <a:lnTo>
                    <a:pt x="1" y="230"/>
                  </a:lnTo>
                  <a:lnTo>
                    <a:pt x="0" y="233"/>
                  </a:lnTo>
                  <a:lnTo>
                    <a:pt x="0" y="235"/>
                  </a:lnTo>
                  <a:lnTo>
                    <a:pt x="0" y="237"/>
                  </a:lnTo>
                  <a:lnTo>
                    <a:pt x="1" y="240"/>
                  </a:lnTo>
                  <a:lnTo>
                    <a:pt x="2" y="243"/>
                  </a:lnTo>
                  <a:lnTo>
                    <a:pt x="40" y="309"/>
                  </a:lnTo>
                  <a:lnTo>
                    <a:pt x="42" y="311"/>
                  </a:lnTo>
                  <a:lnTo>
                    <a:pt x="44" y="313"/>
                  </a:lnTo>
                  <a:lnTo>
                    <a:pt x="46" y="314"/>
                  </a:lnTo>
                  <a:lnTo>
                    <a:pt x="48" y="315"/>
                  </a:lnTo>
                  <a:lnTo>
                    <a:pt x="55" y="316"/>
                  </a:lnTo>
                  <a:lnTo>
                    <a:pt x="60" y="314"/>
                  </a:lnTo>
                  <a:lnTo>
                    <a:pt x="90" y="297"/>
                  </a:lnTo>
                  <a:lnTo>
                    <a:pt x="99" y="304"/>
                  </a:lnTo>
                  <a:lnTo>
                    <a:pt x="109" y="310"/>
                  </a:lnTo>
                  <a:lnTo>
                    <a:pt x="120" y="316"/>
                  </a:lnTo>
                  <a:lnTo>
                    <a:pt x="131" y="321"/>
                  </a:lnTo>
                  <a:lnTo>
                    <a:pt x="131" y="354"/>
                  </a:lnTo>
                  <a:lnTo>
                    <a:pt x="132" y="356"/>
                  </a:lnTo>
                  <a:lnTo>
                    <a:pt x="132" y="359"/>
                  </a:lnTo>
                  <a:lnTo>
                    <a:pt x="134" y="361"/>
                  </a:lnTo>
                  <a:lnTo>
                    <a:pt x="135" y="363"/>
                  </a:lnTo>
                  <a:lnTo>
                    <a:pt x="137" y="366"/>
                  </a:lnTo>
                  <a:lnTo>
                    <a:pt x="140" y="368"/>
                  </a:lnTo>
                  <a:lnTo>
                    <a:pt x="143" y="368"/>
                  </a:lnTo>
                  <a:lnTo>
                    <a:pt x="146" y="369"/>
                  </a:lnTo>
                  <a:lnTo>
                    <a:pt x="222" y="369"/>
                  </a:lnTo>
                  <a:lnTo>
                    <a:pt x="225" y="368"/>
                  </a:lnTo>
                  <a:lnTo>
                    <a:pt x="227" y="368"/>
                  </a:lnTo>
                  <a:lnTo>
                    <a:pt x="229" y="366"/>
                  </a:lnTo>
                  <a:lnTo>
                    <a:pt x="232" y="363"/>
                  </a:lnTo>
                  <a:lnTo>
                    <a:pt x="233" y="361"/>
                  </a:lnTo>
                  <a:lnTo>
                    <a:pt x="236" y="359"/>
                  </a:lnTo>
                  <a:lnTo>
                    <a:pt x="236" y="356"/>
                  </a:lnTo>
                  <a:lnTo>
                    <a:pt x="237" y="354"/>
                  </a:lnTo>
                  <a:lnTo>
                    <a:pt x="237" y="321"/>
                  </a:lnTo>
                  <a:lnTo>
                    <a:pt x="246" y="316"/>
                  </a:lnTo>
                  <a:lnTo>
                    <a:pt x="256" y="311"/>
                  </a:lnTo>
                  <a:lnTo>
                    <a:pt x="266" y="305"/>
                  </a:lnTo>
                  <a:lnTo>
                    <a:pt x="274" y="298"/>
                  </a:lnTo>
                  <a:lnTo>
                    <a:pt x="302" y="313"/>
                  </a:lnTo>
                  <a:lnTo>
                    <a:pt x="305" y="315"/>
                  </a:lnTo>
                  <a:lnTo>
                    <a:pt x="307" y="315"/>
                  </a:lnTo>
                  <a:lnTo>
                    <a:pt x="310" y="316"/>
                  </a:lnTo>
                  <a:lnTo>
                    <a:pt x="314" y="316"/>
                  </a:lnTo>
                  <a:lnTo>
                    <a:pt x="319" y="313"/>
                  </a:lnTo>
                  <a:lnTo>
                    <a:pt x="322" y="309"/>
                  </a:lnTo>
                  <a:lnTo>
                    <a:pt x="360" y="243"/>
                  </a:lnTo>
                  <a:lnTo>
                    <a:pt x="362" y="240"/>
                  </a:lnTo>
                  <a:lnTo>
                    <a:pt x="362" y="237"/>
                  </a:lnTo>
                  <a:lnTo>
                    <a:pt x="362" y="234"/>
                  </a:lnTo>
                  <a:lnTo>
                    <a:pt x="362" y="232"/>
                  </a:lnTo>
                  <a:lnTo>
                    <a:pt x="361" y="229"/>
                  </a:lnTo>
                  <a:lnTo>
                    <a:pt x="359" y="227"/>
                  </a:lnTo>
                  <a:lnTo>
                    <a:pt x="357" y="224"/>
                  </a:lnTo>
                  <a:lnTo>
                    <a:pt x="354" y="2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B"/>
                </a:solidFill>
                <a:effectLst/>
                <a:uLnTx/>
                <a:uFillTx/>
                <a:latin typeface="Lato" panose="020F0502020204030203" pitchFamily="34" charset="0"/>
                <a:ea typeface="+mn-ea"/>
                <a:cs typeface="+mn-cs"/>
                <a:sym typeface="Lato" panose="020F0502020204030203" pitchFamily="34" charset="0"/>
              </a:endParaRPr>
            </a:p>
          </p:txBody>
        </p:sp>
      </p:grpSp>
      <p:pic>
        <p:nvPicPr>
          <p:cNvPr id="26" name="Graphic 25" descr="Handshake with solid fill">
            <a:extLst>
              <a:ext uri="{FF2B5EF4-FFF2-40B4-BE49-F238E27FC236}">
                <a16:creationId xmlns:a16="http://schemas.microsoft.com/office/drawing/2014/main" id="{7F7F6051-E5AE-B36C-88B8-E13D2B30C7F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236015" y="2036418"/>
            <a:ext cx="589076" cy="589075"/>
          </a:xfrm>
          <a:prstGeom prst="rect">
            <a:avLst/>
          </a:prstGeom>
        </p:spPr>
      </p:pic>
      <p:sp>
        <p:nvSpPr>
          <p:cNvPr id="30" name="Rectangle 29">
            <a:extLst>
              <a:ext uri="{FF2B5EF4-FFF2-40B4-BE49-F238E27FC236}">
                <a16:creationId xmlns:a16="http://schemas.microsoft.com/office/drawing/2014/main" id="{53022FDB-E1DA-783E-CA35-01A723C9EF4B}"/>
              </a:ext>
            </a:extLst>
          </p:cNvPr>
          <p:cNvSpPr/>
          <p:nvPr/>
        </p:nvSpPr>
        <p:spPr>
          <a:xfrm>
            <a:off x="4978889" y="5406880"/>
            <a:ext cx="3231669" cy="830997"/>
          </a:xfrm>
          <a:prstGeom prst="rect">
            <a:avLst/>
          </a:prstGeom>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3C3C3B"/>
                </a:solidFill>
                <a:effectLst/>
                <a:uLnTx/>
                <a:uFillTx/>
                <a:latin typeface="Lato"/>
                <a:ea typeface="Lato"/>
                <a:cs typeface="Lato"/>
                <a:sym typeface="Lato" panose="020F0502020204030203" pitchFamily="34" charset="0"/>
              </a:rPr>
              <a:t>Models &amp; Data</a:t>
            </a:r>
            <a:br>
              <a:rPr kumimoji="0" lang="en-US" sz="2000" b="1" i="0" u="none" strike="noStrike" kern="1200" cap="none" spc="0" normalizeH="0" baseline="0" noProof="0">
                <a:ln>
                  <a:noFill/>
                </a:ln>
                <a:solidFill>
                  <a:srgbClr val="3C3C3B"/>
                </a:solidFill>
                <a:effectLst/>
                <a:uLnTx/>
                <a:uFillTx/>
                <a:latin typeface="Lato" panose="020F0502020204030203" pitchFamily="34" charset="0"/>
                <a:ea typeface="+mn-ea"/>
                <a:cs typeface="+mn-cs"/>
              </a:rPr>
            </a:br>
            <a:r>
              <a:rPr kumimoji="0" lang="en-US" sz="1200" b="1" i="0" u="none" strike="noStrike" kern="1200" cap="none" spc="0" normalizeH="0" baseline="0" noProof="0">
                <a:ln>
                  <a:noFill/>
                </a:ln>
                <a:solidFill>
                  <a:srgbClr val="3C3C3B"/>
                </a:solidFill>
                <a:effectLst/>
                <a:uLnTx/>
                <a:uFillTx/>
                <a:latin typeface="Lato"/>
                <a:ea typeface="Lato"/>
                <a:cs typeface="Lato"/>
                <a:sym typeface="Lato" panose="020F0502020204030203" pitchFamily="34" charset="0"/>
              </a:rPr>
              <a:t>Market-leading models for power, gas, hydrogen, carbon, oil &amp; coal markets</a:t>
            </a:r>
            <a:br>
              <a:rPr kumimoji="0" lang="en-US" sz="1200" b="1" i="0" u="none" strike="noStrike" kern="1200" cap="none" spc="0" normalizeH="0" baseline="0" noProof="0">
                <a:ln>
                  <a:noFill/>
                </a:ln>
                <a:solidFill>
                  <a:srgbClr val="3C3C3B"/>
                </a:solidFill>
                <a:effectLst/>
                <a:uLnTx/>
                <a:uFillTx/>
                <a:latin typeface="Lato" panose="020F0502020204030203" pitchFamily="34" charset="0"/>
                <a:ea typeface="+mn-ea"/>
                <a:cs typeface="+mn-cs"/>
              </a:rPr>
            </a:br>
            <a:endParaRPr kumimoji="0" lang="en-US" sz="1200" b="0" i="0" u="none" strike="noStrike" kern="1200" cap="none" spc="0" normalizeH="0" baseline="0" noProof="0">
              <a:ln>
                <a:noFill/>
              </a:ln>
              <a:solidFill>
                <a:srgbClr val="3C3C3B"/>
              </a:solidFill>
              <a:effectLst/>
              <a:uLnTx/>
              <a:uFillTx/>
              <a:latin typeface="Lato" panose="020F0502020204030203" pitchFamily="34" charset="0"/>
              <a:ea typeface="+mn-ea"/>
              <a:cs typeface="+mn-cs"/>
              <a:sym typeface="Lato" panose="020F0502020204030203" pitchFamily="34" charset="0"/>
            </a:endParaRPr>
          </a:p>
        </p:txBody>
      </p:sp>
      <p:sp>
        <p:nvSpPr>
          <p:cNvPr id="33" name="Rectangle 32">
            <a:extLst>
              <a:ext uri="{FF2B5EF4-FFF2-40B4-BE49-F238E27FC236}">
                <a16:creationId xmlns:a16="http://schemas.microsoft.com/office/drawing/2014/main" id="{9C01B8DC-9CF6-8CAD-423B-C05060A2A5BE}"/>
              </a:ext>
            </a:extLst>
          </p:cNvPr>
          <p:cNvSpPr/>
          <p:nvPr/>
        </p:nvSpPr>
        <p:spPr>
          <a:xfrm>
            <a:off x="7956520" y="2958080"/>
            <a:ext cx="3839329" cy="630942"/>
          </a:xfrm>
          <a:prstGeom prst="rect">
            <a:avLst/>
          </a:prstGeom>
        </p:spPr>
        <p:txBody>
          <a:bodyPr wrap="square" lIns="0" tIns="0" rIns="0" bIns="0">
            <a:spAutoFit/>
          </a:bodyPr>
          <a:lstStyle/>
          <a:p>
            <a:pPr marL="0" marR="0" lvl="1" indent="0" algn="l" defTabSz="914400" rtl="0" eaLnBrk="1" fontAlgn="base" latinLnBrk="0" hangingPunct="1">
              <a:lnSpc>
                <a:spcPct val="100000"/>
              </a:lnSpc>
              <a:spcBef>
                <a:spcPts val="600"/>
              </a:spcBef>
              <a:spcAft>
                <a:spcPct val="0"/>
              </a:spcAft>
              <a:buClr>
                <a:srgbClr val="3C3C3B"/>
              </a:buClr>
              <a:buSzPct val="100000"/>
              <a:buFontTx/>
              <a:buNone/>
              <a:tabLst/>
              <a:defRPr/>
            </a:pPr>
            <a:r>
              <a:rPr kumimoji="0" lang="en-US" sz="1200" b="0" i="0" u="none" strike="noStrike" kern="1200" cap="none" spc="0" normalizeH="0" baseline="0" noProof="0">
                <a:ln>
                  <a:noFill/>
                </a:ln>
                <a:solidFill>
                  <a:srgbClr val="3C3C3B"/>
                </a:solidFill>
                <a:effectLst/>
                <a:uLnTx/>
                <a:uFillTx/>
                <a:latin typeface="Lato" panose="020F0502020204030203" pitchFamily="34" charset="0"/>
                <a:ea typeface="+mn-ea"/>
                <a:cs typeface="+mn-cs"/>
                <a:sym typeface="Lato" panose="020F0502020204030203" pitchFamily="34" charset="0"/>
              </a:rPr>
              <a:t>Unique SaaS subscriptions to create your own scenarios</a:t>
            </a:r>
            <a:br>
              <a:rPr kumimoji="0" lang="en-US" sz="1200" b="0" i="0" u="none" strike="noStrike" kern="1200" cap="none" spc="0" normalizeH="0" baseline="0" noProof="0">
                <a:ln>
                  <a:noFill/>
                </a:ln>
                <a:solidFill>
                  <a:srgbClr val="3C3C3B"/>
                </a:solidFill>
                <a:effectLst/>
                <a:uLnTx/>
                <a:uFillTx/>
                <a:latin typeface="Lato" panose="020F0502020204030203" pitchFamily="34" charset="0"/>
                <a:ea typeface="+mn-ea"/>
                <a:cs typeface="+mn-cs"/>
                <a:sym typeface="Lato" panose="020F0502020204030203" pitchFamily="34" charset="0"/>
              </a:rPr>
            </a:br>
            <a:r>
              <a:rPr kumimoji="0" lang="en-US" sz="1200" b="0" i="0" u="none" strike="noStrike" kern="1200" cap="none" spc="0" normalizeH="0" baseline="0" noProof="0">
                <a:ln>
                  <a:noFill/>
                </a:ln>
                <a:solidFill>
                  <a:srgbClr val="3C3C3B"/>
                </a:solidFill>
                <a:effectLst/>
                <a:uLnTx/>
                <a:uFillTx/>
                <a:latin typeface="Lato" panose="020F0502020204030203" pitchFamily="34" charset="0"/>
                <a:ea typeface="+mn-ea"/>
                <a:cs typeface="+mn-cs"/>
                <a:sym typeface="Lato" panose="020F0502020204030203" pitchFamily="34" charset="0"/>
              </a:rPr>
              <a:t>and asset-specific investment cases</a:t>
            </a:r>
          </a:p>
          <a:p>
            <a:pPr marL="0" marR="0" lvl="1" indent="0" algn="l" defTabSz="914400" rtl="0" eaLnBrk="1" fontAlgn="base" latinLnBrk="0" hangingPunct="1">
              <a:lnSpc>
                <a:spcPct val="100000"/>
              </a:lnSpc>
              <a:spcBef>
                <a:spcPts val="600"/>
              </a:spcBef>
              <a:spcAft>
                <a:spcPct val="0"/>
              </a:spcAft>
              <a:buClr>
                <a:srgbClr val="3C3C3B"/>
              </a:buClr>
              <a:buSzPct val="100000"/>
              <a:buFontTx/>
              <a:buNone/>
              <a:tabLst/>
              <a:defRPr/>
            </a:pPr>
            <a:r>
              <a:rPr kumimoji="0" lang="en-US" sz="1200" b="1" i="0" u="none" strike="noStrike" kern="1200" cap="none" spc="0" normalizeH="0" baseline="0" noProof="0">
                <a:ln>
                  <a:noFill/>
                </a:ln>
                <a:solidFill>
                  <a:srgbClr val="3C3C3B"/>
                </a:solidFill>
                <a:effectLst/>
                <a:uLnTx/>
                <a:uFillTx/>
                <a:latin typeface="Lato" panose="020F0502020204030203" pitchFamily="34" charset="0"/>
                <a:ea typeface="+mn-ea"/>
                <a:cs typeface="+mn-cs"/>
                <a:sym typeface="Lato" panose="020F0502020204030203" pitchFamily="34" charset="0"/>
              </a:rPr>
              <a:t>100+ company licenses</a:t>
            </a:r>
          </a:p>
        </p:txBody>
      </p:sp>
      <p:sp>
        <p:nvSpPr>
          <p:cNvPr id="36" name="TextBox 35">
            <a:extLst>
              <a:ext uri="{FF2B5EF4-FFF2-40B4-BE49-F238E27FC236}">
                <a16:creationId xmlns:a16="http://schemas.microsoft.com/office/drawing/2014/main" id="{3475CE02-A973-A34A-1258-AC101F5705FD}"/>
              </a:ext>
            </a:extLst>
          </p:cNvPr>
          <p:cNvSpPr txBox="1">
            <a:spLocks/>
          </p:cNvSpPr>
          <p:nvPr/>
        </p:nvSpPr>
        <p:spPr>
          <a:xfrm>
            <a:off x="7956520" y="1743642"/>
            <a:ext cx="3629148" cy="630942"/>
          </a:xfrm>
          <a:prstGeom prst="rect">
            <a:avLst/>
          </a:prstGeom>
          <a:noFill/>
        </p:spPr>
        <p:txBody>
          <a:bodyPr wrap="square" lIns="0" tIns="0" rIns="0" bIns="0" rtlCol="0" anchor="b" anchorCtr="0">
            <a:spAutoFit/>
          </a:bodyPr>
          <a:lstStyle/>
          <a:p>
            <a:pPr marL="0" marR="0" lvl="1" indent="0" algn="l" defTabSz="914400" rtl="0" eaLnBrk="1" fontAlgn="base" latinLnBrk="0" hangingPunct="1">
              <a:lnSpc>
                <a:spcPct val="100000"/>
              </a:lnSpc>
              <a:spcBef>
                <a:spcPts val="600"/>
              </a:spcBef>
              <a:spcAft>
                <a:spcPct val="0"/>
              </a:spcAft>
              <a:buClr>
                <a:srgbClr val="3C3C3B"/>
              </a:buClr>
              <a:buSzPct val="100000"/>
              <a:buFontTx/>
              <a:buNone/>
              <a:tabLst/>
              <a:defRPr/>
            </a:pPr>
            <a:r>
              <a:rPr kumimoji="0" lang="en-US" sz="1200" b="0" i="0" u="none" strike="noStrike" kern="1200" cap="none" spc="0" normalizeH="0" baseline="0" noProof="0">
                <a:ln>
                  <a:noFill/>
                </a:ln>
                <a:solidFill>
                  <a:srgbClr val="3C3C3B"/>
                </a:solidFill>
                <a:effectLst/>
                <a:uLnTx/>
                <a:uFillTx/>
                <a:latin typeface="Lato" panose="020F0502020204030203" pitchFamily="34" charset="0"/>
                <a:ea typeface="+mn-ea"/>
                <a:cs typeface="+mn-cs"/>
                <a:sym typeface="Lato" panose="020F0502020204030203" pitchFamily="34" charset="0"/>
              </a:rPr>
              <a:t>Trusted advice and dedicated support for strategy, investments, transactions and policy engagement</a:t>
            </a:r>
          </a:p>
          <a:p>
            <a:pPr marL="0" marR="0" lvl="1" indent="0" algn="l" defTabSz="914400" rtl="0" eaLnBrk="1" fontAlgn="base" latinLnBrk="0" hangingPunct="1">
              <a:lnSpc>
                <a:spcPct val="100000"/>
              </a:lnSpc>
              <a:spcBef>
                <a:spcPts val="600"/>
              </a:spcBef>
              <a:spcAft>
                <a:spcPct val="0"/>
              </a:spcAft>
              <a:buClr>
                <a:srgbClr val="3C3C3B"/>
              </a:buClr>
              <a:buSzPct val="100000"/>
              <a:buFontTx/>
              <a:buNone/>
              <a:tabLst/>
              <a:defRPr/>
            </a:pPr>
            <a:r>
              <a:rPr kumimoji="0" lang="en-US" sz="1200" b="1" i="0" u="none" strike="noStrike" kern="1200" cap="none" spc="0" normalizeH="0" baseline="0" noProof="0">
                <a:ln>
                  <a:noFill/>
                </a:ln>
                <a:solidFill>
                  <a:srgbClr val="3C3C3B"/>
                </a:solidFill>
                <a:effectLst/>
                <a:uLnTx/>
                <a:uFillTx/>
                <a:latin typeface="Lato" panose="020F0502020204030203" pitchFamily="34" charset="0"/>
                <a:ea typeface="+mn-ea"/>
                <a:cs typeface="+mn-cs"/>
                <a:sym typeface="Lato" panose="020F0502020204030203" pitchFamily="34" charset="0"/>
              </a:rPr>
              <a:t>1400+ projects globally</a:t>
            </a:r>
          </a:p>
        </p:txBody>
      </p:sp>
      <p:sp>
        <p:nvSpPr>
          <p:cNvPr id="38" name="TextBox 37">
            <a:extLst>
              <a:ext uri="{FF2B5EF4-FFF2-40B4-BE49-F238E27FC236}">
                <a16:creationId xmlns:a16="http://schemas.microsoft.com/office/drawing/2014/main" id="{B881059B-A962-B5A8-08BC-DFD12D86821D}"/>
              </a:ext>
            </a:extLst>
          </p:cNvPr>
          <p:cNvSpPr txBox="1">
            <a:spLocks/>
          </p:cNvSpPr>
          <p:nvPr/>
        </p:nvSpPr>
        <p:spPr>
          <a:xfrm>
            <a:off x="7956519" y="4165223"/>
            <a:ext cx="3951709" cy="630942"/>
          </a:xfrm>
          <a:prstGeom prst="rect">
            <a:avLst/>
          </a:prstGeom>
          <a:noFill/>
        </p:spPr>
        <p:txBody>
          <a:bodyPr wrap="square" lIns="0" tIns="0" rIns="0" bIns="0" rtlCol="0">
            <a:spAutoFit/>
          </a:bodyPr>
          <a:lstStyle/>
          <a:p>
            <a:pPr marL="0" marR="0" lvl="1" indent="0" algn="l" defTabSz="914400" rtl="0" eaLnBrk="1" fontAlgn="base" latinLnBrk="0" hangingPunct="1">
              <a:lnSpc>
                <a:spcPct val="100000"/>
              </a:lnSpc>
              <a:spcBef>
                <a:spcPts val="600"/>
              </a:spcBef>
              <a:spcAft>
                <a:spcPct val="0"/>
              </a:spcAft>
              <a:buClr>
                <a:srgbClr val="3C3C3B"/>
              </a:buClr>
              <a:buSzPct val="100000"/>
              <a:buFontTx/>
              <a:buNone/>
              <a:tabLst/>
              <a:defRPr/>
            </a:pPr>
            <a:r>
              <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dustry-standard outlook reports, bankable price forecasts and strategic insights for power and commodities</a:t>
            </a:r>
          </a:p>
          <a:p>
            <a:pPr marL="0" marR="0" lvl="1" indent="0" algn="l" defTabSz="914400" rtl="0" eaLnBrk="1" fontAlgn="base" latinLnBrk="0" hangingPunct="1">
              <a:lnSpc>
                <a:spcPct val="100000"/>
              </a:lnSpc>
              <a:spcBef>
                <a:spcPts val="600"/>
              </a:spcBef>
              <a:spcAft>
                <a:spcPct val="0"/>
              </a:spcAft>
              <a:buClr>
                <a:srgbClr val="3C3C3B"/>
              </a:buClr>
              <a:buSzPct val="100000"/>
              <a:buFontTx/>
              <a:buNone/>
              <a:tabLst/>
              <a:defRPr/>
            </a:pPr>
            <a:r>
              <a:rPr kumimoji="0" lang="en-GB" sz="12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600+ subscribing companies</a:t>
            </a: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pic>
        <p:nvPicPr>
          <p:cNvPr id="43" name="Graphic 18" descr="Bar chart">
            <a:extLst>
              <a:ext uri="{FF2B5EF4-FFF2-40B4-BE49-F238E27FC236}">
                <a16:creationId xmlns:a16="http://schemas.microsoft.com/office/drawing/2014/main" id="{6C4D6943-5F9C-D010-FD92-FBD92B6EF9F6}"/>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bwMode="gray">
          <a:xfrm>
            <a:off x="2230262" y="5500528"/>
            <a:ext cx="704240" cy="579847"/>
          </a:xfrm>
          <a:prstGeom prst="rect">
            <a:avLst/>
          </a:prstGeom>
        </p:spPr>
      </p:pic>
      <p:sp>
        <p:nvSpPr>
          <p:cNvPr id="32" name="Arrow: Up 31">
            <a:extLst>
              <a:ext uri="{FF2B5EF4-FFF2-40B4-BE49-F238E27FC236}">
                <a16:creationId xmlns:a16="http://schemas.microsoft.com/office/drawing/2014/main" id="{0588A22C-063D-7618-D68F-32A9050BAC73}"/>
              </a:ext>
            </a:extLst>
          </p:cNvPr>
          <p:cNvSpPr/>
          <p:nvPr/>
        </p:nvSpPr>
        <p:spPr>
          <a:xfrm>
            <a:off x="1485276" y="1525128"/>
            <a:ext cx="489262" cy="3494578"/>
          </a:xfrm>
          <a:prstGeom prst="upArrow">
            <a:avLst>
              <a:gd name="adj1" fmla="val 50000"/>
              <a:gd name="adj2" fmla="val 60136"/>
            </a:avLst>
          </a:prstGeom>
          <a:gradFill flip="none" rotWithShape="1">
            <a:gsLst>
              <a:gs pos="0">
                <a:schemeClr val="accent5"/>
              </a:gs>
              <a:gs pos="50000">
                <a:schemeClr val="bg1">
                  <a:lumMod val="95000"/>
                  <a:shade val="67500"/>
                  <a:satMod val="115000"/>
                </a:schemeClr>
              </a:gs>
              <a:gs pos="100000">
                <a:schemeClr val="bg2"/>
              </a:gs>
            </a:gsLst>
            <a:lin ang="16200000" scaled="1"/>
            <a:tileRect/>
          </a:gra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vert270"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de-DE" sz="1400" b="0" i="0" u="none" strike="noStrike" kern="1200" cap="none" spc="0" normalizeH="0" baseline="0" noProof="0">
              <a:ln>
                <a:noFill/>
              </a:ln>
              <a:solidFill>
                <a:srgbClr val="3C3C3B"/>
              </a:solidFill>
              <a:effectLst/>
              <a:uLnTx/>
              <a:uFillTx/>
              <a:latin typeface="Lato" panose="020F0502020204030203" pitchFamily="34" charset="0"/>
              <a:ea typeface="+mn-ea"/>
              <a:cs typeface="+mn-cs"/>
              <a:sym typeface="Lato" panose="020F0502020204030203" pitchFamily="34" charset="0"/>
            </a:endParaRPr>
          </a:p>
        </p:txBody>
      </p:sp>
      <p:sp>
        <p:nvSpPr>
          <p:cNvPr id="35" name="TextBox 34">
            <a:extLst>
              <a:ext uri="{FF2B5EF4-FFF2-40B4-BE49-F238E27FC236}">
                <a16:creationId xmlns:a16="http://schemas.microsoft.com/office/drawing/2014/main" id="{B74DE2B2-D49D-6E44-2E08-8A8FE0A1E24F}"/>
              </a:ext>
            </a:extLst>
          </p:cNvPr>
          <p:cNvSpPr txBox="1"/>
          <p:nvPr/>
        </p:nvSpPr>
        <p:spPr>
          <a:xfrm rot="16200000">
            <a:off x="1022862" y="4015782"/>
            <a:ext cx="1414631"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de-DE" sz="1200" b="0" i="0" u="none" strike="noStrike" kern="1200" cap="none" spc="0" normalizeH="0" baseline="0" noProof="0">
                <a:ln>
                  <a:noFill/>
                </a:ln>
                <a:solidFill>
                  <a:prstClr val="white"/>
                </a:solidFill>
                <a:effectLst/>
                <a:uLnTx/>
                <a:uFillTx/>
                <a:latin typeface="Lato" panose="020F0502020204030203" pitchFamily="34" charset="0"/>
                <a:ea typeface="+mn-ea"/>
                <a:cs typeface="+mn-cs"/>
                <a:sym typeface="Lato" panose="020F0502020204030203" pitchFamily="34" charset="0"/>
              </a:rPr>
              <a:t>STANDARDISED</a:t>
            </a:r>
          </a:p>
        </p:txBody>
      </p:sp>
      <p:sp>
        <p:nvSpPr>
          <p:cNvPr id="40" name="TextBox 39">
            <a:extLst>
              <a:ext uri="{FF2B5EF4-FFF2-40B4-BE49-F238E27FC236}">
                <a16:creationId xmlns:a16="http://schemas.microsoft.com/office/drawing/2014/main" id="{5E01EA60-4289-F4AC-7A72-EC367394FC68}"/>
              </a:ext>
            </a:extLst>
          </p:cNvPr>
          <p:cNvSpPr txBox="1"/>
          <p:nvPr/>
        </p:nvSpPr>
        <p:spPr>
          <a:xfrm rot="16200000">
            <a:off x="1105669" y="2296035"/>
            <a:ext cx="1249019"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de-DE" sz="1200" b="0" i="0" u="none" strike="noStrike" kern="1200" cap="none" spc="0" normalizeH="0" baseline="0" noProof="0">
                <a:ln>
                  <a:noFill/>
                </a:ln>
                <a:solidFill>
                  <a:srgbClr val="838383"/>
                </a:solidFill>
                <a:effectLst/>
                <a:uLnTx/>
                <a:uFillTx/>
                <a:latin typeface="Lato" panose="020F0502020204030203" pitchFamily="34" charset="0"/>
                <a:ea typeface="+mn-ea"/>
                <a:cs typeface="+mn-cs"/>
                <a:sym typeface="Lato" panose="020F0502020204030203" pitchFamily="34" charset="0"/>
              </a:rPr>
              <a:t>CUSTOMISED</a:t>
            </a:r>
          </a:p>
        </p:txBody>
      </p:sp>
      <p:cxnSp>
        <p:nvCxnSpPr>
          <p:cNvPr id="3" name="Straight Connector 2">
            <a:extLst>
              <a:ext uri="{FF2B5EF4-FFF2-40B4-BE49-F238E27FC236}">
                <a16:creationId xmlns:a16="http://schemas.microsoft.com/office/drawing/2014/main" id="{D3D7C7FC-91B9-CF69-153B-EAB808B1F3C9}"/>
              </a:ext>
            </a:extLst>
          </p:cNvPr>
          <p:cNvCxnSpPr>
            <a:cxnSpLocks/>
          </p:cNvCxnSpPr>
          <p:nvPr/>
        </p:nvCxnSpPr>
        <p:spPr>
          <a:xfrm>
            <a:off x="7764275" y="2900102"/>
            <a:ext cx="0" cy="71652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77B43ECF-5160-1CF5-4102-B739F13E436F}"/>
              </a:ext>
            </a:extLst>
          </p:cNvPr>
          <p:cNvCxnSpPr>
            <a:cxnSpLocks/>
          </p:cNvCxnSpPr>
          <p:nvPr/>
        </p:nvCxnSpPr>
        <p:spPr>
          <a:xfrm>
            <a:off x="7764275" y="1692710"/>
            <a:ext cx="0" cy="71652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3E4257D-1225-E455-E23E-E1413A00AD9D}"/>
              </a:ext>
            </a:extLst>
          </p:cNvPr>
          <p:cNvCxnSpPr>
            <a:cxnSpLocks/>
          </p:cNvCxnSpPr>
          <p:nvPr/>
        </p:nvCxnSpPr>
        <p:spPr>
          <a:xfrm>
            <a:off x="7764275" y="4125510"/>
            <a:ext cx="0" cy="71652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C09C34ED-0D3B-17FD-7AEA-05D3FDEDE3DC}"/>
              </a:ext>
            </a:extLst>
          </p:cNvPr>
          <p:cNvSpPr txBox="1">
            <a:spLocks/>
          </p:cNvSpPr>
          <p:nvPr/>
        </p:nvSpPr>
        <p:spPr>
          <a:xfrm>
            <a:off x="7956520" y="5433531"/>
            <a:ext cx="3881556" cy="630942"/>
          </a:xfrm>
          <a:prstGeom prst="rect">
            <a:avLst/>
          </a:prstGeom>
          <a:noFill/>
        </p:spPr>
        <p:txBody>
          <a:bodyPr wrap="square" lIns="0" tIns="0" rIns="0" bIns="0" rtlCol="0" anchor="t">
            <a:spAutoFit/>
          </a:bodyPr>
          <a:lstStyle/>
          <a:p>
            <a:pPr marL="0" marR="0" lvl="1" indent="0" algn="l" defTabSz="914400" rtl="0" eaLnBrk="1" fontAlgn="base" latinLnBrk="0" hangingPunct="1">
              <a:lnSpc>
                <a:spcPct val="100000"/>
              </a:lnSpc>
              <a:spcBef>
                <a:spcPts val="600"/>
              </a:spcBef>
              <a:spcAft>
                <a:spcPct val="0"/>
              </a:spcAft>
              <a:buClr>
                <a:srgbClr val="3C3C3B"/>
              </a:buClr>
              <a:buSzPct val="100000"/>
              <a:buFontTx/>
              <a:buNone/>
              <a:tabLst/>
              <a:defRPr/>
            </a:pPr>
            <a:r>
              <a:rPr kumimoji="0" lang="en-GB" sz="1200" b="0" i="0" u="none" strike="noStrike" kern="1200" cap="none" spc="0" normalizeH="0" baseline="0" noProof="0">
                <a:ln>
                  <a:noFill/>
                </a:ln>
                <a:solidFill>
                  <a:srgbClr val="3C3C3B"/>
                </a:solidFill>
                <a:effectLst/>
                <a:uLnTx/>
                <a:uFillTx/>
                <a:latin typeface="Lato"/>
                <a:ea typeface="Lato"/>
                <a:cs typeface="Lato"/>
                <a:sym typeface="Lato" panose="020F0502020204030203" pitchFamily="34" charset="0"/>
              </a:rPr>
              <a:t>Proprietary and continuously updated cutting-edge models populated with highest quality curated datasets</a:t>
            </a: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marL="0" marR="0" lvl="1" indent="0" algn="l" defTabSz="914400" rtl="0" eaLnBrk="1" fontAlgn="base" latinLnBrk="0" hangingPunct="1">
              <a:lnSpc>
                <a:spcPct val="100000"/>
              </a:lnSpc>
              <a:spcBef>
                <a:spcPts val="600"/>
              </a:spcBef>
              <a:spcAft>
                <a:spcPct val="0"/>
              </a:spcAft>
              <a:buClr>
                <a:srgbClr val="3C3C3B"/>
              </a:buClr>
              <a:buSzPct val="100000"/>
              <a:buFontTx/>
              <a:buNone/>
              <a:tabLst/>
              <a:defRPr/>
            </a:pPr>
            <a:r>
              <a:rPr kumimoji="0" lang="en-GB" sz="1200" b="1" i="0" u="none" strike="noStrike" kern="1200" cap="none" spc="0" normalizeH="0" baseline="0" noProof="0">
                <a:ln>
                  <a:noFill/>
                </a:ln>
                <a:solidFill>
                  <a:srgbClr val="3C3C3B"/>
                </a:solidFill>
                <a:effectLst/>
                <a:uLnTx/>
                <a:uFillTx/>
                <a:latin typeface="Lato"/>
                <a:ea typeface="Lato"/>
                <a:cs typeface="Lato"/>
                <a:sym typeface="Lato" panose="020F0502020204030203" pitchFamily="34" charset="0"/>
              </a:rPr>
              <a:t>Developed over 10 years, 50+ dedicated modellers</a:t>
            </a:r>
            <a:endParaRPr kumimoji="0" lang="en-GB" sz="1200" b="1" i="0" u="none" strike="noStrike" kern="1200" cap="none" spc="0" normalizeH="0" baseline="0" noProof="0">
              <a:ln>
                <a:noFill/>
              </a:ln>
              <a:solidFill>
                <a:srgbClr val="3C3C3B"/>
              </a:solidFill>
              <a:effectLst/>
              <a:uLnTx/>
              <a:uFillTx/>
              <a:latin typeface="Lato"/>
              <a:ea typeface="Lato"/>
              <a:cs typeface="Lato"/>
            </a:endParaRPr>
          </a:p>
        </p:txBody>
      </p:sp>
      <p:cxnSp>
        <p:nvCxnSpPr>
          <p:cNvPr id="34" name="Straight Connector 33">
            <a:extLst>
              <a:ext uri="{FF2B5EF4-FFF2-40B4-BE49-F238E27FC236}">
                <a16:creationId xmlns:a16="http://schemas.microsoft.com/office/drawing/2014/main" id="{2478E034-B912-498E-D9E0-9454D033F75B}"/>
              </a:ext>
            </a:extLst>
          </p:cNvPr>
          <p:cNvCxnSpPr>
            <a:cxnSpLocks/>
          </p:cNvCxnSpPr>
          <p:nvPr/>
        </p:nvCxnSpPr>
        <p:spPr>
          <a:xfrm>
            <a:off x="7764275" y="5393417"/>
            <a:ext cx="0" cy="71652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31" name="Graphic 36" descr="Lightbulb with solid fill">
            <a:extLst>
              <a:ext uri="{FF2B5EF4-FFF2-40B4-BE49-F238E27FC236}">
                <a16:creationId xmlns:a16="http://schemas.microsoft.com/office/drawing/2014/main" id="{D55B92C6-1971-21DC-BB4F-D58D194B5D5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171361" y="4123459"/>
            <a:ext cx="732560" cy="732560"/>
          </a:xfrm>
          <a:prstGeom prst="rect">
            <a:avLst/>
          </a:prstGeom>
        </p:spPr>
      </p:pic>
      <p:grpSp>
        <p:nvGrpSpPr>
          <p:cNvPr id="39" name="Graphic 45" descr="Single gear outline">
            <a:extLst>
              <a:ext uri="{FF2B5EF4-FFF2-40B4-BE49-F238E27FC236}">
                <a16:creationId xmlns:a16="http://schemas.microsoft.com/office/drawing/2014/main" id="{2C53E298-EF86-F373-7FBF-D64BFF4BA3D0}"/>
              </a:ext>
            </a:extLst>
          </p:cNvPr>
          <p:cNvGrpSpPr/>
          <p:nvPr/>
        </p:nvGrpSpPr>
        <p:grpSpPr>
          <a:xfrm>
            <a:off x="2443799" y="4282064"/>
            <a:ext cx="187962" cy="181598"/>
            <a:chOff x="3200942" y="4282064"/>
            <a:chExt cx="187962" cy="181598"/>
          </a:xfrm>
          <a:solidFill>
            <a:schemeClr val="bg1"/>
          </a:solidFill>
        </p:grpSpPr>
        <p:sp>
          <p:nvSpPr>
            <p:cNvPr id="41" name="Freeform: Shape 40">
              <a:extLst>
                <a:ext uri="{FF2B5EF4-FFF2-40B4-BE49-F238E27FC236}">
                  <a16:creationId xmlns:a16="http://schemas.microsoft.com/office/drawing/2014/main" id="{7FC11AF1-B006-A8D6-E0DB-BD603C722E3A}"/>
                </a:ext>
              </a:extLst>
            </p:cNvPr>
            <p:cNvSpPr/>
            <p:nvPr/>
          </p:nvSpPr>
          <p:spPr>
            <a:xfrm>
              <a:off x="3200942" y="4282064"/>
              <a:ext cx="187962" cy="181598"/>
            </a:xfrm>
            <a:custGeom>
              <a:avLst/>
              <a:gdLst>
                <a:gd name="connsiteX0" fmla="*/ 26497 w 187962"/>
                <a:gd name="connsiteY0" fmla="*/ 127399 h 181598"/>
                <a:gd name="connsiteX1" fmla="*/ 19597 w 187962"/>
                <a:gd name="connsiteY1" fmla="*/ 147424 h 181598"/>
                <a:gd name="connsiteX2" fmla="*/ 35329 w 187962"/>
                <a:gd name="connsiteY2" fmla="*/ 162642 h 181598"/>
                <a:gd name="connsiteX3" fmla="*/ 56030 w 187962"/>
                <a:gd name="connsiteY3" fmla="*/ 155967 h 181598"/>
                <a:gd name="connsiteX4" fmla="*/ 73418 w 187962"/>
                <a:gd name="connsiteY4" fmla="*/ 162909 h 181598"/>
                <a:gd name="connsiteX5" fmla="*/ 83079 w 187962"/>
                <a:gd name="connsiteY5" fmla="*/ 181598 h 181598"/>
                <a:gd name="connsiteX6" fmla="*/ 105160 w 187962"/>
                <a:gd name="connsiteY6" fmla="*/ 181598 h 181598"/>
                <a:gd name="connsiteX7" fmla="*/ 114820 w 187962"/>
                <a:gd name="connsiteY7" fmla="*/ 162909 h 181598"/>
                <a:gd name="connsiteX8" fmla="*/ 131932 w 187962"/>
                <a:gd name="connsiteY8" fmla="*/ 155967 h 181598"/>
                <a:gd name="connsiteX9" fmla="*/ 152633 w 187962"/>
                <a:gd name="connsiteY9" fmla="*/ 162642 h 181598"/>
                <a:gd name="connsiteX10" fmla="*/ 168366 w 187962"/>
                <a:gd name="connsiteY10" fmla="*/ 147424 h 181598"/>
                <a:gd name="connsiteX11" fmla="*/ 161465 w 187962"/>
                <a:gd name="connsiteY11" fmla="*/ 127399 h 181598"/>
                <a:gd name="connsiteX12" fmla="*/ 168642 w 187962"/>
                <a:gd name="connsiteY12" fmla="*/ 110579 h 181598"/>
                <a:gd name="connsiteX13" fmla="*/ 187962 w 187962"/>
                <a:gd name="connsiteY13" fmla="*/ 101234 h 181598"/>
                <a:gd name="connsiteX14" fmla="*/ 187962 w 187962"/>
                <a:gd name="connsiteY14" fmla="*/ 79875 h 181598"/>
                <a:gd name="connsiteX15" fmla="*/ 168366 w 187962"/>
                <a:gd name="connsiteY15" fmla="*/ 70798 h 181598"/>
                <a:gd name="connsiteX16" fmla="*/ 161189 w 187962"/>
                <a:gd name="connsiteY16" fmla="*/ 54244 h 181598"/>
                <a:gd name="connsiteX17" fmla="*/ 168090 w 187962"/>
                <a:gd name="connsiteY17" fmla="*/ 34220 h 181598"/>
                <a:gd name="connsiteX18" fmla="*/ 152357 w 187962"/>
                <a:gd name="connsiteY18" fmla="*/ 19002 h 181598"/>
                <a:gd name="connsiteX19" fmla="*/ 131656 w 187962"/>
                <a:gd name="connsiteY19" fmla="*/ 25676 h 181598"/>
                <a:gd name="connsiteX20" fmla="*/ 114268 w 187962"/>
                <a:gd name="connsiteY20" fmla="*/ 18735 h 181598"/>
                <a:gd name="connsiteX21" fmla="*/ 104884 w 187962"/>
                <a:gd name="connsiteY21" fmla="*/ 0 h 181598"/>
                <a:gd name="connsiteX22" fmla="*/ 82803 w 187962"/>
                <a:gd name="connsiteY22" fmla="*/ 0 h 181598"/>
                <a:gd name="connsiteX23" fmla="*/ 73142 w 187962"/>
                <a:gd name="connsiteY23" fmla="*/ 18689 h 181598"/>
                <a:gd name="connsiteX24" fmla="*/ 56030 w 187962"/>
                <a:gd name="connsiteY24" fmla="*/ 25631 h 181598"/>
                <a:gd name="connsiteX25" fmla="*/ 35329 w 187962"/>
                <a:gd name="connsiteY25" fmla="*/ 18956 h 181598"/>
                <a:gd name="connsiteX26" fmla="*/ 19597 w 187962"/>
                <a:gd name="connsiteY26" fmla="*/ 34175 h 181598"/>
                <a:gd name="connsiteX27" fmla="*/ 26497 w 187962"/>
                <a:gd name="connsiteY27" fmla="*/ 54199 h 181598"/>
                <a:gd name="connsiteX28" fmla="*/ 19321 w 187962"/>
                <a:gd name="connsiteY28" fmla="*/ 71019 h 181598"/>
                <a:gd name="connsiteX29" fmla="*/ 0 w 187962"/>
                <a:gd name="connsiteY29" fmla="*/ 80097 h 181598"/>
                <a:gd name="connsiteX30" fmla="*/ 0 w 187962"/>
                <a:gd name="connsiteY30" fmla="*/ 101456 h 181598"/>
                <a:gd name="connsiteX31" fmla="*/ 19321 w 187962"/>
                <a:gd name="connsiteY31" fmla="*/ 110801 h 181598"/>
                <a:gd name="connsiteX32" fmla="*/ 26497 w 187962"/>
                <a:gd name="connsiteY32" fmla="*/ 127399 h 181598"/>
                <a:gd name="connsiteX33" fmla="*/ 5520 w 187962"/>
                <a:gd name="connsiteY33" fmla="*/ 83472 h 181598"/>
                <a:gd name="connsiteX34" fmla="*/ 21733 w 187962"/>
                <a:gd name="connsiteY34" fmla="*/ 75852 h 181598"/>
                <a:gd name="connsiteX35" fmla="*/ 23988 w 187962"/>
                <a:gd name="connsiteY35" fmla="*/ 74784 h 181598"/>
                <a:gd name="connsiteX36" fmla="*/ 24648 w 187962"/>
                <a:gd name="connsiteY36" fmla="*/ 72445 h 181598"/>
                <a:gd name="connsiteX37" fmla="*/ 31335 w 187962"/>
                <a:gd name="connsiteY37" fmla="*/ 56786 h 181598"/>
                <a:gd name="connsiteX38" fmla="*/ 32497 w 187962"/>
                <a:gd name="connsiteY38" fmla="*/ 54741 h 181598"/>
                <a:gd name="connsiteX39" fmla="*/ 31736 w 187962"/>
                <a:gd name="connsiteY39" fmla="*/ 52525 h 181598"/>
                <a:gd name="connsiteX40" fmla="*/ 25912 w 187962"/>
                <a:gd name="connsiteY40" fmla="*/ 35627 h 181598"/>
                <a:gd name="connsiteX41" fmla="*/ 36822 w 187962"/>
                <a:gd name="connsiteY41" fmla="*/ 25070 h 181598"/>
                <a:gd name="connsiteX42" fmla="*/ 54286 w 187962"/>
                <a:gd name="connsiteY42" fmla="*/ 30704 h 181598"/>
                <a:gd name="connsiteX43" fmla="*/ 56645 w 187962"/>
                <a:gd name="connsiteY43" fmla="*/ 31465 h 181598"/>
                <a:gd name="connsiteX44" fmla="*/ 58798 w 187962"/>
                <a:gd name="connsiteY44" fmla="*/ 30258 h 181598"/>
                <a:gd name="connsiteX45" fmla="*/ 74597 w 187962"/>
                <a:gd name="connsiteY45" fmla="*/ 23850 h 181598"/>
                <a:gd name="connsiteX46" fmla="*/ 76979 w 187962"/>
                <a:gd name="connsiteY46" fmla="*/ 23223 h 181598"/>
                <a:gd name="connsiteX47" fmla="*/ 78083 w 187962"/>
                <a:gd name="connsiteY47" fmla="*/ 21087 h 181598"/>
                <a:gd name="connsiteX48" fmla="*/ 86220 w 187962"/>
                <a:gd name="connsiteY48" fmla="*/ 5340 h 181598"/>
                <a:gd name="connsiteX49" fmla="*/ 101433 w 187962"/>
                <a:gd name="connsiteY49" fmla="*/ 5340 h 181598"/>
                <a:gd name="connsiteX50" fmla="*/ 109300 w 187962"/>
                <a:gd name="connsiteY50" fmla="*/ 21039 h 181598"/>
                <a:gd name="connsiteX51" fmla="*/ 110404 w 187962"/>
                <a:gd name="connsiteY51" fmla="*/ 23217 h 181598"/>
                <a:gd name="connsiteX52" fmla="*/ 112822 w 187962"/>
                <a:gd name="connsiteY52" fmla="*/ 23856 h 181598"/>
                <a:gd name="connsiteX53" fmla="*/ 129004 w 187962"/>
                <a:gd name="connsiteY53" fmla="*/ 30327 h 181598"/>
                <a:gd name="connsiteX54" fmla="*/ 131121 w 187962"/>
                <a:gd name="connsiteY54" fmla="*/ 31454 h 181598"/>
                <a:gd name="connsiteX55" fmla="*/ 133412 w 187962"/>
                <a:gd name="connsiteY55" fmla="*/ 30714 h 181598"/>
                <a:gd name="connsiteX56" fmla="*/ 150875 w 187962"/>
                <a:gd name="connsiteY56" fmla="*/ 25081 h 181598"/>
                <a:gd name="connsiteX57" fmla="*/ 161786 w 187962"/>
                <a:gd name="connsiteY57" fmla="*/ 35638 h 181598"/>
                <a:gd name="connsiteX58" fmla="*/ 155962 w 187962"/>
                <a:gd name="connsiteY58" fmla="*/ 52536 h 181598"/>
                <a:gd name="connsiteX59" fmla="*/ 155175 w 187962"/>
                <a:gd name="connsiteY59" fmla="*/ 54818 h 181598"/>
                <a:gd name="connsiteX60" fmla="*/ 156423 w 187962"/>
                <a:gd name="connsiteY60" fmla="*/ 56898 h 181598"/>
                <a:gd name="connsiteX61" fmla="*/ 163047 w 187962"/>
                <a:gd name="connsiteY61" fmla="*/ 72186 h 181598"/>
                <a:gd name="connsiteX62" fmla="*/ 163712 w 187962"/>
                <a:gd name="connsiteY62" fmla="*/ 74543 h 181598"/>
                <a:gd name="connsiteX63" fmla="*/ 165989 w 187962"/>
                <a:gd name="connsiteY63" fmla="*/ 75598 h 181598"/>
                <a:gd name="connsiteX64" fmla="*/ 182442 w 187962"/>
                <a:gd name="connsiteY64" fmla="*/ 83226 h 181598"/>
                <a:gd name="connsiteX65" fmla="*/ 182442 w 187962"/>
                <a:gd name="connsiteY65" fmla="*/ 97929 h 181598"/>
                <a:gd name="connsiteX66" fmla="*/ 166171 w 187962"/>
                <a:gd name="connsiteY66" fmla="*/ 105800 h 181598"/>
                <a:gd name="connsiteX67" fmla="*/ 163963 w 187962"/>
                <a:gd name="connsiteY67" fmla="*/ 106868 h 181598"/>
                <a:gd name="connsiteX68" fmla="*/ 163315 w 187962"/>
                <a:gd name="connsiteY68" fmla="*/ 109169 h 181598"/>
                <a:gd name="connsiteX69" fmla="*/ 156627 w 187962"/>
                <a:gd name="connsiteY69" fmla="*/ 124828 h 181598"/>
                <a:gd name="connsiteX70" fmla="*/ 155465 w 187962"/>
                <a:gd name="connsiteY70" fmla="*/ 126873 h 181598"/>
                <a:gd name="connsiteX71" fmla="*/ 156227 w 187962"/>
                <a:gd name="connsiteY71" fmla="*/ 129089 h 181598"/>
                <a:gd name="connsiteX72" fmla="*/ 162051 w 187962"/>
                <a:gd name="connsiteY72" fmla="*/ 145987 h 181598"/>
                <a:gd name="connsiteX73" fmla="*/ 151140 w 187962"/>
                <a:gd name="connsiteY73" fmla="*/ 156544 h 181598"/>
                <a:gd name="connsiteX74" fmla="*/ 133677 w 187962"/>
                <a:gd name="connsiteY74" fmla="*/ 150911 h 181598"/>
                <a:gd name="connsiteX75" fmla="*/ 131317 w 187962"/>
                <a:gd name="connsiteY75" fmla="*/ 150150 h 181598"/>
                <a:gd name="connsiteX76" fmla="*/ 129164 w 187962"/>
                <a:gd name="connsiteY76" fmla="*/ 151356 h 181598"/>
                <a:gd name="connsiteX77" fmla="*/ 113363 w 187962"/>
                <a:gd name="connsiteY77" fmla="*/ 157764 h 181598"/>
                <a:gd name="connsiteX78" fmla="*/ 110983 w 187962"/>
                <a:gd name="connsiteY78" fmla="*/ 158392 h 181598"/>
                <a:gd name="connsiteX79" fmla="*/ 109879 w 187962"/>
                <a:gd name="connsiteY79" fmla="*/ 160527 h 181598"/>
                <a:gd name="connsiteX80" fmla="*/ 101743 w 187962"/>
                <a:gd name="connsiteY80" fmla="*/ 176280 h 181598"/>
                <a:gd name="connsiteX81" fmla="*/ 86496 w 187962"/>
                <a:gd name="connsiteY81" fmla="*/ 176280 h 181598"/>
                <a:gd name="connsiteX82" fmla="*/ 78362 w 187962"/>
                <a:gd name="connsiteY82" fmla="*/ 160527 h 181598"/>
                <a:gd name="connsiteX83" fmla="*/ 77258 w 187962"/>
                <a:gd name="connsiteY83" fmla="*/ 158392 h 181598"/>
                <a:gd name="connsiteX84" fmla="*/ 74876 w 187962"/>
                <a:gd name="connsiteY84" fmla="*/ 157764 h 181598"/>
                <a:gd name="connsiteX85" fmla="*/ 58696 w 187962"/>
                <a:gd name="connsiteY85" fmla="*/ 151292 h 181598"/>
                <a:gd name="connsiteX86" fmla="*/ 56579 w 187962"/>
                <a:gd name="connsiteY86" fmla="*/ 150166 h 181598"/>
                <a:gd name="connsiteX87" fmla="*/ 54288 w 187962"/>
                <a:gd name="connsiteY87" fmla="*/ 150905 h 181598"/>
                <a:gd name="connsiteX88" fmla="*/ 36825 w 187962"/>
                <a:gd name="connsiteY88" fmla="*/ 156539 h 181598"/>
                <a:gd name="connsiteX89" fmla="*/ 25915 w 187962"/>
                <a:gd name="connsiteY89" fmla="*/ 145982 h 181598"/>
                <a:gd name="connsiteX90" fmla="*/ 31741 w 187962"/>
                <a:gd name="connsiteY90" fmla="*/ 129089 h 181598"/>
                <a:gd name="connsiteX91" fmla="*/ 32525 w 187962"/>
                <a:gd name="connsiteY91" fmla="*/ 126807 h 181598"/>
                <a:gd name="connsiteX92" fmla="*/ 31280 w 187962"/>
                <a:gd name="connsiteY92" fmla="*/ 124724 h 181598"/>
                <a:gd name="connsiteX93" fmla="*/ 24656 w 187962"/>
                <a:gd name="connsiteY93" fmla="*/ 109436 h 181598"/>
                <a:gd name="connsiteX94" fmla="*/ 24005 w 187962"/>
                <a:gd name="connsiteY94" fmla="*/ 107135 h 181598"/>
                <a:gd name="connsiteX95" fmla="*/ 21796 w 187962"/>
                <a:gd name="connsiteY95" fmla="*/ 106067 h 181598"/>
                <a:gd name="connsiteX96" fmla="*/ 5520 w 187962"/>
                <a:gd name="connsiteY96" fmla="*/ 98196 h 181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87962" h="181598">
                  <a:moveTo>
                    <a:pt x="26497" y="127399"/>
                  </a:moveTo>
                  <a:lnTo>
                    <a:pt x="19597" y="147424"/>
                  </a:lnTo>
                  <a:lnTo>
                    <a:pt x="35329" y="162642"/>
                  </a:lnTo>
                  <a:lnTo>
                    <a:pt x="56030" y="155967"/>
                  </a:lnTo>
                  <a:cubicBezTo>
                    <a:pt x="61522" y="158939"/>
                    <a:pt x="67359" y="161269"/>
                    <a:pt x="73418" y="162909"/>
                  </a:cubicBezTo>
                  <a:lnTo>
                    <a:pt x="83079" y="181598"/>
                  </a:lnTo>
                  <a:lnTo>
                    <a:pt x="105160" y="181598"/>
                  </a:lnTo>
                  <a:lnTo>
                    <a:pt x="114820" y="162909"/>
                  </a:lnTo>
                  <a:cubicBezTo>
                    <a:pt x="120809" y="161316"/>
                    <a:pt x="126561" y="158983"/>
                    <a:pt x="131932" y="155967"/>
                  </a:cubicBezTo>
                  <a:lnTo>
                    <a:pt x="152633" y="162642"/>
                  </a:lnTo>
                  <a:lnTo>
                    <a:pt x="168366" y="147424"/>
                  </a:lnTo>
                  <a:lnTo>
                    <a:pt x="161465" y="127399"/>
                  </a:lnTo>
                  <a:cubicBezTo>
                    <a:pt x="164536" y="122087"/>
                    <a:pt x="166945" y="116440"/>
                    <a:pt x="168642" y="110579"/>
                  </a:cubicBezTo>
                  <a:lnTo>
                    <a:pt x="187962" y="101234"/>
                  </a:lnTo>
                  <a:lnTo>
                    <a:pt x="187962" y="79875"/>
                  </a:lnTo>
                  <a:lnTo>
                    <a:pt x="168366" y="70798"/>
                  </a:lnTo>
                  <a:cubicBezTo>
                    <a:pt x="166718" y="65005"/>
                    <a:pt x="164306" y="59441"/>
                    <a:pt x="161189" y="54244"/>
                  </a:cubicBezTo>
                  <a:lnTo>
                    <a:pt x="168090" y="34220"/>
                  </a:lnTo>
                  <a:lnTo>
                    <a:pt x="152357" y="19002"/>
                  </a:lnTo>
                  <a:lnTo>
                    <a:pt x="131656" y="25676"/>
                  </a:lnTo>
                  <a:cubicBezTo>
                    <a:pt x="126165" y="22705"/>
                    <a:pt x="120328" y="20375"/>
                    <a:pt x="114268" y="18735"/>
                  </a:cubicBezTo>
                  <a:lnTo>
                    <a:pt x="104884" y="0"/>
                  </a:lnTo>
                  <a:lnTo>
                    <a:pt x="82803" y="0"/>
                  </a:lnTo>
                  <a:lnTo>
                    <a:pt x="73142" y="18689"/>
                  </a:lnTo>
                  <a:cubicBezTo>
                    <a:pt x="67154" y="20282"/>
                    <a:pt x="61402" y="22615"/>
                    <a:pt x="56030" y="25631"/>
                  </a:cubicBezTo>
                  <a:lnTo>
                    <a:pt x="35329" y="18956"/>
                  </a:lnTo>
                  <a:lnTo>
                    <a:pt x="19597" y="34175"/>
                  </a:lnTo>
                  <a:lnTo>
                    <a:pt x="26497" y="54199"/>
                  </a:lnTo>
                  <a:cubicBezTo>
                    <a:pt x="23427" y="59512"/>
                    <a:pt x="21018" y="65158"/>
                    <a:pt x="19321" y="71019"/>
                  </a:cubicBezTo>
                  <a:lnTo>
                    <a:pt x="0" y="80097"/>
                  </a:lnTo>
                  <a:lnTo>
                    <a:pt x="0" y="101456"/>
                  </a:lnTo>
                  <a:lnTo>
                    <a:pt x="19321" y="110801"/>
                  </a:lnTo>
                  <a:cubicBezTo>
                    <a:pt x="20965" y="116609"/>
                    <a:pt x="23377" y="122188"/>
                    <a:pt x="26497" y="127399"/>
                  </a:cubicBezTo>
                  <a:close/>
                  <a:moveTo>
                    <a:pt x="5520" y="83472"/>
                  </a:moveTo>
                  <a:lnTo>
                    <a:pt x="21733" y="75852"/>
                  </a:lnTo>
                  <a:lnTo>
                    <a:pt x="23988" y="74784"/>
                  </a:lnTo>
                  <a:lnTo>
                    <a:pt x="24648" y="72445"/>
                  </a:lnTo>
                  <a:cubicBezTo>
                    <a:pt x="26232" y="66989"/>
                    <a:pt x="28477" y="61733"/>
                    <a:pt x="31335" y="56786"/>
                  </a:cubicBezTo>
                  <a:lnTo>
                    <a:pt x="32497" y="54741"/>
                  </a:lnTo>
                  <a:lnTo>
                    <a:pt x="31736" y="52525"/>
                  </a:lnTo>
                  <a:lnTo>
                    <a:pt x="25912" y="35627"/>
                  </a:lnTo>
                  <a:lnTo>
                    <a:pt x="36822" y="25070"/>
                  </a:lnTo>
                  <a:lnTo>
                    <a:pt x="54286" y="30704"/>
                  </a:lnTo>
                  <a:lnTo>
                    <a:pt x="56645" y="31465"/>
                  </a:lnTo>
                  <a:lnTo>
                    <a:pt x="58798" y="30258"/>
                  </a:lnTo>
                  <a:cubicBezTo>
                    <a:pt x="63758" y="27473"/>
                    <a:pt x="69068" y="25319"/>
                    <a:pt x="74597" y="23850"/>
                  </a:cubicBezTo>
                  <a:lnTo>
                    <a:pt x="76979" y="23223"/>
                  </a:lnTo>
                  <a:lnTo>
                    <a:pt x="78083" y="21087"/>
                  </a:lnTo>
                  <a:lnTo>
                    <a:pt x="86220" y="5340"/>
                  </a:lnTo>
                  <a:lnTo>
                    <a:pt x="101433" y="5340"/>
                  </a:lnTo>
                  <a:lnTo>
                    <a:pt x="109300" y="21039"/>
                  </a:lnTo>
                  <a:lnTo>
                    <a:pt x="110404" y="23217"/>
                  </a:lnTo>
                  <a:lnTo>
                    <a:pt x="112822" y="23856"/>
                  </a:lnTo>
                  <a:cubicBezTo>
                    <a:pt x="118460" y="25391"/>
                    <a:pt x="123891" y="27563"/>
                    <a:pt x="129004" y="30327"/>
                  </a:cubicBezTo>
                  <a:lnTo>
                    <a:pt x="131121" y="31454"/>
                  </a:lnTo>
                  <a:lnTo>
                    <a:pt x="133412" y="30714"/>
                  </a:lnTo>
                  <a:lnTo>
                    <a:pt x="150875" y="25081"/>
                  </a:lnTo>
                  <a:lnTo>
                    <a:pt x="161786" y="35638"/>
                  </a:lnTo>
                  <a:lnTo>
                    <a:pt x="155962" y="52536"/>
                  </a:lnTo>
                  <a:lnTo>
                    <a:pt x="155175" y="54818"/>
                  </a:lnTo>
                  <a:lnTo>
                    <a:pt x="156423" y="56898"/>
                  </a:lnTo>
                  <a:cubicBezTo>
                    <a:pt x="159303" y="61696"/>
                    <a:pt x="161530" y="66835"/>
                    <a:pt x="163047" y="72186"/>
                  </a:cubicBezTo>
                  <a:lnTo>
                    <a:pt x="163712" y="74543"/>
                  </a:lnTo>
                  <a:lnTo>
                    <a:pt x="165989" y="75598"/>
                  </a:lnTo>
                  <a:lnTo>
                    <a:pt x="182442" y="83226"/>
                  </a:lnTo>
                  <a:lnTo>
                    <a:pt x="182442" y="97929"/>
                  </a:lnTo>
                  <a:lnTo>
                    <a:pt x="166171" y="105800"/>
                  </a:lnTo>
                  <a:lnTo>
                    <a:pt x="163963" y="106868"/>
                  </a:lnTo>
                  <a:lnTo>
                    <a:pt x="163315" y="109169"/>
                  </a:lnTo>
                  <a:cubicBezTo>
                    <a:pt x="161730" y="114625"/>
                    <a:pt x="159485" y="119881"/>
                    <a:pt x="156627" y="124828"/>
                  </a:cubicBezTo>
                  <a:lnTo>
                    <a:pt x="155465" y="126873"/>
                  </a:lnTo>
                  <a:lnTo>
                    <a:pt x="156227" y="129089"/>
                  </a:lnTo>
                  <a:lnTo>
                    <a:pt x="162051" y="145987"/>
                  </a:lnTo>
                  <a:lnTo>
                    <a:pt x="151140" y="156544"/>
                  </a:lnTo>
                  <a:lnTo>
                    <a:pt x="133677" y="150911"/>
                  </a:lnTo>
                  <a:lnTo>
                    <a:pt x="131317" y="150150"/>
                  </a:lnTo>
                  <a:lnTo>
                    <a:pt x="129164" y="151356"/>
                  </a:lnTo>
                  <a:cubicBezTo>
                    <a:pt x="124204" y="154142"/>
                    <a:pt x="118893" y="156295"/>
                    <a:pt x="113363" y="157764"/>
                  </a:cubicBezTo>
                  <a:lnTo>
                    <a:pt x="110983" y="158392"/>
                  </a:lnTo>
                  <a:lnTo>
                    <a:pt x="109879" y="160527"/>
                  </a:lnTo>
                  <a:lnTo>
                    <a:pt x="101743" y="176280"/>
                  </a:lnTo>
                  <a:lnTo>
                    <a:pt x="86496" y="176280"/>
                  </a:lnTo>
                  <a:lnTo>
                    <a:pt x="78362" y="160527"/>
                  </a:lnTo>
                  <a:lnTo>
                    <a:pt x="77258" y="158392"/>
                  </a:lnTo>
                  <a:lnTo>
                    <a:pt x="74876" y="157764"/>
                  </a:lnTo>
                  <a:cubicBezTo>
                    <a:pt x="69239" y="156229"/>
                    <a:pt x="63808" y="154057"/>
                    <a:pt x="58696" y="151292"/>
                  </a:cubicBezTo>
                  <a:lnTo>
                    <a:pt x="56579" y="150166"/>
                  </a:lnTo>
                  <a:lnTo>
                    <a:pt x="54288" y="150905"/>
                  </a:lnTo>
                  <a:lnTo>
                    <a:pt x="36825" y="156539"/>
                  </a:lnTo>
                  <a:lnTo>
                    <a:pt x="25915" y="145982"/>
                  </a:lnTo>
                  <a:lnTo>
                    <a:pt x="31741" y="129089"/>
                  </a:lnTo>
                  <a:lnTo>
                    <a:pt x="32525" y="126807"/>
                  </a:lnTo>
                  <a:lnTo>
                    <a:pt x="31280" y="124724"/>
                  </a:lnTo>
                  <a:cubicBezTo>
                    <a:pt x="28399" y="119926"/>
                    <a:pt x="26173" y="114788"/>
                    <a:pt x="24656" y="109436"/>
                  </a:cubicBezTo>
                  <a:lnTo>
                    <a:pt x="24005" y="107135"/>
                  </a:lnTo>
                  <a:lnTo>
                    <a:pt x="21796" y="106067"/>
                  </a:lnTo>
                  <a:lnTo>
                    <a:pt x="5520" y="98196"/>
                  </a:lnTo>
                  <a:close/>
                </a:path>
              </a:pathLst>
            </a:custGeom>
            <a:solidFill>
              <a:schemeClr val="bg1"/>
            </a:solidFill>
            <a:ln w="1905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3C3C3B"/>
                </a:solidFill>
                <a:effectLst/>
                <a:uLnTx/>
                <a:uFillTx/>
                <a:latin typeface="Lato"/>
                <a:ea typeface="+mn-ea"/>
                <a:cs typeface="+mn-cs"/>
              </a:endParaRPr>
            </a:p>
          </p:txBody>
        </p:sp>
        <p:sp>
          <p:nvSpPr>
            <p:cNvPr id="42" name="Freeform: Shape 41">
              <a:extLst>
                <a:ext uri="{FF2B5EF4-FFF2-40B4-BE49-F238E27FC236}">
                  <a16:creationId xmlns:a16="http://schemas.microsoft.com/office/drawing/2014/main" id="{F4CD6912-319C-AB45-49A9-4EDD1CBCC6E7}"/>
                </a:ext>
              </a:extLst>
            </p:cNvPr>
            <p:cNvSpPr/>
            <p:nvPr/>
          </p:nvSpPr>
          <p:spPr>
            <a:xfrm>
              <a:off x="3261664" y="4340847"/>
              <a:ext cx="66242" cy="64077"/>
            </a:xfrm>
            <a:custGeom>
              <a:avLst/>
              <a:gdLst>
                <a:gd name="connsiteX0" fmla="*/ 33121 w 66242"/>
                <a:gd name="connsiteY0" fmla="*/ 64078 h 64077"/>
                <a:gd name="connsiteX1" fmla="*/ 66242 w 66242"/>
                <a:gd name="connsiteY1" fmla="*/ 32039 h 64077"/>
                <a:gd name="connsiteX2" fmla="*/ 33121 w 66242"/>
                <a:gd name="connsiteY2" fmla="*/ 0 h 64077"/>
                <a:gd name="connsiteX3" fmla="*/ 0 w 66242"/>
                <a:gd name="connsiteY3" fmla="*/ 32039 h 64077"/>
                <a:gd name="connsiteX4" fmla="*/ 33121 w 66242"/>
                <a:gd name="connsiteY4" fmla="*/ 64078 h 64077"/>
                <a:gd name="connsiteX5" fmla="*/ 33121 w 66242"/>
                <a:gd name="connsiteY5" fmla="*/ 5321 h 64077"/>
                <a:gd name="connsiteX6" fmla="*/ 60722 w 66242"/>
                <a:gd name="connsiteY6" fmla="*/ 32020 h 64077"/>
                <a:gd name="connsiteX7" fmla="*/ 33121 w 66242"/>
                <a:gd name="connsiteY7" fmla="*/ 58719 h 64077"/>
                <a:gd name="connsiteX8" fmla="*/ 5520 w 66242"/>
                <a:gd name="connsiteY8" fmla="*/ 32020 h 64077"/>
                <a:gd name="connsiteX9" fmla="*/ 33121 w 66242"/>
                <a:gd name="connsiteY9" fmla="*/ 5321 h 64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242" h="64077">
                  <a:moveTo>
                    <a:pt x="33121" y="64078"/>
                  </a:moveTo>
                  <a:cubicBezTo>
                    <a:pt x="51413" y="64078"/>
                    <a:pt x="66242" y="49733"/>
                    <a:pt x="66242" y="32039"/>
                  </a:cubicBezTo>
                  <a:cubicBezTo>
                    <a:pt x="66242" y="14344"/>
                    <a:pt x="51413" y="0"/>
                    <a:pt x="33121" y="0"/>
                  </a:cubicBezTo>
                  <a:cubicBezTo>
                    <a:pt x="14829" y="0"/>
                    <a:pt x="0" y="14344"/>
                    <a:pt x="0" y="32039"/>
                  </a:cubicBezTo>
                  <a:cubicBezTo>
                    <a:pt x="58" y="49710"/>
                    <a:pt x="14853" y="64022"/>
                    <a:pt x="33121" y="64078"/>
                  </a:cubicBezTo>
                  <a:close/>
                  <a:moveTo>
                    <a:pt x="33121" y="5321"/>
                  </a:moveTo>
                  <a:cubicBezTo>
                    <a:pt x="48365" y="5321"/>
                    <a:pt x="60722" y="17275"/>
                    <a:pt x="60722" y="32020"/>
                  </a:cubicBezTo>
                  <a:cubicBezTo>
                    <a:pt x="60722" y="46765"/>
                    <a:pt x="48365" y="58719"/>
                    <a:pt x="33121" y="58719"/>
                  </a:cubicBezTo>
                  <a:cubicBezTo>
                    <a:pt x="17878" y="58719"/>
                    <a:pt x="5520" y="46765"/>
                    <a:pt x="5520" y="32020"/>
                  </a:cubicBezTo>
                  <a:cubicBezTo>
                    <a:pt x="5540" y="17283"/>
                    <a:pt x="17886" y="5340"/>
                    <a:pt x="33121" y="5321"/>
                  </a:cubicBezTo>
                  <a:close/>
                </a:path>
              </a:pathLst>
            </a:custGeom>
            <a:solidFill>
              <a:schemeClr val="bg1"/>
            </a:solidFill>
            <a:ln w="1905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3C3C3B"/>
                </a:solidFill>
                <a:effectLst/>
                <a:uLnTx/>
                <a:uFillTx/>
                <a:latin typeface="Lato"/>
                <a:ea typeface="+mn-ea"/>
                <a:cs typeface="+mn-cs"/>
              </a:endParaRPr>
            </a:p>
          </p:txBody>
        </p:sp>
      </p:grpSp>
      <p:cxnSp>
        <p:nvCxnSpPr>
          <p:cNvPr id="19" name="Straight Connector 18">
            <a:extLst>
              <a:ext uri="{FF2B5EF4-FFF2-40B4-BE49-F238E27FC236}">
                <a16:creationId xmlns:a16="http://schemas.microsoft.com/office/drawing/2014/main" id="{2E40FF3E-F40C-208F-62D0-7BE4221BCFAC}"/>
              </a:ext>
            </a:extLst>
          </p:cNvPr>
          <p:cNvCxnSpPr/>
          <p:nvPr/>
        </p:nvCxnSpPr>
        <p:spPr>
          <a:xfrm>
            <a:off x="868480" y="5132439"/>
            <a:ext cx="10969596"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4" name="Text Placeholder 14">
            <a:extLst>
              <a:ext uri="{FF2B5EF4-FFF2-40B4-BE49-F238E27FC236}">
                <a16:creationId xmlns:a16="http://schemas.microsoft.com/office/drawing/2014/main" id="{CF3B0379-7AC7-CA9D-DF12-4B403593771B}"/>
              </a:ext>
            </a:extLst>
          </p:cNvPr>
          <p:cNvSpPr txBox="1">
            <a:spLocks/>
          </p:cNvSpPr>
          <p:nvPr/>
        </p:nvSpPr>
        <p:spPr>
          <a:xfrm>
            <a:off x="381597" y="79401"/>
            <a:ext cx="3852265" cy="184666"/>
          </a:xfrm>
          <a:prstGeom prst="rect">
            <a:avLst/>
          </a:prstGeom>
        </p:spPr>
        <p:txBody>
          <a:bodyPr vert="horz" wrap="square" lIns="0" tIns="0" rIns="0" bIns="0" rtlCol="0">
            <a:sp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750"/>
              </a:spcBef>
              <a:spcAft>
                <a:spcPts val="0"/>
              </a:spcAft>
              <a:buClrTx/>
              <a:buSzTx/>
              <a:buFont typeface="Wingdings" panose="05000000000000000000" pitchFamily="2" charset="2"/>
              <a:buNone/>
              <a:tabLst/>
              <a:defRPr/>
            </a:pPr>
            <a:r>
              <a:rPr kumimoji="0" lang="en-AU" sz="1200" b="0" i="0" u="none" strike="noStrike" kern="1200" cap="none" spc="0" normalizeH="0" baseline="0" noProof="0">
                <a:ln>
                  <a:noFill/>
                </a:ln>
                <a:solidFill>
                  <a:srgbClr val="838383"/>
                </a:solidFill>
                <a:effectLst/>
                <a:uLnTx/>
                <a:uFillTx/>
                <a:latin typeface="Lato" panose="020F0502020204030203" pitchFamily="34" charset="0"/>
                <a:sym typeface="Lato" panose="020F0502020204030203" pitchFamily="34" charset="0"/>
              </a:rPr>
              <a:t>        Appendix</a:t>
            </a:r>
            <a:endParaRPr kumimoji="0" lang="en-GB" sz="1200" b="0" i="0" u="none" strike="noStrike" kern="1200" cap="none" spc="0" normalizeH="0" baseline="0" noProof="0">
              <a:ln>
                <a:noFill/>
              </a:ln>
              <a:solidFill>
                <a:srgbClr val="838383"/>
              </a:solidFill>
              <a:effectLst/>
              <a:uLnTx/>
              <a:uFillTx/>
              <a:latin typeface="Lato" panose="020F0502020204030203" pitchFamily="34" charset="0"/>
              <a:sym typeface="Lato" panose="020F0502020204030203" pitchFamily="34" charset="0"/>
            </a:endParaRPr>
          </a:p>
        </p:txBody>
      </p:sp>
      <p:sp>
        <p:nvSpPr>
          <p:cNvPr id="45" name="Oval 44">
            <a:extLst>
              <a:ext uri="{FF2B5EF4-FFF2-40B4-BE49-F238E27FC236}">
                <a16:creationId xmlns:a16="http://schemas.microsoft.com/office/drawing/2014/main" id="{7E817722-03BC-3398-EC17-19A26210D9B7}"/>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t>
            </a:r>
          </a:p>
        </p:txBody>
      </p:sp>
    </p:spTree>
    <p:extLst>
      <p:ext uri="{BB962C8B-B14F-4D97-AF65-F5344CB8AC3E}">
        <p14:creationId xmlns:p14="http://schemas.microsoft.com/office/powerpoint/2010/main" val="15730002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D021E4B-A79E-48C1-9D6A-5BF40A6F8FF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6D021E4B-A79E-48C1-9D6A-5BF40A6F8FF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9582D91-47B5-41B1-A2C6-A6F4536EAD91}"/>
              </a:ext>
            </a:extLst>
          </p:cNvPr>
          <p:cNvSpPr/>
          <p:nvPr>
            <p:custDataLst>
              <p:tags r:id="rId2"/>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2200" b="1" i="0" u="none" strike="noStrike" kern="1200" cap="none" spc="0" normalizeH="0" baseline="0" noProof="0" err="1">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5" name="Text Placeholder 4">
            <a:extLst>
              <a:ext uri="{FF2B5EF4-FFF2-40B4-BE49-F238E27FC236}">
                <a16:creationId xmlns:a16="http://schemas.microsoft.com/office/drawing/2014/main" id="{B3BFD43F-BD8B-4039-B338-6446F90AFA61}"/>
              </a:ext>
            </a:extLst>
          </p:cNvPr>
          <p:cNvSpPr>
            <a:spLocks noGrp="1"/>
          </p:cNvSpPr>
          <p:nvPr>
            <p:ph type="body" sz="quarter" idx="22"/>
          </p:nvPr>
        </p:nvSpPr>
        <p:spPr>
          <a:xfrm>
            <a:off x="381001" y="6715169"/>
            <a:ext cx="1500411" cy="110800"/>
          </a:xfrm>
        </p:spPr>
        <p:txBody>
          <a:bodyPr/>
          <a:lstStyle/>
          <a:p>
            <a:r>
              <a:rPr lang="en-GB"/>
              <a:t>Sources: Aurora Energy Research</a:t>
            </a:r>
          </a:p>
        </p:txBody>
      </p:sp>
      <p:sp>
        <p:nvSpPr>
          <p:cNvPr id="3" name="Title 2">
            <a:extLst>
              <a:ext uri="{FF2B5EF4-FFF2-40B4-BE49-F238E27FC236}">
                <a16:creationId xmlns:a16="http://schemas.microsoft.com/office/drawing/2014/main" id="{EE32FEC1-566C-4AEF-89EE-65501BB81B3B}"/>
              </a:ext>
            </a:extLst>
          </p:cNvPr>
          <p:cNvSpPr>
            <a:spLocks noGrp="1"/>
          </p:cNvSpPr>
          <p:nvPr>
            <p:ph type="title"/>
          </p:nvPr>
        </p:nvSpPr>
        <p:spPr>
          <a:xfrm>
            <a:off x="381599" y="411856"/>
            <a:ext cx="9766253" cy="609398"/>
          </a:xfrm>
        </p:spPr>
        <p:txBody>
          <a:bodyPr vert="horz"/>
          <a:lstStyle/>
          <a:p>
            <a:r>
              <a:rPr lang="en-GB"/>
              <a:t>Unique, proprietary, in-house modelling capabilities underpin Aurora’s superior analysis</a:t>
            </a:r>
          </a:p>
        </p:txBody>
      </p:sp>
      <p:sp>
        <p:nvSpPr>
          <p:cNvPr id="9" name="Text Placeholder 8">
            <a:extLst>
              <a:ext uri="{FF2B5EF4-FFF2-40B4-BE49-F238E27FC236}">
                <a16:creationId xmlns:a16="http://schemas.microsoft.com/office/drawing/2014/main" id="{70662A18-52EA-49B9-8EB8-4E88D8B198BF}"/>
              </a:ext>
            </a:extLst>
          </p:cNvPr>
          <p:cNvSpPr>
            <a:spLocks noGrp="1"/>
          </p:cNvSpPr>
          <p:nvPr>
            <p:ph type="body" sz="quarter" idx="32"/>
          </p:nvPr>
        </p:nvSpPr>
        <p:spPr/>
        <p:txBody>
          <a:bodyPr/>
          <a:lstStyle/>
          <a:p>
            <a:r>
              <a:rPr lang="en-GB"/>
              <a:t>1) Gas, coal, oil and carbon prices fundamentally modelled in-house with fully integrated commodities and gas market model</a:t>
            </a:r>
          </a:p>
        </p:txBody>
      </p:sp>
      <p:sp>
        <p:nvSpPr>
          <p:cNvPr id="13" name="Rectangle 12">
            <a:extLst>
              <a:ext uri="{FF2B5EF4-FFF2-40B4-BE49-F238E27FC236}">
                <a16:creationId xmlns:a16="http://schemas.microsoft.com/office/drawing/2014/main" id="{EB174F5C-C85B-4251-9345-94912552DDAB}"/>
              </a:ext>
            </a:extLst>
          </p:cNvPr>
          <p:cNvSpPr/>
          <p:nvPr/>
        </p:nvSpPr>
        <p:spPr>
          <a:xfrm>
            <a:off x="381002" y="2328585"/>
            <a:ext cx="8623040" cy="3240939"/>
          </a:xfrm>
          <a:prstGeom prst="rect">
            <a:avLst/>
          </a:prstGeom>
          <a:solidFill>
            <a:schemeClr val="bg1"/>
          </a:solidFill>
          <a:ln w="635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84406" rIns="84406" bIns="84406" numCol="1" spcCol="0" rtlCol="0" fromWordArt="0" anchor="t" anchorCtr="0" forceAA="0" compatLnSpc="1">
            <a:prstTxWarp prst="textNoShape">
              <a:avLst/>
            </a:prstTxWarp>
            <a:noAutofit/>
          </a:bodyPr>
          <a:lstStyle/>
          <a:p>
            <a:pPr marL="0" marR="0" lvl="0" indent="0" algn="ctr" defTabSz="844083" rtl="0" eaLnBrk="1" fontAlgn="auto" latinLnBrk="0" hangingPunct="1">
              <a:lnSpc>
                <a:spcPct val="114000"/>
              </a:lnSpc>
              <a:spcBef>
                <a:spcPts val="0"/>
              </a:spcBef>
              <a:spcAft>
                <a:spcPts val="554"/>
              </a:spcAft>
              <a:buClr>
                <a:srgbClr val="474747"/>
              </a:buClr>
              <a:buSzPct val="100000"/>
              <a:buFontTx/>
              <a:buNone/>
              <a:tabLst/>
              <a:defRPr/>
            </a:pPr>
            <a:endParaRPr kumimoji="0" lang="en-GB" sz="1200" b="0" i="0" u="none" strike="noStrike" kern="1200" cap="none" spc="0" normalizeH="0" baseline="0" noProof="0">
              <a:ln>
                <a:noFill/>
              </a:ln>
              <a:solidFill>
                <a:srgbClr val="474747"/>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9" name="Rounded Rectangle 215">
            <a:extLst>
              <a:ext uri="{FF2B5EF4-FFF2-40B4-BE49-F238E27FC236}">
                <a16:creationId xmlns:a16="http://schemas.microsoft.com/office/drawing/2014/main" id="{A872C8BB-E120-4C16-A92F-78122DF9E4F5}"/>
              </a:ext>
            </a:extLst>
          </p:cNvPr>
          <p:cNvSpPr/>
          <p:nvPr/>
        </p:nvSpPr>
        <p:spPr>
          <a:xfrm>
            <a:off x="7599392" y="3764887"/>
            <a:ext cx="1358542" cy="233404"/>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85759"/>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holesale &amp; imbalance prices</a:t>
            </a:r>
          </a:p>
        </p:txBody>
      </p:sp>
      <p:cxnSp>
        <p:nvCxnSpPr>
          <p:cNvPr id="36" name="Straight Connector 35">
            <a:extLst>
              <a:ext uri="{FF2B5EF4-FFF2-40B4-BE49-F238E27FC236}">
                <a16:creationId xmlns:a16="http://schemas.microsoft.com/office/drawing/2014/main" id="{C3DC2BBF-C134-49AD-8921-76F706754AE5}"/>
              </a:ext>
            </a:extLst>
          </p:cNvPr>
          <p:cNvCxnSpPr>
            <a:cxnSpLocks/>
            <a:endCxn id="15" idx="2"/>
          </p:cNvCxnSpPr>
          <p:nvPr/>
        </p:nvCxnSpPr>
        <p:spPr>
          <a:xfrm flipV="1">
            <a:off x="6412613" y="2231521"/>
            <a:ext cx="0" cy="97064"/>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DAF01BE0-D4F3-453D-BFC2-E803E4542486}"/>
              </a:ext>
            </a:extLst>
          </p:cNvPr>
          <p:cNvSpPr txBox="1">
            <a:spLocks/>
          </p:cNvSpPr>
          <p:nvPr/>
        </p:nvSpPr>
        <p:spPr>
          <a:xfrm>
            <a:off x="381002" y="5640001"/>
            <a:ext cx="2002847" cy="797853"/>
          </a:xfrm>
          <a:prstGeom prst="rect">
            <a:avLst/>
          </a:prstGeom>
        </p:spPr>
        <p:txBody>
          <a:bodyPr vert="horz" wrap="square" lIns="0" tIns="0" rIns="0" bIns="0" rtlCol="0">
            <a:noAutofit/>
          </a:bodyPr>
          <a:lstStyle/>
          <a:p>
            <a:pPr marL="0" marR="0" lvl="0" indent="0" algn="ctr" defTabSz="844083" rtl="0" eaLnBrk="1" fontAlgn="auto" latinLnBrk="0" hangingPunct="1">
              <a:lnSpc>
                <a:spcPct val="114000"/>
              </a:lnSpc>
              <a:spcBef>
                <a:spcPts val="0"/>
              </a:spcBef>
              <a:spcAft>
                <a:spcPts val="0"/>
              </a:spcAft>
              <a:buClrTx/>
              <a:buSzPct val="100000"/>
              <a:buFontTx/>
              <a:buNone/>
              <a:tabLst/>
              <a:defRPr/>
            </a:pPr>
            <a:r>
              <a:rPr kumimoji="0" lang="en-GB" sz="1600" b="1" i="0" u="none" strike="noStrike" kern="1200" cap="none" spc="0" normalizeH="0" baseline="0" noProof="0">
                <a:ln>
                  <a:noFill/>
                </a:ln>
                <a:solidFill>
                  <a:srgbClr val="F59E00"/>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p to 70</a:t>
            </a:r>
          </a:p>
          <a:p>
            <a:pPr marL="0" marR="0" lvl="0" indent="0" algn="ctr" defTabSz="844083" rtl="0" eaLnBrk="1" fontAlgn="auto" latinLnBrk="0" hangingPunct="1">
              <a:lnSpc>
                <a:spcPct val="114000"/>
              </a:lnSpc>
              <a:spcBef>
                <a:spcPts val="0"/>
              </a:spcBef>
              <a:spcAft>
                <a:spcPts val="0"/>
              </a:spcAft>
              <a:buClrTx/>
              <a:buSzPct val="100000"/>
              <a:buFontTx/>
              <a:buNone/>
              <a:tabLst/>
              <a:defRPr/>
            </a:pPr>
            <a:r>
              <a:rPr kumimoji="0" lang="en-GB" sz="1200" b="0" i="0" u="none" strike="noStrike" kern="1200" cap="none" spc="0" normalizeH="0" baseline="0" noProof="0">
                <a:ln>
                  <a:noFill/>
                </a:ln>
                <a:solidFill>
                  <a:srgbClr val="474747"/>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pecifications modelled for each plant </a:t>
            </a:r>
          </a:p>
        </p:txBody>
      </p:sp>
      <p:sp>
        <p:nvSpPr>
          <p:cNvPr id="43" name="TextBox 42">
            <a:extLst>
              <a:ext uri="{FF2B5EF4-FFF2-40B4-BE49-F238E27FC236}">
                <a16:creationId xmlns:a16="http://schemas.microsoft.com/office/drawing/2014/main" id="{D31D0EBE-600A-4454-BFF8-A669EBCABE6C}"/>
              </a:ext>
            </a:extLst>
          </p:cNvPr>
          <p:cNvSpPr txBox="1">
            <a:spLocks/>
          </p:cNvSpPr>
          <p:nvPr/>
        </p:nvSpPr>
        <p:spPr>
          <a:xfrm>
            <a:off x="2728293" y="5640001"/>
            <a:ext cx="2002847" cy="797853"/>
          </a:xfrm>
          <a:prstGeom prst="rect">
            <a:avLst/>
          </a:prstGeom>
        </p:spPr>
        <p:txBody>
          <a:bodyPr vert="horz" wrap="square" lIns="0" tIns="0" rIns="0" bIns="0" rtlCol="0">
            <a:noAutofit/>
          </a:bodyPr>
          <a:lstStyle/>
          <a:p>
            <a:pPr marL="0" marR="0" lvl="0" indent="0" algn="ctr" defTabSz="844083" rtl="0" eaLnBrk="1" fontAlgn="auto" latinLnBrk="0" hangingPunct="1">
              <a:lnSpc>
                <a:spcPct val="114000"/>
              </a:lnSpc>
              <a:spcBef>
                <a:spcPts val="0"/>
              </a:spcBef>
              <a:spcAft>
                <a:spcPts val="0"/>
              </a:spcAft>
              <a:buClrTx/>
              <a:buSzPct val="100000"/>
              <a:buFontTx/>
              <a:buNone/>
              <a:tabLst/>
              <a:defRPr/>
            </a:pPr>
            <a:r>
              <a:rPr kumimoji="0" lang="en-GB" sz="1600" b="1" i="0" u="none" strike="noStrike" kern="1200" cap="none" spc="0" normalizeH="0" baseline="0" noProof="0">
                <a:ln>
                  <a:noFill/>
                </a:ln>
                <a:solidFill>
                  <a:srgbClr val="F59E00"/>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 85k</a:t>
            </a:r>
          </a:p>
          <a:p>
            <a:pPr marL="0" marR="0" lvl="0" indent="0" algn="ctr" defTabSz="844083" rtl="0" eaLnBrk="1" fontAlgn="auto" latinLnBrk="0" hangingPunct="1">
              <a:lnSpc>
                <a:spcPct val="114000"/>
              </a:lnSpc>
              <a:spcBef>
                <a:spcPts val="0"/>
              </a:spcBef>
              <a:spcAft>
                <a:spcPts val="0"/>
              </a:spcAft>
              <a:buClrTx/>
              <a:buSzPct val="100000"/>
              <a:buFontTx/>
              <a:buNone/>
              <a:tabLst/>
              <a:defRPr/>
            </a:pPr>
            <a:r>
              <a:rPr kumimoji="0" lang="en-GB" sz="1200" b="0" i="0" u="none" strike="noStrike" kern="1200" cap="none" spc="0" normalizeH="0" baseline="0" noProof="0">
                <a:ln>
                  <a:noFill/>
                </a:ln>
                <a:solidFill>
                  <a:srgbClr val="474747"/>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vestment hours on modelling capabilities </a:t>
            </a:r>
          </a:p>
        </p:txBody>
      </p:sp>
      <p:sp>
        <p:nvSpPr>
          <p:cNvPr id="44" name="TextBox 43">
            <a:extLst>
              <a:ext uri="{FF2B5EF4-FFF2-40B4-BE49-F238E27FC236}">
                <a16:creationId xmlns:a16="http://schemas.microsoft.com/office/drawing/2014/main" id="{923DBF5B-501B-4ABA-8021-BCD85D94A6A1}"/>
              </a:ext>
            </a:extLst>
          </p:cNvPr>
          <p:cNvSpPr txBox="1">
            <a:spLocks/>
          </p:cNvSpPr>
          <p:nvPr/>
        </p:nvSpPr>
        <p:spPr>
          <a:xfrm>
            <a:off x="5075584" y="5640001"/>
            <a:ext cx="2002847" cy="797853"/>
          </a:xfrm>
          <a:prstGeom prst="rect">
            <a:avLst/>
          </a:prstGeom>
        </p:spPr>
        <p:txBody>
          <a:bodyPr vert="horz" wrap="square" lIns="0" tIns="0" rIns="0" bIns="0" rtlCol="0">
            <a:noAutofit/>
          </a:bodyPr>
          <a:lstStyle/>
          <a:p>
            <a:pPr marL="0" marR="0" lvl="0" indent="0" algn="ctr" defTabSz="844083" rtl="0" eaLnBrk="1" fontAlgn="auto" latinLnBrk="0" hangingPunct="1">
              <a:lnSpc>
                <a:spcPct val="114000"/>
              </a:lnSpc>
              <a:spcBef>
                <a:spcPts val="0"/>
              </a:spcBef>
              <a:spcAft>
                <a:spcPts val="0"/>
              </a:spcAft>
              <a:buClrTx/>
              <a:buSzPct val="100000"/>
              <a:buFontTx/>
              <a:buNone/>
              <a:tabLst/>
              <a:defRPr/>
            </a:pPr>
            <a:r>
              <a:rPr kumimoji="0" lang="en-GB" sz="1600" b="1" i="0" u="none" strike="noStrike" kern="1200" cap="none" spc="0" normalizeH="0" baseline="0" noProof="0">
                <a:ln>
                  <a:noFill/>
                </a:ln>
                <a:solidFill>
                  <a:srgbClr val="F59E00"/>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15k</a:t>
            </a:r>
          </a:p>
          <a:p>
            <a:pPr marL="0" marR="0" lvl="0" indent="0" algn="ctr" defTabSz="844083" rtl="0" eaLnBrk="1" fontAlgn="auto" latinLnBrk="0" hangingPunct="1">
              <a:lnSpc>
                <a:spcPct val="114000"/>
              </a:lnSpc>
              <a:spcBef>
                <a:spcPts val="0"/>
              </a:spcBef>
              <a:spcAft>
                <a:spcPts val="0"/>
              </a:spcAft>
              <a:buClrTx/>
              <a:buSzPct val="100000"/>
              <a:buFontTx/>
              <a:buNone/>
              <a:tabLst/>
              <a:defRPr/>
            </a:pPr>
            <a:r>
              <a:rPr kumimoji="0" lang="en-GB" sz="1200" b="0" i="0" u="none" strike="noStrike" kern="1200" cap="none" spc="0" normalizeH="0" baseline="0" noProof="0">
                <a:ln>
                  <a:noFill/>
                </a:ln>
                <a:solidFill>
                  <a:srgbClr val="474747"/>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odel runs </a:t>
            </a:r>
            <a:br>
              <a:rPr kumimoji="0" lang="en-GB" sz="1200" b="0" i="0" u="none" strike="noStrike" kern="1200" cap="none" spc="0" normalizeH="0" baseline="0" noProof="0">
                <a:ln>
                  <a:noFill/>
                </a:ln>
                <a:solidFill>
                  <a:srgbClr val="474747"/>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kumimoji="0" lang="en-GB" sz="1200" b="0" i="0" u="none" strike="noStrike" kern="1200" cap="none" spc="0" normalizeH="0" baseline="0" noProof="0">
                <a:ln>
                  <a:noFill/>
                </a:ln>
                <a:solidFill>
                  <a:srgbClr val="474747"/>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er week </a:t>
            </a:r>
          </a:p>
        </p:txBody>
      </p:sp>
      <p:sp>
        <p:nvSpPr>
          <p:cNvPr id="45" name="TextBox 44">
            <a:extLst>
              <a:ext uri="{FF2B5EF4-FFF2-40B4-BE49-F238E27FC236}">
                <a16:creationId xmlns:a16="http://schemas.microsoft.com/office/drawing/2014/main" id="{8E189596-2035-4192-881A-65CBA7AD81CA}"/>
              </a:ext>
            </a:extLst>
          </p:cNvPr>
          <p:cNvSpPr txBox="1">
            <a:spLocks/>
          </p:cNvSpPr>
          <p:nvPr/>
        </p:nvSpPr>
        <p:spPr>
          <a:xfrm>
            <a:off x="7422875" y="5640879"/>
            <a:ext cx="2002847" cy="797853"/>
          </a:xfrm>
          <a:prstGeom prst="rect">
            <a:avLst/>
          </a:prstGeom>
        </p:spPr>
        <p:txBody>
          <a:bodyPr vert="horz" wrap="square" lIns="0" tIns="0" rIns="0" bIns="0" rtlCol="0">
            <a:noAutofit/>
          </a:bodyPr>
          <a:lstStyle/>
          <a:p>
            <a:pPr marL="0" marR="0" lvl="0" indent="0" algn="ctr" defTabSz="844083" rtl="0" eaLnBrk="1" fontAlgn="auto" latinLnBrk="0" hangingPunct="1">
              <a:lnSpc>
                <a:spcPct val="114000"/>
              </a:lnSpc>
              <a:spcBef>
                <a:spcPts val="0"/>
              </a:spcBef>
              <a:spcAft>
                <a:spcPts val="0"/>
              </a:spcAft>
              <a:buClrTx/>
              <a:buSzPct val="100000"/>
              <a:buFontTx/>
              <a:buNone/>
              <a:tabLst/>
              <a:defRPr/>
            </a:pPr>
            <a:r>
              <a:rPr kumimoji="0" lang="en-GB" sz="1600" b="1" i="0" u="none" strike="noStrike" kern="1200" cap="none" spc="0" normalizeH="0" baseline="0" noProof="0">
                <a:ln>
                  <a:noFill/>
                </a:ln>
                <a:solidFill>
                  <a:srgbClr val="F59E00"/>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30+</a:t>
            </a:r>
          </a:p>
          <a:p>
            <a:pPr marL="0" marR="0" lvl="0" indent="0" algn="ctr" defTabSz="844083" rtl="0" eaLnBrk="1" fontAlgn="auto" latinLnBrk="0" hangingPunct="1">
              <a:lnSpc>
                <a:spcPct val="114000"/>
              </a:lnSpc>
              <a:spcBef>
                <a:spcPts val="0"/>
              </a:spcBef>
              <a:spcAft>
                <a:spcPts val="0"/>
              </a:spcAft>
              <a:buClrTx/>
              <a:buSzPct val="100000"/>
              <a:buFontTx/>
              <a:buNone/>
              <a:tabLst/>
              <a:defRPr/>
            </a:pPr>
            <a:r>
              <a:rPr kumimoji="0" lang="en-GB" sz="1200" b="0" i="0" u="none" strike="noStrike" kern="1200" cap="none" spc="0" normalizeH="0" baseline="0" noProof="0">
                <a:ln>
                  <a:noFill/>
                </a:ln>
                <a:solidFill>
                  <a:srgbClr val="474747"/>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rength of modelling </a:t>
            </a:r>
            <a:br>
              <a:rPr kumimoji="0" lang="en-GB" sz="1200" b="0" i="0" u="none" strike="noStrike" kern="1200" cap="none" spc="0" normalizeH="0" baseline="0" noProof="0">
                <a:ln>
                  <a:noFill/>
                </a:ln>
                <a:solidFill>
                  <a:srgbClr val="474747"/>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kumimoji="0" lang="en-GB" sz="1200" b="0" i="0" u="none" strike="noStrike" kern="1200" cap="none" spc="0" normalizeH="0" baseline="0" noProof="0">
                <a:ln>
                  <a:noFill/>
                </a:ln>
                <a:solidFill>
                  <a:srgbClr val="474747"/>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eam globally</a:t>
            </a:r>
          </a:p>
        </p:txBody>
      </p:sp>
      <p:sp>
        <p:nvSpPr>
          <p:cNvPr id="50" name="Oval 49">
            <a:extLst>
              <a:ext uri="{FF2B5EF4-FFF2-40B4-BE49-F238E27FC236}">
                <a16:creationId xmlns:a16="http://schemas.microsoft.com/office/drawing/2014/main" id="{979F976B-45C1-496E-988A-B4B8EB35484E}"/>
              </a:ext>
            </a:extLst>
          </p:cNvPr>
          <p:cNvSpPr/>
          <p:nvPr/>
        </p:nvSpPr>
        <p:spPr>
          <a:xfrm>
            <a:off x="381599" y="1346708"/>
            <a:ext cx="829376" cy="82937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132923" rIns="0" bIns="166154" numCol="1" spcCol="0" rtlCol="0" fromWordArt="0" anchor="ctr" anchorCtr="0" forceAA="0" compatLnSpc="1">
            <a:prstTxWarp prst="textNoShape">
              <a:avLst/>
            </a:prstTxWarp>
            <a:noAutofit/>
          </a:bodyPr>
          <a:lstStyle/>
          <a:p>
            <a:pPr marL="0" marR="0" lvl="0" indent="0" algn="ctr" defTabSz="844083" rtl="0" eaLnBrk="1" fontAlgn="auto" latinLnBrk="0" hangingPunct="1">
              <a:lnSpc>
                <a:spcPct val="114000"/>
              </a:lnSpc>
              <a:spcBef>
                <a:spcPts val="0"/>
              </a:spcBef>
              <a:spcAft>
                <a:spcPts val="554"/>
              </a:spcAft>
              <a:buClr>
                <a:srgbClr val="474747"/>
              </a:buClr>
              <a:buSzPct val="100000"/>
              <a:buFontTx/>
              <a:buNone/>
              <a:tabLst/>
              <a:defRPr/>
            </a:pPr>
            <a:r>
              <a:rPr kumimoji="0" lang="en-GB" sz="12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5 </a:t>
            </a:r>
            <a:br>
              <a:rPr kumimoji="0" lang="en-GB" sz="12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kumimoji="0" lang="en-GB" sz="12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tegrated </a:t>
            </a:r>
            <a:br>
              <a:rPr kumimoji="0" lang="en-GB" sz="12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kumimoji="0" lang="en-GB" sz="12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odels</a:t>
            </a:r>
          </a:p>
        </p:txBody>
      </p:sp>
      <p:cxnSp>
        <p:nvCxnSpPr>
          <p:cNvPr id="51" name="Straight Connector 50">
            <a:extLst>
              <a:ext uri="{FF2B5EF4-FFF2-40B4-BE49-F238E27FC236}">
                <a16:creationId xmlns:a16="http://schemas.microsoft.com/office/drawing/2014/main" id="{EA9CB08C-AA12-4E30-A8EF-06A1259C7601}"/>
              </a:ext>
            </a:extLst>
          </p:cNvPr>
          <p:cNvCxnSpPr/>
          <p:nvPr/>
        </p:nvCxnSpPr>
        <p:spPr>
          <a:xfrm>
            <a:off x="4909171" y="5726544"/>
            <a:ext cx="0" cy="653919"/>
          </a:xfrm>
          <a:prstGeom prst="line">
            <a:avLst/>
          </a:prstGeom>
          <a:ln w="63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F82B0A36-1423-47E2-9DE0-3B7CC929B9BE}"/>
              </a:ext>
            </a:extLst>
          </p:cNvPr>
          <p:cNvCxnSpPr/>
          <p:nvPr/>
        </p:nvCxnSpPr>
        <p:spPr>
          <a:xfrm>
            <a:off x="7251271" y="5726544"/>
            <a:ext cx="0" cy="653919"/>
          </a:xfrm>
          <a:prstGeom prst="line">
            <a:avLst/>
          </a:prstGeom>
          <a:ln w="63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E755AF83-00E3-4502-8B23-C287FE177C37}"/>
              </a:ext>
            </a:extLst>
          </p:cNvPr>
          <p:cNvCxnSpPr/>
          <p:nvPr/>
        </p:nvCxnSpPr>
        <p:spPr>
          <a:xfrm>
            <a:off x="2567071" y="5726544"/>
            <a:ext cx="0" cy="653919"/>
          </a:xfrm>
          <a:prstGeom prst="line">
            <a:avLst/>
          </a:prstGeom>
          <a:ln w="63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Rounded Rectangle 81">
            <a:extLst>
              <a:ext uri="{FF2B5EF4-FFF2-40B4-BE49-F238E27FC236}">
                <a16:creationId xmlns:a16="http://schemas.microsoft.com/office/drawing/2014/main" id="{37785761-6360-40E6-95A4-F05D6EAA781D}"/>
              </a:ext>
            </a:extLst>
          </p:cNvPr>
          <p:cNvSpPr/>
          <p:nvPr/>
        </p:nvSpPr>
        <p:spPr>
          <a:xfrm>
            <a:off x="1670832" y="1810321"/>
            <a:ext cx="1620000" cy="4212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615" tIns="16615" rIns="16615" bIns="16615" numCol="1" spcCol="0" rtlCol="0" fromWordArt="0" anchor="ctr" anchorCtr="0" forceAA="0" compatLnSpc="1">
            <a:prstTxWarp prst="textNoShape">
              <a:avLst/>
            </a:prstTxWarp>
            <a:noAutofit/>
          </a:bodyPr>
          <a:lstStyle/>
          <a:p>
            <a:pPr marL="0" marR="0" lvl="0" indent="0" algn="ctr" defTabSz="844083" rtl="0" eaLnBrk="1" fontAlgn="auto" latinLnBrk="0" hangingPunct="1">
              <a:lnSpc>
                <a:spcPct val="100000"/>
              </a:lnSpc>
              <a:spcBef>
                <a:spcPts val="0"/>
              </a:spcBef>
              <a:spcAft>
                <a:spcPts val="0"/>
              </a:spcAft>
              <a:buClr>
                <a:srgbClr val="474747"/>
              </a:buClr>
              <a:buSzPct val="100000"/>
              <a:buFontTx/>
              <a:buNone/>
              <a:tabLst/>
              <a:defRPr/>
            </a:pPr>
            <a:r>
              <a:rPr kumimoji="0" lang="en-GB" sz="1200" b="1" i="0" u="none" strike="noStrike" kern="1200" cap="none" spc="0" normalizeH="0" baseline="0" noProof="0">
                <a:ln w="0"/>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as </a:t>
            </a:r>
          </a:p>
          <a:p>
            <a:pPr marL="0" marR="0" lvl="0" indent="0" algn="ctr" defTabSz="844083" rtl="0" eaLnBrk="1" fontAlgn="auto" latinLnBrk="0" hangingPunct="1">
              <a:lnSpc>
                <a:spcPct val="100000"/>
              </a:lnSpc>
              <a:spcBef>
                <a:spcPts val="0"/>
              </a:spcBef>
              <a:spcAft>
                <a:spcPts val="0"/>
              </a:spcAft>
              <a:buClr>
                <a:srgbClr val="474747"/>
              </a:buClr>
              <a:buSzPct val="100000"/>
              <a:buFontTx/>
              <a:buNone/>
              <a:tabLst/>
              <a:defRPr/>
            </a:pPr>
            <a:r>
              <a:rPr kumimoji="0" lang="en-GB" sz="1200" b="1" i="0" u="none" strike="noStrike" kern="1200" cap="none" spc="0" normalizeH="0" baseline="0" noProof="0">
                <a:ln w="0"/>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ER-GAS)</a:t>
            </a:r>
          </a:p>
        </p:txBody>
      </p:sp>
      <p:sp>
        <p:nvSpPr>
          <p:cNvPr id="15" name="Rounded Rectangle 83">
            <a:extLst>
              <a:ext uri="{FF2B5EF4-FFF2-40B4-BE49-F238E27FC236}">
                <a16:creationId xmlns:a16="http://schemas.microsoft.com/office/drawing/2014/main" id="{F7BF12C2-C4F0-4318-9EDC-82C79E2A6D4C}"/>
              </a:ext>
            </a:extLst>
          </p:cNvPr>
          <p:cNvSpPr/>
          <p:nvPr/>
        </p:nvSpPr>
        <p:spPr>
          <a:xfrm>
            <a:off x="5494613" y="1810321"/>
            <a:ext cx="1836000" cy="421200"/>
          </a:xfrm>
          <a:prstGeom prst="roundRect">
            <a:avLst/>
          </a:prstGeom>
          <a:solidFill>
            <a:schemeClr val="tx2"/>
          </a:solidFill>
          <a:ln w="19050">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615" tIns="16615" rIns="16615" bIns="16615" numCol="1" spcCol="0" rtlCol="0" fromWordArt="0" anchor="ctr" anchorCtr="0" forceAA="0" compatLnSpc="1">
            <a:prstTxWarp prst="textNoShape">
              <a:avLst/>
            </a:prstTxWarp>
            <a:noAutofit/>
          </a:bodyPr>
          <a:lstStyle/>
          <a:p>
            <a:pPr marL="0" marR="0" lvl="0" indent="0" algn="ctr" defTabSz="844083" rtl="0" eaLnBrk="1" fontAlgn="auto" latinLnBrk="0" hangingPunct="1">
              <a:lnSpc>
                <a:spcPct val="100000"/>
              </a:lnSpc>
              <a:spcBef>
                <a:spcPts val="0"/>
              </a:spcBef>
              <a:spcAft>
                <a:spcPts val="0"/>
              </a:spcAft>
              <a:buClr>
                <a:srgbClr val="474747"/>
              </a:buClr>
              <a:buSzPct val="100000"/>
              <a:buFontTx/>
              <a:buNone/>
              <a:tabLst/>
              <a:defRPr/>
            </a:pPr>
            <a:r>
              <a:rPr kumimoji="0" lang="en-GB" sz="1200" b="1" i="0" u="none" strike="noStrike" kern="1200" cap="none" spc="0" normalizeH="0" baseline="0" noProof="0">
                <a:ln w="0"/>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ower markets </a:t>
            </a:r>
          </a:p>
          <a:p>
            <a:pPr marL="0" marR="0" lvl="0" indent="0" algn="ctr" defTabSz="844083" rtl="0" eaLnBrk="1" fontAlgn="auto" latinLnBrk="0" hangingPunct="1">
              <a:lnSpc>
                <a:spcPct val="100000"/>
              </a:lnSpc>
              <a:spcBef>
                <a:spcPts val="0"/>
              </a:spcBef>
              <a:spcAft>
                <a:spcPts val="0"/>
              </a:spcAft>
              <a:buClr>
                <a:srgbClr val="474747"/>
              </a:buClr>
              <a:buSzPct val="100000"/>
              <a:buFontTx/>
              <a:buNone/>
              <a:tabLst/>
              <a:defRPr/>
            </a:pPr>
            <a:r>
              <a:rPr kumimoji="0" lang="en-GB" sz="1200" b="1" i="0" u="none" strike="noStrike" kern="1200" cap="none" spc="0" normalizeH="0" baseline="0" noProof="0">
                <a:ln w="0"/>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ER-ES)</a:t>
            </a:r>
          </a:p>
        </p:txBody>
      </p:sp>
      <p:sp>
        <p:nvSpPr>
          <p:cNvPr id="46" name="Rounded Rectangle 85">
            <a:extLst>
              <a:ext uri="{FF2B5EF4-FFF2-40B4-BE49-F238E27FC236}">
                <a16:creationId xmlns:a16="http://schemas.microsoft.com/office/drawing/2014/main" id="{3032EE2A-1AA9-46C3-8E4D-8EA72BB34102}"/>
              </a:ext>
            </a:extLst>
          </p:cNvPr>
          <p:cNvSpPr/>
          <p:nvPr/>
        </p:nvSpPr>
        <p:spPr>
          <a:xfrm>
            <a:off x="1670832" y="1208473"/>
            <a:ext cx="1620000" cy="4212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615" tIns="16615" rIns="16615" bIns="16615" numCol="1" spcCol="0" rtlCol="0" fromWordArt="0" anchor="ctr" anchorCtr="0" forceAA="0" compatLnSpc="1">
            <a:prstTxWarp prst="textNoShape">
              <a:avLst/>
            </a:prstTxWarp>
            <a:noAutofit/>
          </a:bodyPr>
          <a:lstStyle/>
          <a:p>
            <a:pPr marL="0" marR="0" lvl="0" indent="0" algn="ctr" defTabSz="844083" rtl="0" eaLnBrk="1" fontAlgn="auto" latinLnBrk="0" hangingPunct="1">
              <a:lnSpc>
                <a:spcPct val="100000"/>
              </a:lnSpc>
              <a:spcBef>
                <a:spcPts val="0"/>
              </a:spcBef>
              <a:spcAft>
                <a:spcPts val="0"/>
              </a:spcAft>
              <a:buClr>
                <a:srgbClr val="474747"/>
              </a:buClr>
              <a:buSzPct val="100000"/>
              <a:buFontTx/>
              <a:buNone/>
              <a:tabLst/>
              <a:defRPr/>
            </a:pPr>
            <a:r>
              <a:rPr kumimoji="0" lang="en-GB" sz="1200" b="1" i="0" u="none" strike="noStrike" kern="1200" cap="none" spc="0" normalizeH="0" baseline="0" noProof="0">
                <a:ln w="0"/>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lobal Commodities </a:t>
            </a:r>
          </a:p>
          <a:p>
            <a:pPr marL="0" marR="0" lvl="0" indent="0" algn="ctr" defTabSz="844083" rtl="0" eaLnBrk="1" fontAlgn="auto" latinLnBrk="0" hangingPunct="1">
              <a:lnSpc>
                <a:spcPct val="100000"/>
              </a:lnSpc>
              <a:spcBef>
                <a:spcPts val="0"/>
              </a:spcBef>
              <a:spcAft>
                <a:spcPts val="0"/>
              </a:spcAft>
              <a:buClr>
                <a:srgbClr val="474747"/>
              </a:buClr>
              <a:buSzPct val="100000"/>
              <a:buFontTx/>
              <a:buNone/>
              <a:tabLst/>
              <a:defRPr/>
            </a:pPr>
            <a:r>
              <a:rPr kumimoji="0" lang="en-GB" sz="1200" b="1" i="0" u="none" strike="noStrike" kern="1200" cap="none" spc="0" normalizeH="0" baseline="0" noProof="0">
                <a:ln w="0"/>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ER-GLO)</a:t>
            </a:r>
          </a:p>
        </p:txBody>
      </p:sp>
      <p:cxnSp>
        <p:nvCxnSpPr>
          <p:cNvPr id="61" name="Straight Arrow Connector 60">
            <a:extLst>
              <a:ext uri="{FF2B5EF4-FFF2-40B4-BE49-F238E27FC236}">
                <a16:creationId xmlns:a16="http://schemas.microsoft.com/office/drawing/2014/main" id="{67B087C4-AF81-4C23-B57E-05A815B20D75}"/>
              </a:ext>
            </a:extLst>
          </p:cNvPr>
          <p:cNvCxnSpPr>
            <a:cxnSpLocks/>
            <a:stCxn id="15" idx="3"/>
            <a:endCxn id="104" idx="1"/>
          </p:cNvCxnSpPr>
          <p:nvPr/>
        </p:nvCxnSpPr>
        <p:spPr>
          <a:xfrm>
            <a:off x="7330613" y="2020921"/>
            <a:ext cx="2198713" cy="0"/>
          </a:xfrm>
          <a:prstGeom prst="straightConnector1">
            <a:avLst/>
          </a:prstGeom>
          <a:ln w="9525" cmpd="sng">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60B1BA16-15B8-4626-9F72-2C58D034E1D2}"/>
              </a:ext>
            </a:extLst>
          </p:cNvPr>
          <p:cNvCxnSpPr>
            <a:cxnSpLocks/>
            <a:stCxn id="14" idx="3"/>
            <a:endCxn id="15" idx="1"/>
          </p:cNvCxnSpPr>
          <p:nvPr/>
        </p:nvCxnSpPr>
        <p:spPr>
          <a:xfrm>
            <a:off x="3290832" y="2020921"/>
            <a:ext cx="2203781" cy="0"/>
          </a:xfrm>
          <a:prstGeom prst="straightConnector1">
            <a:avLst/>
          </a:prstGeom>
          <a:ln w="9525" cmpd="sng">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6" name="Rounded Rectangle 33">
            <a:extLst>
              <a:ext uri="{FF2B5EF4-FFF2-40B4-BE49-F238E27FC236}">
                <a16:creationId xmlns:a16="http://schemas.microsoft.com/office/drawing/2014/main" id="{D4AA5B93-ABB1-4B8D-B107-B2238D3E14A6}"/>
              </a:ext>
            </a:extLst>
          </p:cNvPr>
          <p:cNvSpPr/>
          <p:nvPr/>
        </p:nvSpPr>
        <p:spPr>
          <a:xfrm>
            <a:off x="675421" y="2599105"/>
            <a:ext cx="841212" cy="285631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84406" rIns="84406" bIns="84406" numCol="1" spcCol="0" rtlCol="0" fromWordArt="0" anchor="t" anchorCtr="0" forceAA="0" compatLnSpc="1">
            <a:prstTxWarp prst="textNoShape">
              <a:avLst/>
            </a:prstTxWarp>
            <a:noAutofit/>
          </a:bodyPr>
          <a:lstStyle/>
          <a:p>
            <a:pPr marL="0" marR="0" lvl="0" indent="0" algn="ctr" defTabSz="844083" rtl="0" eaLnBrk="1" fontAlgn="auto" latinLnBrk="0" hangingPunct="1">
              <a:lnSpc>
                <a:spcPct val="114000"/>
              </a:lnSpc>
              <a:spcBef>
                <a:spcPts val="0"/>
              </a:spcBef>
              <a:spcAft>
                <a:spcPts val="554"/>
              </a:spcAft>
              <a:buClr>
                <a:srgbClr val="474747"/>
              </a:buClr>
              <a:buSzPct val="100000"/>
              <a:buFontTx/>
              <a:buNone/>
              <a:tabLst/>
              <a:defRPr/>
            </a:pPr>
            <a:endParaRPr kumimoji="0" lang="en-GB" sz="1200" b="0" i="0" u="none" strike="noStrike" kern="1200" cap="none" spc="0" normalizeH="0" baseline="0" noProof="0">
              <a:ln>
                <a:noFill/>
              </a:ln>
              <a:solidFill>
                <a:srgbClr val="474747"/>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7" name="Rounded Rectangle 125">
            <a:extLst>
              <a:ext uri="{FF2B5EF4-FFF2-40B4-BE49-F238E27FC236}">
                <a16:creationId xmlns:a16="http://schemas.microsoft.com/office/drawing/2014/main" id="{23AE343D-4FCB-4116-84B6-DEC8F6766B62}"/>
              </a:ext>
            </a:extLst>
          </p:cNvPr>
          <p:cNvSpPr/>
          <p:nvPr/>
        </p:nvSpPr>
        <p:spPr>
          <a:xfrm>
            <a:off x="1114170" y="2824023"/>
            <a:ext cx="845756" cy="332308"/>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85759"/>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echnology</a:t>
            </a:r>
          </a:p>
        </p:txBody>
      </p:sp>
      <p:sp>
        <p:nvSpPr>
          <p:cNvPr id="18" name="Rounded Rectangle 126">
            <a:extLst>
              <a:ext uri="{FF2B5EF4-FFF2-40B4-BE49-F238E27FC236}">
                <a16:creationId xmlns:a16="http://schemas.microsoft.com/office/drawing/2014/main" id="{73154F09-08E6-4616-87D0-A7F236CF3920}"/>
              </a:ext>
            </a:extLst>
          </p:cNvPr>
          <p:cNvSpPr/>
          <p:nvPr/>
        </p:nvSpPr>
        <p:spPr>
          <a:xfrm>
            <a:off x="1114170" y="3385617"/>
            <a:ext cx="845756" cy="332308"/>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85759"/>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olicy</a:t>
            </a:r>
          </a:p>
        </p:txBody>
      </p:sp>
      <p:sp>
        <p:nvSpPr>
          <p:cNvPr id="19" name="Rounded Rectangle 127">
            <a:extLst>
              <a:ext uri="{FF2B5EF4-FFF2-40B4-BE49-F238E27FC236}">
                <a16:creationId xmlns:a16="http://schemas.microsoft.com/office/drawing/2014/main" id="{4C1D9547-ADC9-4F3E-8F4A-C6CAE70BA37C}"/>
              </a:ext>
            </a:extLst>
          </p:cNvPr>
          <p:cNvSpPr/>
          <p:nvPr/>
        </p:nvSpPr>
        <p:spPr>
          <a:xfrm>
            <a:off x="1114170" y="3947210"/>
            <a:ext cx="845756" cy="332308"/>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85759"/>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mand</a:t>
            </a:r>
          </a:p>
        </p:txBody>
      </p:sp>
      <p:sp>
        <p:nvSpPr>
          <p:cNvPr id="20" name="Rounded Rectangle 128">
            <a:extLst>
              <a:ext uri="{FF2B5EF4-FFF2-40B4-BE49-F238E27FC236}">
                <a16:creationId xmlns:a16="http://schemas.microsoft.com/office/drawing/2014/main" id="{B7BD9223-0C72-49E7-A1A3-9615CAAB4B39}"/>
              </a:ext>
            </a:extLst>
          </p:cNvPr>
          <p:cNvSpPr/>
          <p:nvPr/>
        </p:nvSpPr>
        <p:spPr>
          <a:xfrm>
            <a:off x="1114170" y="4508804"/>
            <a:ext cx="845756" cy="332308"/>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85759"/>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mmodity </a:t>
            </a:r>
            <a:br>
              <a:rPr kumimoji="0" lang="en-GB" sz="1200" b="0" i="0" u="none" strike="noStrike" kern="1200" cap="none" spc="0" normalizeH="0" baseline="0" noProof="0">
                <a:ln>
                  <a:noFill/>
                </a:ln>
                <a:solidFill>
                  <a:srgbClr val="485759"/>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kumimoji="0" lang="en-GB" sz="1200" b="0" i="0" u="none" strike="noStrike" kern="1200" cap="none" spc="0" normalizeH="0" baseline="0" noProof="0">
                <a:ln>
                  <a:noFill/>
                </a:ln>
                <a:solidFill>
                  <a:srgbClr val="485759"/>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rices</a:t>
            </a:r>
            <a:r>
              <a:rPr kumimoji="0" lang="en-GB" sz="1200" b="0" i="0" u="none" strike="noStrike" kern="1200" cap="none" spc="0" normalizeH="0" baseline="30000" noProof="0">
                <a:ln>
                  <a:noFill/>
                </a:ln>
                <a:solidFill>
                  <a:srgbClr val="485759"/>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1</a:t>
            </a:r>
          </a:p>
        </p:txBody>
      </p:sp>
      <p:sp>
        <p:nvSpPr>
          <p:cNvPr id="25" name="Rounded Rectangle 145">
            <a:extLst>
              <a:ext uri="{FF2B5EF4-FFF2-40B4-BE49-F238E27FC236}">
                <a16:creationId xmlns:a16="http://schemas.microsoft.com/office/drawing/2014/main" id="{6D6BFA5D-CB31-4A63-B6D4-F65E417D3089}"/>
              </a:ext>
            </a:extLst>
          </p:cNvPr>
          <p:cNvSpPr/>
          <p:nvPr/>
        </p:nvSpPr>
        <p:spPr>
          <a:xfrm>
            <a:off x="7030370" y="2554203"/>
            <a:ext cx="1697309" cy="285631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84406" rIns="84406" bIns="84406" numCol="1" spcCol="0" rtlCol="0" fromWordArt="0" anchor="t" anchorCtr="0" forceAA="0" compatLnSpc="1">
            <a:prstTxWarp prst="textNoShape">
              <a:avLst/>
            </a:prstTxWarp>
            <a:noAutofit/>
          </a:bodyPr>
          <a:lstStyle/>
          <a:p>
            <a:pPr marL="0" marR="0" lvl="0" indent="0" algn="ctr" defTabSz="844083" rtl="0" eaLnBrk="1" fontAlgn="auto" latinLnBrk="0" hangingPunct="1">
              <a:lnSpc>
                <a:spcPct val="114000"/>
              </a:lnSpc>
              <a:spcBef>
                <a:spcPts val="0"/>
              </a:spcBef>
              <a:spcAft>
                <a:spcPts val="554"/>
              </a:spcAft>
              <a:buClr>
                <a:srgbClr val="474747"/>
              </a:buClr>
              <a:buSzPct val="100000"/>
              <a:buFontTx/>
              <a:buNone/>
              <a:tabLst/>
              <a:defRPr/>
            </a:pPr>
            <a:endParaRPr kumimoji="0" lang="en-GB" sz="1200" b="0" i="0" u="none" strike="noStrike" kern="1200" cap="none" spc="0" normalizeH="0" baseline="0" noProof="0">
              <a:ln>
                <a:noFill/>
              </a:ln>
              <a:solidFill>
                <a:srgbClr val="474747"/>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6" name="Rounded Rectangle 212">
            <a:extLst>
              <a:ext uri="{FF2B5EF4-FFF2-40B4-BE49-F238E27FC236}">
                <a16:creationId xmlns:a16="http://schemas.microsoft.com/office/drawing/2014/main" id="{0DAE4C3A-DE4C-4219-A33B-90CDE4A4A1C8}"/>
              </a:ext>
            </a:extLst>
          </p:cNvPr>
          <p:cNvSpPr/>
          <p:nvPr/>
        </p:nvSpPr>
        <p:spPr>
          <a:xfrm>
            <a:off x="7599392" y="3320880"/>
            <a:ext cx="845756" cy="233404"/>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85759"/>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ration mix </a:t>
            </a:r>
          </a:p>
        </p:txBody>
      </p:sp>
      <p:sp>
        <p:nvSpPr>
          <p:cNvPr id="27" name="Rounded Rectangle 213">
            <a:extLst>
              <a:ext uri="{FF2B5EF4-FFF2-40B4-BE49-F238E27FC236}">
                <a16:creationId xmlns:a16="http://schemas.microsoft.com/office/drawing/2014/main" id="{10A7CADA-8743-4A76-A665-5C57955D5B6B}"/>
              </a:ext>
            </a:extLst>
          </p:cNvPr>
          <p:cNvSpPr/>
          <p:nvPr/>
        </p:nvSpPr>
        <p:spPr>
          <a:xfrm>
            <a:off x="7599392" y="4226226"/>
            <a:ext cx="1088302" cy="233404"/>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85759"/>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apacity market prices </a:t>
            </a:r>
            <a:endParaRPr kumimoji="0" lang="en-GB" sz="1200" b="0" i="0" u="none" strike="noStrike" kern="1200" cap="none" spc="0" normalizeH="0" baseline="30000" noProof="0">
              <a:ln>
                <a:noFill/>
              </a:ln>
              <a:solidFill>
                <a:srgbClr val="485759"/>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8" name="Rounded Rectangle 214">
            <a:extLst>
              <a:ext uri="{FF2B5EF4-FFF2-40B4-BE49-F238E27FC236}">
                <a16:creationId xmlns:a16="http://schemas.microsoft.com/office/drawing/2014/main" id="{04BE57CD-55DF-4D49-91E1-C72B9F456410}"/>
              </a:ext>
            </a:extLst>
          </p:cNvPr>
          <p:cNvSpPr/>
          <p:nvPr/>
        </p:nvSpPr>
        <p:spPr>
          <a:xfrm>
            <a:off x="7599392" y="2818754"/>
            <a:ext cx="845756" cy="332308"/>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85759"/>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apacity </a:t>
            </a:r>
            <a:br>
              <a:rPr kumimoji="0" lang="en-GB" sz="1200" b="0" i="0" u="none" strike="noStrike" kern="1200" cap="none" spc="0" normalizeH="0" baseline="0" noProof="0">
                <a:ln>
                  <a:noFill/>
                </a:ln>
                <a:solidFill>
                  <a:srgbClr val="485759"/>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kumimoji="0" lang="en-GB" sz="1200" b="0" i="0" u="none" strike="noStrike" kern="1200" cap="none" spc="0" normalizeH="0" baseline="0" noProof="0">
                <a:ln>
                  <a:noFill/>
                </a:ln>
                <a:solidFill>
                  <a:srgbClr val="485759"/>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x</a:t>
            </a:r>
          </a:p>
        </p:txBody>
      </p:sp>
      <p:sp>
        <p:nvSpPr>
          <p:cNvPr id="30" name="Rounded Rectangle 216">
            <a:extLst>
              <a:ext uri="{FF2B5EF4-FFF2-40B4-BE49-F238E27FC236}">
                <a16:creationId xmlns:a16="http://schemas.microsoft.com/office/drawing/2014/main" id="{8C2A4A4D-69DC-46CF-A1F8-FE3CAB279B5A}"/>
              </a:ext>
            </a:extLst>
          </p:cNvPr>
          <p:cNvSpPr/>
          <p:nvPr/>
        </p:nvSpPr>
        <p:spPr>
          <a:xfrm>
            <a:off x="7599392" y="4701918"/>
            <a:ext cx="1088302" cy="233404"/>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85759"/>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rofit / Loss and NPV</a:t>
            </a:r>
            <a:endParaRPr kumimoji="0" lang="en-GB" sz="1200" b="0" i="0" u="none" strike="noStrike" kern="1200" cap="none" spc="0" normalizeH="0" baseline="30000" noProof="0">
              <a:ln>
                <a:noFill/>
              </a:ln>
              <a:solidFill>
                <a:srgbClr val="485759"/>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8" name="Rounded Rectangle 184">
            <a:extLst>
              <a:ext uri="{FF2B5EF4-FFF2-40B4-BE49-F238E27FC236}">
                <a16:creationId xmlns:a16="http://schemas.microsoft.com/office/drawing/2014/main" id="{9ED825A4-1079-4A3F-ADD8-B97DE5CB0D90}"/>
              </a:ext>
            </a:extLst>
          </p:cNvPr>
          <p:cNvSpPr/>
          <p:nvPr/>
        </p:nvSpPr>
        <p:spPr>
          <a:xfrm>
            <a:off x="2999809" y="4628741"/>
            <a:ext cx="3385661" cy="9685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16308" rIns="33231" bIns="84406" numCol="1" spcCol="0" rtlCol="0" fromWordArt="0" anchor="t" anchorCtr="0" forceAA="0" compatLnSpc="1">
            <a:prstTxWarp prst="textNoShape">
              <a:avLst/>
            </a:prstTxWarp>
            <a:noAutofit/>
          </a:bodyPr>
          <a:lstStyle/>
          <a:p>
            <a:pPr marL="155121" marR="0" lvl="1" indent="-155121" algn="l" defTabSz="844083" rtl="0" eaLnBrk="1" fontAlgn="base" latinLnBrk="0" hangingPunct="1">
              <a:lnSpc>
                <a:spcPct val="100000"/>
              </a:lnSpc>
              <a:spcBef>
                <a:spcPts val="0"/>
              </a:spcBef>
              <a:spcAft>
                <a:spcPct val="0"/>
              </a:spcAft>
              <a:buClr>
                <a:srgbClr val="3C3C3B"/>
              </a:buClr>
              <a:buSzPct val="100000"/>
              <a:buFont typeface="Wingdings" panose="05000000000000000000" pitchFamily="2" charset="2"/>
              <a:buChar char="§"/>
              <a:tabLst/>
              <a:defRPr/>
            </a:pPr>
            <a:r>
              <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apacity market modelling </a:t>
            </a:r>
          </a:p>
          <a:p>
            <a:pPr marL="155121" marR="0" lvl="1" indent="-155121" algn="l" defTabSz="844083" rtl="0" eaLnBrk="1" fontAlgn="base" latinLnBrk="0" hangingPunct="1">
              <a:lnSpc>
                <a:spcPct val="100000"/>
              </a:lnSpc>
              <a:spcBef>
                <a:spcPts val="0"/>
              </a:spcBef>
              <a:spcAft>
                <a:spcPct val="0"/>
              </a:spcAft>
              <a:buClr>
                <a:srgbClr val="3C3C3B"/>
              </a:buClr>
              <a:buSzPct val="100000"/>
              <a:buFont typeface="Wingdings" panose="05000000000000000000" pitchFamily="2" charset="2"/>
              <a:buChar char="§"/>
              <a:tabLst/>
              <a:defRPr/>
            </a:pPr>
            <a:r>
              <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apacity build / exit / mothballing</a:t>
            </a:r>
          </a:p>
          <a:p>
            <a:pPr marL="155121" marR="0" lvl="1" indent="-155121" algn="l" defTabSz="844083" rtl="0" eaLnBrk="1" fontAlgn="base" latinLnBrk="0" hangingPunct="1">
              <a:lnSpc>
                <a:spcPct val="100000"/>
              </a:lnSpc>
              <a:spcBef>
                <a:spcPts val="0"/>
              </a:spcBef>
              <a:spcAft>
                <a:spcPct val="0"/>
              </a:spcAft>
              <a:buClr>
                <a:srgbClr val="3C3C3B"/>
              </a:buClr>
              <a:buSzPct val="100000"/>
              <a:buFont typeface="Wingdings" panose="05000000000000000000" pitchFamily="2" charset="2"/>
              <a:buChar char="§"/>
              <a:tabLst/>
              <a:defRPr/>
            </a:pPr>
            <a:r>
              <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RR / NPV driven</a:t>
            </a:r>
          </a:p>
          <a:p>
            <a:pPr marL="155121" marR="0" lvl="1" indent="-155121" algn="l" defTabSz="844083" rtl="0" eaLnBrk="1" fontAlgn="base" latinLnBrk="0" hangingPunct="1">
              <a:lnSpc>
                <a:spcPct val="100000"/>
              </a:lnSpc>
              <a:spcBef>
                <a:spcPts val="0"/>
              </a:spcBef>
              <a:spcAft>
                <a:spcPct val="0"/>
              </a:spcAft>
              <a:buClr>
                <a:srgbClr val="3C3C3B"/>
              </a:buClr>
              <a:buSzPct val="100000"/>
              <a:buFont typeface="Wingdings" panose="05000000000000000000" pitchFamily="2" charset="2"/>
              <a:buChar char="§"/>
              <a:tabLst/>
              <a:defRPr/>
            </a:pPr>
            <a:r>
              <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ed technology assessments </a:t>
            </a:r>
          </a:p>
        </p:txBody>
      </p:sp>
      <p:sp>
        <p:nvSpPr>
          <p:cNvPr id="48" name="TextBox 47">
            <a:extLst>
              <a:ext uri="{FF2B5EF4-FFF2-40B4-BE49-F238E27FC236}">
                <a16:creationId xmlns:a16="http://schemas.microsoft.com/office/drawing/2014/main" id="{4D2927C9-E44D-4E13-B32F-DD46AD85EC64}"/>
              </a:ext>
            </a:extLst>
          </p:cNvPr>
          <p:cNvSpPr txBox="1">
            <a:spLocks/>
          </p:cNvSpPr>
          <p:nvPr/>
        </p:nvSpPr>
        <p:spPr>
          <a:xfrm>
            <a:off x="7124773" y="2437753"/>
            <a:ext cx="1602906" cy="256591"/>
          </a:xfrm>
          <a:prstGeom prst="rect">
            <a:avLst/>
          </a:prstGeom>
          <a:solidFill>
            <a:schemeClr val="accent1"/>
          </a:solidFill>
          <a:ln>
            <a:noFill/>
          </a:ln>
        </p:spPr>
        <p:txBody>
          <a:bodyPr vert="horz" wrap="square" lIns="0" tIns="0" rIns="0" bIns="0" rtlCol="0" anchor="ctr">
            <a:noAutofit/>
          </a:bodyPr>
          <a:lstStyle/>
          <a:p>
            <a:pPr marL="0" marR="0" lvl="0" indent="0" algn="ctr" defTabSz="844083" rtl="0" eaLnBrk="1" fontAlgn="auto" latinLnBrk="0" hangingPunct="1">
              <a:lnSpc>
                <a:spcPct val="114000"/>
              </a:lnSpc>
              <a:spcBef>
                <a:spcPts val="0"/>
              </a:spcBef>
              <a:spcAft>
                <a:spcPts val="554"/>
              </a:spcAft>
              <a:buClrTx/>
              <a:buSzPct val="100000"/>
              <a:buFontTx/>
              <a:buNone/>
              <a:tabLst/>
              <a:defRPr/>
            </a:pPr>
            <a:r>
              <a:rPr kumimoji="0" lang="en-GB" sz="12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UTPUTS</a:t>
            </a:r>
          </a:p>
        </p:txBody>
      </p:sp>
      <p:sp>
        <p:nvSpPr>
          <p:cNvPr id="49" name="TextBox 48">
            <a:extLst>
              <a:ext uri="{FF2B5EF4-FFF2-40B4-BE49-F238E27FC236}">
                <a16:creationId xmlns:a16="http://schemas.microsoft.com/office/drawing/2014/main" id="{0DA87763-10B8-415F-891A-19D2B8E86167}"/>
              </a:ext>
            </a:extLst>
          </p:cNvPr>
          <p:cNvSpPr txBox="1">
            <a:spLocks/>
          </p:cNvSpPr>
          <p:nvPr/>
        </p:nvSpPr>
        <p:spPr>
          <a:xfrm>
            <a:off x="588519" y="2437753"/>
            <a:ext cx="1602906" cy="256591"/>
          </a:xfrm>
          <a:prstGeom prst="rect">
            <a:avLst/>
          </a:prstGeom>
          <a:solidFill>
            <a:schemeClr val="accent1"/>
          </a:solidFill>
          <a:ln>
            <a:noFill/>
          </a:ln>
        </p:spPr>
        <p:txBody>
          <a:bodyPr vert="horz" wrap="square" lIns="0" tIns="0" rIns="0" bIns="0" rtlCol="0" anchor="ctr">
            <a:noAutofit/>
          </a:bodyPr>
          <a:lstStyle/>
          <a:p>
            <a:pPr marL="0" marR="0" lvl="0" indent="0" algn="ctr" defTabSz="844083" rtl="0" eaLnBrk="1" fontAlgn="auto" latinLnBrk="0" hangingPunct="1">
              <a:lnSpc>
                <a:spcPct val="114000"/>
              </a:lnSpc>
              <a:spcBef>
                <a:spcPts val="0"/>
              </a:spcBef>
              <a:spcAft>
                <a:spcPts val="554"/>
              </a:spcAft>
              <a:buClrTx/>
              <a:buSzPct val="100000"/>
              <a:buFontTx/>
              <a:buNone/>
              <a:tabLst/>
              <a:defRPr/>
            </a:pPr>
            <a:r>
              <a:rPr kumimoji="0" lang="en-GB" sz="12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PUTS</a:t>
            </a:r>
          </a:p>
        </p:txBody>
      </p:sp>
      <p:sp>
        <p:nvSpPr>
          <p:cNvPr id="56" name="Rounded Rectangle 95">
            <a:extLst>
              <a:ext uri="{FF2B5EF4-FFF2-40B4-BE49-F238E27FC236}">
                <a16:creationId xmlns:a16="http://schemas.microsoft.com/office/drawing/2014/main" id="{2347AA97-9BF4-4720-89B1-34B59317D8A6}"/>
              </a:ext>
            </a:extLst>
          </p:cNvPr>
          <p:cNvSpPr/>
          <p:nvPr/>
        </p:nvSpPr>
        <p:spPr>
          <a:xfrm>
            <a:off x="1114170" y="5070397"/>
            <a:ext cx="845756" cy="332308"/>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85759"/>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Weather patterns</a:t>
            </a:r>
          </a:p>
        </p:txBody>
      </p:sp>
      <p:sp>
        <p:nvSpPr>
          <p:cNvPr id="91" name="Oval 90">
            <a:extLst>
              <a:ext uri="{FF2B5EF4-FFF2-40B4-BE49-F238E27FC236}">
                <a16:creationId xmlns:a16="http://schemas.microsoft.com/office/drawing/2014/main" id="{6BB5E935-B879-428A-B11F-F3EC25A69EE4}"/>
              </a:ext>
            </a:extLst>
          </p:cNvPr>
          <p:cNvSpPr/>
          <p:nvPr/>
        </p:nvSpPr>
        <p:spPr>
          <a:xfrm>
            <a:off x="588519" y="2774518"/>
            <a:ext cx="421200" cy="420781"/>
          </a:xfrm>
          <a:prstGeom prst="ellipse">
            <a:avLst/>
          </a:prstGeom>
          <a:solidFill>
            <a:schemeClr val="accent1"/>
          </a:solidFill>
          <a:ln w="6350" cap="flat" cmpd="sng" algn="ctr">
            <a:noFill/>
            <a:prstDash val="solid"/>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92" name="Freeform 263">
            <a:extLst>
              <a:ext uri="{FF2B5EF4-FFF2-40B4-BE49-F238E27FC236}">
                <a16:creationId xmlns:a16="http://schemas.microsoft.com/office/drawing/2014/main" id="{F0468FAE-70CF-462C-9969-43358CF33DA1}"/>
              </a:ext>
            </a:extLst>
          </p:cNvPr>
          <p:cNvSpPr>
            <a:spLocks noEditPoints="1"/>
          </p:cNvSpPr>
          <p:nvPr/>
        </p:nvSpPr>
        <p:spPr bwMode="auto">
          <a:xfrm>
            <a:off x="689574" y="2894751"/>
            <a:ext cx="216120" cy="185078"/>
          </a:xfrm>
          <a:custGeom>
            <a:avLst/>
            <a:gdLst>
              <a:gd name="T0" fmla="*/ 3 w 60"/>
              <a:gd name="T1" fmla="*/ 0 h 51"/>
              <a:gd name="T2" fmla="*/ 57 w 60"/>
              <a:gd name="T3" fmla="*/ 0 h 51"/>
              <a:gd name="T4" fmla="*/ 60 w 60"/>
              <a:gd name="T5" fmla="*/ 0 h 51"/>
              <a:gd name="T6" fmla="*/ 60 w 60"/>
              <a:gd name="T7" fmla="*/ 3 h 51"/>
              <a:gd name="T8" fmla="*/ 60 w 60"/>
              <a:gd name="T9" fmla="*/ 34 h 51"/>
              <a:gd name="T10" fmla="*/ 60 w 60"/>
              <a:gd name="T11" fmla="*/ 36 h 51"/>
              <a:gd name="T12" fmla="*/ 57 w 60"/>
              <a:gd name="T13" fmla="*/ 36 h 51"/>
              <a:gd name="T14" fmla="*/ 41 w 60"/>
              <a:gd name="T15" fmla="*/ 36 h 51"/>
              <a:gd name="T16" fmla="*/ 41 w 60"/>
              <a:gd name="T17" fmla="*/ 46 h 51"/>
              <a:gd name="T18" fmla="*/ 47 w 60"/>
              <a:gd name="T19" fmla="*/ 46 h 51"/>
              <a:gd name="T20" fmla="*/ 47 w 60"/>
              <a:gd name="T21" fmla="*/ 51 h 51"/>
              <a:gd name="T22" fmla="*/ 15 w 60"/>
              <a:gd name="T23" fmla="*/ 51 h 51"/>
              <a:gd name="T24" fmla="*/ 15 w 60"/>
              <a:gd name="T25" fmla="*/ 46 h 51"/>
              <a:gd name="T26" fmla="*/ 21 w 60"/>
              <a:gd name="T27" fmla="*/ 46 h 51"/>
              <a:gd name="T28" fmla="*/ 21 w 60"/>
              <a:gd name="T29" fmla="*/ 36 h 51"/>
              <a:gd name="T30" fmla="*/ 3 w 60"/>
              <a:gd name="T31" fmla="*/ 36 h 51"/>
              <a:gd name="T32" fmla="*/ 0 w 60"/>
              <a:gd name="T33" fmla="*/ 36 h 51"/>
              <a:gd name="T34" fmla="*/ 0 w 60"/>
              <a:gd name="T35" fmla="*/ 34 h 51"/>
              <a:gd name="T36" fmla="*/ 0 w 60"/>
              <a:gd name="T37" fmla="*/ 3 h 51"/>
              <a:gd name="T38" fmla="*/ 0 w 60"/>
              <a:gd name="T39" fmla="*/ 0 h 51"/>
              <a:gd name="T40" fmla="*/ 3 w 60"/>
              <a:gd name="T41" fmla="*/ 0 h 51"/>
              <a:gd name="T42" fmla="*/ 18 w 60"/>
              <a:gd name="T43" fmla="*/ 14 h 51"/>
              <a:gd name="T44" fmla="*/ 20 w 60"/>
              <a:gd name="T45" fmla="*/ 17 h 51"/>
              <a:gd name="T46" fmla="*/ 21 w 60"/>
              <a:gd name="T47" fmla="*/ 16 h 51"/>
              <a:gd name="T48" fmla="*/ 31 w 60"/>
              <a:gd name="T49" fmla="*/ 12 h 51"/>
              <a:gd name="T50" fmla="*/ 40 w 60"/>
              <a:gd name="T51" fmla="*/ 16 h 51"/>
              <a:gd name="T52" fmla="*/ 41 w 60"/>
              <a:gd name="T53" fmla="*/ 17 h 51"/>
              <a:gd name="T54" fmla="*/ 43 w 60"/>
              <a:gd name="T55" fmla="*/ 14 h 51"/>
              <a:gd name="T56" fmla="*/ 42 w 60"/>
              <a:gd name="T57" fmla="*/ 14 h 51"/>
              <a:gd name="T58" fmla="*/ 31 w 60"/>
              <a:gd name="T59" fmla="*/ 9 h 51"/>
              <a:gd name="T60" fmla="*/ 19 w 60"/>
              <a:gd name="T61" fmla="*/ 14 h 51"/>
              <a:gd name="T62" fmla="*/ 18 w 60"/>
              <a:gd name="T63" fmla="*/ 14 h 51"/>
              <a:gd name="T64" fmla="*/ 22 w 60"/>
              <a:gd name="T65" fmla="*/ 19 h 51"/>
              <a:gd name="T66" fmla="*/ 24 w 60"/>
              <a:gd name="T67" fmla="*/ 22 h 51"/>
              <a:gd name="T68" fmla="*/ 25 w 60"/>
              <a:gd name="T69" fmla="*/ 21 h 51"/>
              <a:gd name="T70" fmla="*/ 31 w 60"/>
              <a:gd name="T71" fmla="*/ 19 h 51"/>
              <a:gd name="T72" fmla="*/ 36 w 60"/>
              <a:gd name="T73" fmla="*/ 21 h 51"/>
              <a:gd name="T74" fmla="*/ 37 w 60"/>
              <a:gd name="T75" fmla="*/ 22 h 51"/>
              <a:gd name="T76" fmla="*/ 39 w 60"/>
              <a:gd name="T77" fmla="*/ 19 h 51"/>
              <a:gd name="T78" fmla="*/ 38 w 60"/>
              <a:gd name="T79" fmla="*/ 19 h 51"/>
              <a:gd name="T80" fmla="*/ 31 w 60"/>
              <a:gd name="T81" fmla="*/ 15 h 51"/>
              <a:gd name="T82" fmla="*/ 23 w 60"/>
              <a:gd name="T83" fmla="*/ 19 h 51"/>
              <a:gd name="T84" fmla="*/ 22 w 60"/>
              <a:gd name="T85" fmla="*/ 19 h 51"/>
              <a:gd name="T86" fmla="*/ 31 w 60"/>
              <a:gd name="T87" fmla="*/ 22 h 51"/>
              <a:gd name="T88" fmla="*/ 28 w 60"/>
              <a:gd name="T89" fmla="*/ 24 h 51"/>
              <a:gd name="T90" fmla="*/ 31 w 60"/>
              <a:gd name="T91" fmla="*/ 27 h 51"/>
              <a:gd name="T92" fmla="*/ 33 w 60"/>
              <a:gd name="T93" fmla="*/ 24 h 51"/>
              <a:gd name="T94" fmla="*/ 31 w 60"/>
              <a:gd name="T95" fmla="*/ 22 h 51"/>
              <a:gd name="T96" fmla="*/ 55 w 60"/>
              <a:gd name="T97" fmla="*/ 5 h 51"/>
              <a:gd name="T98" fmla="*/ 5 w 60"/>
              <a:gd name="T99" fmla="*/ 5 h 51"/>
              <a:gd name="T100" fmla="*/ 5 w 60"/>
              <a:gd name="T101" fmla="*/ 31 h 51"/>
              <a:gd name="T102" fmla="*/ 55 w 60"/>
              <a:gd name="T103" fmla="*/ 31 h 51"/>
              <a:gd name="T104" fmla="*/ 55 w 60"/>
              <a:gd name="T105" fmla="*/ 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0" h="51">
                <a:moveTo>
                  <a:pt x="3" y="0"/>
                </a:moveTo>
                <a:cubicBezTo>
                  <a:pt x="57" y="0"/>
                  <a:pt x="57" y="0"/>
                  <a:pt x="57" y="0"/>
                </a:cubicBezTo>
                <a:cubicBezTo>
                  <a:pt x="60" y="0"/>
                  <a:pt x="60" y="0"/>
                  <a:pt x="60" y="0"/>
                </a:cubicBezTo>
                <a:cubicBezTo>
                  <a:pt x="60" y="3"/>
                  <a:pt x="60" y="3"/>
                  <a:pt x="60" y="3"/>
                </a:cubicBezTo>
                <a:cubicBezTo>
                  <a:pt x="60" y="34"/>
                  <a:pt x="60" y="34"/>
                  <a:pt x="60" y="34"/>
                </a:cubicBezTo>
                <a:cubicBezTo>
                  <a:pt x="60" y="36"/>
                  <a:pt x="60" y="36"/>
                  <a:pt x="60" y="36"/>
                </a:cubicBezTo>
                <a:cubicBezTo>
                  <a:pt x="57" y="36"/>
                  <a:pt x="57" y="36"/>
                  <a:pt x="57" y="36"/>
                </a:cubicBezTo>
                <a:cubicBezTo>
                  <a:pt x="41" y="36"/>
                  <a:pt x="41" y="36"/>
                  <a:pt x="41" y="36"/>
                </a:cubicBezTo>
                <a:cubicBezTo>
                  <a:pt x="41" y="46"/>
                  <a:pt x="41" y="46"/>
                  <a:pt x="41" y="46"/>
                </a:cubicBezTo>
                <a:cubicBezTo>
                  <a:pt x="47" y="46"/>
                  <a:pt x="47" y="46"/>
                  <a:pt x="47" y="46"/>
                </a:cubicBezTo>
                <a:cubicBezTo>
                  <a:pt x="47" y="51"/>
                  <a:pt x="47" y="51"/>
                  <a:pt x="47" y="51"/>
                </a:cubicBezTo>
                <a:cubicBezTo>
                  <a:pt x="15" y="51"/>
                  <a:pt x="15" y="51"/>
                  <a:pt x="15" y="51"/>
                </a:cubicBezTo>
                <a:cubicBezTo>
                  <a:pt x="15" y="46"/>
                  <a:pt x="15" y="46"/>
                  <a:pt x="15" y="46"/>
                </a:cubicBezTo>
                <a:cubicBezTo>
                  <a:pt x="21" y="46"/>
                  <a:pt x="21" y="46"/>
                  <a:pt x="21" y="46"/>
                </a:cubicBezTo>
                <a:cubicBezTo>
                  <a:pt x="21" y="36"/>
                  <a:pt x="21" y="36"/>
                  <a:pt x="21" y="36"/>
                </a:cubicBezTo>
                <a:cubicBezTo>
                  <a:pt x="3" y="36"/>
                  <a:pt x="3" y="36"/>
                  <a:pt x="3" y="36"/>
                </a:cubicBezTo>
                <a:cubicBezTo>
                  <a:pt x="0" y="36"/>
                  <a:pt x="0" y="36"/>
                  <a:pt x="0" y="36"/>
                </a:cubicBezTo>
                <a:cubicBezTo>
                  <a:pt x="0" y="34"/>
                  <a:pt x="0" y="34"/>
                  <a:pt x="0" y="34"/>
                </a:cubicBezTo>
                <a:cubicBezTo>
                  <a:pt x="0" y="3"/>
                  <a:pt x="0" y="3"/>
                  <a:pt x="0" y="3"/>
                </a:cubicBezTo>
                <a:cubicBezTo>
                  <a:pt x="0" y="0"/>
                  <a:pt x="0" y="0"/>
                  <a:pt x="0" y="0"/>
                </a:cubicBezTo>
                <a:cubicBezTo>
                  <a:pt x="3" y="0"/>
                  <a:pt x="3" y="0"/>
                  <a:pt x="3" y="0"/>
                </a:cubicBezTo>
                <a:close/>
                <a:moveTo>
                  <a:pt x="18" y="14"/>
                </a:moveTo>
                <a:cubicBezTo>
                  <a:pt x="20" y="17"/>
                  <a:pt x="20" y="17"/>
                  <a:pt x="20" y="17"/>
                </a:cubicBezTo>
                <a:cubicBezTo>
                  <a:pt x="21" y="16"/>
                  <a:pt x="21" y="16"/>
                  <a:pt x="21" y="16"/>
                </a:cubicBezTo>
                <a:cubicBezTo>
                  <a:pt x="24" y="13"/>
                  <a:pt x="27" y="12"/>
                  <a:pt x="31" y="12"/>
                </a:cubicBezTo>
                <a:cubicBezTo>
                  <a:pt x="34" y="12"/>
                  <a:pt x="38" y="13"/>
                  <a:pt x="40" y="16"/>
                </a:cubicBezTo>
                <a:cubicBezTo>
                  <a:pt x="40" y="16"/>
                  <a:pt x="41" y="16"/>
                  <a:pt x="41" y="17"/>
                </a:cubicBezTo>
                <a:cubicBezTo>
                  <a:pt x="43" y="14"/>
                  <a:pt x="43" y="14"/>
                  <a:pt x="43" y="14"/>
                </a:cubicBezTo>
                <a:cubicBezTo>
                  <a:pt x="43" y="14"/>
                  <a:pt x="42" y="14"/>
                  <a:pt x="42" y="14"/>
                </a:cubicBezTo>
                <a:cubicBezTo>
                  <a:pt x="39" y="10"/>
                  <a:pt x="35" y="9"/>
                  <a:pt x="31" y="9"/>
                </a:cubicBezTo>
                <a:cubicBezTo>
                  <a:pt x="26" y="8"/>
                  <a:pt x="22" y="10"/>
                  <a:pt x="19" y="14"/>
                </a:cubicBezTo>
                <a:cubicBezTo>
                  <a:pt x="19" y="14"/>
                  <a:pt x="18" y="14"/>
                  <a:pt x="18" y="14"/>
                </a:cubicBezTo>
                <a:close/>
                <a:moveTo>
                  <a:pt x="22" y="19"/>
                </a:moveTo>
                <a:cubicBezTo>
                  <a:pt x="24" y="22"/>
                  <a:pt x="24" y="22"/>
                  <a:pt x="24" y="22"/>
                </a:cubicBezTo>
                <a:cubicBezTo>
                  <a:pt x="25" y="21"/>
                  <a:pt x="25" y="21"/>
                  <a:pt x="25" y="21"/>
                </a:cubicBezTo>
                <a:cubicBezTo>
                  <a:pt x="26" y="19"/>
                  <a:pt x="28" y="19"/>
                  <a:pt x="31" y="19"/>
                </a:cubicBezTo>
                <a:cubicBezTo>
                  <a:pt x="33" y="19"/>
                  <a:pt x="35" y="20"/>
                  <a:pt x="36" y="21"/>
                </a:cubicBezTo>
                <a:cubicBezTo>
                  <a:pt x="36" y="21"/>
                  <a:pt x="36" y="21"/>
                  <a:pt x="37" y="22"/>
                </a:cubicBezTo>
                <a:cubicBezTo>
                  <a:pt x="39" y="19"/>
                  <a:pt x="39" y="19"/>
                  <a:pt x="39" y="19"/>
                </a:cubicBezTo>
                <a:cubicBezTo>
                  <a:pt x="39" y="19"/>
                  <a:pt x="38" y="19"/>
                  <a:pt x="38" y="19"/>
                </a:cubicBezTo>
                <a:cubicBezTo>
                  <a:pt x="36" y="17"/>
                  <a:pt x="33" y="15"/>
                  <a:pt x="31" y="15"/>
                </a:cubicBezTo>
                <a:cubicBezTo>
                  <a:pt x="28" y="15"/>
                  <a:pt x="25" y="16"/>
                  <a:pt x="23" y="19"/>
                </a:cubicBezTo>
                <a:cubicBezTo>
                  <a:pt x="23" y="19"/>
                  <a:pt x="22" y="19"/>
                  <a:pt x="22" y="19"/>
                </a:cubicBezTo>
                <a:close/>
                <a:moveTo>
                  <a:pt x="31" y="22"/>
                </a:moveTo>
                <a:cubicBezTo>
                  <a:pt x="29" y="22"/>
                  <a:pt x="28" y="23"/>
                  <a:pt x="28" y="24"/>
                </a:cubicBezTo>
                <a:cubicBezTo>
                  <a:pt x="28" y="26"/>
                  <a:pt x="29" y="27"/>
                  <a:pt x="31" y="27"/>
                </a:cubicBezTo>
                <a:cubicBezTo>
                  <a:pt x="32" y="27"/>
                  <a:pt x="33" y="26"/>
                  <a:pt x="33" y="24"/>
                </a:cubicBezTo>
                <a:cubicBezTo>
                  <a:pt x="33" y="23"/>
                  <a:pt x="32" y="22"/>
                  <a:pt x="31" y="22"/>
                </a:cubicBezTo>
                <a:close/>
                <a:moveTo>
                  <a:pt x="55" y="5"/>
                </a:moveTo>
                <a:cubicBezTo>
                  <a:pt x="5" y="5"/>
                  <a:pt x="5" y="5"/>
                  <a:pt x="5" y="5"/>
                </a:cubicBezTo>
                <a:cubicBezTo>
                  <a:pt x="5" y="31"/>
                  <a:pt x="5" y="31"/>
                  <a:pt x="5" y="31"/>
                </a:cubicBezTo>
                <a:cubicBezTo>
                  <a:pt x="55" y="31"/>
                  <a:pt x="55" y="31"/>
                  <a:pt x="55" y="31"/>
                </a:cubicBezTo>
                <a:lnTo>
                  <a:pt x="55" y="5"/>
                </a:lnTo>
                <a:close/>
              </a:path>
            </a:pathLst>
          </a:custGeom>
          <a:solidFill>
            <a:schemeClr val="tx1"/>
          </a:solidFill>
          <a:ln>
            <a:noFill/>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474747"/>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9" name="Oval 88">
            <a:extLst>
              <a:ext uri="{FF2B5EF4-FFF2-40B4-BE49-F238E27FC236}">
                <a16:creationId xmlns:a16="http://schemas.microsoft.com/office/drawing/2014/main" id="{29B0B037-D80A-4E5F-B715-39AB643501A0}"/>
              </a:ext>
            </a:extLst>
          </p:cNvPr>
          <p:cNvSpPr/>
          <p:nvPr/>
        </p:nvSpPr>
        <p:spPr>
          <a:xfrm>
            <a:off x="588519" y="3333326"/>
            <a:ext cx="421200" cy="420781"/>
          </a:xfrm>
          <a:prstGeom prst="ellipse">
            <a:avLst/>
          </a:prstGeom>
          <a:solidFill>
            <a:schemeClr val="accent1"/>
          </a:solidFill>
          <a:ln w="6350" cap="flat" cmpd="sng" algn="ctr">
            <a:noFill/>
            <a:prstDash val="solid"/>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90" name="Freeform 225">
            <a:extLst>
              <a:ext uri="{FF2B5EF4-FFF2-40B4-BE49-F238E27FC236}">
                <a16:creationId xmlns:a16="http://schemas.microsoft.com/office/drawing/2014/main" id="{8A464CB6-C013-4A94-BC90-5A88A4A812CA}"/>
              </a:ext>
            </a:extLst>
          </p:cNvPr>
          <p:cNvSpPr>
            <a:spLocks noEditPoints="1"/>
          </p:cNvSpPr>
          <p:nvPr/>
        </p:nvSpPr>
        <p:spPr bwMode="auto">
          <a:xfrm>
            <a:off x="714718" y="3442438"/>
            <a:ext cx="154796" cy="215514"/>
          </a:xfrm>
          <a:custGeom>
            <a:avLst/>
            <a:gdLst>
              <a:gd name="T0" fmla="*/ 5 w 91"/>
              <a:gd name="T1" fmla="*/ 0 h 114"/>
              <a:gd name="T2" fmla="*/ 86 w 91"/>
              <a:gd name="T3" fmla="*/ 0 h 114"/>
              <a:gd name="T4" fmla="*/ 91 w 91"/>
              <a:gd name="T5" fmla="*/ 0 h 114"/>
              <a:gd name="T6" fmla="*/ 91 w 91"/>
              <a:gd name="T7" fmla="*/ 4 h 114"/>
              <a:gd name="T8" fmla="*/ 91 w 91"/>
              <a:gd name="T9" fmla="*/ 109 h 114"/>
              <a:gd name="T10" fmla="*/ 91 w 91"/>
              <a:gd name="T11" fmla="*/ 114 h 114"/>
              <a:gd name="T12" fmla="*/ 86 w 91"/>
              <a:gd name="T13" fmla="*/ 114 h 114"/>
              <a:gd name="T14" fmla="*/ 28 w 91"/>
              <a:gd name="T15" fmla="*/ 114 h 114"/>
              <a:gd name="T16" fmla="*/ 28 w 91"/>
              <a:gd name="T17" fmla="*/ 114 h 114"/>
              <a:gd name="T18" fmla="*/ 26 w 91"/>
              <a:gd name="T19" fmla="*/ 114 h 114"/>
              <a:gd name="T20" fmla="*/ 2 w 91"/>
              <a:gd name="T21" fmla="*/ 95 h 114"/>
              <a:gd name="T22" fmla="*/ 0 w 91"/>
              <a:gd name="T23" fmla="*/ 95 h 114"/>
              <a:gd name="T24" fmla="*/ 0 w 91"/>
              <a:gd name="T25" fmla="*/ 91 h 114"/>
              <a:gd name="T26" fmla="*/ 0 w 91"/>
              <a:gd name="T27" fmla="*/ 4 h 114"/>
              <a:gd name="T28" fmla="*/ 0 w 91"/>
              <a:gd name="T29" fmla="*/ 0 h 114"/>
              <a:gd name="T30" fmla="*/ 5 w 91"/>
              <a:gd name="T31" fmla="*/ 0 h 114"/>
              <a:gd name="T32" fmla="*/ 5 w 91"/>
              <a:gd name="T33" fmla="*/ 0 h 114"/>
              <a:gd name="T34" fmla="*/ 9 w 91"/>
              <a:gd name="T35" fmla="*/ 86 h 114"/>
              <a:gd name="T36" fmla="*/ 25 w 91"/>
              <a:gd name="T37" fmla="*/ 81 h 114"/>
              <a:gd name="T38" fmla="*/ 26 w 91"/>
              <a:gd name="T39" fmla="*/ 81 h 114"/>
              <a:gd name="T40" fmla="*/ 26 w 91"/>
              <a:gd name="T41" fmla="*/ 82 h 114"/>
              <a:gd name="T42" fmla="*/ 33 w 91"/>
              <a:gd name="T43" fmla="*/ 105 h 114"/>
              <a:gd name="T44" fmla="*/ 82 w 91"/>
              <a:gd name="T45" fmla="*/ 105 h 114"/>
              <a:gd name="T46" fmla="*/ 82 w 91"/>
              <a:gd name="T47" fmla="*/ 9 h 114"/>
              <a:gd name="T48" fmla="*/ 9 w 91"/>
              <a:gd name="T49" fmla="*/ 9 h 114"/>
              <a:gd name="T50" fmla="*/ 9 w 91"/>
              <a:gd name="T51" fmla="*/ 86 h 114"/>
              <a:gd name="T52" fmla="*/ 9 w 91"/>
              <a:gd name="T53" fmla="*/ 86 h 114"/>
              <a:gd name="T54" fmla="*/ 28 w 91"/>
              <a:gd name="T55" fmla="*/ 103 h 114"/>
              <a:gd name="T56" fmla="*/ 23 w 91"/>
              <a:gd name="T57" fmla="*/ 86 h 114"/>
              <a:gd name="T58" fmla="*/ 11 w 91"/>
              <a:gd name="T59" fmla="*/ 91 h 114"/>
              <a:gd name="T60" fmla="*/ 28 w 91"/>
              <a:gd name="T61" fmla="*/ 103 h 114"/>
              <a:gd name="T62" fmla="*/ 28 w 91"/>
              <a:gd name="T63" fmla="*/ 103 h 114"/>
              <a:gd name="T64" fmla="*/ 21 w 91"/>
              <a:gd name="T65" fmla="*/ 61 h 114"/>
              <a:gd name="T66" fmla="*/ 21 w 91"/>
              <a:gd name="T67" fmla="*/ 65 h 114"/>
              <a:gd name="T68" fmla="*/ 70 w 91"/>
              <a:gd name="T69" fmla="*/ 65 h 114"/>
              <a:gd name="T70" fmla="*/ 70 w 91"/>
              <a:gd name="T71" fmla="*/ 61 h 114"/>
              <a:gd name="T72" fmla="*/ 21 w 91"/>
              <a:gd name="T73" fmla="*/ 61 h 114"/>
              <a:gd name="T74" fmla="*/ 21 w 91"/>
              <a:gd name="T75" fmla="*/ 61 h 114"/>
              <a:gd name="T76" fmla="*/ 21 w 91"/>
              <a:gd name="T77" fmla="*/ 49 h 114"/>
              <a:gd name="T78" fmla="*/ 21 w 91"/>
              <a:gd name="T79" fmla="*/ 53 h 114"/>
              <a:gd name="T80" fmla="*/ 70 w 91"/>
              <a:gd name="T81" fmla="*/ 53 h 114"/>
              <a:gd name="T82" fmla="*/ 70 w 91"/>
              <a:gd name="T83" fmla="*/ 49 h 114"/>
              <a:gd name="T84" fmla="*/ 21 w 91"/>
              <a:gd name="T85" fmla="*/ 49 h 114"/>
              <a:gd name="T86" fmla="*/ 21 w 91"/>
              <a:gd name="T87" fmla="*/ 49 h 114"/>
              <a:gd name="T88" fmla="*/ 21 w 91"/>
              <a:gd name="T89" fmla="*/ 37 h 114"/>
              <a:gd name="T90" fmla="*/ 21 w 91"/>
              <a:gd name="T91" fmla="*/ 40 h 114"/>
              <a:gd name="T92" fmla="*/ 70 w 91"/>
              <a:gd name="T93" fmla="*/ 40 h 114"/>
              <a:gd name="T94" fmla="*/ 70 w 91"/>
              <a:gd name="T95" fmla="*/ 37 h 114"/>
              <a:gd name="T96" fmla="*/ 21 w 91"/>
              <a:gd name="T97" fmla="*/ 37 h 114"/>
              <a:gd name="T98" fmla="*/ 21 w 91"/>
              <a:gd name="T99" fmla="*/ 37 h 114"/>
              <a:gd name="T100" fmla="*/ 21 w 91"/>
              <a:gd name="T101" fmla="*/ 25 h 114"/>
              <a:gd name="T102" fmla="*/ 21 w 91"/>
              <a:gd name="T103" fmla="*/ 28 h 114"/>
              <a:gd name="T104" fmla="*/ 70 w 91"/>
              <a:gd name="T105" fmla="*/ 28 h 114"/>
              <a:gd name="T106" fmla="*/ 70 w 91"/>
              <a:gd name="T107" fmla="*/ 25 h 114"/>
              <a:gd name="T108" fmla="*/ 21 w 91"/>
              <a:gd name="T109" fmla="*/ 2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1" h="114">
                <a:moveTo>
                  <a:pt x="5" y="0"/>
                </a:moveTo>
                <a:lnTo>
                  <a:pt x="86" y="0"/>
                </a:lnTo>
                <a:lnTo>
                  <a:pt x="91" y="0"/>
                </a:lnTo>
                <a:lnTo>
                  <a:pt x="91" y="4"/>
                </a:lnTo>
                <a:lnTo>
                  <a:pt x="91" y="109"/>
                </a:lnTo>
                <a:lnTo>
                  <a:pt x="91" y="114"/>
                </a:lnTo>
                <a:lnTo>
                  <a:pt x="86" y="114"/>
                </a:lnTo>
                <a:lnTo>
                  <a:pt x="28" y="114"/>
                </a:lnTo>
                <a:lnTo>
                  <a:pt x="28" y="114"/>
                </a:lnTo>
                <a:lnTo>
                  <a:pt x="26" y="114"/>
                </a:lnTo>
                <a:lnTo>
                  <a:pt x="2" y="95"/>
                </a:lnTo>
                <a:lnTo>
                  <a:pt x="0" y="95"/>
                </a:lnTo>
                <a:lnTo>
                  <a:pt x="0" y="91"/>
                </a:lnTo>
                <a:lnTo>
                  <a:pt x="0" y="4"/>
                </a:lnTo>
                <a:lnTo>
                  <a:pt x="0" y="0"/>
                </a:lnTo>
                <a:lnTo>
                  <a:pt x="5" y="0"/>
                </a:lnTo>
                <a:lnTo>
                  <a:pt x="5" y="0"/>
                </a:lnTo>
                <a:close/>
                <a:moveTo>
                  <a:pt x="9" y="86"/>
                </a:moveTo>
                <a:lnTo>
                  <a:pt x="25" y="81"/>
                </a:lnTo>
                <a:lnTo>
                  <a:pt x="26" y="81"/>
                </a:lnTo>
                <a:lnTo>
                  <a:pt x="26" y="82"/>
                </a:lnTo>
                <a:lnTo>
                  <a:pt x="33" y="105"/>
                </a:lnTo>
                <a:lnTo>
                  <a:pt x="82" y="105"/>
                </a:lnTo>
                <a:lnTo>
                  <a:pt x="82" y="9"/>
                </a:lnTo>
                <a:lnTo>
                  <a:pt x="9" y="9"/>
                </a:lnTo>
                <a:lnTo>
                  <a:pt x="9" y="86"/>
                </a:lnTo>
                <a:lnTo>
                  <a:pt x="9" y="86"/>
                </a:lnTo>
                <a:close/>
                <a:moveTo>
                  <a:pt x="28" y="103"/>
                </a:moveTo>
                <a:lnTo>
                  <a:pt x="23" y="86"/>
                </a:lnTo>
                <a:lnTo>
                  <a:pt x="11" y="91"/>
                </a:lnTo>
                <a:lnTo>
                  <a:pt x="28" y="103"/>
                </a:lnTo>
                <a:lnTo>
                  <a:pt x="28" y="103"/>
                </a:lnTo>
                <a:close/>
                <a:moveTo>
                  <a:pt x="21" y="61"/>
                </a:moveTo>
                <a:lnTo>
                  <a:pt x="21" y="65"/>
                </a:lnTo>
                <a:lnTo>
                  <a:pt x="70" y="65"/>
                </a:lnTo>
                <a:lnTo>
                  <a:pt x="70" y="61"/>
                </a:lnTo>
                <a:lnTo>
                  <a:pt x="21" y="61"/>
                </a:lnTo>
                <a:lnTo>
                  <a:pt x="21" y="61"/>
                </a:lnTo>
                <a:close/>
                <a:moveTo>
                  <a:pt x="21" y="49"/>
                </a:moveTo>
                <a:lnTo>
                  <a:pt x="21" y="53"/>
                </a:lnTo>
                <a:lnTo>
                  <a:pt x="70" y="53"/>
                </a:lnTo>
                <a:lnTo>
                  <a:pt x="70" y="49"/>
                </a:lnTo>
                <a:lnTo>
                  <a:pt x="21" y="49"/>
                </a:lnTo>
                <a:lnTo>
                  <a:pt x="21" y="49"/>
                </a:lnTo>
                <a:close/>
                <a:moveTo>
                  <a:pt x="21" y="37"/>
                </a:moveTo>
                <a:lnTo>
                  <a:pt x="21" y="40"/>
                </a:lnTo>
                <a:lnTo>
                  <a:pt x="70" y="40"/>
                </a:lnTo>
                <a:lnTo>
                  <a:pt x="70" y="37"/>
                </a:lnTo>
                <a:lnTo>
                  <a:pt x="21" y="37"/>
                </a:lnTo>
                <a:lnTo>
                  <a:pt x="21" y="37"/>
                </a:lnTo>
                <a:close/>
                <a:moveTo>
                  <a:pt x="21" y="25"/>
                </a:moveTo>
                <a:lnTo>
                  <a:pt x="21" y="28"/>
                </a:lnTo>
                <a:lnTo>
                  <a:pt x="70" y="28"/>
                </a:lnTo>
                <a:lnTo>
                  <a:pt x="70" y="25"/>
                </a:lnTo>
                <a:lnTo>
                  <a:pt x="21" y="25"/>
                </a:lnTo>
                <a:close/>
              </a:path>
            </a:pathLst>
          </a:custGeom>
          <a:solidFill>
            <a:schemeClr val="tx1"/>
          </a:solidFill>
          <a:ln>
            <a:noFill/>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474747"/>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7" name="Oval 86">
            <a:extLst>
              <a:ext uri="{FF2B5EF4-FFF2-40B4-BE49-F238E27FC236}">
                <a16:creationId xmlns:a16="http://schemas.microsoft.com/office/drawing/2014/main" id="{0F6DA76A-FC33-405C-AC8A-7E27A636C7D9}"/>
              </a:ext>
            </a:extLst>
          </p:cNvPr>
          <p:cNvSpPr/>
          <p:nvPr/>
        </p:nvSpPr>
        <p:spPr>
          <a:xfrm>
            <a:off x="588519" y="3892133"/>
            <a:ext cx="421200" cy="420781"/>
          </a:xfrm>
          <a:prstGeom prst="ellipse">
            <a:avLst/>
          </a:prstGeom>
          <a:solidFill>
            <a:schemeClr val="accent1"/>
          </a:solidFill>
          <a:ln w="6350" cap="flat" cmpd="sng" algn="ctr">
            <a:noFill/>
            <a:prstDash val="solid"/>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8" name="Freeform 413">
            <a:extLst>
              <a:ext uri="{FF2B5EF4-FFF2-40B4-BE49-F238E27FC236}">
                <a16:creationId xmlns:a16="http://schemas.microsoft.com/office/drawing/2014/main" id="{532D8B3F-E91D-45F1-AD77-8157064CDC5A}"/>
              </a:ext>
            </a:extLst>
          </p:cNvPr>
          <p:cNvSpPr>
            <a:spLocks noEditPoints="1"/>
          </p:cNvSpPr>
          <p:nvPr/>
        </p:nvSpPr>
        <p:spPr bwMode="auto">
          <a:xfrm>
            <a:off x="700349" y="4019773"/>
            <a:ext cx="200724" cy="156394"/>
          </a:xfrm>
          <a:custGeom>
            <a:avLst/>
            <a:gdLst>
              <a:gd name="T0" fmla="*/ 22 w 67"/>
              <a:gd name="T1" fmla="*/ 52 h 52"/>
              <a:gd name="T2" fmla="*/ 30 w 67"/>
              <a:gd name="T3" fmla="*/ 52 h 52"/>
              <a:gd name="T4" fmla="*/ 32 w 67"/>
              <a:gd name="T5" fmla="*/ 51 h 52"/>
              <a:gd name="T6" fmla="*/ 32 w 67"/>
              <a:gd name="T7" fmla="*/ 34 h 52"/>
              <a:gd name="T8" fmla="*/ 27 w 67"/>
              <a:gd name="T9" fmla="*/ 31 h 52"/>
              <a:gd name="T10" fmla="*/ 20 w 67"/>
              <a:gd name="T11" fmla="*/ 35 h 52"/>
              <a:gd name="T12" fmla="*/ 20 w 67"/>
              <a:gd name="T13" fmla="*/ 51 h 52"/>
              <a:gd name="T14" fmla="*/ 22 w 67"/>
              <a:gd name="T15" fmla="*/ 52 h 52"/>
              <a:gd name="T16" fmla="*/ 0 w 67"/>
              <a:gd name="T17" fmla="*/ 34 h 52"/>
              <a:gd name="T18" fmla="*/ 25 w 67"/>
              <a:gd name="T19" fmla="*/ 19 h 52"/>
              <a:gd name="T20" fmla="*/ 27 w 67"/>
              <a:gd name="T21" fmla="*/ 18 h 52"/>
              <a:gd name="T22" fmla="*/ 28 w 67"/>
              <a:gd name="T23" fmla="*/ 19 h 52"/>
              <a:gd name="T24" fmla="*/ 36 w 67"/>
              <a:gd name="T25" fmla="*/ 23 h 52"/>
              <a:gd name="T26" fmla="*/ 56 w 67"/>
              <a:gd name="T27" fmla="*/ 6 h 52"/>
              <a:gd name="T28" fmla="*/ 53 w 67"/>
              <a:gd name="T29" fmla="*/ 3 h 52"/>
              <a:gd name="T30" fmla="*/ 60 w 67"/>
              <a:gd name="T31" fmla="*/ 1 h 52"/>
              <a:gd name="T32" fmla="*/ 67 w 67"/>
              <a:gd name="T33" fmla="*/ 0 h 52"/>
              <a:gd name="T34" fmla="*/ 65 w 67"/>
              <a:gd name="T35" fmla="*/ 7 h 52"/>
              <a:gd name="T36" fmla="*/ 63 w 67"/>
              <a:gd name="T37" fmla="*/ 14 h 52"/>
              <a:gd name="T38" fmla="*/ 60 w 67"/>
              <a:gd name="T39" fmla="*/ 10 h 52"/>
              <a:gd name="T40" fmla="*/ 38 w 67"/>
              <a:gd name="T41" fmla="*/ 29 h 52"/>
              <a:gd name="T42" fmla="*/ 36 w 67"/>
              <a:gd name="T43" fmla="*/ 31 h 52"/>
              <a:gd name="T44" fmla="*/ 35 w 67"/>
              <a:gd name="T45" fmla="*/ 30 h 52"/>
              <a:gd name="T46" fmla="*/ 27 w 67"/>
              <a:gd name="T47" fmla="*/ 25 h 52"/>
              <a:gd name="T48" fmla="*/ 3 w 67"/>
              <a:gd name="T49" fmla="*/ 39 h 52"/>
              <a:gd name="T50" fmla="*/ 0 w 67"/>
              <a:gd name="T51" fmla="*/ 34 h 52"/>
              <a:gd name="T52" fmla="*/ 6 w 67"/>
              <a:gd name="T53" fmla="*/ 52 h 52"/>
              <a:gd name="T54" fmla="*/ 14 w 67"/>
              <a:gd name="T55" fmla="*/ 52 h 52"/>
              <a:gd name="T56" fmla="*/ 16 w 67"/>
              <a:gd name="T57" fmla="*/ 51 h 52"/>
              <a:gd name="T58" fmla="*/ 16 w 67"/>
              <a:gd name="T59" fmla="*/ 38 h 52"/>
              <a:gd name="T60" fmla="*/ 4 w 67"/>
              <a:gd name="T61" fmla="*/ 44 h 52"/>
              <a:gd name="T62" fmla="*/ 4 w 67"/>
              <a:gd name="T63" fmla="*/ 51 h 52"/>
              <a:gd name="T64" fmla="*/ 6 w 67"/>
              <a:gd name="T65" fmla="*/ 52 h 52"/>
              <a:gd name="T66" fmla="*/ 38 w 67"/>
              <a:gd name="T67" fmla="*/ 52 h 52"/>
              <a:gd name="T68" fmla="*/ 46 w 67"/>
              <a:gd name="T69" fmla="*/ 52 h 52"/>
              <a:gd name="T70" fmla="*/ 48 w 67"/>
              <a:gd name="T71" fmla="*/ 51 h 52"/>
              <a:gd name="T72" fmla="*/ 48 w 67"/>
              <a:gd name="T73" fmla="*/ 27 h 52"/>
              <a:gd name="T74" fmla="*/ 48 w 67"/>
              <a:gd name="T75" fmla="*/ 27 h 52"/>
              <a:gd name="T76" fmla="*/ 37 w 67"/>
              <a:gd name="T77" fmla="*/ 37 h 52"/>
              <a:gd name="T78" fmla="*/ 37 w 67"/>
              <a:gd name="T79" fmla="*/ 36 h 52"/>
              <a:gd name="T80" fmla="*/ 37 w 67"/>
              <a:gd name="T81" fmla="*/ 51 h 52"/>
              <a:gd name="T82" fmla="*/ 38 w 67"/>
              <a:gd name="T83" fmla="*/ 52 h 52"/>
              <a:gd name="T84" fmla="*/ 55 w 67"/>
              <a:gd name="T85" fmla="*/ 52 h 52"/>
              <a:gd name="T86" fmla="*/ 62 w 67"/>
              <a:gd name="T87" fmla="*/ 52 h 52"/>
              <a:gd name="T88" fmla="*/ 64 w 67"/>
              <a:gd name="T89" fmla="*/ 51 h 52"/>
              <a:gd name="T90" fmla="*/ 64 w 67"/>
              <a:gd name="T91" fmla="*/ 22 h 52"/>
              <a:gd name="T92" fmla="*/ 60 w 67"/>
              <a:gd name="T93" fmla="*/ 17 h 52"/>
              <a:gd name="T94" fmla="*/ 53 w 67"/>
              <a:gd name="T95" fmla="*/ 23 h 52"/>
              <a:gd name="T96" fmla="*/ 53 w 67"/>
              <a:gd name="T97" fmla="*/ 51 h 52"/>
              <a:gd name="T98" fmla="*/ 55 w 67"/>
              <a:gd name="T9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7" h="52">
                <a:moveTo>
                  <a:pt x="22" y="52"/>
                </a:moveTo>
                <a:cubicBezTo>
                  <a:pt x="25" y="52"/>
                  <a:pt x="28" y="52"/>
                  <a:pt x="30" y="52"/>
                </a:cubicBezTo>
                <a:cubicBezTo>
                  <a:pt x="31" y="52"/>
                  <a:pt x="32" y="52"/>
                  <a:pt x="32" y="51"/>
                </a:cubicBezTo>
                <a:cubicBezTo>
                  <a:pt x="32" y="34"/>
                  <a:pt x="32" y="34"/>
                  <a:pt x="32" y="34"/>
                </a:cubicBezTo>
                <a:cubicBezTo>
                  <a:pt x="27" y="31"/>
                  <a:pt x="27" y="31"/>
                  <a:pt x="27" y="31"/>
                </a:cubicBezTo>
                <a:cubicBezTo>
                  <a:pt x="20" y="35"/>
                  <a:pt x="20" y="35"/>
                  <a:pt x="20" y="35"/>
                </a:cubicBezTo>
                <a:cubicBezTo>
                  <a:pt x="20" y="51"/>
                  <a:pt x="20" y="51"/>
                  <a:pt x="20" y="51"/>
                </a:cubicBezTo>
                <a:cubicBezTo>
                  <a:pt x="20" y="52"/>
                  <a:pt x="21" y="52"/>
                  <a:pt x="22" y="52"/>
                </a:cubicBezTo>
                <a:close/>
                <a:moveTo>
                  <a:pt x="0" y="34"/>
                </a:moveTo>
                <a:cubicBezTo>
                  <a:pt x="25" y="19"/>
                  <a:pt x="25" y="19"/>
                  <a:pt x="25" y="19"/>
                </a:cubicBezTo>
                <a:cubicBezTo>
                  <a:pt x="27" y="18"/>
                  <a:pt x="27" y="18"/>
                  <a:pt x="27" y="18"/>
                </a:cubicBezTo>
                <a:cubicBezTo>
                  <a:pt x="28" y="19"/>
                  <a:pt x="28" y="19"/>
                  <a:pt x="28" y="19"/>
                </a:cubicBezTo>
                <a:cubicBezTo>
                  <a:pt x="36" y="23"/>
                  <a:pt x="36" y="23"/>
                  <a:pt x="36" y="23"/>
                </a:cubicBezTo>
                <a:cubicBezTo>
                  <a:pt x="56" y="6"/>
                  <a:pt x="56" y="6"/>
                  <a:pt x="56" y="6"/>
                </a:cubicBezTo>
                <a:cubicBezTo>
                  <a:pt x="53" y="3"/>
                  <a:pt x="53" y="3"/>
                  <a:pt x="53" y="3"/>
                </a:cubicBezTo>
                <a:cubicBezTo>
                  <a:pt x="60" y="1"/>
                  <a:pt x="60" y="1"/>
                  <a:pt x="60" y="1"/>
                </a:cubicBezTo>
                <a:cubicBezTo>
                  <a:pt x="67" y="0"/>
                  <a:pt x="67" y="0"/>
                  <a:pt x="67" y="0"/>
                </a:cubicBezTo>
                <a:cubicBezTo>
                  <a:pt x="65" y="7"/>
                  <a:pt x="65" y="7"/>
                  <a:pt x="65" y="7"/>
                </a:cubicBezTo>
                <a:cubicBezTo>
                  <a:pt x="63" y="14"/>
                  <a:pt x="63" y="14"/>
                  <a:pt x="63" y="14"/>
                </a:cubicBezTo>
                <a:cubicBezTo>
                  <a:pt x="60" y="10"/>
                  <a:pt x="60" y="10"/>
                  <a:pt x="60" y="10"/>
                </a:cubicBezTo>
                <a:cubicBezTo>
                  <a:pt x="38" y="29"/>
                  <a:pt x="38" y="29"/>
                  <a:pt x="38" y="29"/>
                </a:cubicBezTo>
                <a:cubicBezTo>
                  <a:pt x="36" y="31"/>
                  <a:pt x="36" y="31"/>
                  <a:pt x="36" y="31"/>
                </a:cubicBezTo>
                <a:cubicBezTo>
                  <a:pt x="35" y="30"/>
                  <a:pt x="35" y="30"/>
                  <a:pt x="35" y="30"/>
                </a:cubicBezTo>
                <a:cubicBezTo>
                  <a:pt x="27" y="25"/>
                  <a:pt x="27" y="25"/>
                  <a:pt x="27" y="25"/>
                </a:cubicBezTo>
                <a:cubicBezTo>
                  <a:pt x="3" y="39"/>
                  <a:pt x="3" y="39"/>
                  <a:pt x="3" y="39"/>
                </a:cubicBezTo>
                <a:cubicBezTo>
                  <a:pt x="0" y="34"/>
                  <a:pt x="0" y="34"/>
                  <a:pt x="0" y="34"/>
                </a:cubicBezTo>
                <a:close/>
                <a:moveTo>
                  <a:pt x="6" y="52"/>
                </a:moveTo>
                <a:cubicBezTo>
                  <a:pt x="14" y="52"/>
                  <a:pt x="14" y="52"/>
                  <a:pt x="14" y="52"/>
                </a:cubicBezTo>
                <a:cubicBezTo>
                  <a:pt x="15" y="52"/>
                  <a:pt x="16" y="52"/>
                  <a:pt x="16" y="51"/>
                </a:cubicBezTo>
                <a:cubicBezTo>
                  <a:pt x="16" y="38"/>
                  <a:pt x="16" y="38"/>
                  <a:pt x="16" y="38"/>
                </a:cubicBezTo>
                <a:cubicBezTo>
                  <a:pt x="4" y="44"/>
                  <a:pt x="4" y="44"/>
                  <a:pt x="4" y="44"/>
                </a:cubicBezTo>
                <a:cubicBezTo>
                  <a:pt x="4" y="51"/>
                  <a:pt x="4" y="51"/>
                  <a:pt x="4" y="51"/>
                </a:cubicBezTo>
                <a:cubicBezTo>
                  <a:pt x="4" y="52"/>
                  <a:pt x="5" y="52"/>
                  <a:pt x="6" y="52"/>
                </a:cubicBezTo>
                <a:close/>
                <a:moveTo>
                  <a:pt x="38" y="52"/>
                </a:moveTo>
                <a:cubicBezTo>
                  <a:pt x="41" y="52"/>
                  <a:pt x="44" y="52"/>
                  <a:pt x="46" y="52"/>
                </a:cubicBezTo>
                <a:cubicBezTo>
                  <a:pt x="47" y="52"/>
                  <a:pt x="48" y="52"/>
                  <a:pt x="48" y="51"/>
                </a:cubicBezTo>
                <a:cubicBezTo>
                  <a:pt x="48" y="43"/>
                  <a:pt x="48" y="35"/>
                  <a:pt x="48" y="27"/>
                </a:cubicBezTo>
                <a:cubicBezTo>
                  <a:pt x="48" y="27"/>
                  <a:pt x="48" y="27"/>
                  <a:pt x="48" y="27"/>
                </a:cubicBezTo>
                <a:cubicBezTo>
                  <a:pt x="37" y="37"/>
                  <a:pt x="37" y="37"/>
                  <a:pt x="37" y="37"/>
                </a:cubicBezTo>
                <a:cubicBezTo>
                  <a:pt x="37" y="36"/>
                  <a:pt x="37" y="36"/>
                  <a:pt x="37" y="36"/>
                </a:cubicBezTo>
                <a:cubicBezTo>
                  <a:pt x="37" y="51"/>
                  <a:pt x="37" y="51"/>
                  <a:pt x="37" y="51"/>
                </a:cubicBezTo>
                <a:cubicBezTo>
                  <a:pt x="37" y="52"/>
                  <a:pt x="37" y="52"/>
                  <a:pt x="38" y="52"/>
                </a:cubicBezTo>
                <a:close/>
                <a:moveTo>
                  <a:pt x="55" y="52"/>
                </a:moveTo>
                <a:cubicBezTo>
                  <a:pt x="62" y="52"/>
                  <a:pt x="62" y="52"/>
                  <a:pt x="62" y="52"/>
                </a:cubicBezTo>
                <a:cubicBezTo>
                  <a:pt x="63" y="52"/>
                  <a:pt x="64" y="52"/>
                  <a:pt x="64" y="51"/>
                </a:cubicBezTo>
                <a:cubicBezTo>
                  <a:pt x="64" y="22"/>
                  <a:pt x="64" y="22"/>
                  <a:pt x="64" y="22"/>
                </a:cubicBezTo>
                <a:cubicBezTo>
                  <a:pt x="60" y="17"/>
                  <a:pt x="60" y="17"/>
                  <a:pt x="60" y="17"/>
                </a:cubicBezTo>
                <a:cubicBezTo>
                  <a:pt x="53" y="23"/>
                  <a:pt x="53" y="23"/>
                  <a:pt x="53" y="23"/>
                </a:cubicBezTo>
                <a:cubicBezTo>
                  <a:pt x="53" y="51"/>
                  <a:pt x="53" y="51"/>
                  <a:pt x="53" y="51"/>
                </a:cubicBezTo>
                <a:cubicBezTo>
                  <a:pt x="53" y="52"/>
                  <a:pt x="54" y="52"/>
                  <a:pt x="55" y="52"/>
                </a:cubicBezTo>
                <a:close/>
              </a:path>
            </a:pathLst>
          </a:custGeom>
          <a:solidFill>
            <a:schemeClr val="tx1"/>
          </a:solidFill>
          <a:ln>
            <a:noFill/>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474747"/>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5" name="Oval 84">
            <a:extLst>
              <a:ext uri="{FF2B5EF4-FFF2-40B4-BE49-F238E27FC236}">
                <a16:creationId xmlns:a16="http://schemas.microsoft.com/office/drawing/2014/main" id="{7CC5012D-33DF-4AF7-A67A-AF28831B2592}"/>
              </a:ext>
            </a:extLst>
          </p:cNvPr>
          <p:cNvSpPr/>
          <p:nvPr/>
        </p:nvSpPr>
        <p:spPr>
          <a:xfrm>
            <a:off x="588519" y="4450941"/>
            <a:ext cx="421200" cy="420781"/>
          </a:xfrm>
          <a:prstGeom prst="ellipse">
            <a:avLst/>
          </a:prstGeom>
          <a:solidFill>
            <a:schemeClr val="accent1"/>
          </a:solidFill>
          <a:ln w="6350" cap="flat" cmpd="sng" algn="ctr">
            <a:noFill/>
            <a:prstDash val="solid"/>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6" name="Freeform 323">
            <a:extLst>
              <a:ext uri="{FF2B5EF4-FFF2-40B4-BE49-F238E27FC236}">
                <a16:creationId xmlns:a16="http://schemas.microsoft.com/office/drawing/2014/main" id="{BB705C25-A5C9-46FB-8988-720796B1067E}"/>
              </a:ext>
            </a:extLst>
          </p:cNvPr>
          <p:cNvSpPr>
            <a:spLocks noEditPoints="1"/>
          </p:cNvSpPr>
          <p:nvPr/>
        </p:nvSpPr>
        <p:spPr bwMode="auto">
          <a:xfrm>
            <a:off x="715256" y="4561254"/>
            <a:ext cx="175656" cy="194700"/>
          </a:xfrm>
          <a:custGeom>
            <a:avLst/>
            <a:gdLst>
              <a:gd name="T0" fmla="*/ 21 w 59"/>
              <a:gd name="T1" fmla="*/ 0 h 65"/>
              <a:gd name="T2" fmla="*/ 27 w 59"/>
              <a:gd name="T3" fmla="*/ 2 h 65"/>
              <a:gd name="T4" fmla="*/ 30 w 59"/>
              <a:gd name="T5" fmla="*/ 1 h 65"/>
              <a:gd name="T6" fmla="*/ 36 w 59"/>
              <a:gd name="T7" fmla="*/ 4 h 65"/>
              <a:gd name="T8" fmla="*/ 41 w 59"/>
              <a:gd name="T9" fmla="*/ 2 h 65"/>
              <a:gd name="T10" fmla="*/ 46 w 59"/>
              <a:gd name="T11" fmla="*/ 5 h 65"/>
              <a:gd name="T12" fmla="*/ 48 w 59"/>
              <a:gd name="T13" fmla="*/ 4 h 65"/>
              <a:gd name="T14" fmla="*/ 53 w 59"/>
              <a:gd name="T15" fmla="*/ 9 h 65"/>
              <a:gd name="T16" fmla="*/ 51 w 59"/>
              <a:gd name="T17" fmla="*/ 13 h 65"/>
              <a:gd name="T18" fmla="*/ 52 w 59"/>
              <a:gd name="T19" fmla="*/ 15 h 65"/>
              <a:gd name="T20" fmla="*/ 52 w 59"/>
              <a:gd name="T21" fmla="*/ 15 h 65"/>
              <a:gd name="T22" fmla="*/ 41 w 59"/>
              <a:gd name="T23" fmla="*/ 15 h 65"/>
              <a:gd name="T24" fmla="*/ 41 w 59"/>
              <a:gd name="T25" fmla="*/ 15 h 65"/>
              <a:gd name="T26" fmla="*/ 42 w 59"/>
              <a:gd name="T27" fmla="*/ 13 h 65"/>
              <a:gd name="T28" fmla="*/ 41 w 59"/>
              <a:gd name="T29" fmla="*/ 13 h 65"/>
              <a:gd name="T30" fmla="*/ 37 w 59"/>
              <a:gd name="T31" fmla="*/ 11 h 65"/>
              <a:gd name="T32" fmla="*/ 30 w 59"/>
              <a:gd name="T33" fmla="*/ 15 h 65"/>
              <a:gd name="T34" fmla="*/ 26 w 59"/>
              <a:gd name="T35" fmla="*/ 13 h 65"/>
              <a:gd name="T36" fmla="*/ 21 w 59"/>
              <a:gd name="T37" fmla="*/ 15 h 65"/>
              <a:gd name="T38" fmla="*/ 13 w 59"/>
              <a:gd name="T39" fmla="*/ 8 h 65"/>
              <a:gd name="T40" fmla="*/ 21 w 59"/>
              <a:gd name="T41" fmla="*/ 0 h 65"/>
              <a:gd name="T42" fmla="*/ 21 w 59"/>
              <a:gd name="T43" fmla="*/ 33 h 65"/>
              <a:gd name="T44" fmla="*/ 27 w 59"/>
              <a:gd name="T45" fmla="*/ 33 h 65"/>
              <a:gd name="T46" fmla="*/ 27 w 59"/>
              <a:gd name="T47" fmla="*/ 41 h 65"/>
              <a:gd name="T48" fmla="*/ 21 w 59"/>
              <a:gd name="T49" fmla="*/ 41 h 65"/>
              <a:gd name="T50" fmla="*/ 21 w 59"/>
              <a:gd name="T51" fmla="*/ 33 h 65"/>
              <a:gd name="T52" fmla="*/ 31 w 59"/>
              <a:gd name="T53" fmla="*/ 33 h 65"/>
              <a:gd name="T54" fmla="*/ 37 w 59"/>
              <a:gd name="T55" fmla="*/ 33 h 65"/>
              <a:gd name="T56" fmla="*/ 37 w 59"/>
              <a:gd name="T57" fmla="*/ 41 h 65"/>
              <a:gd name="T58" fmla="*/ 31 w 59"/>
              <a:gd name="T59" fmla="*/ 41 h 65"/>
              <a:gd name="T60" fmla="*/ 31 w 59"/>
              <a:gd name="T61" fmla="*/ 33 h 65"/>
              <a:gd name="T62" fmla="*/ 8 w 59"/>
              <a:gd name="T63" fmla="*/ 37 h 65"/>
              <a:gd name="T64" fmla="*/ 14 w 59"/>
              <a:gd name="T65" fmla="*/ 37 h 65"/>
              <a:gd name="T66" fmla="*/ 14 w 59"/>
              <a:gd name="T67" fmla="*/ 46 h 65"/>
              <a:gd name="T68" fmla="*/ 8 w 59"/>
              <a:gd name="T69" fmla="*/ 46 h 65"/>
              <a:gd name="T70" fmla="*/ 8 w 59"/>
              <a:gd name="T71" fmla="*/ 37 h 65"/>
              <a:gd name="T72" fmla="*/ 41 w 59"/>
              <a:gd name="T73" fmla="*/ 18 h 65"/>
              <a:gd name="T74" fmla="*/ 41 w 59"/>
              <a:gd name="T75" fmla="*/ 27 h 65"/>
              <a:gd name="T76" fmla="*/ 16 w 59"/>
              <a:gd name="T77" fmla="*/ 27 h 65"/>
              <a:gd name="T78" fmla="*/ 16 w 59"/>
              <a:gd name="T79" fmla="*/ 33 h 65"/>
              <a:gd name="T80" fmla="*/ 5 w 59"/>
              <a:gd name="T81" fmla="*/ 33 h 65"/>
              <a:gd name="T82" fmla="*/ 5 w 59"/>
              <a:gd name="T83" fmla="*/ 60 h 65"/>
              <a:gd name="T84" fmla="*/ 0 w 59"/>
              <a:gd name="T85" fmla="*/ 60 h 65"/>
              <a:gd name="T86" fmla="*/ 0 w 59"/>
              <a:gd name="T87" fmla="*/ 65 h 65"/>
              <a:gd name="T88" fmla="*/ 59 w 59"/>
              <a:gd name="T89" fmla="*/ 65 h 65"/>
              <a:gd name="T90" fmla="*/ 59 w 59"/>
              <a:gd name="T91" fmla="*/ 60 h 65"/>
              <a:gd name="T92" fmla="*/ 55 w 59"/>
              <a:gd name="T93" fmla="*/ 60 h 65"/>
              <a:gd name="T94" fmla="*/ 52 w 59"/>
              <a:gd name="T95" fmla="*/ 18 h 65"/>
              <a:gd name="T96" fmla="*/ 41 w 59"/>
              <a:gd name="T97" fmla="*/ 1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9" h="65">
                <a:moveTo>
                  <a:pt x="21" y="0"/>
                </a:moveTo>
                <a:cubicBezTo>
                  <a:pt x="23" y="0"/>
                  <a:pt x="25" y="1"/>
                  <a:pt x="27" y="2"/>
                </a:cubicBezTo>
                <a:cubicBezTo>
                  <a:pt x="28" y="2"/>
                  <a:pt x="29" y="1"/>
                  <a:pt x="30" y="1"/>
                </a:cubicBezTo>
                <a:cubicBezTo>
                  <a:pt x="33" y="1"/>
                  <a:pt x="35" y="2"/>
                  <a:pt x="36" y="4"/>
                </a:cubicBezTo>
                <a:cubicBezTo>
                  <a:pt x="37" y="3"/>
                  <a:pt x="39" y="2"/>
                  <a:pt x="41" y="2"/>
                </a:cubicBezTo>
                <a:cubicBezTo>
                  <a:pt x="43" y="2"/>
                  <a:pt x="45" y="3"/>
                  <a:pt x="46" y="5"/>
                </a:cubicBezTo>
                <a:cubicBezTo>
                  <a:pt x="47" y="4"/>
                  <a:pt x="47" y="4"/>
                  <a:pt x="48" y="4"/>
                </a:cubicBezTo>
                <a:cubicBezTo>
                  <a:pt x="51" y="4"/>
                  <a:pt x="53" y="6"/>
                  <a:pt x="53" y="9"/>
                </a:cubicBezTo>
                <a:cubicBezTo>
                  <a:pt x="53" y="11"/>
                  <a:pt x="52" y="12"/>
                  <a:pt x="51" y="13"/>
                </a:cubicBezTo>
                <a:cubicBezTo>
                  <a:pt x="51" y="14"/>
                  <a:pt x="52" y="14"/>
                  <a:pt x="52" y="15"/>
                </a:cubicBezTo>
                <a:cubicBezTo>
                  <a:pt x="52" y="15"/>
                  <a:pt x="52" y="15"/>
                  <a:pt x="52" y="15"/>
                </a:cubicBezTo>
                <a:cubicBezTo>
                  <a:pt x="41" y="15"/>
                  <a:pt x="41" y="15"/>
                  <a:pt x="41" y="15"/>
                </a:cubicBezTo>
                <a:cubicBezTo>
                  <a:pt x="41" y="15"/>
                  <a:pt x="41" y="15"/>
                  <a:pt x="41" y="15"/>
                </a:cubicBezTo>
                <a:cubicBezTo>
                  <a:pt x="41" y="14"/>
                  <a:pt x="41" y="13"/>
                  <a:pt x="42" y="13"/>
                </a:cubicBezTo>
                <a:cubicBezTo>
                  <a:pt x="41" y="13"/>
                  <a:pt x="41" y="13"/>
                  <a:pt x="41" y="13"/>
                </a:cubicBezTo>
                <a:cubicBezTo>
                  <a:pt x="39" y="13"/>
                  <a:pt x="38" y="12"/>
                  <a:pt x="37" y="11"/>
                </a:cubicBezTo>
                <a:cubicBezTo>
                  <a:pt x="36" y="14"/>
                  <a:pt x="33" y="15"/>
                  <a:pt x="30" y="15"/>
                </a:cubicBezTo>
                <a:cubicBezTo>
                  <a:pt x="29" y="15"/>
                  <a:pt x="27" y="14"/>
                  <a:pt x="26" y="13"/>
                </a:cubicBezTo>
                <a:cubicBezTo>
                  <a:pt x="24" y="14"/>
                  <a:pt x="23" y="15"/>
                  <a:pt x="21" y="15"/>
                </a:cubicBezTo>
                <a:cubicBezTo>
                  <a:pt x="17" y="15"/>
                  <a:pt x="13" y="12"/>
                  <a:pt x="13" y="8"/>
                </a:cubicBezTo>
                <a:cubicBezTo>
                  <a:pt x="13" y="3"/>
                  <a:pt x="17" y="0"/>
                  <a:pt x="21" y="0"/>
                </a:cubicBezTo>
                <a:close/>
                <a:moveTo>
                  <a:pt x="21" y="33"/>
                </a:moveTo>
                <a:cubicBezTo>
                  <a:pt x="27" y="33"/>
                  <a:pt x="27" y="33"/>
                  <a:pt x="27" y="33"/>
                </a:cubicBezTo>
                <a:cubicBezTo>
                  <a:pt x="27" y="41"/>
                  <a:pt x="27" y="41"/>
                  <a:pt x="27" y="41"/>
                </a:cubicBezTo>
                <a:cubicBezTo>
                  <a:pt x="21" y="41"/>
                  <a:pt x="21" y="41"/>
                  <a:pt x="21" y="41"/>
                </a:cubicBezTo>
                <a:cubicBezTo>
                  <a:pt x="21" y="33"/>
                  <a:pt x="21" y="33"/>
                  <a:pt x="21" y="33"/>
                </a:cubicBezTo>
                <a:close/>
                <a:moveTo>
                  <a:pt x="31" y="33"/>
                </a:moveTo>
                <a:cubicBezTo>
                  <a:pt x="37" y="33"/>
                  <a:pt x="37" y="33"/>
                  <a:pt x="37" y="33"/>
                </a:cubicBezTo>
                <a:cubicBezTo>
                  <a:pt x="37" y="41"/>
                  <a:pt x="37" y="41"/>
                  <a:pt x="37" y="41"/>
                </a:cubicBezTo>
                <a:cubicBezTo>
                  <a:pt x="31" y="41"/>
                  <a:pt x="31" y="41"/>
                  <a:pt x="31" y="41"/>
                </a:cubicBezTo>
                <a:cubicBezTo>
                  <a:pt x="31" y="33"/>
                  <a:pt x="31" y="33"/>
                  <a:pt x="31" y="33"/>
                </a:cubicBezTo>
                <a:close/>
                <a:moveTo>
                  <a:pt x="8" y="37"/>
                </a:moveTo>
                <a:cubicBezTo>
                  <a:pt x="14" y="37"/>
                  <a:pt x="14" y="37"/>
                  <a:pt x="14" y="37"/>
                </a:cubicBezTo>
                <a:cubicBezTo>
                  <a:pt x="14" y="46"/>
                  <a:pt x="14" y="46"/>
                  <a:pt x="14" y="46"/>
                </a:cubicBezTo>
                <a:cubicBezTo>
                  <a:pt x="8" y="46"/>
                  <a:pt x="8" y="46"/>
                  <a:pt x="8" y="46"/>
                </a:cubicBezTo>
                <a:cubicBezTo>
                  <a:pt x="8" y="37"/>
                  <a:pt x="8" y="37"/>
                  <a:pt x="8" y="37"/>
                </a:cubicBezTo>
                <a:close/>
                <a:moveTo>
                  <a:pt x="41" y="18"/>
                </a:moveTo>
                <a:cubicBezTo>
                  <a:pt x="41" y="27"/>
                  <a:pt x="41" y="27"/>
                  <a:pt x="41" y="27"/>
                </a:cubicBezTo>
                <a:cubicBezTo>
                  <a:pt x="16" y="27"/>
                  <a:pt x="16" y="27"/>
                  <a:pt x="16" y="27"/>
                </a:cubicBezTo>
                <a:cubicBezTo>
                  <a:pt x="16" y="33"/>
                  <a:pt x="16" y="33"/>
                  <a:pt x="16" y="33"/>
                </a:cubicBezTo>
                <a:cubicBezTo>
                  <a:pt x="5" y="33"/>
                  <a:pt x="5" y="33"/>
                  <a:pt x="5" y="33"/>
                </a:cubicBezTo>
                <a:cubicBezTo>
                  <a:pt x="5" y="60"/>
                  <a:pt x="5" y="60"/>
                  <a:pt x="5" y="60"/>
                </a:cubicBezTo>
                <a:cubicBezTo>
                  <a:pt x="0" y="60"/>
                  <a:pt x="0" y="60"/>
                  <a:pt x="0" y="60"/>
                </a:cubicBezTo>
                <a:cubicBezTo>
                  <a:pt x="0" y="65"/>
                  <a:pt x="0" y="65"/>
                  <a:pt x="0" y="65"/>
                </a:cubicBezTo>
                <a:cubicBezTo>
                  <a:pt x="59" y="65"/>
                  <a:pt x="59" y="65"/>
                  <a:pt x="59" y="65"/>
                </a:cubicBezTo>
                <a:cubicBezTo>
                  <a:pt x="59" y="60"/>
                  <a:pt x="59" y="60"/>
                  <a:pt x="59" y="60"/>
                </a:cubicBezTo>
                <a:cubicBezTo>
                  <a:pt x="55" y="60"/>
                  <a:pt x="55" y="60"/>
                  <a:pt x="55" y="60"/>
                </a:cubicBezTo>
                <a:cubicBezTo>
                  <a:pt x="52" y="18"/>
                  <a:pt x="52" y="18"/>
                  <a:pt x="52" y="18"/>
                </a:cubicBezTo>
                <a:lnTo>
                  <a:pt x="41" y="18"/>
                </a:lnTo>
                <a:close/>
              </a:path>
            </a:pathLst>
          </a:custGeom>
          <a:solidFill>
            <a:schemeClr val="tx1"/>
          </a:solidFill>
          <a:ln>
            <a:noFill/>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474747"/>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63" name="Oval 62">
            <a:extLst>
              <a:ext uri="{FF2B5EF4-FFF2-40B4-BE49-F238E27FC236}">
                <a16:creationId xmlns:a16="http://schemas.microsoft.com/office/drawing/2014/main" id="{545ACB34-5654-45FD-991F-80B121757DF5}"/>
              </a:ext>
            </a:extLst>
          </p:cNvPr>
          <p:cNvSpPr/>
          <p:nvPr/>
        </p:nvSpPr>
        <p:spPr>
          <a:xfrm>
            <a:off x="588519" y="5009749"/>
            <a:ext cx="421200" cy="420781"/>
          </a:xfrm>
          <a:prstGeom prst="ellipse">
            <a:avLst/>
          </a:prstGeom>
          <a:solidFill>
            <a:schemeClr val="accent1"/>
          </a:solidFill>
          <a:ln w="6350" cap="flat" cmpd="sng" algn="ctr">
            <a:noFill/>
            <a:prstDash val="solid"/>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pic>
        <p:nvPicPr>
          <p:cNvPr id="64" name="Picture 63">
            <a:extLst>
              <a:ext uri="{FF2B5EF4-FFF2-40B4-BE49-F238E27FC236}">
                <a16:creationId xmlns:a16="http://schemas.microsoft.com/office/drawing/2014/main" id="{B55119A8-DB44-4F0D-91F0-9406E587F3B0}"/>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99050" y="5102806"/>
            <a:ext cx="232270" cy="234668"/>
          </a:xfrm>
          <a:prstGeom prst="rect">
            <a:avLst/>
          </a:prstGeom>
        </p:spPr>
      </p:pic>
      <p:sp>
        <p:nvSpPr>
          <p:cNvPr id="59" name="Rounded Rectangle 107">
            <a:extLst>
              <a:ext uri="{FF2B5EF4-FFF2-40B4-BE49-F238E27FC236}">
                <a16:creationId xmlns:a16="http://schemas.microsoft.com/office/drawing/2014/main" id="{8ED7FE78-57ED-4208-A6B8-9BB0C5D84594}"/>
              </a:ext>
            </a:extLst>
          </p:cNvPr>
          <p:cNvSpPr/>
          <p:nvPr/>
        </p:nvSpPr>
        <p:spPr>
          <a:xfrm>
            <a:off x="7599392" y="5147984"/>
            <a:ext cx="1197133" cy="233404"/>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85759"/>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lectric vehicle charging</a:t>
            </a:r>
            <a:endParaRPr kumimoji="0" lang="en-GB" sz="1200" b="0" i="0" u="none" strike="noStrike" kern="1200" cap="none" spc="0" normalizeH="0" baseline="30000" noProof="0">
              <a:ln>
                <a:noFill/>
              </a:ln>
              <a:solidFill>
                <a:srgbClr val="485759"/>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78" name="Oval 77">
            <a:extLst>
              <a:ext uri="{FF2B5EF4-FFF2-40B4-BE49-F238E27FC236}">
                <a16:creationId xmlns:a16="http://schemas.microsoft.com/office/drawing/2014/main" id="{F962B958-FCC6-4255-A3B8-A5D7BE954FC8}"/>
              </a:ext>
            </a:extLst>
          </p:cNvPr>
          <p:cNvSpPr/>
          <p:nvPr/>
        </p:nvSpPr>
        <p:spPr>
          <a:xfrm>
            <a:off x="7124773" y="2774518"/>
            <a:ext cx="421200" cy="420781"/>
          </a:xfrm>
          <a:prstGeom prst="ellipse">
            <a:avLst/>
          </a:prstGeom>
          <a:solidFill>
            <a:schemeClr val="accent1"/>
          </a:solidFill>
          <a:ln w="6350" cap="flat" cmpd="sng" algn="ctr">
            <a:noFill/>
            <a:prstDash val="solid"/>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79" name="Group 78">
            <a:extLst>
              <a:ext uri="{FF2B5EF4-FFF2-40B4-BE49-F238E27FC236}">
                <a16:creationId xmlns:a16="http://schemas.microsoft.com/office/drawing/2014/main" id="{543D56AF-11A7-4075-9258-672FA724AD22}"/>
              </a:ext>
            </a:extLst>
          </p:cNvPr>
          <p:cNvGrpSpPr/>
          <p:nvPr/>
        </p:nvGrpSpPr>
        <p:grpSpPr>
          <a:xfrm>
            <a:off x="7258821" y="2857432"/>
            <a:ext cx="153102" cy="223266"/>
            <a:chOff x="4948997" y="3275807"/>
            <a:chExt cx="278745" cy="402329"/>
          </a:xfrm>
          <a:noFill/>
        </p:grpSpPr>
        <p:sp>
          <p:nvSpPr>
            <p:cNvPr id="80" name="Freeform 104">
              <a:extLst>
                <a:ext uri="{FF2B5EF4-FFF2-40B4-BE49-F238E27FC236}">
                  <a16:creationId xmlns:a16="http://schemas.microsoft.com/office/drawing/2014/main" id="{D53E86B0-1E15-4A91-9444-235F3AA0ECD1}"/>
                </a:ext>
              </a:extLst>
            </p:cNvPr>
            <p:cNvSpPr>
              <a:spLocks/>
            </p:cNvSpPr>
            <p:nvPr/>
          </p:nvSpPr>
          <p:spPr bwMode="auto">
            <a:xfrm>
              <a:off x="4948997" y="3387153"/>
              <a:ext cx="278745" cy="290983"/>
            </a:xfrm>
            <a:custGeom>
              <a:avLst/>
              <a:gdLst>
                <a:gd name="T0" fmla="*/ 0 w 181"/>
                <a:gd name="T1" fmla="*/ 196 h 196"/>
                <a:gd name="T2" fmla="*/ 181 w 181"/>
                <a:gd name="T3" fmla="*/ 196 h 196"/>
                <a:gd name="T4" fmla="*/ 140 w 181"/>
                <a:gd name="T5" fmla="*/ 0 h 196"/>
                <a:gd name="T6" fmla="*/ 40 w 181"/>
                <a:gd name="T7" fmla="*/ 0 h 196"/>
                <a:gd name="T8" fmla="*/ 0 w 181"/>
                <a:gd name="T9" fmla="*/ 196 h 196"/>
              </a:gdLst>
              <a:ahLst/>
              <a:cxnLst>
                <a:cxn ang="0">
                  <a:pos x="T0" y="T1"/>
                </a:cxn>
                <a:cxn ang="0">
                  <a:pos x="T2" y="T3"/>
                </a:cxn>
                <a:cxn ang="0">
                  <a:pos x="T4" y="T5"/>
                </a:cxn>
                <a:cxn ang="0">
                  <a:pos x="T6" y="T7"/>
                </a:cxn>
                <a:cxn ang="0">
                  <a:pos x="T8" y="T9"/>
                </a:cxn>
              </a:cxnLst>
              <a:rect l="0" t="0" r="r" b="b"/>
              <a:pathLst>
                <a:path w="181" h="196">
                  <a:moveTo>
                    <a:pt x="0" y="196"/>
                  </a:moveTo>
                  <a:lnTo>
                    <a:pt x="181" y="196"/>
                  </a:lnTo>
                  <a:lnTo>
                    <a:pt x="140" y="0"/>
                  </a:lnTo>
                  <a:lnTo>
                    <a:pt x="40" y="0"/>
                  </a:lnTo>
                  <a:lnTo>
                    <a:pt x="0" y="196"/>
                  </a:lnTo>
                  <a:close/>
                </a:path>
              </a:pathLst>
            </a:custGeom>
            <a:grpFill/>
            <a:ln w="9525">
              <a:solidFill>
                <a:schemeClr val="tx1"/>
              </a:solidFill>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474747"/>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1" name="Freeform 105">
              <a:extLst>
                <a:ext uri="{FF2B5EF4-FFF2-40B4-BE49-F238E27FC236}">
                  <a16:creationId xmlns:a16="http://schemas.microsoft.com/office/drawing/2014/main" id="{8A1E6981-DCD9-43AA-86DA-06B17F1D6D81}"/>
                </a:ext>
              </a:extLst>
            </p:cNvPr>
            <p:cNvSpPr>
              <a:spLocks/>
            </p:cNvSpPr>
            <p:nvPr/>
          </p:nvSpPr>
          <p:spPr bwMode="auto">
            <a:xfrm>
              <a:off x="5021378" y="3278776"/>
              <a:ext cx="63141" cy="96500"/>
            </a:xfrm>
            <a:custGeom>
              <a:avLst/>
              <a:gdLst>
                <a:gd name="T0" fmla="*/ 16 w 25"/>
                <a:gd name="T1" fmla="*/ 23 h 39"/>
                <a:gd name="T2" fmla="*/ 2 w 25"/>
                <a:gd name="T3" fmla="*/ 39 h 39"/>
                <a:gd name="T4" fmla="*/ 0 w 25"/>
                <a:gd name="T5" fmla="*/ 39 h 39"/>
                <a:gd name="T6" fmla="*/ 13 w 25"/>
                <a:gd name="T7" fmla="*/ 19 h 39"/>
                <a:gd name="T8" fmla="*/ 20 w 25"/>
                <a:gd name="T9" fmla="*/ 12 h 39"/>
                <a:gd name="T10" fmla="*/ 15 w 25"/>
                <a:gd name="T11" fmla="*/ 2 h 39"/>
                <a:gd name="T12" fmla="*/ 23 w 25"/>
                <a:gd name="T13" fmla="*/ 7 h 39"/>
                <a:gd name="T14" fmla="*/ 16 w 25"/>
                <a:gd name="T15" fmla="*/ 23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39">
                  <a:moveTo>
                    <a:pt x="16" y="23"/>
                  </a:moveTo>
                  <a:cubicBezTo>
                    <a:pt x="9" y="23"/>
                    <a:pt x="2" y="39"/>
                    <a:pt x="2" y="39"/>
                  </a:cubicBezTo>
                  <a:cubicBezTo>
                    <a:pt x="0" y="39"/>
                    <a:pt x="0" y="39"/>
                    <a:pt x="0" y="39"/>
                  </a:cubicBezTo>
                  <a:cubicBezTo>
                    <a:pt x="0" y="39"/>
                    <a:pt x="3" y="20"/>
                    <a:pt x="13" y="19"/>
                  </a:cubicBezTo>
                  <a:cubicBezTo>
                    <a:pt x="15" y="18"/>
                    <a:pt x="20" y="17"/>
                    <a:pt x="20" y="12"/>
                  </a:cubicBezTo>
                  <a:cubicBezTo>
                    <a:pt x="21" y="6"/>
                    <a:pt x="17" y="2"/>
                    <a:pt x="15" y="2"/>
                  </a:cubicBezTo>
                  <a:cubicBezTo>
                    <a:pt x="18" y="1"/>
                    <a:pt x="22" y="0"/>
                    <a:pt x="23" y="7"/>
                  </a:cubicBezTo>
                  <a:cubicBezTo>
                    <a:pt x="25" y="18"/>
                    <a:pt x="20" y="23"/>
                    <a:pt x="16" y="23"/>
                  </a:cubicBezTo>
                  <a:close/>
                </a:path>
              </a:pathLst>
            </a:custGeom>
            <a:grpFill/>
            <a:ln w="9525">
              <a:solidFill>
                <a:schemeClr val="tx1"/>
              </a:solidFill>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474747"/>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2" name="Freeform 106">
              <a:extLst>
                <a:ext uri="{FF2B5EF4-FFF2-40B4-BE49-F238E27FC236}">
                  <a16:creationId xmlns:a16="http://schemas.microsoft.com/office/drawing/2014/main" id="{DEBFCE73-BDD0-496F-816B-84BF615191EB}"/>
                </a:ext>
              </a:extLst>
            </p:cNvPr>
            <p:cNvSpPr>
              <a:spLocks/>
            </p:cNvSpPr>
            <p:nvPr/>
          </p:nvSpPr>
          <p:spPr bwMode="auto">
            <a:xfrm>
              <a:off x="5059879" y="3275807"/>
              <a:ext cx="61601" cy="99469"/>
            </a:xfrm>
            <a:custGeom>
              <a:avLst/>
              <a:gdLst>
                <a:gd name="T0" fmla="*/ 16 w 24"/>
                <a:gd name="T1" fmla="*/ 23 h 40"/>
                <a:gd name="T2" fmla="*/ 1 w 24"/>
                <a:gd name="T3" fmla="*/ 40 h 40"/>
                <a:gd name="T4" fmla="*/ 0 w 24"/>
                <a:gd name="T5" fmla="*/ 40 h 40"/>
                <a:gd name="T6" fmla="*/ 12 w 24"/>
                <a:gd name="T7" fmla="*/ 19 h 40"/>
                <a:gd name="T8" fmla="*/ 20 w 24"/>
                <a:gd name="T9" fmla="*/ 12 h 40"/>
                <a:gd name="T10" fmla="*/ 14 w 24"/>
                <a:gd name="T11" fmla="*/ 2 h 40"/>
                <a:gd name="T12" fmla="*/ 22 w 24"/>
                <a:gd name="T13" fmla="*/ 7 h 40"/>
                <a:gd name="T14" fmla="*/ 16 w 24"/>
                <a:gd name="T15" fmla="*/ 23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40">
                  <a:moveTo>
                    <a:pt x="16" y="23"/>
                  </a:moveTo>
                  <a:cubicBezTo>
                    <a:pt x="8" y="23"/>
                    <a:pt x="1" y="40"/>
                    <a:pt x="1" y="40"/>
                  </a:cubicBezTo>
                  <a:cubicBezTo>
                    <a:pt x="0" y="40"/>
                    <a:pt x="0" y="40"/>
                    <a:pt x="0" y="40"/>
                  </a:cubicBezTo>
                  <a:cubicBezTo>
                    <a:pt x="0" y="40"/>
                    <a:pt x="2" y="21"/>
                    <a:pt x="12" y="19"/>
                  </a:cubicBezTo>
                  <a:cubicBezTo>
                    <a:pt x="14" y="19"/>
                    <a:pt x="19" y="18"/>
                    <a:pt x="20" y="12"/>
                  </a:cubicBezTo>
                  <a:cubicBezTo>
                    <a:pt x="20" y="6"/>
                    <a:pt x="16" y="2"/>
                    <a:pt x="14" y="2"/>
                  </a:cubicBezTo>
                  <a:cubicBezTo>
                    <a:pt x="17" y="2"/>
                    <a:pt x="21" y="0"/>
                    <a:pt x="22" y="7"/>
                  </a:cubicBezTo>
                  <a:cubicBezTo>
                    <a:pt x="24" y="18"/>
                    <a:pt x="20" y="23"/>
                    <a:pt x="16" y="23"/>
                  </a:cubicBezTo>
                  <a:close/>
                </a:path>
              </a:pathLst>
            </a:custGeom>
            <a:grpFill/>
            <a:ln w="9525">
              <a:solidFill>
                <a:schemeClr val="tx1"/>
              </a:solidFill>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474747"/>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3" name="Freeform 107">
              <a:extLst>
                <a:ext uri="{FF2B5EF4-FFF2-40B4-BE49-F238E27FC236}">
                  <a16:creationId xmlns:a16="http://schemas.microsoft.com/office/drawing/2014/main" id="{3CD1CB13-3FC6-4D66-B1EA-1998DB735F41}"/>
                </a:ext>
              </a:extLst>
            </p:cNvPr>
            <p:cNvSpPr>
              <a:spLocks/>
            </p:cNvSpPr>
            <p:nvPr/>
          </p:nvSpPr>
          <p:spPr bwMode="auto">
            <a:xfrm>
              <a:off x="5098379" y="3283231"/>
              <a:ext cx="63141" cy="96500"/>
            </a:xfrm>
            <a:custGeom>
              <a:avLst/>
              <a:gdLst>
                <a:gd name="T0" fmla="*/ 16 w 25"/>
                <a:gd name="T1" fmla="*/ 23 h 39"/>
                <a:gd name="T2" fmla="*/ 2 w 25"/>
                <a:gd name="T3" fmla="*/ 39 h 39"/>
                <a:gd name="T4" fmla="*/ 0 w 25"/>
                <a:gd name="T5" fmla="*/ 39 h 39"/>
                <a:gd name="T6" fmla="*/ 13 w 25"/>
                <a:gd name="T7" fmla="*/ 18 h 39"/>
                <a:gd name="T8" fmla="*/ 20 w 25"/>
                <a:gd name="T9" fmla="*/ 11 h 39"/>
                <a:gd name="T10" fmla="*/ 15 w 25"/>
                <a:gd name="T11" fmla="*/ 1 h 39"/>
                <a:gd name="T12" fmla="*/ 23 w 25"/>
                <a:gd name="T13" fmla="*/ 7 h 39"/>
                <a:gd name="T14" fmla="*/ 16 w 25"/>
                <a:gd name="T15" fmla="*/ 23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39">
                  <a:moveTo>
                    <a:pt x="16" y="23"/>
                  </a:moveTo>
                  <a:cubicBezTo>
                    <a:pt x="9" y="23"/>
                    <a:pt x="2" y="39"/>
                    <a:pt x="2" y="39"/>
                  </a:cubicBezTo>
                  <a:cubicBezTo>
                    <a:pt x="0" y="39"/>
                    <a:pt x="0" y="39"/>
                    <a:pt x="0" y="39"/>
                  </a:cubicBezTo>
                  <a:cubicBezTo>
                    <a:pt x="0" y="39"/>
                    <a:pt x="3" y="20"/>
                    <a:pt x="13" y="18"/>
                  </a:cubicBezTo>
                  <a:cubicBezTo>
                    <a:pt x="15" y="18"/>
                    <a:pt x="20" y="17"/>
                    <a:pt x="20" y="11"/>
                  </a:cubicBezTo>
                  <a:cubicBezTo>
                    <a:pt x="21" y="5"/>
                    <a:pt x="17" y="2"/>
                    <a:pt x="15" y="1"/>
                  </a:cubicBezTo>
                  <a:cubicBezTo>
                    <a:pt x="18" y="1"/>
                    <a:pt x="21" y="0"/>
                    <a:pt x="23" y="7"/>
                  </a:cubicBezTo>
                  <a:cubicBezTo>
                    <a:pt x="25" y="18"/>
                    <a:pt x="20" y="23"/>
                    <a:pt x="16" y="23"/>
                  </a:cubicBezTo>
                  <a:close/>
                </a:path>
              </a:pathLst>
            </a:custGeom>
            <a:grpFill/>
            <a:ln w="9525">
              <a:solidFill>
                <a:schemeClr val="tx1"/>
              </a:solidFill>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474747"/>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4" name="Freeform 108">
              <a:extLst>
                <a:ext uri="{FF2B5EF4-FFF2-40B4-BE49-F238E27FC236}">
                  <a16:creationId xmlns:a16="http://schemas.microsoft.com/office/drawing/2014/main" id="{902446EC-5C13-485A-BC99-7AC3F351C1DF}"/>
                </a:ext>
              </a:extLst>
            </p:cNvPr>
            <p:cNvSpPr>
              <a:spLocks/>
            </p:cNvSpPr>
            <p:nvPr/>
          </p:nvSpPr>
          <p:spPr bwMode="auto">
            <a:xfrm>
              <a:off x="5136880" y="3280261"/>
              <a:ext cx="60061" cy="96500"/>
            </a:xfrm>
            <a:custGeom>
              <a:avLst/>
              <a:gdLst>
                <a:gd name="T0" fmla="*/ 16 w 24"/>
                <a:gd name="T1" fmla="*/ 23 h 39"/>
                <a:gd name="T2" fmla="*/ 1 w 24"/>
                <a:gd name="T3" fmla="*/ 39 h 39"/>
                <a:gd name="T4" fmla="*/ 0 w 24"/>
                <a:gd name="T5" fmla="*/ 39 h 39"/>
                <a:gd name="T6" fmla="*/ 12 w 24"/>
                <a:gd name="T7" fmla="*/ 19 h 39"/>
                <a:gd name="T8" fmla="*/ 20 w 24"/>
                <a:gd name="T9" fmla="*/ 12 h 39"/>
                <a:gd name="T10" fmla="*/ 14 w 24"/>
                <a:gd name="T11" fmla="*/ 1 h 39"/>
                <a:gd name="T12" fmla="*/ 22 w 24"/>
                <a:gd name="T13" fmla="*/ 7 h 39"/>
                <a:gd name="T14" fmla="*/ 16 w 24"/>
                <a:gd name="T15" fmla="*/ 23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9">
                  <a:moveTo>
                    <a:pt x="16" y="23"/>
                  </a:moveTo>
                  <a:cubicBezTo>
                    <a:pt x="8" y="23"/>
                    <a:pt x="1" y="39"/>
                    <a:pt x="1" y="39"/>
                  </a:cubicBezTo>
                  <a:cubicBezTo>
                    <a:pt x="0" y="39"/>
                    <a:pt x="0" y="39"/>
                    <a:pt x="0" y="39"/>
                  </a:cubicBezTo>
                  <a:cubicBezTo>
                    <a:pt x="0" y="39"/>
                    <a:pt x="2" y="20"/>
                    <a:pt x="12" y="19"/>
                  </a:cubicBezTo>
                  <a:cubicBezTo>
                    <a:pt x="14" y="18"/>
                    <a:pt x="19" y="17"/>
                    <a:pt x="20" y="12"/>
                  </a:cubicBezTo>
                  <a:cubicBezTo>
                    <a:pt x="20" y="6"/>
                    <a:pt x="16" y="2"/>
                    <a:pt x="14" y="1"/>
                  </a:cubicBezTo>
                  <a:cubicBezTo>
                    <a:pt x="17" y="1"/>
                    <a:pt x="21" y="0"/>
                    <a:pt x="22" y="7"/>
                  </a:cubicBezTo>
                  <a:cubicBezTo>
                    <a:pt x="24" y="18"/>
                    <a:pt x="19" y="23"/>
                    <a:pt x="16" y="23"/>
                  </a:cubicBezTo>
                  <a:close/>
                </a:path>
              </a:pathLst>
            </a:custGeom>
            <a:grpFill/>
            <a:ln w="9525">
              <a:solidFill>
                <a:schemeClr val="tx1"/>
              </a:solidFill>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474747"/>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76" name="Oval 75">
            <a:extLst>
              <a:ext uri="{FF2B5EF4-FFF2-40B4-BE49-F238E27FC236}">
                <a16:creationId xmlns:a16="http://schemas.microsoft.com/office/drawing/2014/main" id="{6A12C932-EA50-42C9-B763-65E4B12CFC8D}"/>
              </a:ext>
            </a:extLst>
          </p:cNvPr>
          <p:cNvSpPr/>
          <p:nvPr/>
        </p:nvSpPr>
        <p:spPr>
          <a:xfrm>
            <a:off x="7124773" y="3679864"/>
            <a:ext cx="421200" cy="420781"/>
          </a:xfrm>
          <a:prstGeom prst="ellipse">
            <a:avLst/>
          </a:prstGeom>
          <a:solidFill>
            <a:schemeClr val="accent1"/>
          </a:solidFill>
          <a:ln w="6350" cap="flat" cmpd="sng" algn="ctr">
            <a:noFill/>
            <a:prstDash val="solid"/>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77" name="Freeform 149">
            <a:extLst>
              <a:ext uri="{FF2B5EF4-FFF2-40B4-BE49-F238E27FC236}">
                <a16:creationId xmlns:a16="http://schemas.microsoft.com/office/drawing/2014/main" id="{CB53E970-E1BE-4177-9012-02EDCBBAFD11}"/>
              </a:ext>
            </a:extLst>
          </p:cNvPr>
          <p:cNvSpPr>
            <a:spLocks noEditPoints="1"/>
          </p:cNvSpPr>
          <p:nvPr/>
        </p:nvSpPr>
        <p:spPr bwMode="auto">
          <a:xfrm>
            <a:off x="7224283" y="3801042"/>
            <a:ext cx="234028" cy="176760"/>
          </a:xfrm>
          <a:custGeom>
            <a:avLst/>
            <a:gdLst>
              <a:gd name="T0" fmla="*/ 57 w 59"/>
              <a:gd name="T1" fmla="*/ 41 h 44"/>
              <a:gd name="T2" fmla="*/ 3 w 59"/>
              <a:gd name="T3" fmla="*/ 44 h 44"/>
              <a:gd name="T4" fmla="*/ 0 w 59"/>
              <a:gd name="T5" fmla="*/ 41 h 44"/>
              <a:gd name="T6" fmla="*/ 3 w 59"/>
              <a:gd name="T7" fmla="*/ 0 h 44"/>
              <a:gd name="T8" fmla="*/ 7 w 59"/>
              <a:gd name="T9" fmla="*/ 8 h 44"/>
              <a:gd name="T10" fmla="*/ 9 w 59"/>
              <a:gd name="T11" fmla="*/ 9 h 44"/>
              <a:gd name="T12" fmla="*/ 25 w 59"/>
              <a:gd name="T13" fmla="*/ 9 h 44"/>
              <a:gd name="T14" fmla="*/ 28 w 59"/>
              <a:gd name="T15" fmla="*/ 10 h 44"/>
              <a:gd name="T16" fmla="*/ 35 w 59"/>
              <a:gd name="T17" fmla="*/ 11 h 44"/>
              <a:gd name="T18" fmla="*/ 37 w 59"/>
              <a:gd name="T19" fmla="*/ 11 h 44"/>
              <a:gd name="T20" fmla="*/ 54 w 59"/>
              <a:gd name="T21" fmla="*/ 18 h 44"/>
              <a:gd name="T22" fmla="*/ 56 w 59"/>
              <a:gd name="T23" fmla="*/ 15 h 44"/>
              <a:gd name="T24" fmla="*/ 56 w 59"/>
              <a:gd name="T25" fmla="*/ 20 h 44"/>
              <a:gd name="T26" fmla="*/ 50 w 59"/>
              <a:gd name="T27" fmla="*/ 24 h 44"/>
              <a:gd name="T28" fmla="*/ 53 w 59"/>
              <a:gd name="T29" fmla="*/ 32 h 44"/>
              <a:gd name="T30" fmla="*/ 41 w 59"/>
              <a:gd name="T31" fmla="*/ 32 h 44"/>
              <a:gd name="T32" fmla="*/ 38 w 59"/>
              <a:gd name="T33" fmla="*/ 35 h 44"/>
              <a:gd name="T34" fmla="*/ 36 w 59"/>
              <a:gd name="T35" fmla="*/ 32 h 44"/>
              <a:gd name="T36" fmla="*/ 28 w 59"/>
              <a:gd name="T37" fmla="*/ 25 h 44"/>
              <a:gd name="T38" fmla="*/ 20 w 59"/>
              <a:gd name="T39" fmla="*/ 31 h 44"/>
              <a:gd name="T40" fmla="*/ 17 w 59"/>
              <a:gd name="T41" fmla="*/ 33 h 44"/>
              <a:gd name="T42" fmla="*/ 14 w 59"/>
              <a:gd name="T43" fmla="*/ 30 h 44"/>
              <a:gd name="T44" fmla="*/ 11 w 59"/>
              <a:gd name="T45" fmla="*/ 28 h 44"/>
              <a:gd name="T46" fmla="*/ 3 w 59"/>
              <a:gd name="T47" fmla="*/ 35 h 44"/>
              <a:gd name="T48" fmla="*/ 38 w 59"/>
              <a:gd name="T49" fmla="*/ 29 h 44"/>
              <a:gd name="T50" fmla="*/ 46 w 59"/>
              <a:gd name="T51" fmla="*/ 25 h 44"/>
              <a:gd name="T52" fmla="*/ 27 w 59"/>
              <a:gd name="T53" fmla="*/ 17 h 44"/>
              <a:gd name="T54" fmla="*/ 25 w 59"/>
              <a:gd name="T55" fmla="*/ 16 h 44"/>
              <a:gd name="T56" fmla="*/ 12 w 59"/>
              <a:gd name="T57" fmla="*/ 19 h 44"/>
              <a:gd name="T58" fmla="*/ 10 w 59"/>
              <a:gd name="T59" fmla="*/ 18 h 44"/>
              <a:gd name="T60" fmla="*/ 3 w 59"/>
              <a:gd name="T61" fmla="*/ 13 h 44"/>
              <a:gd name="T62" fmla="*/ 8 w 59"/>
              <a:gd name="T63" fmla="*/ 26 h 44"/>
              <a:gd name="T64" fmla="*/ 11 w 59"/>
              <a:gd name="T65" fmla="*/ 23 h 44"/>
              <a:gd name="T66" fmla="*/ 13 w 59"/>
              <a:gd name="T67" fmla="*/ 26 h 44"/>
              <a:gd name="T68" fmla="*/ 17 w 59"/>
              <a:gd name="T69" fmla="*/ 28 h 44"/>
              <a:gd name="T70" fmla="*/ 26 w 59"/>
              <a:gd name="T71" fmla="*/ 23 h 44"/>
              <a:gd name="T72" fmla="*/ 28 w 59"/>
              <a:gd name="T73" fmla="*/ 20 h 44"/>
              <a:gd name="T74" fmla="*/ 31 w 59"/>
              <a:gd name="T75" fmla="*/ 23 h 44"/>
              <a:gd name="T76" fmla="*/ 38 w 59"/>
              <a:gd name="T77" fmla="*/ 2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9" h="44">
                <a:moveTo>
                  <a:pt x="3" y="41"/>
                </a:moveTo>
                <a:cubicBezTo>
                  <a:pt x="57" y="41"/>
                  <a:pt x="57" y="41"/>
                  <a:pt x="57" y="41"/>
                </a:cubicBezTo>
                <a:cubicBezTo>
                  <a:pt x="57" y="44"/>
                  <a:pt x="57" y="44"/>
                  <a:pt x="57" y="44"/>
                </a:cubicBezTo>
                <a:cubicBezTo>
                  <a:pt x="3" y="44"/>
                  <a:pt x="3" y="44"/>
                  <a:pt x="3" y="44"/>
                </a:cubicBezTo>
                <a:cubicBezTo>
                  <a:pt x="0" y="44"/>
                  <a:pt x="0" y="44"/>
                  <a:pt x="0" y="44"/>
                </a:cubicBezTo>
                <a:cubicBezTo>
                  <a:pt x="0" y="41"/>
                  <a:pt x="0" y="41"/>
                  <a:pt x="0" y="41"/>
                </a:cubicBezTo>
                <a:cubicBezTo>
                  <a:pt x="0" y="0"/>
                  <a:pt x="0" y="0"/>
                  <a:pt x="0" y="0"/>
                </a:cubicBezTo>
                <a:cubicBezTo>
                  <a:pt x="3" y="0"/>
                  <a:pt x="3" y="0"/>
                  <a:pt x="3" y="0"/>
                </a:cubicBezTo>
                <a:cubicBezTo>
                  <a:pt x="3" y="9"/>
                  <a:pt x="3" y="9"/>
                  <a:pt x="3" y="9"/>
                </a:cubicBezTo>
                <a:cubicBezTo>
                  <a:pt x="7" y="8"/>
                  <a:pt x="7" y="8"/>
                  <a:pt x="7" y="8"/>
                </a:cubicBezTo>
                <a:cubicBezTo>
                  <a:pt x="8" y="8"/>
                  <a:pt x="8" y="8"/>
                  <a:pt x="8" y="8"/>
                </a:cubicBezTo>
                <a:cubicBezTo>
                  <a:pt x="9" y="9"/>
                  <a:pt x="9" y="9"/>
                  <a:pt x="9" y="9"/>
                </a:cubicBezTo>
                <a:cubicBezTo>
                  <a:pt x="12" y="15"/>
                  <a:pt x="12" y="15"/>
                  <a:pt x="12" y="15"/>
                </a:cubicBezTo>
                <a:cubicBezTo>
                  <a:pt x="25" y="9"/>
                  <a:pt x="25" y="9"/>
                  <a:pt x="25" y="9"/>
                </a:cubicBezTo>
                <a:cubicBezTo>
                  <a:pt x="28" y="8"/>
                  <a:pt x="28" y="8"/>
                  <a:pt x="28" y="8"/>
                </a:cubicBezTo>
                <a:cubicBezTo>
                  <a:pt x="28" y="10"/>
                  <a:pt x="28" y="10"/>
                  <a:pt x="28" y="10"/>
                </a:cubicBezTo>
                <a:cubicBezTo>
                  <a:pt x="28" y="13"/>
                  <a:pt x="28" y="13"/>
                  <a:pt x="28" y="13"/>
                </a:cubicBezTo>
                <a:cubicBezTo>
                  <a:pt x="35" y="11"/>
                  <a:pt x="35" y="11"/>
                  <a:pt x="35" y="11"/>
                </a:cubicBezTo>
                <a:cubicBezTo>
                  <a:pt x="36" y="11"/>
                  <a:pt x="36" y="11"/>
                  <a:pt x="36" y="11"/>
                </a:cubicBezTo>
                <a:cubicBezTo>
                  <a:pt x="37" y="11"/>
                  <a:pt x="37" y="11"/>
                  <a:pt x="37" y="11"/>
                </a:cubicBezTo>
                <a:cubicBezTo>
                  <a:pt x="48" y="23"/>
                  <a:pt x="48" y="23"/>
                  <a:pt x="48" y="23"/>
                </a:cubicBezTo>
                <a:cubicBezTo>
                  <a:pt x="54" y="18"/>
                  <a:pt x="54" y="18"/>
                  <a:pt x="54" y="18"/>
                </a:cubicBezTo>
                <a:cubicBezTo>
                  <a:pt x="53" y="18"/>
                  <a:pt x="53" y="18"/>
                  <a:pt x="53" y="18"/>
                </a:cubicBezTo>
                <a:cubicBezTo>
                  <a:pt x="53" y="16"/>
                  <a:pt x="55" y="15"/>
                  <a:pt x="56" y="15"/>
                </a:cubicBezTo>
                <a:cubicBezTo>
                  <a:pt x="58" y="15"/>
                  <a:pt x="59" y="16"/>
                  <a:pt x="59" y="18"/>
                </a:cubicBezTo>
                <a:cubicBezTo>
                  <a:pt x="59" y="19"/>
                  <a:pt x="58" y="20"/>
                  <a:pt x="56" y="20"/>
                </a:cubicBezTo>
                <a:cubicBezTo>
                  <a:pt x="56" y="20"/>
                  <a:pt x="56" y="20"/>
                  <a:pt x="55" y="20"/>
                </a:cubicBezTo>
                <a:cubicBezTo>
                  <a:pt x="50" y="24"/>
                  <a:pt x="50" y="24"/>
                  <a:pt x="50" y="24"/>
                </a:cubicBezTo>
                <a:cubicBezTo>
                  <a:pt x="56" y="29"/>
                  <a:pt x="56" y="29"/>
                  <a:pt x="56" y="29"/>
                </a:cubicBezTo>
                <a:cubicBezTo>
                  <a:pt x="53" y="32"/>
                  <a:pt x="53" y="32"/>
                  <a:pt x="53" y="32"/>
                </a:cubicBezTo>
                <a:cubicBezTo>
                  <a:pt x="47" y="27"/>
                  <a:pt x="47" y="27"/>
                  <a:pt x="47" y="27"/>
                </a:cubicBezTo>
                <a:cubicBezTo>
                  <a:pt x="41" y="32"/>
                  <a:pt x="41" y="32"/>
                  <a:pt x="41" y="32"/>
                </a:cubicBezTo>
                <a:cubicBezTo>
                  <a:pt x="41" y="32"/>
                  <a:pt x="41" y="32"/>
                  <a:pt x="41" y="32"/>
                </a:cubicBezTo>
                <a:cubicBezTo>
                  <a:pt x="41" y="33"/>
                  <a:pt x="40" y="35"/>
                  <a:pt x="38" y="35"/>
                </a:cubicBezTo>
                <a:cubicBezTo>
                  <a:pt x="37" y="35"/>
                  <a:pt x="36" y="33"/>
                  <a:pt x="36" y="32"/>
                </a:cubicBezTo>
                <a:cubicBezTo>
                  <a:pt x="36" y="32"/>
                  <a:pt x="36" y="32"/>
                  <a:pt x="36" y="32"/>
                </a:cubicBezTo>
                <a:cubicBezTo>
                  <a:pt x="29" y="25"/>
                  <a:pt x="29" y="25"/>
                  <a:pt x="29" y="25"/>
                </a:cubicBezTo>
                <a:cubicBezTo>
                  <a:pt x="29" y="25"/>
                  <a:pt x="28" y="25"/>
                  <a:pt x="28" y="25"/>
                </a:cubicBezTo>
                <a:cubicBezTo>
                  <a:pt x="28" y="25"/>
                  <a:pt x="27" y="25"/>
                  <a:pt x="27" y="25"/>
                </a:cubicBezTo>
                <a:cubicBezTo>
                  <a:pt x="20" y="31"/>
                  <a:pt x="20" y="31"/>
                  <a:pt x="20" y="31"/>
                </a:cubicBezTo>
                <a:cubicBezTo>
                  <a:pt x="20" y="31"/>
                  <a:pt x="20" y="31"/>
                  <a:pt x="20" y="31"/>
                </a:cubicBezTo>
                <a:cubicBezTo>
                  <a:pt x="20" y="32"/>
                  <a:pt x="18" y="33"/>
                  <a:pt x="17" y="33"/>
                </a:cubicBezTo>
                <a:cubicBezTo>
                  <a:pt x="15" y="33"/>
                  <a:pt x="14" y="32"/>
                  <a:pt x="14" y="31"/>
                </a:cubicBezTo>
                <a:cubicBezTo>
                  <a:pt x="14" y="31"/>
                  <a:pt x="14" y="31"/>
                  <a:pt x="14" y="30"/>
                </a:cubicBezTo>
                <a:cubicBezTo>
                  <a:pt x="12" y="28"/>
                  <a:pt x="12" y="28"/>
                  <a:pt x="12" y="28"/>
                </a:cubicBezTo>
                <a:cubicBezTo>
                  <a:pt x="11" y="28"/>
                  <a:pt x="11" y="28"/>
                  <a:pt x="11" y="28"/>
                </a:cubicBezTo>
                <a:cubicBezTo>
                  <a:pt x="10" y="28"/>
                  <a:pt x="10" y="28"/>
                  <a:pt x="10" y="28"/>
                </a:cubicBezTo>
                <a:cubicBezTo>
                  <a:pt x="3" y="35"/>
                  <a:pt x="3" y="35"/>
                  <a:pt x="3" y="35"/>
                </a:cubicBezTo>
                <a:cubicBezTo>
                  <a:pt x="3" y="41"/>
                  <a:pt x="3" y="41"/>
                  <a:pt x="3" y="41"/>
                </a:cubicBezTo>
                <a:close/>
                <a:moveTo>
                  <a:pt x="38" y="29"/>
                </a:moveTo>
                <a:cubicBezTo>
                  <a:pt x="39" y="29"/>
                  <a:pt x="39" y="29"/>
                  <a:pt x="39" y="30"/>
                </a:cubicBezTo>
                <a:cubicBezTo>
                  <a:pt x="46" y="25"/>
                  <a:pt x="46" y="25"/>
                  <a:pt x="46" y="25"/>
                </a:cubicBezTo>
                <a:cubicBezTo>
                  <a:pt x="35" y="15"/>
                  <a:pt x="35" y="15"/>
                  <a:pt x="35" y="15"/>
                </a:cubicBezTo>
                <a:cubicBezTo>
                  <a:pt x="27" y="17"/>
                  <a:pt x="27" y="17"/>
                  <a:pt x="27" y="17"/>
                </a:cubicBezTo>
                <a:cubicBezTo>
                  <a:pt x="25" y="18"/>
                  <a:pt x="25" y="18"/>
                  <a:pt x="25" y="18"/>
                </a:cubicBezTo>
                <a:cubicBezTo>
                  <a:pt x="25" y="16"/>
                  <a:pt x="25" y="16"/>
                  <a:pt x="25" y="16"/>
                </a:cubicBezTo>
                <a:cubicBezTo>
                  <a:pt x="24" y="13"/>
                  <a:pt x="24" y="13"/>
                  <a:pt x="24" y="13"/>
                </a:cubicBezTo>
                <a:cubicBezTo>
                  <a:pt x="12" y="19"/>
                  <a:pt x="12" y="19"/>
                  <a:pt x="12" y="19"/>
                </a:cubicBezTo>
                <a:cubicBezTo>
                  <a:pt x="11" y="20"/>
                  <a:pt x="11" y="20"/>
                  <a:pt x="11" y="20"/>
                </a:cubicBezTo>
                <a:cubicBezTo>
                  <a:pt x="10" y="18"/>
                  <a:pt x="10" y="18"/>
                  <a:pt x="10" y="18"/>
                </a:cubicBezTo>
                <a:cubicBezTo>
                  <a:pt x="6" y="12"/>
                  <a:pt x="6" y="12"/>
                  <a:pt x="6" y="12"/>
                </a:cubicBezTo>
                <a:cubicBezTo>
                  <a:pt x="3" y="13"/>
                  <a:pt x="3" y="13"/>
                  <a:pt x="3" y="13"/>
                </a:cubicBezTo>
                <a:cubicBezTo>
                  <a:pt x="3" y="32"/>
                  <a:pt x="3" y="32"/>
                  <a:pt x="3" y="32"/>
                </a:cubicBezTo>
                <a:cubicBezTo>
                  <a:pt x="8" y="26"/>
                  <a:pt x="8" y="26"/>
                  <a:pt x="8" y="26"/>
                </a:cubicBezTo>
                <a:cubicBezTo>
                  <a:pt x="8" y="26"/>
                  <a:pt x="8" y="25"/>
                  <a:pt x="8" y="25"/>
                </a:cubicBezTo>
                <a:cubicBezTo>
                  <a:pt x="8" y="24"/>
                  <a:pt x="9" y="23"/>
                  <a:pt x="11" y="23"/>
                </a:cubicBezTo>
                <a:cubicBezTo>
                  <a:pt x="12" y="23"/>
                  <a:pt x="13" y="24"/>
                  <a:pt x="13" y="25"/>
                </a:cubicBezTo>
                <a:cubicBezTo>
                  <a:pt x="13" y="25"/>
                  <a:pt x="13" y="26"/>
                  <a:pt x="13" y="26"/>
                </a:cubicBezTo>
                <a:cubicBezTo>
                  <a:pt x="16" y="28"/>
                  <a:pt x="16" y="28"/>
                  <a:pt x="16" y="28"/>
                </a:cubicBezTo>
                <a:cubicBezTo>
                  <a:pt x="16" y="28"/>
                  <a:pt x="17" y="28"/>
                  <a:pt x="17" y="28"/>
                </a:cubicBezTo>
                <a:cubicBezTo>
                  <a:pt x="17" y="28"/>
                  <a:pt x="18" y="28"/>
                  <a:pt x="18" y="29"/>
                </a:cubicBezTo>
                <a:cubicBezTo>
                  <a:pt x="26" y="23"/>
                  <a:pt x="26" y="23"/>
                  <a:pt x="26" y="23"/>
                </a:cubicBezTo>
                <a:cubicBezTo>
                  <a:pt x="26" y="23"/>
                  <a:pt x="26" y="23"/>
                  <a:pt x="26" y="23"/>
                </a:cubicBezTo>
                <a:cubicBezTo>
                  <a:pt x="26" y="21"/>
                  <a:pt x="27" y="20"/>
                  <a:pt x="28" y="20"/>
                </a:cubicBezTo>
                <a:cubicBezTo>
                  <a:pt x="30" y="20"/>
                  <a:pt x="31" y="21"/>
                  <a:pt x="31" y="23"/>
                </a:cubicBezTo>
                <a:cubicBezTo>
                  <a:pt x="31" y="23"/>
                  <a:pt x="31" y="23"/>
                  <a:pt x="31" y="23"/>
                </a:cubicBezTo>
                <a:cubicBezTo>
                  <a:pt x="37" y="30"/>
                  <a:pt x="37" y="30"/>
                  <a:pt x="37" y="30"/>
                </a:cubicBezTo>
                <a:cubicBezTo>
                  <a:pt x="37" y="29"/>
                  <a:pt x="38" y="29"/>
                  <a:pt x="38" y="29"/>
                </a:cubicBezTo>
                <a:close/>
              </a:path>
            </a:pathLst>
          </a:custGeom>
          <a:solidFill>
            <a:schemeClr val="tx1"/>
          </a:solidFill>
          <a:ln>
            <a:noFill/>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474747"/>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74" name="Oval 73">
            <a:extLst>
              <a:ext uri="{FF2B5EF4-FFF2-40B4-BE49-F238E27FC236}">
                <a16:creationId xmlns:a16="http://schemas.microsoft.com/office/drawing/2014/main" id="{831B5434-47C1-4BAE-9DC2-6BAB4BA6AE87}"/>
              </a:ext>
            </a:extLst>
          </p:cNvPr>
          <p:cNvSpPr/>
          <p:nvPr/>
        </p:nvSpPr>
        <p:spPr>
          <a:xfrm>
            <a:off x="7124773" y="4132538"/>
            <a:ext cx="421200" cy="420781"/>
          </a:xfrm>
          <a:prstGeom prst="ellipse">
            <a:avLst/>
          </a:prstGeom>
          <a:solidFill>
            <a:schemeClr val="accent1"/>
          </a:solidFill>
          <a:ln w="6350" cap="flat" cmpd="sng" algn="ctr">
            <a:noFill/>
            <a:prstDash val="solid"/>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75" name="Freeform 147">
            <a:extLst>
              <a:ext uri="{FF2B5EF4-FFF2-40B4-BE49-F238E27FC236}">
                <a16:creationId xmlns:a16="http://schemas.microsoft.com/office/drawing/2014/main" id="{B684030B-0862-4DEA-90A7-1A129D5E95E4}"/>
              </a:ext>
            </a:extLst>
          </p:cNvPr>
          <p:cNvSpPr>
            <a:spLocks/>
          </p:cNvSpPr>
          <p:nvPr/>
        </p:nvSpPr>
        <p:spPr bwMode="auto">
          <a:xfrm>
            <a:off x="7234322" y="4261853"/>
            <a:ext cx="227214" cy="181352"/>
          </a:xfrm>
          <a:custGeom>
            <a:avLst/>
            <a:gdLst>
              <a:gd name="T0" fmla="*/ 6 w 100"/>
              <a:gd name="T1" fmla="*/ 74 h 79"/>
              <a:gd name="T2" fmla="*/ 100 w 100"/>
              <a:gd name="T3" fmla="*/ 74 h 79"/>
              <a:gd name="T4" fmla="*/ 100 w 100"/>
              <a:gd name="T5" fmla="*/ 79 h 79"/>
              <a:gd name="T6" fmla="*/ 6 w 100"/>
              <a:gd name="T7" fmla="*/ 79 h 79"/>
              <a:gd name="T8" fmla="*/ 0 w 100"/>
              <a:gd name="T9" fmla="*/ 79 h 79"/>
              <a:gd name="T10" fmla="*/ 0 w 100"/>
              <a:gd name="T11" fmla="*/ 74 h 79"/>
              <a:gd name="T12" fmla="*/ 0 w 100"/>
              <a:gd name="T13" fmla="*/ 0 h 79"/>
              <a:gd name="T14" fmla="*/ 6 w 100"/>
              <a:gd name="T15" fmla="*/ 0 h 79"/>
              <a:gd name="T16" fmla="*/ 6 w 100"/>
              <a:gd name="T17" fmla="*/ 42 h 79"/>
              <a:gd name="T18" fmla="*/ 16 w 100"/>
              <a:gd name="T19" fmla="*/ 35 h 79"/>
              <a:gd name="T20" fmla="*/ 20 w 100"/>
              <a:gd name="T21" fmla="*/ 32 h 79"/>
              <a:gd name="T22" fmla="*/ 23 w 100"/>
              <a:gd name="T23" fmla="*/ 37 h 79"/>
              <a:gd name="T24" fmla="*/ 25 w 100"/>
              <a:gd name="T25" fmla="*/ 41 h 79"/>
              <a:gd name="T26" fmla="*/ 28 w 100"/>
              <a:gd name="T27" fmla="*/ 37 h 79"/>
              <a:gd name="T28" fmla="*/ 34 w 100"/>
              <a:gd name="T29" fmla="*/ 34 h 79"/>
              <a:gd name="T30" fmla="*/ 37 w 100"/>
              <a:gd name="T31" fmla="*/ 39 h 79"/>
              <a:gd name="T32" fmla="*/ 39 w 100"/>
              <a:gd name="T33" fmla="*/ 42 h 79"/>
              <a:gd name="T34" fmla="*/ 48 w 100"/>
              <a:gd name="T35" fmla="*/ 37 h 79"/>
              <a:gd name="T36" fmla="*/ 51 w 100"/>
              <a:gd name="T37" fmla="*/ 35 h 79"/>
              <a:gd name="T38" fmla="*/ 53 w 100"/>
              <a:gd name="T39" fmla="*/ 37 h 79"/>
              <a:gd name="T40" fmla="*/ 62 w 100"/>
              <a:gd name="T41" fmla="*/ 25 h 79"/>
              <a:gd name="T42" fmla="*/ 65 w 100"/>
              <a:gd name="T43" fmla="*/ 20 h 79"/>
              <a:gd name="T44" fmla="*/ 69 w 100"/>
              <a:gd name="T45" fmla="*/ 23 h 79"/>
              <a:gd name="T46" fmla="*/ 70 w 100"/>
              <a:gd name="T47" fmla="*/ 25 h 79"/>
              <a:gd name="T48" fmla="*/ 76 w 100"/>
              <a:gd name="T49" fmla="*/ 18 h 79"/>
              <a:gd name="T50" fmla="*/ 70 w 100"/>
              <a:gd name="T51" fmla="*/ 13 h 79"/>
              <a:gd name="T52" fmla="*/ 83 w 100"/>
              <a:gd name="T53" fmla="*/ 7 h 79"/>
              <a:gd name="T54" fmla="*/ 95 w 100"/>
              <a:gd name="T55" fmla="*/ 2 h 79"/>
              <a:gd name="T56" fmla="*/ 93 w 100"/>
              <a:gd name="T57" fmla="*/ 16 h 79"/>
              <a:gd name="T58" fmla="*/ 91 w 100"/>
              <a:gd name="T59" fmla="*/ 30 h 79"/>
              <a:gd name="T60" fmla="*/ 84 w 100"/>
              <a:gd name="T61" fmla="*/ 25 h 79"/>
              <a:gd name="T62" fmla="*/ 77 w 100"/>
              <a:gd name="T63" fmla="*/ 35 h 79"/>
              <a:gd name="T64" fmla="*/ 74 w 100"/>
              <a:gd name="T65" fmla="*/ 41 h 79"/>
              <a:gd name="T66" fmla="*/ 69 w 100"/>
              <a:gd name="T67" fmla="*/ 37 h 79"/>
              <a:gd name="T68" fmla="*/ 67 w 100"/>
              <a:gd name="T69" fmla="*/ 35 h 79"/>
              <a:gd name="T70" fmla="*/ 58 w 100"/>
              <a:gd name="T71" fmla="*/ 48 h 79"/>
              <a:gd name="T72" fmla="*/ 56 w 100"/>
              <a:gd name="T73" fmla="*/ 53 h 79"/>
              <a:gd name="T74" fmla="*/ 51 w 100"/>
              <a:gd name="T75" fmla="*/ 49 h 79"/>
              <a:gd name="T76" fmla="*/ 49 w 100"/>
              <a:gd name="T77" fmla="*/ 49 h 79"/>
              <a:gd name="T78" fmla="*/ 39 w 100"/>
              <a:gd name="T79" fmla="*/ 55 h 79"/>
              <a:gd name="T80" fmla="*/ 34 w 100"/>
              <a:gd name="T81" fmla="*/ 56 h 79"/>
              <a:gd name="T82" fmla="*/ 32 w 100"/>
              <a:gd name="T83" fmla="*/ 53 h 79"/>
              <a:gd name="T84" fmla="*/ 30 w 100"/>
              <a:gd name="T85" fmla="*/ 49 h 79"/>
              <a:gd name="T86" fmla="*/ 28 w 100"/>
              <a:gd name="T87" fmla="*/ 53 h 79"/>
              <a:gd name="T88" fmla="*/ 23 w 100"/>
              <a:gd name="T89" fmla="*/ 56 h 79"/>
              <a:gd name="T90" fmla="*/ 20 w 100"/>
              <a:gd name="T91" fmla="*/ 51 h 79"/>
              <a:gd name="T92" fmla="*/ 18 w 100"/>
              <a:gd name="T93" fmla="*/ 48 h 79"/>
              <a:gd name="T94" fmla="*/ 6 w 100"/>
              <a:gd name="T95" fmla="*/ 56 h 79"/>
              <a:gd name="T96" fmla="*/ 6 w 100"/>
              <a:gd name="T97" fmla="*/ 7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0" h="79">
                <a:moveTo>
                  <a:pt x="6" y="74"/>
                </a:moveTo>
                <a:lnTo>
                  <a:pt x="100" y="74"/>
                </a:lnTo>
                <a:lnTo>
                  <a:pt x="100" y="79"/>
                </a:lnTo>
                <a:lnTo>
                  <a:pt x="6" y="79"/>
                </a:lnTo>
                <a:lnTo>
                  <a:pt x="0" y="79"/>
                </a:lnTo>
                <a:lnTo>
                  <a:pt x="0" y="74"/>
                </a:lnTo>
                <a:lnTo>
                  <a:pt x="0" y="0"/>
                </a:lnTo>
                <a:lnTo>
                  <a:pt x="6" y="0"/>
                </a:lnTo>
                <a:lnTo>
                  <a:pt x="6" y="42"/>
                </a:lnTo>
                <a:lnTo>
                  <a:pt x="16" y="35"/>
                </a:lnTo>
                <a:lnTo>
                  <a:pt x="20" y="32"/>
                </a:lnTo>
                <a:lnTo>
                  <a:pt x="23" y="37"/>
                </a:lnTo>
                <a:lnTo>
                  <a:pt x="25" y="41"/>
                </a:lnTo>
                <a:lnTo>
                  <a:pt x="28" y="37"/>
                </a:lnTo>
                <a:lnTo>
                  <a:pt x="34" y="34"/>
                </a:lnTo>
                <a:lnTo>
                  <a:pt x="37" y="39"/>
                </a:lnTo>
                <a:lnTo>
                  <a:pt x="39" y="42"/>
                </a:lnTo>
                <a:lnTo>
                  <a:pt x="48" y="37"/>
                </a:lnTo>
                <a:lnTo>
                  <a:pt x="51" y="35"/>
                </a:lnTo>
                <a:lnTo>
                  <a:pt x="53" y="37"/>
                </a:lnTo>
                <a:lnTo>
                  <a:pt x="62" y="25"/>
                </a:lnTo>
                <a:lnTo>
                  <a:pt x="65" y="20"/>
                </a:lnTo>
                <a:lnTo>
                  <a:pt x="69" y="23"/>
                </a:lnTo>
                <a:lnTo>
                  <a:pt x="70" y="25"/>
                </a:lnTo>
                <a:lnTo>
                  <a:pt x="76" y="18"/>
                </a:lnTo>
                <a:lnTo>
                  <a:pt x="70" y="13"/>
                </a:lnTo>
                <a:lnTo>
                  <a:pt x="83" y="7"/>
                </a:lnTo>
                <a:lnTo>
                  <a:pt x="95" y="2"/>
                </a:lnTo>
                <a:lnTo>
                  <a:pt x="93" y="16"/>
                </a:lnTo>
                <a:lnTo>
                  <a:pt x="91" y="30"/>
                </a:lnTo>
                <a:lnTo>
                  <a:pt x="84" y="25"/>
                </a:lnTo>
                <a:lnTo>
                  <a:pt x="77" y="35"/>
                </a:lnTo>
                <a:lnTo>
                  <a:pt x="74" y="41"/>
                </a:lnTo>
                <a:lnTo>
                  <a:pt x="69" y="37"/>
                </a:lnTo>
                <a:lnTo>
                  <a:pt x="67" y="35"/>
                </a:lnTo>
                <a:lnTo>
                  <a:pt x="58" y="48"/>
                </a:lnTo>
                <a:lnTo>
                  <a:pt x="56" y="53"/>
                </a:lnTo>
                <a:lnTo>
                  <a:pt x="51" y="49"/>
                </a:lnTo>
                <a:lnTo>
                  <a:pt x="49" y="49"/>
                </a:lnTo>
                <a:lnTo>
                  <a:pt x="39" y="55"/>
                </a:lnTo>
                <a:lnTo>
                  <a:pt x="34" y="56"/>
                </a:lnTo>
                <a:lnTo>
                  <a:pt x="32" y="53"/>
                </a:lnTo>
                <a:lnTo>
                  <a:pt x="30" y="49"/>
                </a:lnTo>
                <a:lnTo>
                  <a:pt x="28" y="53"/>
                </a:lnTo>
                <a:lnTo>
                  <a:pt x="23" y="56"/>
                </a:lnTo>
                <a:lnTo>
                  <a:pt x="20" y="51"/>
                </a:lnTo>
                <a:lnTo>
                  <a:pt x="18" y="48"/>
                </a:lnTo>
                <a:lnTo>
                  <a:pt x="6" y="56"/>
                </a:lnTo>
                <a:lnTo>
                  <a:pt x="6" y="74"/>
                </a:lnTo>
                <a:close/>
              </a:path>
            </a:pathLst>
          </a:custGeom>
          <a:solidFill>
            <a:schemeClr val="tx1"/>
          </a:solidFill>
          <a:ln>
            <a:noFill/>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474747"/>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71" name="Oval 70">
            <a:extLst>
              <a:ext uri="{FF2B5EF4-FFF2-40B4-BE49-F238E27FC236}">
                <a16:creationId xmlns:a16="http://schemas.microsoft.com/office/drawing/2014/main" id="{F1BB8F3C-CEF2-4FD4-8BE5-760E2A8D07CA}"/>
              </a:ext>
            </a:extLst>
          </p:cNvPr>
          <p:cNvSpPr/>
          <p:nvPr/>
        </p:nvSpPr>
        <p:spPr>
          <a:xfrm>
            <a:off x="7124773" y="4585211"/>
            <a:ext cx="421200" cy="420781"/>
          </a:xfrm>
          <a:prstGeom prst="ellipse">
            <a:avLst/>
          </a:prstGeom>
          <a:solidFill>
            <a:schemeClr val="accent1"/>
          </a:solidFill>
          <a:ln w="6350" cap="flat" cmpd="sng" algn="ctr">
            <a:noFill/>
            <a:prstDash val="solid"/>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72" name="Freeform 113">
            <a:extLst>
              <a:ext uri="{FF2B5EF4-FFF2-40B4-BE49-F238E27FC236}">
                <a16:creationId xmlns:a16="http://schemas.microsoft.com/office/drawing/2014/main" id="{012C9AE4-DA97-4864-A4B5-19216ADD3BCD}"/>
              </a:ext>
            </a:extLst>
          </p:cNvPr>
          <p:cNvSpPr>
            <a:spLocks noEditPoints="1"/>
          </p:cNvSpPr>
          <p:nvPr/>
        </p:nvSpPr>
        <p:spPr bwMode="auto">
          <a:xfrm>
            <a:off x="7274664" y="4854450"/>
            <a:ext cx="134614" cy="88350"/>
          </a:xfrm>
          <a:custGeom>
            <a:avLst/>
            <a:gdLst>
              <a:gd name="T0" fmla="*/ 72 w 73"/>
              <a:gd name="T1" fmla="*/ 32 h 43"/>
              <a:gd name="T2" fmla="*/ 57 w 73"/>
              <a:gd name="T3" fmla="*/ 27 h 43"/>
              <a:gd name="T4" fmla="*/ 59 w 73"/>
              <a:gd name="T5" fmla="*/ 29 h 43"/>
              <a:gd name="T6" fmla="*/ 63 w 73"/>
              <a:gd name="T7" fmla="*/ 26 h 43"/>
              <a:gd name="T8" fmla="*/ 63 w 73"/>
              <a:gd name="T9" fmla="*/ 21 h 43"/>
              <a:gd name="T10" fmla="*/ 59 w 73"/>
              <a:gd name="T11" fmla="*/ 18 h 43"/>
              <a:gd name="T12" fmla="*/ 60 w 73"/>
              <a:gd name="T13" fmla="*/ 17 h 43"/>
              <a:gd name="T14" fmla="*/ 63 w 73"/>
              <a:gd name="T15" fmla="*/ 19 h 43"/>
              <a:gd name="T16" fmla="*/ 61 w 73"/>
              <a:gd name="T17" fmla="*/ 15 h 43"/>
              <a:gd name="T18" fmla="*/ 59 w 73"/>
              <a:gd name="T19" fmla="*/ 15 h 43"/>
              <a:gd name="T20" fmla="*/ 56 w 73"/>
              <a:gd name="T21" fmla="*/ 20 h 43"/>
              <a:gd name="T22" fmla="*/ 60 w 73"/>
              <a:gd name="T23" fmla="*/ 23 h 43"/>
              <a:gd name="T24" fmla="*/ 60 w 73"/>
              <a:gd name="T25" fmla="*/ 26 h 43"/>
              <a:gd name="T26" fmla="*/ 59 w 73"/>
              <a:gd name="T27" fmla="*/ 23 h 43"/>
              <a:gd name="T28" fmla="*/ 55 w 73"/>
              <a:gd name="T29" fmla="*/ 10 h 43"/>
              <a:gd name="T30" fmla="*/ 53 w 73"/>
              <a:gd name="T31" fmla="*/ 2 h 43"/>
              <a:gd name="T32" fmla="*/ 59 w 73"/>
              <a:gd name="T33" fmla="*/ 0 h 43"/>
              <a:gd name="T34" fmla="*/ 63 w 73"/>
              <a:gd name="T35" fmla="*/ 0 h 43"/>
              <a:gd name="T36" fmla="*/ 64 w 73"/>
              <a:gd name="T37" fmla="*/ 7 h 43"/>
              <a:gd name="T38" fmla="*/ 23 w 73"/>
              <a:gd name="T39" fmla="*/ 14 h 43"/>
              <a:gd name="T40" fmla="*/ 1 w 73"/>
              <a:gd name="T41" fmla="*/ 32 h 43"/>
              <a:gd name="T42" fmla="*/ 9 w 73"/>
              <a:gd name="T43" fmla="*/ 7 h 43"/>
              <a:gd name="T44" fmla="*/ 10 w 73"/>
              <a:gd name="T45" fmla="*/ 1 h 43"/>
              <a:gd name="T46" fmla="*/ 15 w 73"/>
              <a:gd name="T47" fmla="*/ 1 h 43"/>
              <a:gd name="T48" fmla="*/ 20 w 73"/>
              <a:gd name="T49" fmla="*/ 2 h 43"/>
              <a:gd name="T50" fmla="*/ 17 w 73"/>
              <a:gd name="T51" fmla="*/ 9 h 43"/>
              <a:gd name="T52" fmla="*/ 16 w 73"/>
              <a:gd name="T53" fmla="*/ 16 h 43"/>
              <a:gd name="T54" fmla="*/ 13 w 73"/>
              <a:gd name="T55" fmla="*/ 14 h 43"/>
              <a:gd name="T56" fmla="*/ 10 w 73"/>
              <a:gd name="T57" fmla="*/ 18 h 43"/>
              <a:gd name="T58" fmla="*/ 13 w 73"/>
              <a:gd name="T59" fmla="*/ 22 h 43"/>
              <a:gd name="T60" fmla="*/ 14 w 73"/>
              <a:gd name="T61" fmla="*/ 26 h 43"/>
              <a:gd name="T62" fmla="*/ 13 w 73"/>
              <a:gd name="T63" fmla="*/ 24 h 43"/>
              <a:gd name="T64" fmla="*/ 10 w 73"/>
              <a:gd name="T65" fmla="*/ 24 h 43"/>
              <a:gd name="T66" fmla="*/ 13 w 73"/>
              <a:gd name="T67" fmla="*/ 29 h 43"/>
              <a:gd name="T68" fmla="*/ 16 w 73"/>
              <a:gd name="T69" fmla="*/ 26 h 43"/>
              <a:gd name="T70" fmla="*/ 16 w 73"/>
              <a:gd name="T71" fmla="*/ 21 h 43"/>
              <a:gd name="T72" fmla="*/ 13 w 73"/>
              <a:gd name="T73" fmla="*/ 18 h 43"/>
              <a:gd name="T74" fmla="*/ 14 w 73"/>
              <a:gd name="T75" fmla="*/ 17 h 43"/>
              <a:gd name="T76" fmla="*/ 17 w 73"/>
              <a:gd name="T77" fmla="*/ 19 h 43"/>
              <a:gd name="T78" fmla="*/ 42 w 73"/>
              <a:gd name="T79" fmla="*/ 9 h 43"/>
              <a:gd name="T80" fmla="*/ 39 w 73"/>
              <a:gd name="T81" fmla="*/ 3 h 43"/>
              <a:gd name="T82" fmla="*/ 34 w 73"/>
              <a:gd name="T83" fmla="*/ 3 h 43"/>
              <a:gd name="T84" fmla="*/ 32 w 73"/>
              <a:gd name="T85" fmla="*/ 9 h 43"/>
              <a:gd name="T86" fmla="*/ 20 w 73"/>
              <a:gd name="T87" fmla="*/ 32 h 43"/>
              <a:gd name="T88" fmla="*/ 54 w 73"/>
              <a:gd name="T89" fmla="*/ 32 h 43"/>
              <a:gd name="T90" fmla="*/ 38 w 73"/>
              <a:gd name="T91" fmla="*/ 23 h 43"/>
              <a:gd name="T92" fmla="*/ 37 w 73"/>
              <a:gd name="T93" fmla="*/ 21 h 43"/>
              <a:gd name="T94" fmla="*/ 37 w 73"/>
              <a:gd name="T95" fmla="*/ 23 h 43"/>
              <a:gd name="T96" fmla="*/ 42 w 73"/>
              <a:gd name="T97" fmla="*/ 28 h 43"/>
              <a:gd name="T98" fmla="*/ 38 w 73"/>
              <a:gd name="T99" fmla="*/ 35 h 43"/>
              <a:gd name="T100" fmla="*/ 36 w 73"/>
              <a:gd name="T101" fmla="*/ 35 h 43"/>
              <a:gd name="T102" fmla="*/ 32 w 73"/>
              <a:gd name="T103" fmla="*/ 29 h 43"/>
              <a:gd name="T104" fmla="*/ 36 w 73"/>
              <a:gd name="T105" fmla="*/ 32 h 43"/>
              <a:gd name="T106" fmla="*/ 38 w 73"/>
              <a:gd name="T107" fmla="*/ 31 h 43"/>
              <a:gd name="T108" fmla="*/ 34 w 73"/>
              <a:gd name="T109" fmla="*/ 26 h 43"/>
              <a:gd name="T110" fmla="*/ 33 w 73"/>
              <a:gd name="T111" fmla="*/ 20 h 43"/>
              <a:gd name="T112" fmla="*/ 38 w 73"/>
              <a:gd name="T113" fmla="*/ 17 h 43"/>
              <a:gd name="T114" fmla="*/ 42 w 73"/>
              <a:gd name="T115" fmla="*/ 2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3" h="43">
                <a:moveTo>
                  <a:pt x="64" y="9"/>
                </a:moveTo>
                <a:cubicBezTo>
                  <a:pt x="69" y="12"/>
                  <a:pt x="73" y="18"/>
                  <a:pt x="73" y="26"/>
                </a:cubicBezTo>
                <a:cubicBezTo>
                  <a:pt x="73" y="28"/>
                  <a:pt x="73" y="30"/>
                  <a:pt x="72" y="32"/>
                </a:cubicBezTo>
                <a:cubicBezTo>
                  <a:pt x="67" y="33"/>
                  <a:pt x="62" y="34"/>
                  <a:pt x="57" y="34"/>
                </a:cubicBezTo>
                <a:cubicBezTo>
                  <a:pt x="58" y="33"/>
                  <a:pt x="58" y="33"/>
                  <a:pt x="58" y="32"/>
                </a:cubicBezTo>
                <a:cubicBezTo>
                  <a:pt x="58" y="30"/>
                  <a:pt x="57" y="28"/>
                  <a:pt x="57" y="27"/>
                </a:cubicBezTo>
                <a:cubicBezTo>
                  <a:pt x="57" y="27"/>
                  <a:pt x="57" y="27"/>
                  <a:pt x="57" y="27"/>
                </a:cubicBezTo>
                <a:cubicBezTo>
                  <a:pt x="58" y="27"/>
                  <a:pt x="58" y="28"/>
                  <a:pt x="59" y="28"/>
                </a:cubicBezTo>
                <a:cubicBezTo>
                  <a:pt x="59" y="29"/>
                  <a:pt x="59" y="29"/>
                  <a:pt x="59" y="29"/>
                </a:cubicBezTo>
                <a:cubicBezTo>
                  <a:pt x="61" y="29"/>
                  <a:pt x="61" y="29"/>
                  <a:pt x="61" y="29"/>
                </a:cubicBezTo>
                <a:cubicBezTo>
                  <a:pt x="61" y="28"/>
                  <a:pt x="61" y="28"/>
                  <a:pt x="61" y="28"/>
                </a:cubicBezTo>
                <a:cubicBezTo>
                  <a:pt x="62" y="27"/>
                  <a:pt x="63" y="27"/>
                  <a:pt x="63" y="26"/>
                </a:cubicBezTo>
                <a:cubicBezTo>
                  <a:pt x="64" y="26"/>
                  <a:pt x="64" y="25"/>
                  <a:pt x="64" y="24"/>
                </a:cubicBezTo>
                <a:cubicBezTo>
                  <a:pt x="64" y="23"/>
                  <a:pt x="64" y="23"/>
                  <a:pt x="64" y="22"/>
                </a:cubicBezTo>
                <a:cubicBezTo>
                  <a:pt x="63" y="22"/>
                  <a:pt x="63" y="21"/>
                  <a:pt x="63" y="21"/>
                </a:cubicBezTo>
                <a:cubicBezTo>
                  <a:pt x="63" y="21"/>
                  <a:pt x="62" y="20"/>
                  <a:pt x="61" y="20"/>
                </a:cubicBezTo>
                <a:cubicBezTo>
                  <a:pt x="60" y="19"/>
                  <a:pt x="60" y="19"/>
                  <a:pt x="60" y="19"/>
                </a:cubicBezTo>
                <a:cubicBezTo>
                  <a:pt x="59" y="19"/>
                  <a:pt x="59" y="18"/>
                  <a:pt x="59" y="18"/>
                </a:cubicBezTo>
                <a:cubicBezTo>
                  <a:pt x="59" y="17"/>
                  <a:pt x="59" y="17"/>
                  <a:pt x="59" y="17"/>
                </a:cubicBezTo>
                <a:cubicBezTo>
                  <a:pt x="59" y="17"/>
                  <a:pt x="60" y="17"/>
                  <a:pt x="60" y="17"/>
                </a:cubicBezTo>
                <a:cubicBezTo>
                  <a:pt x="60" y="17"/>
                  <a:pt x="60" y="17"/>
                  <a:pt x="60" y="17"/>
                </a:cubicBezTo>
                <a:cubicBezTo>
                  <a:pt x="60" y="17"/>
                  <a:pt x="60" y="18"/>
                  <a:pt x="60" y="18"/>
                </a:cubicBezTo>
                <a:cubicBezTo>
                  <a:pt x="60" y="19"/>
                  <a:pt x="60" y="19"/>
                  <a:pt x="60" y="19"/>
                </a:cubicBezTo>
                <a:cubicBezTo>
                  <a:pt x="63" y="19"/>
                  <a:pt x="63" y="19"/>
                  <a:pt x="63" y="19"/>
                </a:cubicBezTo>
                <a:cubicBezTo>
                  <a:pt x="64" y="18"/>
                  <a:pt x="64" y="18"/>
                  <a:pt x="64" y="18"/>
                </a:cubicBezTo>
                <a:cubicBezTo>
                  <a:pt x="64" y="17"/>
                  <a:pt x="63" y="17"/>
                  <a:pt x="63" y="16"/>
                </a:cubicBezTo>
                <a:cubicBezTo>
                  <a:pt x="62" y="15"/>
                  <a:pt x="62" y="15"/>
                  <a:pt x="61" y="15"/>
                </a:cubicBezTo>
                <a:cubicBezTo>
                  <a:pt x="61" y="14"/>
                  <a:pt x="61" y="14"/>
                  <a:pt x="61" y="14"/>
                </a:cubicBezTo>
                <a:cubicBezTo>
                  <a:pt x="59" y="14"/>
                  <a:pt x="59" y="14"/>
                  <a:pt x="59" y="14"/>
                </a:cubicBezTo>
                <a:cubicBezTo>
                  <a:pt x="59" y="15"/>
                  <a:pt x="59" y="15"/>
                  <a:pt x="59" y="15"/>
                </a:cubicBezTo>
                <a:cubicBezTo>
                  <a:pt x="58" y="15"/>
                  <a:pt x="57" y="15"/>
                  <a:pt x="57" y="16"/>
                </a:cubicBezTo>
                <a:cubicBezTo>
                  <a:pt x="56" y="17"/>
                  <a:pt x="56" y="17"/>
                  <a:pt x="56" y="18"/>
                </a:cubicBezTo>
                <a:cubicBezTo>
                  <a:pt x="56" y="19"/>
                  <a:pt x="56" y="19"/>
                  <a:pt x="56" y="20"/>
                </a:cubicBezTo>
                <a:cubicBezTo>
                  <a:pt x="57" y="20"/>
                  <a:pt x="57" y="21"/>
                  <a:pt x="57" y="21"/>
                </a:cubicBezTo>
                <a:cubicBezTo>
                  <a:pt x="58" y="21"/>
                  <a:pt x="58" y="22"/>
                  <a:pt x="59" y="22"/>
                </a:cubicBezTo>
                <a:cubicBezTo>
                  <a:pt x="60" y="23"/>
                  <a:pt x="60" y="23"/>
                  <a:pt x="60" y="23"/>
                </a:cubicBezTo>
                <a:cubicBezTo>
                  <a:pt x="60" y="24"/>
                  <a:pt x="60" y="24"/>
                  <a:pt x="60" y="25"/>
                </a:cubicBezTo>
                <a:cubicBezTo>
                  <a:pt x="60" y="25"/>
                  <a:pt x="60" y="25"/>
                  <a:pt x="60" y="26"/>
                </a:cubicBezTo>
                <a:cubicBezTo>
                  <a:pt x="60" y="26"/>
                  <a:pt x="60" y="26"/>
                  <a:pt x="60" y="26"/>
                </a:cubicBezTo>
                <a:cubicBezTo>
                  <a:pt x="60" y="26"/>
                  <a:pt x="59" y="26"/>
                  <a:pt x="59" y="25"/>
                </a:cubicBezTo>
                <a:cubicBezTo>
                  <a:pt x="59" y="25"/>
                  <a:pt x="59" y="25"/>
                  <a:pt x="59" y="24"/>
                </a:cubicBezTo>
                <a:cubicBezTo>
                  <a:pt x="59" y="23"/>
                  <a:pt x="59" y="23"/>
                  <a:pt x="59" y="23"/>
                </a:cubicBezTo>
                <a:cubicBezTo>
                  <a:pt x="56" y="23"/>
                  <a:pt x="56" y="23"/>
                  <a:pt x="56" y="23"/>
                </a:cubicBezTo>
                <a:cubicBezTo>
                  <a:pt x="55" y="19"/>
                  <a:pt x="53" y="16"/>
                  <a:pt x="51" y="13"/>
                </a:cubicBezTo>
                <a:cubicBezTo>
                  <a:pt x="52" y="12"/>
                  <a:pt x="54" y="10"/>
                  <a:pt x="55" y="10"/>
                </a:cubicBezTo>
                <a:cubicBezTo>
                  <a:pt x="55" y="7"/>
                  <a:pt x="55" y="7"/>
                  <a:pt x="55" y="7"/>
                </a:cubicBezTo>
                <a:cubicBezTo>
                  <a:pt x="56" y="7"/>
                  <a:pt x="56" y="7"/>
                  <a:pt x="56" y="7"/>
                </a:cubicBezTo>
                <a:cubicBezTo>
                  <a:pt x="53" y="2"/>
                  <a:pt x="53" y="2"/>
                  <a:pt x="53" y="2"/>
                </a:cubicBezTo>
                <a:cubicBezTo>
                  <a:pt x="57" y="1"/>
                  <a:pt x="57" y="1"/>
                  <a:pt x="57" y="1"/>
                </a:cubicBezTo>
                <a:cubicBezTo>
                  <a:pt x="58" y="3"/>
                  <a:pt x="58" y="3"/>
                  <a:pt x="58" y="3"/>
                </a:cubicBezTo>
                <a:cubicBezTo>
                  <a:pt x="59" y="0"/>
                  <a:pt x="59" y="0"/>
                  <a:pt x="59" y="0"/>
                </a:cubicBezTo>
                <a:cubicBezTo>
                  <a:pt x="62" y="1"/>
                  <a:pt x="62" y="1"/>
                  <a:pt x="62" y="1"/>
                </a:cubicBezTo>
                <a:cubicBezTo>
                  <a:pt x="61" y="3"/>
                  <a:pt x="61" y="3"/>
                  <a:pt x="61" y="3"/>
                </a:cubicBezTo>
                <a:cubicBezTo>
                  <a:pt x="63" y="0"/>
                  <a:pt x="63" y="0"/>
                  <a:pt x="63" y="0"/>
                </a:cubicBezTo>
                <a:cubicBezTo>
                  <a:pt x="66" y="2"/>
                  <a:pt x="66" y="2"/>
                  <a:pt x="66" y="2"/>
                </a:cubicBezTo>
                <a:cubicBezTo>
                  <a:pt x="64" y="7"/>
                  <a:pt x="64" y="7"/>
                  <a:pt x="64" y="7"/>
                </a:cubicBezTo>
                <a:cubicBezTo>
                  <a:pt x="64" y="7"/>
                  <a:pt x="64" y="7"/>
                  <a:pt x="64" y="7"/>
                </a:cubicBezTo>
                <a:cubicBezTo>
                  <a:pt x="64" y="9"/>
                  <a:pt x="64" y="9"/>
                  <a:pt x="64" y="9"/>
                </a:cubicBezTo>
                <a:close/>
                <a:moveTo>
                  <a:pt x="17" y="9"/>
                </a:moveTo>
                <a:cubicBezTo>
                  <a:pt x="19" y="10"/>
                  <a:pt x="21" y="12"/>
                  <a:pt x="23" y="14"/>
                </a:cubicBezTo>
                <a:cubicBezTo>
                  <a:pt x="19" y="19"/>
                  <a:pt x="17" y="26"/>
                  <a:pt x="17" y="32"/>
                </a:cubicBezTo>
                <a:cubicBezTo>
                  <a:pt x="17" y="33"/>
                  <a:pt x="17" y="33"/>
                  <a:pt x="17" y="34"/>
                </a:cubicBezTo>
                <a:cubicBezTo>
                  <a:pt x="11" y="34"/>
                  <a:pt x="6" y="33"/>
                  <a:pt x="1" y="32"/>
                </a:cubicBezTo>
                <a:cubicBezTo>
                  <a:pt x="1" y="30"/>
                  <a:pt x="0" y="28"/>
                  <a:pt x="0" y="26"/>
                </a:cubicBezTo>
                <a:cubicBezTo>
                  <a:pt x="0" y="18"/>
                  <a:pt x="4" y="12"/>
                  <a:pt x="9" y="10"/>
                </a:cubicBezTo>
                <a:cubicBezTo>
                  <a:pt x="9" y="7"/>
                  <a:pt x="9" y="7"/>
                  <a:pt x="9" y="7"/>
                </a:cubicBezTo>
                <a:cubicBezTo>
                  <a:pt x="9" y="7"/>
                  <a:pt x="9" y="7"/>
                  <a:pt x="9" y="7"/>
                </a:cubicBezTo>
                <a:cubicBezTo>
                  <a:pt x="7" y="2"/>
                  <a:pt x="7" y="2"/>
                  <a:pt x="7" y="2"/>
                </a:cubicBezTo>
                <a:cubicBezTo>
                  <a:pt x="10" y="1"/>
                  <a:pt x="10" y="1"/>
                  <a:pt x="10" y="1"/>
                </a:cubicBezTo>
                <a:cubicBezTo>
                  <a:pt x="11" y="3"/>
                  <a:pt x="11" y="3"/>
                  <a:pt x="11" y="3"/>
                </a:cubicBezTo>
                <a:cubicBezTo>
                  <a:pt x="12" y="0"/>
                  <a:pt x="12" y="0"/>
                  <a:pt x="12" y="0"/>
                </a:cubicBezTo>
                <a:cubicBezTo>
                  <a:pt x="15" y="1"/>
                  <a:pt x="15" y="1"/>
                  <a:pt x="15" y="1"/>
                </a:cubicBezTo>
                <a:cubicBezTo>
                  <a:pt x="15" y="3"/>
                  <a:pt x="15" y="3"/>
                  <a:pt x="15" y="3"/>
                </a:cubicBezTo>
                <a:cubicBezTo>
                  <a:pt x="17" y="0"/>
                  <a:pt x="17" y="0"/>
                  <a:pt x="17" y="0"/>
                </a:cubicBezTo>
                <a:cubicBezTo>
                  <a:pt x="20" y="2"/>
                  <a:pt x="20" y="2"/>
                  <a:pt x="20" y="2"/>
                </a:cubicBezTo>
                <a:cubicBezTo>
                  <a:pt x="17" y="7"/>
                  <a:pt x="17" y="7"/>
                  <a:pt x="17" y="7"/>
                </a:cubicBezTo>
                <a:cubicBezTo>
                  <a:pt x="17" y="7"/>
                  <a:pt x="17" y="7"/>
                  <a:pt x="17" y="7"/>
                </a:cubicBezTo>
                <a:cubicBezTo>
                  <a:pt x="17" y="9"/>
                  <a:pt x="17" y="9"/>
                  <a:pt x="17" y="9"/>
                </a:cubicBezTo>
                <a:close/>
                <a:moveTo>
                  <a:pt x="17" y="19"/>
                </a:moveTo>
                <a:cubicBezTo>
                  <a:pt x="17" y="18"/>
                  <a:pt x="17" y="18"/>
                  <a:pt x="17" y="18"/>
                </a:cubicBezTo>
                <a:cubicBezTo>
                  <a:pt x="17" y="17"/>
                  <a:pt x="17" y="17"/>
                  <a:pt x="16" y="16"/>
                </a:cubicBezTo>
                <a:cubicBezTo>
                  <a:pt x="16" y="15"/>
                  <a:pt x="15" y="15"/>
                  <a:pt x="14" y="15"/>
                </a:cubicBezTo>
                <a:cubicBezTo>
                  <a:pt x="14" y="14"/>
                  <a:pt x="14" y="14"/>
                  <a:pt x="14" y="14"/>
                </a:cubicBezTo>
                <a:cubicBezTo>
                  <a:pt x="13" y="14"/>
                  <a:pt x="13" y="14"/>
                  <a:pt x="13" y="14"/>
                </a:cubicBezTo>
                <a:cubicBezTo>
                  <a:pt x="13" y="15"/>
                  <a:pt x="13" y="15"/>
                  <a:pt x="13" y="15"/>
                </a:cubicBezTo>
                <a:cubicBezTo>
                  <a:pt x="12" y="15"/>
                  <a:pt x="11" y="15"/>
                  <a:pt x="10" y="16"/>
                </a:cubicBezTo>
                <a:cubicBezTo>
                  <a:pt x="10" y="17"/>
                  <a:pt x="10" y="17"/>
                  <a:pt x="10" y="18"/>
                </a:cubicBezTo>
                <a:cubicBezTo>
                  <a:pt x="10" y="19"/>
                  <a:pt x="10" y="19"/>
                  <a:pt x="10" y="20"/>
                </a:cubicBezTo>
                <a:cubicBezTo>
                  <a:pt x="10" y="20"/>
                  <a:pt x="10" y="21"/>
                  <a:pt x="11" y="21"/>
                </a:cubicBezTo>
                <a:cubicBezTo>
                  <a:pt x="11" y="21"/>
                  <a:pt x="12" y="22"/>
                  <a:pt x="13" y="22"/>
                </a:cubicBezTo>
                <a:cubicBezTo>
                  <a:pt x="13" y="23"/>
                  <a:pt x="14" y="23"/>
                  <a:pt x="14" y="23"/>
                </a:cubicBezTo>
                <a:cubicBezTo>
                  <a:pt x="14" y="24"/>
                  <a:pt x="14" y="24"/>
                  <a:pt x="14" y="25"/>
                </a:cubicBezTo>
                <a:cubicBezTo>
                  <a:pt x="14" y="25"/>
                  <a:pt x="14" y="25"/>
                  <a:pt x="14" y="26"/>
                </a:cubicBezTo>
                <a:cubicBezTo>
                  <a:pt x="14" y="26"/>
                  <a:pt x="13" y="26"/>
                  <a:pt x="13" y="26"/>
                </a:cubicBezTo>
                <a:cubicBezTo>
                  <a:pt x="13" y="26"/>
                  <a:pt x="13" y="26"/>
                  <a:pt x="13" y="25"/>
                </a:cubicBezTo>
                <a:cubicBezTo>
                  <a:pt x="13" y="25"/>
                  <a:pt x="13" y="25"/>
                  <a:pt x="13" y="24"/>
                </a:cubicBezTo>
                <a:cubicBezTo>
                  <a:pt x="13" y="23"/>
                  <a:pt x="13" y="23"/>
                  <a:pt x="13" y="23"/>
                </a:cubicBezTo>
                <a:cubicBezTo>
                  <a:pt x="10" y="23"/>
                  <a:pt x="10" y="23"/>
                  <a:pt x="10" y="23"/>
                </a:cubicBezTo>
                <a:cubicBezTo>
                  <a:pt x="10" y="24"/>
                  <a:pt x="10" y="24"/>
                  <a:pt x="10" y="24"/>
                </a:cubicBezTo>
                <a:cubicBezTo>
                  <a:pt x="10" y="25"/>
                  <a:pt x="10" y="26"/>
                  <a:pt x="10" y="27"/>
                </a:cubicBezTo>
                <a:cubicBezTo>
                  <a:pt x="11" y="27"/>
                  <a:pt x="12" y="28"/>
                  <a:pt x="13" y="28"/>
                </a:cubicBezTo>
                <a:cubicBezTo>
                  <a:pt x="13" y="29"/>
                  <a:pt x="13" y="29"/>
                  <a:pt x="13" y="29"/>
                </a:cubicBezTo>
                <a:cubicBezTo>
                  <a:pt x="14" y="29"/>
                  <a:pt x="14" y="29"/>
                  <a:pt x="14" y="29"/>
                </a:cubicBezTo>
                <a:cubicBezTo>
                  <a:pt x="14" y="28"/>
                  <a:pt x="14" y="28"/>
                  <a:pt x="14" y="28"/>
                </a:cubicBezTo>
                <a:cubicBezTo>
                  <a:pt x="15" y="27"/>
                  <a:pt x="16" y="27"/>
                  <a:pt x="16" y="26"/>
                </a:cubicBezTo>
                <a:cubicBezTo>
                  <a:pt x="17" y="26"/>
                  <a:pt x="17" y="25"/>
                  <a:pt x="17" y="24"/>
                </a:cubicBezTo>
                <a:cubicBezTo>
                  <a:pt x="17" y="23"/>
                  <a:pt x="17" y="23"/>
                  <a:pt x="17" y="22"/>
                </a:cubicBezTo>
                <a:cubicBezTo>
                  <a:pt x="17" y="22"/>
                  <a:pt x="17" y="21"/>
                  <a:pt x="16" y="21"/>
                </a:cubicBezTo>
                <a:cubicBezTo>
                  <a:pt x="16" y="21"/>
                  <a:pt x="15" y="20"/>
                  <a:pt x="15" y="20"/>
                </a:cubicBezTo>
                <a:cubicBezTo>
                  <a:pt x="14" y="19"/>
                  <a:pt x="13" y="19"/>
                  <a:pt x="13" y="19"/>
                </a:cubicBezTo>
                <a:cubicBezTo>
                  <a:pt x="13" y="19"/>
                  <a:pt x="13" y="18"/>
                  <a:pt x="13" y="18"/>
                </a:cubicBezTo>
                <a:cubicBezTo>
                  <a:pt x="13" y="17"/>
                  <a:pt x="13" y="17"/>
                  <a:pt x="13" y="17"/>
                </a:cubicBezTo>
                <a:cubicBezTo>
                  <a:pt x="13" y="17"/>
                  <a:pt x="13" y="17"/>
                  <a:pt x="13" y="17"/>
                </a:cubicBezTo>
                <a:cubicBezTo>
                  <a:pt x="13" y="17"/>
                  <a:pt x="14" y="17"/>
                  <a:pt x="14" y="17"/>
                </a:cubicBezTo>
                <a:cubicBezTo>
                  <a:pt x="14" y="17"/>
                  <a:pt x="14" y="18"/>
                  <a:pt x="14" y="18"/>
                </a:cubicBezTo>
                <a:cubicBezTo>
                  <a:pt x="14" y="19"/>
                  <a:pt x="14" y="19"/>
                  <a:pt x="14" y="19"/>
                </a:cubicBezTo>
                <a:cubicBezTo>
                  <a:pt x="17" y="19"/>
                  <a:pt x="17" y="19"/>
                  <a:pt x="17" y="19"/>
                </a:cubicBezTo>
                <a:close/>
                <a:moveTo>
                  <a:pt x="42" y="11"/>
                </a:moveTo>
                <a:cubicBezTo>
                  <a:pt x="42" y="9"/>
                  <a:pt x="42" y="9"/>
                  <a:pt x="42" y="9"/>
                </a:cubicBezTo>
                <a:cubicBezTo>
                  <a:pt x="42" y="9"/>
                  <a:pt x="42" y="9"/>
                  <a:pt x="42" y="9"/>
                </a:cubicBezTo>
                <a:cubicBezTo>
                  <a:pt x="45" y="2"/>
                  <a:pt x="45" y="2"/>
                  <a:pt x="45" y="2"/>
                </a:cubicBezTo>
                <a:cubicBezTo>
                  <a:pt x="41" y="0"/>
                  <a:pt x="41" y="0"/>
                  <a:pt x="41" y="0"/>
                </a:cubicBezTo>
                <a:cubicBezTo>
                  <a:pt x="39" y="3"/>
                  <a:pt x="39" y="3"/>
                  <a:pt x="39" y="3"/>
                </a:cubicBezTo>
                <a:cubicBezTo>
                  <a:pt x="39" y="0"/>
                  <a:pt x="39" y="0"/>
                  <a:pt x="39" y="0"/>
                </a:cubicBezTo>
                <a:cubicBezTo>
                  <a:pt x="35" y="0"/>
                  <a:pt x="35" y="0"/>
                  <a:pt x="35" y="0"/>
                </a:cubicBezTo>
                <a:cubicBezTo>
                  <a:pt x="34" y="3"/>
                  <a:pt x="34" y="3"/>
                  <a:pt x="34" y="3"/>
                </a:cubicBezTo>
                <a:cubicBezTo>
                  <a:pt x="33" y="0"/>
                  <a:pt x="33" y="0"/>
                  <a:pt x="33" y="0"/>
                </a:cubicBezTo>
                <a:cubicBezTo>
                  <a:pt x="29" y="2"/>
                  <a:pt x="29" y="2"/>
                  <a:pt x="29" y="2"/>
                </a:cubicBezTo>
                <a:cubicBezTo>
                  <a:pt x="32" y="9"/>
                  <a:pt x="32" y="9"/>
                  <a:pt x="32" y="9"/>
                </a:cubicBezTo>
                <a:cubicBezTo>
                  <a:pt x="31" y="9"/>
                  <a:pt x="31" y="9"/>
                  <a:pt x="31" y="9"/>
                </a:cubicBezTo>
                <a:cubicBezTo>
                  <a:pt x="31" y="12"/>
                  <a:pt x="31" y="12"/>
                  <a:pt x="31" y="12"/>
                </a:cubicBezTo>
                <a:cubicBezTo>
                  <a:pt x="25" y="15"/>
                  <a:pt x="20" y="23"/>
                  <a:pt x="20" y="32"/>
                </a:cubicBezTo>
                <a:cubicBezTo>
                  <a:pt x="20" y="35"/>
                  <a:pt x="21" y="38"/>
                  <a:pt x="22" y="41"/>
                </a:cubicBezTo>
                <a:cubicBezTo>
                  <a:pt x="32" y="43"/>
                  <a:pt x="42" y="43"/>
                  <a:pt x="52" y="41"/>
                </a:cubicBezTo>
                <a:cubicBezTo>
                  <a:pt x="53" y="38"/>
                  <a:pt x="54" y="35"/>
                  <a:pt x="54" y="32"/>
                </a:cubicBezTo>
                <a:cubicBezTo>
                  <a:pt x="54" y="22"/>
                  <a:pt x="49" y="14"/>
                  <a:pt x="42" y="11"/>
                </a:cubicBezTo>
                <a:close/>
                <a:moveTo>
                  <a:pt x="42" y="23"/>
                </a:moveTo>
                <a:cubicBezTo>
                  <a:pt x="38" y="23"/>
                  <a:pt x="38" y="23"/>
                  <a:pt x="38" y="23"/>
                </a:cubicBezTo>
                <a:cubicBezTo>
                  <a:pt x="38" y="23"/>
                  <a:pt x="38" y="23"/>
                  <a:pt x="38" y="23"/>
                </a:cubicBezTo>
                <a:cubicBezTo>
                  <a:pt x="38" y="22"/>
                  <a:pt x="38" y="22"/>
                  <a:pt x="37" y="21"/>
                </a:cubicBezTo>
                <a:cubicBezTo>
                  <a:pt x="37" y="21"/>
                  <a:pt x="37" y="21"/>
                  <a:pt x="37" y="21"/>
                </a:cubicBezTo>
                <a:cubicBezTo>
                  <a:pt x="37" y="21"/>
                  <a:pt x="36" y="21"/>
                  <a:pt x="36" y="21"/>
                </a:cubicBezTo>
                <a:cubicBezTo>
                  <a:pt x="36" y="21"/>
                  <a:pt x="36" y="22"/>
                  <a:pt x="36" y="22"/>
                </a:cubicBezTo>
                <a:cubicBezTo>
                  <a:pt x="36" y="23"/>
                  <a:pt x="36" y="23"/>
                  <a:pt x="37" y="23"/>
                </a:cubicBezTo>
                <a:cubicBezTo>
                  <a:pt x="37" y="24"/>
                  <a:pt x="37" y="24"/>
                  <a:pt x="39" y="25"/>
                </a:cubicBezTo>
                <a:cubicBezTo>
                  <a:pt x="40" y="25"/>
                  <a:pt x="40" y="26"/>
                  <a:pt x="41" y="26"/>
                </a:cubicBezTo>
                <a:cubicBezTo>
                  <a:pt x="41" y="27"/>
                  <a:pt x="41" y="27"/>
                  <a:pt x="42" y="28"/>
                </a:cubicBezTo>
                <a:cubicBezTo>
                  <a:pt x="42" y="28"/>
                  <a:pt x="42" y="29"/>
                  <a:pt x="42" y="30"/>
                </a:cubicBezTo>
                <a:cubicBezTo>
                  <a:pt x="42" y="31"/>
                  <a:pt x="42" y="32"/>
                  <a:pt x="41" y="33"/>
                </a:cubicBezTo>
                <a:cubicBezTo>
                  <a:pt x="40" y="34"/>
                  <a:pt x="39" y="34"/>
                  <a:pt x="38" y="35"/>
                </a:cubicBezTo>
                <a:cubicBezTo>
                  <a:pt x="38" y="36"/>
                  <a:pt x="38" y="36"/>
                  <a:pt x="38" y="36"/>
                </a:cubicBezTo>
                <a:cubicBezTo>
                  <a:pt x="36" y="36"/>
                  <a:pt x="36" y="36"/>
                  <a:pt x="36" y="36"/>
                </a:cubicBezTo>
                <a:cubicBezTo>
                  <a:pt x="36" y="35"/>
                  <a:pt x="36" y="35"/>
                  <a:pt x="36" y="35"/>
                </a:cubicBezTo>
                <a:cubicBezTo>
                  <a:pt x="35" y="35"/>
                  <a:pt x="34" y="34"/>
                  <a:pt x="33" y="33"/>
                </a:cubicBezTo>
                <a:cubicBezTo>
                  <a:pt x="33" y="33"/>
                  <a:pt x="32" y="31"/>
                  <a:pt x="32" y="30"/>
                </a:cubicBezTo>
                <a:cubicBezTo>
                  <a:pt x="32" y="29"/>
                  <a:pt x="32" y="29"/>
                  <a:pt x="32" y="29"/>
                </a:cubicBezTo>
                <a:cubicBezTo>
                  <a:pt x="36" y="29"/>
                  <a:pt x="36" y="29"/>
                  <a:pt x="36" y="29"/>
                </a:cubicBezTo>
                <a:cubicBezTo>
                  <a:pt x="36" y="30"/>
                  <a:pt x="36" y="30"/>
                  <a:pt x="36" y="30"/>
                </a:cubicBezTo>
                <a:cubicBezTo>
                  <a:pt x="36" y="31"/>
                  <a:pt x="36" y="32"/>
                  <a:pt x="36" y="32"/>
                </a:cubicBezTo>
                <a:cubicBezTo>
                  <a:pt x="36" y="32"/>
                  <a:pt x="37" y="32"/>
                  <a:pt x="37" y="32"/>
                </a:cubicBezTo>
                <a:cubicBezTo>
                  <a:pt x="37" y="32"/>
                  <a:pt x="37" y="32"/>
                  <a:pt x="37" y="32"/>
                </a:cubicBezTo>
                <a:cubicBezTo>
                  <a:pt x="38" y="32"/>
                  <a:pt x="38" y="32"/>
                  <a:pt x="38" y="31"/>
                </a:cubicBezTo>
                <a:cubicBezTo>
                  <a:pt x="38" y="30"/>
                  <a:pt x="38" y="30"/>
                  <a:pt x="37" y="29"/>
                </a:cubicBezTo>
                <a:cubicBezTo>
                  <a:pt x="37" y="29"/>
                  <a:pt x="37" y="28"/>
                  <a:pt x="36" y="28"/>
                </a:cubicBezTo>
                <a:cubicBezTo>
                  <a:pt x="35" y="27"/>
                  <a:pt x="34" y="27"/>
                  <a:pt x="34" y="26"/>
                </a:cubicBezTo>
                <a:cubicBezTo>
                  <a:pt x="33" y="26"/>
                  <a:pt x="33" y="25"/>
                  <a:pt x="33" y="25"/>
                </a:cubicBezTo>
                <a:cubicBezTo>
                  <a:pt x="32" y="24"/>
                  <a:pt x="32" y="23"/>
                  <a:pt x="32" y="23"/>
                </a:cubicBezTo>
                <a:cubicBezTo>
                  <a:pt x="32" y="21"/>
                  <a:pt x="32" y="21"/>
                  <a:pt x="33" y="20"/>
                </a:cubicBezTo>
                <a:cubicBezTo>
                  <a:pt x="34" y="19"/>
                  <a:pt x="35" y="19"/>
                  <a:pt x="36" y="19"/>
                </a:cubicBezTo>
                <a:cubicBezTo>
                  <a:pt x="36" y="17"/>
                  <a:pt x="36" y="17"/>
                  <a:pt x="36" y="17"/>
                </a:cubicBezTo>
                <a:cubicBezTo>
                  <a:pt x="38" y="17"/>
                  <a:pt x="38" y="17"/>
                  <a:pt x="38" y="17"/>
                </a:cubicBezTo>
                <a:cubicBezTo>
                  <a:pt x="38" y="19"/>
                  <a:pt x="38" y="19"/>
                  <a:pt x="38" y="19"/>
                </a:cubicBezTo>
                <a:cubicBezTo>
                  <a:pt x="39" y="19"/>
                  <a:pt x="40" y="19"/>
                  <a:pt x="41" y="20"/>
                </a:cubicBezTo>
                <a:cubicBezTo>
                  <a:pt x="41" y="21"/>
                  <a:pt x="42" y="21"/>
                  <a:pt x="42" y="23"/>
                </a:cubicBezTo>
                <a:cubicBezTo>
                  <a:pt x="42" y="23"/>
                  <a:pt x="42" y="23"/>
                  <a:pt x="42" y="23"/>
                </a:cubicBezTo>
                <a:close/>
              </a:path>
            </a:pathLst>
          </a:custGeom>
          <a:solidFill>
            <a:schemeClr val="tx1"/>
          </a:solidFill>
          <a:ln>
            <a:noFill/>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474747"/>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73" name="Freeform 326">
            <a:extLst>
              <a:ext uri="{FF2B5EF4-FFF2-40B4-BE49-F238E27FC236}">
                <a16:creationId xmlns:a16="http://schemas.microsoft.com/office/drawing/2014/main" id="{2767E6EC-5627-4FD1-B958-4EDC67F01285}"/>
              </a:ext>
            </a:extLst>
          </p:cNvPr>
          <p:cNvSpPr>
            <a:spLocks noEditPoints="1"/>
          </p:cNvSpPr>
          <p:nvPr/>
        </p:nvSpPr>
        <p:spPr bwMode="auto">
          <a:xfrm>
            <a:off x="7254808" y="4655502"/>
            <a:ext cx="160832" cy="150520"/>
          </a:xfrm>
          <a:custGeom>
            <a:avLst/>
            <a:gdLst>
              <a:gd name="T0" fmla="*/ 2 w 65"/>
              <a:gd name="T1" fmla="*/ 0 h 55"/>
              <a:gd name="T2" fmla="*/ 62 w 65"/>
              <a:gd name="T3" fmla="*/ 0 h 55"/>
              <a:gd name="T4" fmla="*/ 65 w 65"/>
              <a:gd name="T5" fmla="*/ 0 h 55"/>
              <a:gd name="T6" fmla="*/ 65 w 65"/>
              <a:gd name="T7" fmla="*/ 3 h 55"/>
              <a:gd name="T8" fmla="*/ 65 w 65"/>
              <a:gd name="T9" fmla="*/ 37 h 55"/>
              <a:gd name="T10" fmla="*/ 65 w 65"/>
              <a:gd name="T11" fmla="*/ 40 h 55"/>
              <a:gd name="T12" fmla="*/ 62 w 65"/>
              <a:gd name="T13" fmla="*/ 40 h 55"/>
              <a:gd name="T14" fmla="*/ 45 w 65"/>
              <a:gd name="T15" fmla="*/ 40 h 55"/>
              <a:gd name="T16" fmla="*/ 45 w 65"/>
              <a:gd name="T17" fmla="*/ 51 h 55"/>
              <a:gd name="T18" fmla="*/ 52 w 65"/>
              <a:gd name="T19" fmla="*/ 51 h 55"/>
              <a:gd name="T20" fmla="*/ 52 w 65"/>
              <a:gd name="T21" fmla="*/ 55 h 55"/>
              <a:gd name="T22" fmla="*/ 16 w 65"/>
              <a:gd name="T23" fmla="*/ 55 h 55"/>
              <a:gd name="T24" fmla="*/ 16 w 65"/>
              <a:gd name="T25" fmla="*/ 51 h 55"/>
              <a:gd name="T26" fmla="*/ 22 w 65"/>
              <a:gd name="T27" fmla="*/ 51 h 55"/>
              <a:gd name="T28" fmla="*/ 22 w 65"/>
              <a:gd name="T29" fmla="*/ 40 h 55"/>
              <a:gd name="T30" fmla="*/ 2 w 65"/>
              <a:gd name="T31" fmla="*/ 40 h 55"/>
              <a:gd name="T32" fmla="*/ 0 w 65"/>
              <a:gd name="T33" fmla="*/ 40 h 55"/>
              <a:gd name="T34" fmla="*/ 0 w 65"/>
              <a:gd name="T35" fmla="*/ 37 h 55"/>
              <a:gd name="T36" fmla="*/ 0 w 65"/>
              <a:gd name="T37" fmla="*/ 3 h 55"/>
              <a:gd name="T38" fmla="*/ 0 w 65"/>
              <a:gd name="T39" fmla="*/ 0 h 55"/>
              <a:gd name="T40" fmla="*/ 2 w 65"/>
              <a:gd name="T41" fmla="*/ 0 h 55"/>
              <a:gd name="T42" fmla="*/ 20 w 65"/>
              <a:gd name="T43" fmla="*/ 16 h 55"/>
              <a:gd name="T44" fmla="*/ 22 w 65"/>
              <a:gd name="T45" fmla="*/ 18 h 55"/>
              <a:gd name="T46" fmla="*/ 23 w 65"/>
              <a:gd name="T47" fmla="*/ 18 h 55"/>
              <a:gd name="T48" fmla="*/ 33 w 65"/>
              <a:gd name="T49" fmla="*/ 13 h 55"/>
              <a:gd name="T50" fmla="*/ 44 w 65"/>
              <a:gd name="T51" fmla="*/ 18 h 55"/>
              <a:gd name="T52" fmla="*/ 44 w 65"/>
              <a:gd name="T53" fmla="*/ 18 h 55"/>
              <a:gd name="T54" fmla="*/ 46 w 65"/>
              <a:gd name="T55" fmla="*/ 16 h 55"/>
              <a:gd name="T56" fmla="*/ 46 w 65"/>
              <a:gd name="T57" fmla="*/ 15 h 55"/>
              <a:gd name="T58" fmla="*/ 33 w 65"/>
              <a:gd name="T59" fmla="*/ 9 h 55"/>
              <a:gd name="T60" fmla="*/ 20 w 65"/>
              <a:gd name="T61" fmla="*/ 15 h 55"/>
              <a:gd name="T62" fmla="*/ 20 w 65"/>
              <a:gd name="T63" fmla="*/ 16 h 55"/>
              <a:gd name="T64" fmla="*/ 24 w 65"/>
              <a:gd name="T65" fmla="*/ 21 h 55"/>
              <a:gd name="T66" fmla="*/ 26 w 65"/>
              <a:gd name="T67" fmla="*/ 24 h 55"/>
              <a:gd name="T68" fmla="*/ 27 w 65"/>
              <a:gd name="T69" fmla="*/ 23 h 55"/>
              <a:gd name="T70" fmla="*/ 33 w 65"/>
              <a:gd name="T71" fmla="*/ 21 h 55"/>
              <a:gd name="T72" fmla="*/ 39 w 65"/>
              <a:gd name="T73" fmla="*/ 23 h 55"/>
              <a:gd name="T74" fmla="*/ 40 w 65"/>
              <a:gd name="T75" fmla="*/ 24 h 55"/>
              <a:gd name="T76" fmla="*/ 42 w 65"/>
              <a:gd name="T77" fmla="*/ 21 h 55"/>
              <a:gd name="T78" fmla="*/ 42 w 65"/>
              <a:gd name="T79" fmla="*/ 21 h 55"/>
              <a:gd name="T80" fmla="*/ 33 w 65"/>
              <a:gd name="T81" fmla="*/ 17 h 55"/>
              <a:gd name="T82" fmla="*/ 25 w 65"/>
              <a:gd name="T83" fmla="*/ 21 h 55"/>
              <a:gd name="T84" fmla="*/ 24 w 65"/>
              <a:gd name="T85" fmla="*/ 21 h 55"/>
              <a:gd name="T86" fmla="*/ 33 w 65"/>
              <a:gd name="T87" fmla="*/ 24 h 55"/>
              <a:gd name="T88" fmla="*/ 31 w 65"/>
              <a:gd name="T89" fmla="*/ 27 h 55"/>
              <a:gd name="T90" fmla="*/ 33 w 65"/>
              <a:gd name="T91" fmla="*/ 30 h 55"/>
              <a:gd name="T92" fmla="*/ 36 w 65"/>
              <a:gd name="T93" fmla="*/ 27 h 55"/>
              <a:gd name="T94" fmla="*/ 33 w 65"/>
              <a:gd name="T95" fmla="*/ 24 h 55"/>
              <a:gd name="T96" fmla="*/ 59 w 65"/>
              <a:gd name="T97" fmla="*/ 6 h 55"/>
              <a:gd name="T98" fmla="*/ 5 w 65"/>
              <a:gd name="T99" fmla="*/ 6 h 55"/>
              <a:gd name="T100" fmla="*/ 5 w 65"/>
              <a:gd name="T101" fmla="*/ 34 h 55"/>
              <a:gd name="T102" fmla="*/ 59 w 65"/>
              <a:gd name="T103" fmla="*/ 34 h 55"/>
              <a:gd name="T104" fmla="*/ 59 w 65"/>
              <a:gd name="T105" fmla="*/ 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5" h="55">
                <a:moveTo>
                  <a:pt x="2" y="0"/>
                </a:moveTo>
                <a:cubicBezTo>
                  <a:pt x="62" y="0"/>
                  <a:pt x="62" y="0"/>
                  <a:pt x="62" y="0"/>
                </a:cubicBezTo>
                <a:cubicBezTo>
                  <a:pt x="65" y="0"/>
                  <a:pt x="65" y="0"/>
                  <a:pt x="65" y="0"/>
                </a:cubicBezTo>
                <a:cubicBezTo>
                  <a:pt x="65" y="3"/>
                  <a:pt x="65" y="3"/>
                  <a:pt x="65" y="3"/>
                </a:cubicBezTo>
                <a:cubicBezTo>
                  <a:pt x="65" y="37"/>
                  <a:pt x="65" y="37"/>
                  <a:pt x="65" y="37"/>
                </a:cubicBezTo>
                <a:cubicBezTo>
                  <a:pt x="65" y="40"/>
                  <a:pt x="65" y="40"/>
                  <a:pt x="65" y="40"/>
                </a:cubicBezTo>
                <a:cubicBezTo>
                  <a:pt x="62" y="40"/>
                  <a:pt x="62" y="40"/>
                  <a:pt x="62" y="40"/>
                </a:cubicBezTo>
                <a:cubicBezTo>
                  <a:pt x="45" y="40"/>
                  <a:pt x="45" y="40"/>
                  <a:pt x="45" y="40"/>
                </a:cubicBezTo>
                <a:cubicBezTo>
                  <a:pt x="45" y="51"/>
                  <a:pt x="45" y="51"/>
                  <a:pt x="45" y="51"/>
                </a:cubicBezTo>
                <a:cubicBezTo>
                  <a:pt x="52" y="51"/>
                  <a:pt x="52" y="51"/>
                  <a:pt x="52" y="51"/>
                </a:cubicBezTo>
                <a:cubicBezTo>
                  <a:pt x="52" y="55"/>
                  <a:pt x="52" y="55"/>
                  <a:pt x="52" y="55"/>
                </a:cubicBezTo>
                <a:cubicBezTo>
                  <a:pt x="16" y="55"/>
                  <a:pt x="16" y="55"/>
                  <a:pt x="16" y="55"/>
                </a:cubicBezTo>
                <a:cubicBezTo>
                  <a:pt x="16" y="51"/>
                  <a:pt x="16" y="51"/>
                  <a:pt x="16" y="51"/>
                </a:cubicBezTo>
                <a:cubicBezTo>
                  <a:pt x="22" y="51"/>
                  <a:pt x="22" y="51"/>
                  <a:pt x="22" y="51"/>
                </a:cubicBezTo>
                <a:cubicBezTo>
                  <a:pt x="22" y="40"/>
                  <a:pt x="22" y="40"/>
                  <a:pt x="22" y="40"/>
                </a:cubicBezTo>
                <a:cubicBezTo>
                  <a:pt x="2" y="40"/>
                  <a:pt x="2" y="40"/>
                  <a:pt x="2" y="40"/>
                </a:cubicBezTo>
                <a:cubicBezTo>
                  <a:pt x="0" y="40"/>
                  <a:pt x="0" y="40"/>
                  <a:pt x="0" y="40"/>
                </a:cubicBezTo>
                <a:cubicBezTo>
                  <a:pt x="0" y="37"/>
                  <a:pt x="0" y="37"/>
                  <a:pt x="0" y="37"/>
                </a:cubicBezTo>
                <a:cubicBezTo>
                  <a:pt x="0" y="3"/>
                  <a:pt x="0" y="3"/>
                  <a:pt x="0" y="3"/>
                </a:cubicBezTo>
                <a:cubicBezTo>
                  <a:pt x="0" y="0"/>
                  <a:pt x="0" y="0"/>
                  <a:pt x="0" y="0"/>
                </a:cubicBezTo>
                <a:cubicBezTo>
                  <a:pt x="2" y="0"/>
                  <a:pt x="2" y="0"/>
                  <a:pt x="2" y="0"/>
                </a:cubicBezTo>
                <a:close/>
                <a:moveTo>
                  <a:pt x="20" y="16"/>
                </a:moveTo>
                <a:cubicBezTo>
                  <a:pt x="22" y="18"/>
                  <a:pt x="22" y="18"/>
                  <a:pt x="22" y="18"/>
                </a:cubicBezTo>
                <a:cubicBezTo>
                  <a:pt x="22" y="18"/>
                  <a:pt x="22" y="18"/>
                  <a:pt x="23" y="18"/>
                </a:cubicBezTo>
                <a:cubicBezTo>
                  <a:pt x="25" y="14"/>
                  <a:pt x="29" y="13"/>
                  <a:pt x="33" y="13"/>
                </a:cubicBezTo>
                <a:cubicBezTo>
                  <a:pt x="37" y="13"/>
                  <a:pt x="41" y="15"/>
                  <a:pt x="44" y="18"/>
                </a:cubicBezTo>
                <a:cubicBezTo>
                  <a:pt x="44" y="18"/>
                  <a:pt x="44" y="18"/>
                  <a:pt x="44" y="18"/>
                </a:cubicBezTo>
                <a:cubicBezTo>
                  <a:pt x="46" y="16"/>
                  <a:pt x="46" y="16"/>
                  <a:pt x="46" y="16"/>
                </a:cubicBezTo>
                <a:cubicBezTo>
                  <a:pt x="46" y="15"/>
                  <a:pt x="46" y="15"/>
                  <a:pt x="46" y="15"/>
                </a:cubicBezTo>
                <a:cubicBezTo>
                  <a:pt x="42" y="11"/>
                  <a:pt x="38" y="9"/>
                  <a:pt x="33" y="9"/>
                </a:cubicBezTo>
                <a:cubicBezTo>
                  <a:pt x="29" y="9"/>
                  <a:pt x="24" y="11"/>
                  <a:pt x="20" y="15"/>
                </a:cubicBezTo>
                <a:cubicBezTo>
                  <a:pt x="20" y="15"/>
                  <a:pt x="20" y="15"/>
                  <a:pt x="20" y="16"/>
                </a:cubicBezTo>
                <a:close/>
                <a:moveTo>
                  <a:pt x="24" y="21"/>
                </a:moveTo>
                <a:cubicBezTo>
                  <a:pt x="26" y="24"/>
                  <a:pt x="26" y="24"/>
                  <a:pt x="26" y="24"/>
                </a:cubicBezTo>
                <a:cubicBezTo>
                  <a:pt x="27" y="24"/>
                  <a:pt x="27" y="23"/>
                  <a:pt x="27" y="23"/>
                </a:cubicBezTo>
                <a:cubicBezTo>
                  <a:pt x="29" y="21"/>
                  <a:pt x="31" y="21"/>
                  <a:pt x="33" y="21"/>
                </a:cubicBezTo>
                <a:cubicBezTo>
                  <a:pt x="35" y="21"/>
                  <a:pt x="38" y="22"/>
                  <a:pt x="39" y="23"/>
                </a:cubicBezTo>
                <a:cubicBezTo>
                  <a:pt x="39" y="23"/>
                  <a:pt x="40" y="24"/>
                  <a:pt x="40" y="24"/>
                </a:cubicBezTo>
                <a:cubicBezTo>
                  <a:pt x="42" y="21"/>
                  <a:pt x="42" y="21"/>
                  <a:pt x="42" y="21"/>
                </a:cubicBezTo>
                <a:cubicBezTo>
                  <a:pt x="42" y="21"/>
                  <a:pt x="42" y="21"/>
                  <a:pt x="42" y="21"/>
                </a:cubicBezTo>
                <a:cubicBezTo>
                  <a:pt x="39" y="18"/>
                  <a:pt x="36" y="17"/>
                  <a:pt x="33" y="17"/>
                </a:cubicBezTo>
                <a:cubicBezTo>
                  <a:pt x="30" y="17"/>
                  <a:pt x="27" y="18"/>
                  <a:pt x="25" y="21"/>
                </a:cubicBezTo>
                <a:cubicBezTo>
                  <a:pt x="24" y="21"/>
                  <a:pt x="24" y="21"/>
                  <a:pt x="24" y="21"/>
                </a:cubicBezTo>
                <a:close/>
                <a:moveTo>
                  <a:pt x="33" y="24"/>
                </a:moveTo>
                <a:cubicBezTo>
                  <a:pt x="32" y="24"/>
                  <a:pt x="31" y="25"/>
                  <a:pt x="31" y="27"/>
                </a:cubicBezTo>
                <a:cubicBezTo>
                  <a:pt x="31" y="28"/>
                  <a:pt x="32" y="30"/>
                  <a:pt x="33" y="30"/>
                </a:cubicBezTo>
                <a:cubicBezTo>
                  <a:pt x="35" y="30"/>
                  <a:pt x="36" y="28"/>
                  <a:pt x="36" y="27"/>
                </a:cubicBezTo>
                <a:cubicBezTo>
                  <a:pt x="36" y="25"/>
                  <a:pt x="35" y="24"/>
                  <a:pt x="33" y="24"/>
                </a:cubicBezTo>
                <a:close/>
                <a:moveTo>
                  <a:pt x="59" y="6"/>
                </a:moveTo>
                <a:cubicBezTo>
                  <a:pt x="5" y="6"/>
                  <a:pt x="5" y="6"/>
                  <a:pt x="5" y="6"/>
                </a:cubicBezTo>
                <a:cubicBezTo>
                  <a:pt x="5" y="34"/>
                  <a:pt x="5" y="34"/>
                  <a:pt x="5" y="34"/>
                </a:cubicBezTo>
                <a:cubicBezTo>
                  <a:pt x="59" y="34"/>
                  <a:pt x="59" y="34"/>
                  <a:pt x="59" y="34"/>
                </a:cubicBezTo>
                <a:lnTo>
                  <a:pt x="59" y="6"/>
                </a:lnTo>
                <a:close/>
              </a:path>
            </a:pathLst>
          </a:custGeom>
          <a:solidFill>
            <a:schemeClr val="tx1"/>
          </a:solidFill>
          <a:ln>
            <a:noFill/>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474747"/>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69" name="Oval 68">
            <a:extLst>
              <a:ext uri="{FF2B5EF4-FFF2-40B4-BE49-F238E27FC236}">
                <a16:creationId xmlns:a16="http://schemas.microsoft.com/office/drawing/2014/main" id="{6BF8E14C-39AB-49F0-B006-2DBBB36B6B2F}"/>
              </a:ext>
            </a:extLst>
          </p:cNvPr>
          <p:cNvSpPr/>
          <p:nvPr/>
        </p:nvSpPr>
        <p:spPr>
          <a:xfrm>
            <a:off x="7124773" y="3227191"/>
            <a:ext cx="421200" cy="420781"/>
          </a:xfrm>
          <a:prstGeom prst="ellipse">
            <a:avLst/>
          </a:prstGeom>
          <a:solidFill>
            <a:schemeClr val="accent1"/>
          </a:solidFill>
          <a:ln w="6350" cap="flat" cmpd="sng" algn="ctr">
            <a:noFill/>
            <a:prstDash val="solid"/>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70" name="Freeform 337">
            <a:extLst>
              <a:ext uri="{FF2B5EF4-FFF2-40B4-BE49-F238E27FC236}">
                <a16:creationId xmlns:a16="http://schemas.microsoft.com/office/drawing/2014/main" id="{903CE861-DBAA-448E-AB1D-4AA3B4489FC6}"/>
              </a:ext>
            </a:extLst>
          </p:cNvPr>
          <p:cNvSpPr>
            <a:spLocks noEditPoints="1"/>
          </p:cNvSpPr>
          <p:nvPr/>
        </p:nvSpPr>
        <p:spPr bwMode="auto">
          <a:xfrm>
            <a:off x="7222659" y="3366301"/>
            <a:ext cx="232848" cy="172646"/>
          </a:xfrm>
          <a:custGeom>
            <a:avLst/>
            <a:gdLst>
              <a:gd name="T0" fmla="*/ 60 w 71"/>
              <a:gd name="T1" fmla="*/ 0 h 52"/>
              <a:gd name="T2" fmla="*/ 65 w 71"/>
              <a:gd name="T3" fmla="*/ 35 h 52"/>
              <a:gd name="T4" fmla="*/ 71 w 71"/>
              <a:gd name="T5" fmla="*/ 47 h 52"/>
              <a:gd name="T6" fmla="*/ 0 w 71"/>
              <a:gd name="T7" fmla="*/ 52 h 52"/>
              <a:gd name="T8" fmla="*/ 10 w 71"/>
              <a:gd name="T9" fmla="*/ 40 h 52"/>
              <a:gd name="T10" fmla="*/ 6 w 71"/>
              <a:gd name="T11" fmla="*/ 35 h 52"/>
              <a:gd name="T12" fmla="*/ 11 w 71"/>
              <a:gd name="T13" fmla="*/ 0 h 52"/>
              <a:gd name="T14" fmla="*/ 27 w 71"/>
              <a:gd name="T15" fmla="*/ 18 h 52"/>
              <a:gd name="T16" fmla="*/ 28 w 71"/>
              <a:gd name="T17" fmla="*/ 21 h 52"/>
              <a:gd name="T18" fmla="*/ 45 w 71"/>
              <a:gd name="T19" fmla="*/ 20 h 52"/>
              <a:gd name="T20" fmla="*/ 44 w 71"/>
              <a:gd name="T21" fmla="*/ 17 h 52"/>
              <a:gd name="T22" fmla="*/ 43 w 71"/>
              <a:gd name="T23" fmla="*/ 15 h 52"/>
              <a:gd name="T24" fmla="*/ 36 w 71"/>
              <a:gd name="T25" fmla="*/ 8 h 52"/>
              <a:gd name="T26" fmla="*/ 31 w 71"/>
              <a:gd name="T27" fmla="*/ 10 h 52"/>
              <a:gd name="T28" fmla="*/ 29 w 71"/>
              <a:gd name="T29" fmla="*/ 17 h 52"/>
              <a:gd name="T30" fmla="*/ 32 w 71"/>
              <a:gd name="T31" fmla="*/ 17 h 52"/>
              <a:gd name="T32" fmla="*/ 40 w 71"/>
              <a:gd name="T33" fmla="*/ 15 h 52"/>
              <a:gd name="T34" fmla="*/ 36 w 71"/>
              <a:gd name="T35" fmla="*/ 11 h 52"/>
              <a:gd name="T36" fmla="*/ 33 w 71"/>
              <a:gd name="T37" fmla="*/ 12 h 52"/>
              <a:gd name="T38" fmla="*/ 32 w 71"/>
              <a:gd name="T39" fmla="*/ 17 h 52"/>
              <a:gd name="T40" fmla="*/ 27 w 71"/>
              <a:gd name="T41" fmla="*/ 30 h 52"/>
              <a:gd name="T42" fmla="*/ 28 w 71"/>
              <a:gd name="T43" fmla="*/ 32 h 52"/>
              <a:gd name="T44" fmla="*/ 45 w 71"/>
              <a:gd name="T45" fmla="*/ 32 h 52"/>
              <a:gd name="T46" fmla="*/ 44 w 71"/>
              <a:gd name="T47" fmla="*/ 29 h 52"/>
              <a:gd name="T48" fmla="*/ 28 w 71"/>
              <a:gd name="T49" fmla="*/ 25 h 52"/>
              <a:gd name="T50" fmla="*/ 27 w 71"/>
              <a:gd name="T51" fmla="*/ 28 h 52"/>
              <a:gd name="T52" fmla="*/ 44 w 71"/>
              <a:gd name="T53" fmla="*/ 28 h 52"/>
              <a:gd name="T54" fmla="*/ 45 w 71"/>
              <a:gd name="T55" fmla="*/ 26 h 52"/>
              <a:gd name="T56" fmla="*/ 28 w 71"/>
              <a:gd name="T57" fmla="*/ 25 h 52"/>
              <a:gd name="T58" fmla="*/ 27 w 71"/>
              <a:gd name="T59" fmla="*/ 22 h 52"/>
              <a:gd name="T60" fmla="*/ 28 w 71"/>
              <a:gd name="T61" fmla="*/ 24 h 52"/>
              <a:gd name="T62" fmla="*/ 45 w 71"/>
              <a:gd name="T63" fmla="*/ 24 h 52"/>
              <a:gd name="T64" fmla="*/ 44 w 71"/>
              <a:gd name="T65" fmla="*/ 21 h 52"/>
              <a:gd name="T66" fmla="*/ 32 w 71"/>
              <a:gd name="T67" fmla="*/ 44 h 52"/>
              <a:gd name="T68" fmla="*/ 42 w 71"/>
              <a:gd name="T69" fmla="*/ 48 h 52"/>
              <a:gd name="T70" fmla="*/ 32 w 71"/>
              <a:gd name="T71" fmla="*/ 44 h 52"/>
              <a:gd name="T72" fmla="*/ 11 w 71"/>
              <a:gd name="T73" fmla="*/ 36 h 52"/>
              <a:gd name="T74" fmla="*/ 60 w 71"/>
              <a:gd name="T75"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1" h="52">
                <a:moveTo>
                  <a:pt x="11" y="0"/>
                </a:moveTo>
                <a:cubicBezTo>
                  <a:pt x="60" y="0"/>
                  <a:pt x="60" y="0"/>
                  <a:pt x="60" y="0"/>
                </a:cubicBezTo>
                <a:cubicBezTo>
                  <a:pt x="63" y="0"/>
                  <a:pt x="65" y="3"/>
                  <a:pt x="65" y="5"/>
                </a:cubicBezTo>
                <a:cubicBezTo>
                  <a:pt x="65" y="35"/>
                  <a:pt x="65" y="35"/>
                  <a:pt x="65" y="35"/>
                </a:cubicBezTo>
                <a:cubicBezTo>
                  <a:pt x="65" y="37"/>
                  <a:pt x="64" y="39"/>
                  <a:pt x="61" y="40"/>
                </a:cubicBezTo>
                <a:cubicBezTo>
                  <a:pt x="71" y="47"/>
                  <a:pt x="71" y="47"/>
                  <a:pt x="71" y="47"/>
                </a:cubicBezTo>
                <a:cubicBezTo>
                  <a:pt x="71" y="52"/>
                  <a:pt x="71" y="52"/>
                  <a:pt x="71" y="52"/>
                </a:cubicBezTo>
                <a:cubicBezTo>
                  <a:pt x="0" y="52"/>
                  <a:pt x="0" y="52"/>
                  <a:pt x="0" y="52"/>
                </a:cubicBezTo>
                <a:cubicBezTo>
                  <a:pt x="0" y="47"/>
                  <a:pt x="0" y="47"/>
                  <a:pt x="0" y="47"/>
                </a:cubicBezTo>
                <a:cubicBezTo>
                  <a:pt x="10" y="40"/>
                  <a:pt x="10" y="40"/>
                  <a:pt x="10" y="40"/>
                </a:cubicBezTo>
                <a:cubicBezTo>
                  <a:pt x="10" y="40"/>
                  <a:pt x="10" y="40"/>
                  <a:pt x="10" y="40"/>
                </a:cubicBezTo>
                <a:cubicBezTo>
                  <a:pt x="8" y="39"/>
                  <a:pt x="6" y="37"/>
                  <a:pt x="6" y="35"/>
                </a:cubicBezTo>
                <a:cubicBezTo>
                  <a:pt x="6" y="5"/>
                  <a:pt x="6" y="5"/>
                  <a:pt x="6" y="5"/>
                </a:cubicBezTo>
                <a:cubicBezTo>
                  <a:pt x="6" y="3"/>
                  <a:pt x="8" y="0"/>
                  <a:pt x="11" y="0"/>
                </a:cubicBezTo>
                <a:close/>
                <a:moveTo>
                  <a:pt x="28" y="17"/>
                </a:moveTo>
                <a:cubicBezTo>
                  <a:pt x="27" y="17"/>
                  <a:pt x="27" y="18"/>
                  <a:pt x="27" y="18"/>
                </a:cubicBezTo>
                <a:cubicBezTo>
                  <a:pt x="27" y="20"/>
                  <a:pt x="27" y="20"/>
                  <a:pt x="27" y="20"/>
                </a:cubicBezTo>
                <a:cubicBezTo>
                  <a:pt x="27" y="20"/>
                  <a:pt x="27" y="21"/>
                  <a:pt x="28" y="21"/>
                </a:cubicBezTo>
                <a:cubicBezTo>
                  <a:pt x="44" y="21"/>
                  <a:pt x="44" y="21"/>
                  <a:pt x="44" y="21"/>
                </a:cubicBezTo>
                <a:cubicBezTo>
                  <a:pt x="44" y="21"/>
                  <a:pt x="45" y="20"/>
                  <a:pt x="45" y="20"/>
                </a:cubicBezTo>
                <a:cubicBezTo>
                  <a:pt x="45" y="18"/>
                  <a:pt x="45" y="18"/>
                  <a:pt x="45" y="18"/>
                </a:cubicBezTo>
                <a:cubicBezTo>
                  <a:pt x="45" y="18"/>
                  <a:pt x="44" y="17"/>
                  <a:pt x="44" y="17"/>
                </a:cubicBezTo>
                <a:cubicBezTo>
                  <a:pt x="43" y="17"/>
                  <a:pt x="43" y="17"/>
                  <a:pt x="43" y="17"/>
                </a:cubicBezTo>
                <a:cubicBezTo>
                  <a:pt x="43" y="15"/>
                  <a:pt x="43" y="15"/>
                  <a:pt x="43" y="15"/>
                </a:cubicBezTo>
                <a:cubicBezTo>
                  <a:pt x="43" y="13"/>
                  <a:pt x="42" y="11"/>
                  <a:pt x="41" y="10"/>
                </a:cubicBezTo>
                <a:cubicBezTo>
                  <a:pt x="40" y="9"/>
                  <a:pt x="38" y="8"/>
                  <a:pt x="36" y="8"/>
                </a:cubicBezTo>
                <a:cubicBezTo>
                  <a:pt x="36" y="8"/>
                  <a:pt x="36" y="8"/>
                  <a:pt x="36" y="8"/>
                </a:cubicBezTo>
                <a:cubicBezTo>
                  <a:pt x="34" y="8"/>
                  <a:pt x="32" y="9"/>
                  <a:pt x="31" y="10"/>
                </a:cubicBezTo>
                <a:cubicBezTo>
                  <a:pt x="30" y="11"/>
                  <a:pt x="29" y="13"/>
                  <a:pt x="29" y="15"/>
                </a:cubicBezTo>
                <a:cubicBezTo>
                  <a:pt x="29" y="17"/>
                  <a:pt x="29" y="17"/>
                  <a:pt x="29" y="17"/>
                </a:cubicBezTo>
                <a:cubicBezTo>
                  <a:pt x="28" y="17"/>
                  <a:pt x="28" y="17"/>
                  <a:pt x="28" y="17"/>
                </a:cubicBezTo>
                <a:close/>
                <a:moveTo>
                  <a:pt x="32" y="17"/>
                </a:moveTo>
                <a:cubicBezTo>
                  <a:pt x="40" y="17"/>
                  <a:pt x="40" y="17"/>
                  <a:pt x="40" y="17"/>
                </a:cubicBezTo>
                <a:cubicBezTo>
                  <a:pt x="40" y="15"/>
                  <a:pt x="40" y="15"/>
                  <a:pt x="40" y="15"/>
                </a:cubicBezTo>
                <a:cubicBezTo>
                  <a:pt x="40" y="14"/>
                  <a:pt x="39" y="13"/>
                  <a:pt x="39" y="12"/>
                </a:cubicBezTo>
                <a:cubicBezTo>
                  <a:pt x="38" y="12"/>
                  <a:pt x="37" y="11"/>
                  <a:pt x="36" y="11"/>
                </a:cubicBezTo>
                <a:cubicBezTo>
                  <a:pt x="36" y="11"/>
                  <a:pt x="36" y="11"/>
                  <a:pt x="36" y="11"/>
                </a:cubicBezTo>
                <a:cubicBezTo>
                  <a:pt x="35" y="11"/>
                  <a:pt x="34" y="12"/>
                  <a:pt x="33" y="12"/>
                </a:cubicBezTo>
                <a:cubicBezTo>
                  <a:pt x="32" y="13"/>
                  <a:pt x="32" y="14"/>
                  <a:pt x="32" y="15"/>
                </a:cubicBezTo>
                <a:cubicBezTo>
                  <a:pt x="32" y="17"/>
                  <a:pt x="32" y="17"/>
                  <a:pt x="32" y="17"/>
                </a:cubicBezTo>
                <a:close/>
                <a:moveTo>
                  <a:pt x="28" y="29"/>
                </a:moveTo>
                <a:cubicBezTo>
                  <a:pt x="27" y="29"/>
                  <a:pt x="27" y="30"/>
                  <a:pt x="27" y="30"/>
                </a:cubicBezTo>
                <a:cubicBezTo>
                  <a:pt x="27" y="32"/>
                  <a:pt x="27" y="32"/>
                  <a:pt x="27" y="32"/>
                </a:cubicBezTo>
                <a:cubicBezTo>
                  <a:pt x="27" y="32"/>
                  <a:pt x="27" y="32"/>
                  <a:pt x="28" y="32"/>
                </a:cubicBezTo>
                <a:cubicBezTo>
                  <a:pt x="44" y="32"/>
                  <a:pt x="44" y="32"/>
                  <a:pt x="44" y="32"/>
                </a:cubicBezTo>
                <a:cubicBezTo>
                  <a:pt x="44" y="32"/>
                  <a:pt x="45" y="32"/>
                  <a:pt x="45" y="32"/>
                </a:cubicBezTo>
                <a:cubicBezTo>
                  <a:pt x="45" y="30"/>
                  <a:pt x="45" y="30"/>
                  <a:pt x="45" y="30"/>
                </a:cubicBezTo>
                <a:cubicBezTo>
                  <a:pt x="45" y="30"/>
                  <a:pt x="44" y="29"/>
                  <a:pt x="44" y="29"/>
                </a:cubicBezTo>
                <a:cubicBezTo>
                  <a:pt x="28" y="29"/>
                  <a:pt x="28" y="29"/>
                  <a:pt x="28" y="29"/>
                </a:cubicBezTo>
                <a:close/>
                <a:moveTo>
                  <a:pt x="28" y="25"/>
                </a:moveTo>
                <a:cubicBezTo>
                  <a:pt x="27" y="25"/>
                  <a:pt x="27" y="25"/>
                  <a:pt x="27" y="26"/>
                </a:cubicBezTo>
                <a:cubicBezTo>
                  <a:pt x="27" y="28"/>
                  <a:pt x="27" y="28"/>
                  <a:pt x="27" y="28"/>
                </a:cubicBezTo>
                <a:cubicBezTo>
                  <a:pt x="27" y="28"/>
                  <a:pt x="27" y="28"/>
                  <a:pt x="28" y="28"/>
                </a:cubicBezTo>
                <a:cubicBezTo>
                  <a:pt x="44" y="28"/>
                  <a:pt x="44" y="28"/>
                  <a:pt x="44" y="28"/>
                </a:cubicBezTo>
                <a:cubicBezTo>
                  <a:pt x="44" y="28"/>
                  <a:pt x="45" y="28"/>
                  <a:pt x="45" y="28"/>
                </a:cubicBezTo>
                <a:cubicBezTo>
                  <a:pt x="45" y="26"/>
                  <a:pt x="45" y="26"/>
                  <a:pt x="45" y="26"/>
                </a:cubicBezTo>
                <a:cubicBezTo>
                  <a:pt x="45" y="25"/>
                  <a:pt x="44" y="25"/>
                  <a:pt x="44" y="25"/>
                </a:cubicBezTo>
                <a:cubicBezTo>
                  <a:pt x="28" y="25"/>
                  <a:pt x="28" y="25"/>
                  <a:pt x="28" y="25"/>
                </a:cubicBezTo>
                <a:close/>
                <a:moveTo>
                  <a:pt x="28" y="21"/>
                </a:moveTo>
                <a:cubicBezTo>
                  <a:pt x="27" y="21"/>
                  <a:pt x="27" y="22"/>
                  <a:pt x="27" y="22"/>
                </a:cubicBezTo>
                <a:cubicBezTo>
                  <a:pt x="27" y="24"/>
                  <a:pt x="27" y="24"/>
                  <a:pt x="27" y="24"/>
                </a:cubicBezTo>
                <a:cubicBezTo>
                  <a:pt x="27" y="24"/>
                  <a:pt x="27" y="24"/>
                  <a:pt x="28" y="24"/>
                </a:cubicBezTo>
                <a:cubicBezTo>
                  <a:pt x="44" y="24"/>
                  <a:pt x="44" y="24"/>
                  <a:pt x="44" y="24"/>
                </a:cubicBezTo>
                <a:cubicBezTo>
                  <a:pt x="44" y="24"/>
                  <a:pt x="45" y="24"/>
                  <a:pt x="45" y="24"/>
                </a:cubicBezTo>
                <a:cubicBezTo>
                  <a:pt x="45" y="22"/>
                  <a:pt x="45" y="22"/>
                  <a:pt x="45" y="22"/>
                </a:cubicBezTo>
                <a:cubicBezTo>
                  <a:pt x="45" y="22"/>
                  <a:pt x="44" y="21"/>
                  <a:pt x="44" y="21"/>
                </a:cubicBezTo>
                <a:cubicBezTo>
                  <a:pt x="28" y="21"/>
                  <a:pt x="28" y="21"/>
                  <a:pt x="28" y="21"/>
                </a:cubicBezTo>
                <a:close/>
                <a:moveTo>
                  <a:pt x="32" y="44"/>
                </a:moveTo>
                <a:cubicBezTo>
                  <a:pt x="30" y="48"/>
                  <a:pt x="30" y="48"/>
                  <a:pt x="30" y="48"/>
                </a:cubicBezTo>
                <a:cubicBezTo>
                  <a:pt x="42" y="48"/>
                  <a:pt x="42" y="48"/>
                  <a:pt x="42" y="48"/>
                </a:cubicBezTo>
                <a:cubicBezTo>
                  <a:pt x="39" y="44"/>
                  <a:pt x="39" y="44"/>
                  <a:pt x="39" y="44"/>
                </a:cubicBezTo>
                <a:cubicBezTo>
                  <a:pt x="32" y="44"/>
                  <a:pt x="32" y="44"/>
                  <a:pt x="32" y="44"/>
                </a:cubicBezTo>
                <a:close/>
                <a:moveTo>
                  <a:pt x="11" y="6"/>
                </a:moveTo>
                <a:cubicBezTo>
                  <a:pt x="11" y="36"/>
                  <a:pt x="11" y="36"/>
                  <a:pt x="11" y="36"/>
                </a:cubicBezTo>
                <a:cubicBezTo>
                  <a:pt x="60" y="36"/>
                  <a:pt x="60" y="36"/>
                  <a:pt x="60" y="36"/>
                </a:cubicBezTo>
                <a:cubicBezTo>
                  <a:pt x="60" y="6"/>
                  <a:pt x="60" y="6"/>
                  <a:pt x="60" y="6"/>
                </a:cubicBezTo>
                <a:lnTo>
                  <a:pt x="11" y="6"/>
                </a:lnTo>
                <a:close/>
              </a:path>
            </a:pathLst>
          </a:custGeom>
          <a:solidFill>
            <a:schemeClr val="tx1"/>
          </a:solidFill>
          <a:ln>
            <a:noFill/>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474747"/>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58" name="Oval 57">
            <a:extLst>
              <a:ext uri="{FF2B5EF4-FFF2-40B4-BE49-F238E27FC236}">
                <a16:creationId xmlns:a16="http://schemas.microsoft.com/office/drawing/2014/main" id="{3C5DF7F8-D9C1-441F-A75A-C6E15DBF586C}"/>
              </a:ext>
            </a:extLst>
          </p:cNvPr>
          <p:cNvSpPr/>
          <p:nvPr/>
        </p:nvSpPr>
        <p:spPr>
          <a:xfrm>
            <a:off x="7124773" y="5037884"/>
            <a:ext cx="421200" cy="420781"/>
          </a:xfrm>
          <a:prstGeom prst="ellipse">
            <a:avLst/>
          </a:prstGeom>
          <a:solidFill>
            <a:schemeClr val="accent1"/>
          </a:solidFill>
          <a:ln w="6350" cap="flat" cmpd="sng" algn="ctr">
            <a:noFill/>
            <a:prstDash val="solid"/>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pic>
        <p:nvPicPr>
          <p:cNvPr id="60" name="Picture 59">
            <a:extLst>
              <a:ext uri="{FF2B5EF4-FFF2-40B4-BE49-F238E27FC236}">
                <a16:creationId xmlns:a16="http://schemas.microsoft.com/office/drawing/2014/main" id="{3A07A03C-5448-4E6D-9F4D-7A4817F90279}"/>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7206401" y="5085488"/>
            <a:ext cx="271918" cy="274726"/>
          </a:xfrm>
          <a:prstGeom prst="rect">
            <a:avLst/>
          </a:prstGeom>
          <a:ln>
            <a:noFill/>
          </a:ln>
        </p:spPr>
      </p:pic>
      <p:sp>
        <p:nvSpPr>
          <p:cNvPr id="37" name="Rounded Rectangle 143">
            <a:extLst>
              <a:ext uri="{FF2B5EF4-FFF2-40B4-BE49-F238E27FC236}">
                <a16:creationId xmlns:a16="http://schemas.microsoft.com/office/drawing/2014/main" id="{107F4F3F-EE0F-4B18-8711-B9C9E9EB7087}"/>
              </a:ext>
            </a:extLst>
          </p:cNvPr>
          <p:cNvSpPr/>
          <p:nvPr/>
        </p:nvSpPr>
        <p:spPr>
          <a:xfrm>
            <a:off x="3000815" y="2599071"/>
            <a:ext cx="3384655" cy="9685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16308" rIns="33231" bIns="84406" numCol="1" spcCol="0" rtlCol="0" fromWordArt="0" anchor="t" anchorCtr="0" forceAA="0" compatLnSpc="1">
            <a:prstTxWarp prst="textNoShape">
              <a:avLst/>
            </a:prstTxWarp>
            <a:noAutofit/>
          </a:bodyPr>
          <a:lstStyle/>
          <a:p>
            <a:pPr marL="155121" marR="0" lvl="1" indent="-155121" algn="l" defTabSz="844083" rtl="0" eaLnBrk="1" fontAlgn="base" latinLnBrk="0" hangingPunct="1">
              <a:lnSpc>
                <a:spcPct val="100000"/>
              </a:lnSpc>
              <a:spcBef>
                <a:spcPts val="0"/>
              </a:spcBef>
              <a:spcAft>
                <a:spcPct val="0"/>
              </a:spcAft>
              <a:buClr>
                <a:srgbClr val="3C3C3B"/>
              </a:buClr>
              <a:buSzPct val="100000"/>
              <a:buFont typeface="Wingdings" panose="05000000000000000000" pitchFamily="2" charset="2"/>
              <a:buChar char="§"/>
              <a:tabLst/>
              <a:defRPr/>
            </a:pPr>
            <a:r>
              <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½ hourly or hourly</a:t>
            </a:r>
          </a:p>
          <a:p>
            <a:pPr marL="155121" marR="0" lvl="1" indent="-155121" algn="l" defTabSz="844083" rtl="0" eaLnBrk="1" fontAlgn="base" latinLnBrk="0" hangingPunct="1">
              <a:lnSpc>
                <a:spcPct val="100000"/>
              </a:lnSpc>
              <a:spcBef>
                <a:spcPts val="0"/>
              </a:spcBef>
              <a:spcAft>
                <a:spcPct val="0"/>
              </a:spcAft>
              <a:buClr>
                <a:srgbClr val="3C3C3B"/>
              </a:buClr>
              <a:buSzPct val="100000"/>
              <a:buFont typeface="Wingdings" panose="05000000000000000000" pitchFamily="2" charset="2"/>
              <a:buChar char="§"/>
              <a:tabLst/>
              <a:defRPr/>
            </a:pPr>
            <a:r>
              <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terative modelling </a:t>
            </a:r>
          </a:p>
          <a:p>
            <a:pPr marL="155121" marR="0" lvl="1" indent="-155121" algn="l" defTabSz="844083" rtl="0" eaLnBrk="1" fontAlgn="base" latinLnBrk="0" hangingPunct="1">
              <a:lnSpc>
                <a:spcPct val="100000"/>
              </a:lnSpc>
              <a:spcBef>
                <a:spcPts val="0"/>
              </a:spcBef>
              <a:spcAft>
                <a:spcPct val="0"/>
              </a:spcAft>
              <a:buClr>
                <a:srgbClr val="3C3C3B"/>
              </a:buClr>
              <a:buSzPct val="100000"/>
              <a:buFont typeface="Wingdings" panose="05000000000000000000" pitchFamily="2" charset="2"/>
              <a:buChar char="§"/>
              <a:tabLst/>
              <a:defRPr/>
            </a:pPr>
            <a:r>
              <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ynamic dispatch of plant </a:t>
            </a:r>
          </a:p>
          <a:p>
            <a:pPr marL="155121" marR="0" lvl="1" indent="-155121" algn="l" defTabSz="844083" rtl="0" eaLnBrk="1" fontAlgn="base" latinLnBrk="0" hangingPunct="1">
              <a:lnSpc>
                <a:spcPct val="100000"/>
              </a:lnSpc>
              <a:spcBef>
                <a:spcPts val="0"/>
              </a:spcBef>
              <a:spcAft>
                <a:spcPct val="0"/>
              </a:spcAft>
              <a:buClr>
                <a:srgbClr val="3C3C3B"/>
              </a:buClr>
              <a:buSzPct val="100000"/>
              <a:buFont typeface="Wingdings" panose="05000000000000000000" pitchFamily="2" charset="2"/>
              <a:buChar char="§"/>
              <a:tabLst/>
              <a:defRPr/>
            </a:pPr>
            <a:r>
              <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ndogenous interconnector flows </a:t>
            </a:r>
          </a:p>
          <a:p>
            <a:pPr marL="155121" marR="0" lvl="1" indent="-155121" algn="l" defTabSz="844083" rtl="0" eaLnBrk="1" fontAlgn="base" latinLnBrk="0" hangingPunct="1">
              <a:lnSpc>
                <a:spcPct val="100000"/>
              </a:lnSpc>
              <a:spcBef>
                <a:spcPts val="0"/>
              </a:spcBef>
              <a:spcAft>
                <a:spcPct val="0"/>
              </a:spcAft>
              <a:buClr>
                <a:srgbClr val="3C3C3B"/>
              </a:buClr>
              <a:buSzPct val="100000"/>
              <a:buFont typeface="Wingdings" panose="05000000000000000000" pitchFamily="2" charset="2"/>
              <a:buChar char="§"/>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marL="0" marR="0" lvl="0" indent="0" algn="l" defTabSz="844083" rtl="0" eaLnBrk="1" fontAlgn="auto" latinLnBrk="0" hangingPunct="1">
              <a:lnSpc>
                <a:spcPct val="100000"/>
              </a:lnSpc>
              <a:spcBef>
                <a:spcPts val="0"/>
              </a:spcBef>
              <a:spcAft>
                <a:spcPts val="369"/>
              </a:spcAft>
              <a:buClrTx/>
              <a:buSzPct val="100000"/>
              <a:buFontTx/>
              <a:buNone/>
              <a:tabLst/>
              <a:defRPr/>
            </a:pPr>
            <a:endParaRPr kumimoji="0" lang="en-GB" sz="1200" b="0" i="0" u="none" strike="noStrike" kern="1200" cap="none" spc="0" normalizeH="0" baseline="0" noProof="0">
              <a:ln>
                <a:noFill/>
              </a:ln>
              <a:solidFill>
                <a:srgbClr val="3C3C3B"/>
              </a:solidFill>
              <a:effectLst/>
              <a:uLnTx/>
              <a:uFillTx/>
              <a:latin typeface="Lato  (body)"/>
              <a:ea typeface="+mn-ea"/>
              <a:cs typeface="+mn-cs"/>
            </a:endParaRPr>
          </a:p>
        </p:txBody>
      </p:sp>
      <p:sp>
        <p:nvSpPr>
          <p:cNvPr id="39" name="TextBox 38">
            <a:extLst>
              <a:ext uri="{FF2B5EF4-FFF2-40B4-BE49-F238E27FC236}">
                <a16:creationId xmlns:a16="http://schemas.microsoft.com/office/drawing/2014/main" id="{7116D9F3-628B-4C37-9BAF-AB749B3C4735}"/>
              </a:ext>
            </a:extLst>
          </p:cNvPr>
          <p:cNvSpPr txBox="1">
            <a:spLocks/>
          </p:cNvSpPr>
          <p:nvPr/>
        </p:nvSpPr>
        <p:spPr>
          <a:xfrm>
            <a:off x="2999575" y="2437752"/>
            <a:ext cx="3385661" cy="256591"/>
          </a:xfrm>
          <a:prstGeom prst="rect">
            <a:avLst/>
          </a:prstGeom>
          <a:solidFill>
            <a:schemeClr val="tx1"/>
          </a:solidFill>
          <a:ln>
            <a:noFill/>
          </a:ln>
        </p:spPr>
        <p:txBody>
          <a:bodyPr vert="horz" wrap="square" lIns="72000" tIns="0" rIns="0" bIns="0" rtlCol="0" anchor="ctr">
            <a:noAutofit/>
          </a:bodyPr>
          <a:lstStyle/>
          <a:p>
            <a:pPr marL="0" marR="0" lvl="0" indent="0" algn="l" defTabSz="844083" rtl="0" eaLnBrk="1" fontAlgn="auto" latinLnBrk="0" hangingPunct="1">
              <a:lnSpc>
                <a:spcPct val="114000"/>
              </a:lnSpc>
              <a:spcBef>
                <a:spcPts val="0"/>
              </a:spcBef>
              <a:spcAft>
                <a:spcPts val="554"/>
              </a:spcAft>
              <a:buClrTx/>
              <a:buSzPct val="100000"/>
              <a:buFontTx/>
              <a:buNone/>
              <a:tabLst/>
              <a:defRPr/>
            </a:pPr>
            <a:r>
              <a:rPr kumimoji="0" lang="en-GB" sz="1200" b="0"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spatch model</a:t>
            </a:r>
          </a:p>
        </p:txBody>
      </p:sp>
      <p:sp>
        <p:nvSpPr>
          <p:cNvPr id="40" name="TextBox 39">
            <a:extLst>
              <a:ext uri="{FF2B5EF4-FFF2-40B4-BE49-F238E27FC236}">
                <a16:creationId xmlns:a16="http://schemas.microsoft.com/office/drawing/2014/main" id="{B9A3BE98-A861-45F8-80B2-5875D95D2E8F}"/>
              </a:ext>
            </a:extLst>
          </p:cNvPr>
          <p:cNvSpPr txBox="1">
            <a:spLocks/>
          </p:cNvSpPr>
          <p:nvPr/>
        </p:nvSpPr>
        <p:spPr>
          <a:xfrm>
            <a:off x="2999575" y="4477595"/>
            <a:ext cx="3385661" cy="256591"/>
          </a:xfrm>
          <a:prstGeom prst="rect">
            <a:avLst/>
          </a:prstGeom>
          <a:solidFill>
            <a:schemeClr val="accent5"/>
          </a:solidFill>
          <a:ln>
            <a:noFill/>
          </a:ln>
        </p:spPr>
        <p:txBody>
          <a:bodyPr vert="horz" wrap="square" lIns="72000" tIns="0" rIns="0" bIns="0" rtlCol="0" anchor="ctr">
            <a:noAutofit/>
          </a:bodyPr>
          <a:lstStyle/>
          <a:p>
            <a:pPr marL="0" marR="0" lvl="0" indent="0" algn="l" defTabSz="844083" rtl="0" eaLnBrk="1" fontAlgn="auto" latinLnBrk="0" hangingPunct="1">
              <a:lnSpc>
                <a:spcPct val="114000"/>
              </a:lnSpc>
              <a:spcBef>
                <a:spcPts val="0"/>
              </a:spcBef>
              <a:spcAft>
                <a:spcPts val="554"/>
              </a:spcAft>
              <a:buClrTx/>
              <a:buSzPct val="100000"/>
              <a:buFontTx/>
              <a:buNone/>
              <a:tabLst/>
              <a:defRPr/>
            </a:pPr>
            <a:r>
              <a:rPr kumimoji="0" lang="en-GB" sz="1200" b="0"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vestment decisions module</a:t>
            </a:r>
          </a:p>
        </p:txBody>
      </p:sp>
      <p:sp>
        <p:nvSpPr>
          <p:cNvPr id="66" name="Shape 65">
            <a:extLst>
              <a:ext uri="{FF2B5EF4-FFF2-40B4-BE49-F238E27FC236}">
                <a16:creationId xmlns:a16="http://schemas.microsoft.com/office/drawing/2014/main" id="{E29C092D-5E7C-4A38-8B30-22B01F595BA1}"/>
              </a:ext>
            </a:extLst>
          </p:cNvPr>
          <p:cNvSpPr/>
          <p:nvPr/>
        </p:nvSpPr>
        <p:spPr>
          <a:xfrm rot="12947216" flipH="1">
            <a:off x="4139215" y="3620066"/>
            <a:ext cx="410506" cy="324677"/>
          </a:xfrm>
          <a:prstGeom prst="swooshArrow">
            <a:avLst>
              <a:gd name="adj1" fmla="val 28685"/>
              <a:gd name="adj2" fmla="val 25000"/>
            </a:avLst>
          </a:prstGeom>
          <a:solidFill>
            <a:schemeClr val="tx1"/>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595959">
                  <a:hueOff val="0"/>
                  <a:satOff val="0"/>
                  <a:lumOff val="0"/>
                  <a:alphaOff val="0"/>
                </a:srgbClr>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67" name="TextBox 66">
            <a:extLst>
              <a:ext uri="{FF2B5EF4-FFF2-40B4-BE49-F238E27FC236}">
                <a16:creationId xmlns:a16="http://schemas.microsoft.com/office/drawing/2014/main" id="{28327A96-E1A8-45B1-9462-901BE763D347}"/>
              </a:ext>
            </a:extLst>
          </p:cNvPr>
          <p:cNvSpPr txBox="1"/>
          <p:nvPr/>
        </p:nvSpPr>
        <p:spPr>
          <a:xfrm>
            <a:off x="3645612" y="4009921"/>
            <a:ext cx="2138155" cy="307166"/>
          </a:xfrm>
          <a:prstGeom prst="rect">
            <a:avLst/>
          </a:prstGeom>
        </p:spPr>
        <p:txBody>
          <a:bodyPr vert="horz" wrap="square" lIns="0" tIns="0" rIns="0" bIns="0" rtlCol="0">
            <a:noAutofit/>
          </a:bodyPr>
          <a:lstStyle/>
          <a:p>
            <a:pPr marL="0" marR="0" lvl="0" indent="0" algn="ctr" defTabSz="844083" rtl="0" eaLnBrk="1" fontAlgn="auto" latinLnBrk="0" hangingPunct="1">
              <a:lnSpc>
                <a:spcPct val="100000"/>
              </a:lnSpc>
              <a:spcBef>
                <a:spcPts val="0"/>
              </a:spcBef>
              <a:spcAft>
                <a:spcPts val="0"/>
              </a:spcAft>
              <a:buClrTx/>
              <a:buSzPct val="100000"/>
              <a:buFontTx/>
              <a:buNone/>
              <a:tabLst/>
              <a:defRPr/>
            </a:pPr>
            <a:r>
              <a:rPr kumimoji="0" lang="en-GB" sz="1200" b="1" i="0" u="none" strike="noStrike" kern="1200" cap="none" spc="0" normalizeH="0" baseline="0" noProof="0">
                <a:ln>
                  <a:noFill/>
                </a:ln>
                <a:solidFill>
                  <a:srgbClr val="474747"/>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tinuous iteration until an equilibrium is reached</a:t>
            </a:r>
          </a:p>
        </p:txBody>
      </p:sp>
      <p:sp>
        <p:nvSpPr>
          <p:cNvPr id="68" name="Shape 67">
            <a:extLst>
              <a:ext uri="{FF2B5EF4-FFF2-40B4-BE49-F238E27FC236}">
                <a16:creationId xmlns:a16="http://schemas.microsoft.com/office/drawing/2014/main" id="{C1DF290F-72C8-4BE7-A43B-4C9F4011C7D2}"/>
              </a:ext>
            </a:extLst>
          </p:cNvPr>
          <p:cNvSpPr/>
          <p:nvPr/>
        </p:nvSpPr>
        <p:spPr>
          <a:xfrm rot="2393930" flipH="1">
            <a:off x="4851978" y="3601009"/>
            <a:ext cx="410506" cy="324677"/>
          </a:xfrm>
          <a:prstGeom prst="swooshArrow">
            <a:avLst>
              <a:gd name="adj1" fmla="val 28685"/>
              <a:gd name="adj2" fmla="val 25000"/>
            </a:avLst>
          </a:prstGeom>
          <a:solidFill>
            <a:schemeClr val="accent5"/>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595959">
                  <a:hueOff val="0"/>
                  <a:satOff val="0"/>
                  <a:lumOff val="0"/>
                  <a:alphaOff val="0"/>
                </a:srgbClr>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113" name="Group 112">
            <a:extLst>
              <a:ext uri="{FF2B5EF4-FFF2-40B4-BE49-F238E27FC236}">
                <a16:creationId xmlns:a16="http://schemas.microsoft.com/office/drawing/2014/main" id="{E24B42E9-D6ED-466E-A15C-5BA411E09E24}"/>
              </a:ext>
            </a:extLst>
          </p:cNvPr>
          <p:cNvGrpSpPr/>
          <p:nvPr/>
        </p:nvGrpSpPr>
        <p:grpSpPr>
          <a:xfrm>
            <a:off x="4514489" y="3589773"/>
            <a:ext cx="401472" cy="361198"/>
            <a:chOff x="5698484" y="2819093"/>
            <a:chExt cx="225304" cy="202703"/>
          </a:xfrm>
        </p:grpSpPr>
        <p:sp>
          <p:nvSpPr>
            <p:cNvPr id="110" name="Freeform: Shape 109">
              <a:extLst>
                <a:ext uri="{FF2B5EF4-FFF2-40B4-BE49-F238E27FC236}">
                  <a16:creationId xmlns:a16="http://schemas.microsoft.com/office/drawing/2014/main" id="{A5289D76-F542-489B-B750-785BB3282271}"/>
                </a:ext>
              </a:extLst>
            </p:cNvPr>
            <p:cNvSpPr/>
            <p:nvPr/>
          </p:nvSpPr>
          <p:spPr>
            <a:xfrm>
              <a:off x="5710034" y="2819093"/>
              <a:ext cx="202704" cy="149702"/>
            </a:xfrm>
            <a:custGeom>
              <a:avLst/>
              <a:gdLst>
                <a:gd name="connsiteX0" fmla="*/ 64701 w 202704"/>
                <a:gd name="connsiteY0" fmla="*/ 131853 h 149702"/>
                <a:gd name="connsiteX1" fmla="*/ 23001 w 202704"/>
                <a:gd name="connsiteY1" fmla="*/ 133703 h 149702"/>
                <a:gd name="connsiteX2" fmla="*/ 83552 w 202704"/>
                <a:gd name="connsiteY2" fmla="*/ 123802 h 149702"/>
                <a:gd name="connsiteX3" fmla="*/ 36401 w 202704"/>
                <a:gd name="connsiteY3" fmla="*/ 96452 h 149702"/>
                <a:gd name="connsiteX4" fmla="*/ 91652 w 202704"/>
                <a:gd name="connsiteY4" fmla="*/ 118852 h 149702"/>
                <a:gd name="connsiteX5" fmla="*/ 76352 w 202704"/>
                <a:gd name="connsiteY5" fmla="*/ 88152 h 149702"/>
                <a:gd name="connsiteX6" fmla="*/ 98002 w 202704"/>
                <a:gd name="connsiteY6" fmla="*/ 116402 h 149702"/>
                <a:gd name="connsiteX7" fmla="*/ 100952 w 202704"/>
                <a:gd name="connsiteY7" fmla="*/ 54551 h 149702"/>
                <a:gd name="connsiteX8" fmla="*/ 104252 w 202704"/>
                <a:gd name="connsiteY8" fmla="*/ 116402 h 149702"/>
                <a:gd name="connsiteX9" fmla="*/ 126453 w 202704"/>
                <a:gd name="connsiteY9" fmla="*/ 88152 h 149702"/>
                <a:gd name="connsiteX10" fmla="*/ 110602 w 202704"/>
                <a:gd name="connsiteY10" fmla="*/ 118852 h 149702"/>
                <a:gd name="connsiteX11" fmla="*/ 165853 w 202704"/>
                <a:gd name="connsiteY11" fmla="*/ 96552 h 149702"/>
                <a:gd name="connsiteX12" fmla="*/ 118703 w 202704"/>
                <a:gd name="connsiteY12" fmla="*/ 123902 h 149702"/>
                <a:gd name="connsiteX13" fmla="*/ 178854 w 202704"/>
                <a:gd name="connsiteY13" fmla="*/ 134003 h 149702"/>
                <a:gd name="connsiteX14" fmla="*/ 138703 w 202704"/>
                <a:gd name="connsiteY14" fmla="*/ 132053 h 149702"/>
                <a:gd name="connsiteX15" fmla="*/ 190304 w 202704"/>
                <a:gd name="connsiteY15" fmla="*/ 149703 h 149702"/>
                <a:gd name="connsiteX16" fmla="*/ 202704 w 202704"/>
                <a:gd name="connsiteY16" fmla="*/ 101352 h 149702"/>
                <a:gd name="connsiteX17" fmla="*/ 101352 w 202704"/>
                <a:gd name="connsiteY17" fmla="*/ 0 h 149702"/>
                <a:gd name="connsiteX18" fmla="*/ 0 w 202704"/>
                <a:gd name="connsiteY18" fmla="*/ 101352 h 149702"/>
                <a:gd name="connsiteX19" fmla="*/ 12300 w 202704"/>
                <a:gd name="connsiteY19" fmla="*/ 149503 h 149702"/>
                <a:gd name="connsiteX20" fmla="*/ 64701 w 202704"/>
                <a:gd name="connsiteY20" fmla="*/ 131853 h 149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2704" h="149702">
                  <a:moveTo>
                    <a:pt x="64701" y="131853"/>
                  </a:moveTo>
                  <a:lnTo>
                    <a:pt x="23001" y="133703"/>
                  </a:lnTo>
                  <a:lnTo>
                    <a:pt x="83552" y="123802"/>
                  </a:lnTo>
                  <a:lnTo>
                    <a:pt x="36401" y="96452"/>
                  </a:lnTo>
                  <a:lnTo>
                    <a:pt x="91652" y="118852"/>
                  </a:lnTo>
                  <a:lnTo>
                    <a:pt x="76352" y="88152"/>
                  </a:lnTo>
                  <a:lnTo>
                    <a:pt x="98002" y="116402"/>
                  </a:lnTo>
                  <a:lnTo>
                    <a:pt x="100952" y="54551"/>
                  </a:lnTo>
                  <a:lnTo>
                    <a:pt x="104252" y="116402"/>
                  </a:lnTo>
                  <a:lnTo>
                    <a:pt x="126453" y="88152"/>
                  </a:lnTo>
                  <a:lnTo>
                    <a:pt x="110602" y="118852"/>
                  </a:lnTo>
                  <a:lnTo>
                    <a:pt x="165853" y="96552"/>
                  </a:lnTo>
                  <a:lnTo>
                    <a:pt x="118703" y="123902"/>
                  </a:lnTo>
                  <a:lnTo>
                    <a:pt x="178854" y="134003"/>
                  </a:lnTo>
                  <a:lnTo>
                    <a:pt x="138703" y="132053"/>
                  </a:lnTo>
                  <a:cubicBezTo>
                    <a:pt x="157503" y="135453"/>
                    <a:pt x="175004" y="141453"/>
                    <a:pt x="190304" y="149703"/>
                  </a:cubicBezTo>
                  <a:cubicBezTo>
                    <a:pt x="198154" y="135353"/>
                    <a:pt x="202704" y="118902"/>
                    <a:pt x="202704" y="101352"/>
                  </a:cubicBezTo>
                  <a:cubicBezTo>
                    <a:pt x="202704" y="45401"/>
                    <a:pt x="157303" y="0"/>
                    <a:pt x="101352" y="0"/>
                  </a:cubicBezTo>
                  <a:cubicBezTo>
                    <a:pt x="45401" y="0"/>
                    <a:pt x="0" y="45401"/>
                    <a:pt x="0" y="101352"/>
                  </a:cubicBezTo>
                  <a:cubicBezTo>
                    <a:pt x="0" y="118802"/>
                    <a:pt x="4500" y="135203"/>
                    <a:pt x="12300" y="149503"/>
                  </a:cubicBezTo>
                  <a:cubicBezTo>
                    <a:pt x="27801" y="141253"/>
                    <a:pt x="45551" y="135203"/>
                    <a:pt x="64701" y="131853"/>
                  </a:cubicBezTo>
                  <a:close/>
                </a:path>
              </a:pathLst>
            </a:custGeom>
            <a:solidFill>
              <a:srgbClr val="FFCC00"/>
            </a:solidFill>
            <a:ln w="49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1" name="Freeform: Shape 110">
              <a:extLst>
                <a:ext uri="{FF2B5EF4-FFF2-40B4-BE49-F238E27FC236}">
                  <a16:creationId xmlns:a16="http://schemas.microsoft.com/office/drawing/2014/main" id="{A3830B2D-9D16-4C70-BC94-261E645EEB07}"/>
                </a:ext>
              </a:extLst>
            </p:cNvPr>
            <p:cNvSpPr/>
            <p:nvPr/>
          </p:nvSpPr>
          <p:spPr>
            <a:xfrm>
              <a:off x="5722284" y="2873644"/>
              <a:ext cx="178053" cy="99601"/>
            </a:xfrm>
            <a:custGeom>
              <a:avLst/>
              <a:gdLst>
                <a:gd name="connsiteX0" fmla="*/ 2550 w 178053"/>
                <a:gd name="connsiteY0" fmla="*/ 99352 h 99601"/>
                <a:gd name="connsiteX1" fmla="*/ 23601 w 178053"/>
                <a:gd name="connsiteY1" fmla="*/ 90102 h 99601"/>
                <a:gd name="connsiteX2" fmla="*/ 24001 w 178053"/>
                <a:gd name="connsiteY2" fmla="*/ 89952 h 99601"/>
                <a:gd name="connsiteX3" fmla="*/ 31601 w 178053"/>
                <a:gd name="connsiteY3" fmla="*/ 87452 h 99601"/>
                <a:gd name="connsiteX4" fmla="*/ 31651 w 178053"/>
                <a:gd name="connsiteY4" fmla="*/ 87452 h 99601"/>
                <a:gd name="connsiteX5" fmla="*/ 31651 w 178053"/>
                <a:gd name="connsiteY5" fmla="*/ 87452 h 99601"/>
                <a:gd name="connsiteX6" fmla="*/ 88852 w 178053"/>
                <a:gd name="connsiteY6" fmla="*/ 79202 h 99601"/>
                <a:gd name="connsiteX7" fmla="*/ 146303 w 178053"/>
                <a:gd name="connsiteY7" fmla="*/ 87552 h 99601"/>
                <a:gd name="connsiteX8" fmla="*/ 146303 w 178053"/>
                <a:gd name="connsiteY8" fmla="*/ 87552 h 99601"/>
                <a:gd name="connsiteX9" fmla="*/ 146303 w 178053"/>
                <a:gd name="connsiteY9" fmla="*/ 87552 h 99601"/>
                <a:gd name="connsiteX10" fmla="*/ 153953 w 178053"/>
                <a:gd name="connsiteY10" fmla="*/ 90102 h 99601"/>
                <a:gd name="connsiteX11" fmla="*/ 154353 w 178053"/>
                <a:gd name="connsiteY11" fmla="*/ 90252 h 99601"/>
                <a:gd name="connsiteX12" fmla="*/ 175504 w 178053"/>
                <a:gd name="connsiteY12" fmla="*/ 99602 h 99601"/>
                <a:gd name="connsiteX13" fmla="*/ 178054 w 178053"/>
                <a:gd name="connsiteY13" fmla="*/ 95252 h 99601"/>
                <a:gd name="connsiteX14" fmla="*/ 126453 w 178053"/>
                <a:gd name="connsiteY14" fmla="*/ 77602 h 99601"/>
                <a:gd name="connsiteX15" fmla="*/ 166604 w 178053"/>
                <a:gd name="connsiteY15" fmla="*/ 79552 h 99601"/>
                <a:gd name="connsiteX16" fmla="*/ 106452 w 178053"/>
                <a:gd name="connsiteY16" fmla="*/ 69351 h 99601"/>
                <a:gd name="connsiteX17" fmla="*/ 153603 w 178053"/>
                <a:gd name="connsiteY17" fmla="*/ 42001 h 99601"/>
                <a:gd name="connsiteX18" fmla="*/ 98352 w 178053"/>
                <a:gd name="connsiteY18" fmla="*/ 64301 h 99601"/>
                <a:gd name="connsiteX19" fmla="*/ 114202 w 178053"/>
                <a:gd name="connsiteY19" fmla="*/ 33601 h 99601"/>
                <a:gd name="connsiteX20" fmla="*/ 92002 w 178053"/>
                <a:gd name="connsiteY20" fmla="*/ 61851 h 99601"/>
                <a:gd name="connsiteX21" fmla="*/ 88702 w 178053"/>
                <a:gd name="connsiteY21" fmla="*/ 0 h 99601"/>
                <a:gd name="connsiteX22" fmla="*/ 85752 w 178053"/>
                <a:gd name="connsiteY22" fmla="*/ 61851 h 99601"/>
                <a:gd name="connsiteX23" fmla="*/ 64101 w 178053"/>
                <a:gd name="connsiteY23" fmla="*/ 33601 h 99601"/>
                <a:gd name="connsiteX24" fmla="*/ 79402 w 178053"/>
                <a:gd name="connsiteY24" fmla="*/ 64301 h 99601"/>
                <a:gd name="connsiteX25" fmla="*/ 24151 w 178053"/>
                <a:gd name="connsiteY25" fmla="*/ 41901 h 99601"/>
                <a:gd name="connsiteX26" fmla="*/ 71302 w 178053"/>
                <a:gd name="connsiteY26" fmla="*/ 69251 h 99601"/>
                <a:gd name="connsiteX27" fmla="*/ 10750 w 178053"/>
                <a:gd name="connsiteY27" fmla="*/ 79152 h 99601"/>
                <a:gd name="connsiteX28" fmla="*/ 52451 w 178053"/>
                <a:gd name="connsiteY28" fmla="*/ 77302 h 99601"/>
                <a:gd name="connsiteX29" fmla="*/ 0 w 178053"/>
                <a:gd name="connsiteY29" fmla="*/ 95002 h 99601"/>
                <a:gd name="connsiteX30" fmla="*/ 2550 w 178053"/>
                <a:gd name="connsiteY30" fmla="*/ 99352 h 99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78053" h="99601">
                  <a:moveTo>
                    <a:pt x="2550" y="99352"/>
                  </a:moveTo>
                  <a:cubicBezTo>
                    <a:pt x="9150" y="95852"/>
                    <a:pt x="16150" y="92752"/>
                    <a:pt x="23601" y="90102"/>
                  </a:cubicBezTo>
                  <a:cubicBezTo>
                    <a:pt x="23751" y="90052"/>
                    <a:pt x="23851" y="90002"/>
                    <a:pt x="24001" y="89952"/>
                  </a:cubicBezTo>
                  <a:cubicBezTo>
                    <a:pt x="26501" y="89052"/>
                    <a:pt x="29051" y="88202"/>
                    <a:pt x="31601" y="87452"/>
                  </a:cubicBezTo>
                  <a:cubicBezTo>
                    <a:pt x="31601" y="87452"/>
                    <a:pt x="31601" y="87452"/>
                    <a:pt x="31651" y="87452"/>
                  </a:cubicBezTo>
                  <a:lnTo>
                    <a:pt x="31651" y="87452"/>
                  </a:lnTo>
                  <a:cubicBezTo>
                    <a:pt x="49101" y="82152"/>
                    <a:pt x="68451" y="79202"/>
                    <a:pt x="88852" y="79202"/>
                  </a:cubicBezTo>
                  <a:cubicBezTo>
                    <a:pt x="109352" y="79202"/>
                    <a:pt x="128803" y="82202"/>
                    <a:pt x="146303" y="87552"/>
                  </a:cubicBezTo>
                  <a:lnTo>
                    <a:pt x="146303" y="87552"/>
                  </a:lnTo>
                  <a:cubicBezTo>
                    <a:pt x="146303" y="87552"/>
                    <a:pt x="146303" y="87552"/>
                    <a:pt x="146303" y="87552"/>
                  </a:cubicBezTo>
                  <a:cubicBezTo>
                    <a:pt x="148903" y="88352"/>
                    <a:pt x="151453" y="89202"/>
                    <a:pt x="153953" y="90102"/>
                  </a:cubicBezTo>
                  <a:cubicBezTo>
                    <a:pt x="154103" y="90152"/>
                    <a:pt x="154203" y="90202"/>
                    <a:pt x="154353" y="90252"/>
                  </a:cubicBezTo>
                  <a:cubicBezTo>
                    <a:pt x="161853" y="92952"/>
                    <a:pt x="168904" y="96052"/>
                    <a:pt x="175504" y="99602"/>
                  </a:cubicBezTo>
                  <a:cubicBezTo>
                    <a:pt x="176404" y="98152"/>
                    <a:pt x="177204" y="96702"/>
                    <a:pt x="178054" y="95252"/>
                  </a:cubicBezTo>
                  <a:cubicBezTo>
                    <a:pt x="162753" y="87052"/>
                    <a:pt x="145303" y="81052"/>
                    <a:pt x="126453" y="77602"/>
                  </a:cubicBezTo>
                  <a:lnTo>
                    <a:pt x="166604" y="79552"/>
                  </a:lnTo>
                  <a:lnTo>
                    <a:pt x="106452" y="69351"/>
                  </a:lnTo>
                  <a:lnTo>
                    <a:pt x="153603" y="42001"/>
                  </a:lnTo>
                  <a:lnTo>
                    <a:pt x="98352" y="64301"/>
                  </a:lnTo>
                  <a:lnTo>
                    <a:pt x="114202" y="33601"/>
                  </a:lnTo>
                  <a:lnTo>
                    <a:pt x="92002" y="61851"/>
                  </a:lnTo>
                  <a:lnTo>
                    <a:pt x="88702" y="0"/>
                  </a:lnTo>
                  <a:lnTo>
                    <a:pt x="85752" y="61851"/>
                  </a:lnTo>
                  <a:lnTo>
                    <a:pt x="64101" y="33601"/>
                  </a:lnTo>
                  <a:lnTo>
                    <a:pt x="79402" y="64301"/>
                  </a:lnTo>
                  <a:lnTo>
                    <a:pt x="24151" y="41901"/>
                  </a:lnTo>
                  <a:lnTo>
                    <a:pt x="71302" y="69251"/>
                  </a:lnTo>
                  <a:lnTo>
                    <a:pt x="10750" y="79152"/>
                  </a:lnTo>
                  <a:lnTo>
                    <a:pt x="52451" y="77302"/>
                  </a:lnTo>
                  <a:cubicBezTo>
                    <a:pt x="33301" y="80652"/>
                    <a:pt x="15550" y="86702"/>
                    <a:pt x="0" y="95002"/>
                  </a:cubicBezTo>
                  <a:cubicBezTo>
                    <a:pt x="800" y="96452"/>
                    <a:pt x="1650" y="97902"/>
                    <a:pt x="2550" y="99352"/>
                  </a:cubicBezTo>
                  <a:close/>
                </a:path>
              </a:pathLst>
            </a:custGeom>
            <a:solidFill>
              <a:srgbClr val="FFFFFF"/>
            </a:solidFill>
            <a:ln w="49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2" name="Freeform: Shape 111">
              <a:extLst>
                <a:ext uri="{FF2B5EF4-FFF2-40B4-BE49-F238E27FC236}">
                  <a16:creationId xmlns:a16="http://schemas.microsoft.com/office/drawing/2014/main" id="{8E840111-43EC-4EA6-B732-38A0F1EE2C8C}"/>
                </a:ext>
              </a:extLst>
            </p:cNvPr>
            <p:cNvSpPr/>
            <p:nvPr/>
          </p:nvSpPr>
          <p:spPr>
            <a:xfrm>
              <a:off x="5698484" y="2952795"/>
              <a:ext cx="225304" cy="69001"/>
            </a:xfrm>
            <a:custGeom>
              <a:avLst/>
              <a:gdLst>
                <a:gd name="connsiteX0" fmla="*/ 225305 w 225304"/>
                <a:gd name="connsiteY0" fmla="*/ 38501 h 69001"/>
                <a:gd name="connsiteX1" fmla="*/ 112652 w 225304"/>
                <a:gd name="connsiteY1" fmla="*/ 0 h 69001"/>
                <a:gd name="connsiteX2" fmla="*/ 0 w 225304"/>
                <a:gd name="connsiteY2" fmla="*/ 38501 h 69001"/>
                <a:gd name="connsiteX3" fmla="*/ 32251 w 225304"/>
                <a:gd name="connsiteY3" fmla="*/ 28951 h 69001"/>
                <a:gd name="connsiteX4" fmla="*/ 112802 w 225304"/>
                <a:gd name="connsiteY4" fmla="*/ 69001 h 69001"/>
                <a:gd name="connsiteX5" fmla="*/ 193304 w 225304"/>
                <a:gd name="connsiteY5" fmla="*/ 29051 h 69001"/>
                <a:gd name="connsiteX6" fmla="*/ 225305 w 225304"/>
                <a:gd name="connsiteY6" fmla="*/ 38501 h 6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304" h="69001">
                  <a:moveTo>
                    <a:pt x="225305" y="38501"/>
                  </a:moveTo>
                  <a:cubicBezTo>
                    <a:pt x="199904" y="15150"/>
                    <a:pt x="158903" y="0"/>
                    <a:pt x="112652" y="0"/>
                  </a:cubicBezTo>
                  <a:cubicBezTo>
                    <a:pt x="66401" y="0"/>
                    <a:pt x="25451" y="15150"/>
                    <a:pt x="0" y="38501"/>
                  </a:cubicBezTo>
                  <a:cubicBezTo>
                    <a:pt x="10000" y="34801"/>
                    <a:pt x="20850" y="31651"/>
                    <a:pt x="32251" y="28951"/>
                  </a:cubicBezTo>
                  <a:cubicBezTo>
                    <a:pt x="50751" y="53251"/>
                    <a:pt x="79902" y="69001"/>
                    <a:pt x="112802" y="69001"/>
                  </a:cubicBezTo>
                  <a:cubicBezTo>
                    <a:pt x="145653" y="69001"/>
                    <a:pt x="174804" y="53301"/>
                    <a:pt x="193304" y="29051"/>
                  </a:cubicBezTo>
                  <a:cubicBezTo>
                    <a:pt x="204604" y="31751"/>
                    <a:pt x="215355" y="34851"/>
                    <a:pt x="225305" y="38501"/>
                  </a:cubicBezTo>
                  <a:close/>
                </a:path>
              </a:pathLst>
            </a:custGeom>
            <a:solidFill>
              <a:srgbClr val="3C3C3B"/>
            </a:solidFill>
            <a:ln w="498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130" name="IsoscelesTriangle122">
            <a:extLst>
              <a:ext uri="{FF2B5EF4-FFF2-40B4-BE49-F238E27FC236}">
                <a16:creationId xmlns:a16="http://schemas.microsoft.com/office/drawing/2014/main" id="{F9896D6C-785A-4F9D-80F2-5C8CF658C256}"/>
              </a:ext>
            </a:extLst>
          </p:cNvPr>
          <p:cNvSpPr/>
          <p:nvPr/>
        </p:nvSpPr>
        <p:spPr>
          <a:xfrm rot="5400000">
            <a:off x="2453419" y="2477936"/>
            <a:ext cx="361950" cy="155575"/>
          </a:xfrm>
          <a:prstGeom prst="triangle">
            <a:avLst/>
          </a:prstGeom>
          <a:solidFill>
            <a:schemeClr val="tx1"/>
          </a:solidFill>
          <a:ln w="22225" cmpd="sng">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22" name="IsoscelesTriangle122">
            <a:extLst>
              <a:ext uri="{FF2B5EF4-FFF2-40B4-BE49-F238E27FC236}">
                <a16:creationId xmlns:a16="http://schemas.microsoft.com/office/drawing/2014/main" id="{86D6394E-CA8D-44ED-8364-77D47DDE1A49}"/>
              </a:ext>
            </a:extLst>
          </p:cNvPr>
          <p:cNvSpPr/>
          <p:nvPr/>
        </p:nvSpPr>
        <p:spPr>
          <a:xfrm rot="5400000">
            <a:off x="2375632" y="2477935"/>
            <a:ext cx="361950" cy="155575"/>
          </a:xfrm>
          <a:prstGeom prst="triangle">
            <a:avLst/>
          </a:prstGeom>
          <a:solidFill>
            <a:schemeClr val="tx1"/>
          </a:solidFill>
          <a:ln w="22225" cmpd="sng">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133" name="Group 132">
            <a:extLst>
              <a:ext uri="{FF2B5EF4-FFF2-40B4-BE49-F238E27FC236}">
                <a16:creationId xmlns:a16="http://schemas.microsoft.com/office/drawing/2014/main" id="{C32D32AC-F264-45D5-BC72-512A9FBA657B}"/>
              </a:ext>
            </a:extLst>
          </p:cNvPr>
          <p:cNvGrpSpPr/>
          <p:nvPr/>
        </p:nvGrpSpPr>
        <p:grpSpPr>
          <a:xfrm>
            <a:off x="6638441" y="2374748"/>
            <a:ext cx="233362" cy="361951"/>
            <a:chOff x="6632426" y="2217736"/>
            <a:chExt cx="233362" cy="361951"/>
          </a:xfrm>
        </p:grpSpPr>
        <p:sp>
          <p:nvSpPr>
            <p:cNvPr id="131" name="IsoscelesTriangle122">
              <a:extLst>
                <a:ext uri="{FF2B5EF4-FFF2-40B4-BE49-F238E27FC236}">
                  <a16:creationId xmlns:a16="http://schemas.microsoft.com/office/drawing/2014/main" id="{F6DB76E6-A8B3-4EF5-9B90-8B61CE2CF338}"/>
                </a:ext>
              </a:extLst>
            </p:cNvPr>
            <p:cNvSpPr/>
            <p:nvPr/>
          </p:nvSpPr>
          <p:spPr>
            <a:xfrm rot="5400000">
              <a:off x="6607026" y="2320924"/>
              <a:ext cx="361950" cy="155575"/>
            </a:xfrm>
            <a:prstGeom prst="triangle">
              <a:avLst/>
            </a:prstGeom>
            <a:solidFill>
              <a:schemeClr val="tx1"/>
            </a:solidFill>
            <a:ln w="22225" cmpd="sng">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26" name="IsoscelesTriangle122">
              <a:extLst>
                <a:ext uri="{FF2B5EF4-FFF2-40B4-BE49-F238E27FC236}">
                  <a16:creationId xmlns:a16="http://schemas.microsoft.com/office/drawing/2014/main" id="{0412E979-46F6-42C1-893C-633A9A148384}"/>
                </a:ext>
              </a:extLst>
            </p:cNvPr>
            <p:cNvSpPr/>
            <p:nvPr/>
          </p:nvSpPr>
          <p:spPr>
            <a:xfrm rot="5400000">
              <a:off x="6529239" y="2320923"/>
              <a:ext cx="361950" cy="155575"/>
            </a:xfrm>
            <a:prstGeom prst="triangle">
              <a:avLst/>
            </a:prstGeom>
            <a:solidFill>
              <a:schemeClr val="tx1"/>
            </a:solidFill>
            <a:ln w="22225" cmpd="sng">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93" name="Rounded Rectangle 83">
            <a:extLst>
              <a:ext uri="{FF2B5EF4-FFF2-40B4-BE49-F238E27FC236}">
                <a16:creationId xmlns:a16="http://schemas.microsoft.com/office/drawing/2014/main" id="{C4E7F931-00FA-4CF4-A8CE-02B32576FCD6}"/>
              </a:ext>
            </a:extLst>
          </p:cNvPr>
          <p:cNvSpPr/>
          <p:nvPr/>
        </p:nvSpPr>
        <p:spPr>
          <a:xfrm>
            <a:off x="5494613" y="1208473"/>
            <a:ext cx="1836000" cy="4212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615" tIns="16615" rIns="16615" bIns="16615" numCol="1" spcCol="0" rtlCol="0" fromWordArt="0" anchor="ctr" anchorCtr="0" forceAA="0" compatLnSpc="1">
            <a:prstTxWarp prst="textNoShape">
              <a:avLst/>
            </a:prstTxWarp>
            <a:noAutofit/>
          </a:bodyPr>
          <a:lstStyle/>
          <a:p>
            <a:pPr marL="0" marR="0" lvl="0" indent="0" algn="ctr" defTabSz="844083" rtl="0" eaLnBrk="1" fontAlgn="auto" latinLnBrk="0" hangingPunct="1">
              <a:lnSpc>
                <a:spcPct val="100000"/>
              </a:lnSpc>
              <a:spcBef>
                <a:spcPts val="0"/>
              </a:spcBef>
              <a:spcAft>
                <a:spcPts val="0"/>
              </a:spcAft>
              <a:buClr>
                <a:srgbClr val="474747"/>
              </a:buClr>
              <a:buSzPct val="100000"/>
              <a:buFontTx/>
              <a:buNone/>
              <a:tabLst/>
              <a:defRPr/>
            </a:pPr>
            <a:r>
              <a:rPr kumimoji="0" lang="en-GB" sz="1200" b="1" i="0" u="none" strike="noStrike" kern="1200" cap="none" spc="0" normalizeH="0" baseline="0" noProof="0">
                <a:ln w="0"/>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ydrogen</a:t>
            </a:r>
          </a:p>
          <a:p>
            <a:pPr marL="0" marR="0" lvl="0" indent="0" algn="ctr" defTabSz="844083" rtl="0" eaLnBrk="1" fontAlgn="auto" latinLnBrk="0" hangingPunct="1">
              <a:lnSpc>
                <a:spcPct val="100000"/>
              </a:lnSpc>
              <a:spcBef>
                <a:spcPts val="0"/>
              </a:spcBef>
              <a:spcAft>
                <a:spcPts val="0"/>
              </a:spcAft>
              <a:buClr>
                <a:srgbClr val="474747"/>
              </a:buClr>
              <a:buSzPct val="100000"/>
              <a:buFontTx/>
              <a:buNone/>
              <a:tabLst/>
              <a:defRPr/>
            </a:pPr>
            <a:r>
              <a:rPr kumimoji="0" lang="en-GB" sz="1200" b="1" i="0" u="none" strike="noStrike" kern="1200" cap="none" spc="0" normalizeH="0" baseline="0" noProof="0">
                <a:ln w="0"/>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ER-HY)</a:t>
            </a:r>
          </a:p>
        </p:txBody>
      </p:sp>
      <p:cxnSp>
        <p:nvCxnSpPr>
          <p:cNvPr id="94" name="Connector: Elbow 93">
            <a:extLst>
              <a:ext uri="{FF2B5EF4-FFF2-40B4-BE49-F238E27FC236}">
                <a16:creationId xmlns:a16="http://schemas.microsoft.com/office/drawing/2014/main" id="{A85C7A62-1252-4A5C-9154-6A1616864812}"/>
              </a:ext>
            </a:extLst>
          </p:cNvPr>
          <p:cNvCxnSpPr>
            <a:cxnSpLocks/>
            <a:stCxn id="46" idx="3"/>
            <a:endCxn id="93" idx="1"/>
          </p:cNvCxnSpPr>
          <p:nvPr/>
        </p:nvCxnSpPr>
        <p:spPr>
          <a:xfrm>
            <a:off x="3290832" y="1419073"/>
            <a:ext cx="2203781" cy="0"/>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298DE3E1-AD0C-423C-8DFB-64905163FD4C}"/>
              </a:ext>
            </a:extLst>
          </p:cNvPr>
          <p:cNvCxnSpPr>
            <a:cxnSpLocks/>
            <a:stCxn id="93" idx="2"/>
            <a:endCxn id="15" idx="0"/>
          </p:cNvCxnSpPr>
          <p:nvPr/>
        </p:nvCxnSpPr>
        <p:spPr>
          <a:xfrm>
            <a:off x="6412613" y="1629673"/>
            <a:ext cx="0" cy="180648"/>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5" name="Connector: Elbow 93">
            <a:extLst>
              <a:ext uri="{FF2B5EF4-FFF2-40B4-BE49-F238E27FC236}">
                <a16:creationId xmlns:a16="http://schemas.microsoft.com/office/drawing/2014/main" id="{4AAFF781-C661-4EBC-9046-7732ABE7BC8C}"/>
              </a:ext>
            </a:extLst>
          </p:cNvPr>
          <p:cNvCxnSpPr>
            <a:cxnSpLocks/>
            <a:stCxn id="46" idx="2"/>
            <a:endCxn id="14" idx="0"/>
          </p:cNvCxnSpPr>
          <p:nvPr/>
        </p:nvCxnSpPr>
        <p:spPr>
          <a:xfrm>
            <a:off x="2480832" y="1629673"/>
            <a:ext cx="0" cy="180648"/>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4" name="Rounded Rectangle 83">
            <a:extLst>
              <a:ext uri="{FF2B5EF4-FFF2-40B4-BE49-F238E27FC236}">
                <a16:creationId xmlns:a16="http://schemas.microsoft.com/office/drawing/2014/main" id="{96E71C04-43BE-42F0-8416-AC91C8E5EB2B}"/>
              </a:ext>
            </a:extLst>
          </p:cNvPr>
          <p:cNvSpPr/>
          <p:nvPr/>
        </p:nvSpPr>
        <p:spPr>
          <a:xfrm>
            <a:off x="9529326" y="1810321"/>
            <a:ext cx="1836000" cy="421200"/>
          </a:xfrm>
          <a:prstGeom prst="roundRect">
            <a:avLst/>
          </a:prstGeom>
          <a:solidFill>
            <a:srgbClr val="6F8DB9"/>
          </a:solidFill>
          <a:ln w="19050">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615" tIns="16615" rIns="16615" bIns="16615" numCol="1" spcCol="0" rtlCol="0" fromWordArt="0" anchor="ctr" anchorCtr="0" forceAA="0" compatLnSpc="1">
            <a:prstTxWarp prst="textNoShape">
              <a:avLst/>
            </a:prstTxWarp>
            <a:noAutofit/>
          </a:bodyPr>
          <a:lstStyle/>
          <a:p>
            <a:pPr marL="0" marR="0" lvl="0" indent="0" algn="ctr" defTabSz="844083" rtl="0" eaLnBrk="1" fontAlgn="auto" latinLnBrk="0" hangingPunct="1">
              <a:lnSpc>
                <a:spcPct val="100000"/>
              </a:lnSpc>
              <a:spcBef>
                <a:spcPts val="0"/>
              </a:spcBef>
              <a:spcAft>
                <a:spcPts val="0"/>
              </a:spcAft>
              <a:buClr>
                <a:srgbClr val="474747"/>
              </a:buClr>
              <a:buSzPct val="100000"/>
              <a:buFontTx/>
              <a:buNone/>
              <a:tabLst/>
              <a:defRPr/>
            </a:pPr>
            <a:r>
              <a:rPr kumimoji="0" lang="en-GB" sz="1200" b="1" i="0" u="none" strike="noStrike" kern="1200" cap="none" spc="0" normalizeH="0" baseline="0" noProof="0">
                <a:ln w="0"/>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odal/network model</a:t>
            </a:r>
          </a:p>
          <a:p>
            <a:pPr marL="0" marR="0" lvl="0" indent="0" algn="ctr" defTabSz="844083" rtl="0" eaLnBrk="1" fontAlgn="auto" latinLnBrk="0" hangingPunct="1">
              <a:lnSpc>
                <a:spcPct val="100000"/>
              </a:lnSpc>
              <a:spcBef>
                <a:spcPts val="0"/>
              </a:spcBef>
              <a:spcAft>
                <a:spcPts val="0"/>
              </a:spcAft>
              <a:buClr>
                <a:srgbClr val="474747"/>
              </a:buClr>
              <a:buSzPct val="100000"/>
              <a:buFontTx/>
              <a:buNone/>
              <a:tabLst/>
              <a:defRPr/>
            </a:pPr>
            <a:r>
              <a:rPr kumimoji="0" lang="en-GB" sz="1200" b="1" i="0" u="none" strike="noStrike" kern="1200" cap="none" spc="0" normalizeH="0" baseline="0" noProof="0">
                <a:ln w="0"/>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ER-EN)</a:t>
            </a:r>
          </a:p>
        </p:txBody>
      </p:sp>
      <p:sp>
        <p:nvSpPr>
          <p:cNvPr id="109" name="Rectangle 108">
            <a:extLst>
              <a:ext uri="{FF2B5EF4-FFF2-40B4-BE49-F238E27FC236}">
                <a16:creationId xmlns:a16="http://schemas.microsoft.com/office/drawing/2014/main" id="{5A9E66BB-27E0-485A-95C9-93BEC7BEA45F}"/>
              </a:ext>
            </a:extLst>
          </p:cNvPr>
          <p:cNvSpPr/>
          <p:nvPr/>
        </p:nvSpPr>
        <p:spPr>
          <a:xfrm>
            <a:off x="9081830" y="2328585"/>
            <a:ext cx="2728570" cy="3240939"/>
          </a:xfrm>
          <a:prstGeom prst="rect">
            <a:avLst/>
          </a:prstGeom>
          <a:solidFill>
            <a:schemeClr val="bg1"/>
          </a:solidFill>
          <a:ln w="6350" cmpd="sng">
            <a:solidFill>
              <a:srgbClr val="4C6C9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84406" rIns="84406" bIns="84406" numCol="1" spcCol="0" rtlCol="0" fromWordArt="0" anchor="t" anchorCtr="0" forceAA="0" compatLnSpc="1">
            <a:prstTxWarp prst="textNoShape">
              <a:avLst/>
            </a:prstTxWarp>
            <a:noAutofit/>
          </a:bodyPr>
          <a:lstStyle/>
          <a:p>
            <a:pPr marL="0" marR="0" lvl="0" indent="0" algn="ctr" defTabSz="844083" rtl="0" eaLnBrk="1" fontAlgn="auto" latinLnBrk="0" hangingPunct="1">
              <a:lnSpc>
                <a:spcPct val="114000"/>
              </a:lnSpc>
              <a:spcBef>
                <a:spcPts val="0"/>
              </a:spcBef>
              <a:spcAft>
                <a:spcPts val="554"/>
              </a:spcAft>
              <a:buClr>
                <a:srgbClr val="474747"/>
              </a:buClr>
              <a:buSzPct val="100000"/>
              <a:buFontTx/>
              <a:buNone/>
              <a:tabLst/>
              <a:defRPr/>
            </a:pPr>
            <a:endParaRPr kumimoji="0" lang="en-GB" sz="1200" b="0" i="0" u="none" strike="noStrike" kern="1200" cap="none" spc="0" normalizeH="0" baseline="0" noProof="0">
              <a:ln>
                <a:noFill/>
              </a:ln>
              <a:solidFill>
                <a:srgbClr val="474747"/>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114" name="Group 113">
            <a:extLst>
              <a:ext uri="{FF2B5EF4-FFF2-40B4-BE49-F238E27FC236}">
                <a16:creationId xmlns:a16="http://schemas.microsoft.com/office/drawing/2014/main" id="{81FE11BA-E8CC-4A76-AB20-D3CAA01D1E8C}"/>
              </a:ext>
            </a:extLst>
          </p:cNvPr>
          <p:cNvGrpSpPr/>
          <p:nvPr/>
        </p:nvGrpSpPr>
        <p:grpSpPr>
          <a:xfrm>
            <a:off x="8954385" y="2374748"/>
            <a:ext cx="233362" cy="361951"/>
            <a:chOff x="6632426" y="2217736"/>
            <a:chExt cx="233362" cy="361951"/>
          </a:xfrm>
        </p:grpSpPr>
        <p:sp>
          <p:nvSpPr>
            <p:cNvPr id="115" name="IsoscelesTriangle122">
              <a:extLst>
                <a:ext uri="{FF2B5EF4-FFF2-40B4-BE49-F238E27FC236}">
                  <a16:creationId xmlns:a16="http://schemas.microsoft.com/office/drawing/2014/main" id="{5682A4B5-BFAA-4F94-85E9-05C545E4712C}"/>
                </a:ext>
              </a:extLst>
            </p:cNvPr>
            <p:cNvSpPr/>
            <p:nvPr/>
          </p:nvSpPr>
          <p:spPr>
            <a:xfrm rot="5400000">
              <a:off x="6607026" y="2320924"/>
              <a:ext cx="361950" cy="155575"/>
            </a:xfrm>
            <a:prstGeom prst="triangle">
              <a:avLst/>
            </a:prstGeom>
            <a:solidFill>
              <a:schemeClr val="tx1"/>
            </a:solidFill>
            <a:ln w="22225" cmpd="sng">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6" name="IsoscelesTriangle122">
              <a:extLst>
                <a:ext uri="{FF2B5EF4-FFF2-40B4-BE49-F238E27FC236}">
                  <a16:creationId xmlns:a16="http://schemas.microsoft.com/office/drawing/2014/main" id="{F7B6DE1E-46A5-41B5-B445-E7C1FEF1C352}"/>
                </a:ext>
              </a:extLst>
            </p:cNvPr>
            <p:cNvSpPr/>
            <p:nvPr/>
          </p:nvSpPr>
          <p:spPr>
            <a:xfrm rot="5400000">
              <a:off x="6529239" y="2320923"/>
              <a:ext cx="361950" cy="155575"/>
            </a:xfrm>
            <a:prstGeom prst="triangle">
              <a:avLst/>
            </a:prstGeom>
            <a:solidFill>
              <a:schemeClr val="tx1"/>
            </a:solidFill>
            <a:ln w="22225" cmpd="sng">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117" name="TextBox 116">
            <a:extLst>
              <a:ext uri="{FF2B5EF4-FFF2-40B4-BE49-F238E27FC236}">
                <a16:creationId xmlns:a16="http://schemas.microsoft.com/office/drawing/2014/main" id="{79ED5AA0-5B5B-476C-84DE-97ADF76E41CF}"/>
              </a:ext>
            </a:extLst>
          </p:cNvPr>
          <p:cNvSpPr txBox="1">
            <a:spLocks/>
          </p:cNvSpPr>
          <p:nvPr/>
        </p:nvSpPr>
        <p:spPr>
          <a:xfrm>
            <a:off x="9303290" y="2437754"/>
            <a:ext cx="2375187" cy="256590"/>
          </a:xfrm>
          <a:prstGeom prst="rect">
            <a:avLst/>
          </a:prstGeom>
          <a:solidFill>
            <a:srgbClr val="6F8DB9"/>
          </a:solidFill>
          <a:ln>
            <a:noFill/>
          </a:ln>
        </p:spPr>
        <p:txBody>
          <a:bodyPr vert="horz" wrap="square" lIns="0" tIns="0" rIns="0" bIns="0" rtlCol="0" anchor="ctr">
            <a:noAutofit/>
          </a:bodyPr>
          <a:lstStyle/>
          <a:p>
            <a:pPr marL="0" marR="0" lvl="0" indent="0" algn="ctr" defTabSz="844083" rtl="0" eaLnBrk="1" fontAlgn="auto" latinLnBrk="0" hangingPunct="1">
              <a:lnSpc>
                <a:spcPct val="114000"/>
              </a:lnSpc>
              <a:spcBef>
                <a:spcPts val="0"/>
              </a:spcBef>
              <a:spcAft>
                <a:spcPts val="554"/>
              </a:spcAft>
              <a:buClrTx/>
              <a:buSzPct val="100000"/>
              <a:buFontTx/>
              <a:buNone/>
              <a:tabLst/>
              <a:defRPr/>
            </a:pPr>
            <a:r>
              <a:rPr kumimoji="0" lang="en-GB" sz="1200" b="1"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DDITIONAL INPUTS</a:t>
            </a:r>
          </a:p>
        </p:txBody>
      </p:sp>
      <p:sp>
        <p:nvSpPr>
          <p:cNvPr id="118" name="TextBox 117">
            <a:extLst>
              <a:ext uri="{FF2B5EF4-FFF2-40B4-BE49-F238E27FC236}">
                <a16:creationId xmlns:a16="http://schemas.microsoft.com/office/drawing/2014/main" id="{0F95AD78-900C-47C0-BF91-B93E2E983793}"/>
              </a:ext>
            </a:extLst>
          </p:cNvPr>
          <p:cNvSpPr txBox="1">
            <a:spLocks/>
          </p:cNvSpPr>
          <p:nvPr/>
        </p:nvSpPr>
        <p:spPr>
          <a:xfrm>
            <a:off x="9298461" y="4250977"/>
            <a:ext cx="2375186" cy="228677"/>
          </a:xfrm>
          <a:prstGeom prst="rect">
            <a:avLst/>
          </a:prstGeom>
          <a:solidFill>
            <a:srgbClr val="6F8DB9"/>
          </a:solidFill>
          <a:ln>
            <a:noFill/>
          </a:ln>
        </p:spPr>
        <p:txBody>
          <a:bodyPr vert="horz" wrap="square" lIns="0" tIns="0" rIns="0" bIns="0" rtlCol="0" anchor="ctr">
            <a:noAutofit/>
          </a:bodyPr>
          <a:lstStyle/>
          <a:p>
            <a:pPr marL="0" marR="0" lvl="0" indent="0" algn="ctr" defTabSz="844083" rtl="0" eaLnBrk="1" fontAlgn="auto" latinLnBrk="0" hangingPunct="1">
              <a:lnSpc>
                <a:spcPct val="114000"/>
              </a:lnSpc>
              <a:spcBef>
                <a:spcPts val="0"/>
              </a:spcBef>
              <a:spcAft>
                <a:spcPts val="554"/>
              </a:spcAft>
              <a:buClrTx/>
              <a:buSzPct val="100000"/>
              <a:buFontTx/>
              <a:buNone/>
              <a:tabLst/>
              <a:defRPr/>
            </a:pPr>
            <a:r>
              <a:rPr kumimoji="0" lang="en-GB" sz="1200" b="1"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UTPUTS</a:t>
            </a:r>
          </a:p>
        </p:txBody>
      </p:sp>
      <p:sp>
        <p:nvSpPr>
          <p:cNvPr id="119" name="Rounded Rectangle 214">
            <a:extLst>
              <a:ext uri="{FF2B5EF4-FFF2-40B4-BE49-F238E27FC236}">
                <a16:creationId xmlns:a16="http://schemas.microsoft.com/office/drawing/2014/main" id="{EEB0F455-3635-4E1F-9217-7A826E5B9BC9}"/>
              </a:ext>
            </a:extLst>
          </p:cNvPr>
          <p:cNvSpPr/>
          <p:nvPr/>
        </p:nvSpPr>
        <p:spPr>
          <a:xfrm>
            <a:off x="9770164" y="2774518"/>
            <a:ext cx="1903482" cy="420781"/>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85759"/>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etwork snapshot - existing &amp; future </a:t>
            </a:r>
          </a:p>
        </p:txBody>
      </p:sp>
      <p:sp>
        <p:nvSpPr>
          <p:cNvPr id="120" name="Rounded Rectangle 214">
            <a:extLst>
              <a:ext uri="{FF2B5EF4-FFF2-40B4-BE49-F238E27FC236}">
                <a16:creationId xmlns:a16="http://schemas.microsoft.com/office/drawing/2014/main" id="{A29CF6C9-B14C-4479-B2EA-7ED4870C63E2}"/>
              </a:ext>
            </a:extLst>
          </p:cNvPr>
          <p:cNvSpPr/>
          <p:nvPr/>
        </p:nvSpPr>
        <p:spPr>
          <a:xfrm>
            <a:off x="9770164" y="3241739"/>
            <a:ext cx="1903482" cy="421200"/>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85759"/>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odal load map</a:t>
            </a:r>
          </a:p>
        </p:txBody>
      </p:sp>
      <p:sp>
        <p:nvSpPr>
          <p:cNvPr id="121" name="Rounded Rectangle 214">
            <a:extLst>
              <a:ext uri="{FF2B5EF4-FFF2-40B4-BE49-F238E27FC236}">
                <a16:creationId xmlns:a16="http://schemas.microsoft.com/office/drawing/2014/main" id="{F9B94925-A69F-4EC0-B82C-A8A37BEB1168}"/>
              </a:ext>
            </a:extLst>
          </p:cNvPr>
          <p:cNvSpPr/>
          <p:nvPr/>
        </p:nvSpPr>
        <p:spPr>
          <a:xfrm>
            <a:off x="9770164" y="3698992"/>
            <a:ext cx="1903482" cy="421200"/>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85759"/>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odal generation map</a:t>
            </a:r>
          </a:p>
        </p:txBody>
      </p:sp>
      <p:sp>
        <p:nvSpPr>
          <p:cNvPr id="124" name="Oval 123">
            <a:extLst>
              <a:ext uri="{FF2B5EF4-FFF2-40B4-BE49-F238E27FC236}">
                <a16:creationId xmlns:a16="http://schemas.microsoft.com/office/drawing/2014/main" id="{60ED9740-B25F-4A73-99AC-5252C4B7C9D3}"/>
              </a:ext>
            </a:extLst>
          </p:cNvPr>
          <p:cNvSpPr/>
          <p:nvPr/>
        </p:nvSpPr>
        <p:spPr>
          <a:xfrm>
            <a:off x="9303290" y="2774518"/>
            <a:ext cx="421200" cy="420781"/>
          </a:xfrm>
          <a:prstGeom prst="ellipse">
            <a:avLst/>
          </a:prstGeom>
          <a:solidFill>
            <a:srgbClr val="6F8DB9"/>
          </a:solidFill>
          <a:ln w="6350" cap="flat" cmpd="sng" algn="ctr">
            <a:noFill/>
            <a:prstDash val="solid"/>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35" name="Oval 134">
            <a:extLst>
              <a:ext uri="{FF2B5EF4-FFF2-40B4-BE49-F238E27FC236}">
                <a16:creationId xmlns:a16="http://schemas.microsoft.com/office/drawing/2014/main" id="{33A7F5E0-FADD-47F0-83D7-4B5BC5E81195}"/>
              </a:ext>
            </a:extLst>
          </p:cNvPr>
          <p:cNvSpPr/>
          <p:nvPr/>
        </p:nvSpPr>
        <p:spPr>
          <a:xfrm>
            <a:off x="9303290" y="3241739"/>
            <a:ext cx="421200" cy="420781"/>
          </a:xfrm>
          <a:prstGeom prst="ellipse">
            <a:avLst/>
          </a:prstGeom>
          <a:solidFill>
            <a:srgbClr val="6F8DB9"/>
          </a:solidFill>
          <a:ln w="6350" cap="flat" cmpd="sng" algn="ctr">
            <a:noFill/>
            <a:prstDash val="solid"/>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42" name="Oval 141">
            <a:extLst>
              <a:ext uri="{FF2B5EF4-FFF2-40B4-BE49-F238E27FC236}">
                <a16:creationId xmlns:a16="http://schemas.microsoft.com/office/drawing/2014/main" id="{B3EB8F0A-0610-4940-B9A6-345A4E551555}"/>
              </a:ext>
            </a:extLst>
          </p:cNvPr>
          <p:cNvSpPr/>
          <p:nvPr/>
        </p:nvSpPr>
        <p:spPr>
          <a:xfrm>
            <a:off x="9303290" y="3698992"/>
            <a:ext cx="421200" cy="420781"/>
          </a:xfrm>
          <a:prstGeom prst="ellipse">
            <a:avLst/>
          </a:prstGeom>
          <a:solidFill>
            <a:srgbClr val="6F8DB9"/>
          </a:solidFill>
          <a:ln w="6350" cap="flat" cmpd="sng" algn="ctr">
            <a:noFill/>
            <a:prstDash val="solid"/>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56" name="Rounded Rectangle 214">
            <a:extLst>
              <a:ext uri="{FF2B5EF4-FFF2-40B4-BE49-F238E27FC236}">
                <a16:creationId xmlns:a16="http://schemas.microsoft.com/office/drawing/2014/main" id="{5924D841-F3DB-42F0-B143-469BE7E9882A}"/>
              </a:ext>
            </a:extLst>
          </p:cNvPr>
          <p:cNvSpPr/>
          <p:nvPr/>
        </p:nvSpPr>
        <p:spPr>
          <a:xfrm>
            <a:off x="9770164" y="4581117"/>
            <a:ext cx="1903482" cy="421200"/>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85759"/>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ower flows &amp; losses</a:t>
            </a:r>
          </a:p>
        </p:txBody>
      </p:sp>
      <p:sp>
        <p:nvSpPr>
          <p:cNvPr id="157" name="Rounded Rectangle 214">
            <a:extLst>
              <a:ext uri="{FF2B5EF4-FFF2-40B4-BE49-F238E27FC236}">
                <a16:creationId xmlns:a16="http://schemas.microsoft.com/office/drawing/2014/main" id="{93113943-BA69-4719-BC3E-F89C27A40799}"/>
              </a:ext>
            </a:extLst>
          </p:cNvPr>
          <p:cNvSpPr/>
          <p:nvPr/>
        </p:nvSpPr>
        <p:spPr>
          <a:xfrm>
            <a:off x="9770164" y="5038370"/>
            <a:ext cx="1903482" cy="421200"/>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85759"/>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odal prices / loss factors</a:t>
            </a:r>
          </a:p>
        </p:txBody>
      </p:sp>
      <p:sp>
        <p:nvSpPr>
          <p:cNvPr id="158" name="Oval 157">
            <a:extLst>
              <a:ext uri="{FF2B5EF4-FFF2-40B4-BE49-F238E27FC236}">
                <a16:creationId xmlns:a16="http://schemas.microsoft.com/office/drawing/2014/main" id="{EBC049D0-6C82-4BCD-A37C-961EB58A4D01}"/>
              </a:ext>
            </a:extLst>
          </p:cNvPr>
          <p:cNvSpPr/>
          <p:nvPr/>
        </p:nvSpPr>
        <p:spPr>
          <a:xfrm>
            <a:off x="9303290" y="4581117"/>
            <a:ext cx="421200" cy="420781"/>
          </a:xfrm>
          <a:prstGeom prst="ellipse">
            <a:avLst/>
          </a:prstGeom>
          <a:solidFill>
            <a:srgbClr val="6F8DB9"/>
          </a:solidFill>
          <a:ln w="6350" cap="flat" cmpd="sng" algn="ctr">
            <a:noFill/>
            <a:prstDash val="solid"/>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65" name="Oval 164">
            <a:extLst>
              <a:ext uri="{FF2B5EF4-FFF2-40B4-BE49-F238E27FC236}">
                <a16:creationId xmlns:a16="http://schemas.microsoft.com/office/drawing/2014/main" id="{5B509F2C-3012-4888-B397-096814AD203D}"/>
              </a:ext>
            </a:extLst>
          </p:cNvPr>
          <p:cNvSpPr/>
          <p:nvPr/>
        </p:nvSpPr>
        <p:spPr>
          <a:xfrm>
            <a:off x="9303290" y="5038370"/>
            <a:ext cx="421200" cy="420781"/>
          </a:xfrm>
          <a:prstGeom prst="ellipse">
            <a:avLst/>
          </a:prstGeom>
          <a:solidFill>
            <a:srgbClr val="6F8DB9"/>
          </a:solidFill>
          <a:ln w="6350" cap="flat" cmpd="sng" algn="ctr">
            <a:noFill/>
            <a:prstDash val="solid"/>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172" name="Straight Connector 171">
            <a:extLst>
              <a:ext uri="{FF2B5EF4-FFF2-40B4-BE49-F238E27FC236}">
                <a16:creationId xmlns:a16="http://schemas.microsoft.com/office/drawing/2014/main" id="{1EF26EFC-F847-4220-B524-28A86F5A5F41}"/>
              </a:ext>
            </a:extLst>
          </p:cNvPr>
          <p:cNvCxnSpPr>
            <a:cxnSpLocks/>
            <a:stCxn id="109" idx="0"/>
            <a:endCxn id="104" idx="2"/>
          </p:cNvCxnSpPr>
          <p:nvPr/>
        </p:nvCxnSpPr>
        <p:spPr>
          <a:xfrm flipV="1">
            <a:off x="10446115" y="2231521"/>
            <a:ext cx="1211" cy="97064"/>
          </a:xfrm>
          <a:prstGeom prst="line">
            <a:avLst/>
          </a:prstGeom>
          <a:ln w="6350">
            <a:solidFill>
              <a:srgbClr val="4C6C9C"/>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4" name="TextBox 173">
            <a:extLst>
              <a:ext uri="{FF2B5EF4-FFF2-40B4-BE49-F238E27FC236}">
                <a16:creationId xmlns:a16="http://schemas.microsoft.com/office/drawing/2014/main" id="{92BDF9FD-DC5E-45E5-9266-A2CB2BE931D8}"/>
              </a:ext>
            </a:extLst>
          </p:cNvPr>
          <p:cNvSpPr txBox="1">
            <a:spLocks/>
          </p:cNvSpPr>
          <p:nvPr/>
        </p:nvSpPr>
        <p:spPr>
          <a:xfrm>
            <a:off x="9770164" y="5637360"/>
            <a:ext cx="2002847" cy="797853"/>
          </a:xfrm>
          <a:prstGeom prst="rect">
            <a:avLst/>
          </a:prstGeom>
        </p:spPr>
        <p:txBody>
          <a:bodyPr vert="horz" wrap="square" lIns="0" tIns="0" rIns="0" bIns="0" rtlCol="0">
            <a:noAutofit/>
          </a:bodyPr>
          <a:lstStyle/>
          <a:p>
            <a:pPr marL="0" marR="0" lvl="0" indent="0" algn="ctr" defTabSz="844083" rtl="0" eaLnBrk="1" fontAlgn="auto" latinLnBrk="0" hangingPunct="1">
              <a:lnSpc>
                <a:spcPct val="114000"/>
              </a:lnSpc>
              <a:spcBef>
                <a:spcPts val="0"/>
              </a:spcBef>
              <a:spcAft>
                <a:spcPts val="0"/>
              </a:spcAft>
              <a:buClrTx/>
              <a:buSzPct val="100000"/>
              <a:buFontTx/>
              <a:buNone/>
              <a:tabLst/>
              <a:defRPr/>
            </a:pPr>
            <a:r>
              <a:rPr kumimoji="0" lang="en-GB" sz="1600" b="1" i="0" u="none" strike="noStrike" kern="1200" cap="none" spc="0" normalizeH="0" baseline="0" noProof="0">
                <a:ln>
                  <a:noFill/>
                </a:ln>
                <a:solidFill>
                  <a:srgbClr val="F59E00"/>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Quarterly updates</a:t>
            </a:r>
          </a:p>
          <a:p>
            <a:pPr marL="0" marR="0" lvl="0" indent="0" algn="ctr" defTabSz="844083" rtl="0" eaLnBrk="1" fontAlgn="auto" latinLnBrk="0" hangingPunct="1">
              <a:lnSpc>
                <a:spcPct val="114000"/>
              </a:lnSpc>
              <a:spcBef>
                <a:spcPts val="0"/>
              </a:spcBef>
              <a:spcAft>
                <a:spcPts val="0"/>
              </a:spcAft>
              <a:buClrTx/>
              <a:buSzPct val="100000"/>
              <a:buFontTx/>
              <a:buNone/>
              <a:tabLst/>
              <a:defRPr/>
            </a:pPr>
            <a:r>
              <a:rPr kumimoji="0" lang="en-GB" sz="1200" b="0" i="0" u="none" strike="noStrike" kern="1200" cap="none" spc="0" normalizeH="0" baseline="0" noProof="0">
                <a:ln>
                  <a:noFill/>
                </a:ln>
                <a:solidFill>
                  <a:srgbClr val="474747"/>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rough subscription research</a:t>
            </a:r>
          </a:p>
        </p:txBody>
      </p:sp>
      <p:cxnSp>
        <p:nvCxnSpPr>
          <p:cNvPr id="175" name="Straight Connector 174">
            <a:extLst>
              <a:ext uri="{FF2B5EF4-FFF2-40B4-BE49-F238E27FC236}">
                <a16:creationId xmlns:a16="http://schemas.microsoft.com/office/drawing/2014/main" id="{15979B4D-7D2A-4CE8-B7BB-2EEB9858288D}"/>
              </a:ext>
            </a:extLst>
          </p:cNvPr>
          <p:cNvCxnSpPr/>
          <p:nvPr/>
        </p:nvCxnSpPr>
        <p:spPr>
          <a:xfrm>
            <a:off x="9593371" y="5726544"/>
            <a:ext cx="0" cy="653919"/>
          </a:xfrm>
          <a:prstGeom prst="line">
            <a:avLst/>
          </a:prstGeom>
          <a:ln w="63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6" name="Freeform 33">
            <a:extLst>
              <a:ext uri="{FF2B5EF4-FFF2-40B4-BE49-F238E27FC236}">
                <a16:creationId xmlns:a16="http://schemas.microsoft.com/office/drawing/2014/main" id="{3AE5C4FB-BCE7-4575-8A2B-1C67E13579B5}"/>
              </a:ext>
            </a:extLst>
          </p:cNvPr>
          <p:cNvSpPr>
            <a:spLocks noEditPoints="1"/>
          </p:cNvSpPr>
          <p:nvPr/>
        </p:nvSpPr>
        <p:spPr bwMode="auto">
          <a:xfrm>
            <a:off x="9375900" y="2833072"/>
            <a:ext cx="266654" cy="266654"/>
          </a:xfrm>
          <a:custGeom>
            <a:avLst/>
            <a:gdLst/>
            <a:ahLst/>
            <a:cxnLst>
              <a:cxn ang="0">
                <a:pos x="122" y="171"/>
              </a:cxn>
              <a:cxn ang="0">
                <a:pos x="120" y="221"/>
              </a:cxn>
              <a:cxn ang="0">
                <a:pos x="80" y="191"/>
              </a:cxn>
              <a:cxn ang="0">
                <a:pos x="86" y="187"/>
              </a:cxn>
              <a:cxn ang="0">
                <a:pos x="86" y="187"/>
              </a:cxn>
              <a:cxn ang="0">
                <a:pos x="56" y="229"/>
              </a:cxn>
              <a:cxn ang="0">
                <a:pos x="128" y="233"/>
              </a:cxn>
              <a:cxn ang="0">
                <a:pos x="86" y="259"/>
              </a:cxn>
              <a:cxn ang="0">
                <a:pos x="80" y="255"/>
              </a:cxn>
              <a:cxn ang="0">
                <a:pos x="80" y="255"/>
              </a:cxn>
              <a:cxn ang="0">
                <a:pos x="138" y="317"/>
              </a:cxn>
              <a:cxn ang="0">
                <a:pos x="50" y="116"/>
              </a:cxn>
              <a:cxn ang="0">
                <a:pos x="0" y="110"/>
              </a:cxn>
              <a:cxn ang="0">
                <a:pos x="10" y="62"/>
              </a:cxn>
              <a:cxn ang="0">
                <a:pos x="62" y="0"/>
              </a:cxn>
              <a:cxn ang="0">
                <a:pos x="174" y="62"/>
              </a:cxn>
              <a:cxn ang="0">
                <a:pos x="174" y="74"/>
              </a:cxn>
              <a:cxn ang="0">
                <a:pos x="144" y="82"/>
              </a:cxn>
              <a:cxn ang="0">
                <a:pos x="168" y="333"/>
              </a:cxn>
              <a:cxn ang="0">
                <a:pos x="28" y="317"/>
              </a:cxn>
              <a:cxn ang="0">
                <a:pos x="58" y="122"/>
              </a:cxn>
              <a:cxn ang="0">
                <a:pos x="52" y="82"/>
              </a:cxn>
              <a:cxn ang="0">
                <a:pos x="54" y="74"/>
              </a:cxn>
              <a:cxn ang="0">
                <a:pos x="54" y="74"/>
              </a:cxn>
              <a:cxn ang="0">
                <a:pos x="140" y="74"/>
              </a:cxn>
              <a:cxn ang="0">
                <a:pos x="120" y="82"/>
              </a:cxn>
              <a:cxn ang="0">
                <a:pos x="120" y="82"/>
              </a:cxn>
              <a:cxn ang="0">
                <a:pos x="58" y="112"/>
              </a:cxn>
              <a:cxn ang="0">
                <a:pos x="108" y="34"/>
              </a:cxn>
              <a:cxn ang="0">
                <a:pos x="112" y="74"/>
              </a:cxn>
              <a:cxn ang="0">
                <a:pos x="68" y="26"/>
              </a:cxn>
              <a:cxn ang="0">
                <a:pos x="462" y="16"/>
              </a:cxn>
              <a:cxn ang="0">
                <a:pos x="466" y="50"/>
              </a:cxn>
              <a:cxn ang="0">
                <a:pos x="380" y="142"/>
              </a:cxn>
              <a:cxn ang="0">
                <a:pos x="477" y="159"/>
              </a:cxn>
              <a:cxn ang="0">
                <a:pos x="485" y="219"/>
              </a:cxn>
              <a:cxn ang="0">
                <a:pos x="495" y="159"/>
              </a:cxn>
              <a:cxn ang="0">
                <a:pos x="531" y="142"/>
              </a:cxn>
              <a:cxn ang="0">
                <a:pos x="364" y="142"/>
              </a:cxn>
              <a:cxn ang="0">
                <a:pos x="364" y="142"/>
              </a:cxn>
              <a:cxn ang="0">
                <a:pos x="334" y="159"/>
              </a:cxn>
              <a:cxn ang="0">
                <a:pos x="493" y="307"/>
              </a:cxn>
              <a:cxn ang="0">
                <a:pos x="362" y="307"/>
              </a:cxn>
              <a:cxn ang="0">
                <a:pos x="278" y="159"/>
              </a:cxn>
              <a:cxn ang="0">
                <a:pos x="308" y="142"/>
              </a:cxn>
              <a:cxn ang="0">
                <a:pos x="262" y="50"/>
              </a:cxn>
              <a:cxn ang="0">
                <a:pos x="483" y="50"/>
              </a:cxn>
              <a:cxn ang="0">
                <a:pos x="579" y="88"/>
              </a:cxn>
              <a:cxn ang="0">
                <a:pos x="579" y="213"/>
              </a:cxn>
              <a:cxn ang="0">
                <a:pos x="543" y="613"/>
              </a:cxn>
              <a:cxn ang="0">
                <a:pos x="270" y="613"/>
              </a:cxn>
              <a:cxn ang="0">
                <a:pos x="334" y="563"/>
              </a:cxn>
              <a:cxn ang="0">
                <a:pos x="521" y="563"/>
              </a:cxn>
              <a:cxn ang="0">
                <a:pos x="412" y="491"/>
              </a:cxn>
              <a:cxn ang="0">
                <a:pos x="354" y="547"/>
              </a:cxn>
              <a:cxn ang="0">
                <a:pos x="519" y="539"/>
              </a:cxn>
              <a:cxn ang="0">
                <a:pos x="366" y="443"/>
              </a:cxn>
              <a:cxn ang="0">
                <a:pos x="366" y="443"/>
              </a:cxn>
              <a:cxn ang="0">
                <a:pos x="428" y="359"/>
              </a:cxn>
              <a:cxn ang="0">
                <a:pos x="360" y="329"/>
              </a:cxn>
              <a:cxn ang="0">
                <a:pos x="364" y="427"/>
              </a:cxn>
              <a:cxn ang="0">
                <a:pos x="497" y="329"/>
              </a:cxn>
              <a:cxn ang="0">
                <a:pos x="497" y="329"/>
              </a:cxn>
            </a:cxnLst>
            <a:rect l="0" t="0" r="r" b="b"/>
            <a:pathLst>
              <a:path w="595" h="645">
                <a:moveTo>
                  <a:pt x="122" y="171"/>
                </a:moveTo>
                <a:lnTo>
                  <a:pt x="94" y="191"/>
                </a:lnTo>
                <a:lnTo>
                  <a:pt x="126" y="217"/>
                </a:lnTo>
                <a:lnTo>
                  <a:pt x="122" y="171"/>
                </a:lnTo>
                <a:lnTo>
                  <a:pt x="122" y="171"/>
                </a:lnTo>
                <a:close/>
                <a:moveTo>
                  <a:pt x="86" y="197"/>
                </a:moveTo>
                <a:lnTo>
                  <a:pt x="54" y="221"/>
                </a:lnTo>
                <a:lnTo>
                  <a:pt x="120" y="221"/>
                </a:lnTo>
                <a:lnTo>
                  <a:pt x="86" y="197"/>
                </a:lnTo>
                <a:lnTo>
                  <a:pt x="86" y="197"/>
                </a:lnTo>
                <a:close/>
                <a:moveTo>
                  <a:pt x="48" y="217"/>
                </a:moveTo>
                <a:lnTo>
                  <a:pt x="80" y="191"/>
                </a:lnTo>
                <a:lnTo>
                  <a:pt x="52" y="171"/>
                </a:lnTo>
                <a:lnTo>
                  <a:pt x="48" y="217"/>
                </a:lnTo>
                <a:lnTo>
                  <a:pt x="48" y="217"/>
                </a:lnTo>
                <a:close/>
                <a:moveTo>
                  <a:pt x="86" y="187"/>
                </a:moveTo>
                <a:lnTo>
                  <a:pt x="114" y="167"/>
                </a:lnTo>
                <a:lnTo>
                  <a:pt x="60" y="167"/>
                </a:lnTo>
                <a:lnTo>
                  <a:pt x="86" y="187"/>
                </a:lnTo>
                <a:lnTo>
                  <a:pt x="86" y="187"/>
                </a:lnTo>
                <a:close/>
                <a:moveTo>
                  <a:pt x="56" y="229"/>
                </a:moveTo>
                <a:lnTo>
                  <a:pt x="86" y="249"/>
                </a:lnTo>
                <a:lnTo>
                  <a:pt x="118" y="229"/>
                </a:lnTo>
                <a:lnTo>
                  <a:pt x="56" y="229"/>
                </a:lnTo>
                <a:lnTo>
                  <a:pt x="56" y="229"/>
                </a:lnTo>
                <a:close/>
                <a:moveTo>
                  <a:pt x="94" y="255"/>
                </a:moveTo>
                <a:lnTo>
                  <a:pt x="134" y="279"/>
                </a:lnTo>
                <a:lnTo>
                  <a:pt x="128" y="233"/>
                </a:lnTo>
                <a:lnTo>
                  <a:pt x="94" y="255"/>
                </a:lnTo>
                <a:lnTo>
                  <a:pt x="94" y="255"/>
                </a:lnTo>
                <a:close/>
                <a:moveTo>
                  <a:pt x="124" y="283"/>
                </a:moveTo>
                <a:lnTo>
                  <a:pt x="86" y="259"/>
                </a:lnTo>
                <a:lnTo>
                  <a:pt x="48" y="283"/>
                </a:lnTo>
                <a:lnTo>
                  <a:pt x="124" y="283"/>
                </a:lnTo>
                <a:lnTo>
                  <a:pt x="124" y="283"/>
                </a:lnTo>
                <a:close/>
                <a:moveTo>
                  <a:pt x="80" y="255"/>
                </a:moveTo>
                <a:lnTo>
                  <a:pt x="46" y="233"/>
                </a:lnTo>
                <a:lnTo>
                  <a:pt x="40" y="279"/>
                </a:lnTo>
                <a:lnTo>
                  <a:pt x="80" y="255"/>
                </a:lnTo>
                <a:lnTo>
                  <a:pt x="80" y="255"/>
                </a:lnTo>
                <a:close/>
                <a:moveTo>
                  <a:pt x="136" y="293"/>
                </a:moveTo>
                <a:lnTo>
                  <a:pt x="38" y="293"/>
                </a:lnTo>
                <a:lnTo>
                  <a:pt x="36" y="317"/>
                </a:lnTo>
                <a:lnTo>
                  <a:pt x="138" y="317"/>
                </a:lnTo>
                <a:lnTo>
                  <a:pt x="136" y="293"/>
                </a:lnTo>
                <a:lnTo>
                  <a:pt x="136" y="293"/>
                </a:lnTo>
                <a:close/>
                <a:moveTo>
                  <a:pt x="28" y="317"/>
                </a:moveTo>
                <a:lnTo>
                  <a:pt x="50" y="116"/>
                </a:lnTo>
                <a:lnTo>
                  <a:pt x="30" y="82"/>
                </a:lnTo>
                <a:lnTo>
                  <a:pt x="10" y="82"/>
                </a:lnTo>
                <a:lnTo>
                  <a:pt x="10" y="110"/>
                </a:lnTo>
                <a:lnTo>
                  <a:pt x="0" y="110"/>
                </a:lnTo>
                <a:lnTo>
                  <a:pt x="0" y="74"/>
                </a:lnTo>
                <a:lnTo>
                  <a:pt x="24" y="74"/>
                </a:lnTo>
                <a:lnTo>
                  <a:pt x="10" y="46"/>
                </a:lnTo>
                <a:lnTo>
                  <a:pt x="10" y="62"/>
                </a:lnTo>
                <a:lnTo>
                  <a:pt x="0" y="62"/>
                </a:lnTo>
                <a:lnTo>
                  <a:pt x="0" y="26"/>
                </a:lnTo>
                <a:lnTo>
                  <a:pt x="58" y="26"/>
                </a:lnTo>
                <a:lnTo>
                  <a:pt x="62" y="0"/>
                </a:lnTo>
                <a:lnTo>
                  <a:pt x="112" y="0"/>
                </a:lnTo>
                <a:lnTo>
                  <a:pt x="114" y="26"/>
                </a:lnTo>
                <a:lnTo>
                  <a:pt x="174" y="26"/>
                </a:lnTo>
                <a:lnTo>
                  <a:pt x="174" y="62"/>
                </a:lnTo>
                <a:lnTo>
                  <a:pt x="164" y="62"/>
                </a:lnTo>
                <a:lnTo>
                  <a:pt x="164" y="46"/>
                </a:lnTo>
                <a:lnTo>
                  <a:pt x="150" y="74"/>
                </a:lnTo>
                <a:lnTo>
                  <a:pt x="174" y="74"/>
                </a:lnTo>
                <a:lnTo>
                  <a:pt x="174" y="110"/>
                </a:lnTo>
                <a:lnTo>
                  <a:pt x="164" y="110"/>
                </a:lnTo>
                <a:lnTo>
                  <a:pt x="164" y="82"/>
                </a:lnTo>
                <a:lnTo>
                  <a:pt x="144" y="82"/>
                </a:lnTo>
                <a:lnTo>
                  <a:pt x="124" y="116"/>
                </a:lnTo>
                <a:lnTo>
                  <a:pt x="146" y="317"/>
                </a:lnTo>
                <a:lnTo>
                  <a:pt x="168" y="317"/>
                </a:lnTo>
                <a:lnTo>
                  <a:pt x="168" y="333"/>
                </a:lnTo>
                <a:lnTo>
                  <a:pt x="6" y="333"/>
                </a:lnTo>
                <a:lnTo>
                  <a:pt x="6" y="317"/>
                </a:lnTo>
                <a:lnTo>
                  <a:pt x="28" y="317"/>
                </a:lnTo>
                <a:lnTo>
                  <a:pt x="28" y="317"/>
                </a:lnTo>
                <a:close/>
                <a:moveTo>
                  <a:pt x="54" y="159"/>
                </a:moveTo>
                <a:lnTo>
                  <a:pt x="120" y="159"/>
                </a:lnTo>
                <a:lnTo>
                  <a:pt x="116" y="122"/>
                </a:lnTo>
                <a:lnTo>
                  <a:pt x="58" y="122"/>
                </a:lnTo>
                <a:lnTo>
                  <a:pt x="54" y="159"/>
                </a:lnTo>
                <a:lnTo>
                  <a:pt x="54" y="159"/>
                </a:lnTo>
                <a:close/>
                <a:moveTo>
                  <a:pt x="50" y="102"/>
                </a:moveTo>
                <a:lnTo>
                  <a:pt x="52" y="82"/>
                </a:lnTo>
                <a:lnTo>
                  <a:pt x="38" y="82"/>
                </a:lnTo>
                <a:lnTo>
                  <a:pt x="50" y="102"/>
                </a:lnTo>
                <a:lnTo>
                  <a:pt x="50" y="102"/>
                </a:lnTo>
                <a:close/>
                <a:moveTo>
                  <a:pt x="54" y="74"/>
                </a:moveTo>
                <a:lnTo>
                  <a:pt x="58" y="34"/>
                </a:lnTo>
                <a:lnTo>
                  <a:pt x="12" y="34"/>
                </a:lnTo>
                <a:lnTo>
                  <a:pt x="34" y="74"/>
                </a:lnTo>
                <a:lnTo>
                  <a:pt x="54" y="74"/>
                </a:lnTo>
                <a:lnTo>
                  <a:pt x="54" y="74"/>
                </a:lnTo>
                <a:close/>
                <a:moveTo>
                  <a:pt x="116" y="34"/>
                </a:moveTo>
                <a:lnTo>
                  <a:pt x="120" y="74"/>
                </a:lnTo>
                <a:lnTo>
                  <a:pt x="140" y="74"/>
                </a:lnTo>
                <a:lnTo>
                  <a:pt x="162" y="34"/>
                </a:lnTo>
                <a:lnTo>
                  <a:pt x="116" y="34"/>
                </a:lnTo>
                <a:lnTo>
                  <a:pt x="116" y="34"/>
                </a:lnTo>
                <a:close/>
                <a:moveTo>
                  <a:pt x="120" y="82"/>
                </a:moveTo>
                <a:lnTo>
                  <a:pt x="124" y="102"/>
                </a:lnTo>
                <a:lnTo>
                  <a:pt x="134" y="82"/>
                </a:lnTo>
                <a:lnTo>
                  <a:pt x="120" y="82"/>
                </a:lnTo>
                <a:lnTo>
                  <a:pt x="120" y="82"/>
                </a:lnTo>
                <a:close/>
                <a:moveTo>
                  <a:pt x="116" y="112"/>
                </a:moveTo>
                <a:lnTo>
                  <a:pt x="112" y="82"/>
                </a:lnTo>
                <a:lnTo>
                  <a:pt x="62" y="82"/>
                </a:lnTo>
                <a:lnTo>
                  <a:pt x="58" y="112"/>
                </a:lnTo>
                <a:lnTo>
                  <a:pt x="116" y="112"/>
                </a:lnTo>
                <a:lnTo>
                  <a:pt x="116" y="112"/>
                </a:lnTo>
                <a:close/>
                <a:moveTo>
                  <a:pt x="112" y="74"/>
                </a:moveTo>
                <a:lnTo>
                  <a:pt x="108" y="34"/>
                </a:lnTo>
                <a:lnTo>
                  <a:pt x="66" y="34"/>
                </a:lnTo>
                <a:lnTo>
                  <a:pt x="62" y="74"/>
                </a:lnTo>
                <a:lnTo>
                  <a:pt x="112" y="74"/>
                </a:lnTo>
                <a:lnTo>
                  <a:pt x="112" y="74"/>
                </a:lnTo>
                <a:close/>
                <a:moveTo>
                  <a:pt x="106" y="26"/>
                </a:moveTo>
                <a:lnTo>
                  <a:pt x="104" y="8"/>
                </a:lnTo>
                <a:lnTo>
                  <a:pt x="70" y="8"/>
                </a:lnTo>
                <a:lnTo>
                  <a:pt x="68" y="26"/>
                </a:lnTo>
                <a:lnTo>
                  <a:pt x="106" y="26"/>
                </a:lnTo>
                <a:lnTo>
                  <a:pt x="106" y="26"/>
                </a:lnTo>
                <a:close/>
                <a:moveTo>
                  <a:pt x="466" y="50"/>
                </a:moveTo>
                <a:lnTo>
                  <a:pt x="462" y="16"/>
                </a:lnTo>
                <a:lnTo>
                  <a:pt x="394" y="16"/>
                </a:lnTo>
                <a:lnTo>
                  <a:pt x="390" y="50"/>
                </a:lnTo>
                <a:lnTo>
                  <a:pt x="466" y="50"/>
                </a:lnTo>
                <a:lnTo>
                  <a:pt x="466" y="50"/>
                </a:lnTo>
                <a:close/>
                <a:moveTo>
                  <a:pt x="477" y="142"/>
                </a:moveTo>
                <a:lnTo>
                  <a:pt x="468" y="66"/>
                </a:lnTo>
                <a:lnTo>
                  <a:pt x="388" y="66"/>
                </a:lnTo>
                <a:lnTo>
                  <a:pt x="380" y="142"/>
                </a:lnTo>
                <a:lnTo>
                  <a:pt x="477" y="142"/>
                </a:lnTo>
                <a:lnTo>
                  <a:pt x="477" y="142"/>
                </a:lnTo>
                <a:close/>
                <a:moveTo>
                  <a:pt x="485" y="219"/>
                </a:moveTo>
                <a:lnTo>
                  <a:pt x="477" y="159"/>
                </a:lnTo>
                <a:lnTo>
                  <a:pt x="378" y="159"/>
                </a:lnTo>
                <a:lnTo>
                  <a:pt x="372" y="219"/>
                </a:lnTo>
                <a:lnTo>
                  <a:pt x="485" y="219"/>
                </a:lnTo>
                <a:lnTo>
                  <a:pt x="485" y="219"/>
                </a:lnTo>
                <a:close/>
                <a:moveTo>
                  <a:pt x="495" y="159"/>
                </a:moveTo>
                <a:lnTo>
                  <a:pt x="499" y="199"/>
                </a:lnTo>
                <a:lnTo>
                  <a:pt x="521" y="159"/>
                </a:lnTo>
                <a:lnTo>
                  <a:pt x="495" y="159"/>
                </a:lnTo>
                <a:lnTo>
                  <a:pt x="495" y="159"/>
                </a:lnTo>
                <a:close/>
                <a:moveTo>
                  <a:pt x="485" y="66"/>
                </a:moveTo>
                <a:lnTo>
                  <a:pt x="493" y="142"/>
                </a:lnTo>
                <a:lnTo>
                  <a:pt x="531" y="142"/>
                </a:lnTo>
                <a:lnTo>
                  <a:pt x="573" y="66"/>
                </a:lnTo>
                <a:lnTo>
                  <a:pt x="485" y="66"/>
                </a:lnTo>
                <a:lnTo>
                  <a:pt x="485" y="66"/>
                </a:lnTo>
                <a:close/>
                <a:moveTo>
                  <a:pt x="364" y="142"/>
                </a:moveTo>
                <a:lnTo>
                  <a:pt x="372" y="66"/>
                </a:lnTo>
                <a:lnTo>
                  <a:pt x="284" y="66"/>
                </a:lnTo>
                <a:lnTo>
                  <a:pt x="326" y="142"/>
                </a:lnTo>
                <a:lnTo>
                  <a:pt x="364" y="142"/>
                </a:lnTo>
                <a:lnTo>
                  <a:pt x="364" y="142"/>
                </a:lnTo>
                <a:close/>
                <a:moveTo>
                  <a:pt x="358" y="199"/>
                </a:moveTo>
                <a:lnTo>
                  <a:pt x="362" y="159"/>
                </a:lnTo>
                <a:lnTo>
                  <a:pt x="334" y="159"/>
                </a:lnTo>
                <a:lnTo>
                  <a:pt x="358" y="199"/>
                </a:lnTo>
                <a:lnTo>
                  <a:pt x="358" y="199"/>
                </a:lnTo>
                <a:close/>
                <a:moveTo>
                  <a:pt x="362" y="307"/>
                </a:moveTo>
                <a:lnTo>
                  <a:pt x="493" y="307"/>
                </a:lnTo>
                <a:lnTo>
                  <a:pt x="487" y="235"/>
                </a:lnTo>
                <a:lnTo>
                  <a:pt x="370" y="235"/>
                </a:lnTo>
                <a:lnTo>
                  <a:pt x="362" y="307"/>
                </a:lnTo>
                <a:lnTo>
                  <a:pt x="362" y="307"/>
                </a:lnTo>
                <a:close/>
                <a:moveTo>
                  <a:pt x="314" y="613"/>
                </a:moveTo>
                <a:lnTo>
                  <a:pt x="354" y="227"/>
                </a:lnTo>
                <a:lnTo>
                  <a:pt x="316" y="159"/>
                </a:lnTo>
                <a:lnTo>
                  <a:pt x="278" y="159"/>
                </a:lnTo>
                <a:lnTo>
                  <a:pt x="278" y="213"/>
                </a:lnTo>
                <a:lnTo>
                  <a:pt x="262" y="213"/>
                </a:lnTo>
                <a:lnTo>
                  <a:pt x="262" y="142"/>
                </a:lnTo>
                <a:lnTo>
                  <a:pt x="308" y="142"/>
                </a:lnTo>
                <a:lnTo>
                  <a:pt x="278" y="88"/>
                </a:lnTo>
                <a:lnTo>
                  <a:pt x="278" y="120"/>
                </a:lnTo>
                <a:lnTo>
                  <a:pt x="262" y="120"/>
                </a:lnTo>
                <a:lnTo>
                  <a:pt x="262" y="50"/>
                </a:lnTo>
                <a:lnTo>
                  <a:pt x="374" y="50"/>
                </a:lnTo>
                <a:lnTo>
                  <a:pt x="378" y="0"/>
                </a:lnTo>
                <a:lnTo>
                  <a:pt x="477" y="0"/>
                </a:lnTo>
                <a:lnTo>
                  <a:pt x="483" y="50"/>
                </a:lnTo>
                <a:lnTo>
                  <a:pt x="595" y="50"/>
                </a:lnTo>
                <a:lnTo>
                  <a:pt x="595" y="120"/>
                </a:lnTo>
                <a:lnTo>
                  <a:pt x="579" y="120"/>
                </a:lnTo>
                <a:lnTo>
                  <a:pt x="579" y="88"/>
                </a:lnTo>
                <a:lnTo>
                  <a:pt x="549" y="142"/>
                </a:lnTo>
                <a:lnTo>
                  <a:pt x="595" y="142"/>
                </a:lnTo>
                <a:lnTo>
                  <a:pt x="595" y="213"/>
                </a:lnTo>
                <a:lnTo>
                  <a:pt x="579" y="213"/>
                </a:lnTo>
                <a:lnTo>
                  <a:pt x="579" y="159"/>
                </a:lnTo>
                <a:lnTo>
                  <a:pt x="539" y="159"/>
                </a:lnTo>
                <a:lnTo>
                  <a:pt x="501" y="227"/>
                </a:lnTo>
                <a:lnTo>
                  <a:pt x="543" y="613"/>
                </a:lnTo>
                <a:lnTo>
                  <a:pt x="585" y="613"/>
                </a:lnTo>
                <a:lnTo>
                  <a:pt x="585" y="645"/>
                </a:lnTo>
                <a:lnTo>
                  <a:pt x="270" y="645"/>
                </a:lnTo>
                <a:lnTo>
                  <a:pt x="270" y="613"/>
                </a:lnTo>
                <a:lnTo>
                  <a:pt x="314" y="613"/>
                </a:lnTo>
                <a:lnTo>
                  <a:pt x="314" y="613"/>
                </a:lnTo>
                <a:close/>
                <a:moveTo>
                  <a:pt x="521" y="563"/>
                </a:moveTo>
                <a:lnTo>
                  <a:pt x="334" y="563"/>
                </a:lnTo>
                <a:lnTo>
                  <a:pt x="330" y="613"/>
                </a:lnTo>
                <a:lnTo>
                  <a:pt x="527" y="613"/>
                </a:lnTo>
                <a:lnTo>
                  <a:pt x="521" y="563"/>
                </a:lnTo>
                <a:lnTo>
                  <a:pt x="521" y="563"/>
                </a:lnTo>
                <a:close/>
                <a:moveTo>
                  <a:pt x="412" y="491"/>
                </a:moveTo>
                <a:lnTo>
                  <a:pt x="346" y="449"/>
                </a:lnTo>
                <a:lnTo>
                  <a:pt x="338" y="539"/>
                </a:lnTo>
                <a:lnTo>
                  <a:pt x="412" y="491"/>
                </a:lnTo>
                <a:lnTo>
                  <a:pt x="412" y="491"/>
                </a:lnTo>
                <a:close/>
                <a:moveTo>
                  <a:pt x="501" y="547"/>
                </a:moveTo>
                <a:lnTo>
                  <a:pt x="428" y="501"/>
                </a:lnTo>
                <a:lnTo>
                  <a:pt x="354" y="547"/>
                </a:lnTo>
                <a:lnTo>
                  <a:pt x="501" y="547"/>
                </a:lnTo>
                <a:lnTo>
                  <a:pt x="501" y="547"/>
                </a:lnTo>
                <a:close/>
                <a:moveTo>
                  <a:pt x="442" y="491"/>
                </a:moveTo>
                <a:lnTo>
                  <a:pt x="519" y="539"/>
                </a:lnTo>
                <a:lnTo>
                  <a:pt x="509" y="449"/>
                </a:lnTo>
                <a:lnTo>
                  <a:pt x="442" y="491"/>
                </a:lnTo>
                <a:lnTo>
                  <a:pt x="442" y="491"/>
                </a:lnTo>
                <a:close/>
                <a:moveTo>
                  <a:pt x="366" y="443"/>
                </a:moveTo>
                <a:lnTo>
                  <a:pt x="428" y="481"/>
                </a:lnTo>
                <a:lnTo>
                  <a:pt x="489" y="443"/>
                </a:lnTo>
                <a:lnTo>
                  <a:pt x="366" y="443"/>
                </a:lnTo>
                <a:lnTo>
                  <a:pt x="366" y="443"/>
                </a:lnTo>
                <a:close/>
                <a:moveTo>
                  <a:pt x="428" y="359"/>
                </a:moveTo>
                <a:lnTo>
                  <a:pt x="479" y="323"/>
                </a:lnTo>
                <a:lnTo>
                  <a:pt x="376" y="323"/>
                </a:lnTo>
                <a:lnTo>
                  <a:pt x="428" y="359"/>
                </a:lnTo>
                <a:lnTo>
                  <a:pt x="428" y="359"/>
                </a:lnTo>
                <a:close/>
                <a:moveTo>
                  <a:pt x="350" y="417"/>
                </a:moveTo>
                <a:lnTo>
                  <a:pt x="414" y="369"/>
                </a:lnTo>
                <a:lnTo>
                  <a:pt x="360" y="329"/>
                </a:lnTo>
                <a:lnTo>
                  <a:pt x="350" y="417"/>
                </a:lnTo>
                <a:lnTo>
                  <a:pt x="350" y="417"/>
                </a:lnTo>
                <a:close/>
                <a:moveTo>
                  <a:pt x="428" y="379"/>
                </a:moveTo>
                <a:lnTo>
                  <a:pt x="364" y="427"/>
                </a:lnTo>
                <a:lnTo>
                  <a:pt x="493" y="427"/>
                </a:lnTo>
                <a:lnTo>
                  <a:pt x="428" y="379"/>
                </a:lnTo>
                <a:lnTo>
                  <a:pt x="428" y="379"/>
                </a:lnTo>
                <a:close/>
                <a:moveTo>
                  <a:pt x="497" y="329"/>
                </a:moveTo>
                <a:lnTo>
                  <a:pt x="442" y="369"/>
                </a:lnTo>
                <a:lnTo>
                  <a:pt x="505" y="417"/>
                </a:lnTo>
                <a:lnTo>
                  <a:pt x="497" y="329"/>
                </a:lnTo>
                <a:lnTo>
                  <a:pt x="497" y="329"/>
                </a:lnTo>
                <a:close/>
              </a:path>
            </a:pathLst>
          </a:custGeom>
          <a:solidFill>
            <a:schemeClr val="tx1"/>
          </a:solidFill>
          <a:ln w="9525">
            <a:noFill/>
            <a:round/>
            <a:headEnd/>
            <a:tailEnd/>
          </a:ln>
        </p:spPr>
        <p:txBody>
          <a:bodyPr vert="horz" wrap="square" lIns="84406" tIns="42203" rIns="84406" bIns="4220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3C3C3B"/>
              </a:solidFill>
              <a:effectLst/>
              <a:uLnTx/>
              <a:uFillTx/>
              <a:latin typeface="Lato"/>
              <a:ea typeface="+mn-ea"/>
              <a:cs typeface="+mn-cs"/>
            </a:endParaRPr>
          </a:p>
        </p:txBody>
      </p:sp>
      <p:sp>
        <p:nvSpPr>
          <p:cNvPr id="177" name="Freeform 13">
            <a:extLst>
              <a:ext uri="{FF2B5EF4-FFF2-40B4-BE49-F238E27FC236}">
                <a16:creationId xmlns:a16="http://schemas.microsoft.com/office/drawing/2014/main" id="{EAC5C3CA-9160-4C79-A38C-06F3C54E81EE}"/>
              </a:ext>
            </a:extLst>
          </p:cNvPr>
          <p:cNvSpPr>
            <a:spLocks noEditPoints="1"/>
          </p:cNvSpPr>
          <p:nvPr/>
        </p:nvSpPr>
        <p:spPr bwMode="auto">
          <a:xfrm>
            <a:off x="9438267" y="3347489"/>
            <a:ext cx="154800" cy="223200"/>
          </a:xfrm>
          <a:custGeom>
            <a:avLst/>
            <a:gdLst/>
            <a:ahLst/>
            <a:cxnLst>
              <a:cxn ang="0">
                <a:pos x="112" y="141"/>
              </a:cxn>
              <a:cxn ang="0">
                <a:pos x="105" y="137"/>
              </a:cxn>
              <a:cxn ang="0">
                <a:pos x="86" y="171"/>
              </a:cxn>
              <a:cxn ang="0">
                <a:pos x="66" y="137"/>
              </a:cxn>
              <a:cxn ang="0">
                <a:pos x="59" y="141"/>
              </a:cxn>
              <a:cxn ang="0">
                <a:pos x="82" y="180"/>
              </a:cxn>
              <a:cxn ang="0">
                <a:pos x="82" y="216"/>
              </a:cxn>
              <a:cxn ang="0">
                <a:pos x="90" y="216"/>
              </a:cxn>
              <a:cxn ang="0">
                <a:pos x="90" y="180"/>
              </a:cxn>
              <a:cxn ang="0">
                <a:pos x="112" y="141"/>
              </a:cxn>
              <a:cxn ang="0">
                <a:pos x="110" y="229"/>
              </a:cxn>
              <a:cxn ang="0">
                <a:pos x="61" y="229"/>
              </a:cxn>
              <a:cxn ang="0">
                <a:pos x="41" y="208"/>
              </a:cxn>
              <a:cxn ang="0">
                <a:pos x="11" y="128"/>
              </a:cxn>
              <a:cxn ang="0">
                <a:pos x="0" y="85"/>
              </a:cxn>
              <a:cxn ang="0">
                <a:pos x="86" y="0"/>
              </a:cxn>
              <a:cxn ang="0">
                <a:pos x="171" y="85"/>
              </a:cxn>
              <a:cxn ang="0">
                <a:pos x="160" y="128"/>
              </a:cxn>
              <a:cxn ang="0">
                <a:pos x="130" y="208"/>
              </a:cxn>
              <a:cxn ang="0">
                <a:pos x="110" y="229"/>
              </a:cxn>
              <a:cxn ang="0">
                <a:pos x="105" y="299"/>
              </a:cxn>
              <a:cxn ang="0">
                <a:pos x="85" y="311"/>
              </a:cxn>
              <a:cxn ang="0">
                <a:pos x="65" y="299"/>
              </a:cxn>
              <a:cxn ang="0">
                <a:pos x="105" y="299"/>
              </a:cxn>
              <a:cxn ang="0">
                <a:pos x="116" y="251"/>
              </a:cxn>
              <a:cxn ang="0">
                <a:pos x="55" y="251"/>
              </a:cxn>
              <a:cxn ang="0">
                <a:pos x="51" y="246"/>
              </a:cxn>
              <a:cxn ang="0">
                <a:pos x="51" y="241"/>
              </a:cxn>
              <a:cxn ang="0">
                <a:pos x="55" y="236"/>
              </a:cxn>
              <a:cxn ang="0">
                <a:pos x="116" y="236"/>
              </a:cxn>
              <a:cxn ang="0">
                <a:pos x="120" y="241"/>
              </a:cxn>
              <a:cxn ang="0">
                <a:pos x="120" y="246"/>
              </a:cxn>
              <a:cxn ang="0">
                <a:pos x="116" y="251"/>
              </a:cxn>
              <a:cxn ang="0">
                <a:pos x="116" y="272"/>
              </a:cxn>
              <a:cxn ang="0">
                <a:pos x="55" y="272"/>
              </a:cxn>
              <a:cxn ang="0">
                <a:pos x="51" y="267"/>
              </a:cxn>
              <a:cxn ang="0">
                <a:pos x="51" y="262"/>
              </a:cxn>
              <a:cxn ang="0">
                <a:pos x="55" y="257"/>
              </a:cxn>
              <a:cxn ang="0">
                <a:pos x="116" y="257"/>
              </a:cxn>
              <a:cxn ang="0">
                <a:pos x="120" y="262"/>
              </a:cxn>
              <a:cxn ang="0">
                <a:pos x="120" y="267"/>
              </a:cxn>
              <a:cxn ang="0">
                <a:pos x="116" y="272"/>
              </a:cxn>
              <a:cxn ang="0">
                <a:pos x="116" y="292"/>
              </a:cxn>
              <a:cxn ang="0">
                <a:pos x="55" y="292"/>
              </a:cxn>
              <a:cxn ang="0">
                <a:pos x="51" y="288"/>
              </a:cxn>
              <a:cxn ang="0">
                <a:pos x="51" y="282"/>
              </a:cxn>
              <a:cxn ang="0">
                <a:pos x="55" y="278"/>
              </a:cxn>
              <a:cxn ang="0">
                <a:pos x="116" y="278"/>
              </a:cxn>
              <a:cxn ang="0">
                <a:pos x="120" y="282"/>
              </a:cxn>
              <a:cxn ang="0">
                <a:pos x="120" y="288"/>
              </a:cxn>
              <a:cxn ang="0">
                <a:pos x="116" y="292"/>
              </a:cxn>
            </a:cxnLst>
            <a:rect l="0" t="0" r="r" b="b"/>
            <a:pathLst>
              <a:path w="171" h="311">
                <a:moveTo>
                  <a:pt x="112" y="141"/>
                </a:moveTo>
                <a:cubicBezTo>
                  <a:pt x="105" y="137"/>
                  <a:pt x="105" y="137"/>
                  <a:pt x="105" y="137"/>
                </a:cubicBezTo>
                <a:cubicBezTo>
                  <a:pt x="86" y="171"/>
                  <a:pt x="86" y="171"/>
                  <a:pt x="86" y="171"/>
                </a:cubicBezTo>
                <a:cubicBezTo>
                  <a:pt x="66" y="137"/>
                  <a:pt x="66" y="137"/>
                  <a:pt x="66" y="137"/>
                </a:cubicBezTo>
                <a:cubicBezTo>
                  <a:pt x="59" y="141"/>
                  <a:pt x="59" y="141"/>
                  <a:pt x="59" y="141"/>
                </a:cubicBezTo>
                <a:cubicBezTo>
                  <a:pt x="82" y="180"/>
                  <a:pt x="82" y="180"/>
                  <a:pt x="82" y="180"/>
                </a:cubicBezTo>
                <a:cubicBezTo>
                  <a:pt x="82" y="216"/>
                  <a:pt x="82" y="216"/>
                  <a:pt x="82" y="216"/>
                </a:cubicBezTo>
                <a:cubicBezTo>
                  <a:pt x="90" y="216"/>
                  <a:pt x="90" y="216"/>
                  <a:pt x="90" y="216"/>
                </a:cubicBezTo>
                <a:cubicBezTo>
                  <a:pt x="90" y="180"/>
                  <a:pt x="90" y="180"/>
                  <a:pt x="90" y="180"/>
                </a:cubicBezTo>
                <a:cubicBezTo>
                  <a:pt x="112" y="141"/>
                  <a:pt x="112" y="141"/>
                  <a:pt x="112" y="141"/>
                </a:cubicBezTo>
                <a:close/>
                <a:moveTo>
                  <a:pt x="110" y="229"/>
                </a:moveTo>
                <a:cubicBezTo>
                  <a:pt x="61" y="229"/>
                  <a:pt x="61" y="229"/>
                  <a:pt x="61" y="229"/>
                </a:cubicBezTo>
                <a:cubicBezTo>
                  <a:pt x="48" y="229"/>
                  <a:pt x="44" y="225"/>
                  <a:pt x="41" y="208"/>
                </a:cubicBezTo>
                <a:cubicBezTo>
                  <a:pt x="38" y="187"/>
                  <a:pt x="32" y="166"/>
                  <a:pt x="11" y="128"/>
                </a:cubicBezTo>
                <a:cubicBezTo>
                  <a:pt x="4" y="116"/>
                  <a:pt x="0" y="101"/>
                  <a:pt x="0" y="85"/>
                </a:cubicBezTo>
                <a:cubicBezTo>
                  <a:pt x="0" y="38"/>
                  <a:pt x="38" y="0"/>
                  <a:pt x="86" y="0"/>
                </a:cubicBezTo>
                <a:cubicBezTo>
                  <a:pt x="133" y="0"/>
                  <a:pt x="171" y="38"/>
                  <a:pt x="171" y="85"/>
                </a:cubicBezTo>
                <a:cubicBezTo>
                  <a:pt x="171" y="101"/>
                  <a:pt x="167" y="116"/>
                  <a:pt x="160" y="128"/>
                </a:cubicBezTo>
                <a:cubicBezTo>
                  <a:pt x="139" y="166"/>
                  <a:pt x="133" y="187"/>
                  <a:pt x="130" y="208"/>
                </a:cubicBezTo>
                <a:cubicBezTo>
                  <a:pt x="127" y="225"/>
                  <a:pt x="123" y="229"/>
                  <a:pt x="110" y="229"/>
                </a:cubicBezTo>
                <a:close/>
                <a:moveTo>
                  <a:pt x="105" y="299"/>
                </a:moveTo>
                <a:cubicBezTo>
                  <a:pt x="102" y="306"/>
                  <a:pt x="94" y="311"/>
                  <a:pt x="85" y="311"/>
                </a:cubicBezTo>
                <a:cubicBezTo>
                  <a:pt x="76" y="311"/>
                  <a:pt x="69" y="306"/>
                  <a:pt x="65" y="299"/>
                </a:cubicBezTo>
                <a:cubicBezTo>
                  <a:pt x="105" y="299"/>
                  <a:pt x="105" y="299"/>
                  <a:pt x="105" y="299"/>
                </a:cubicBezTo>
                <a:close/>
                <a:moveTo>
                  <a:pt x="116" y="251"/>
                </a:moveTo>
                <a:cubicBezTo>
                  <a:pt x="55" y="251"/>
                  <a:pt x="55" y="251"/>
                  <a:pt x="55" y="251"/>
                </a:cubicBezTo>
                <a:cubicBezTo>
                  <a:pt x="52" y="251"/>
                  <a:pt x="51" y="249"/>
                  <a:pt x="51" y="246"/>
                </a:cubicBezTo>
                <a:cubicBezTo>
                  <a:pt x="51" y="241"/>
                  <a:pt x="51" y="241"/>
                  <a:pt x="51" y="241"/>
                </a:cubicBezTo>
                <a:cubicBezTo>
                  <a:pt x="51" y="238"/>
                  <a:pt x="52" y="236"/>
                  <a:pt x="55" y="236"/>
                </a:cubicBezTo>
                <a:cubicBezTo>
                  <a:pt x="116" y="236"/>
                  <a:pt x="116" y="236"/>
                  <a:pt x="116" y="236"/>
                </a:cubicBezTo>
                <a:cubicBezTo>
                  <a:pt x="118" y="236"/>
                  <a:pt x="120" y="238"/>
                  <a:pt x="120" y="241"/>
                </a:cubicBezTo>
                <a:cubicBezTo>
                  <a:pt x="120" y="246"/>
                  <a:pt x="120" y="246"/>
                  <a:pt x="120" y="246"/>
                </a:cubicBezTo>
                <a:cubicBezTo>
                  <a:pt x="120" y="249"/>
                  <a:pt x="118" y="251"/>
                  <a:pt x="116" y="251"/>
                </a:cubicBezTo>
                <a:close/>
                <a:moveTo>
                  <a:pt x="116" y="272"/>
                </a:moveTo>
                <a:cubicBezTo>
                  <a:pt x="55" y="272"/>
                  <a:pt x="55" y="272"/>
                  <a:pt x="55" y="272"/>
                </a:cubicBezTo>
                <a:cubicBezTo>
                  <a:pt x="52" y="272"/>
                  <a:pt x="51" y="270"/>
                  <a:pt x="51" y="267"/>
                </a:cubicBezTo>
                <a:cubicBezTo>
                  <a:pt x="51" y="262"/>
                  <a:pt x="51" y="262"/>
                  <a:pt x="51" y="262"/>
                </a:cubicBezTo>
                <a:cubicBezTo>
                  <a:pt x="51" y="259"/>
                  <a:pt x="52" y="257"/>
                  <a:pt x="55" y="257"/>
                </a:cubicBezTo>
                <a:cubicBezTo>
                  <a:pt x="116" y="257"/>
                  <a:pt x="116" y="257"/>
                  <a:pt x="116" y="257"/>
                </a:cubicBezTo>
                <a:cubicBezTo>
                  <a:pt x="118" y="257"/>
                  <a:pt x="120" y="259"/>
                  <a:pt x="120" y="262"/>
                </a:cubicBezTo>
                <a:cubicBezTo>
                  <a:pt x="120" y="267"/>
                  <a:pt x="120" y="267"/>
                  <a:pt x="120" y="267"/>
                </a:cubicBezTo>
                <a:cubicBezTo>
                  <a:pt x="120" y="270"/>
                  <a:pt x="118" y="272"/>
                  <a:pt x="116" y="272"/>
                </a:cubicBezTo>
                <a:close/>
                <a:moveTo>
                  <a:pt x="116" y="292"/>
                </a:moveTo>
                <a:cubicBezTo>
                  <a:pt x="55" y="292"/>
                  <a:pt x="55" y="292"/>
                  <a:pt x="55" y="292"/>
                </a:cubicBezTo>
                <a:cubicBezTo>
                  <a:pt x="52" y="292"/>
                  <a:pt x="51" y="290"/>
                  <a:pt x="51" y="288"/>
                </a:cubicBezTo>
                <a:cubicBezTo>
                  <a:pt x="51" y="282"/>
                  <a:pt x="51" y="282"/>
                  <a:pt x="51" y="282"/>
                </a:cubicBezTo>
                <a:cubicBezTo>
                  <a:pt x="51" y="280"/>
                  <a:pt x="52" y="278"/>
                  <a:pt x="55" y="278"/>
                </a:cubicBezTo>
                <a:cubicBezTo>
                  <a:pt x="116" y="278"/>
                  <a:pt x="116" y="278"/>
                  <a:pt x="116" y="278"/>
                </a:cubicBezTo>
                <a:cubicBezTo>
                  <a:pt x="118" y="278"/>
                  <a:pt x="120" y="280"/>
                  <a:pt x="120" y="282"/>
                </a:cubicBezTo>
                <a:cubicBezTo>
                  <a:pt x="120" y="288"/>
                  <a:pt x="120" y="288"/>
                  <a:pt x="120" y="288"/>
                </a:cubicBezTo>
                <a:cubicBezTo>
                  <a:pt x="120" y="290"/>
                  <a:pt x="118" y="292"/>
                  <a:pt x="116" y="292"/>
                </a:cubicBezTo>
                <a:close/>
              </a:path>
            </a:pathLst>
          </a:custGeom>
          <a:solidFill>
            <a:schemeClr val="tx1"/>
          </a:solidFill>
          <a:ln w="9525">
            <a:noFill/>
            <a:round/>
            <a:headEnd/>
            <a:tailEnd/>
          </a:ln>
        </p:spPr>
        <p:txBody>
          <a:bodyPr vert="horz" wrap="square" lIns="84406" tIns="42203" rIns="84406" bIns="4220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3C3C3B"/>
              </a:solidFill>
              <a:effectLst/>
              <a:uLnTx/>
              <a:uFillTx/>
              <a:latin typeface="Lato"/>
              <a:ea typeface="+mn-ea"/>
              <a:cs typeface="+mn-cs"/>
            </a:endParaRPr>
          </a:p>
        </p:txBody>
      </p:sp>
      <p:sp>
        <p:nvSpPr>
          <p:cNvPr id="178" name="Freeform 7">
            <a:extLst>
              <a:ext uri="{FF2B5EF4-FFF2-40B4-BE49-F238E27FC236}">
                <a16:creationId xmlns:a16="http://schemas.microsoft.com/office/drawing/2014/main" id="{F9C1A4CD-DEE4-47D7-A8B5-CAC6DA641CC9}"/>
              </a:ext>
            </a:extLst>
          </p:cNvPr>
          <p:cNvSpPr>
            <a:spLocks noEditPoints="1"/>
          </p:cNvSpPr>
          <p:nvPr/>
        </p:nvSpPr>
        <p:spPr bwMode="auto">
          <a:xfrm>
            <a:off x="9412428" y="3787982"/>
            <a:ext cx="223200" cy="223200"/>
          </a:xfrm>
          <a:custGeom>
            <a:avLst/>
            <a:gdLst/>
            <a:ahLst/>
            <a:cxnLst>
              <a:cxn ang="0">
                <a:pos x="0" y="38"/>
              </a:cxn>
              <a:cxn ang="0">
                <a:pos x="38" y="0"/>
              </a:cxn>
              <a:cxn ang="0">
                <a:pos x="210" y="0"/>
              </a:cxn>
              <a:cxn ang="0">
                <a:pos x="248" y="38"/>
              </a:cxn>
              <a:cxn ang="0">
                <a:pos x="248" y="210"/>
              </a:cxn>
              <a:cxn ang="0">
                <a:pos x="210" y="248"/>
              </a:cxn>
              <a:cxn ang="0">
                <a:pos x="38" y="248"/>
              </a:cxn>
              <a:cxn ang="0">
                <a:pos x="0" y="210"/>
              </a:cxn>
              <a:cxn ang="0">
                <a:pos x="0" y="38"/>
              </a:cxn>
              <a:cxn ang="0">
                <a:pos x="210" y="21"/>
              </a:cxn>
              <a:cxn ang="0">
                <a:pos x="38" y="21"/>
              </a:cxn>
              <a:cxn ang="0">
                <a:pos x="21" y="38"/>
              </a:cxn>
              <a:cxn ang="0">
                <a:pos x="21" y="210"/>
              </a:cxn>
              <a:cxn ang="0">
                <a:pos x="38" y="227"/>
              </a:cxn>
              <a:cxn ang="0">
                <a:pos x="210" y="227"/>
              </a:cxn>
              <a:cxn ang="0">
                <a:pos x="227" y="210"/>
              </a:cxn>
              <a:cxn ang="0">
                <a:pos x="227" y="38"/>
              </a:cxn>
              <a:cxn ang="0">
                <a:pos x="210" y="21"/>
              </a:cxn>
              <a:cxn ang="0">
                <a:pos x="210" y="30"/>
              </a:cxn>
              <a:cxn ang="0">
                <a:pos x="218" y="38"/>
              </a:cxn>
              <a:cxn ang="0">
                <a:pos x="218" y="210"/>
              </a:cxn>
              <a:cxn ang="0">
                <a:pos x="210" y="218"/>
              </a:cxn>
              <a:cxn ang="0">
                <a:pos x="38" y="218"/>
              </a:cxn>
              <a:cxn ang="0">
                <a:pos x="30" y="210"/>
              </a:cxn>
              <a:cxn ang="0">
                <a:pos x="30" y="38"/>
              </a:cxn>
              <a:cxn ang="0">
                <a:pos x="38" y="30"/>
              </a:cxn>
              <a:cxn ang="0">
                <a:pos x="210" y="30"/>
              </a:cxn>
              <a:cxn ang="0">
                <a:pos x="55" y="124"/>
              </a:cxn>
              <a:cxn ang="0">
                <a:pos x="124" y="193"/>
              </a:cxn>
              <a:cxn ang="0">
                <a:pos x="193" y="124"/>
              </a:cxn>
              <a:cxn ang="0">
                <a:pos x="124" y="55"/>
              </a:cxn>
              <a:cxn ang="0">
                <a:pos x="55" y="124"/>
              </a:cxn>
              <a:cxn ang="0">
                <a:pos x="88" y="124"/>
              </a:cxn>
              <a:cxn ang="0">
                <a:pos x="102" y="110"/>
              </a:cxn>
              <a:cxn ang="0">
                <a:pos x="116" y="124"/>
              </a:cxn>
              <a:cxn ang="0">
                <a:pos x="102" y="139"/>
              </a:cxn>
              <a:cxn ang="0">
                <a:pos x="88" y="124"/>
              </a:cxn>
              <a:cxn ang="0">
                <a:pos x="132" y="124"/>
              </a:cxn>
              <a:cxn ang="0">
                <a:pos x="146" y="110"/>
              </a:cxn>
              <a:cxn ang="0">
                <a:pos x="161" y="124"/>
              </a:cxn>
              <a:cxn ang="0">
                <a:pos x="146" y="139"/>
              </a:cxn>
              <a:cxn ang="0">
                <a:pos x="132" y="124"/>
              </a:cxn>
            </a:cxnLst>
            <a:rect l="0" t="0" r="r" b="b"/>
            <a:pathLst>
              <a:path w="248" h="248">
                <a:moveTo>
                  <a:pt x="0" y="38"/>
                </a:moveTo>
                <a:cubicBezTo>
                  <a:pt x="0" y="17"/>
                  <a:pt x="17" y="0"/>
                  <a:pt x="38" y="0"/>
                </a:cubicBezTo>
                <a:cubicBezTo>
                  <a:pt x="210" y="0"/>
                  <a:pt x="210" y="0"/>
                  <a:pt x="210" y="0"/>
                </a:cubicBezTo>
                <a:cubicBezTo>
                  <a:pt x="231" y="0"/>
                  <a:pt x="248" y="17"/>
                  <a:pt x="248" y="38"/>
                </a:cubicBezTo>
                <a:cubicBezTo>
                  <a:pt x="248" y="210"/>
                  <a:pt x="248" y="210"/>
                  <a:pt x="248" y="210"/>
                </a:cubicBezTo>
                <a:cubicBezTo>
                  <a:pt x="248" y="231"/>
                  <a:pt x="231" y="248"/>
                  <a:pt x="210" y="248"/>
                </a:cubicBezTo>
                <a:cubicBezTo>
                  <a:pt x="38" y="248"/>
                  <a:pt x="38" y="248"/>
                  <a:pt x="38" y="248"/>
                </a:cubicBezTo>
                <a:cubicBezTo>
                  <a:pt x="17" y="248"/>
                  <a:pt x="0" y="231"/>
                  <a:pt x="0" y="210"/>
                </a:cubicBezTo>
                <a:cubicBezTo>
                  <a:pt x="0" y="38"/>
                  <a:pt x="0" y="38"/>
                  <a:pt x="0" y="38"/>
                </a:cubicBezTo>
                <a:close/>
                <a:moveTo>
                  <a:pt x="210" y="21"/>
                </a:moveTo>
                <a:cubicBezTo>
                  <a:pt x="38" y="21"/>
                  <a:pt x="38" y="21"/>
                  <a:pt x="38" y="21"/>
                </a:cubicBezTo>
                <a:cubicBezTo>
                  <a:pt x="29" y="21"/>
                  <a:pt x="21" y="29"/>
                  <a:pt x="21" y="38"/>
                </a:cubicBezTo>
                <a:cubicBezTo>
                  <a:pt x="21" y="210"/>
                  <a:pt x="21" y="210"/>
                  <a:pt x="21" y="210"/>
                </a:cubicBezTo>
                <a:cubicBezTo>
                  <a:pt x="21" y="220"/>
                  <a:pt x="29" y="227"/>
                  <a:pt x="38" y="227"/>
                </a:cubicBezTo>
                <a:cubicBezTo>
                  <a:pt x="210" y="227"/>
                  <a:pt x="210" y="227"/>
                  <a:pt x="210" y="227"/>
                </a:cubicBezTo>
                <a:cubicBezTo>
                  <a:pt x="220" y="227"/>
                  <a:pt x="227" y="220"/>
                  <a:pt x="227" y="210"/>
                </a:cubicBezTo>
                <a:cubicBezTo>
                  <a:pt x="227" y="38"/>
                  <a:pt x="227" y="38"/>
                  <a:pt x="227" y="38"/>
                </a:cubicBezTo>
                <a:cubicBezTo>
                  <a:pt x="227" y="29"/>
                  <a:pt x="220" y="21"/>
                  <a:pt x="210" y="21"/>
                </a:cubicBezTo>
                <a:close/>
                <a:moveTo>
                  <a:pt x="210" y="30"/>
                </a:moveTo>
                <a:cubicBezTo>
                  <a:pt x="215" y="30"/>
                  <a:pt x="218" y="34"/>
                  <a:pt x="218" y="38"/>
                </a:cubicBezTo>
                <a:cubicBezTo>
                  <a:pt x="218" y="210"/>
                  <a:pt x="218" y="210"/>
                  <a:pt x="218" y="210"/>
                </a:cubicBezTo>
                <a:cubicBezTo>
                  <a:pt x="218" y="215"/>
                  <a:pt x="215" y="218"/>
                  <a:pt x="210" y="218"/>
                </a:cubicBezTo>
                <a:cubicBezTo>
                  <a:pt x="38" y="218"/>
                  <a:pt x="38" y="218"/>
                  <a:pt x="38" y="218"/>
                </a:cubicBezTo>
                <a:cubicBezTo>
                  <a:pt x="34" y="218"/>
                  <a:pt x="30" y="215"/>
                  <a:pt x="30" y="210"/>
                </a:cubicBezTo>
                <a:cubicBezTo>
                  <a:pt x="30" y="38"/>
                  <a:pt x="30" y="38"/>
                  <a:pt x="30" y="38"/>
                </a:cubicBezTo>
                <a:cubicBezTo>
                  <a:pt x="30" y="34"/>
                  <a:pt x="34" y="30"/>
                  <a:pt x="38" y="30"/>
                </a:cubicBezTo>
                <a:cubicBezTo>
                  <a:pt x="210" y="30"/>
                  <a:pt x="210" y="30"/>
                  <a:pt x="210" y="30"/>
                </a:cubicBezTo>
                <a:close/>
                <a:moveTo>
                  <a:pt x="55" y="124"/>
                </a:moveTo>
                <a:cubicBezTo>
                  <a:pt x="55" y="162"/>
                  <a:pt x="86" y="193"/>
                  <a:pt x="124" y="193"/>
                </a:cubicBezTo>
                <a:cubicBezTo>
                  <a:pt x="162" y="193"/>
                  <a:pt x="193" y="162"/>
                  <a:pt x="193" y="124"/>
                </a:cubicBezTo>
                <a:cubicBezTo>
                  <a:pt x="193" y="86"/>
                  <a:pt x="162" y="55"/>
                  <a:pt x="124" y="55"/>
                </a:cubicBezTo>
                <a:cubicBezTo>
                  <a:pt x="86" y="55"/>
                  <a:pt x="55" y="86"/>
                  <a:pt x="55" y="124"/>
                </a:cubicBezTo>
                <a:close/>
                <a:moveTo>
                  <a:pt x="88" y="124"/>
                </a:moveTo>
                <a:cubicBezTo>
                  <a:pt x="88" y="116"/>
                  <a:pt x="94" y="110"/>
                  <a:pt x="102" y="110"/>
                </a:cubicBezTo>
                <a:cubicBezTo>
                  <a:pt x="110" y="110"/>
                  <a:pt x="116" y="116"/>
                  <a:pt x="116" y="124"/>
                </a:cubicBezTo>
                <a:cubicBezTo>
                  <a:pt x="116" y="132"/>
                  <a:pt x="110" y="139"/>
                  <a:pt x="102" y="139"/>
                </a:cubicBezTo>
                <a:cubicBezTo>
                  <a:pt x="94" y="139"/>
                  <a:pt x="88" y="132"/>
                  <a:pt x="88" y="124"/>
                </a:cubicBezTo>
                <a:close/>
                <a:moveTo>
                  <a:pt x="132" y="124"/>
                </a:moveTo>
                <a:cubicBezTo>
                  <a:pt x="132" y="116"/>
                  <a:pt x="138" y="110"/>
                  <a:pt x="146" y="110"/>
                </a:cubicBezTo>
                <a:cubicBezTo>
                  <a:pt x="154" y="110"/>
                  <a:pt x="161" y="116"/>
                  <a:pt x="161" y="124"/>
                </a:cubicBezTo>
                <a:cubicBezTo>
                  <a:pt x="161" y="132"/>
                  <a:pt x="154" y="139"/>
                  <a:pt x="146" y="139"/>
                </a:cubicBezTo>
                <a:cubicBezTo>
                  <a:pt x="138" y="139"/>
                  <a:pt x="132" y="132"/>
                  <a:pt x="132" y="124"/>
                </a:cubicBezTo>
                <a:close/>
              </a:path>
            </a:pathLst>
          </a:custGeom>
          <a:solidFill>
            <a:schemeClr val="tx1"/>
          </a:solidFill>
          <a:ln w="9525">
            <a:noFill/>
            <a:round/>
            <a:headEnd/>
            <a:tailEnd/>
          </a:ln>
        </p:spPr>
        <p:txBody>
          <a:bodyPr vert="horz" wrap="square" lIns="84406" tIns="42203" rIns="84406" bIns="4220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3C3C3B"/>
              </a:solidFill>
              <a:effectLst/>
              <a:uLnTx/>
              <a:uFillTx/>
              <a:latin typeface="Lato"/>
              <a:ea typeface="+mn-ea"/>
              <a:cs typeface="+mn-cs"/>
            </a:endParaRPr>
          </a:p>
        </p:txBody>
      </p:sp>
      <p:sp>
        <p:nvSpPr>
          <p:cNvPr id="179" name="Freeform 557">
            <a:extLst>
              <a:ext uri="{FF2B5EF4-FFF2-40B4-BE49-F238E27FC236}">
                <a16:creationId xmlns:a16="http://schemas.microsoft.com/office/drawing/2014/main" id="{E951D554-745D-466C-BA58-7B24EBEC2663}"/>
              </a:ext>
            </a:extLst>
          </p:cNvPr>
          <p:cNvSpPr>
            <a:spLocks/>
          </p:cNvSpPr>
          <p:nvPr/>
        </p:nvSpPr>
        <p:spPr bwMode="auto">
          <a:xfrm>
            <a:off x="9446466" y="4692593"/>
            <a:ext cx="154800" cy="223200"/>
          </a:xfrm>
          <a:custGeom>
            <a:avLst/>
            <a:gdLst/>
            <a:ahLst/>
            <a:cxnLst>
              <a:cxn ang="0">
                <a:pos x="36" y="0"/>
              </a:cxn>
              <a:cxn ang="0">
                <a:pos x="140" y="7"/>
              </a:cxn>
              <a:cxn ang="0">
                <a:pos x="66" y="125"/>
              </a:cxn>
              <a:cxn ang="0">
                <a:pos x="184" y="117"/>
              </a:cxn>
              <a:cxn ang="0">
                <a:pos x="36" y="316"/>
              </a:cxn>
              <a:cxn ang="0">
                <a:pos x="82" y="176"/>
              </a:cxn>
              <a:cxn ang="0">
                <a:pos x="0" y="176"/>
              </a:cxn>
              <a:cxn ang="0">
                <a:pos x="36" y="0"/>
              </a:cxn>
            </a:cxnLst>
            <a:rect l="0" t="0" r="r" b="b"/>
            <a:pathLst>
              <a:path w="184" h="316">
                <a:moveTo>
                  <a:pt x="36" y="0"/>
                </a:moveTo>
                <a:lnTo>
                  <a:pt x="140" y="7"/>
                </a:lnTo>
                <a:lnTo>
                  <a:pt x="66" y="125"/>
                </a:lnTo>
                <a:lnTo>
                  <a:pt x="184" y="117"/>
                </a:lnTo>
                <a:lnTo>
                  <a:pt x="36" y="316"/>
                </a:lnTo>
                <a:lnTo>
                  <a:pt x="82" y="176"/>
                </a:lnTo>
                <a:lnTo>
                  <a:pt x="0" y="176"/>
                </a:lnTo>
                <a:lnTo>
                  <a:pt x="36" y="0"/>
                </a:lnTo>
                <a:close/>
              </a:path>
            </a:pathLst>
          </a:custGeom>
          <a:solidFill>
            <a:schemeClr val="tx1"/>
          </a:solidFill>
          <a:ln w="9525">
            <a:noFill/>
            <a:round/>
            <a:headEnd/>
            <a:tailEnd/>
          </a:ln>
        </p:spPr>
        <p:txBody>
          <a:bodyPr vert="horz" wrap="square" lIns="84406" tIns="42203" rIns="84406" bIns="4220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3C3C3B"/>
              </a:solidFill>
              <a:effectLst/>
              <a:uLnTx/>
              <a:uFillTx/>
              <a:latin typeface="Lato"/>
              <a:ea typeface="+mn-ea"/>
              <a:cs typeface="+mn-cs"/>
            </a:endParaRPr>
          </a:p>
        </p:txBody>
      </p:sp>
      <p:sp>
        <p:nvSpPr>
          <p:cNvPr id="180" name="Freeform 7">
            <a:extLst>
              <a:ext uri="{FF2B5EF4-FFF2-40B4-BE49-F238E27FC236}">
                <a16:creationId xmlns:a16="http://schemas.microsoft.com/office/drawing/2014/main" id="{42BAC114-D011-4C0A-B1EE-24FF0BF90839}"/>
              </a:ext>
            </a:extLst>
          </p:cNvPr>
          <p:cNvSpPr>
            <a:spLocks/>
          </p:cNvSpPr>
          <p:nvPr/>
        </p:nvSpPr>
        <p:spPr bwMode="auto">
          <a:xfrm>
            <a:off x="9425722" y="5127790"/>
            <a:ext cx="154800" cy="223200"/>
          </a:xfrm>
          <a:custGeom>
            <a:avLst/>
            <a:gdLst/>
            <a:ahLst/>
            <a:cxnLst>
              <a:cxn ang="0">
                <a:pos x="268" y="294"/>
              </a:cxn>
              <a:cxn ang="0">
                <a:pos x="241" y="236"/>
              </a:cxn>
              <a:cxn ang="0">
                <a:pos x="150" y="187"/>
              </a:cxn>
              <a:cxn ang="0">
                <a:pos x="102" y="142"/>
              </a:cxn>
              <a:cxn ang="0">
                <a:pos x="145" y="117"/>
              </a:cxn>
              <a:cxn ang="0">
                <a:pos x="192" y="119"/>
              </a:cxn>
              <a:cxn ang="0">
                <a:pos x="234" y="132"/>
              </a:cxn>
              <a:cxn ang="0">
                <a:pos x="249" y="70"/>
              </a:cxn>
              <a:cxn ang="0">
                <a:pos x="181" y="52"/>
              </a:cxn>
              <a:cxn ang="0">
                <a:pos x="181" y="0"/>
              </a:cxn>
              <a:cxn ang="0">
                <a:pos x="102" y="0"/>
              </a:cxn>
              <a:cxn ang="0">
                <a:pos x="102" y="56"/>
              </a:cxn>
              <a:cxn ang="0">
                <a:pos x="37" y="93"/>
              </a:cxn>
              <a:cxn ang="0">
                <a:pos x="19" y="184"/>
              </a:cxn>
              <a:cxn ang="0">
                <a:pos x="75" y="244"/>
              </a:cxn>
              <a:cxn ang="0">
                <a:pos x="175" y="317"/>
              </a:cxn>
              <a:cxn ang="0">
                <a:pos x="74" y="341"/>
              </a:cxn>
              <a:cxn ang="0">
                <a:pos x="26" y="323"/>
              </a:cxn>
              <a:cxn ang="0">
                <a:pos x="19" y="356"/>
              </a:cxn>
              <a:cxn ang="0">
                <a:pos x="25" y="398"/>
              </a:cxn>
              <a:cxn ang="0">
                <a:pos x="74" y="412"/>
              </a:cxn>
              <a:cxn ang="0">
                <a:pos x="102" y="414"/>
              </a:cxn>
              <a:cxn ang="0">
                <a:pos x="102" y="454"/>
              </a:cxn>
              <a:cxn ang="0">
                <a:pos x="181" y="454"/>
              </a:cxn>
              <a:cxn ang="0">
                <a:pos x="181" y="409"/>
              </a:cxn>
              <a:cxn ang="0">
                <a:pos x="220" y="392"/>
              </a:cxn>
              <a:cxn ang="0">
                <a:pos x="259" y="348"/>
              </a:cxn>
              <a:cxn ang="0">
                <a:pos x="268" y="294"/>
              </a:cxn>
            </a:cxnLst>
            <a:rect l="0" t="0" r="r" b="b"/>
            <a:pathLst>
              <a:path w="270" h="454">
                <a:moveTo>
                  <a:pt x="268" y="294"/>
                </a:moveTo>
                <a:cubicBezTo>
                  <a:pt x="266" y="272"/>
                  <a:pt x="258" y="250"/>
                  <a:pt x="241" y="236"/>
                </a:cubicBezTo>
                <a:cubicBezTo>
                  <a:pt x="213" y="215"/>
                  <a:pt x="184" y="196"/>
                  <a:pt x="150" y="187"/>
                </a:cubicBezTo>
                <a:cubicBezTo>
                  <a:pt x="130" y="182"/>
                  <a:pt x="95" y="169"/>
                  <a:pt x="102" y="142"/>
                </a:cubicBezTo>
                <a:cubicBezTo>
                  <a:pt x="105" y="126"/>
                  <a:pt x="131" y="118"/>
                  <a:pt x="145" y="117"/>
                </a:cubicBezTo>
                <a:cubicBezTo>
                  <a:pt x="160" y="115"/>
                  <a:pt x="177" y="116"/>
                  <a:pt x="192" y="119"/>
                </a:cubicBezTo>
                <a:cubicBezTo>
                  <a:pt x="206" y="122"/>
                  <a:pt x="220" y="126"/>
                  <a:pt x="234" y="132"/>
                </a:cubicBezTo>
                <a:cubicBezTo>
                  <a:pt x="238" y="134"/>
                  <a:pt x="251" y="71"/>
                  <a:pt x="249" y="70"/>
                </a:cubicBezTo>
                <a:cubicBezTo>
                  <a:pt x="228" y="61"/>
                  <a:pt x="205" y="55"/>
                  <a:pt x="181" y="52"/>
                </a:cubicBezTo>
                <a:cubicBezTo>
                  <a:pt x="181" y="0"/>
                  <a:pt x="181" y="0"/>
                  <a:pt x="181" y="0"/>
                </a:cubicBezTo>
                <a:cubicBezTo>
                  <a:pt x="102" y="0"/>
                  <a:pt x="102" y="0"/>
                  <a:pt x="102" y="0"/>
                </a:cubicBezTo>
                <a:cubicBezTo>
                  <a:pt x="102" y="56"/>
                  <a:pt x="102" y="56"/>
                  <a:pt x="102" y="56"/>
                </a:cubicBezTo>
                <a:cubicBezTo>
                  <a:pt x="77" y="62"/>
                  <a:pt x="51" y="72"/>
                  <a:pt x="37" y="93"/>
                </a:cubicBezTo>
                <a:cubicBezTo>
                  <a:pt x="17" y="120"/>
                  <a:pt x="13" y="151"/>
                  <a:pt x="19" y="184"/>
                </a:cubicBezTo>
                <a:cubicBezTo>
                  <a:pt x="31" y="212"/>
                  <a:pt x="50" y="229"/>
                  <a:pt x="75" y="244"/>
                </a:cubicBezTo>
                <a:cubicBezTo>
                  <a:pt x="101" y="260"/>
                  <a:pt x="187" y="271"/>
                  <a:pt x="175" y="317"/>
                </a:cubicBezTo>
                <a:cubicBezTo>
                  <a:pt x="165" y="358"/>
                  <a:pt x="103" y="346"/>
                  <a:pt x="74" y="341"/>
                </a:cubicBezTo>
                <a:cubicBezTo>
                  <a:pt x="69" y="340"/>
                  <a:pt x="25" y="329"/>
                  <a:pt x="26" y="323"/>
                </a:cubicBezTo>
                <a:cubicBezTo>
                  <a:pt x="24" y="334"/>
                  <a:pt x="20" y="344"/>
                  <a:pt x="19" y="356"/>
                </a:cubicBezTo>
                <a:cubicBezTo>
                  <a:pt x="16" y="377"/>
                  <a:pt x="0" y="386"/>
                  <a:pt x="25" y="398"/>
                </a:cubicBezTo>
                <a:cubicBezTo>
                  <a:pt x="42" y="405"/>
                  <a:pt x="57" y="410"/>
                  <a:pt x="74" y="412"/>
                </a:cubicBezTo>
                <a:cubicBezTo>
                  <a:pt x="83" y="413"/>
                  <a:pt x="92" y="414"/>
                  <a:pt x="102" y="414"/>
                </a:cubicBezTo>
                <a:cubicBezTo>
                  <a:pt x="102" y="454"/>
                  <a:pt x="102" y="454"/>
                  <a:pt x="102" y="454"/>
                </a:cubicBezTo>
                <a:cubicBezTo>
                  <a:pt x="181" y="454"/>
                  <a:pt x="181" y="454"/>
                  <a:pt x="181" y="454"/>
                </a:cubicBezTo>
                <a:cubicBezTo>
                  <a:pt x="181" y="409"/>
                  <a:pt x="181" y="409"/>
                  <a:pt x="181" y="409"/>
                </a:cubicBezTo>
                <a:cubicBezTo>
                  <a:pt x="195" y="405"/>
                  <a:pt x="209" y="399"/>
                  <a:pt x="220" y="392"/>
                </a:cubicBezTo>
                <a:cubicBezTo>
                  <a:pt x="236" y="381"/>
                  <a:pt x="251" y="366"/>
                  <a:pt x="259" y="348"/>
                </a:cubicBezTo>
                <a:cubicBezTo>
                  <a:pt x="266" y="331"/>
                  <a:pt x="270" y="312"/>
                  <a:pt x="268" y="294"/>
                </a:cubicBezTo>
                <a:close/>
              </a:path>
            </a:pathLst>
          </a:custGeom>
          <a:noFill/>
          <a:ln w="12700" cap="rnd">
            <a:solidFill>
              <a:schemeClr val="tx1"/>
            </a:solidFill>
            <a:prstDash val="solid"/>
            <a:round/>
            <a:headEnd/>
            <a:tailEnd/>
          </a:ln>
        </p:spPr>
        <p:txBody>
          <a:bodyPr vert="horz" wrap="square" lIns="84406" tIns="42203" rIns="84406" bIns="4220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3C3C3B"/>
              </a:solidFill>
              <a:effectLst/>
              <a:uLnTx/>
              <a:uFillTx/>
              <a:latin typeface="Lato"/>
              <a:ea typeface="+mn-ea"/>
              <a:cs typeface="+mn-cs"/>
            </a:endParaRPr>
          </a:p>
        </p:txBody>
      </p:sp>
      <p:sp>
        <p:nvSpPr>
          <p:cNvPr id="21" name="Text Placeholder 14">
            <a:extLst>
              <a:ext uri="{FF2B5EF4-FFF2-40B4-BE49-F238E27FC236}">
                <a16:creationId xmlns:a16="http://schemas.microsoft.com/office/drawing/2014/main" id="{F02B863E-7C2C-47F0-E36C-226599E9C548}"/>
              </a:ext>
            </a:extLst>
          </p:cNvPr>
          <p:cNvSpPr txBox="1">
            <a:spLocks/>
          </p:cNvSpPr>
          <p:nvPr/>
        </p:nvSpPr>
        <p:spPr>
          <a:xfrm>
            <a:off x="381597" y="79401"/>
            <a:ext cx="3852265" cy="184666"/>
          </a:xfrm>
          <a:prstGeom prst="rect">
            <a:avLst/>
          </a:prstGeom>
        </p:spPr>
        <p:txBody>
          <a:bodyPr vert="horz" wrap="square" lIns="0" tIns="0" rIns="0" bIns="0" rtlCol="0">
            <a:sp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750"/>
              </a:spcBef>
              <a:spcAft>
                <a:spcPts val="0"/>
              </a:spcAft>
              <a:buClrTx/>
              <a:buSzTx/>
              <a:buFont typeface="Wingdings" panose="05000000000000000000" pitchFamily="2" charset="2"/>
              <a:buNone/>
              <a:tabLst/>
              <a:defRPr/>
            </a:pPr>
            <a:r>
              <a:rPr kumimoji="0" lang="en-AU" sz="1200" b="0" i="0" u="none" strike="noStrike" kern="1200" cap="none" spc="0" normalizeH="0" baseline="0" noProof="0">
                <a:ln>
                  <a:noFill/>
                </a:ln>
                <a:solidFill>
                  <a:srgbClr val="838383"/>
                </a:solidFill>
                <a:effectLst/>
                <a:uLnTx/>
                <a:uFillTx/>
                <a:latin typeface="Lato" panose="020F0502020204030203" pitchFamily="34" charset="0"/>
                <a:sym typeface="Lato" panose="020F0502020204030203" pitchFamily="34" charset="0"/>
              </a:rPr>
              <a:t>        Appendix</a:t>
            </a:r>
            <a:endParaRPr kumimoji="0" lang="en-GB" sz="1200" b="0" i="0" u="none" strike="noStrike" kern="1200" cap="none" spc="0" normalizeH="0" baseline="0" noProof="0">
              <a:ln>
                <a:noFill/>
              </a:ln>
              <a:solidFill>
                <a:srgbClr val="838383"/>
              </a:solidFill>
              <a:effectLst/>
              <a:uLnTx/>
              <a:uFillTx/>
              <a:latin typeface="Lato" panose="020F0502020204030203" pitchFamily="34" charset="0"/>
              <a:sym typeface="Lato" panose="020F0502020204030203" pitchFamily="34" charset="0"/>
            </a:endParaRPr>
          </a:p>
        </p:txBody>
      </p:sp>
      <p:sp>
        <p:nvSpPr>
          <p:cNvPr id="22" name="Oval 21">
            <a:extLst>
              <a:ext uri="{FF2B5EF4-FFF2-40B4-BE49-F238E27FC236}">
                <a16:creationId xmlns:a16="http://schemas.microsoft.com/office/drawing/2014/main" id="{7E6109F2-F3F8-7E51-3173-6DA51730BC4A}"/>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t>
            </a:r>
          </a:p>
        </p:txBody>
      </p:sp>
    </p:spTree>
    <p:extLst>
      <p:ext uri="{BB962C8B-B14F-4D97-AF65-F5344CB8AC3E}">
        <p14:creationId xmlns:p14="http://schemas.microsoft.com/office/powerpoint/2010/main" val="21977521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think-cell data - do not delete" hidden="1">
            <a:extLst>
              <a:ext uri="{FF2B5EF4-FFF2-40B4-BE49-F238E27FC236}">
                <a16:creationId xmlns:a16="http://schemas.microsoft.com/office/drawing/2014/main" id="{64FA7AD5-ACDE-6BF7-835C-3706C479B4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3" imgW="404" imgH="405" progId="TCLayout.ActiveDocument.1">
                  <p:embed/>
                </p:oleObj>
              </mc:Choice>
              <mc:Fallback>
                <p:oleObj name="think-cell Slide" r:id="rId53" imgW="404" imgH="405" progId="TCLayout.ActiveDocument.1">
                  <p:embed/>
                  <p:pic>
                    <p:nvPicPr>
                      <p:cNvPr id="40" name="think-cell data - do not delete" hidden="1">
                        <a:extLst>
                          <a:ext uri="{FF2B5EF4-FFF2-40B4-BE49-F238E27FC236}">
                            <a16:creationId xmlns:a16="http://schemas.microsoft.com/office/drawing/2014/main" id="{64FA7AD5-ACDE-6BF7-835C-3706C479B492}"/>
                          </a:ext>
                        </a:extLst>
                      </p:cNvPr>
                      <p:cNvPicPr/>
                      <p:nvPr/>
                    </p:nvPicPr>
                    <p:blipFill>
                      <a:blip r:embed="rId54"/>
                      <a:stretch>
                        <a:fillRect/>
                      </a:stretch>
                    </p:blipFill>
                    <p:spPr>
                      <a:xfrm>
                        <a:off x="1588" y="1588"/>
                        <a:ext cx="1588" cy="1588"/>
                      </a:xfrm>
                      <a:prstGeom prst="rect">
                        <a:avLst/>
                      </a:prstGeom>
                    </p:spPr>
                  </p:pic>
                </p:oleObj>
              </mc:Fallback>
            </mc:AlternateContent>
          </a:graphicData>
        </a:graphic>
      </p:graphicFrame>
      <p:sp>
        <p:nvSpPr>
          <p:cNvPr id="209" name="Text Placeholder 19">
            <a:extLst>
              <a:ext uri="{FF2B5EF4-FFF2-40B4-BE49-F238E27FC236}">
                <a16:creationId xmlns:a16="http://schemas.microsoft.com/office/drawing/2014/main" id="{54419952-C4A8-B913-09DB-D419020FBD67}"/>
              </a:ext>
            </a:extLst>
          </p:cNvPr>
          <p:cNvSpPr>
            <a:spLocks noGrp="1"/>
          </p:cNvSpPr>
          <p:nvPr>
            <p:custDataLst>
              <p:tags r:id="rId2"/>
            </p:custDataLst>
          </p:nvPr>
        </p:nvSpPr>
        <p:spPr bwMode="auto">
          <a:xfrm>
            <a:off x="2887663" y="4557713"/>
            <a:ext cx="463550" cy="223838"/>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0638" rIns="0" bIns="20638"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200" b="1" i="0" u="none" strike="noStrike" kern="1200" cap="none" spc="0" normalizeH="0" baseline="0" noProof="0">
                <a:ln>
                  <a:noFill/>
                </a:ln>
                <a:solidFill>
                  <a:srgbClr val="3C3C3B"/>
                </a:solidFill>
                <a:effectLst/>
                <a:uLnTx/>
                <a:uFillTx/>
                <a:latin typeface="Lato"/>
                <a:sym typeface="Lato" panose="020F0502020204030203" pitchFamily="34" charset="0"/>
              </a:rPr>
              <a:t>2024</a:t>
            </a:r>
            <a:endParaRPr kumimoji="0" lang="en-GB" sz="1200" b="1"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210" name="Text Placeholder 19">
            <a:extLst>
              <a:ext uri="{FF2B5EF4-FFF2-40B4-BE49-F238E27FC236}">
                <a16:creationId xmlns:a16="http://schemas.microsoft.com/office/drawing/2014/main" id="{5D4493AE-7414-4EB1-3CDC-D2A35A064241}"/>
              </a:ext>
            </a:extLst>
          </p:cNvPr>
          <p:cNvSpPr>
            <a:spLocks noGrp="1"/>
          </p:cNvSpPr>
          <p:nvPr>
            <p:custDataLst>
              <p:tags r:id="rId3"/>
            </p:custDataLst>
          </p:nvPr>
        </p:nvSpPr>
        <p:spPr bwMode="auto">
          <a:xfrm>
            <a:off x="3351214" y="4557713"/>
            <a:ext cx="447675" cy="223838"/>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0638" rIns="0" bIns="20638"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200" b="1" i="0" u="none" strike="noStrike" kern="1200" cap="none" spc="0" normalizeH="0" baseline="0" noProof="0">
                <a:ln>
                  <a:noFill/>
                </a:ln>
                <a:solidFill>
                  <a:srgbClr val="3C3C3B"/>
                </a:solidFill>
                <a:effectLst/>
                <a:uLnTx/>
                <a:uFillTx/>
                <a:latin typeface="Lato"/>
                <a:sym typeface="Lato" panose="020F0502020204030203" pitchFamily="34" charset="0"/>
              </a:rPr>
              <a:t>2025</a:t>
            </a:r>
            <a:endParaRPr kumimoji="0" lang="en-GB" sz="1200" b="1"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211" name="Text Placeholder 19">
            <a:extLst>
              <a:ext uri="{FF2B5EF4-FFF2-40B4-BE49-F238E27FC236}">
                <a16:creationId xmlns:a16="http://schemas.microsoft.com/office/drawing/2014/main" id="{1EF8D847-38B3-7D9C-520D-C9DF3B971B60}"/>
              </a:ext>
            </a:extLst>
          </p:cNvPr>
          <p:cNvSpPr>
            <a:spLocks noGrp="1"/>
          </p:cNvSpPr>
          <p:nvPr>
            <p:custDataLst>
              <p:tags r:id="rId4"/>
            </p:custDataLst>
          </p:nvPr>
        </p:nvSpPr>
        <p:spPr bwMode="auto">
          <a:xfrm>
            <a:off x="3798888" y="4557713"/>
            <a:ext cx="463550" cy="223838"/>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0638" rIns="0" bIns="20638"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200" b="1" i="0" u="none" strike="noStrike" kern="1200" cap="none" spc="0" normalizeH="0" baseline="0" noProof="0">
                <a:ln>
                  <a:noFill/>
                </a:ln>
                <a:solidFill>
                  <a:srgbClr val="3C3C3B"/>
                </a:solidFill>
                <a:effectLst/>
                <a:uLnTx/>
                <a:uFillTx/>
                <a:latin typeface="Lato"/>
                <a:sym typeface="Lato" panose="020F0502020204030203" pitchFamily="34" charset="0"/>
              </a:rPr>
              <a:t>2026</a:t>
            </a:r>
            <a:endParaRPr kumimoji="0" lang="en-GB" sz="1200" b="1"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212" name="Text Placeholder 19">
            <a:extLst>
              <a:ext uri="{FF2B5EF4-FFF2-40B4-BE49-F238E27FC236}">
                <a16:creationId xmlns:a16="http://schemas.microsoft.com/office/drawing/2014/main" id="{E2F71DB7-1644-26B8-D480-FA04798B558D}"/>
              </a:ext>
            </a:extLst>
          </p:cNvPr>
          <p:cNvSpPr>
            <a:spLocks noGrp="1"/>
          </p:cNvSpPr>
          <p:nvPr>
            <p:custDataLst>
              <p:tags r:id="rId5"/>
            </p:custDataLst>
          </p:nvPr>
        </p:nvSpPr>
        <p:spPr bwMode="auto">
          <a:xfrm>
            <a:off x="4262439" y="4557713"/>
            <a:ext cx="447675" cy="223838"/>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0638" rIns="0" bIns="20638"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200" b="1" i="0" u="none" strike="noStrike" kern="1200" cap="none" spc="0" normalizeH="0" baseline="0" noProof="0">
                <a:ln>
                  <a:noFill/>
                </a:ln>
                <a:solidFill>
                  <a:srgbClr val="3C3C3B"/>
                </a:solidFill>
                <a:effectLst/>
                <a:uLnTx/>
                <a:uFillTx/>
                <a:latin typeface="Lato"/>
                <a:sym typeface="Lato" panose="020F0502020204030203" pitchFamily="34" charset="0"/>
              </a:rPr>
              <a:t>2027</a:t>
            </a:r>
            <a:endParaRPr kumimoji="0" lang="en-GB" sz="1200" b="1"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213" name="Text Placeholder 19">
            <a:extLst>
              <a:ext uri="{FF2B5EF4-FFF2-40B4-BE49-F238E27FC236}">
                <a16:creationId xmlns:a16="http://schemas.microsoft.com/office/drawing/2014/main" id="{DDC0161C-40DA-3C00-0CB7-B095C48C360D}"/>
              </a:ext>
            </a:extLst>
          </p:cNvPr>
          <p:cNvSpPr>
            <a:spLocks noGrp="1"/>
          </p:cNvSpPr>
          <p:nvPr>
            <p:custDataLst>
              <p:tags r:id="rId6"/>
            </p:custDataLst>
          </p:nvPr>
        </p:nvSpPr>
        <p:spPr bwMode="auto">
          <a:xfrm>
            <a:off x="4710113" y="4557713"/>
            <a:ext cx="463550" cy="223838"/>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0638" rIns="0" bIns="20638"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200" b="1" i="0" u="none" strike="noStrike" kern="1200" cap="none" spc="0" normalizeH="0" baseline="0" noProof="0">
                <a:ln>
                  <a:noFill/>
                </a:ln>
                <a:solidFill>
                  <a:srgbClr val="3C3C3B"/>
                </a:solidFill>
                <a:effectLst/>
                <a:uLnTx/>
                <a:uFillTx/>
                <a:latin typeface="Lato"/>
                <a:sym typeface="Lato" panose="020F0502020204030203" pitchFamily="34" charset="0"/>
              </a:rPr>
              <a:t>2028</a:t>
            </a:r>
            <a:endParaRPr kumimoji="0" lang="en-GB" sz="1200" b="1"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214" name="Text Placeholder 19">
            <a:extLst>
              <a:ext uri="{FF2B5EF4-FFF2-40B4-BE49-F238E27FC236}">
                <a16:creationId xmlns:a16="http://schemas.microsoft.com/office/drawing/2014/main" id="{6E4F7F6E-0447-AC23-6D38-3796E5978141}"/>
              </a:ext>
            </a:extLst>
          </p:cNvPr>
          <p:cNvSpPr>
            <a:spLocks noGrp="1"/>
          </p:cNvSpPr>
          <p:nvPr>
            <p:custDataLst>
              <p:tags r:id="rId7"/>
            </p:custDataLst>
          </p:nvPr>
        </p:nvSpPr>
        <p:spPr bwMode="auto">
          <a:xfrm>
            <a:off x="5173663" y="4557713"/>
            <a:ext cx="463550" cy="223838"/>
          </a:xfrm>
          <a:prstGeom prst="rect">
            <a:avLst/>
          </a:prstGeom>
          <a:noFill/>
          <a:ln w="9525" cmpd="sng"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0638" rIns="0" bIns="20638"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200" b="1" i="0" u="none" strike="noStrike" kern="1200" cap="none" spc="0" normalizeH="0" baseline="0" noProof="0">
                <a:ln>
                  <a:noFill/>
                </a:ln>
                <a:solidFill>
                  <a:srgbClr val="3C3C3B"/>
                </a:solidFill>
                <a:effectLst/>
                <a:uLnTx/>
                <a:uFillTx/>
                <a:latin typeface="Lato"/>
                <a:sym typeface="Lato" panose="020F0502020204030203" pitchFamily="34" charset="0"/>
              </a:rPr>
              <a:t>2029</a:t>
            </a:r>
            <a:endParaRPr kumimoji="0" lang="en-GB" sz="1200" b="1" i="0" u="none" strike="noStrike" kern="1200" cap="none" spc="0" normalizeH="0" baseline="0" noProof="0">
              <a:ln>
                <a:noFill/>
              </a:ln>
              <a:solidFill>
                <a:srgbClr val="3C3C3B"/>
              </a:solidFill>
              <a:effectLst/>
              <a:uLnTx/>
              <a:uFillTx/>
              <a:latin typeface="Lato"/>
              <a:sym typeface="Lato" panose="020F0502020204030203" pitchFamily="34" charset="0"/>
            </a:endParaRPr>
          </a:p>
        </p:txBody>
      </p:sp>
      <p:cxnSp>
        <p:nvCxnSpPr>
          <p:cNvPr id="215" name="Straight Connector 214">
            <a:extLst>
              <a:ext uri="{FF2B5EF4-FFF2-40B4-BE49-F238E27FC236}">
                <a16:creationId xmlns:a16="http://schemas.microsoft.com/office/drawing/2014/main" id="{1B728989-4E98-7E74-B6DD-54ED10A7AB70}"/>
              </a:ext>
            </a:extLst>
          </p:cNvPr>
          <p:cNvCxnSpPr/>
          <p:nvPr>
            <p:custDataLst>
              <p:tags r:id="rId8"/>
            </p:custDataLst>
          </p:nvPr>
        </p:nvCxnSpPr>
        <p:spPr bwMode="auto">
          <a:xfrm>
            <a:off x="3351213" y="4781550"/>
            <a:ext cx="0" cy="1576388"/>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6" name="Straight Connector 215">
            <a:extLst>
              <a:ext uri="{FF2B5EF4-FFF2-40B4-BE49-F238E27FC236}">
                <a16:creationId xmlns:a16="http://schemas.microsoft.com/office/drawing/2014/main" id="{8DBABF8D-3734-789F-567F-FF52E3B6665E}"/>
              </a:ext>
            </a:extLst>
          </p:cNvPr>
          <p:cNvCxnSpPr/>
          <p:nvPr>
            <p:custDataLst>
              <p:tags r:id="rId9"/>
            </p:custDataLst>
          </p:nvPr>
        </p:nvCxnSpPr>
        <p:spPr bwMode="auto">
          <a:xfrm>
            <a:off x="3798888" y="4781550"/>
            <a:ext cx="0" cy="1576388"/>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7" name="Straight Connector 216">
            <a:extLst>
              <a:ext uri="{FF2B5EF4-FFF2-40B4-BE49-F238E27FC236}">
                <a16:creationId xmlns:a16="http://schemas.microsoft.com/office/drawing/2014/main" id="{E2B6BC0C-1C48-9AE3-19F5-B49FCEBF3D9C}"/>
              </a:ext>
            </a:extLst>
          </p:cNvPr>
          <p:cNvCxnSpPr/>
          <p:nvPr>
            <p:custDataLst>
              <p:tags r:id="rId10"/>
            </p:custDataLst>
          </p:nvPr>
        </p:nvCxnSpPr>
        <p:spPr bwMode="auto">
          <a:xfrm>
            <a:off x="4262438" y="4781550"/>
            <a:ext cx="0" cy="1576388"/>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8" name="Straight Connector 217">
            <a:extLst>
              <a:ext uri="{FF2B5EF4-FFF2-40B4-BE49-F238E27FC236}">
                <a16:creationId xmlns:a16="http://schemas.microsoft.com/office/drawing/2014/main" id="{3A45EBC0-AD84-4880-76C0-63756E1FD82F}"/>
              </a:ext>
            </a:extLst>
          </p:cNvPr>
          <p:cNvCxnSpPr/>
          <p:nvPr>
            <p:custDataLst>
              <p:tags r:id="rId11"/>
            </p:custDataLst>
          </p:nvPr>
        </p:nvCxnSpPr>
        <p:spPr bwMode="auto">
          <a:xfrm>
            <a:off x="4710113" y="4781550"/>
            <a:ext cx="0" cy="1576388"/>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9" name="Straight Connector 218">
            <a:extLst>
              <a:ext uri="{FF2B5EF4-FFF2-40B4-BE49-F238E27FC236}">
                <a16:creationId xmlns:a16="http://schemas.microsoft.com/office/drawing/2014/main" id="{156C3684-3B0B-FBD3-7363-3EE9F2D47D22}"/>
              </a:ext>
            </a:extLst>
          </p:cNvPr>
          <p:cNvCxnSpPr/>
          <p:nvPr>
            <p:custDataLst>
              <p:tags r:id="rId12"/>
            </p:custDataLst>
          </p:nvPr>
        </p:nvCxnSpPr>
        <p:spPr bwMode="auto">
          <a:xfrm>
            <a:off x="5173663" y="4781550"/>
            <a:ext cx="0" cy="1576388"/>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0" name="Straight Connector 219">
            <a:extLst>
              <a:ext uri="{FF2B5EF4-FFF2-40B4-BE49-F238E27FC236}">
                <a16:creationId xmlns:a16="http://schemas.microsoft.com/office/drawing/2014/main" id="{D7D8093D-3A07-85F4-69D2-650AAB25B658}"/>
              </a:ext>
            </a:extLst>
          </p:cNvPr>
          <p:cNvCxnSpPr/>
          <p:nvPr>
            <p:custDataLst>
              <p:tags r:id="rId13"/>
            </p:custDataLst>
          </p:nvPr>
        </p:nvCxnSpPr>
        <p:spPr bwMode="auto">
          <a:xfrm>
            <a:off x="2887663" y="4781550"/>
            <a:ext cx="0" cy="157638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1" name="Straight Connector 220">
            <a:extLst>
              <a:ext uri="{FF2B5EF4-FFF2-40B4-BE49-F238E27FC236}">
                <a16:creationId xmlns:a16="http://schemas.microsoft.com/office/drawing/2014/main" id="{0A92B055-4049-3DE4-5A0B-B7C12C09FF96}"/>
              </a:ext>
            </a:extLst>
          </p:cNvPr>
          <p:cNvCxnSpPr/>
          <p:nvPr>
            <p:custDataLst>
              <p:tags r:id="rId14"/>
            </p:custDataLst>
          </p:nvPr>
        </p:nvCxnSpPr>
        <p:spPr bwMode="auto">
          <a:xfrm>
            <a:off x="5637213" y="4781550"/>
            <a:ext cx="0" cy="157638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2" name="Straight Connector 221">
            <a:extLst>
              <a:ext uri="{FF2B5EF4-FFF2-40B4-BE49-F238E27FC236}">
                <a16:creationId xmlns:a16="http://schemas.microsoft.com/office/drawing/2014/main" id="{EAA7FC59-DDC6-4E07-E33D-75AEFB0C9C37}"/>
              </a:ext>
            </a:extLst>
          </p:cNvPr>
          <p:cNvCxnSpPr/>
          <p:nvPr>
            <p:custDataLst>
              <p:tags r:id="rId15"/>
            </p:custDataLst>
          </p:nvPr>
        </p:nvCxnSpPr>
        <p:spPr bwMode="auto">
          <a:xfrm>
            <a:off x="395288" y="4781550"/>
            <a:ext cx="0" cy="157638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0" name="Straight Connector 279">
            <a:extLst>
              <a:ext uri="{FF2B5EF4-FFF2-40B4-BE49-F238E27FC236}">
                <a16:creationId xmlns:a16="http://schemas.microsoft.com/office/drawing/2014/main" id="{AA1B68AB-EDDB-BF06-2588-FF302AB97CEE}"/>
              </a:ext>
            </a:extLst>
          </p:cNvPr>
          <p:cNvCxnSpPr/>
          <p:nvPr>
            <p:custDataLst>
              <p:tags r:id="rId16"/>
            </p:custDataLst>
          </p:nvPr>
        </p:nvCxnSpPr>
        <p:spPr bwMode="auto">
          <a:xfrm>
            <a:off x="395288" y="5765800"/>
            <a:ext cx="5241925"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7" name="Straight Connector 226">
            <a:extLst>
              <a:ext uri="{FF2B5EF4-FFF2-40B4-BE49-F238E27FC236}">
                <a16:creationId xmlns:a16="http://schemas.microsoft.com/office/drawing/2014/main" id="{5FE9A9A1-5F2F-17E5-93BC-90ECFB568CDF}"/>
              </a:ext>
            </a:extLst>
          </p:cNvPr>
          <p:cNvCxnSpPr/>
          <p:nvPr>
            <p:custDataLst>
              <p:tags r:id="rId17"/>
            </p:custDataLst>
          </p:nvPr>
        </p:nvCxnSpPr>
        <p:spPr bwMode="auto">
          <a:xfrm>
            <a:off x="395288" y="6357938"/>
            <a:ext cx="5241925"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8" name="Straight Connector 227">
            <a:extLst>
              <a:ext uri="{FF2B5EF4-FFF2-40B4-BE49-F238E27FC236}">
                <a16:creationId xmlns:a16="http://schemas.microsoft.com/office/drawing/2014/main" id="{9EB9D917-465D-1DD5-70B4-8B19DA16D566}"/>
              </a:ext>
            </a:extLst>
          </p:cNvPr>
          <p:cNvCxnSpPr/>
          <p:nvPr>
            <p:custDataLst>
              <p:tags r:id="rId18"/>
            </p:custDataLst>
          </p:nvPr>
        </p:nvCxnSpPr>
        <p:spPr bwMode="auto">
          <a:xfrm>
            <a:off x="395288" y="4781550"/>
            <a:ext cx="5241925"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51" name="Arrow: Right 250">
            <a:extLst>
              <a:ext uri="{FF2B5EF4-FFF2-40B4-BE49-F238E27FC236}">
                <a16:creationId xmlns:a16="http://schemas.microsoft.com/office/drawing/2014/main" id="{5EA48649-59B5-16C9-269D-5FB46D359744}"/>
              </a:ext>
            </a:extLst>
          </p:cNvPr>
          <p:cNvSpPr/>
          <p:nvPr>
            <p:custDataLst>
              <p:tags r:id="rId19"/>
            </p:custDataLst>
          </p:nvPr>
        </p:nvSpPr>
        <p:spPr bwMode="auto">
          <a:xfrm>
            <a:off x="5173663" y="6151563"/>
            <a:ext cx="579438" cy="196850"/>
          </a:xfrm>
          <a:prstGeom prst="rightArrow">
            <a:avLst>
              <a:gd name="adj1" fmla="val 50000"/>
              <a:gd name="adj2" fmla="val 40660"/>
            </a:avLst>
          </a:prstGeom>
          <a:solidFill>
            <a:srgbClr val="4E5F6E"/>
          </a:solidFill>
          <a:ln w="6350"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229" name="Arrow: Right 228">
            <a:extLst>
              <a:ext uri="{FF2B5EF4-FFF2-40B4-BE49-F238E27FC236}">
                <a16:creationId xmlns:a16="http://schemas.microsoft.com/office/drawing/2014/main" id="{29DC77AB-CF2F-F00F-DFB2-DFD3E3E6FA3E}"/>
              </a:ext>
            </a:extLst>
          </p:cNvPr>
          <p:cNvSpPr/>
          <p:nvPr>
            <p:custDataLst>
              <p:tags r:id="rId20"/>
            </p:custDataLst>
          </p:nvPr>
        </p:nvSpPr>
        <p:spPr bwMode="auto">
          <a:xfrm>
            <a:off x="2887663" y="4972050"/>
            <a:ext cx="2865438" cy="196850"/>
          </a:xfrm>
          <a:prstGeom prst="rightArrow">
            <a:avLst>
              <a:gd name="adj1" fmla="val 50000"/>
              <a:gd name="adj2" fmla="val 40660"/>
            </a:avLst>
          </a:prstGeom>
          <a:solidFill>
            <a:srgbClr val="A6964E"/>
          </a:solidFill>
          <a:ln w="6350"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249" name="Arrow: Right 248">
            <a:extLst>
              <a:ext uri="{FF2B5EF4-FFF2-40B4-BE49-F238E27FC236}">
                <a16:creationId xmlns:a16="http://schemas.microsoft.com/office/drawing/2014/main" id="{C880E28E-08BD-7263-9CAF-637676C51B00}"/>
              </a:ext>
            </a:extLst>
          </p:cNvPr>
          <p:cNvSpPr/>
          <p:nvPr>
            <p:custDataLst>
              <p:tags r:id="rId21"/>
            </p:custDataLst>
          </p:nvPr>
        </p:nvSpPr>
        <p:spPr bwMode="auto">
          <a:xfrm>
            <a:off x="3365500" y="5167313"/>
            <a:ext cx="2387600" cy="196850"/>
          </a:xfrm>
          <a:prstGeom prst="rightArrow">
            <a:avLst>
              <a:gd name="adj1" fmla="val 50000"/>
              <a:gd name="adj2" fmla="val 40660"/>
            </a:avLst>
          </a:prstGeom>
          <a:solidFill>
            <a:srgbClr val="A6B727"/>
          </a:solidFill>
          <a:ln w="6350"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255" name="Rectangle 254">
            <a:extLst>
              <a:ext uri="{FF2B5EF4-FFF2-40B4-BE49-F238E27FC236}">
                <a16:creationId xmlns:a16="http://schemas.microsoft.com/office/drawing/2014/main" id="{21C7A630-9C20-3DB6-E2E1-482D7E7AD7BE}"/>
              </a:ext>
            </a:extLst>
          </p:cNvPr>
          <p:cNvSpPr/>
          <p:nvPr>
            <p:custDataLst>
              <p:tags r:id="rId22"/>
            </p:custDataLst>
          </p:nvPr>
        </p:nvSpPr>
        <p:spPr bwMode="auto">
          <a:xfrm>
            <a:off x="2887663" y="5411788"/>
            <a:ext cx="463550" cy="98425"/>
          </a:xfrm>
          <a:prstGeom prst="rect">
            <a:avLst/>
          </a:prstGeom>
          <a:solidFill>
            <a:srgbClr val="747474"/>
          </a:solidFill>
          <a:ln w="6350"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256" name="Arrow: Right 255">
            <a:extLst>
              <a:ext uri="{FF2B5EF4-FFF2-40B4-BE49-F238E27FC236}">
                <a16:creationId xmlns:a16="http://schemas.microsoft.com/office/drawing/2014/main" id="{7B7098C4-BB9F-143C-150F-882A2AA9917A}"/>
              </a:ext>
            </a:extLst>
          </p:cNvPr>
          <p:cNvSpPr/>
          <p:nvPr>
            <p:custDataLst>
              <p:tags r:id="rId23"/>
            </p:custDataLst>
          </p:nvPr>
        </p:nvSpPr>
        <p:spPr bwMode="auto">
          <a:xfrm>
            <a:off x="2887663" y="5559425"/>
            <a:ext cx="2865438" cy="196850"/>
          </a:xfrm>
          <a:prstGeom prst="rightArrow">
            <a:avLst>
              <a:gd name="adj1" fmla="val 50000"/>
              <a:gd name="adj2" fmla="val 40660"/>
            </a:avLst>
          </a:prstGeom>
          <a:solidFill>
            <a:srgbClr val="747474"/>
          </a:solidFill>
          <a:ln w="6350"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250" name="Arrow: Right 249">
            <a:extLst>
              <a:ext uri="{FF2B5EF4-FFF2-40B4-BE49-F238E27FC236}">
                <a16:creationId xmlns:a16="http://schemas.microsoft.com/office/drawing/2014/main" id="{12BB00FF-3C4A-0854-5513-338D11AC4108}"/>
              </a:ext>
            </a:extLst>
          </p:cNvPr>
          <p:cNvSpPr/>
          <p:nvPr>
            <p:custDataLst>
              <p:tags r:id="rId24"/>
            </p:custDataLst>
          </p:nvPr>
        </p:nvSpPr>
        <p:spPr bwMode="auto">
          <a:xfrm>
            <a:off x="2947989" y="5956300"/>
            <a:ext cx="2805113" cy="196850"/>
          </a:xfrm>
          <a:prstGeom prst="rightArrow">
            <a:avLst>
              <a:gd name="adj1" fmla="val 50000"/>
              <a:gd name="adj2" fmla="val 40660"/>
            </a:avLst>
          </a:prstGeom>
          <a:solidFill>
            <a:srgbClr val="6F8DB9"/>
          </a:solidFill>
          <a:ln w="6350"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258" name="Rectangle 257">
            <a:extLst>
              <a:ext uri="{FF2B5EF4-FFF2-40B4-BE49-F238E27FC236}">
                <a16:creationId xmlns:a16="http://schemas.microsoft.com/office/drawing/2014/main" id="{9822CA48-1AD6-59EA-49D4-44BE306F2AC1}"/>
              </a:ext>
            </a:extLst>
          </p:cNvPr>
          <p:cNvSpPr/>
          <p:nvPr>
            <p:custDataLst>
              <p:tags r:id="rId25"/>
            </p:custDataLst>
          </p:nvPr>
        </p:nvSpPr>
        <p:spPr bwMode="auto">
          <a:xfrm>
            <a:off x="4262439" y="6210300"/>
            <a:ext cx="911225" cy="79375"/>
          </a:xfrm>
          <a:prstGeom prst="rect">
            <a:avLst/>
          </a:prstGeom>
          <a:solidFill>
            <a:schemeClr val="bg1"/>
          </a:solidFill>
          <a:ln w="19050" cap="flat" cmpd="sng" algn="ctr">
            <a:solidFill>
              <a:srgbClr val="4E5F6E"/>
            </a:solidFill>
            <a:prstDash val="dash"/>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231" name="Text Placeholder 19">
            <a:extLst>
              <a:ext uri="{FF2B5EF4-FFF2-40B4-BE49-F238E27FC236}">
                <a16:creationId xmlns:a16="http://schemas.microsoft.com/office/drawing/2014/main" id="{0889A2C7-9114-39D1-8BD8-DEC59C9C7172}"/>
              </a:ext>
            </a:extLst>
          </p:cNvPr>
          <p:cNvSpPr>
            <a:spLocks noGrp="1"/>
          </p:cNvSpPr>
          <p:nvPr>
            <p:custDataLst>
              <p:tags r:id="rId26"/>
            </p:custDataLst>
          </p:nvPr>
        </p:nvSpPr>
        <p:spPr bwMode="auto">
          <a:xfrm>
            <a:off x="455613" y="4791075"/>
            <a:ext cx="811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sz="1200" b="1" i="0" u="sng" strike="noStrike" kern="1200" cap="none" spc="0" normalizeH="0" baseline="0" noProof="0">
                <a:ln>
                  <a:noFill/>
                </a:ln>
                <a:solidFill>
                  <a:srgbClr val="3C3C3B"/>
                </a:solidFill>
                <a:effectLst/>
                <a:uLnTx/>
                <a:uFillTx/>
                <a:latin typeface="Lato"/>
                <a:sym typeface="Lato" panose="020F0502020204030203" pitchFamily="34" charset="0"/>
              </a:rPr>
              <a:t>IRA’s MERP</a:t>
            </a:r>
          </a:p>
        </p:txBody>
      </p:sp>
      <p:sp>
        <p:nvSpPr>
          <p:cNvPr id="282" name="Text Placeholder 19">
            <a:extLst>
              <a:ext uri="{FF2B5EF4-FFF2-40B4-BE49-F238E27FC236}">
                <a16:creationId xmlns:a16="http://schemas.microsoft.com/office/drawing/2014/main" id="{71C5CF06-CE59-EB56-22EE-C89A4A8D794B}"/>
              </a:ext>
            </a:extLst>
          </p:cNvPr>
          <p:cNvSpPr>
            <a:spLocks noGrp="1"/>
          </p:cNvSpPr>
          <p:nvPr>
            <p:custDataLst>
              <p:tags r:id="rId27"/>
            </p:custDataLst>
          </p:nvPr>
        </p:nvSpPr>
        <p:spPr bwMode="auto">
          <a:xfrm>
            <a:off x="455613" y="4986338"/>
            <a:ext cx="22177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200" b="0" i="0" u="none" strike="noStrike" kern="1200" cap="none" spc="0" normalizeH="0" baseline="0" noProof="0">
                <a:ln>
                  <a:noFill/>
                </a:ln>
                <a:solidFill>
                  <a:srgbClr val="3C3C3B"/>
                </a:solidFill>
                <a:effectLst/>
                <a:uLnTx/>
                <a:uFillTx/>
                <a:latin typeface="Lato"/>
                <a:sym typeface="Lato" panose="020F0502020204030203" pitchFamily="34" charset="0"/>
              </a:rPr>
              <a:t>Waste Emissions Charge in effect</a:t>
            </a:r>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232" name="Text Placeholder 19">
            <a:extLst>
              <a:ext uri="{FF2B5EF4-FFF2-40B4-BE49-F238E27FC236}">
                <a16:creationId xmlns:a16="http://schemas.microsoft.com/office/drawing/2014/main" id="{25DF0975-C8A2-7361-0375-6BB8EC466BD5}"/>
              </a:ext>
            </a:extLst>
          </p:cNvPr>
          <p:cNvSpPr>
            <a:spLocks noGrp="1"/>
          </p:cNvSpPr>
          <p:nvPr>
            <p:custDataLst>
              <p:tags r:id="rId28"/>
            </p:custDataLst>
          </p:nvPr>
        </p:nvSpPr>
        <p:spPr bwMode="auto">
          <a:xfrm>
            <a:off x="455613" y="5181600"/>
            <a:ext cx="23034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200" b="0" i="0" u="none" strike="noStrike" kern="1200" cap="none" spc="0" normalizeH="0" baseline="0" noProof="0">
                <a:ln>
                  <a:noFill/>
                </a:ln>
                <a:solidFill>
                  <a:srgbClr val="3C3C3B"/>
                </a:solidFill>
                <a:effectLst/>
                <a:uLnTx/>
                <a:uFillTx/>
                <a:latin typeface="Lato"/>
                <a:sym typeface="Lato" panose="020F0502020204030203" pitchFamily="34" charset="0"/>
              </a:rPr>
              <a:t>Revised Subpart W GHG reporting</a:t>
            </a:r>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235" name="Text Placeholder 19">
            <a:extLst>
              <a:ext uri="{FF2B5EF4-FFF2-40B4-BE49-F238E27FC236}">
                <a16:creationId xmlns:a16="http://schemas.microsoft.com/office/drawing/2014/main" id="{4CDFEF61-CAD3-B1F6-7950-1266D75AE4FC}"/>
              </a:ext>
            </a:extLst>
          </p:cNvPr>
          <p:cNvSpPr>
            <a:spLocks noGrp="1"/>
          </p:cNvSpPr>
          <p:nvPr>
            <p:custDataLst>
              <p:tags r:id="rId29"/>
            </p:custDataLst>
          </p:nvPr>
        </p:nvSpPr>
        <p:spPr bwMode="auto">
          <a:xfrm>
            <a:off x="455613" y="5376863"/>
            <a:ext cx="13176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200" b="0" i="0" u="none" strike="noStrike" kern="1200" cap="none" spc="0" normalizeH="0" baseline="0" noProof="0">
                <a:ln>
                  <a:noFill/>
                </a:ln>
                <a:solidFill>
                  <a:srgbClr val="3C3C3B"/>
                </a:solidFill>
                <a:effectLst/>
                <a:uLnTx/>
                <a:uFillTx/>
                <a:latin typeface="Lato"/>
                <a:sym typeface="Lato" panose="020F0502020204030203" pitchFamily="34" charset="0"/>
              </a:rPr>
              <a:t>Financial assistance</a:t>
            </a:r>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252" name="Text Placeholder 19">
            <a:extLst>
              <a:ext uri="{FF2B5EF4-FFF2-40B4-BE49-F238E27FC236}">
                <a16:creationId xmlns:a16="http://schemas.microsoft.com/office/drawing/2014/main" id="{E7F03D89-1F4E-2691-A714-3D6182F037E2}"/>
              </a:ext>
            </a:extLst>
          </p:cNvPr>
          <p:cNvSpPr>
            <a:spLocks noGrp="1"/>
          </p:cNvSpPr>
          <p:nvPr>
            <p:custDataLst>
              <p:tags r:id="rId30"/>
            </p:custDataLst>
          </p:nvPr>
        </p:nvSpPr>
        <p:spPr bwMode="auto">
          <a:xfrm>
            <a:off x="455613" y="5573713"/>
            <a:ext cx="1355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200" b="0" i="0" u="none" strike="noStrike" kern="1200" cap="none" spc="0" normalizeH="0" baseline="0" noProof="0">
                <a:ln>
                  <a:noFill/>
                </a:ln>
                <a:solidFill>
                  <a:srgbClr val="3C3C3B"/>
                </a:solidFill>
                <a:effectLst/>
                <a:uLnTx/>
                <a:uFillTx/>
                <a:latin typeface="Lato"/>
                <a:sym typeface="Lato" panose="020F0502020204030203" pitchFamily="34" charset="0"/>
              </a:rPr>
              <a:t>Technical assistance</a:t>
            </a:r>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278" name="Text Placeholder 19">
            <a:extLst>
              <a:ext uri="{FF2B5EF4-FFF2-40B4-BE49-F238E27FC236}">
                <a16:creationId xmlns:a16="http://schemas.microsoft.com/office/drawing/2014/main" id="{700CA5E7-D37A-26A0-690F-B968716F3786}"/>
              </a:ext>
            </a:extLst>
          </p:cNvPr>
          <p:cNvSpPr>
            <a:spLocks noGrp="1"/>
          </p:cNvSpPr>
          <p:nvPr>
            <p:custDataLst>
              <p:tags r:id="rId31"/>
            </p:custDataLst>
          </p:nvPr>
        </p:nvSpPr>
        <p:spPr bwMode="auto">
          <a:xfrm>
            <a:off x="455613" y="5775325"/>
            <a:ext cx="1311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200" b="1" i="0" u="sng" strike="noStrike" kern="1200" cap="none" spc="0" normalizeH="0" baseline="0" noProof="0">
                <a:ln>
                  <a:noFill/>
                </a:ln>
                <a:solidFill>
                  <a:srgbClr val="3C3C3B"/>
                </a:solidFill>
                <a:effectLst/>
                <a:uLnTx/>
                <a:uFillTx/>
                <a:latin typeface="Lato"/>
                <a:sym typeface="Lato" panose="020F0502020204030203" pitchFamily="34" charset="0"/>
              </a:rPr>
              <a:t>EPA ‘Quad-O’ rules</a:t>
            </a:r>
            <a:endParaRPr kumimoji="0" lang="en-GB" sz="1200" b="1" i="0" u="sng"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262" name="Text Placeholder 19">
            <a:extLst>
              <a:ext uri="{FF2B5EF4-FFF2-40B4-BE49-F238E27FC236}">
                <a16:creationId xmlns:a16="http://schemas.microsoft.com/office/drawing/2014/main" id="{8E6BD108-D514-EC25-992C-8C0A5E837CCE}"/>
              </a:ext>
            </a:extLst>
          </p:cNvPr>
          <p:cNvSpPr>
            <a:spLocks noGrp="1"/>
          </p:cNvSpPr>
          <p:nvPr>
            <p:custDataLst>
              <p:tags r:id="rId32"/>
            </p:custDataLst>
          </p:nvPr>
        </p:nvSpPr>
        <p:spPr bwMode="auto">
          <a:xfrm>
            <a:off x="455613" y="5970588"/>
            <a:ext cx="2371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200" b="0" i="0" u="none" strike="noStrike" kern="1200" cap="none" spc="0" normalizeH="0" baseline="0" noProof="0">
                <a:ln>
                  <a:noFill/>
                </a:ln>
                <a:solidFill>
                  <a:srgbClr val="3C3C3B"/>
                </a:solidFill>
                <a:effectLst/>
                <a:uLnTx/>
                <a:uFillTx/>
                <a:latin typeface="Lato"/>
                <a:sym typeface="Lato" panose="020F0502020204030203" pitchFamily="34" charset="0"/>
              </a:rPr>
              <a:t>NSPS OOOOb required compliance</a:t>
            </a:r>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266" name="Text Placeholder 19">
            <a:extLst>
              <a:ext uri="{FF2B5EF4-FFF2-40B4-BE49-F238E27FC236}">
                <a16:creationId xmlns:a16="http://schemas.microsoft.com/office/drawing/2014/main" id="{C54F13D6-0CF5-66DA-9AB7-AB5E60A4C752}"/>
              </a:ext>
            </a:extLst>
          </p:cNvPr>
          <p:cNvSpPr>
            <a:spLocks noGrp="1"/>
          </p:cNvSpPr>
          <p:nvPr>
            <p:custDataLst>
              <p:tags r:id="rId33"/>
            </p:custDataLst>
          </p:nvPr>
        </p:nvSpPr>
        <p:spPr bwMode="auto">
          <a:xfrm>
            <a:off x="455614" y="6165850"/>
            <a:ext cx="2244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200" b="0" i="0" u="none" strike="noStrike" kern="1200" cap="none" spc="0" normalizeH="0" baseline="0" noProof="0">
                <a:ln>
                  <a:noFill/>
                </a:ln>
                <a:solidFill>
                  <a:srgbClr val="3C3C3B"/>
                </a:solidFill>
                <a:effectLst/>
                <a:uLnTx/>
                <a:uFillTx/>
                <a:latin typeface="Lato"/>
                <a:sym typeface="Lato" panose="020F0502020204030203" pitchFamily="34" charset="0"/>
              </a:rPr>
              <a:t>EG </a:t>
            </a:r>
            <a:r>
              <a:rPr kumimoji="0" lang="en-GB" altLang="en-US" sz="1200" b="0" i="0" u="none" strike="noStrike" kern="1200" cap="none" spc="0" normalizeH="0" baseline="0" noProof="0" err="1">
                <a:ln>
                  <a:noFill/>
                </a:ln>
                <a:solidFill>
                  <a:srgbClr val="3C3C3B"/>
                </a:solidFill>
                <a:effectLst/>
                <a:uLnTx/>
                <a:uFillTx/>
                <a:latin typeface="Lato"/>
                <a:sym typeface="Lato" panose="020F0502020204030203" pitchFamily="34" charset="0"/>
              </a:rPr>
              <a:t>OOOOc</a:t>
            </a:r>
            <a:r>
              <a:rPr kumimoji="0" lang="en-GB" altLang="en-US" sz="1200" b="0" i="0" u="none" strike="noStrike" kern="1200" cap="none" spc="0" normalizeH="0" baseline="0" noProof="0">
                <a:ln>
                  <a:noFill/>
                </a:ln>
                <a:solidFill>
                  <a:srgbClr val="3C3C3B"/>
                </a:solidFill>
                <a:effectLst/>
                <a:uLnTx/>
                <a:uFillTx/>
                <a:latin typeface="Lato"/>
                <a:sym typeface="Lato" panose="020F0502020204030203" pitchFamily="34" charset="0"/>
              </a:rPr>
              <a:t> required compliance</a:t>
            </a:r>
            <a:r>
              <a:rPr kumimoji="0" lang="en-GB" altLang="en-US" sz="1200" b="0" i="0" u="none" strike="noStrike" kern="1200" cap="none" spc="0" normalizeH="0" baseline="30000" noProof="0">
                <a:ln>
                  <a:noFill/>
                </a:ln>
                <a:solidFill>
                  <a:srgbClr val="3C3C3B"/>
                </a:solidFill>
                <a:effectLst/>
                <a:uLnTx/>
                <a:uFillTx/>
                <a:latin typeface="Lato"/>
                <a:sym typeface="Lato" panose="020F0502020204030203" pitchFamily="34" charset="0"/>
              </a:rPr>
              <a:t>4</a:t>
            </a:r>
            <a:endParaRPr kumimoji="0" lang="en-GB" sz="1200" b="0" i="0" u="none" strike="noStrike" kern="1200" cap="none" spc="0" normalizeH="0" baseline="30000" noProof="0">
              <a:ln>
                <a:noFill/>
              </a:ln>
              <a:solidFill>
                <a:srgbClr val="3C3C3B"/>
              </a:solidFill>
              <a:effectLst/>
              <a:highlight>
                <a:srgbClr val="FFFF00"/>
              </a:highlight>
              <a:uLnTx/>
              <a:uFillTx/>
              <a:latin typeface="Lato"/>
              <a:sym typeface="Lato" panose="020F0502020204030203" pitchFamily="34" charset="0"/>
            </a:endParaRPr>
          </a:p>
        </p:txBody>
      </p:sp>
      <p:sp>
        <p:nvSpPr>
          <p:cNvPr id="3" name="Text Placeholder 2">
            <a:extLst>
              <a:ext uri="{FF2B5EF4-FFF2-40B4-BE49-F238E27FC236}">
                <a16:creationId xmlns:a16="http://schemas.microsoft.com/office/drawing/2014/main" id="{303C0D88-62E4-92AD-E6C0-240540741FAD}"/>
              </a:ext>
            </a:extLst>
          </p:cNvPr>
          <p:cNvSpPr>
            <a:spLocks noGrp="1"/>
          </p:cNvSpPr>
          <p:nvPr>
            <p:ph type="body" sz="quarter" idx="22"/>
          </p:nvPr>
        </p:nvSpPr>
        <p:spPr>
          <a:xfrm>
            <a:off x="381001" y="6715169"/>
            <a:ext cx="1580561" cy="110800"/>
          </a:xfrm>
        </p:spPr>
        <p:txBody>
          <a:bodyPr/>
          <a:lstStyle/>
          <a:p>
            <a:r>
              <a:rPr lang="en-GB"/>
              <a:t>Sources: Aurora Energy Research,</a:t>
            </a:r>
          </a:p>
        </p:txBody>
      </p:sp>
      <p:sp>
        <p:nvSpPr>
          <p:cNvPr id="4" name="Title 3">
            <a:extLst>
              <a:ext uri="{FF2B5EF4-FFF2-40B4-BE49-F238E27FC236}">
                <a16:creationId xmlns:a16="http://schemas.microsoft.com/office/drawing/2014/main" id="{D1BD6740-DFBF-63B4-BBE1-80538FBC224D}"/>
              </a:ext>
            </a:extLst>
          </p:cNvPr>
          <p:cNvSpPr>
            <a:spLocks noGrp="1"/>
          </p:cNvSpPr>
          <p:nvPr>
            <p:ph type="title"/>
          </p:nvPr>
        </p:nvSpPr>
        <p:spPr>
          <a:xfrm>
            <a:off x="381599" y="411856"/>
            <a:ext cx="9551672" cy="609398"/>
          </a:xfrm>
        </p:spPr>
        <p:txBody>
          <a:bodyPr vert="horz"/>
          <a:lstStyle/>
          <a:p>
            <a:r>
              <a:rPr lang="en-GB"/>
              <a:t>The Waste Emissions Charge will target methane reductions from most oil and gas facilities in the US until state-wide EPA regulations are implemented</a:t>
            </a:r>
          </a:p>
        </p:txBody>
      </p:sp>
      <p:sp>
        <p:nvSpPr>
          <p:cNvPr id="5" name="Text Placeholder 4">
            <a:extLst>
              <a:ext uri="{FF2B5EF4-FFF2-40B4-BE49-F238E27FC236}">
                <a16:creationId xmlns:a16="http://schemas.microsoft.com/office/drawing/2014/main" id="{669DC044-0EE2-DBE5-3317-416C0BF8A26B}"/>
              </a:ext>
            </a:extLst>
          </p:cNvPr>
          <p:cNvSpPr>
            <a:spLocks noGrp="1"/>
          </p:cNvSpPr>
          <p:nvPr>
            <p:ph type="body" sz="quarter" idx="32"/>
          </p:nvPr>
        </p:nvSpPr>
        <p:spPr>
          <a:xfrm>
            <a:off x="381600" y="6474841"/>
            <a:ext cx="11428800" cy="221599"/>
          </a:xfrm>
        </p:spPr>
        <p:txBody>
          <a:bodyPr/>
          <a:lstStyle/>
          <a:p>
            <a:r>
              <a:rPr lang="en-GB"/>
              <a:t>1) Environmental Protection Agency; 2) Department of Energy; 3) Green House Gas Reporting Programme; 4) 2027 is the earliest year for the regulatory compliance exemption to apply, although this could extend to 2029 if a federal implementation plan is required; 5)New Source Performance Standards; 6) Emissions Guidelines; 7) Waste Emissions Charge</a:t>
            </a:r>
            <a:endParaRPr lang="en-GB">
              <a:highlight>
                <a:srgbClr val="FFFF00"/>
              </a:highlight>
            </a:endParaRPr>
          </a:p>
        </p:txBody>
      </p:sp>
      <p:sp>
        <p:nvSpPr>
          <p:cNvPr id="7" name="Text Placeholder 8">
            <a:extLst>
              <a:ext uri="{FF2B5EF4-FFF2-40B4-BE49-F238E27FC236}">
                <a16:creationId xmlns:a16="http://schemas.microsoft.com/office/drawing/2014/main" id="{51FA02EA-6B34-84D1-AFFB-0D93D3C0433D}"/>
              </a:ext>
            </a:extLst>
          </p:cNvPr>
          <p:cNvSpPr txBox="1">
            <a:spLocks/>
          </p:cNvSpPr>
          <p:nvPr/>
        </p:nvSpPr>
        <p:spPr>
          <a:xfrm>
            <a:off x="440399" y="4572608"/>
            <a:ext cx="2333889" cy="184666"/>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ethane regulations timeline</a:t>
            </a:r>
            <a:endParaRPr kumimoji="0" lang="en-GB" sz="1200" b="0" i="0" u="none" strike="noStrike" kern="1200" cap="none" spc="0" normalizeH="0" baseline="3000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79" name="TextBox 78">
            <a:extLst>
              <a:ext uri="{FF2B5EF4-FFF2-40B4-BE49-F238E27FC236}">
                <a16:creationId xmlns:a16="http://schemas.microsoft.com/office/drawing/2014/main" id="{08D5059F-58A6-6CC1-CDA1-A3281A624F87}"/>
              </a:ext>
            </a:extLst>
          </p:cNvPr>
          <p:cNvSpPr txBox="1"/>
          <p:nvPr/>
        </p:nvSpPr>
        <p:spPr>
          <a:xfrm>
            <a:off x="394499" y="1710511"/>
            <a:ext cx="5358601" cy="338328"/>
          </a:xfrm>
          <a:prstGeom prst="rect">
            <a:avLst/>
          </a:prstGeom>
          <a:solidFill>
            <a:schemeClr val="accent2"/>
          </a:solidFill>
          <a:ln>
            <a:noFill/>
          </a:ln>
        </p:spPr>
        <p:txBody>
          <a:bodyPr wrap="square" lIns="54000" tIns="54000" rIns="54000" bIns="54000" rtlCol="0" anchor="ctr">
            <a:no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Key aspects of the IRA’s Methane Emissions Reduction Programme:</a:t>
            </a: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sp>
        <p:nvSpPr>
          <p:cNvPr id="91" name="Text Placeholder 1">
            <a:extLst>
              <a:ext uri="{FF2B5EF4-FFF2-40B4-BE49-F238E27FC236}">
                <a16:creationId xmlns:a16="http://schemas.microsoft.com/office/drawing/2014/main" id="{A18BDF63-51E4-FB4E-8E36-1C713AB2E8C7}"/>
              </a:ext>
            </a:extLst>
          </p:cNvPr>
          <p:cNvSpPr txBox="1">
            <a:spLocks/>
          </p:cNvSpPr>
          <p:nvPr/>
        </p:nvSpPr>
        <p:spPr>
          <a:xfrm>
            <a:off x="412611" y="1266196"/>
            <a:ext cx="11428801" cy="369332"/>
          </a:xfrm>
          <a:prstGeom prst="rect">
            <a:avLst/>
          </a:prstGeom>
        </p:spPr>
        <p:txBody>
          <a:bodyPr vert="horz" wrap="squar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223838" algn="l" defTabSz="685783" rtl="0" eaLnBrk="1" fontAlgn="auto" latinLnBrk="0" hangingPunct="1">
              <a:lnSpc>
                <a:spcPct val="100000"/>
              </a:lnSpc>
              <a:spcBef>
                <a:spcPts val="0"/>
              </a:spcBef>
              <a:spcAft>
                <a:spcPts val="0"/>
              </a:spcAft>
              <a:buClrTx/>
              <a:buSzTx/>
              <a:buFont typeface="Wingdings" panose="05000000000000000000" pitchFamily="2" charset="2"/>
              <a:buNone/>
              <a:tabLst>
                <a:tab pos="452438" algn="l"/>
              </a:tabLst>
              <a:defRPr/>
            </a:pPr>
            <a:r>
              <a:rPr kumimoji="0" lang="en-GB" sz="1200" b="0" i="0" u="none" strike="noStrike" kern="1200" cap="none" spc="0" normalizeH="0" baseline="0" noProof="0">
                <a:ln>
                  <a:noFill/>
                </a:ln>
                <a:solidFill>
                  <a:srgbClr val="838383"/>
                </a:solidFill>
                <a:effectLst/>
                <a:uLnTx/>
                <a:uFillTx/>
                <a:latin typeface="Lato" panose="020F0502020204030203" pitchFamily="34" charset="0"/>
                <a:sym typeface="Lato" panose="020F0502020204030203" pitchFamily="34" charset="0"/>
              </a:rPr>
              <a:t>Biden’s 2022 Inflation Reduction Act introduced the Methane Emissions Reduction Programme (MERP) to specifically target emissions from the oil and gas sector. During 2024, the EPA</a:t>
            </a:r>
            <a:r>
              <a:rPr kumimoji="0" lang="en-GB" sz="1200" b="0" i="0" u="none" strike="noStrike" kern="1200" cap="none" spc="0" normalizeH="0" baseline="30000" noProof="0">
                <a:ln>
                  <a:noFill/>
                </a:ln>
                <a:solidFill>
                  <a:srgbClr val="838383"/>
                </a:solidFill>
                <a:effectLst/>
                <a:uLnTx/>
                <a:uFillTx/>
                <a:latin typeface="Lato" panose="020F0502020204030203" pitchFamily="34" charset="0"/>
                <a:sym typeface="Lato" panose="020F0502020204030203" pitchFamily="34" charset="0"/>
              </a:rPr>
              <a:t>1</a:t>
            </a:r>
            <a:r>
              <a:rPr kumimoji="0" lang="en-GB" sz="1200" b="0" i="0" u="none" strike="noStrike" kern="1200" cap="none" spc="0" normalizeH="0" baseline="0" noProof="0">
                <a:ln>
                  <a:noFill/>
                </a:ln>
                <a:solidFill>
                  <a:srgbClr val="838383"/>
                </a:solidFill>
                <a:effectLst/>
                <a:uLnTx/>
                <a:uFillTx/>
                <a:latin typeface="Lato" panose="020F0502020204030203" pitchFamily="34" charset="0"/>
                <a:sym typeface="Lato" panose="020F0502020204030203" pitchFamily="34" charset="0"/>
              </a:rPr>
              <a:t> has finalised new performance standards and emission guidelines under the Clean Air Act (1963) to further reduce methane emissions in this sector.</a:t>
            </a:r>
          </a:p>
        </p:txBody>
      </p:sp>
      <p:grpSp>
        <p:nvGrpSpPr>
          <p:cNvPr id="103" name="Group 102">
            <a:extLst>
              <a:ext uri="{FF2B5EF4-FFF2-40B4-BE49-F238E27FC236}">
                <a16:creationId xmlns:a16="http://schemas.microsoft.com/office/drawing/2014/main" id="{C7ED4B32-5CDB-4A39-A6AF-969C20E4EA1C}"/>
              </a:ext>
            </a:extLst>
          </p:cNvPr>
          <p:cNvGrpSpPr/>
          <p:nvPr/>
        </p:nvGrpSpPr>
        <p:grpSpPr>
          <a:xfrm>
            <a:off x="6456114" y="2121296"/>
            <a:ext cx="5372448" cy="691068"/>
            <a:chOff x="6456114" y="2921348"/>
            <a:chExt cx="5372448" cy="691068"/>
          </a:xfrm>
        </p:grpSpPr>
        <p:sp>
          <p:nvSpPr>
            <p:cNvPr id="100" name="Text Placeholder 30">
              <a:extLst>
                <a:ext uri="{FF2B5EF4-FFF2-40B4-BE49-F238E27FC236}">
                  <a16:creationId xmlns:a16="http://schemas.microsoft.com/office/drawing/2014/main" id="{6F091564-5084-5FA9-E927-17B7CA8F0FE8}"/>
                </a:ext>
              </a:extLst>
            </p:cNvPr>
            <p:cNvSpPr txBox="1">
              <a:spLocks/>
            </p:cNvSpPr>
            <p:nvPr/>
          </p:nvSpPr>
          <p:spPr>
            <a:xfrm>
              <a:off x="6456114" y="2921348"/>
              <a:ext cx="5372448" cy="691068"/>
            </a:xfrm>
            <a:prstGeom prst="roundRect">
              <a:avLst>
                <a:gd name="adj" fmla="val 6484"/>
              </a:avLst>
            </a:prstGeom>
            <a:noFill/>
            <a:ln w="28575">
              <a:solidFill>
                <a:srgbClr val="6F8DB9"/>
              </a:solidFill>
            </a:ln>
          </p:spPr>
          <p:txBody>
            <a:bodyPr vert="horz" wrap="square" lIns="91440" tIns="274320" rIns="91440" bIns="91440" rtlCol="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200"/>
                </a:spcBef>
                <a:spcAft>
                  <a:spcPts val="200"/>
                </a:spcAft>
                <a:buClrTx/>
                <a:buSzTx/>
                <a:buFont typeface="Wingdings" panose="05000000000000000000" pitchFamily="2" charset="2"/>
                <a:buNone/>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endParaRPr>
            </a:p>
          </p:txBody>
        </p:sp>
        <p:sp>
          <p:nvSpPr>
            <p:cNvPr id="101" name="TextBox 100">
              <a:extLst>
                <a:ext uri="{FF2B5EF4-FFF2-40B4-BE49-F238E27FC236}">
                  <a16:creationId xmlns:a16="http://schemas.microsoft.com/office/drawing/2014/main" id="{BB8F0960-78A0-0184-1E8C-6A2F6E9B839E}"/>
                </a:ext>
              </a:extLst>
            </p:cNvPr>
            <p:cNvSpPr txBox="1"/>
            <p:nvPr/>
          </p:nvSpPr>
          <p:spPr>
            <a:xfrm>
              <a:off x="8160570" y="2985354"/>
              <a:ext cx="241351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200" b="1" i="0" u="sng" strike="noStrike" kern="1200" cap="none" spc="0" normalizeH="0" baseline="0" noProof="0">
                  <a:ln>
                    <a:noFill/>
                  </a:ln>
                  <a:solidFill>
                    <a:srgbClr val="3C3C3B"/>
                  </a:solidFill>
                  <a:effectLst/>
                  <a:uLnTx/>
                  <a:uFillTx/>
                  <a:latin typeface="Lato"/>
                  <a:ea typeface="+mn-ea"/>
                  <a:cs typeface="+mn-cs"/>
                </a:rPr>
                <a:t>NSPS</a:t>
              </a:r>
              <a:r>
                <a:rPr kumimoji="0" lang="en-GB" sz="1200" b="1" i="0" u="sng" strike="noStrike" kern="1200" cap="none" spc="0" normalizeH="0" baseline="30000" noProof="0">
                  <a:ln>
                    <a:noFill/>
                  </a:ln>
                  <a:solidFill>
                    <a:srgbClr val="3C3C3B"/>
                  </a:solidFill>
                  <a:effectLst/>
                  <a:uLnTx/>
                  <a:uFillTx/>
                  <a:latin typeface="Lato"/>
                  <a:ea typeface="+mn-ea"/>
                  <a:cs typeface="+mn-cs"/>
                </a:rPr>
                <a:t>5</a:t>
              </a:r>
              <a:r>
                <a:rPr kumimoji="0" lang="en-GB" sz="1200" b="1" i="0" u="sng" strike="noStrike" kern="1200" cap="none" spc="0" normalizeH="0" baseline="0" noProof="0">
                  <a:ln>
                    <a:noFill/>
                  </a:ln>
                  <a:solidFill>
                    <a:srgbClr val="3C3C3B"/>
                  </a:solidFill>
                  <a:effectLst/>
                  <a:uLnTx/>
                  <a:uFillTx/>
                  <a:latin typeface="Lato"/>
                  <a:ea typeface="+mn-ea"/>
                  <a:cs typeface="+mn-cs"/>
                </a:rPr>
                <a:t> </a:t>
              </a:r>
              <a:r>
                <a:rPr kumimoji="0" lang="en-GB" sz="1200" b="1" i="0" u="sng" strike="noStrike" kern="1200" cap="none" spc="0" normalizeH="0" baseline="0" noProof="0" err="1">
                  <a:ln>
                    <a:noFill/>
                  </a:ln>
                  <a:solidFill>
                    <a:srgbClr val="3C3C3B"/>
                  </a:solidFill>
                  <a:effectLst/>
                  <a:uLnTx/>
                  <a:uFillTx/>
                  <a:latin typeface="Lato"/>
                  <a:ea typeface="+mn-ea"/>
                  <a:cs typeface="+mn-cs"/>
                </a:rPr>
                <a:t>OOOOb</a:t>
              </a:r>
              <a:endParaRPr kumimoji="0" lang="en-GB" sz="1200" b="1" i="0" u="sng" strike="noStrike" kern="1200" cap="none" spc="0" normalizeH="0" baseline="0" noProof="0">
                <a:ln>
                  <a:noFill/>
                </a:ln>
                <a:solidFill>
                  <a:srgbClr val="3C3C3B"/>
                </a:solidFill>
                <a:effectLst/>
                <a:uLnTx/>
                <a:uFillTx/>
                <a:latin typeface="Lato"/>
                <a:ea typeface="+mn-ea"/>
                <a:cs typeface="+mn-cs"/>
              </a:endParaRPr>
            </a:p>
          </p:txBody>
        </p:sp>
        <p:sp>
          <p:nvSpPr>
            <p:cNvPr id="102" name="Text Placeholder 8">
              <a:extLst>
                <a:ext uri="{FF2B5EF4-FFF2-40B4-BE49-F238E27FC236}">
                  <a16:creationId xmlns:a16="http://schemas.microsoft.com/office/drawing/2014/main" id="{5E0B9AC9-1926-8ABF-3D44-5337689A25B1}"/>
                </a:ext>
              </a:extLst>
            </p:cNvPr>
            <p:cNvSpPr txBox="1">
              <a:spLocks/>
            </p:cNvSpPr>
            <p:nvPr/>
          </p:nvSpPr>
          <p:spPr>
            <a:xfrm>
              <a:off x="6579394" y="3196822"/>
              <a:ext cx="5167057" cy="369332"/>
            </a:xfrm>
            <a:prstGeom prst="rect">
              <a:avLst/>
            </a:prstGeom>
          </p:spPr>
          <p:txBody>
            <a:bodyPr vert="horz" wrap="square" lIns="0" tIns="0" rIns="0" bIns="0" rtlCol="0">
              <a:sp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750"/>
                </a:spcBef>
                <a:spcAft>
                  <a:spcPts val="0"/>
                </a:spcAft>
                <a:buClrTx/>
                <a:buSzTx/>
                <a:buFont typeface="Wingdings" panose="05000000000000000000" pitchFamily="2" charset="2"/>
                <a:buNone/>
                <a:tabLst/>
                <a:defRPr/>
              </a:pPr>
              <a:r>
                <a:rPr kumimoji="0" lang="en-GB" sz="1200" b="0"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rPr>
                <a:t>Standards of performance for crude oil and natural gas facilities for which construction, modification or reconstruction commenced after Nov 21. </a:t>
              </a:r>
            </a:p>
          </p:txBody>
        </p:sp>
      </p:grpSp>
      <p:sp>
        <p:nvSpPr>
          <p:cNvPr id="104" name="TextBox 103">
            <a:extLst>
              <a:ext uri="{FF2B5EF4-FFF2-40B4-BE49-F238E27FC236}">
                <a16:creationId xmlns:a16="http://schemas.microsoft.com/office/drawing/2014/main" id="{30F4229E-9775-37DC-7F69-F69FF8DF0144}"/>
              </a:ext>
            </a:extLst>
          </p:cNvPr>
          <p:cNvSpPr txBox="1"/>
          <p:nvPr/>
        </p:nvSpPr>
        <p:spPr>
          <a:xfrm>
            <a:off x="6456610" y="1709778"/>
            <a:ext cx="5358601" cy="330884"/>
          </a:xfrm>
          <a:prstGeom prst="rect">
            <a:avLst/>
          </a:prstGeom>
          <a:solidFill>
            <a:schemeClr val="accent2"/>
          </a:solidFill>
          <a:ln>
            <a:noFill/>
          </a:ln>
        </p:spPr>
        <p:txBody>
          <a:bodyPr wrap="square" lIns="54000" tIns="54000" rIns="54000" bIns="54000" rtlCol="0" anchor="ctr">
            <a:no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EPA ‘Quad-O’ rules introduced under Clean Air Act section 111(b) and (d): </a:t>
            </a: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grpSp>
        <p:nvGrpSpPr>
          <p:cNvPr id="106" name="Group 105">
            <a:extLst>
              <a:ext uri="{FF2B5EF4-FFF2-40B4-BE49-F238E27FC236}">
                <a16:creationId xmlns:a16="http://schemas.microsoft.com/office/drawing/2014/main" id="{9F3ECFF5-688A-3182-6778-C70B1831B1A1}"/>
              </a:ext>
            </a:extLst>
          </p:cNvPr>
          <p:cNvGrpSpPr/>
          <p:nvPr/>
        </p:nvGrpSpPr>
        <p:grpSpPr>
          <a:xfrm>
            <a:off x="6456113" y="2883952"/>
            <a:ext cx="5372448" cy="853128"/>
            <a:chOff x="6468964" y="2921347"/>
            <a:chExt cx="5372448" cy="853128"/>
          </a:xfrm>
        </p:grpSpPr>
        <p:sp>
          <p:nvSpPr>
            <p:cNvPr id="107" name="Text Placeholder 30">
              <a:extLst>
                <a:ext uri="{FF2B5EF4-FFF2-40B4-BE49-F238E27FC236}">
                  <a16:creationId xmlns:a16="http://schemas.microsoft.com/office/drawing/2014/main" id="{DE0C0B40-A9F0-7677-7BD5-67E7999E99F5}"/>
                </a:ext>
              </a:extLst>
            </p:cNvPr>
            <p:cNvSpPr txBox="1">
              <a:spLocks/>
            </p:cNvSpPr>
            <p:nvPr/>
          </p:nvSpPr>
          <p:spPr>
            <a:xfrm>
              <a:off x="6468964" y="2921347"/>
              <a:ext cx="5372448" cy="853128"/>
            </a:xfrm>
            <a:prstGeom prst="roundRect">
              <a:avLst>
                <a:gd name="adj" fmla="val 6484"/>
              </a:avLst>
            </a:prstGeom>
            <a:noFill/>
            <a:ln w="28575">
              <a:solidFill>
                <a:srgbClr val="4E5F6E"/>
              </a:solidFill>
            </a:ln>
          </p:spPr>
          <p:txBody>
            <a:bodyPr vert="horz" wrap="square" lIns="91440" tIns="274320" rIns="91440" bIns="91440" rtlCol="0">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200"/>
                </a:spcBef>
                <a:spcAft>
                  <a:spcPts val="200"/>
                </a:spcAft>
                <a:buClrTx/>
                <a:buSzTx/>
                <a:buFont typeface="Wingdings" panose="05000000000000000000" pitchFamily="2" charset="2"/>
                <a:buNone/>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endParaRPr>
            </a:p>
          </p:txBody>
        </p:sp>
        <p:sp>
          <p:nvSpPr>
            <p:cNvPr id="108" name="TextBox 107">
              <a:extLst>
                <a:ext uri="{FF2B5EF4-FFF2-40B4-BE49-F238E27FC236}">
                  <a16:creationId xmlns:a16="http://schemas.microsoft.com/office/drawing/2014/main" id="{46466170-288F-A11B-36B8-86D734EAD0ED}"/>
                </a:ext>
              </a:extLst>
            </p:cNvPr>
            <p:cNvSpPr txBox="1"/>
            <p:nvPr/>
          </p:nvSpPr>
          <p:spPr>
            <a:xfrm>
              <a:off x="8160570" y="2985354"/>
              <a:ext cx="241351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200" b="1" i="0" u="sng" strike="noStrike" kern="1200" cap="none" spc="0" normalizeH="0" baseline="0" noProof="0">
                  <a:ln>
                    <a:noFill/>
                  </a:ln>
                  <a:solidFill>
                    <a:srgbClr val="3C3C3B"/>
                  </a:solidFill>
                  <a:effectLst/>
                  <a:uLnTx/>
                  <a:uFillTx/>
                  <a:latin typeface="Lato"/>
                  <a:ea typeface="+mn-ea"/>
                  <a:cs typeface="+mn-cs"/>
                </a:rPr>
                <a:t>EG</a:t>
              </a:r>
              <a:r>
                <a:rPr kumimoji="0" lang="en-GB" sz="1200" b="1" i="0" u="sng" strike="noStrike" kern="1200" cap="none" spc="0" normalizeH="0" baseline="30000" noProof="0">
                  <a:ln>
                    <a:noFill/>
                  </a:ln>
                  <a:solidFill>
                    <a:srgbClr val="3C3C3B"/>
                  </a:solidFill>
                  <a:effectLst/>
                  <a:uLnTx/>
                  <a:uFillTx/>
                  <a:latin typeface="Lato"/>
                  <a:ea typeface="+mn-ea"/>
                  <a:cs typeface="+mn-cs"/>
                </a:rPr>
                <a:t>6</a:t>
              </a:r>
              <a:r>
                <a:rPr kumimoji="0" lang="en-GB" sz="1200" b="1" i="0" u="sng" strike="noStrike" kern="1200" cap="none" spc="0" normalizeH="0" baseline="0" noProof="0">
                  <a:ln>
                    <a:noFill/>
                  </a:ln>
                  <a:solidFill>
                    <a:srgbClr val="3C3C3B"/>
                  </a:solidFill>
                  <a:effectLst/>
                  <a:uLnTx/>
                  <a:uFillTx/>
                  <a:latin typeface="Lato"/>
                  <a:ea typeface="+mn-ea"/>
                  <a:cs typeface="+mn-cs"/>
                </a:rPr>
                <a:t> </a:t>
              </a:r>
              <a:r>
                <a:rPr kumimoji="0" lang="en-GB" sz="1200" b="1" i="0" u="sng" strike="noStrike" kern="1200" cap="none" spc="0" normalizeH="0" baseline="0" noProof="0" err="1">
                  <a:ln>
                    <a:noFill/>
                  </a:ln>
                  <a:solidFill>
                    <a:srgbClr val="3C3C3B"/>
                  </a:solidFill>
                  <a:effectLst/>
                  <a:uLnTx/>
                  <a:uFillTx/>
                  <a:latin typeface="Lato"/>
                  <a:ea typeface="+mn-ea"/>
                  <a:cs typeface="+mn-cs"/>
                </a:rPr>
                <a:t>OOOOc</a:t>
              </a:r>
              <a:endParaRPr kumimoji="0" lang="en-GB" sz="1200" b="1" i="0" u="sng" strike="noStrike" kern="1200" cap="none" spc="0" normalizeH="0" baseline="0" noProof="0">
                <a:ln>
                  <a:noFill/>
                </a:ln>
                <a:solidFill>
                  <a:srgbClr val="3C3C3B"/>
                </a:solidFill>
                <a:effectLst/>
                <a:uLnTx/>
                <a:uFillTx/>
                <a:latin typeface="Lato"/>
                <a:ea typeface="+mn-ea"/>
                <a:cs typeface="+mn-cs"/>
              </a:endParaRPr>
            </a:p>
          </p:txBody>
        </p:sp>
        <p:sp>
          <p:nvSpPr>
            <p:cNvPr id="109" name="Text Placeholder 8">
              <a:extLst>
                <a:ext uri="{FF2B5EF4-FFF2-40B4-BE49-F238E27FC236}">
                  <a16:creationId xmlns:a16="http://schemas.microsoft.com/office/drawing/2014/main" id="{0828BF51-F937-F6B2-EBAA-EFA6EACEBCCB}"/>
                </a:ext>
              </a:extLst>
            </p:cNvPr>
            <p:cNvSpPr txBox="1">
              <a:spLocks/>
            </p:cNvSpPr>
            <p:nvPr/>
          </p:nvSpPr>
          <p:spPr>
            <a:xfrm>
              <a:off x="6530669" y="3156120"/>
              <a:ext cx="5257913" cy="553998"/>
            </a:xfrm>
            <a:prstGeom prst="rect">
              <a:avLst/>
            </a:prstGeom>
          </p:spPr>
          <p:txBody>
            <a:bodyPr vert="horz" wrap="square" lIns="0" tIns="0" rIns="0" bIns="0" rtlCol="0">
              <a:sp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750"/>
                </a:spcBef>
                <a:spcAft>
                  <a:spcPts val="0"/>
                </a:spcAft>
                <a:buClrTx/>
                <a:buSzTx/>
                <a:buFont typeface="Wingdings" panose="05000000000000000000" pitchFamily="2" charset="2"/>
                <a:buNone/>
                <a:tabLst/>
                <a:defRPr/>
              </a:pPr>
              <a:r>
                <a:rPr kumimoji="0" lang="en-GB" sz="1200" b="0"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rPr>
                <a:t>Emissions guidelines for states to follow to regulate and enforce performance standards, pursuant to the NSPS, that limit GHGs emissions from existing (pre-Nov 21) crude oil and natural gas facilities.</a:t>
              </a:r>
            </a:p>
          </p:txBody>
        </p:sp>
      </p:grpSp>
      <p:grpSp>
        <p:nvGrpSpPr>
          <p:cNvPr id="324" name="Group 323">
            <a:extLst>
              <a:ext uri="{FF2B5EF4-FFF2-40B4-BE49-F238E27FC236}">
                <a16:creationId xmlns:a16="http://schemas.microsoft.com/office/drawing/2014/main" id="{EB6BAA7E-A556-1261-82FC-BBCC2A8F76EC}"/>
              </a:ext>
            </a:extLst>
          </p:cNvPr>
          <p:cNvGrpSpPr/>
          <p:nvPr/>
        </p:nvGrpSpPr>
        <p:grpSpPr>
          <a:xfrm>
            <a:off x="407243" y="2863047"/>
            <a:ext cx="5345015" cy="713234"/>
            <a:chOff x="407243" y="2946902"/>
            <a:chExt cx="5345857" cy="713234"/>
          </a:xfrm>
        </p:grpSpPr>
        <p:grpSp>
          <p:nvGrpSpPr>
            <p:cNvPr id="323" name="Group 322">
              <a:extLst>
                <a:ext uri="{FF2B5EF4-FFF2-40B4-BE49-F238E27FC236}">
                  <a16:creationId xmlns:a16="http://schemas.microsoft.com/office/drawing/2014/main" id="{F4BE9844-ACCA-3C6E-F83F-79828A375894}"/>
                </a:ext>
              </a:extLst>
            </p:cNvPr>
            <p:cNvGrpSpPr/>
            <p:nvPr/>
          </p:nvGrpSpPr>
          <p:grpSpPr>
            <a:xfrm>
              <a:off x="407243" y="2946902"/>
              <a:ext cx="5345857" cy="713234"/>
              <a:chOff x="407243" y="2946902"/>
              <a:chExt cx="5345857" cy="713234"/>
            </a:xfrm>
          </p:grpSpPr>
          <p:sp>
            <p:nvSpPr>
              <p:cNvPr id="81" name="Text Placeholder 15">
                <a:extLst>
                  <a:ext uri="{FF2B5EF4-FFF2-40B4-BE49-F238E27FC236}">
                    <a16:creationId xmlns:a16="http://schemas.microsoft.com/office/drawing/2014/main" id="{62695E65-FCDD-C9FD-79E3-E3CEF0539A9A}"/>
                  </a:ext>
                </a:extLst>
              </p:cNvPr>
              <p:cNvSpPr txBox="1">
                <a:spLocks/>
              </p:cNvSpPr>
              <p:nvPr/>
            </p:nvSpPr>
            <p:spPr>
              <a:xfrm>
                <a:off x="834005" y="2946902"/>
                <a:ext cx="4919095" cy="713234"/>
              </a:xfrm>
              <a:prstGeom prst="roundRect">
                <a:avLst/>
              </a:prstGeom>
              <a:ln w="28575">
                <a:solidFill>
                  <a:srgbClr val="A6964E"/>
                </a:solidFill>
              </a:ln>
            </p:spPr>
            <p:txBody>
              <a:bodyPr vert="horz" wrap="square" lIns="0" tIns="0" rIns="0" bIns="0" rtlCol="0" anchor="ctr">
                <a:noAutofit/>
              </a:bodyPr>
              <a:lstStyle>
                <a:lvl1pPr marL="0" indent="0" algn="l" defTabSz="685783" rtl="0" eaLnBrk="1" latinLnBrk="0" hangingPunct="1">
                  <a:lnSpc>
                    <a:spcPct val="100000"/>
                  </a:lnSpc>
                  <a:spcBef>
                    <a:spcPts val="0"/>
                  </a:spcBef>
                  <a:buFont typeface="Wingdings" panose="05000000000000000000" pitchFamily="2" charset="2"/>
                  <a:buNone/>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endParaRPr>
              </a:p>
            </p:txBody>
          </p:sp>
          <p:sp>
            <p:nvSpPr>
              <p:cNvPr id="83" name="TextBox 82">
                <a:extLst>
                  <a:ext uri="{FF2B5EF4-FFF2-40B4-BE49-F238E27FC236}">
                    <a16:creationId xmlns:a16="http://schemas.microsoft.com/office/drawing/2014/main" id="{CAC1BEE5-921F-E6BF-A37D-95373E6C8A05}"/>
                  </a:ext>
                </a:extLst>
              </p:cNvPr>
              <p:cNvSpPr txBox="1"/>
              <p:nvPr/>
            </p:nvSpPr>
            <p:spPr>
              <a:xfrm>
                <a:off x="1152556" y="3032871"/>
                <a:ext cx="4536718"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EPA Waste Emissions Charge/Methane Fee</a:t>
                </a:r>
                <a:r>
                  <a:rPr kumimoji="0" lang="en-GB" sz="1200" b="0" i="0" u="none" strike="noStrike" kern="1200" cap="none" spc="0" normalizeH="0" baseline="0" noProof="0">
                    <a:ln>
                      <a:noFill/>
                    </a:ln>
                    <a:solidFill>
                      <a:srgbClr val="3C3C3B"/>
                    </a:solidFill>
                    <a:effectLst/>
                    <a:uLnTx/>
                    <a:uFillTx/>
                    <a:latin typeface="Lato"/>
                    <a:ea typeface="+mn-ea"/>
                    <a:cs typeface="+mn-cs"/>
                  </a:rPr>
                  <a:t>: The first charge, fee, or tax on GHG emissions imposed by the federal government. See next slide for further detail.</a:t>
                </a:r>
              </a:p>
            </p:txBody>
          </p:sp>
          <p:sp>
            <p:nvSpPr>
              <p:cNvPr id="82" name="Ellipse 22">
                <a:extLst>
                  <a:ext uri="{FF2B5EF4-FFF2-40B4-BE49-F238E27FC236}">
                    <a16:creationId xmlns:a16="http://schemas.microsoft.com/office/drawing/2014/main" id="{08203503-E5EA-18C9-AC1E-86B9F32412C2}"/>
                  </a:ext>
                </a:extLst>
              </p:cNvPr>
              <p:cNvSpPr/>
              <p:nvPr/>
            </p:nvSpPr>
            <p:spPr>
              <a:xfrm>
                <a:off x="407243" y="2987799"/>
                <a:ext cx="661592" cy="632754"/>
              </a:xfrm>
              <a:prstGeom prst="ellipse">
                <a:avLst/>
              </a:prstGeom>
              <a:solidFill>
                <a:schemeClr val="bg1"/>
              </a:solidFill>
              <a:ln w="28575">
                <a:solidFill>
                  <a:srgbClr val="A6964E"/>
                </a:solidFill>
              </a:ln>
            </p:spPr>
            <p:txBody>
              <a:bodyPr vert="horz" wrap="none" lIns="0" tIns="0" rIns="0" bIns="0" rtlCol="0" anchor="ctr">
                <a:noAutofit/>
              </a:bodyPr>
              <a:lstStyle/>
              <a:p>
                <a:pPr marL="0" marR="0" lvl="0" indent="0" algn="ctr" defTabSz="685783" rtl="0" eaLnBrk="1" fontAlgn="auto" latinLnBrk="0" hangingPunct="1">
                  <a:lnSpc>
                    <a:spcPct val="100000"/>
                  </a:lnSpc>
                  <a:spcBef>
                    <a:spcPts val="75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endParaRPr>
              </a:p>
            </p:txBody>
          </p:sp>
        </p:grpSp>
        <p:pic>
          <p:nvPicPr>
            <p:cNvPr id="10" name="Picture 9">
              <a:extLst>
                <a:ext uri="{FF2B5EF4-FFF2-40B4-BE49-F238E27FC236}">
                  <a16:creationId xmlns:a16="http://schemas.microsoft.com/office/drawing/2014/main" id="{5383E576-1076-8885-6F07-1189ED8CF243}"/>
                </a:ext>
              </a:extLst>
            </p:cNvPr>
            <p:cNvPicPr>
              <a:picLocks noChangeAspect="1"/>
            </p:cNvPicPr>
            <p:nvPr/>
          </p:nvPicPr>
          <p:blipFill rotWithShape="1">
            <a:blip r:embed="rId55"/>
            <a:srcRect l="6892" t="2565" r="8164" b="2620"/>
            <a:stretch/>
          </p:blipFill>
          <p:spPr>
            <a:xfrm>
              <a:off x="537480" y="3072744"/>
              <a:ext cx="384101" cy="452486"/>
            </a:xfrm>
            <a:prstGeom prst="rect">
              <a:avLst/>
            </a:prstGeom>
          </p:spPr>
        </p:pic>
      </p:grpSp>
      <p:grpSp>
        <p:nvGrpSpPr>
          <p:cNvPr id="326" name="Group 325">
            <a:extLst>
              <a:ext uri="{FF2B5EF4-FFF2-40B4-BE49-F238E27FC236}">
                <a16:creationId xmlns:a16="http://schemas.microsoft.com/office/drawing/2014/main" id="{4D51CA7E-E770-80EA-2B50-D9DEC4E6F50A}"/>
              </a:ext>
            </a:extLst>
          </p:cNvPr>
          <p:cNvGrpSpPr/>
          <p:nvPr/>
        </p:nvGrpSpPr>
        <p:grpSpPr>
          <a:xfrm>
            <a:off x="406401" y="2120799"/>
            <a:ext cx="5345857" cy="663630"/>
            <a:chOff x="381000" y="2129266"/>
            <a:chExt cx="5345857" cy="663630"/>
          </a:xfrm>
        </p:grpSpPr>
        <p:sp>
          <p:nvSpPr>
            <p:cNvPr id="75" name="Text Placeholder 15">
              <a:extLst>
                <a:ext uri="{FF2B5EF4-FFF2-40B4-BE49-F238E27FC236}">
                  <a16:creationId xmlns:a16="http://schemas.microsoft.com/office/drawing/2014/main" id="{DC0528F1-CD53-7FD3-74F2-2EDA2FF17E10}"/>
                </a:ext>
              </a:extLst>
            </p:cNvPr>
            <p:cNvSpPr txBox="1">
              <a:spLocks/>
            </p:cNvSpPr>
            <p:nvPr/>
          </p:nvSpPr>
          <p:spPr>
            <a:xfrm>
              <a:off x="807762" y="2129266"/>
              <a:ext cx="4919095" cy="663630"/>
            </a:xfrm>
            <a:prstGeom prst="roundRect">
              <a:avLst/>
            </a:prstGeom>
            <a:ln w="28575">
              <a:solidFill>
                <a:schemeClr val="bg2">
                  <a:lumMod val="50000"/>
                </a:schemeClr>
              </a:solidFill>
            </a:ln>
          </p:spPr>
          <p:txBody>
            <a:bodyPr vert="horz" wrap="square" lIns="0" tIns="0" rIns="0" bIns="0" rtlCol="0" anchor="ctr">
              <a:noAutofit/>
            </a:bodyPr>
            <a:lstStyle>
              <a:lvl1pPr marL="0" indent="0" algn="l" defTabSz="685783" rtl="0" eaLnBrk="1" latinLnBrk="0" hangingPunct="1">
                <a:lnSpc>
                  <a:spcPct val="100000"/>
                </a:lnSpc>
                <a:spcBef>
                  <a:spcPts val="0"/>
                </a:spcBef>
                <a:buFont typeface="Wingdings" panose="05000000000000000000" pitchFamily="2" charset="2"/>
                <a:buNone/>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endParaRPr>
            </a:p>
          </p:txBody>
        </p:sp>
        <p:sp>
          <p:nvSpPr>
            <p:cNvPr id="77" name="TextBox 76">
              <a:extLst>
                <a:ext uri="{FF2B5EF4-FFF2-40B4-BE49-F238E27FC236}">
                  <a16:creationId xmlns:a16="http://schemas.microsoft.com/office/drawing/2014/main" id="{1666F094-8A16-950D-2639-E48E79902DC1}"/>
                </a:ext>
              </a:extLst>
            </p:cNvPr>
            <p:cNvSpPr txBox="1"/>
            <p:nvPr/>
          </p:nvSpPr>
          <p:spPr>
            <a:xfrm>
              <a:off x="1152556" y="2181526"/>
              <a:ext cx="443807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Financial and technical assistance</a:t>
              </a:r>
              <a:r>
                <a:rPr kumimoji="0" lang="en-GB" sz="1200" b="0" i="0" u="none" strike="noStrike" kern="1200" cap="none" spc="0" normalizeH="0" baseline="0" noProof="0">
                  <a:ln>
                    <a:noFill/>
                  </a:ln>
                  <a:solidFill>
                    <a:srgbClr val="3C3C3B"/>
                  </a:solidFill>
                  <a:effectLst/>
                  <a:uLnTx/>
                  <a:uFillTx/>
                  <a:latin typeface="Lato"/>
                  <a:ea typeface="+mn-ea"/>
                  <a:cs typeface="+mn-cs"/>
                </a:rPr>
                <a:t>: Over $1 billion in financial and technical assistance provided by the EPA</a:t>
              </a:r>
              <a:r>
                <a:rPr kumimoji="0" lang="en-GB" sz="1200" b="0" i="0" u="none" strike="noStrike" kern="1200" cap="none" spc="0" normalizeH="0" baseline="30000" noProof="0">
                  <a:ln>
                    <a:noFill/>
                  </a:ln>
                  <a:solidFill>
                    <a:srgbClr val="3C3C3B"/>
                  </a:solidFill>
                  <a:effectLst/>
                  <a:uLnTx/>
                  <a:uFillTx/>
                  <a:latin typeface="Lato"/>
                  <a:ea typeface="+mn-ea"/>
                  <a:cs typeface="+mn-cs"/>
                </a:rPr>
                <a:t>1</a:t>
              </a:r>
              <a:r>
                <a:rPr kumimoji="0" lang="en-GB" sz="1200" b="0" i="0" u="none" strike="noStrike" kern="1200" cap="none" spc="0" normalizeH="0" baseline="0" noProof="0">
                  <a:ln>
                    <a:noFill/>
                  </a:ln>
                  <a:solidFill>
                    <a:srgbClr val="3C3C3B"/>
                  </a:solidFill>
                  <a:effectLst/>
                  <a:uLnTx/>
                  <a:uFillTx/>
                  <a:latin typeface="Lato"/>
                  <a:ea typeface="+mn-ea"/>
                  <a:cs typeface="+mn-cs"/>
                </a:rPr>
                <a:t> and DoE</a:t>
              </a:r>
              <a:r>
                <a:rPr kumimoji="0" lang="en-GB" sz="1200" b="0" i="0" u="none" strike="noStrike" kern="1200" cap="none" spc="0" normalizeH="0" baseline="30000" noProof="0">
                  <a:ln>
                    <a:noFill/>
                  </a:ln>
                  <a:solidFill>
                    <a:srgbClr val="3C3C3B"/>
                  </a:solidFill>
                  <a:effectLst/>
                  <a:uLnTx/>
                  <a:uFillTx/>
                  <a:latin typeface="Lato"/>
                  <a:ea typeface="+mn-ea"/>
                  <a:cs typeface="+mn-cs"/>
                </a:rPr>
                <a:t>2</a:t>
              </a:r>
              <a:r>
                <a:rPr kumimoji="0" lang="en-GB" sz="1200" b="0" i="0" u="none" strike="noStrike" kern="1200" cap="none" spc="0" normalizeH="0" baseline="0" noProof="0">
                  <a:ln>
                    <a:noFill/>
                  </a:ln>
                  <a:solidFill>
                    <a:srgbClr val="3C3C3B"/>
                  </a:solidFill>
                  <a:effectLst/>
                  <a:uLnTx/>
                  <a:uFillTx/>
                  <a:latin typeface="Lato"/>
                  <a:ea typeface="+mn-ea"/>
                  <a:cs typeface="+mn-cs"/>
                </a:rPr>
                <a:t> to help lessen pollution from oil and gas operations. </a:t>
              </a:r>
            </a:p>
          </p:txBody>
        </p:sp>
        <p:grpSp>
          <p:nvGrpSpPr>
            <p:cNvPr id="322" name="Group 321">
              <a:extLst>
                <a:ext uri="{FF2B5EF4-FFF2-40B4-BE49-F238E27FC236}">
                  <a16:creationId xmlns:a16="http://schemas.microsoft.com/office/drawing/2014/main" id="{DDC3AE6A-7125-C5AF-E6CC-86AFC57632E1}"/>
                </a:ext>
              </a:extLst>
            </p:cNvPr>
            <p:cNvGrpSpPr/>
            <p:nvPr/>
          </p:nvGrpSpPr>
          <p:grpSpPr>
            <a:xfrm>
              <a:off x="381000" y="2144762"/>
              <a:ext cx="661592" cy="632754"/>
              <a:chOff x="381000" y="2195564"/>
              <a:chExt cx="661592" cy="632754"/>
            </a:xfrm>
          </p:grpSpPr>
          <p:sp>
            <p:nvSpPr>
              <p:cNvPr id="76" name="Ellipse 22">
                <a:extLst>
                  <a:ext uri="{FF2B5EF4-FFF2-40B4-BE49-F238E27FC236}">
                    <a16:creationId xmlns:a16="http://schemas.microsoft.com/office/drawing/2014/main" id="{DD62120E-9036-F249-6CE8-FF4AC525FD0E}"/>
                  </a:ext>
                </a:extLst>
              </p:cNvPr>
              <p:cNvSpPr/>
              <p:nvPr/>
            </p:nvSpPr>
            <p:spPr>
              <a:xfrm>
                <a:off x="381000" y="2195564"/>
                <a:ext cx="661592" cy="632754"/>
              </a:xfrm>
              <a:prstGeom prst="ellipse">
                <a:avLst/>
              </a:prstGeom>
              <a:solidFill>
                <a:schemeClr val="bg1"/>
              </a:solidFill>
              <a:ln w="28575">
                <a:solidFill>
                  <a:schemeClr val="bg2">
                    <a:lumMod val="50000"/>
                  </a:schemeClr>
                </a:solidFill>
              </a:ln>
            </p:spPr>
            <p:txBody>
              <a:bodyPr vert="horz" wrap="none" lIns="0" tIns="0" rIns="0" bIns="0" rtlCol="0" anchor="ctr">
                <a:noAutofit/>
              </a:bodyPr>
              <a:lstStyle/>
              <a:p>
                <a:pPr marL="0" marR="0" lvl="0" indent="0" algn="ctr" defTabSz="685783" rtl="0" eaLnBrk="1" fontAlgn="auto" latinLnBrk="0" hangingPunct="1">
                  <a:lnSpc>
                    <a:spcPct val="100000"/>
                  </a:lnSpc>
                  <a:spcBef>
                    <a:spcPts val="75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endParaRPr>
              </a:p>
            </p:txBody>
          </p:sp>
          <p:pic>
            <p:nvPicPr>
              <p:cNvPr id="13" name="Picture 12">
                <a:extLst>
                  <a:ext uri="{FF2B5EF4-FFF2-40B4-BE49-F238E27FC236}">
                    <a16:creationId xmlns:a16="http://schemas.microsoft.com/office/drawing/2014/main" id="{1437EF02-FD3F-0B2A-BEC9-B4DE3E7DB1EB}"/>
                  </a:ext>
                </a:extLst>
              </p:cNvPr>
              <p:cNvPicPr>
                <a:picLocks noChangeAspect="1"/>
              </p:cNvPicPr>
              <p:nvPr/>
            </p:nvPicPr>
            <p:blipFill>
              <a:blip r:embed="rId56"/>
              <a:stretch>
                <a:fillRect/>
              </a:stretch>
            </p:blipFill>
            <p:spPr>
              <a:xfrm>
                <a:off x="490964" y="2297180"/>
                <a:ext cx="441663" cy="409927"/>
              </a:xfrm>
              <a:prstGeom prst="rect">
                <a:avLst/>
              </a:prstGeom>
            </p:spPr>
          </p:pic>
        </p:grpSp>
      </p:grpSp>
      <p:grpSp>
        <p:nvGrpSpPr>
          <p:cNvPr id="325" name="Group 324">
            <a:extLst>
              <a:ext uri="{FF2B5EF4-FFF2-40B4-BE49-F238E27FC236}">
                <a16:creationId xmlns:a16="http://schemas.microsoft.com/office/drawing/2014/main" id="{377FB82C-DFE3-9998-30EE-5CC0FA5565C1}"/>
              </a:ext>
            </a:extLst>
          </p:cNvPr>
          <p:cNvGrpSpPr/>
          <p:nvPr/>
        </p:nvGrpSpPr>
        <p:grpSpPr>
          <a:xfrm>
            <a:off x="399336" y="3648386"/>
            <a:ext cx="5345857" cy="745756"/>
            <a:chOff x="407243" y="3782688"/>
            <a:chExt cx="5345857" cy="745756"/>
          </a:xfrm>
        </p:grpSpPr>
        <p:sp>
          <p:nvSpPr>
            <p:cNvPr id="85" name="Text Placeholder 15">
              <a:extLst>
                <a:ext uri="{FF2B5EF4-FFF2-40B4-BE49-F238E27FC236}">
                  <a16:creationId xmlns:a16="http://schemas.microsoft.com/office/drawing/2014/main" id="{5944D6F8-53FD-4E96-86A2-779DB0031C58}"/>
                </a:ext>
              </a:extLst>
            </p:cNvPr>
            <p:cNvSpPr txBox="1">
              <a:spLocks/>
            </p:cNvSpPr>
            <p:nvPr/>
          </p:nvSpPr>
          <p:spPr>
            <a:xfrm>
              <a:off x="834005" y="3782688"/>
              <a:ext cx="4919095" cy="745756"/>
            </a:xfrm>
            <a:prstGeom prst="roundRect">
              <a:avLst/>
            </a:prstGeom>
            <a:ln w="28575">
              <a:solidFill>
                <a:srgbClr val="A6B727"/>
              </a:solidFill>
            </a:ln>
          </p:spPr>
          <p:txBody>
            <a:bodyPr vert="horz" wrap="square" lIns="0" tIns="0" rIns="0" bIns="0" rtlCol="0" anchor="ctr">
              <a:noAutofit/>
            </a:bodyPr>
            <a:lstStyle>
              <a:lvl1pPr marL="0" indent="0" algn="l" defTabSz="685783" rtl="0" eaLnBrk="1" latinLnBrk="0" hangingPunct="1">
                <a:lnSpc>
                  <a:spcPct val="100000"/>
                </a:lnSpc>
                <a:spcBef>
                  <a:spcPts val="0"/>
                </a:spcBef>
                <a:buFont typeface="Wingdings" panose="05000000000000000000" pitchFamily="2" charset="2"/>
                <a:buNone/>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endParaRPr>
            </a:p>
          </p:txBody>
        </p:sp>
        <p:sp>
          <p:nvSpPr>
            <p:cNvPr id="86" name="Ellipse 22">
              <a:extLst>
                <a:ext uri="{FF2B5EF4-FFF2-40B4-BE49-F238E27FC236}">
                  <a16:creationId xmlns:a16="http://schemas.microsoft.com/office/drawing/2014/main" id="{BDCC78CD-223E-84BD-6067-74FAFF41C18E}"/>
                </a:ext>
              </a:extLst>
            </p:cNvPr>
            <p:cNvSpPr/>
            <p:nvPr/>
          </p:nvSpPr>
          <p:spPr>
            <a:xfrm>
              <a:off x="407243" y="3848986"/>
              <a:ext cx="661592" cy="632754"/>
            </a:xfrm>
            <a:prstGeom prst="ellipse">
              <a:avLst/>
            </a:prstGeom>
            <a:solidFill>
              <a:schemeClr val="bg1"/>
            </a:solidFill>
            <a:ln w="28575">
              <a:solidFill>
                <a:srgbClr val="A6B727"/>
              </a:solidFill>
            </a:ln>
          </p:spPr>
          <p:txBody>
            <a:bodyPr vert="horz" wrap="none" lIns="0" tIns="0" rIns="0" bIns="0" rtlCol="0" anchor="ctr">
              <a:noAutofit/>
            </a:bodyPr>
            <a:lstStyle/>
            <a:p>
              <a:pPr marL="0" marR="0" lvl="0" indent="0" algn="ctr" defTabSz="685783" rtl="0" eaLnBrk="1" fontAlgn="auto" latinLnBrk="0" hangingPunct="1">
                <a:lnSpc>
                  <a:spcPct val="100000"/>
                </a:lnSpc>
                <a:spcBef>
                  <a:spcPts val="750"/>
                </a:spcBef>
                <a:spcAft>
                  <a:spcPts val="0"/>
                </a:spcAft>
                <a:buClrTx/>
                <a:buSzTx/>
                <a:buFont typeface="Wingdings" panose="05000000000000000000" pitchFamily="2" charset="2"/>
                <a:buNone/>
                <a:tabLst/>
                <a:defRPr/>
              </a:pPr>
              <a:endParaRPr kumimoji="0" lang="en-GB" sz="12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87" name="TextBox 86">
              <a:extLst>
                <a:ext uri="{FF2B5EF4-FFF2-40B4-BE49-F238E27FC236}">
                  <a16:creationId xmlns:a16="http://schemas.microsoft.com/office/drawing/2014/main" id="{C0B1433E-CB22-7698-A890-5B156A7AD542}"/>
                </a:ext>
              </a:extLst>
            </p:cNvPr>
            <p:cNvSpPr txBox="1"/>
            <p:nvPr/>
          </p:nvSpPr>
          <p:spPr>
            <a:xfrm>
              <a:off x="1140817" y="3875901"/>
              <a:ext cx="4536718"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Revisions to Subpart W of the GHGRP</a:t>
              </a:r>
              <a:r>
                <a:rPr kumimoji="0" lang="en-GB" sz="1200" b="1" i="0" u="none" strike="noStrike" kern="1200" cap="none" spc="0" normalizeH="0" baseline="30000" noProof="0">
                  <a:ln>
                    <a:noFill/>
                  </a:ln>
                  <a:solidFill>
                    <a:srgbClr val="3C3C3B"/>
                  </a:solidFill>
                  <a:effectLst/>
                  <a:uLnTx/>
                  <a:uFillTx/>
                  <a:latin typeface="Lato"/>
                  <a:ea typeface="+mn-ea"/>
                  <a:cs typeface="+mn-cs"/>
                </a:rPr>
                <a:t>3</a:t>
              </a:r>
              <a:r>
                <a:rPr kumimoji="0" lang="en-GB" sz="1200" b="0" i="0" u="none" strike="noStrike" kern="1200" cap="none" spc="0" normalizeH="0" baseline="0" noProof="0">
                  <a:ln>
                    <a:noFill/>
                  </a:ln>
                  <a:solidFill>
                    <a:srgbClr val="3C3C3B"/>
                  </a:solidFill>
                  <a:effectLst/>
                  <a:uLnTx/>
                  <a:uFillTx/>
                  <a:latin typeface="Lato"/>
                  <a:ea typeface="+mn-ea"/>
                  <a:cs typeface="+mn-cs"/>
                </a:rPr>
                <a:t>: To strengthen reporting requirements for petroleum and natural gas systems to increase transparency and accountability of methane emissions.</a:t>
              </a:r>
            </a:p>
          </p:txBody>
        </p:sp>
        <p:pic>
          <p:nvPicPr>
            <p:cNvPr id="15" name="Picture 14">
              <a:extLst>
                <a:ext uri="{FF2B5EF4-FFF2-40B4-BE49-F238E27FC236}">
                  <a16:creationId xmlns:a16="http://schemas.microsoft.com/office/drawing/2014/main" id="{14548AD2-03BB-8B92-03C5-55120AC5A35F}"/>
                </a:ext>
              </a:extLst>
            </p:cNvPr>
            <p:cNvPicPr>
              <a:picLocks noChangeAspect="1"/>
            </p:cNvPicPr>
            <p:nvPr/>
          </p:nvPicPr>
          <p:blipFill>
            <a:blip r:embed="rId57"/>
            <a:stretch>
              <a:fillRect/>
            </a:stretch>
          </p:blipFill>
          <p:spPr>
            <a:xfrm>
              <a:off x="512535" y="3961764"/>
              <a:ext cx="431121" cy="411525"/>
            </a:xfrm>
            <a:prstGeom prst="rect">
              <a:avLst/>
            </a:prstGeom>
          </p:spPr>
        </p:pic>
      </p:grpSp>
      <p:sp>
        <p:nvSpPr>
          <p:cNvPr id="16" name="Text Placeholder 8">
            <a:extLst>
              <a:ext uri="{FF2B5EF4-FFF2-40B4-BE49-F238E27FC236}">
                <a16:creationId xmlns:a16="http://schemas.microsoft.com/office/drawing/2014/main" id="{1EC47E11-5331-5BB5-A90D-D6232FDC5E0C}"/>
              </a:ext>
            </a:extLst>
          </p:cNvPr>
          <p:cNvSpPr txBox="1">
            <a:spLocks/>
          </p:cNvSpPr>
          <p:nvPr/>
        </p:nvSpPr>
        <p:spPr>
          <a:xfrm>
            <a:off x="6481780" y="3974636"/>
            <a:ext cx="5341920" cy="369332"/>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rojected Methane emissions reductions according to the EPA as of Jan 20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illions of metric tonnes of methane</a:t>
            </a: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graphicFrame>
        <p:nvGraphicFramePr>
          <p:cNvPr id="9" name="Chart 8">
            <a:extLst>
              <a:ext uri="{FF2B5EF4-FFF2-40B4-BE49-F238E27FC236}">
                <a16:creationId xmlns:a16="http://schemas.microsoft.com/office/drawing/2014/main" id="{EE59C251-2590-3006-89DD-D68E00A16BF9}"/>
              </a:ext>
            </a:extLst>
          </p:cNvPr>
          <p:cNvGraphicFramePr/>
          <p:nvPr>
            <p:custDataLst>
              <p:tags r:id="rId34"/>
            </p:custDataLst>
          </p:nvPr>
        </p:nvGraphicFramePr>
        <p:xfrm>
          <a:off x="6630988" y="4354513"/>
          <a:ext cx="5075237" cy="1519237"/>
        </p:xfrm>
        <a:graphic>
          <a:graphicData uri="http://schemas.openxmlformats.org/drawingml/2006/chart">
            <c:chart xmlns:c="http://schemas.openxmlformats.org/drawingml/2006/chart" xmlns:r="http://schemas.openxmlformats.org/officeDocument/2006/relationships" r:id="rId58"/>
          </a:graphicData>
        </a:graphic>
      </p:graphicFrame>
      <p:sp>
        <p:nvSpPr>
          <p:cNvPr id="389" name="Text Placeholder 19">
            <a:extLst>
              <a:ext uri="{FF2B5EF4-FFF2-40B4-BE49-F238E27FC236}">
                <a16:creationId xmlns:a16="http://schemas.microsoft.com/office/drawing/2014/main" id="{9F9869AF-B0F6-4E89-B216-4EC18C7334C2}"/>
              </a:ext>
            </a:extLst>
          </p:cNvPr>
          <p:cNvSpPr>
            <a:spLocks noGrp="1"/>
          </p:cNvSpPr>
          <p:nvPr>
            <p:custDataLst>
              <p:tags r:id="rId35"/>
            </p:custDataLst>
          </p:nvPr>
        </p:nvSpPr>
        <p:spPr bwMode="gray">
          <a:xfrm>
            <a:off x="6535738" y="5842000"/>
            <a:ext cx="3556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AB4F464B-2952-4900-96B8-9594080A214C}" type="datetime'''''2''''''02''''''''''''''''''''''''4'''''''''''''''">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24</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391" name="Text Placeholder 19">
            <a:extLst>
              <a:ext uri="{FF2B5EF4-FFF2-40B4-BE49-F238E27FC236}">
                <a16:creationId xmlns:a16="http://schemas.microsoft.com/office/drawing/2014/main" id="{9F9869AF-B0F6-4E89-B216-4EC18C7334C2}"/>
              </a:ext>
            </a:extLst>
          </p:cNvPr>
          <p:cNvSpPr>
            <a:spLocks noGrp="1"/>
          </p:cNvSpPr>
          <p:nvPr>
            <p:custDataLst>
              <p:tags r:id="rId36"/>
            </p:custDataLst>
          </p:nvPr>
        </p:nvSpPr>
        <p:spPr bwMode="gray">
          <a:xfrm>
            <a:off x="7518400" y="5842000"/>
            <a:ext cx="3556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871041AC-6E5C-4CB4-996E-C582CCD8AB4E}" type="datetime'''''''''''''''''''''''''''''20''''''''''''26'''''''">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26</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393" name="Text Placeholder 19">
            <a:extLst>
              <a:ext uri="{FF2B5EF4-FFF2-40B4-BE49-F238E27FC236}">
                <a16:creationId xmlns:a16="http://schemas.microsoft.com/office/drawing/2014/main" id="{9F9869AF-B0F6-4E89-B216-4EC18C7334C2}"/>
              </a:ext>
            </a:extLst>
          </p:cNvPr>
          <p:cNvSpPr>
            <a:spLocks noGrp="1"/>
          </p:cNvSpPr>
          <p:nvPr>
            <p:custDataLst>
              <p:tags r:id="rId37"/>
            </p:custDataLst>
          </p:nvPr>
        </p:nvSpPr>
        <p:spPr bwMode="gray">
          <a:xfrm>
            <a:off x="8499475" y="5842000"/>
            <a:ext cx="3556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7B39FB88-4F97-4D6C-86FF-2CF1931CCBE7}" type="datetime'''''''2''''''0''2''''''''8'''''''''">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28</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395" name="Text Placeholder 19">
            <a:extLst>
              <a:ext uri="{FF2B5EF4-FFF2-40B4-BE49-F238E27FC236}">
                <a16:creationId xmlns:a16="http://schemas.microsoft.com/office/drawing/2014/main" id="{9F9869AF-B0F6-4E89-B216-4EC18C7334C2}"/>
              </a:ext>
            </a:extLst>
          </p:cNvPr>
          <p:cNvSpPr>
            <a:spLocks noGrp="1"/>
          </p:cNvSpPr>
          <p:nvPr>
            <p:custDataLst>
              <p:tags r:id="rId38"/>
            </p:custDataLst>
          </p:nvPr>
        </p:nvSpPr>
        <p:spPr bwMode="gray">
          <a:xfrm>
            <a:off x="9482138" y="5842000"/>
            <a:ext cx="3556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16C3A202-2A1D-4C0A-BED7-1714A435D915}" type="datetime'''''''''2''0''''''3''''''''''''''''''''''''''0'''''">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30</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397" name="Text Placeholder 19">
            <a:extLst>
              <a:ext uri="{FF2B5EF4-FFF2-40B4-BE49-F238E27FC236}">
                <a16:creationId xmlns:a16="http://schemas.microsoft.com/office/drawing/2014/main" id="{9F9869AF-B0F6-4E89-B216-4EC18C7334C2}"/>
              </a:ext>
            </a:extLst>
          </p:cNvPr>
          <p:cNvSpPr>
            <a:spLocks noGrp="1"/>
          </p:cNvSpPr>
          <p:nvPr>
            <p:custDataLst>
              <p:tags r:id="rId39"/>
            </p:custDataLst>
          </p:nvPr>
        </p:nvSpPr>
        <p:spPr bwMode="gray">
          <a:xfrm>
            <a:off x="10463213" y="5842000"/>
            <a:ext cx="3556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17F21ED0-DA92-4F7D-8738-6F4B29119683}" type="datetime'2''0''3''''''''''''''''''''''''''''''''''''''''''''''''''2'">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32</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399" name="Text Placeholder 19">
            <a:extLst>
              <a:ext uri="{FF2B5EF4-FFF2-40B4-BE49-F238E27FC236}">
                <a16:creationId xmlns:a16="http://schemas.microsoft.com/office/drawing/2014/main" id="{9F9869AF-B0F6-4E89-B216-4EC18C7334C2}"/>
              </a:ext>
            </a:extLst>
          </p:cNvPr>
          <p:cNvSpPr>
            <a:spLocks noGrp="1"/>
          </p:cNvSpPr>
          <p:nvPr>
            <p:custDataLst>
              <p:tags r:id="rId40"/>
            </p:custDataLst>
          </p:nvPr>
        </p:nvSpPr>
        <p:spPr bwMode="gray">
          <a:xfrm>
            <a:off x="11445875" y="5842000"/>
            <a:ext cx="3556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53A69FED-9F2B-4F37-B539-EF0B4ECC927B}" type="datetime'''2''0''3''''''''''4'''''''''''''">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34</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453" name="Text Placeholder 19">
            <a:extLst>
              <a:ext uri="{FF2B5EF4-FFF2-40B4-BE49-F238E27FC236}">
                <a16:creationId xmlns:a16="http://schemas.microsoft.com/office/drawing/2014/main" id="{9F9869AF-B0F6-4E89-B216-4EC18C7334C2}"/>
              </a:ext>
            </a:extLst>
          </p:cNvPr>
          <p:cNvSpPr>
            <a:spLocks noGrp="1"/>
          </p:cNvSpPr>
          <p:nvPr>
            <p:custDataLst>
              <p:tags r:id="rId41"/>
            </p:custDataLst>
          </p:nvPr>
        </p:nvSpPr>
        <p:spPr bwMode="gray">
          <a:xfrm>
            <a:off x="6523038" y="5700714"/>
            <a:ext cx="889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F5BECE0C-330B-437A-99E2-2E2F16A77AFF}" type="datetime'''''''''''''''''''''''''''''''0'''''''''''''''">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0</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454" name="Text Placeholder 19">
            <a:extLst>
              <a:ext uri="{FF2B5EF4-FFF2-40B4-BE49-F238E27FC236}">
                <a16:creationId xmlns:a16="http://schemas.microsoft.com/office/drawing/2014/main" id="{9F9869AF-B0F6-4E89-B216-4EC18C7334C2}"/>
              </a:ext>
            </a:extLst>
          </p:cNvPr>
          <p:cNvSpPr>
            <a:spLocks noGrp="1"/>
          </p:cNvSpPr>
          <p:nvPr>
            <p:custDataLst>
              <p:tags r:id="rId42"/>
            </p:custDataLst>
          </p:nvPr>
        </p:nvSpPr>
        <p:spPr bwMode="gray">
          <a:xfrm>
            <a:off x="6523038" y="5429250"/>
            <a:ext cx="889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9711263F-39CE-4EE9-928B-72529C50A410}" type="datetime'''''''''1'''''''''''''''''''''''''">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1</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455" name="Text Placeholder 19">
            <a:extLst>
              <a:ext uri="{FF2B5EF4-FFF2-40B4-BE49-F238E27FC236}">
                <a16:creationId xmlns:a16="http://schemas.microsoft.com/office/drawing/2014/main" id="{9F9869AF-B0F6-4E89-B216-4EC18C7334C2}"/>
              </a:ext>
            </a:extLst>
          </p:cNvPr>
          <p:cNvSpPr>
            <a:spLocks noGrp="1"/>
          </p:cNvSpPr>
          <p:nvPr>
            <p:custDataLst>
              <p:tags r:id="rId43"/>
            </p:custDataLst>
          </p:nvPr>
        </p:nvSpPr>
        <p:spPr bwMode="gray">
          <a:xfrm>
            <a:off x="6523038" y="5159375"/>
            <a:ext cx="889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963D12FD-0AEE-4990-BEFA-950A8157E6FC}" type="datetime'''''''''''''''''''''''''''''''''''2'''''''''''''''''''">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456" name="Text Placeholder 19">
            <a:extLst>
              <a:ext uri="{FF2B5EF4-FFF2-40B4-BE49-F238E27FC236}">
                <a16:creationId xmlns:a16="http://schemas.microsoft.com/office/drawing/2014/main" id="{9F9869AF-B0F6-4E89-B216-4EC18C7334C2}"/>
              </a:ext>
            </a:extLst>
          </p:cNvPr>
          <p:cNvSpPr>
            <a:spLocks noGrp="1"/>
          </p:cNvSpPr>
          <p:nvPr>
            <p:custDataLst>
              <p:tags r:id="rId44"/>
            </p:custDataLst>
          </p:nvPr>
        </p:nvSpPr>
        <p:spPr bwMode="gray">
          <a:xfrm>
            <a:off x="6523038" y="4887913"/>
            <a:ext cx="889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2B596D35-C73B-4AF3-8D26-6B1E826279D3}" type="datetime'''''''''''''''''''''''''''''''''3'''">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3</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457" name="Text Placeholder 19">
            <a:extLst>
              <a:ext uri="{FF2B5EF4-FFF2-40B4-BE49-F238E27FC236}">
                <a16:creationId xmlns:a16="http://schemas.microsoft.com/office/drawing/2014/main" id="{9F9869AF-B0F6-4E89-B216-4EC18C7334C2}"/>
              </a:ext>
            </a:extLst>
          </p:cNvPr>
          <p:cNvSpPr>
            <a:spLocks noGrp="1"/>
          </p:cNvSpPr>
          <p:nvPr>
            <p:custDataLst>
              <p:tags r:id="rId45"/>
            </p:custDataLst>
          </p:nvPr>
        </p:nvSpPr>
        <p:spPr bwMode="gray">
          <a:xfrm>
            <a:off x="6523038" y="4618038"/>
            <a:ext cx="889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1B8B16F9-8859-449E-9B2B-8607F16C83A2}" type="datetime'''''''''''''''''''''''''''''''''''''''''''''4'''''''''''''''''">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4</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458" name="Text Placeholder 19">
            <a:extLst>
              <a:ext uri="{FF2B5EF4-FFF2-40B4-BE49-F238E27FC236}">
                <a16:creationId xmlns:a16="http://schemas.microsoft.com/office/drawing/2014/main" id="{9F9869AF-B0F6-4E89-B216-4EC18C7334C2}"/>
              </a:ext>
            </a:extLst>
          </p:cNvPr>
          <p:cNvSpPr>
            <a:spLocks noGrp="1"/>
          </p:cNvSpPr>
          <p:nvPr>
            <p:custDataLst>
              <p:tags r:id="rId46"/>
            </p:custDataLst>
          </p:nvPr>
        </p:nvSpPr>
        <p:spPr bwMode="gray">
          <a:xfrm>
            <a:off x="6523038" y="4346575"/>
            <a:ext cx="889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33C5B6EC-ABE5-4FE4-989B-7FC4D57874B6}" type="datetime'5'''''''''''''''''''''''''''''''''''''''''''''''''''''''''''">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5</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cxnSp>
        <p:nvCxnSpPr>
          <p:cNvPr id="446" name="Straight Connector 445">
            <a:extLst>
              <a:ext uri="{FF2B5EF4-FFF2-40B4-BE49-F238E27FC236}">
                <a16:creationId xmlns:a16="http://schemas.microsoft.com/office/drawing/2014/main" id="{D78AB45C-63EB-9910-805A-6F603F135A94}"/>
              </a:ext>
            </a:extLst>
          </p:cNvPr>
          <p:cNvCxnSpPr/>
          <p:nvPr>
            <p:custDataLst>
              <p:tags r:id="rId47"/>
            </p:custDataLst>
          </p:nvPr>
        </p:nvCxnSpPr>
        <p:spPr bwMode="gray">
          <a:xfrm>
            <a:off x="6521450" y="6311900"/>
            <a:ext cx="150813" cy="0"/>
          </a:xfrm>
          <a:prstGeom prst="line">
            <a:avLst/>
          </a:prstGeom>
          <a:ln w="28575" cap="rnd" cmpd="sng" algn="ctr">
            <a:solidFill>
              <a:srgbClr val="A6964E"/>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5" name="Straight Connector 444">
            <a:extLst>
              <a:ext uri="{FF2B5EF4-FFF2-40B4-BE49-F238E27FC236}">
                <a16:creationId xmlns:a16="http://schemas.microsoft.com/office/drawing/2014/main" id="{E423140E-BBB6-1DB5-ACA0-245117CE610C}"/>
              </a:ext>
            </a:extLst>
          </p:cNvPr>
          <p:cNvCxnSpPr/>
          <p:nvPr>
            <p:custDataLst>
              <p:tags r:id="rId48"/>
            </p:custDataLst>
          </p:nvPr>
        </p:nvCxnSpPr>
        <p:spPr bwMode="gray">
          <a:xfrm>
            <a:off x="9070975" y="6311900"/>
            <a:ext cx="150813" cy="0"/>
          </a:xfrm>
          <a:prstGeom prst="line">
            <a:avLst/>
          </a:prstGeom>
          <a:ln w="28575" cap="rnd" cmpd="sng" algn="ctr">
            <a:solidFill>
              <a:srgbClr val="4E5F6E"/>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43" name="Text Placeholder 19">
            <a:extLst>
              <a:ext uri="{FF2B5EF4-FFF2-40B4-BE49-F238E27FC236}">
                <a16:creationId xmlns:a16="http://schemas.microsoft.com/office/drawing/2014/main" id="{9F9869AF-B0F6-4E89-B216-4EC18C7334C2}"/>
              </a:ext>
            </a:extLst>
          </p:cNvPr>
          <p:cNvSpPr>
            <a:spLocks noGrp="1"/>
          </p:cNvSpPr>
          <p:nvPr>
            <p:custDataLst>
              <p:tags r:id="rId49"/>
            </p:custDataLst>
          </p:nvPr>
        </p:nvSpPr>
        <p:spPr bwMode="auto">
          <a:xfrm>
            <a:off x="6737350" y="6240463"/>
            <a:ext cx="22177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EC759A39-401B-4F95-B1AF-7B2AA9836310}" type="datetime'Marginal'' a''''batment methane m''i''t''igat''io''''n''''s'''">
              <a:rPr kumimoji="0" lang="en-GB" altLang="en-US" sz="10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Marginal abatment methane mitigations</a:t>
            </a:fld>
            <a:endParaRPr kumimoji="0" lang="en-GB" sz="10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441" name="Text Placeholder 19">
            <a:extLst>
              <a:ext uri="{FF2B5EF4-FFF2-40B4-BE49-F238E27FC236}">
                <a16:creationId xmlns:a16="http://schemas.microsoft.com/office/drawing/2014/main" id="{9F9869AF-B0F6-4E89-B216-4EC18C7334C2}"/>
              </a:ext>
            </a:extLst>
          </p:cNvPr>
          <p:cNvSpPr>
            <a:spLocks noGrp="1"/>
          </p:cNvSpPr>
          <p:nvPr>
            <p:custDataLst>
              <p:tags r:id="rId50"/>
            </p:custDataLst>
          </p:nvPr>
        </p:nvSpPr>
        <p:spPr bwMode="auto">
          <a:xfrm>
            <a:off x="9286875" y="6240463"/>
            <a:ext cx="19637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D669663C-DEBF-44A9-85D6-22B71D1FB3BC}" type="datetime'C''om''plianc''''''''e w''ith t''he ’Qua''d-''O’ ru''l''e''s'">
              <a:rPr kumimoji="0" lang="en-GB" altLang="en-US" sz="10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Compliance with the ’Quad-O’ rules</a:t>
            </a:fld>
            <a:endParaRPr kumimoji="0" lang="en-GB" sz="10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grpSp>
        <p:nvGrpSpPr>
          <p:cNvPr id="21" name="Group 20">
            <a:extLst>
              <a:ext uri="{FF2B5EF4-FFF2-40B4-BE49-F238E27FC236}">
                <a16:creationId xmlns:a16="http://schemas.microsoft.com/office/drawing/2014/main" id="{071E7B5D-0C58-45C5-D881-DE679F3356EA}"/>
              </a:ext>
            </a:extLst>
          </p:cNvPr>
          <p:cNvGrpSpPr/>
          <p:nvPr/>
        </p:nvGrpSpPr>
        <p:grpSpPr>
          <a:xfrm>
            <a:off x="8280400" y="4800418"/>
            <a:ext cx="3343262" cy="884070"/>
            <a:chOff x="8280400" y="4800418"/>
            <a:chExt cx="3343262" cy="884070"/>
          </a:xfrm>
        </p:grpSpPr>
        <p:cxnSp>
          <p:nvCxnSpPr>
            <p:cNvPr id="489" name="Straight Connector 488">
              <a:extLst>
                <a:ext uri="{FF2B5EF4-FFF2-40B4-BE49-F238E27FC236}">
                  <a16:creationId xmlns:a16="http://schemas.microsoft.com/office/drawing/2014/main" id="{F1248B48-3D42-D298-79E5-D6F5FFAFA985}"/>
                </a:ext>
              </a:extLst>
            </p:cNvPr>
            <p:cNvCxnSpPr>
              <a:cxnSpLocks/>
              <a:stCxn id="8" idx="1"/>
            </p:cNvCxnSpPr>
            <p:nvPr/>
          </p:nvCxnSpPr>
          <p:spPr>
            <a:xfrm flipH="1">
              <a:off x="8280400" y="5242453"/>
              <a:ext cx="573130" cy="383648"/>
            </a:xfrm>
            <a:prstGeom prst="line">
              <a:avLst/>
            </a:prstGeom>
            <a:ln w="9525">
              <a:solidFill>
                <a:schemeClr val="tx1"/>
              </a:solidFill>
              <a:tailEnd type="oval"/>
            </a:ln>
            <a:effectLst/>
          </p:spPr>
          <p:style>
            <a:lnRef idx="1">
              <a:schemeClr val="accent1"/>
            </a:lnRef>
            <a:fillRef idx="0">
              <a:schemeClr val="accent1"/>
            </a:fillRef>
            <a:effectRef idx="0">
              <a:schemeClr val="accent1"/>
            </a:effectRef>
            <a:fontRef idx="minor">
              <a:schemeClr val="tx1"/>
            </a:fontRef>
          </p:style>
        </p:cxnSp>
        <p:sp>
          <p:nvSpPr>
            <p:cNvPr id="8" name="Speech Bubble: Rectangle 7">
              <a:extLst>
                <a:ext uri="{FF2B5EF4-FFF2-40B4-BE49-F238E27FC236}">
                  <a16:creationId xmlns:a16="http://schemas.microsoft.com/office/drawing/2014/main" id="{56DD5816-EA7F-60B5-4729-2EA8850F146C}"/>
                </a:ext>
              </a:extLst>
            </p:cNvPr>
            <p:cNvSpPr/>
            <p:nvPr/>
          </p:nvSpPr>
          <p:spPr>
            <a:xfrm>
              <a:off x="8853530" y="4800418"/>
              <a:ext cx="2770132" cy="884070"/>
            </a:xfrm>
            <a:prstGeom prst="wedgeRectCallout">
              <a:avLst>
                <a:gd name="adj1" fmla="val 10460"/>
                <a:gd name="adj2" fmla="val -21626"/>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200" b="0" i="0" u="none" strike="noStrike" kern="1200" cap="none" spc="0" normalizeH="0" baseline="0" noProof="0">
                  <a:ln>
                    <a:noFill/>
                  </a:ln>
                  <a:solidFill>
                    <a:srgbClr val="3C3C3B"/>
                  </a:solidFill>
                  <a:effectLst/>
                  <a:uLnTx/>
                  <a:uFillTx/>
                  <a:latin typeface="Lato"/>
                  <a:ea typeface="+mn-ea"/>
                  <a:cs typeface="+mn-cs"/>
                </a:rPr>
                <a:t>From 2027, imposed compliance with EPA’s ‘Quad-O’ rules will exempt WEC-applicable facilities from the WEC</a:t>
              </a:r>
              <a:r>
                <a:rPr lang="en-GB" sz="1200" baseline="30000">
                  <a:solidFill>
                    <a:srgbClr val="3C3C3B"/>
                  </a:solidFill>
                  <a:latin typeface="Lato"/>
                </a:rPr>
                <a:t>7</a:t>
              </a:r>
              <a:r>
                <a:rPr kumimoji="0" lang="en-GB" sz="1200" b="0" i="0" u="none" strike="noStrike" kern="1200" cap="none" spc="0" normalizeH="0" baseline="30000" noProof="0">
                  <a:ln>
                    <a:noFill/>
                  </a:ln>
                  <a:solidFill>
                    <a:srgbClr val="3C3C3B"/>
                  </a:solidFill>
                  <a:effectLst/>
                  <a:uLnTx/>
                  <a:uFillTx/>
                  <a:latin typeface="Lato"/>
                  <a:ea typeface="+mn-ea"/>
                  <a:cs typeface="+mn-cs"/>
                </a:rPr>
                <a:t> </a:t>
              </a:r>
              <a:r>
                <a:rPr kumimoji="0" lang="en-GB" sz="1200" b="0" i="0" u="none" strike="noStrike" kern="1200" cap="none" spc="0" normalizeH="0" baseline="0" noProof="0">
                  <a:ln>
                    <a:noFill/>
                  </a:ln>
                  <a:solidFill>
                    <a:srgbClr val="3C3C3B"/>
                  </a:solidFill>
                  <a:effectLst/>
                  <a:uLnTx/>
                  <a:uFillTx/>
                  <a:latin typeface="Lato"/>
                  <a:ea typeface="+mn-ea"/>
                  <a:cs typeface="+mn-cs"/>
                </a:rPr>
                <a:t>making the WEC obsolete.</a:t>
              </a:r>
            </a:p>
          </p:txBody>
        </p:sp>
      </p:grpSp>
      <p:sp>
        <p:nvSpPr>
          <p:cNvPr id="14" name="TextBox 13">
            <a:extLst>
              <a:ext uri="{FF2B5EF4-FFF2-40B4-BE49-F238E27FC236}">
                <a16:creationId xmlns:a16="http://schemas.microsoft.com/office/drawing/2014/main" id="{94FD4694-F416-6B7C-A7E8-4BE76D1A89A8}"/>
              </a:ext>
            </a:extLst>
          </p:cNvPr>
          <p:cNvSpPr txBox="1"/>
          <p:nvPr/>
        </p:nvSpPr>
        <p:spPr>
          <a:xfrm>
            <a:off x="-457200" y="2495550"/>
            <a:ext cx="65"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2" name="Text Placeholder 14">
            <a:extLst>
              <a:ext uri="{FF2B5EF4-FFF2-40B4-BE49-F238E27FC236}">
                <a16:creationId xmlns:a16="http://schemas.microsoft.com/office/drawing/2014/main" id="{B26A4C07-A10A-5D66-7C12-256BAA15C7FD}"/>
              </a:ext>
            </a:extLst>
          </p:cNvPr>
          <p:cNvSpPr txBox="1">
            <a:spLocks/>
          </p:cNvSpPr>
          <p:nvPr/>
        </p:nvSpPr>
        <p:spPr>
          <a:xfrm>
            <a:off x="381597" y="79401"/>
            <a:ext cx="3852265" cy="184666"/>
          </a:xfrm>
          <a:prstGeom prst="rect">
            <a:avLst/>
          </a:prstGeom>
        </p:spPr>
        <p:txBody>
          <a:bodyPr vert="horz" wrap="square" lIns="0" tIns="0" rIns="0" bIns="0" rtlCol="0">
            <a:sp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750"/>
              </a:spcBef>
              <a:spcAft>
                <a:spcPts val="0"/>
              </a:spcAft>
              <a:buClrTx/>
              <a:buSzTx/>
              <a:buFont typeface="Wingdings" panose="05000000000000000000" pitchFamily="2" charset="2"/>
              <a:buNone/>
              <a:tabLst/>
              <a:defRPr/>
            </a:pPr>
            <a:r>
              <a:rPr kumimoji="0" lang="en-AU" sz="1200" b="0" i="0" u="none" strike="noStrike" kern="1200" cap="none" spc="0" normalizeH="0" baseline="0" noProof="0">
                <a:ln>
                  <a:noFill/>
                </a:ln>
                <a:solidFill>
                  <a:srgbClr val="838383"/>
                </a:solidFill>
                <a:effectLst/>
                <a:uLnTx/>
                <a:uFillTx/>
                <a:latin typeface="Lato" panose="020F0502020204030203" pitchFamily="34" charset="0"/>
                <a:sym typeface="Lato" panose="020F0502020204030203" pitchFamily="34" charset="0"/>
              </a:rPr>
              <a:t>        Appendix</a:t>
            </a:r>
            <a:endParaRPr kumimoji="0" lang="en-GB" sz="1200" b="0" i="0" u="none" strike="noStrike" kern="1200" cap="none" spc="0" normalizeH="0" baseline="0" noProof="0">
              <a:ln>
                <a:noFill/>
              </a:ln>
              <a:solidFill>
                <a:srgbClr val="838383"/>
              </a:solidFill>
              <a:effectLst/>
              <a:uLnTx/>
              <a:uFillTx/>
              <a:latin typeface="Lato" panose="020F0502020204030203" pitchFamily="34" charset="0"/>
              <a:sym typeface="Lato" panose="020F0502020204030203" pitchFamily="34" charset="0"/>
            </a:endParaRPr>
          </a:p>
        </p:txBody>
      </p:sp>
      <p:sp>
        <p:nvSpPr>
          <p:cNvPr id="11" name="Oval 10">
            <a:extLst>
              <a:ext uri="{FF2B5EF4-FFF2-40B4-BE49-F238E27FC236}">
                <a16:creationId xmlns:a16="http://schemas.microsoft.com/office/drawing/2014/main" id="{780B2AC4-5F39-8F2C-DEBD-A9A477034DB5}"/>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t>
            </a:r>
          </a:p>
        </p:txBody>
      </p:sp>
    </p:spTree>
    <p:extLst>
      <p:ext uri="{BB962C8B-B14F-4D97-AF65-F5344CB8AC3E}">
        <p14:creationId xmlns:p14="http://schemas.microsoft.com/office/powerpoint/2010/main" val="18504567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a:extLst>
              <a:ext uri="{FF2B5EF4-FFF2-40B4-BE49-F238E27FC236}">
                <a16:creationId xmlns:a16="http://schemas.microsoft.com/office/drawing/2014/main" id="{79677939-5001-43E5-87AC-7EB629B99B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95" imgH="396" progId="TCLayout.ActiveDocument.1">
                  <p:embed/>
                </p:oleObj>
              </mc:Choice>
              <mc:Fallback>
                <p:oleObj name="think-cell Slide" r:id="rId12" imgW="395" imgH="396" progId="TCLayout.ActiveDocument.1">
                  <p:embed/>
                  <p:pic>
                    <p:nvPicPr>
                      <p:cNvPr id="37" name="Object 36" hidden="1">
                        <a:extLst>
                          <a:ext uri="{FF2B5EF4-FFF2-40B4-BE49-F238E27FC236}">
                            <a16:creationId xmlns:a16="http://schemas.microsoft.com/office/drawing/2014/main" id="{79677939-5001-43E5-87AC-7EB629B99B3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ED8C2A15-2BA4-42F1-B47B-7F0E0E6DDB59}"/>
              </a:ext>
            </a:extLst>
          </p:cNvPr>
          <p:cNvSpPr>
            <a:spLocks noGrp="1"/>
          </p:cNvSpPr>
          <p:nvPr>
            <p:ph type="title"/>
          </p:nvPr>
        </p:nvSpPr>
        <p:spPr>
          <a:xfrm>
            <a:off x="381000" y="411856"/>
            <a:ext cx="9174163" cy="609398"/>
          </a:xfrm>
        </p:spPr>
        <p:txBody>
          <a:bodyPr vert="horz"/>
          <a:lstStyle/>
          <a:p>
            <a:r>
              <a:rPr lang="en-GB">
                <a:solidFill>
                  <a:schemeClr val="tx1"/>
                </a:solidFill>
              </a:rPr>
              <a:t>The natural gas distribution system avoids the WEC, while only a subset of emissions from facilities that are applicable will be subject to the WEC</a:t>
            </a:r>
          </a:p>
        </p:txBody>
      </p:sp>
      <p:sp>
        <p:nvSpPr>
          <p:cNvPr id="10" name="Text Placeholder 9">
            <a:extLst>
              <a:ext uri="{FF2B5EF4-FFF2-40B4-BE49-F238E27FC236}">
                <a16:creationId xmlns:a16="http://schemas.microsoft.com/office/drawing/2014/main" id="{9CB022FA-4F1B-8DEA-09A3-4A4804D2A66E}"/>
              </a:ext>
            </a:extLst>
          </p:cNvPr>
          <p:cNvSpPr>
            <a:spLocks noGrp="1"/>
          </p:cNvSpPr>
          <p:nvPr>
            <p:ph type="body" sz="quarter" idx="32"/>
          </p:nvPr>
        </p:nvSpPr>
        <p:spPr>
          <a:xfrm>
            <a:off x="381600" y="6474841"/>
            <a:ext cx="11428800" cy="221599"/>
          </a:xfrm>
        </p:spPr>
        <p:txBody>
          <a:bodyPr/>
          <a:lstStyle/>
          <a:p>
            <a:r>
              <a:rPr lang="en-GB"/>
              <a:t>1) Environmental Protection Agency; 2) Greenhouse Gas Emissions Reporting Program; 3) The natural gas distribution system is not subject to the WEC; 4) WEC applicable emissions for each facility under common ownership or control are summed to calculate the net WEC emissions. Thus, facilities that emit below the WEC threshold can offset WEC emissions from facilities that emit above the WEC threshold if they are under common ownership or control.</a:t>
            </a:r>
          </a:p>
        </p:txBody>
      </p:sp>
      <p:sp>
        <p:nvSpPr>
          <p:cNvPr id="13" name="Text Placeholder 12">
            <a:extLst>
              <a:ext uri="{FF2B5EF4-FFF2-40B4-BE49-F238E27FC236}">
                <a16:creationId xmlns:a16="http://schemas.microsoft.com/office/drawing/2014/main" id="{F174B94E-CE77-5C4F-5578-0893F72F4864}"/>
              </a:ext>
            </a:extLst>
          </p:cNvPr>
          <p:cNvSpPr>
            <a:spLocks noGrp="1"/>
          </p:cNvSpPr>
          <p:nvPr>
            <p:ph type="body" sz="quarter" idx="22"/>
          </p:nvPr>
        </p:nvSpPr>
        <p:spPr>
          <a:xfrm>
            <a:off x="381001" y="6715169"/>
            <a:ext cx="3064942" cy="110800"/>
          </a:xfrm>
        </p:spPr>
        <p:txBody>
          <a:bodyPr/>
          <a:lstStyle/>
          <a:p>
            <a:r>
              <a:rPr lang="en-GB"/>
              <a:t>Sources: Aurora Energy Research, Environmental Protection Agency</a:t>
            </a:r>
          </a:p>
        </p:txBody>
      </p:sp>
      <p:graphicFrame>
        <p:nvGraphicFramePr>
          <p:cNvPr id="43" name="Table 42">
            <a:extLst>
              <a:ext uri="{FF2B5EF4-FFF2-40B4-BE49-F238E27FC236}">
                <a16:creationId xmlns:a16="http://schemas.microsoft.com/office/drawing/2014/main" id="{B2DEFA97-AB67-38E4-4403-7F7A594B5131}"/>
              </a:ext>
            </a:extLst>
          </p:cNvPr>
          <p:cNvGraphicFramePr>
            <a:graphicFrameLocks noGrp="1"/>
          </p:cNvGraphicFramePr>
          <p:nvPr/>
        </p:nvGraphicFramePr>
        <p:xfrm>
          <a:off x="390525" y="1259949"/>
          <a:ext cx="11429398" cy="5103468"/>
        </p:xfrm>
        <a:graphic>
          <a:graphicData uri="http://schemas.openxmlformats.org/drawingml/2006/table">
            <a:tbl>
              <a:tblPr firstRow="1" bandRow="1">
                <a:tableStyleId>{5940675A-B579-460E-94D1-54222C63F5DA}</a:tableStyleId>
              </a:tblPr>
              <a:tblGrid>
                <a:gridCol w="1538394">
                  <a:extLst>
                    <a:ext uri="{9D8B030D-6E8A-4147-A177-3AD203B41FA5}">
                      <a16:colId xmlns:a16="http://schemas.microsoft.com/office/drawing/2014/main" val="1344033847"/>
                    </a:ext>
                  </a:extLst>
                </a:gridCol>
                <a:gridCol w="7091256">
                  <a:extLst>
                    <a:ext uri="{9D8B030D-6E8A-4147-A177-3AD203B41FA5}">
                      <a16:colId xmlns:a16="http://schemas.microsoft.com/office/drawing/2014/main" val="1029543973"/>
                    </a:ext>
                  </a:extLst>
                </a:gridCol>
                <a:gridCol w="2617532">
                  <a:extLst>
                    <a:ext uri="{9D8B030D-6E8A-4147-A177-3AD203B41FA5}">
                      <a16:colId xmlns:a16="http://schemas.microsoft.com/office/drawing/2014/main" val="2754362410"/>
                    </a:ext>
                  </a:extLst>
                </a:gridCol>
                <a:gridCol w="124346">
                  <a:extLst>
                    <a:ext uri="{9D8B030D-6E8A-4147-A177-3AD203B41FA5}">
                      <a16:colId xmlns:a16="http://schemas.microsoft.com/office/drawing/2014/main" val="2661710920"/>
                    </a:ext>
                  </a:extLst>
                </a:gridCol>
                <a:gridCol w="57870">
                  <a:extLst>
                    <a:ext uri="{9D8B030D-6E8A-4147-A177-3AD203B41FA5}">
                      <a16:colId xmlns:a16="http://schemas.microsoft.com/office/drawing/2014/main" val="2327481450"/>
                    </a:ext>
                  </a:extLst>
                </a:gridCol>
              </a:tblGrid>
              <a:tr h="265808">
                <a:tc gridSpan="3">
                  <a:txBody>
                    <a:bodyPr/>
                    <a:lstStyle/>
                    <a:p>
                      <a:pPr marL="360000" marR="0" lvl="0" indent="0" algn="ctr" defTabSz="685783" rtl="0" eaLnBrk="1" fontAlgn="auto" latinLnBrk="0" hangingPunct="1">
                        <a:lnSpc>
                          <a:spcPct val="100000"/>
                        </a:lnSpc>
                        <a:spcBef>
                          <a:spcPts val="0"/>
                        </a:spcBef>
                        <a:spcAft>
                          <a:spcPts val="0"/>
                        </a:spcAft>
                        <a:buClrTx/>
                        <a:buSzTx/>
                        <a:buFontTx/>
                        <a:buNone/>
                        <a:tabLst/>
                        <a:defRPr/>
                      </a:pPr>
                      <a:r>
                        <a:rPr lang="en-GB" sz="1200" b="1">
                          <a:solidFill>
                            <a:schemeClr val="tx1"/>
                          </a:solidFill>
                        </a:rPr>
                        <a:t>Waste Emissions Charge/Methane Fee</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72000" marR="0" lvl="0" indent="0" algn="l" defTabSz="685783" rtl="0" eaLnBrk="1" fontAlgn="auto" latinLnBrk="0" hangingPunct="1">
                        <a:lnSpc>
                          <a:spcPct val="100000"/>
                        </a:lnSpc>
                        <a:spcBef>
                          <a:spcPts val="0"/>
                        </a:spcBef>
                        <a:spcAft>
                          <a:spcPts val="400"/>
                        </a:spcAft>
                        <a:buClrTx/>
                        <a:buSzTx/>
                        <a:buFont typeface="Wingdings" panose="05000000000000000000" pitchFamily="2" charset="2"/>
                        <a:buNone/>
                        <a:tabLst/>
                        <a:defRPr/>
                      </a:pPr>
                      <a:endParaRPr lang="en-GB" sz="1200" i="0">
                        <a:solidFill>
                          <a:schemeClr val="tx1"/>
                        </a:solidFill>
                      </a:endParaRPr>
                    </a:p>
                  </a:txBody>
                  <a:tcPr marL="36000" marR="0" marT="36000" marB="3600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172800" marR="0" lvl="0" indent="-172800" algn="l" defTabSz="685783"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i="0">
                        <a:solidFill>
                          <a:schemeClr val="tx1"/>
                        </a:solidFill>
                      </a:endParaRPr>
                    </a:p>
                  </a:txBody>
                  <a:tcPr marL="36000" marR="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i="0">
                        <a:solidFill>
                          <a:schemeClr val="tx1"/>
                        </a:solidFill>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04101226"/>
                  </a:ext>
                </a:extLst>
              </a:tr>
              <a:tr h="452327">
                <a:tc>
                  <a:txBody>
                    <a:bodyPr/>
                    <a:lstStyle/>
                    <a:p>
                      <a:pPr marL="360000" marR="0" lvl="0" indent="0" algn="l" defTabSz="685783" rtl="0" eaLnBrk="1" fontAlgn="auto" latinLnBrk="0" hangingPunct="1">
                        <a:lnSpc>
                          <a:spcPct val="100000"/>
                        </a:lnSpc>
                        <a:spcBef>
                          <a:spcPts val="0"/>
                        </a:spcBef>
                        <a:spcAft>
                          <a:spcPts val="0"/>
                        </a:spcAft>
                        <a:buClrTx/>
                        <a:buSzTx/>
                        <a:buFontTx/>
                        <a:buNone/>
                        <a:tabLst/>
                        <a:defRPr/>
                      </a:pPr>
                      <a:r>
                        <a:rPr lang="en-GB" sz="1200" b="1">
                          <a:solidFill>
                            <a:schemeClr val="tx1"/>
                          </a:solidFill>
                        </a:rPr>
                        <a:t>What?</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992"/>
                    </a:solidFill>
                  </a:tcPr>
                </a:tc>
                <a:tc gridSpan="2">
                  <a:txBody>
                    <a:bodyPr/>
                    <a:lstStyle/>
                    <a:p>
                      <a:pPr marL="72000" marR="0" lvl="0" indent="0" algn="l" defTabSz="685783" rtl="0" eaLnBrk="1" fontAlgn="auto" latinLnBrk="0" hangingPunct="1">
                        <a:lnSpc>
                          <a:spcPct val="100000"/>
                        </a:lnSpc>
                        <a:spcBef>
                          <a:spcPts val="0"/>
                        </a:spcBef>
                        <a:spcAft>
                          <a:spcPts val="400"/>
                        </a:spcAft>
                        <a:buClrTx/>
                        <a:buSzTx/>
                        <a:buFont typeface="Wingdings" panose="05000000000000000000" pitchFamily="2" charset="2"/>
                        <a:buNone/>
                        <a:tabLst/>
                        <a:defRPr/>
                      </a:pPr>
                      <a:r>
                        <a:rPr lang="en-GB" sz="1200" i="0">
                          <a:solidFill>
                            <a:schemeClr val="tx1"/>
                          </a:solidFill>
                        </a:rPr>
                        <a:t>The WEC is a charge/fee on methane emissions from facilities within the oil and gas sector with the aim of reducing emissions from this sector. </a:t>
                      </a:r>
                      <a:br>
                        <a:rPr lang="en-GB" sz="1200" i="0">
                          <a:solidFill>
                            <a:schemeClr val="tx1"/>
                          </a:solidFill>
                        </a:rPr>
                      </a:br>
                      <a:r>
                        <a:rPr lang="en-GB" sz="1200" i="0">
                          <a:solidFill>
                            <a:schemeClr val="tx1"/>
                          </a:solidFill>
                        </a:rPr>
                        <a:t>WEC per metric tonne of methane</a:t>
                      </a:r>
                      <a:r>
                        <a:rPr lang="en-GB" sz="1200" i="0" baseline="0">
                          <a:solidFill>
                            <a:schemeClr val="tx1"/>
                          </a:solidFill>
                        </a:rPr>
                        <a:t>;</a:t>
                      </a:r>
                      <a:r>
                        <a:rPr lang="en-GB" sz="1200" i="0">
                          <a:solidFill>
                            <a:schemeClr val="tx1"/>
                          </a:solidFill>
                        </a:rPr>
                        <a:t> 2024: $900, 2025: $1,200, 2026 and onwards: $1,500. The WEC amounts are in nominal dollars.</a:t>
                      </a:r>
                    </a:p>
                  </a:txBody>
                  <a:tcPr marL="36000" marR="0" marT="36000" marB="3600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172800" marR="0" lvl="0" indent="-172800" algn="l" defTabSz="685783"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i="0">
                        <a:solidFill>
                          <a:schemeClr val="tx1"/>
                        </a:solidFill>
                      </a:endParaRPr>
                    </a:p>
                  </a:txBody>
                  <a:tcPr marL="36000" marR="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i="0">
                        <a:solidFill>
                          <a:schemeClr val="tx1"/>
                        </a:solidFill>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55868582"/>
                  </a:ext>
                </a:extLst>
              </a:tr>
              <a:tr h="424176">
                <a:tc>
                  <a:txBody>
                    <a:bodyPr/>
                    <a:lstStyle/>
                    <a:p>
                      <a:pPr marL="360000" algn="l"/>
                      <a:r>
                        <a:rPr lang="en-GB" sz="1200" b="1">
                          <a:solidFill>
                            <a:schemeClr val="tx1"/>
                          </a:solidFill>
                        </a:rPr>
                        <a:t>Why?</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992"/>
                    </a:solidFill>
                  </a:tcPr>
                </a:tc>
                <a:tc gridSpan="2">
                  <a:txBody>
                    <a:bodyPr/>
                    <a:lstStyle/>
                    <a:p>
                      <a:pPr marL="72000" marR="0" lvl="0" indent="0" algn="l" defTabSz="685783" rtl="0" eaLnBrk="1" fontAlgn="auto" latinLnBrk="0" hangingPunct="1">
                        <a:lnSpc>
                          <a:spcPct val="100000"/>
                        </a:lnSpc>
                        <a:spcBef>
                          <a:spcPts val="0"/>
                        </a:spcBef>
                        <a:spcAft>
                          <a:spcPts val="400"/>
                        </a:spcAft>
                        <a:buClrTx/>
                        <a:buSzTx/>
                        <a:buFont typeface="Wingdings" panose="05000000000000000000" pitchFamily="2" charset="2"/>
                        <a:buNone/>
                        <a:tabLst/>
                        <a:defRPr/>
                      </a:pPr>
                      <a:r>
                        <a:rPr lang="en-GB" sz="1200">
                          <a:solidFill>
                            <a:schemeClr val="tx1"/>
                          </a:solidFill>
                        </a:rPr>
                        <a:t>To take advantage of near-term methane reduction opportunities whilst the EPA</a:t>
                      </a:r>
                      <a:r>
                        <a:rPr lang="en-GB" sz="1200" baseline="30000">
                          <a:solidFill>
                            <a:schemeClr val="tx1"/>
                          </a:solidFill>
                        </a:rPr>
                        <a:t>1</a:t>
                      </a:r>
                      <a:r>
                        <a:rPr lang="en-GB" sz="1200">
                          <a:solidFill>
                            <a:schemeClr val="tx1"/>
                          </a:solidFill>
                        </a:rPr>
                        <a:t> and states work to finalise implementation of the final Clean Air Act (‘Quad-O’) rules. </a:t>
                      </a:r>
                    </a:p>
                  </a:txBody>
                  <a:tcPr marL="36000" marR="0" marT="36000" marB="3600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172800" marR="0" lvl="0" indent="-172800" algn="l" defTabSz="685783"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a:solidFill>
                          <a:schemeClr val="tx1"/>
                        </a:solidFill>
                      </a:endParaRPr>
                    </a:p>
                  </a:txBody>
                  <a:tcPr marL="36000" marR="0" marT="36000" marB="3600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285750" marR="0" lvl="0" indent="-2857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a:solidFill>
                          <a:schemeClr val="tx1"/>
                        </a:solidFill>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76371883"/>
                  </a:ext>
                </a:extLst>
              </a:tr>
              <a:tr h="1684303">
                <a:tc>
                  <a:txBody>
                    <a:bodyPr/>
                    <a:lstStyle/>
                    <a:p>
                      <a:pPr marL="360000" algn="l"/>
                      <a:r>
                        <a:rPr lang="en-GB" sz="1200" b="1">
                          <a:solidFill>
                            <a:schemeClr val="tx1"/>
                          </a:solidFill>
                        </a:rPr>
                        <a:t>Who?</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992"/>
                    </a:solidFill>
                  </a:tcPr>
                </a:tc>
                <a:tc>
                  <a:txBody>
                    <a:bodyPr/>
                    <a:lstStyle/>
                    <a:p>
                      <a:pPr marL="72000" marR="0" lvl="0" indent="0" algn="l" defTabSz="685783" rtl="0" eaLnBrk="1" fontAlgn="auto" latinLnBrk="0" hangingPunct="1">
                        <a:lnSpc>
                          <a:spcPct val="100000"/>
                        </a:lnSpc>
                        <a:spcBef>
                          <a:spcPts val="0"/>
                        </a:spcBef>
                        <a:spcAft>
                          <a:spcPts val="400"/>
                        </a:spcAft>
                        <a:buClrTx/>
                        <a:buSzTx/>
                        <a:buFont typeface="Wingdings" panose="05000000000000000000" pitchFamily="2" charset="2"/>
                        <a:buNone/>
                        <a:tabLst/>
                        <a:defRPr/>
                      </a:pPr>
                      <a:r>
                        <a:rPr lang="en-GB" sz="1200" i="0">
                          <a:solidFill>
                            <a:schemeClr val="tx1"/>
                          </a:solidFill>
                        </a:rPr>
                        <a:t>The WEC applies to methane emissions above a facility-specific threshold from the subset of facilities listed below that are required to report their GHG emissions under Subpart W of the GHGRP</a:t>
                      </a:r>
                      <a:r>
                        <a:rPr lang="en-GB" sz="1200" i="0" baseline="30000">
                          <a:solidFill>
                            <a:schemeClr val="tx1"/>
                          </a:solidFill>
                        </a:rPr>
                        <a:t>2</a:t>
                      </a:r>
                      <a:r>
                        <a:rPr lang="en-GB" sz="1200" i="0" baseline="0">
                          <a:solidFill>
                            <a:schemeClr val="tx1"/>
                          </a:solidFill>
                        </a:rPr>
                        <a:t>, and</a:t>
                      </a:r>
                      <a:r>
                        <a:rPr lang="en-GB" sz="1200" i="0" baseline="30000">
                          <a:solidFill>
                            <a:schemeClr val="tx1"/>
                          </a:solidFill>
                        </a:rPr>
                        <a:t> </a:t>
                      </a:r>
                      <a:r>
                        <a:rPr lang="en-GB" sz="1200" i="0">
                          <a:solidFill>
                            <a:schemeClr val="tx1"/>
                          </a:solidFill>
                        </a:rPr>
                        <a:t>emit more than 25,000 metric tonnes of CO</a:t>
                      </a:r>
                      <a:r>
                        <a:rPr lang="en-GB" sz="1200" i="0" baseline="-25000">
                          <a:solidFill>
                            <a:schemeClr val="tx1"/>
                          </a:solidFill>
                        </a:rPr>
                        <a:t>2</a:t>
                      </a:r>
                      <a:r>
                        <a:rPr lang="en-GB" sz="1200" i="0">
                          <a:solidFill>
                            <a:schemeClr val="tx1"/>
                          </a:solidFill>
                        </a:rPr>
                        <a:t> equivalent per annum:</a:t>
                      </a:r>
                    </a:p>
                    <a:p>
                      <a:pPr marL="414892" marR="0" lvl="1" indent="-171450" algn="l" defTabSz="685783" rtl="0" eaLnBrk="1" fontAlgn="auto" latinLnBrk="0" hangingPunct="1">
                        <a:lnSpc>
                          <a:spcPct val="100000"/>
                        </a:lnSpc>
                        <a:spcBef>
                          <a:spcPts val="0"/>
                        </a:spcBef>
                        <a:spcAft>
                          <a:spcPts val="400"/>
                        </a:spcAft>
                        <a:buClrTx/>
                        <a:buSzTx/>
                        <a:buFont typeface="Wingdings" panose="05000000000000000000" pitchFamily="2" charset="2"/>
                        <a:buChar char="§"/>
                        <a:tabLst/>
                        <a:defRPr/>
                      </a:pPr>
                      <a:r>
                        <a:rPr lang="en-GB" sz="1200" i="0">
                          <a:solidFill>
                            <a:schemeClr val="tx1"/>
                          </a:solidFill>
                        </a:rPr>
                        <a:t>Onshore and offshore production of petroleum and natural gas</a:t>
                      </a:r>
                    </a:p>
                    <a:p>
                      <a:pPr marL="414892" marR="0" lvl="1" indent="-171450" algn="l" defTabSz="685783" rtl="0" eaLnBrk="1" fontAlgn="auto" latinLnBrk="0" hangingPunct="1">
                        <a:lnSpc>
                          <a:spcPct val="100000"/>
                        </a:lnSpc>
                        <a:spcBef>
                          <a:spcPts val="0"/>
                        </a:spcBef>
                        <a:spcAft>
                          <a:spcPts val="400"/>
                        </a:spcAft>
                        <a:buClrTx/>
                        <a:buSzTx/>
                        <a:buFont typeface="Wingdings" panose="05000000000000000000" pitchFamily="2" charset="2"/>
                        <a:buChar char="§"/>
                        <a:tabLst/>
                        <a:defRPr/>
                      </a:pPr>
                      <a:r>
                        <a:rPr lang="en-GB" sz="1200" i="0">
                          <a:solidFill>
                            <a:schemeClr val="tx1"/>
                          </a:solidFill>
                        </a:rPr>
                        <a:t>Onshore natural gas processing, transmission</a:t>
                      </a:r>
                      <a:r>
                        <a:rPr lang="en-GB" sz="1200" i="0" baseline="30000">
                          <a:solidFill>
                            <a:schemeClr val="tx1"/>
                          </a:solidFill>
                        </a:rPr>
                        <a:t>3</a:t>
                      </a:r>
                      <a:r>
                        <a:rPr lang="en-GB" sz="1200" i="0">
                          <a:solidFill>
                            <a:schemeClr val="tx1"/>
                          </a:solidFill>
                        </a:rPr>
                        <a:t> and storage</a:t>
                      </a:r>
                    </a:p>
                    <a:p>
                      <a:pPr marL="414892" marR="0" lvl="1" indent="-171450" algn="l" defTabSz="685783" rtl="0" eaLnBrk="1" fontAlgn="auto" latinLnBrk="0" hangingPunct="1">
                        <a:lnSpc>
                          <a:spcPct val="100000"/>
                        </a:lnSpc>
                        <a:spcBef>
                          <a:spcPts val="0"/>
                        </a:spcBef>
                        <a:spcAft>
                          <a:spcPts val="400"/>
                        </a:spcAft>
                        <a:buClrTx/>
                        <a:buSzTx/>
                        <a:buFont typeface="Wingdings" panose="05000000000000000000" pitchFamily="2" charset="2"/>
                        <a:buChar char="§"/>
                        <a:tabLst/>
                        <a:defRPr/>
                      </a:pPr>
                      <a:r>
                        <a:rPr lang="en-GB" sz="1200" i="0">
                          <a:solidFill>
                            <a:schemeClr val="tx1"/>
                          </a:solidFill>
                        </a:rPr>
                        <a:t>LNG import and export equipment and storage</a:t>
                      </a:r>
                    </a:p>
                    <a:p>
                      <a:pPr marL="72000" marR="0" lvl="1" indent="0" algn="l" defTabSz="685783" rtl="0" eaLnBrk="1" fontAlgn="auto" latinLnBrk="0" hangingPunct="1">
                        <a:lnSpc>
                          <a:spcPct val="100000"/>
                        </a:lnSpc>
                        <a:spcBef>
                          <a:spcPts val="0"/>
                        </a:spcBef>
                        <a:spcAft>
                          <a:spcPts val="400"/>
                        </a:spcAft>
                        <a:buClrTx/>
                        <a:buSzTx/>
                        <a:buFont typeface="Wingdings" panose="05000000000000000000" pitchFamily="2" charset="2"/>
                        <a:buNone/>
                        <a:tabLst/>
                        <a:defRPr/>
                      </a:pPr>
                      <a:r>
                        <a:rPr lang="en-GB" sz="1200" i="0">
                          <a:solidFill>
                            <a:schemeClr val="tx1"/>
                          </a:solidFill>
                        </a:rPr>
                        <a:t>For WEC-applicable facilities under common ownership or control, WEC applicable emissions can be netted</a:t>
                      </a:r>
                      <a:r>
                        <a:rPr lang="en-GB" sz="1200" i="0" baseline="30000">
                          <a:solidFill>
                            <a:schemeClr val="tx1"/>
                          </a:solidFill>
                        </a:rPr>
                        <a:t>4</a:t>
                      </a:r>
                      <a:r>
                        <a:rPr lang="en-GB" sz="1200" i="0">
                          <a:solidFill>
                            <a:schemeClr val="tx1"/>
                          </a:solidFill>
                        </a:rPr>
                        <a:t>. </a:t>
                      </a:r>
                    </a:p>
                  </a:txBody>
                  <a:tcPr marL="36000" marR="0" marT="36000" marB="3600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000" marR="0" lvl="1" indent="0" algn="l" defTabSz="685783" rtl="0" eaLnBrk="1" fontAlgn="auto" latinLnBrk="0" hangingPunct="1">
                        <a:lnSpc>
                          <a:spcPct val="100000"/>
                        </a:lnSpc>
                        <a:spcBef>
                          <a:spcPts val="0"/>
                        </a:spcBef>
                        <a:spcAft>
                          <a:spcPts val="400"/>
                        </a:spcAft>
                        <a:buClrTx/>
                        <a:buSzTx/>
                        <a:buFont typeface="Wingdings" panose="05000000000000000000" pitchFamily="2" charset="2"/>
                        <a:buNone/>
                        <a:tabLst/>
                        <a:defRPr/>
                      </a:pPr>
                      <a:endParaRPr lang="en-GB" sz="1200" i="0">
                        <a:solidFill>
                          <a:schemeClr val="tx1"/>
                        </a:solidFill>
                      </a:endParaRPr>
                    </a:p>
                  </a:txBody>
                  <a:tcPr marL="36000" marR="0" marT="36000" marB="36000">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2800" marR="0" lvl="0" indent="-172800" algn="l" defTabSz="685783"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a:solidFill>
                          <a:schemeClr val="tx1"/>
                        </a:solidFill>
                      </a:endParaRPr>
                    </a:p>
                  </a:txBody>
                  <a:tcPr marL="36000" marR="0" marT="36000" marB="3600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285750" marR="0" lvl="0" indent="-2857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a:solidFill>
                          <a:schemeClr val="tx1"/>
                        </a:solidFill>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63133086"/>
                  </a:ext>
                </a:extLst>
              </a:tr>
              <a:tr h="424176">
                <a:tc>
                  <a:txBody>
                    <a:bodyPr/>
                    <a:lstStyle/>
                    <a:p>
                      <a:pPr marL="360000" algn="l"/>
                      <a:r>
                        <a:rPr lang="en-GB" sz="1200" b="1">
                          <a:solidFill>
                            <a:schemeClr val="tx1"/>
                          </a:solidFill>
                        </a:rPr>
                        <a:t>When?</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992"/>
                    </a:solidFill>
                  </a:tcPr>
                </a:tc>
                <a:tc gridSpan="2">
                  <a:txBody>
                    <a:bodyPr/>
                    <a:lstStyle/>
                    <a:p>
                      <a:pPr marL="72000" marR="0" lvl="0" indent="0" algn="l" defTabSz="685783" rtl="0" eaLnBrk="1" fontAlgn="auto" latinLnBrk="0" hangingPunct="1">
                        <a:lnSpc>
                          <a:spcPct val="100000"/>
                        </a:lnSpc>
                        <a:spcBef>
                          <a:spcPts val="0"/>
                        </a:spcBef>
                        <a:spcAft>
                          <a:spcPts val="400"/>
                        </a:spcAft>
                        <a:buClrTx/>
                        <a:buSzTx/>
                        <a:buFont typeface="Wingdings" panose="05000000000000000000" pitchFamily="2" charset="2"/>
                        <a:buNone/>
                        <a:tabLst/>
                        <a:defRPr/>
                      </a:pPr>
                      <a:r>
                        <a:rPr lang="en-GB" sz="1200" b="0" i="0" kern="1200">
                          <a:solidFill>
                            <a:schemeClr val="tx1"/>
                          </a:solidFill>
                          <a:latin typeface="+mn-lt"/>
                          <a:ea typeface="+mn-ea"/>
                          <a:cs typeface="+mn-cs"/>
                        </a:rPr>
                        <a:t>WEC payments are due by March 31st of the year following the year the emissions were reported for, and the charges are applied to emissions beginning calendar year 2024.</a:t>
                      </a:r>
                    </a:p>
                  </a:txBody>
                  <a:tcPr marL="36000" marR="0" marT="36000" marB="3600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172800" marR="0" lvl="0" indent="-172800" algn="l" defTabSz="685783"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a:solidFill>
                          <a:schemeClr val="tx1"/>
                        </a:solidFill>
                      </a:endParaRPr>
                    </a:p>
                  </a:txBody>
                  <a:tcPr marL="36000" marR="0" marT="36000" marB="3600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285750" marR="0" lvl="0" indent="-2857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a:solidFill>
                          <a:schemeClr val="tx1"/>
                        </a:solidFill>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8552552"/>
                  </a:ext>
                </a:extLst>
              </a:tr>
              <a:tr h="1763061">
                <a:tc>
                  <a:txBody>
                    <a:bodyPr/>
                    <a:lstStyle/>
                    <a:p>
                      <a:pPr marL="360000" algn="l"/>
                      <a:r>
                        <a:rPr lang="en-GB" sz="1200" b="1">
                          <a:solidFill>
                            <a:schemeClr val="tx1"/>
                          </a:solidFill>
                        </a:rPr>
                        <a:t>Exemptions</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992"/>
                    </a:solidFill>
                  </a:tcPr>
                </a:tc>
                <a:tc gridSpan="2">
                  <a:txBody>
                    <a:bodyPr/>
                    <a:lstStyle/>
                    <a:p>
                      <a:pPr marL="72000" marR="0" lvl="0" indent="172800" algn="l" defTabSz="685783" rtl="0" eaLnBrk="1" fontAlgn="auto" latinLnBrk="0" hangingPunct="1">
                        <a:lnSpc>
                          <a:spcPct val="100000"/>
                        </a:lnSpc>
                        <a:spcBef>
                          <a:spcPts val="0"/>
                        </a:spcBef>
                        <a:spcAft>
                          <a:spcPts val="400"/>
                        </a:spcAft>
                        <a:buClrTx/>
                        <a:buSzTx/>
                        <a:buFont typeface="Wingdings" panose="05000000000000000000" pitchFamily="2" charset="2"/>
                        <a:buChar char="§"/>
                        <a:tabLst/>
                        <a:defRPr/>
                      </a:pPr>
                      <a:r>
                        <a:rPr lang="en-GB" sz="1200" b="1" baseline="0">
                          <a:solidFill>
                            <a:schemeClr val="tx1"/>
                          </a:solidFill>
                        </a:rPr>
                        <a:t>Unreasonable Delay</a:t>
                      </a:r>
                      <a:r>
                        <a:rPr lang="en-GB" sz="1200" baseline="0">
                          <a:solidFill>
                            <a:schemeClr val="tx1"/>
                          </a:solidFill>
                        </a:rPr>
                        <a:t>: Exemption to methane emissions caused by unreasonable delay (proposed: 30-42 months) in environmental permitting of gathering or transmission infrastructure necessary for offtake of increased volume caused by methane emissions mitigation implementation</a:t>
                      </a:r>
                    </a:p>
                    <a:p>
                      <a:pPr marL="72000" marR="0" lvl="0" indent="172800" algn="l" defTabSz="685783" rtl="0" eaLnBrk="1" fontAlgn="auto" latinLnBrk="0" hangingPunct="1">
                        <a:lnSpc>
                          <a:spcPct val="100000"/>
                        </a:lnSpc>
                        <a:spcBef>
                          <a:spcPts val="0"/>
                        </a:spcBef>
                        <a:spcAft>
                          <a:spcPts val="400"/>
                        </a:spcAft>
                        <a:buClrTx/>
                        <a:buSzTx/>
                        <a:buFont typeface="Wingdings" panose="05000000000000000000" pitchFamily="2" charset="2"/>
                        <a:buChar char="§"/>
                        <a:tabLst/>
                        <a:defRPr/>
                      </a:pPr>
                      <a:r>
                        <a:rPr lang="en-GB" sz="1200" b="1" baseline="0">
                          <a:solidFill>
                            <a:schemeClr val="tx1"/>
                          </a:solidFill>
                        </a:rPr>
                        <a:t>Plugged Wells</a:t>
                      </a:r>
                      <a:r>
                        <a:rPr lang="en-GB" sz="1200" baseline="0">
                          <a:solidFill>
                            <a:schemeClr val="tx1"/>
                          </a:solidFill>
                        </a:rPr>
                        <a:t>: Exemption to methane emissions from wells that have been permanently shut-in and plugged in the previous year in accordance with all applicable closure requirements</a:t>
                      </a:r>
                    </a:p>
                    <a:p>
                      <a:pPr marL="72000" marR="0" lvl="0" indent="172800" algn="l" defTabSz="685783" rtl="0" eaLnBrk="1" fontAlgn="auto" latinLnBrk="0" hangingPunct="1">
                        <a:lnSpc>
                          <a:spcPct val="100000"/>
                        </a:lnSpc>
                        <a:spcBef>
                          <a:spcPts val="0"/>
                        </a:spcBef>
                        <a:spcAft>
                          <a:spcPts val="400"/>
                        </a:spcAft>
                        <a:buClrTx/>
                        <a:buSzTx/>
                        <a:buFont typeface="Wingdings" panose="05000000000000000000" pitchFamily="2" charset="2"/>
                        <a:buChar char="§"/>
                        <a:tabLst/>
                        <a:defRPr/>
                      </a:pPr>
                      <a:r>
                        <a:rPr lang="en-GB" sz="1200" b="1" baseline="0">
                          <a:solidFill>
                            <a:schemeClr val="tx1"/>
                          </a:solidFill>
                        </a:rPr>
                        <a:t>Regulatory Compliance</a:t>
                      </a:r>
                      <a:r>
                        <a:rPr lang="en-GB" sz="1200" baseline="0">
                          <a:solidFill>
                            <a:schemeClr val="tx1"/>
                          </a:solidFill>
                        </a:rPr>
                        <a:t>: Exemption to facilities that exceed WEC thresholds but are subject to and in compliance with methane emissions requirements promulgated pursuant to CAA sections 111(b) and (d) (i.e., new and existing facilities compliant with the ‘Quad-O’ rules), when and if certain statutorily specified conditions are met. Offshore production, LNG import-export equipment, LNG storage and the natural gas transmission pipeline are not eligible for the regulatory compliance exemption from the WEC under the ‘Quad-O’ rules.</a:t>
                      </a:r>
                    </a:p>
                  </a:txBody>
                  <a:tcPr marL="36000" marR="0" marT="36000" marB="36000">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172800" marR="0" lvl="0" indent="-172800" algn="l" defTabSz="685783"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a:solidFill>
                          <a:schemeClr val="tx1"/>
                        </a:solidFill>
                      </a:endParaRPr>
                    </a:p>
                  </a:txBody>
                  <a:tcPr marL="36000" marR="0" marT="36000" marB="3600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285750" marR="0" lvl="0" indent="-2857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a:solidFill>
                          <a:schemeClr val="tx1"/>
                        </a:solidFill>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147075"/>
                  </a:ext>
                </a:extLst>
              </a:tr>
            </a:tbl>
          </a:graphicData>
        </a:graphic>
      </p:graphicFrame>
      <p:cxnSp>
        <p:nvCxnSpPr>
          <p:cNvPr id="110" name="Straight Connector 109">
            <a:extLst>
              <a:ext uri="{FF2B5EF4-FFF2-40B4-BE49-F238E27FC236}">
                <a16:creationId xmlns:a16="http://schemas.microsoft.com/office/drawing/2014/main" id="{90037F2C-D460-4E70-5078-46711188B0FF}"/>
              </a:ext>
            </a:extLst>
          </p:cNvPr>
          <p:cNvCxnSpPr/>
          <p:nvPr>
            <p:custDataLst>
              <p:tags r:id="rId2"/>
            </p:custDataLst>
          </p:nvPr>
        </p:nvCxnSpPr>
        <p:spPr bwMode="auto">
          <a:xfrm>
            <a:off x="9555163" y="2770188"/>
            <a:ext cx="285750"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1" name="Straight Connector 110">
            <a:extLst>
              <a:ext uri="{FF2B5EF4-FFF2-40B4-BE49-F238E27FC236}">
                <a16:creationId xmlns:a16="http://schemas.microsoft.com/office/drawing/2014/main" id="{2F6E81A7-BCBD-5367-D07E-0EFD00BCCFB1}"/>
              </a:ext>
            </a:extLst>
          </p:cNvPr>
          <p:cNvCxnSpPr/>
          <p:nvPr>
            <p:custDataLst>
              <p:tags r:id="rId3"/>
            </p:custDataLst>
          </p:nvPr>
        </p:nvCxnSpPr>
        <p:spPr bwMode="auto">
          <a:xfrm>
            <a:off x="10201275" y="2817813"/>
            <a:ext cx="285750"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Straight Connector 129">
            <a:extLst>
              <a:ext uri="{FF2B5EF4-FFF2-40B4-BE49-F238E27FC236}">
                <a16:creationId xmlns:a16="http://schemas.microsoft.com/office/drawing/2014/main" id="{B470CDEB-7D75-3530-A3A2-7F572F7E13D5}"/>
              </a:ext>
            </a:extLst>
          </p:cNvPr>
          <p:cNvCxnSpPr/>
          <p:nvPr>
            <p:custDataLst>
              <p:tags r:id="rId4"/>
            </p:custDataLst>
          </p:nvPr>
        </p:nvCxnSpPr>
        <p:spPr bwMode="auto">
          <a:xfrm>
            <a:off x="10845800" y="3524250"/>
            <a:ext cx="285750" cy="0"/>
          </a:xfrm>
          <a:prstGeom prst="line">
            <a:avLst/>
          </a:prstGeom>
          <a:ln w="952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219" name="Chart 218">
            <a:extLst>
              <a:ext uri="{FF2B5EF4-FFF2-40B4-BE49-F238E27FC236}">
                <a16:creationId xmlns:a16="http://schemas.microsoft.com/office/drawing/2014/main" id="{ABA7D5C0-AED4-0E00-B3D0-C464EE7F2401}"/>
              </a:ext>
            </a:extLst>
          </p:cNvPr>
          <p:cNvGraphicFramePr/>
          <p:nvPr>
            <p:custDataLst>
              <p:tags r:id="rId5"/>
            </p:custDataLst>
          </p:nvPr>
        </p:nvGraphicFramePr>
        <p:xfrm>
          <a:off x="8970963" y="2687638"/>
          <a:ext cx="2744787" cy="1108075"/>
        </p:xfrm>
        <a:graphic>
          <a:graphicData uri="http://schemas.openxmlformats.org/drawingml/2006/chart">
            <c:chart xmlns:c="http://schemas.openxmlformats.org/drawingml/2006/chart" xmlns:r="http://schemas.openxmlformats.org/officeDocument/2006/relationships" r:id="rId14"/>
          </a:graphicData>
        </a:graphic>
      </p:graphicFrame>
      <p:sp>
        <p:nvSpPr>
          <p:cNvPr id="106" name="Text Placeholder 19">
            <a:extLst>
              <a:ext uri="{FF2B5EF4-FFF2-40B4-BE49-F238E27FC236}">
                <a16:creationId xmlns:a16="http://schemas.microsoft.com/office/drawing/2014/main" id="{9F9869AF-B0F6-4E89-B216-4EC18C7334C2}"/>
              </a:ext>
            </a:extLst>
          </p:cNvPr>
          <p:cNvSpPr>
            <a:spLocks noGrp="1"/>
          </p:cNvSpPr>
          <p:nvPr>
            <p:custDataLst>
              <p:tags r:id="rId6"/>
            </p:custDataLst>
          </p:nvPr>
        </p:nvSpPr>
        <p:spPr bwMode="auto">
          <a:xfrm>
            <a:off x="9124950" y="3763963"/>
            <a:ext cx="5016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C4685F6E-6DF9-44EC-8E8A-661666F6FBA5}" type="datetime'''''''Fa''''c''''''''il''''''''''''''''''''''''''''it''y'''''">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Facility</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108" name="Text Placeholder 19">
            <a:extLst>
              <a:ext uri="{FF2B5EF4-FFF2-40B4-BE49-F238E27FC236}">
                <a16:creationId xmlns:a16="http://schemas.microsoft.com/office/drawing/2014/main" id="{9F9869AF-B0F6-4E89-B216-4EC18C7334C2}"/>
              </a:ext>
            </a:extLst>
          </p:cNvPr>
          <p:cNvSpPr>
            <a:spLocks noGrp="1"/>
          </p:cNvSpPr>
          <p:nvPr>
            <p:custDataLst>
              <p:tags r:id="rId7"/>
            </p:custDataLst>
          </p:nvPr>
        </p:nvSpPr>
        <p:spPr bwMode="auto">
          <a:xfrm>
            <a:off x="9758363" y="3763963"/>
            <a:ext cx="5238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0B12C17D-A83E-4D6F-9B0B-D13B929BAC5E}" type="datetime'''''''''''''''''''E''''''''''''''''''''x''e''''''''''mp''t'">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Exempt</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109" name="Text Placeholder 19">
            <a:extLst>
              <a:ext uri="{FF2B5EF4-FFF2-40B4-BE49-F238E27FC236}">
                <a16:creationId xmlns:a16="http://schemas.microsoft.com/office/drawing/2014/main" id="{9F9869AF-B0F6-4E89-B216-4EC18C7334C2}"/>
              </a:ext>
            </a:extLst>
          </p:cNvPr>
          <p:cNvSpPr>
            <a:spLocks noGrp="1"/>
          </p:cNvSpPr>
          <p:nvPr>
            <p:custDataLst>
              <p:tags r:id="rId8"/>
            </p:custDataLst>
          </p:nvPr>
        </p:nvSpPr>
        <p:spPr bwMode="auto">
          <a:xfrm>
            <a:off x="10321925" y="3763963"/>
            <a:ext cx="6889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9B92940B-A814-4FFD-81E2-D4C8281D32CC}" type="datetime'''''''''''''''''''T''h''''''''re''''''''s''''''''ho''''ld'''">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Threshold</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125" name="Text Placeholder 19">
            <a:extLst>
              <a:ext uri="{FF2B5EF4-FFF2-40B4-BE49-F238E27FC236}">
                <a16:creationId xmlns:a16="http://schemas.microsoft.com/office/drawing/2014/main" id="{22EA92FC-65CB-018C-9547-E54B962DA272}"/>
              </a:ext>
            </a:extLst>
          </p:cNvPr>
          <p:cNvSpPr>
            <a:spLocks noGrp="1"/>
          </p:cNvSpPr>
          <p:nvPr>
            <p:custDataLst>
              <p:tags r:id="rId9"/>
            </p:custDataLst>
          </p:nvPr>
        </p:nvSpPr>
        <p:spPr bwMode="auto">
          <a:xfrm>
            <a:off x="10964863" y="3763963"/>
            <a:ext cx="69215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F3238F48-1EF5-4991-B20E-01D93398CF3B}" type="datetime'''''''''WE''''C appl''ic''''''''''''''''abl''''''''e'''''''">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WEC applicable</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186" name="Text Placeholder 1347">
            <a:extLst>
              <a:ext uri="{FF2B5EF4-FFF2-40B4-BE49-F238E27FC236}">
                <a16:creationId xmlns:a16="http://schemas.microsoft.com/office/drawing/2014/main" id="{6392624D-44E4-951E-DC7C-556EB4672D2B}"/>
              </a:ext>
            </a:extLst>
          </p:cNvPr>
          <p:cNvSpPr txBox="1">
            <a:spLocks/>
          </p:cNvSpPr>
          <p:nvPr/>
        </p:nvSpPr>
        <p:spPr>
          <a:xfrm>
            <a:off x="9072564" y="2495571"/>
            <a:ext cx="2560636" cy="184666"/>
          </a:xfrm>
          <a:prstGeom prst="rect">
            <a:avLst/>
          </a:prstGeom>
        </p:spPr>
        <p:txBody>
          <a:bodyPr vert="horz" wrap="square" lIns="0" tIns="0" rIns="0" bIns="0" rtlCol="0">
            <a:spAutoFit/>
          </a:bodyPr>
          <a:lstStyle>
            <a:lvl1pPr marL="0" indent="0" algn="l" defTabSz="685783" rtl="0" eaLnBrk="1" latinLnBrk="0" hangingPunct="1">
              <a:lnSpc>
                <a:spcPct val="100000"/>
              </a:lnSpc>
              <a:spcBef>
                <a:spcPts val="0"/>
              </a:spcBef>
              <a:buFont typeface="Wingdings" panose="05000000000000000000" pitchFamily="2" charset="2"/>
              <a:buNone/>
              <a:defRPr sz="1200" b="1"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rPr>
              <a:t>WEC applicable methane emissions</a:t>
            </a:r>
          </a:p>
        </p:txBody>
      </p:sp>
      <p:sp>
        <p:nvSpPr>
          <p:cNvPr id="7" name="Text Placeholder 14">
            <a:extLst>
              <a:ext uri="{FF2B5EF4-FFF2-40B4-BE49-F238E27FC236}">
                <a16:creationId xmlns:a16="http://schemas.microsoft.com/office/drawing/2014/main" id="{86FD6A57-3950-ECC6-B89C-B7ED5DFA59D6}"/>
              </a:ext>
            </a:extLst>
          </p:cNvPr>
          <p:cNvSpPr txBox="1">
            <a:spLocks/>
          </p:cNvSpPr>
          <p:nvPr/>
        </p:nvSpPr>
        <p:spPr>
          <a:xfrm>
            <a:off x="381597" y="79401"/>
            <a:ext cx="3852265" cy="184666"/>
          </a:xfrm>
          <a:prstGeom prst="rect">
            <a:avLst/>
          </a:prstGeom>
        </p:spPr>
        <p:txBody>
          <a:bodyPr vert="horz" wrap="square" lIns="0" tIns="0" rIns="0" bIns="0" rtlCol="0">
            <a:sp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750"/>
              </a:spcBef>
              <a:spcAft>
                <a:spcPts val="0"/>
              </a:spcAft>
              <a:buClrTx/>
              <a:buSzTx/>
              <a:buFont typeface="Wingdings" panose="05000000000000000000" pitchFamily="2" charset="2"/>
              <a:buNone/>
              <a:tabLst/>
              <a:defRPr/>
            </a:pPr>
            <a:r>
              <a:rPr kumimoji="0" lang="en-AU" sz="1200" b="0" i="0" u="none" strike="noStrike" kern="1200" cap="none" spc="0" normalizeH="0" baseline="0" noProof="0">
                <a:ln>
                  <a:noFill/>
                </a:ln>
                <a:solidFill>
                  <a:srgbClr val="838383"/>
                </a:solidFill>
                <a:effectLst/>
                <a:uLnTx/>
                <a:uFillTx/>
                <a:latin typeface="Lato" panose="020F0502020204030203" pitchFamily="34" charset="0"/>
                <a:sym typeface="Lato" panose="020F0502020204030203" pitchFamily="34" charset="0"/>
              </a:rPr>
              <a:t>        Appendix</a:t>
            </a:r>
            <a:endParaRPr kumimoji="0" lang="en-GB" sz="1200" b="0" i="0" u="none" strike="noStrike" kern="1200" cap="none" spc="0" normalizeH="0" baseline="0" noProof="0">
              <a:ln>
                <a:noFill/>
              </a:ln>
              <a:solidFill>
                <a:srgbClr val="838383"/>
              </a:solidFill>
              <a:effectLst/>
              <a:uLnTx/>
              <a:uFillTx/>
              <a:latin typeface="Lato" panose="020F0502020204030203" pitchFamily="34" charset="0"/>
              <a:sym typeface="Lato" panose="020F0502020204030203" pitchFamily="34" charset="0"/>
            </a:endParaRPr>
          </a:p>
        </p:txBody>
      </p:sp>
      <p:sp>
        <p:nvSpPr>
          <p:cNvPr id="9" name="Oval 8">
            <a:extLst>
              <a:ext uri="{FF2B5EF4-FFF2-40B4-BE49-F238E27FC236}">
                <a16:creationId xmlns:a16="http://schemas.microsoft.com/office/drawing/2014/main" id="{00B4F41E-FEB3-8B39-143C-41ABF6C15CE8}"/>
              </a:ext>
            </a:extLst>
          </p:cNvPr>
          <p:cNvSpPr/>
          <p:nvPr/>
        </p:nvSpPr>
        <p:spPr>
          <a:xfrm>
            <a:off x="381000" y="80964"/>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V</a:t>
            </a:r>
          </a:p>
        </p:txBody>
      </p:sp>
    </p:spTree>
    <p:extLst>
      <p:ext uri="{BB962C8B-B14F-4D97-AF65-F5344CB8AC3E}">
        <p14:creationId xmlns:p14="http://schemas.microsoft.com/office/powerpoint/2010/main" val="8782714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B97BA0A-E879-4F0B-A728-D455D8EB6F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12" name="Object 11" hidden="1">
                        <a:extLst>
                          <a:ext uri="{FF2B5EF4-FFF2-40B4-BE49-F238E27FC236}">
                            <a16:creationId xmlns:a16="http://schemas.microsoft.com/office/drawing/2014/main" id="{CB97BA0A-E879-4F0B-A728-D455D8EB6F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 name="RBContent20">
            <a:extLst>
              <a:ext uri="{FF2B5EF4-FFF2-40B4-BE49-F238E27FC236}">
                <a16:creationId xmlns:a16="http://schemas.microsoft.com/office/drawing/2014/main" id="{B41962BC-FB9D-4872-8333-205689CEF938}"/>
              </a:ext>
            </a:extLst>
          </p:cNvPr>
          <p:cNvSpPr txBox="1"/>
          <p:nvPr/>
        </p:nvSpPr>
        <p:spPr>
          <a:xfrm>
            <a:off x="381001" y="2193391"/>
            <a:ext cx="2971799" cy="3508653"/>
          </a:xfrm>
          <a:prstGeom prst="rect">
            <a:avLst/>
          </a:prstGeom>
          <a:noFill/>
        </p:spPr>
        <p:txBody>
          <a:bodyPr vert="horz" wrap="square" lIns="0" tIns="0" rIns="0" bIns="0" rtlCol="0">
            <a:spAutoFit/>
          </a:bodyPr>
          <a:lstStyle/>
          <a:p>
            <a:pPr marL="0" marR="0" lvl="0" indent="0" algn="l" defTabSz="914400" rtl="0" eaLnBrk="1" fontAlgn="base" latinLnBrk="0" hangingPunct="1">
              <a:lnSpc>
                <a:spcPct val="100000"/>
              </a:lnSpc>
              <a:spcBef>
                <a:spcPts val="0"/>
              </a:spcBef>
              <a:spcAft>
                <a:spcPct val="0"/>
              </a:spcAft>
              <a:buClr>
                <a:srgbClr val="000000"/>
              </a:buClr>
              <a:buSzPct val="100000"/>
              <a:buFontTx/>
              <a:buNone/>
              <a:tabLst/>
              <a:defRPr/>
            </a:pPr>
            <a:r>
              <a:rPr kumimoji="0" lang="en-US" sz="1200" b="1"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ublication: </a:t>
            </a:r>
            <a:r>
              <a:rPr kumimoji="0" lang="en-US" sz="1200" b="0"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S elections– implications for gas and power markets</a:t>
            </a:r>
          </a:p>
          <a:p>
            <a:pPr marL="0" marR="0" lvl="0" indent="0" algn="l" defTabSz="914400" rtl="0" eaLnBrk="1" fontAlgn="base" latinLnBrk="0" hangingPunct="1">
              <a:lnSpc>
                <a:spcPct val="100000"/>
              </a:lnSpc>
              <a:spcBef>
                <a:spcPts val="0"/>
              </a:spcBef>
              <a:spcAft>
                <a:spcPct val="0"/>
              </a:spcAft>
              <a:buClr>
                <a:srgbClr val="000000"/>
              </a:buClr>
              <a:buSzPct val="100000"/>
              <a:buFontTx/>
              <a:buNone/>
              <a:tabLst/>
              <a:defRPr/>
            </a:pPr>
            <a:r>
              <a:rPr kumimoji="0" lang="en-US" sz="1200" b="1"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ate: </a:t>
            </a:r>
            <a:r>
              <a:rPr kumimoji="0" lang="en-US" sz="1200" b="0"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eptember 26, 2024</a:t>
            </a:r>
            <a:endParaRPr kumimoji="0" lang="en-GB" sz="1200" b="0"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marL="0" marR="0" lvl="0" indent="0" algn="l" defTabSz="914400" rtl="0" eaLnBrk="1" fontAlgn="base" latinLnBrk="0" hangingPunct="1">
              <a:lnSpc>
                <a:spcPct val="100000"/>
              </a:lnSpc>
              <a:spcBef>
                <a:spcPts val="0"/>
              </a:spcBef>
              <a:spcAft>
                <a:spcPct val="0"/>
              </a:spcAft>
              <a:buClr>
                <a:srgbClr val="000000"/>
              </a:buClr>
              <a:buSzPct val="100000"/>
              <a:buFontTx/>
              <a:buNone/>
              <a:tabLst/>
              <a:defRPr/>
            </a:pPr>
            <a:endParaRPr kumimoji="0" lang="en-GB" sz="1200" b="0"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marL="0" marR="0" lvl="0" indent="0" algn="l" defTabSz="914400" rtl="0" eaLnBrk="1" fontAlgn="base" latinLnBrk="0" hangingPunct="1">
              <a:lnSpc>
                <a:spcPct val="100000"/>
              </a:lnSpc>
              <a:spcBef>
                <a:spcPts val="0"/>
              </a:spcBef>
              <a:spcAft>
                <a:spcPct val="0"/>
              </a:spcAft>
              <a:buClr>
                <a:srgbClr val="000000"/>
              </a:buClr>
              <a:buSzPct val="100000"/>
              <a:buFontTx/>
              <a:buNone/>
              <a:tabLst/>
              <a:defRPr/>
            </a:pPr>
            <a:r>
              <a:rPr kumimoji="0" lang="en-GB" sz="1200" b="1"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repared by</a:t>
            </a:r>
            <a:br>
              <a:rPr kumimoji="0" lang="en-GB" sz="1200" b="0"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kumimoji="0" lang="en-GB" sz="1200" b="0"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zzie Bonahoom</a:t>
            </a:r>
          </a:p>
          <a:p>
            <a:pPr marL="0" marR="0" lvl="0" indent="0" algn="l" defTabSz="914400" rtl="0" eaLnBrk="1" fontAlgn="base" latinLnBrk="0" hangingPunct="1">
              <a:lnSpc>
                <a:spcPct val="100000"/>
              </a:lnSpc>
              <a:spcBef>
                <a:spcPts val="0"/>
              </a:spcBef>
              <a:spcAft>
                <a:spcPct val="0"/>
              </a:spcAft>
              <a:buClr>
                <a:srgbClr val="000000"/>
              </a:buClr>
              <a:buSzPct val="100000"/>
              <a:buFontTx/>
              <a:buNone/>
              <a:tabLst/>
              <a:defRPr/>
            </a:pPr>
            <a:r>
              <a:rPr kumimoji="0" lang="en-GB" sz="1200" b="0"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kumimoji="0" lang="pt-BR" sz="1200" b="0"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zzie.bonahoom@auroraer.com)</a:t>
            </a:r>
          </a:p>
          <a:p>
            <a:pPr marL="0" marR="0" lvl="0" indent="0" algn="l" defTabSz="914400" rtl="0" eaLnBrk="1" fontAlgn="base" latinLnBrk="0" hangingPunct="1">
              <a:lnSpc>
                <a:spcPct val="100000"/>
              </a:lnSpc>
              <a:spcBef>
                <a:spcPts val="0"/>
              </a:spcBef>
              <a:spcAft>
                <a:spcPct val="0"/>
              </a:spcAft>
              <a:buClr>
                <a:srgbClr val="000000"/>
              </a:buClr>
              <a:buSzPct val="100000"/>
              <a:buFontTx/>
              <a:buNone/>
              <a:tabLst/>
              <a:defRPr/>
            </a:pPr>
            <a:r>
              <a:rPr kumimoji="0" lang="pt-BR" sz="1200" b="0"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allaway Sprinkle</a:t>
            </a:r>
          </a:p>
          <a:p>
            <a:pPr marL="0" marR="0" lvl="0" indent="0" algn="l" defTabSz="914400" rtl="0" eaLnBrk="1" fontAlgn="base" latinLnBrk="0" hangingPunct="1">
              <a:lnSpc>
                <a:spcPct val="100000"/>
              </a:lnSpc>
              <a:spcBef>
                <a:spcPts val="0"/>
              </a:spcBef>
              <a:spcAft>
                <a:spcPct val="0"/>
              </a:spcAft>
              <a:buClr>
                <a:srgbClr val="000000"/>
              </a:buClr>
              <a:buSzPct val="100000"/>
              <a:buFontTx/>
              <a:buNone/>
              <a:tabLst/>
              <a:defRPr/>
            </a:pPr>
            <a:r>
              <a:rPr kumimoji="0" lang="pt-BR" sz="1200" b="0"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allaway.sprinkle@auroraer.com)</a:t>
            </a:r>
            <a:endParaRPr kumimoji="0" lang="en-GB" sz="1200" b="0"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marL="0" marR="0" lvl="0" indent="0" algn="l" defTabSz="914400" rtl="0" eaLnBrk="1" fontAlgn="base" latinLnBrk="0" hangingPunct="1">
              <a:lnSpc>
                <a:spcPct val="100000"/>
              </a:lnSpc>
              <a:spcBef>
                <a:spcPts val="0"/>
              </a:spcBef>
              <a:spcAft>
                <a:spcPct val="0"/>
              </a:spcAft>
              <a:buClr>
                <a:srgbClr val="000000"/>
              </a:buClr>
              <a:buSzPct val="100000"/>
              <a:buFontTx/>
              <a:buNone/>
              <a:tabLst/>
              <a:defRPr/>
            </a:pPr>
            <a:r>
              <a:rPr kumimoji="0" lang="en-GB" sz="1200" b="0"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phie Parsons</a:t>
            </a:r>
          </a:p>
          <a:p>
            <a:pPr marL="0" marR="0" lvl="0" indent="0" algn="l" defTabSz="914400" rtl="0" eaLnBrk="1" fontAlgn="base" latinLnBrk="0" hangingPunct="1">
              <a:lnSpc>
                <a:spcPct val="100000"/>
              </a:lnSpc>
              <a:spcBef>
                <a:spcPts val="0"/>
              </a:spcBef>
              <a:spcAft>
                <a:spcPct val="0"/>
              </a:spcAft>
              <a:buClr>
                <a:srgbClr val="000000"/>
              </a:buClr>
              <a:buSzPct val="100000"/>
              <a:buFontTx/>
              <a:buNone/>
              <a:tabLst/>
              <a:defRPr/>
            </a:pPr>
            <a:r>
              <a:rPr kumimoji="0" lang="en-GB" sz="1200" b="0"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phie.parsons@auroraer.com)</a:t>
            </a:r>
          </a:p>
          <a:p>
            <a:pPr marL="0" marR="0" lvl="0" indent="0" algn="l" defTabSz="914400" rtl="0" eaLnBrk="1" fontAlgn="base" latinLnBrk="0" hangingPunct="1">
              <a:lnSpc>
                <a:spcPct val="100000"/>
              </a:lnSpc>
              <a:spcBef>
                <a:spcPts val="0"/>
              </a:spcBef>
              <a:spcAft>
                <a:spcPct val="0"/>
              </a:spcAft>
              <a:buClr>
                <a:srgbClr val="000000"/>
              </a:buClr>
              <a:buSzPct val="100000"/>
              <a:buFontTx/>
              <a:buNone/>
              <a:tabLst/>
              <a:defRPr/>
            </a:pPr>
            <a:r>
              <a:rPr kumimoji="0" lang="en-GB" sz="1200" b="0"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Joseph Helliwell-Axe</a:t>
            </a:r>
          </a:p>
          <a:p>
            <a:pPr marL="0" marR="0" lvl="0" indent="0" algn="l" defTabSz="914400" rtl="0" eaLnBrk="1" fontAlgn="base" latinLnBrk="0" hangingPunct="1">
              <a:lnSpc>
                <a:spcPct val="100000"/>
              </a:lnSpc>
              <a:spcBef>
                <a:spcPts val="0"/>
              </a:spcBef>
              <a:spcAft>
                <a:spcPct val="0"/>
              </a:spcAft>
              <a:buClr>
                <a:srgbClr val="000000"/>
              </a:buClr>
              <a:buSzPct val="100000"/>
              <a:buFontTx/>
              <a:buNone/>
              <a:tabLst/>
              <a:defRPr/>
            </a:pPr>
            <a:r>
              <a:rPr kumimoji="0" lang="en-GB" sz="1200" b="0"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joseph.helliwellaxe@auroraer.com)</a:t>
            </a:r>
          </a:p>
          <a:p>
            <a:pPr marL="0" marR="0" lvl="0" indent="0" algn="l" defTabSz="914400" rtl="0" eaLnBrk="1" fontAlgn="base" latinLnBrk="0" hangingPunct="1">
              <a:lnSpc>
                <a:spcPct val="100000"/>
              </a:lnSpc>
              <a:spcBef>
                <a:spcPts val="0"/>
              </a:spcBef>
              <a:spcAft>
                <a:spcPct val="0"/>
              </a:spcAft>
              <a:buClr>
                <a:srgbClr val="000000"/>
              </a:buClr>
              <a:buSzPct val="100000"/>
              <a:buFontTx/>
              <a:buNone/>
              <a:tabLst/>
              <a:defRPr/>
            </a:pPr>
            <a:endParaRPr kumimoji="0" lang="en-GB" sz="1200" b="0"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marL="0" marR="0" lvl="0" indent="0" algn="l" defTabSz="914400" rtl="0" eaLnBrk="1" fontAlgn="base" latinLnBrk="0" hangingPunct="1">
              <a:lnSpc>
                <a:spcPct val="100000"/>
              </a:lnSpc>
              <a:spcBef>
                <a:spcPts val="0"/>
              </a:spcBef>
              <a:spcAft>
                <a:spcPct val="0"/>
              </a:spcAft>
              <a:buClr>
                <a:srgbClr val="000000"/>
              </a:buClr>
              <a:buSzPct val="100000"/>
              <a:buFontTx/>
              <a:buNone/>
              <a:tabLst/>
              <a:defRPr/>
            </a:pPr>
            <a:r>
              <a:rPr kumimoji="0" lang="en-GB" sz="1200" b="1"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pproved by</a:t>
            </a:r>
          </a:p>
          <a:p>
            <a:pPr marL="0" marR="0" lvl="0" indent="0" algn="l" defTabSz="914400" rtl="0" eaLnBrk="1" fontAlgn="base" latinLnBrk="0" hangingPunct="1">
              <a:lnSpc>
                <a:spcPct val="100000"/>
              </a:lnSpc>
              <a:spcBef>
                <a:spcPts val="0"/>
              </a:spcBef>
              <a:spcAft>
                <a:spcPct val="0"/>
              </a:spcAft>
              <a:buClr>
                <a:srgbClr val="000000"/>
              </a:buClr>
              <a:buSzPct val="100000"/>
              <a:buFontTx/>
              <a:buNone/>
              <a:tabLst/>
              <a:defRPr/>
            </a:pPr>
            <a:r>
              <a:rPr kumimoji="0" lang="en-GB" sz="1200" b="0"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liver Kerr</a:t>
            </a:r>
          </a:p>
          <a:p>
            <a:pPr marL="0" marR="0" lvl="0" indent="0" algn="l" defTabSz="914400" rtl="0" eaLnBrk="1" fontAlgn="base" latinLnBrk="0" hangingPunct="1">
              <a:lnSpc>
                <a:spcPct val="100000"/>
              </a:lnSpc>
              <a:spcBef>
                <a:spcPts val="0"/>
              </a:spcBef>
              <a:spcAft>
                <a:spcPct val="0"/>
              </a:spcAft>
              <a:buClr>
                <a:srgbClr val="000000"/>
              </a:buClr>
              <a:buSzPct val="100000"/>
              <a:buFontTx/>
              <a:buNone/>
              <a:tabLst/>
              <a:defRPr/>
            </a:pPr>
            <a:r>
              <a:rPr kumimoji="0" lang="en-GB" sz="1200" b="0"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artin Anderson</a:t>
            </a:r>
          </a:p>
          <a:p>
            <a:pPr marL="0" marR="0" lvl="0" indent="0" algn="l" defTabSz="914400" rtl="0" eaLnBrk="1" fontAlgn="base" latinLnBrk="0" hangingPunct="1">
              <a:lnSpc>
                <a:spcPct val="100000"/>
              </a:lnSpc>
              <a:spcBef>
                <a:spcPts val="0"/>
              </a:spcBef>
              <a:spcAft>
                <a:spcPct val="0"/>
              </a:spcAft>
              <a:buClr>
                <a:srgbClr val="000000"/>
              </a:buClr>
              <a:buSzPct val="100000"/>
              <a:buFontTx/>
              <a:buNone/>
              <a:tabLst/>
              <a:defRPr/>
            </a:pPr>
            <a:r>
              <a:rPr kumimoji="0" lang="en-GB" sz="1200" b="0"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ise Ganbold</a:t>
            </a:r>
          </a:p>
          <a:p>
            <a:pPr marL="0" marR="0" lvl="0" indent="0" algn="l" defTabSz="914400" rtl="0" eaLnBrk="1" fontAlgn="base" latinLnBrk="0" hangingPunct="1">
              <a:lnSpc>
                <a:spcPct val="100000"/>
              </a:lnSpc>
              <a:spcBef>
                <a:spcPts val="0"/>
              </a:spcBef>
              <a:spcAft>
                <a:spcPct val="0"/>
              </a:spcAft>
              <a:buClr>
                <a:srgbClr val="000000"/>
              </a:buClr>
              <a:buSzPct val="100000"/>
              <a:buFontTx/>
              <a:buNone/>
              <a:tabLst/>
              <a:defRPr/>
            </a:pPr>
            <a:r>
              <a:rPr kumimoji="0" lang="en-GB" sz="1200" b="0"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Jacob Mandel</a:t>
            </a:r>
          </a:p>
        </p:txBody>
      </p:sp>
    </p:spTree>
    <p:extLst>
      <p:ext uri="{BB962C8B-B14F-4D97-AF65-F5344CB8AC3E}">
        <p14:creationId xmlns:p14="http://schemas.microsoft.com/office/powerpoint/2010/main" val="41316745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7832E1A-4E97-4057-8CC2-BDDD26AB520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 name="Object 1" hidden="1">
                        <a:extLst>
                          <a:ext uri="{FF2B5EF4-FFF2-40B4-BE49-F238E27FC236}">
                            <a16:creationId xmlns:a16="http://schemas.microsoft.com/office/drawing/2014/main" id="{27832E1A-4E97-4057-8CC2-BDDD26AB52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731377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08EA830B-AE8E-3CCA-131C-87B9A9DEC0B1}"/>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ext Placeholder 1">
            <a:extLst>
              <a:ext uri="{FF2B5EF4-FFF2-40B4-BE49-F238E27FC236}">
                <a16:creationId xmlns:a16="http://schemas.microsoft.com/office/drawing/2014/main" id="{B00C632F-2A25-73F8-80DF-9F32472BFE26}"/>
              </a:ext>
            </a:extLst>
          </p:cNvPr>
          <p:cNvSpPr>
            <a:spLocks noGrp="1"/>
          </p:cNvSpPr>
          <p:nvPr>
            <p:ph type="body" sz="quarter" idx="28"/>
          </p:nvPr>
        </p:nvSpPr>
        <p:spPr>
          <a:xfrm>
            <a:off x="0" y="1281949"/>
            <a:ext cx="12192000" cy="355799"/>
          </a:xfrm>
        </p:spPr>
        <p:txBody>
          <a:bodyPr/>
          <a:lstStyle/>
          <a:p>
            <a:endParaRPr lang="en-GB"/>
          </a:p>
        </p:txBody>
      </p:sp>
      <p:sp>
        <p:nvSpPr>
          <p:cNvPr id="3" name="Text Placeholder 2">
            <a:extLst>
              <a:ext uri="{FF2B5EF4-FFF2-40B4-BE49-F238E27FC236}">
                <a16:creationId xmlns:a16="http://schemas.microsoft.com/office/drawing/2014/main" id="{5505AC6E-26B2-0C52-EB36-DAECC7719C68}"/>
              </a:ext>
            </a:extLst>
          </p:cNvPr>
          <p:cNvSpPr>
            <a:spLocks noGrp="1"/>
          </p:cNvSpPr>
          <p:nvPr>
            <p:ph type="body" sz="quarter" idx="27"/>
          </p:nvPr>
        </p:nvSpPr>
        <p:spPr>
          <a:xfrm>
            <a:off x="381000" y="1348181"/>
            <a:ext cx="11428411" cy="2877711"/>
          </a:xfrm>
        </p:spPr>
        <p:txBody>
          <a:bodyPr/>
          <a:lstStyle/>
          <a:p>
            <a:r>
              <a:rPr lang="en-GB"/>
              <a:t>Executive summary</a:t>
            </a:r>
          </a:p>
          <a:p>
            <a:r>
              <a:rPr lang="en-GB"/>
              <a:t>Historical market and policy activity</a:t>
            </a:r>
          </a:p>
          <a:p>
            <a:r>
              <a:rPr lang="en-GB"/>
              <a:t>2024 campaign landscape</a:t>
            </a:r>
          </a:p>
          <a:p>
            <a:r>
              <a:rPr lang="en-GB"/>
              <a:t>Modelled scenarios</a:t>
            </a:r>
          </a:p>
          <a:p>
            <a:pPr lvl="1"/>
            <a:r>
              <a:rPr lang="en-GB"/>
              <a:t>Scenario overview</a:t>
            </a:r>
          </a:p>
          <a:p>
            <a:pPr lvl="1"/>
            <a:r>
              <a:rPr lang="en-GB"/>
              <a:t>Trump scenario and sensitivities</a:t>
            </a:r>
          </a:p>
          <a:p>
            <a:pPr lvl="1"/>
            <a:r>
              <a:rPr lang="en-GB"/>
              <a:t>Harris scenario and sensitivities</a:t>
            </a:r>
          </a:p>
        </p:txBody>
      </p:sp>
      <p:pic>
        <p:nvPicPr>
          <p:cNvPr id="6" name="Picture 5">
            <a:extLst>
              <a:ext uri="{FF2B5EF4-FFF2-40B4-BE49-F238E27FC236}">
                <a16:creationId xmlns:a16="http://schemas.microsoft.com/office/drawing/2014/main" id="{F9D4428E-8ADB-A7DA-258C-4CEA2F4FF9FB}"/>
              </a:ext>
            </a:extLst>
          </p:cNvPr>
          <p:cNvPicPr>
            <a:picLocks noChangeAspect="1"/>
          </p:cNvPicPr>
          <p:nvPr/>
        </p:nvPicPr>
        <p:blipFill>
          <a:blip r:embed="rId3"/>
          <a:stretch>
            <a:fillRect/>
          </a:stretch>
        </p:blipFill>
        <p:spPr>
          <a:xfrm>
            <a:off x="-7185845" y="-126716"/>
            <a:ext cx="3896269" cy="6211167"/>
          </a:xfrm>
          <a:prstGeom prst="rect">
            <a:avLst/>
          </a:prstGeom>
        </p:spPr>
      </p:pic>
      <p:pic>
        <p:nvPicPr>
          <p:cNvPr id="8" name="Picture 7">
            <a:extLst>
              <a:ext uri="{FF2B5EF4-FFF2-40B4-BE49-F238E27FC236}">
                <a16:creationId xmlns:a16="http://schemas.microsoft.com/office/drawing/2014/main" id="{B3D6FBF5-EE5B-7D86-20C2-4A3902C93DEF}"/>
              </a:ext>
            </a:extLst>
          </p:cNvPr>
          <p:cNvPicPr>
            <a:picLocks noChangeAspect="1"/>
          </p:cNvPicPr>
          <p:nvPr/>
        </p:nvPicPr>
        <p:blipFill>
          <a:blip r:embed="rId4"/>
          <a:stretch>
            <a:fillRect/>
          </a:stretch>
        </p:blipFill>
        <p:spPr>
          <a:xfrm>
            <a:off x="-7711570" y="5707916"/>
            <a:ext cx="3848637" cy="2753109"/>
          </a:xfrm>
          <a:prstGeom prst="rect">
            <a:avLst/>
          </a:prstGeom>
        </p:spPr>
      </p:pic>
      <p:sp>
        <p:nvSpPr>
          <p:cNvPr id="5" name="Rectangle 4">
            <a:extLst>
              <a:ext uri="{FF2B5EF4-FFF2-40B4-BE49-F238E27FC236}">
                <a16:creationId xmlns:a16="http://schemas.microsoft.com/office/drawing/2014/main" id="{225E9663-FB1C-7EB5-DB79-FE3058993F1D}"/>
              </a:ext>
            </a:extLst>
          </p:cNvPr>
          <p:cNvSpPr/>
          <p:nvPr/>
        </p:nvSpPr>
        <p:spPr>
          <a:xfrm>
            <a:off x="-4913043" y="-456916"/>
            <a:ext cx="4530454" cy="5480393"/>
          </a:xfrm>
          <a:prstGeom prst="rect">
            <a:avLst/>
          </a:prstGeom>
          <a:solidFill>
            <a:schemeClr val="accent3">
              <a:lumMod val="40000"/>
              <a:lumOff val="60000"/>
            </a:schemeClr>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3C3C3B"/>
                </a:solidFill>
                <a:effectLst/>
                <a:uLnTx/>
                <a:uFillTx/>
                <a:latin typeface="Lato"/>
                <a:ea typeface="+mn-ea"/>
                <a:cs typeface="+mn-cs"/>
              </a:rPr>
              <a:t>MA suggestion:</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200" b="0" i="0" u="none" strike="noStrike" kern="1200" cap="none" spc="0" normalizeH="0" baseline="0" noProof="0">
              <a:ln>
                <a:noFill/>
              </a:ln>
              <a:solidFill>
                <a:srgbClr val="3C3C3B"/>
              </a:solidFill>
              <a:effectLst/>
              <a:uLnTx/>
              <a:uFillTx/>
              <a:latin typeface="Lato"/>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a:ln>
                  <a:noFill/>
                </a:ln>
                <a:solidFill>
                  <a:srgbClr val="3C3C3B"/>
                </a:solidFill>
                <a:effectLst/>
                <a:uLnTx/>
                <a:uFillTx/>
                <a:latin typeface="Lato"/>
                <a:ea typeface="+mn-ea"/>
                <a:cs typeface="+mn-cs"/>
              </a:rPr>
              <a:t>Executive summar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a:ln>
                  <a:noFill/>
                </a:ln>
                <a:solidFill>
                  <a:srgbClr val="3C3C3B"/>
                </a:solidFill>
                <a:effectLst/>
                <a:uLnTx/>
                <a:uFillTx/>
                <a:latin typeface="Lato"/>
                <a:ea typeface="+mn-ea"/>
                <a:cs typeface="+mn-cs"/>
              </a:rPr>
              <a:t>Historic market and policy activ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a:ln>
                  <a:noFill/>
                </a:ln>
                <a:solidFill>
                  <a:srgbClr val="3C3C3B"/>
                </a:solidFill>
                <a:effectLst/>
                <a:uLnTx/>
                <a:uFillTx/>
                <a:latin typeface="Lato"/>
                <a:ea typeface="+mn-ea"/>
                <a:cs typeface="+mn-cs"/>
              </a:rPr>
              <a:t>2024 Campaign landscap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a:ln>
                  <a:noFill/>
                </a:ln>
                <a:solidFill>
                  <a:srgbClr val="3C3C3B"/>
                </a:solidFill>
                <a:effectLst/>
                <a:uLnTx/>
                <a:uFillTx/>
                <a:latin typeface="Lato"/>
                <a:ea typeface="+mn-ea"/>
                <a:cs typeface="+mn-cs"/>
              </a:rPr>
              <a:t>Modelled scenarios and result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a:ln>
                  <a:noFill/>
                </a:ln>
                <a:solidFill>
                  <a:srgbClr val="3C3C3B"/>
                </a:solidFill>
                <a:effectLst/>
                <a:uLnTx/>
                <a:uFillTx/>
                <a:latin typeface="Lato"/>
                <a:ea typeface="+mn-ea"/>
                <a:cs typeface="+mn-cs"/>
              </a:rPr>
              <a:t>Scenario overview (summary of result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a:ln>
                  <a:noFill/>
                </a:ln>
                <a:solidFill>
                  <a:srgbClr val="3C3C3B"/>
                </a:solidFill>
                <a:effectLst/>
                <a:uLnTx/>
                <a:uFillTx/>
                <a:latin typeface="Lato"/>
                <a:ea typeface="+mn-ea"/>
                <a:cs typeface="+mn-cs"/>
              </a:rPr>
              <a:t>Trump world</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a:ln>
                  <a:noFill/>
                </a:ln>
                <a:solidFill>
                  <a:srgbClr val="3C3C3B"/>
                </a:solidFill>
                <a:effectLst/>
                <a:uLnTx/>
                <a:uFillTx/>
                <a:latin typeface="Lato"/>
                <a:ea typeface="+mn-ea"/>
                <a:cs typeface="+mn-cs"/>
              </a:rPr>
              <a:t>Sub sections of commodities/power, but don’t include in content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a:ln>
                  <a:noFill/>
                </a:ln>
                <a:solidFill>
                  <a:srgbClr val="3C3C3B"/>
                </a:solidFill>
                <a:effectLst/>
                <a:uLnTx/>
                <a:uFillTx/>
                <a:latin typeface="Lato"/>
                <a:ea typeface="+mn-ea"/>
                <a:cs typeface="+mn-cs"/>
              </a:rPr>
              <a:t>Harris world</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a:ln>
                  <a:noFill/>
                </a:ln>
                <a:solidFill>
                  <a:srgbClr val="3C3C3B"/>
                </a:solidFill>
                <a:effectLst/>
                <a:uLnTx/>
                <a:uFillTx/>
                <a:latin typeface="Lato"/>
                <a:ea typeface="+mn-ea"/>
                <a:cs typeface="+mn-cs"/>
              </a:rPr>
              <a:t>Sub sections of commodities/power, but don’t include in contents)</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200" b="0" i="0" u="none" strike="noStrike" kern="1200" cap="none" spc="0" normalizeH="0" baseline="0" noProof="0">
              <a:ln>
                <a:noFill/>
              </a:ln>
              <a:solidFill>
                <a:srgbClr val="3C3C3B"/>
              </a:solidFill>
              <a:effectLst/>
              <a:uLnTx/>
              <a:uFillTx/>
              <a:latin typeface="Lato"/>
              <a:ea typeface="+mn-ea"/>
              <a:cs typeface="+mn-cs"/>
            </a:endParaRPr>
          </a:p>
        </p:txBody>
      </p:sp>
      <p:grpSp>
        <p:nvGrpSpPr>
          <p:cNvPr id="12" name="Group 11">
            <a:extLst>
              <a:ext uri="{FF2B5EF4-FFF2-40B4-BE49-F238E27FC236}">
                <a16:creationId xmlns:a16="http://schemas.microsoft.com/office/drawing/2014/main" id="{6CC80E6B-1327-761B-02FE-8BF02DC4CC4E}"/>
              </a:ext>
            </a:extLst>
          </p:cNvPr>
          <p:cNvGrpSpPr/>
          <p:nvPr/>
        </p:nvGrpSpPr>
        <p:grpSpPr>
          <a:xfrm>
            <a:off x="0" y="6172200"/>
            <a:ext cx="12192000" cy="685800"/>
            <a:chOff x="0" y="6172200"/>
            <a:chExt cx="12192000" cy="685800"/>
          </a:xfrm>
        </p:grpSpPr>
        <p:sp>
          <p:nvSpPr>
            <p:cNvPr id="7" name="Rectangle 6">
              <a:extLst>
                <a:ext uri="{FF2B5EF4-FFF2-40B4-BE49-F238E27FC236}">
                  <a16:creationId xmlns:a16="http://schemas.microsoft.com/office/drawing/2014/main" id="{FB87DCE0-19EE-4CE9-8C02-C8D7046B5245}"/>
                </a:ext>
              </a:extLst>
            </p:cNvPr>
            <p:cNvSpPr/>
            <p:nvPr/>
          </p:nvSpPr>
          <p:spPr>
            <a:xfrm>
              <a:off x="0" y="6172200"/>
              <a:ext cx="12192000" cy="685800"/>
            </a:xfrm>
            <a:prstGeom prst="rect">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ot="0" spcFirstLastPara="0" vert="horz" wrap="square" lIns="98708" tIns="97154" rIns="98708" bIns="9715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lvl="0" algn="ctr" defTabSz="987095" rtl="0" eaLnBrk="1" fontAlgn="auto" latinLnBrk="0" hangingPunct="1">
                <a:lnSpc>
                  <a:spcPct val="100000"/>
                </a:lnSpc>
                <a:spcBef>
                  <a:spcPts val="0"/>
                </a:spcBef>
                <a:spcAft>
                  <a:spcPts val="1080"/>
                </a:spcAft>
                <a:buClrTx/>
                <a:buSzTx/>
                <a:tabLst/>
                <a:defRPr/>
              </a:pPr>
              <a:endParaRPr lang="en-GB" sz="1511" b="0" i="0" u="none" strike="noStrike" kern="1200" cap="none" spc="0" normalizeH="0" baseline="0" noProof="0">
                <a:ln>
                  <a:noFill/>
                </a:ln>
                <a:solidFill>
                  <a:srgbClr val="000000"/>
                </a:solidFill>
                <a:effectLst/>
                <a:highlight>
                  <a:srgbClr val="00FFFF"/>
                </a:highlight>
                <a:uLnTx/>
                <a:uFillTx/>
                <a:latin typeface="Lato" panose="020F0502020204030203" pitchFamily="34" charset="0"/>
                <a:ea typeface="Lato" panose="020F0502020204030203" pitchFamily="34" charset="0"/>
                <a:cs typeface="Lato" panose="020F0502020204030203" pitchFamily="34" charset="0"/>
              </a:endParaRPr>
            </a:p>
          </p:txBody>
        </p:sp>
        <p:sp>
          <p:nvSpPr>
            <p:cNvPr id="10" name="TextBox 57">
              <a:extLst>
                <a:ext uri="{FF2B5EF4-FFF2-40B4-BE49-F238E27FC236}">
                  <a16:creationId xmlns:a16="http://schemas.microsoft.com/office/drawing/2014/main" id="{A2E70014-0062-4183-A6E8-028AA0A5B364}"/>
                </a:ext>
              </a:extLst>
            </p:cNvPr>
            <p:cNvSpPr txBox="1"/>
            <p:nvPr/>
          </p:nvSpPr>
          <p:spPr>
            <a:xfrm>
              <a:off x="381000" y="6299656"/>
              <a:ext cx="5358960" cy="430887"/>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tabLst>
                  <a:tab pos="363538" algn="l"/>
                </a:tabLst>
                <a:defRPr/>
              </a:pPr>
              <a:r>
                <a:rPr lang="en-GB" sz="1400" kern="0">
                  <a:latin typeface="Lato"/>
                  <a:ea typeface="Lato"/>
                  <a:cs typeface="Lato"/>
                  <a:sym typeface="Lato" panose="020F0502020204030203" pitchFamily="34" charset="0"/>
                </a:rPr>
                <a:t>For more information, please contact </a:t>
              </a:r>
              <a:endParaRPr lang="en-GB" sz="1400" kern="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tabLst>
                  <a:tab pos="363538" algn="l"/>
                </a:tabLst>
                <a:defRPr/>
              </a:pPr>
              <a:r>
                <a:rPr lang="en-GB" sz="1400" b="1" kern="0">
                  <a:ea typeface="+mn-lt"/>
                  <a:cs typeface="+mn-lt"/>
                  <a:sym typeface="Lato" panose="020F0502020204030203" pitchFamily="34" charset="0"/>
                </a:rPr>
                <a:t>Kyndal Mayes</a:t>
              </a:r>
              <a:r>
                <a:rPr lang="en-GB" sz="1400" kern="0">
                  <a:latin typeface="Lato"/>
                  <a:ea typeface="Lato"/>
                  <a:cs typeface="Lato"/>
                  <a:sym typeface="Lato" panose="020F0502020204030203" pitchFamily="34" charset="0"/>
                </a:rPr>
                <a:t>,</a:t>
              </a:r>
              <a:r>
                <a:rPr lang="en-GB" sz="1400" b="1" kern="0">
                  <a:latin typeface="Lato"/>
                  <a:ea typeface="Lato"/>
                  <a:cs typeface="Lato"/>
                  <a:sym typeface="Lato" panose="020F0502020204030203" pitchFamily="34" charset="0"/>
                </a:rPr>
                <a:t> Commercial Associate</a:t>
              </a:r>
              <a:endParaRPr lang="en-GB" sz="1400" b="1" kern="0">
                <a:latin typeface="Lato"/>
                <a:ea typeface="Lato"/>
                <a:cs typeface="Lato"/>
              </a:endParaRPr>
            </a:p>
          </p:txBody>
        </p:sp>
        <p:sp>
          <p:nvSpPr>
            <p:cNvPr id="11" name="TextBox 58">
              <a:extLst>
                <a:ext uri="{FF2B5EF4-FFF2-40B4-BE49-F238E27FC236}">
                  <a16:creationId xmlns:a16="http://schemas.microsoft.com/office/drawing/2014/main" id="{6B9CD782-E321-4EC8-A302-AD0BC65C60DA}"/>
                </a:ext>
              </a:extLst>
            </p:cNvPr>
            <p:cNvSpPr txBox="1"/>
            <p:nvPr/>
          </p:nvSpPr>
          <p:spPr>
            <a:xfrm>
              <a:off x="6452042" y="6299655"/>
              <a:ext cx="4173738" cy="430887"/>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 typeface="Wingdings" panose="05000000000000000000" pitchFamily="2" charset="2"/>
                <a:buChar char="*"/>
                <a:tabLst>
                  <a:tab pos="352425" algn="l"/>
                </a:tabLst>
                <a:defRPr/>
              </a:pPr>
              <a:r>
                <a:rPr lang="en-GB" sz="1400" kern="0">
                  <a:latin typeface="Lato"/>
                  <a:ea typeface="Lato"/>
                  <a:cs typeface="Lato"/>
                  <a:sym typeface="Lato" panose="020F0502020204030203" pitchFamily="34" charset="0"/>
                </a:rPr>
                <a:t> 	</a:t>
              </a:r>
              <a:r>
                <a:rPr lang="en-GB" sz="1400">
                  <a:latin typeface="Lato"/>
                  <a:ea typeface="Lato"/>
                  <a:cs typeface="Lato"/>
                  <a:sym typeface="Lato" panose="020F0502020204030203" pitchFamily="34" charset="0"/>
                </a:rPr>
                <a:t> </a:t>
              </a:r>
              <a:r>
                <a:rPr lang="en-GB" sz="1400" b="1">
                  <a:ea typeface="+mn-lt"/>
                  <a:cs typeface="+mn-lt"/>
                  <a:sym typeface="Lato" panose="020F0502020204030203" pitchFamily="34" charset="0"/>
                </a:rPr>
                <a:t>kyndal.mayes@auroraer.com</a:t>
              </a:r>
              <a:r>
                <a:rPr lang="en-GB" sz="1400">
                  <a:latin typeface="Lato"/>
                  <a:ea typeface="Lato"/>
                  <a:cs typeface="Lato"/>
                  <a:sym typeface="Lato" panose="020F0502020204030203" pitchFamily="34" charset="0"/>
                </a:rPr>
                <a:t> </a:t>
              </a:r>
              <a:endParaRPr lang="en-GB" sz="1400" kern="0">
                <a:latin typeface="Lato" panose="020F0502020204030203" pitchFamily="34" charset="0"/>
                <a:ea typeface="Lato" panose="020F0502020204030203" pitchFamily="34" charset="0"/>
                <a:cs typeface="Lato" panose="020F0502020204030203" pitchFamily="34" charset="0"/>
              </a:endParaRPr>
            </a:p>
            <a:p>
              <a:pPr marL="0" lvl="1">
                <a:buFont typeface="Wingdings" panose="05000000000000000000" pitchFamily="2" charset="2"/>
                <a:buChar char="("/>
                <a:tabLst>
                  <a:tab pos="352425" algn="l"/>
                </a:tabLst>
                <a:defRPr/>
              </a:pPr>
              <a:r>
                <a:rPr lang="en-GB" sz="1400" b="1" kern="0">
                  <a:latin typeface="Lato"/>
                  <a:ea typeface="Lato"/>
                  <a:cs typeface="Lato"/>
                  <a:sym typeface="Lato" panose="020F0502020204030203" pitchFamily="34" charset="0"/>
                </a:rPr>
                <a:t> 	</a:t>
              </a:r>
              <a:r>
                <a:rPr lang="en-GB" sz="1400" b="1">
                  <a:latin typeface="Lato"/>
                  <a:ea typeface="Lato"/>
                  <a:cs typeface="Lato"/>
                  <a:sym typeface="Lato" panose="020F0502020204030203" pitchFamily="34" charset="0"/>
                </a:rPr>
                <a:t> +1 (972) 824-2016</a:t>
              </a:r>
              <a:endParaRPr lang="en-GB" sz="1400" b="1" kern="0">
                <a:latin typeface="Lato"/>
                <a:ea typeface="Lato"/>
                <a:cs typeface="Lato"/>
                <a:sym typeface="Lato" panose="020F0502020204030203" pitchFamily="34" charset="0"/>
              </a:endParaRPr>
            </a:p>
          </p:txBody>
        </p:sp>
      </p:grpSp>
    </p:spTree>
    <p:extLst>
      <p:ext uri="{BB962C8B-B14F-4D97-AF65-F5344CB8AC3E}">
        <p14:creationId xmlns:p14="http://schemas.microsoft.com/office/powerpoint/2010/main" val="15991767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8C0A228-CA31-B5FE-853E-24ACBB95F412}"/>
              </a:ext>
            </a:extLst>
          </p:cNvPr>
          <p:cNvSpPr>
            <a:spLocks noGrp="1"/>
          </p:cNvSpPr>
          <p:nvPr>
            <p:ph type="body" sz="quarter" idx="27"/>
          </p:nvPr>
        </p:nvSpPr>
        <p:spPr>
          <a:xfrm>
            <a:off x="380996" y="2860467"/>
            <a:ext cx="3038479" cy="2292935"/>
          </a:xfrm>
        </p:spPr>
        <p:txBody>
          <a:bodyPr/>
          <a:lstStyle/>
          <a:p>
            <a:pPr marL="171450" indent="-171450">
              <a:buFont typeface="Wingdings" panose="05000000000000000000" pitchFamily="2" charset="2"/>
              <a:buChar char="§"/>
            </a:pPr>
            <a:r>
              <a:rPr lang="en-GB"/>
              <a:t>Ahead of the US presidential election on November 5, 2024, this report </a:t>
            </a:r>
            <a:r>
              <a:rPr lang="en-US"/>
              <a:t>analyzes</a:t>
            </a:r>
            <a:r>
              <a:rPr lang="en-GB"/>
              <a:t> the potential impact on gas and power markets under Trump and Harris presidencies. </a:t>
            </a:r>
          </a:p>
          <a:p>
            <a:pPr marL="171450" indent="-171450">
              <a:buFont typeface="Wingdings" panose="05000000000000000000" pitchFamily="2" charset="2"/>
              <a:buChar char="§"/>
            </a:pPr>
            <a:r>
              <a:rPr lang="en-GB"/>
              <a:t>Based on current announced policies the Trump administration is expected to have a limited impact on power and gas prices. However, a more extreme “Project 2025” agenda could slash wind, solar, and battery deployment by more than </a:t>
            </a:r>
            <a:r>
              <a:rPr lang="en-GB">
                <a:solidFill>
                  <a:schemeClr val="accent5"/>
                </a:solidFill>
                <a:highlight>
                  <a:srgbClr val="808080"/>
                </a:highlight>
              </a:rPr>
              <a:t>XXX</a:t>
            </a:r>
            <a:r>
              <a:rPr lang="en-GB"/>
              <a:t> GW by 2040.</a:t>
            </a:r>
            <a:endParaRPr lang="en-US"/>
          </a:p>
        </p:txBody>
      </p:sp>
      <p:sp>
        <p:nvSpPr>
          <p:cNvPr id="3" name="Text Placeholder 2">
            <a:extLst>
              <a:ext uri="{FF2B5EF4-FFF2-40B4-BE49-F238E27FC236}">
                <a16:creationId xmlns:a16="http://schemas.microsoft.com/office/drawing/2014/main" id="{525CF360-6DF9-A054-902B-747216A8092B}"/>
              </a:ext>
            </a:extLst>
          </p:cNvPr>
          <p:cNvSpPr>
            <a:spLocks noGrp="1"/>
          </p:cNvSpPr>
          <p:nvPr>
            <p:ph type="body" sz="quarter" idx="28"/>
          </p:nvPr>
        </p:nvSpPr>
        <p:spPr>
          <a:xfrm>
            <a:off x="3814481" y="850900"/>
            <a:ext cx="8009220" cy="5605830"/>
          </a:xfrm>
        </p:spPr>
        <p:txBody>
          <a:bodyPr/>
          <a:lstStyle/>
          <a:p>
            <a:pPr>
              <a:lnSpc>
                <a:spcPct val="107000"/>
              </a:lnSpc>
              <a:spcAft>
                <a:spcPts val="800"/>
              </a:spcAft>
            </a:pPr>
            <a:r>
              <a:rPr lang="en-GB" sz="1200">
                <a:effectLst/>
                <a:ea typeface="Aptos" panose="020B0004020202020204" pitchFamily="34" charset="0"/>
                <a:cs typeface="Arial" panose="020B0604020202020204" pitchFamily="34" charset="0"/>
              </a:rPr>
              <a:t>The change in US administrations over the last ten years has had little impact on global commodities markets and the power sector’s shift from coal to renewable generation. Ahead of the next presidential election, the two primary candidates, Kamala Harris and Donald Trump, have differing opinions on various energy topics. </a:t>
            </a:r>
          </a:p>
          <a:p>
            <a:pPr marL="171450" indent="-171450">
              <a:lnSpc>
                <a:spcPct val="107000"/>
              </a:lnSpc>
              <a:spcAft>
                <a:spcPts val="800"/>
              </a:spcAft>
              <a:buFont typeface="Wingdings" panose="05000000000000000000" pitchFamily="2" charset="2"/>
              <a:buChar char="§"/>
            </a:pPr>
            <a:r>
              <a:rPr lang="en-GB" sz="1200">
                <a:effectLst/>
                <a:ea typeface="Aptos" panose="020B0004020202020204" pitchFamily="34" charset="0"/>
                <a:cs typeface="Arial" panose="020B0604020202020204" pitchFamily="34" charset="0"/>
              </a:rPr>
              <a:t>During his election campaign, Trump has vowed to “drill, baby, drill,” to “unleash American energy,” and slow the clean energy transition through major cuts to funding allocated to clean technology under the Inflation Reduction Act (IRA). </a:t>
            </a:r>
          </a:p>
          <a:p>
            <a:pPr marL="171450" indent="-171450">
              <a:lnSpc>
                <a:spcPct val="107000"/>
              </a:lnSpc>
              <a:spcAft>
                <a:spcPts val="800"/>
              </a:spcAft>
              <a:buFont typeface="Wingdings" panose="05000000000000000000" pitchFamily="2" charset="2"/>
              <a:buChar char="§"/>
            </a:pPr>
            <a:r>
              <a:rPr lang="en-GB" sz="1200">
                <a:effectLst/>
                <a:ea typeface="Aptos" panose="020B0004020202020204" pitchFamily="34" charset="0"/>
                <a:cs typeface="Arial" panose="020B0604020202020204" pitchFamily="34" charset="0"/>
              </a:rPr>
              <a:t>Harris, with less mention of new energy policies on the campaign trail, is largely expected to continue Biden-era policies of accelerating the clean energy transition via the IRA and setting up barriers to oil and gas leasing permits and LNG exports. </a:t>
            </a:r>
          </a:p>
          <a:p>
            <a:pPr>
              <a:lnSpc>
                <a:spcPct val="107000"/>
              </a:lnSpc>
              <a:spcAft>
                <a:spcPts val="800"/>
              </a:spcAft>
            </a:pPr>
            <a:r>
              <a:rPr lang="en-GB" sz="1200">
                <a:effectLst/>
                <a:ea typeface="Aptos" panose="020B0004020202020204" pitchFamily="34" charset="0"/>
                <a:cs typeface="Arial" panose="020B0604020202020204" pitchFamily="34" charset="0"/>
              </a:rPr>
              <a:t>Two modelled scenarios based on a Trump vs. Harris election outcome include what is expected of, and realistic for, each administration to achieve: the former focused on China tariffs, coal plant subsidies, and reduced EV subsidies; the latter focused on stricter LNG export approvals. Further sensitivities reflect more extreme energy policy decisions taken by either president, particularly if a trifecta is achieved and ‘Project 2025’ is implemented, or a ‘Green New Deal’ is enacted.</a:t>
            </a:r>
          </a:p>
          <a:p>
            <a:pPr marL="171450" indent="-171450">
              <a:lnSpc>
                <a:spcPct val="107000"/>
              </a:lnSpc>
              <a:spcAft>
                <a:spcPts val="800"/>
              </a:spcAft>
              <a:buFont typeface="Wingdings" panose="05000000000000000000" pitchFamily="2" charset="2"/>
              <a:buChar char="§"/>
            </a:pPr>
            <a:r>
              <a:rPr lang="en-GB" sz="1200">
                <a:effectLst/>
                <a:ea typeface="Aptos" panose="020B0004020202020204" pitchFamily="34" charset="0"/>
                <a:cs typeface="Arial" panose="020B0604020202020204" pitchFamily="34" charset="0"/>
              </a:rPr>
              <a:t>The "Trump Presidency" scenario has a limited impact on the pace of the energy transition. Wind, solar and battery deployment is </a:t>
            </a:r>
            <a:r>
              <a:rPr lang="en-GB">
                <a:solidFill>
                  <a:schemeClr val="accent5"/>
                </a:solidFill>
                <a:highlight>
                  <a:srgbClr val="808080"/>
                </a:highlight>
                <a:ea typeface="Aptos" panose="020B0004020202020204" pitchFamily="34" charset="0"/>
                <a:cs typeface="Arial" panose="020B0604020202020204" pitchFamily="34" charset="0"/>
              </a:rPr>
              <a:t>XX</a:t>
            </a:r>
            <a:r>
              <a:rPr lang="en-GB" sz="1200">
                <a:effectLst/>
                <a:ea typeface="Aptos" panose="020B0004020202020204" pitchFamily="34" charset="0"/>
                <a:cs typeface="Arial" panose="020B0604020202020204" pitchFamily="34" charset="0"/>
              </a:rPr>
              <a:t>GW </a:t>
            </a:r>
            <a:r>
              <a:rPr lang="en-US">
                <a:ea typeface="Aptos" panose="020B0004020202020204" pitchFamily="34" charset="0"/>
                <a:cs typeface="Arial" panose="020B0604020202020204" pitchFamily="34" charset="0"/>
              </a:rPr>
              <a:t>or </a:t>
            </a:r>
            <a:r>
              <a:rPr lang="en-US">
                <a:solidFill>
                  <a:schemeClr val="accent5"/>
                </a:solidFill>
                <a:highlight>
                  <a:srgbClr val="808080"/>
                </a:highlight>
                <a:ea typeface="Aptos" panose="020B0004020202020204" pitchFamily="34" charset="0"/>
                <a:cs typeface="Arial" panose="020B0604020202020204" pitchFamily="34" charset="0"/>
              </a:rPr>
              <a:t>X</a:t>
            </a:r>
            <a:r>
              <a:rPr lang="en-US">
                <a:ea typeface="Aptos" panose="020B0004020202020204" pitchFamily="34" charset="0"/>
                <a:cs typeface="Arial" panose="020B0604020202020204" pitchFamily="34" charset="0"/>
              </a:rPr>
              <a:t>%</a:t>
            </a:r>
            <a:r>
              <a:rPr lang="en-GB" sz="1200">
                <a:effectLst/>
                <a:ea typeface="Aptos" panose="020B0004020202020204" pitchFamily="34" charset="0"/>
                <a:cs typeface="Arial" panose="020B0604020202020204" pitchFamily="34" charset="0"/>
              </a:rPr>
              <a:t> lower by 2040 across the major power markets included in this analysis – ERCOT, CAISO, PJM, MISO, NYISO and ISO-NE. Wholesale power prices vary by $</a:t>
            </a:r>
            <a:r>
              <a:rPr lang="en-GB" sz="1200">
                <a:solidFill>
                  <a:schemeClr val="accent5"/>
                </a:solidFill>
                <a:effectLst/>
                <a:highlight>
                  <a:srgbClr val="808080"/>
                </a:highlight>
                <a:ea typeface="Aptos" panose="020B0004020202020204" pitchFamily="34" charset="0"/>
                <a:cs typeface="Arial" panose="020B0604020202020204" pitchFamily="34" charset="0"/>
              </a:rPr>
              <a:t>XX</a:t>
            </a:r>
            <a:r>
              <a:rPr lang="en-GB" sz="1200">
                <a:effectLst/>
                <a:ea typeface="Aptos" panose="020B0004020202020204" pitchFamily="34" charset="0"/>
                <a:cs typeface="Arial" panose="020B0604020202020204" pitchFamily="34" charset="0"/>
              </a:rPr>
              <a:t>/MWh across ISOs between 2025 and 2040.</a:t>
            </a:r>
          </a:p>
          <a:p>
            <a:pPr marL="171450" indent="-171450">
              <a:lnSpc>
                <a:spcPct val="107000"/>
              </a:lnSpc>
              <a:spcAft>
                <a:spcPts val="800"/>
              </a:spcAft>
              <a:buFont typeface="Wingdings" panose="05000000000000000000" pitchFamily="2" charset="2"/>
              <a:buChar char="§"/>
            </a:pPr>
            <a:r>
              <a:rPr lang="en-GB" sz="1200">
                <a:effectLst/>
                <a:ea typeface="Aptos" panose="020B0004020202020204" pitchFamily="34" charset="0"/>
                <a:cs typeface="Arial" panose="020B0604020202020204" pitchFamily="34" charset="0"/>
              </a:rPr>
              <a:t>Gas price outcomes are similar across the scenarios, highlighting the limited Presidential power to influence gas markets. Trump tariffs would increase domestic gas production by </a:t>
            </a:r>
            <a:r>
              <a:rPr lang="en-GB" sz="1200">
                <a:solidFill>
                  <a:schemeClr val="accent5"/>
                </a:solidFill>
                <a:effectLst/>
                <a:highlight>
                  <a:srgbClr val="808080"/>
                </a:highlight>
                <a:ea typeface="Aptos" panose="020B0004020202020204" pitchFamily="34" charset="0"/>
                <a:cs typeface="Arial" panose="020B0604020202020204" pitchFamily="34" charset="0"/>
              </a:rPr>
              <a:t>XX</a:t>
            </a:r>
            <a:r>
              <a:rPr lang="en-GB" sz="1200">
                <a:effectLst/>
                <a:ea typeface="Aptos" panose="020B0004020202020204" pitchFamily="34" charset="0"/>
                <a:cs typeface="Arial" panose="020B0604020202020204" pitchFamily="34" charset="0"/>
              </a:rPr>
              <a:t>% in 2040 but the tariffs also slow global economic growth, leading to lower global gas demand and reducing LNG exports by</a:t>
            </a:r>
            <a:r>
              <a:rPr lang="en-GB" sz="1200">
                <a:solidFill>
                  <a:schemeClr val="accent5"/>
                </a:solidFill>
                <a:effectLst/>
                <a:ea typeface="Aptos" panose="020B0004020202020204" pitchFamily="34" charset="0"/>
                <a:cs typeface="Arial" panose="020B0604020202020204" pitchFamily="34" charset="0"/>
              </a:rPr>
              <a:t> </a:t>
            </a:r>
            <a:r>
              <a:rPr lang="en-GB" sz="1200">
                <a:solidFill>
                  <a:schemeClr val="accent5"/>
                </a:solidFill>
                <a:effectLst/>
                <a:highlight>
                  <a:srgbClr val="808080"/>
                </a:highlight>
                <a:ea typeface="Aptos" panose="020B0004020202020204" pitchFamily="34" charset="0"/>
                <a:cs typeface="Arial" panose="020B0604020202020204" pitchFamily="34" charset="0"/>
              </a:rPr>
              <a:t>XX</a:t>
            </a:r>
            <a:r>
              <a:rPr lang="en-GB" sz="1200">
                <a:effectLst/>
                <a:ea typeface="Aptos" panose="020B0004020202020204" pitchFamily="34" charset="0"/>
                <a:cs typeface="Arial" panose="020B0604020202020204" pitchFamily="34" charset="0"/>
              </a:rPr>
              <a:t>%. Under a more extreme LNG terminal expedition under Trump, there is no significant change in Henry Hub prices in an oversupplied LNG market.</a:t>
            </a:r>
          </a:p>
          <a:p>
            <a:pPr marL="171450" indent="-171450">
              <a:lnSpc>
                <a:spcPct val="107000"/>
              </a:lnSpc>
              <a:spcAft>
                <a:spcPts val="800"/>
              </a:spcAft>
              <a:buFont typeface="Wingdings" panose="05000000000000000000" pitchFamily="2" charset="2"/>
              <a:buChar char="§"/>
            </a:pPr>
            <a:r>
              <a:rPr lang="en-GB" sz="1200">
                <a:effectLst/>
                <a:ea typeface="Aptos" panose="020B0004020202020204" pitchFamily="34" charset="0"/>
                <a:cs typeface="Arial" panose="020B0604020202020204" pitchFamily="34" charset="0"/>
              </a:rPr>
              <a:t>A more extreme “Project 2025” sensitivity removes tax credit support for renewables and storage. This results in a much more significant slowdown in the pace of the energy transition, with </a:t>
            </a:r>
            <a:r>
              <a:rPr lang="en-GB">
                <a:solidFill>
                  <a:schemeClr val="accent5"/>
                </a:solidFill>
                <a:highlight>
                  <a:srgbClr val="808080"/>
                </a:highlight>
                <a:ea typeface="Aptos" panose="020B0004020202020204" pitchFamily="34" charset="0"/>
                <a:cs typeface="Arial" panose="020B0604020202020204" pitchFamily="34" charset="0"/>
              </a:rPr>
              <a:t>XXX</a:t>
            </a:r>
            <a:r>
              <a:rPr lang="en-GB" sz="1200">
                <a:effectLst/>
                <a:ea typeface="Aptos" panose="020B0004020202020204" pitchFamily="34" charset="0"/>
                <a:cs typeface="Arial" panose="020B0604020202020204" pitchFamily="34" charset="0"/>
              </a:rPr>
              <a:t>GW or </a:t>
            </a:r>
            <a:r>
              <a:rPr lang="en-GB">
                <a:solidFill>
                  <a:schemeClr val="accent5"/>
                </a:solidFill>
                <a:highlight>
                  <a:srgbClr val="808080"/>
                </a:highlight>
                <a:ea typeface="Aptos" panose="020B0004020202020204" pitchFamily="34" charset="0"/>
                <a:cs typeface="Arial" panose="020B0604020202020204" pitchFamily="34" charset="0"/>
              </a:rPr>
              <a:t>XX</a:t>
            </a:r>
            <a:r>
              <a:rPr lang="en-GB" sz="1200">
                <a:effectLst/>
                <a:ea typeface="Aptos" panose="020B0004020202020204" pitchFamily="34" charset="0"/>
                <a:cs typeface="Arial" panose="020B0604020202020204" pitchFamily="34" charset="0"/>
              </a:rPr>
              <a:t>% fewer renewables and batteries projects by 2040</a:t>
            </a:r>
            <a:r>
              <a:rPr lang="en-GB">
                <a:ea typeface="Aptos" panose="020B0004020202020204" pitchFamily="34" charset="0"/>
                <a:cs typeface="Arial" panose="020B0604020202020204" pitchFamily="34" charset="0"/>
              </a:rPr>
              <a:t> compared to Aurora Central.</a:t>
            </a:r>
            <a:endParaRPr lang="en-GB" sz="1200">
              <a:effectLst/>
              <a:ea typeface="Aptos" panose="020B0004020202020204" pitchFamily="34" charset="0"/>
              <a:cs typeface="Arial" panose="020B0604020202020204" pitchFamily="34" charset="0"/>
            </a:endParaRPr>
          </a:p>
        </p:txBody>
      </p:sp>
      <p:sp>
        <p:nvSpPr>
          <p:cNvPr id="4" name="Text Placeholder 3">
            <a:extLst>
              <a:ext uri="{FF2B5EF4-FFF2-40B4-BE49-F238E27FC236}">
                <a16:creationId xmlns:a16="http://schemas.microsoft.com/office/drawing/2014/main" id="{41180491-27B5-B7C8-7C7B-985AE339DD9E}"/>
              </a:ext>
            </a:extLst>
          </p:cNvPr>
          <p:cNvSpPr>
            <a:spLocks noGrp="1"/>
          </p:cNvSpPr>
          <p:nvPr>
            <p:ph type="body" sz="quarter" idx="22"/>
          </p:nvPr>
        </p:nvSpPr>
        <p:spPr/>
        <p:txBody>
          <a:bodyPr/>
          <a:lstStyle/>
          <a:p>
            <a:endParaRPr lang="en-US"/>
          </a:p>
        </p:txBody>
      </p:sp>
      <p:sp>
        <p:nvSpPr>
          <p:cNvPr id="5" name="Text Placeholder 4">
            <a:extLst>
              <a:ext uri="{FF2B5EF4-FFF2-40B4-BE49-F238E27FC236}">
                <a16:creationId xmlns:a16="http://schemas.microsoft.com/office/drawing/2014/main" id="{15F7F7A2-6D0A-F4EC-D1F3-F1AB361F77B6}"/>
              </a:ext>
            </a:extLst>
          </p:cNvPr>
          <p:cNvSpPr>
            <a:spLocks noGrp="1"/>
          </p:cNvSpPr>
          <p:nvPr>
            <p:ph type="body" sz="quarter" idx="32"/>
          </p:nvPr>
        </p:nvSpPr>
        <p:spPr/>
        <p:txBody>
          <a:bodyPr/>
          <a:lstStyle/>
          <a:p>
            <a:endParaRPr lang="en-US"/>
          </a:p>
        </p:txBody>
      </p:sp>
      <p:sp>
        <p:nvSpPr>
          <p:cNvPr id="8" name="Text Placeholder 2">
            <a:extLst>
              <a:ext uri="{FF2B5EF4-FFF2-40B4-BE49-F238E27FC236}">
                <a16:creationId xmlns:a16="http://schemas.microsoft.com/office/drawing/2014/main" id="{CF19088B-FEAA-B543-7713-E9280B0EA43F}"/>
              </a:ext>
            </a:extLst>
          </p:cNvPr>
          <p:cNvSpPr txBox="1">
            <a:spLocks/>
          </p:cNvSpPr>
          <p:nvPr/>
        </p:nvSpPr>
        <p:spPr>
          <a:xfrm>
            <a:off x="3779593" y="82904"/>
            <a:ext cx="1542410" cy="184666"/>
          </a:xfrm>
          <a:prstGeom prst="rect">
            <a:avLst/>
          </a:prstGeom>
        </p:spPr>
        <p:txBody>
          <a:bodyPr vert="horz" wrap="none" lIns="0" tIns="0" rIns="0" bIns="0"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3838" marR="0" lvl="0" indent="-223838" algn="l" defTabSz="685783" rtl="0" eaLnBrk="1" fontAlgn="auto" latinLnBrk="0" hangingPunct="1">
              <a:lnSpc>
                <a:spcPct val="100000"/>
              </a:lnSpc>
              <a:spcBef>
                <a:spcPts val="0"/>
              </a:spcBef>
              <a:spcAft>
                <a:spcPts val="0"/>
              </a:spcAft>
              <a:buClrTx/>
              <a:buSzTx/>
              <a:buFont typeface="Wingdings" panose="05000000000000000000" pitchFamily="2" charset="2"/>
              <a:buNone/>
              <a:tabLst>
                <a:tab pos="452438" algn="l"/>
              </a:tabLst>
              <a:defRPr/>
            </a:pPr>
            <a:r>
              <a:rPr kumimoji="0" lang="en-AU" sz="1200" b="0" i="0" u="none" strike="noStrike" kern="1200" cap="none" spc="0" normalizeH="0" baseline="0" noProof="0">
                <a:ln>
                  <a:noFill/>
                </a:ln>
                <a:solidFill>
                  <a:srgbClr val="838383"/>
                </a:solidFill>
                <a:effectLst/>
                <a:uLnTx/>
                <a:uFillTx/>
                <a:latin typeface="Lato" panose="020F0502020204030203" pitchFamily="34" charset="0"/>
                <a:ea typeface="+mn-ea"/>
                <a:cs typeface="+mn-cs"/>
                <a:sym typeface="Lato" panose="020F0502020204030203" pitchFamily="34" charset="0"/>
              </a:rPr>
              <a:t>	Executive summary</a:t>
            </a:r>
            <a:endParaRPr kumimoji="0" lang="en-GB" sz="1200" b="0" i="0" u="none" strike="noStrike" kern="1200" cap="none" spc="0" normalizeH="0" baseline="0" noProof="0">
              <a:ln>
                <a:noFill/>
              </a:ln>
              <a:solidFill>
                <a:srgbClr val="838383"/>
              </a:solidFill>
              <a:effectLst/>
              <a:uLnTx/>
              <a:uFillTx/>
              <a:latin typeface="Lato" panose="020F0502020204030203" pitchFamily="34" charset="0"/>
              <a:ea typeface="+mn-ea"/>
              <a:cs typeface="+mn-cs"/>
              <a:sym typeface="Lato" panose="020F0502020204030203" pitchFamily="34" charset="0"/>
            </a:endParaRPr>
          </a:p>
        </p:txBody>
      </p:sp>
      <p:sp>
        <p:nvSpPr>
          <p:cNvPr id="9" name="Oval 8">
            <a:extLst>
              <a:ext uri="{FF2B5EF4-FFF2-40B4-BE49-F238E27FC236}">
                <a16:creationId xmlns:a16="http://schemas.microsoft.com/office/drawing/2014/main" id="{4851B09C-2510-7019-A12C-23C3341B2B8A}"/>
              </a:ext>
            </a:extLst>
          </p:cNvPr>
          <p:cNvSpPr/>
          <p:nvPr/>
        </p:nvSpPr>
        <p:spPr>
          <a:xfrm>
            <a:off x="3778994" y="84467"/>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a:t>
            </a:r>
          </a:p>
        </p:txBody>
      </p:sp>
    </p:spTree>
    <p:extLst>
      <p:ext uri="{BB962C8B-B14F-4D97-AF65-F5344CB8AC3E}">
        <p14:creationId xmlns:p14="http://schemas.microsoft.com/office/powerpoint/2010/main" val="19890008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56820D91-F5EC-47B7-1DA1-F372AFAB11CC}"/>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graphicFrame>
        <p:nvGraphicFramePr>
          <p:cNvPr id="10" name="Object 9" hidden="1">
            <a:extLst>
              <a:ext uri="{FF2B5EF4-FFF2-40B4-BE49-F238E27FC236}">
                <a16:creationId xmlns:a16="http://schemas.microsoft.com/office/drawing/2014/main" id="{8114CF0E-2927-4E40-A7FE-58E09D6771F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0" name="Object 9" hidden="1">
                        <a:extLst>
                          <a:ext uri="{FF2B5EF4-FFF2-40B4-BE49-F238E27FC236}">
                            <a16:creationId xmlns:a16="http://schemas.microsoft.com/office/drawing/2014/main" id="{8114CF0E-2927-4E40-A7FE-58E09D6771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8" name="Text Placeholder 14">
            <a:extLst>
              <a:ext uri="{FF2B5EF4-FFF2-40B4-BE49-F238E27FC236}">
                <a16:creationId xmlns:a16="http://schemas.microsoft.com/office/drawing/2014/main" id="{78804F31-5F39-4065-AA60-A209BF40D56C}"/>
              </a:ext>
            </a:extLst>
          </p:cNvPr>
          <p:cNvSpPr txBox="1">
            <a:spLocks noGrp="1"/>
          </p:cNvSpPr>
          <p:nvPr>
            <p:ph type="body" sz="quarter" idx="27"/>
          </p:nvPr>
        </p:nvSpPr>
        <p:spPr>
          <a:xfrm>
            <a:off x="381599" y="1270033"/>
            <a:ext cx="7457170" cy="184666"/>
          </a:xfrm>
          <a:prstGeom prst="rect">
            <a:avLst/>
          </a:prstGeom>
        </p:spPr>
        <p:txBody>
          <a:bodyPr vert="horz" wrap="none" lIns="0" tIns="0" rIns="0" bIns="0" rtlCol="0" anchor="t" anchorCtr="0">
            <a:spAutoFit/>
          </a:bodyPr>
          <a:lstStyle>
            <a:lvl1pPr marL="0" indent="0" algn="l" defTabSz="685783" rtl="0" eaLnBrk="1" latinLnBrk="0" hangingPunct="1">
              <a:lnSpc>
                <a:spcPct val="100000"/>
              </a:lnSpc>
              <a:spcBef>
                <a:spcPts val="750"/>
              </a:spcBef>
              <a:buFont typeface="Wingdings" panose="05000000000000000000" pitchFamily="2" charset="2"/>
              <a:buNone/>
              <a:tabLst>
                <a:tab pos="452438" algn="l"/>
              </a:tabLst>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AU" b="1"/>
              <a:t>Input changes to Trump and Harris Presidency scenarios and sensitivities (impacts relative to Aurora Central)</a:t>
            </a:r>
            <a:endParaRPr lang="en-GB" b="1"/>
          </a:p>
        </p:txBody>
      </p:sp>
      <p:sp>
        <p:nvSpPr>
          <p:cNvPr id="3" name="Title 2">
            <a:extLst>
              <a:ext uri="{FF2B5EF4-FFF2-40B4-BE49-F238E27FC236}">
                <a16:creationId xmlns:a16="http://schemas.microsoft.com/office/drawing/2014/main" id="{F425521B-AC69-44BD-AADC-B00EA066F01A}"/>
              </a:ext>
            </a:extLst>
          </p:cNvPr>
          <p:cNvSpPr>
            <a:spLocks noGrp="1"/>
          </p:cNvSpPr>
          <p:nvPr>
            <p:ph type="title"/>
          </p:nvPr>
        </p:nvSpPr>
        <p:spPr/>
        <p:txBody>
          <a:bodyPr vert="horz"/>
          <a:lstStyle/>
          <a:p>
            <a:r>
              <a:rPr lang="en-GB"/>
              <a:t>We modelled a range of scenarios to reflect various outcomes under a Trump or Harris election in November</a:t>
            </a:r>
            <a:endParaRPr lang="en-IN"/>
          </a:p>
        </p:txBody>
      </p:sp>
      <p:sp>
        <p:nvSpPr>
          <p:cNvPr id="9" name="Text Placeholder 8">
            <a:extLst>
              <a:ext uri="{FF2B5EF4-FFF2-40B4-BE49-F238E27FC236}">
                <a16:creationId xmlns:a16="http://schemas.microsoft.com/office/drawing/2014/main" id="{6B9F1B56-E413-B4F2-9BFB-6469ECCB023D}"/>
              </a:ext>
            </a:extLst>
          </p:cNvPr>
          <p:cNvSpPr>
            <a:spLocks noGrp="1"/>
          </p:cNvSpPr>
          <p:nvPr>
            <p:ph type="body" sz="quarter" idx="32"/>
          </p:nvPr>
        </p:nvSpPr>
        <p:spPr>
          <a:xfrm>
            <a:off x="381600" y="6474841"/>
            <a:ext cx="11428800" cy="221599"/>
          </a:xfrm>
        </p:spPr>
        <p:txBody>
          <a:bodyPr/>
          <a:lstStyle/>
          <a:p>
            <a:r>
              <a:rPr lang="en-IN"/>
              <a:t>1) Tariffs and federal oil and gas leasing represent changes to gas price modelling only, all other input changes reflect changes to power market modelling only. 2) Results only available for gas price results, not power markets. 3) Does not include compliance with the EPA’s Greenhouse Gas Rule.  4) CAISO, ISO-NE, PJM, and NYISO are fully covered; MISO assumes only states with a Democratic governor.</a:t>
            </a:r>
          </a:p>
        </p:txBody>
      </p:sp>
      <p:graphicFrame>
        <p:nvGraphicFramePr>
          <p:cNvPr id="5" name="Table 5">
            <a:extLst>
              <a:ext uri="{FF2B5EF4-FFF2-40B4-BE49-F238E27FC236}">
                <a16:creationId xmlns:a16="http://schemas.microsoft.com/office/drawing/2014/main" id="{B4283764-0BAB-4175-9CBF-61CB45157710}"/>
              </a:ext>
            </a:extLst>
          </p:cNvPr>
          <p:cNvGraphicFramePr>
            <a:graphicFrameLocks noGrp="1"/>
          </p:cNvGraphicFramePr>
          <p:nvPr/>
        </p:nvGraphicFramePr>
        <p:xfrm>
          <a:off x="384945" y="1703479"/>
          <a:ext cx="11461549" cy="4702162"/>
        </p:xfrm>
        <a:graphic>
          <a:graphicData uri="http://schemas.openxmlformats.org/drawingml/2006/table">
            <a:tbl>
              <a:tblPr firstRow="1" bandRow="1">
                <a:tableStyleId>{5C22544A-7EE6-4342-B048-85BDC9FD1C3A}</a:tableStyleId>
              </a:tblPr>
              <a:tblGrid>
                <a:gridCol w="1045453">
                  <a:extLst>
                    <a:ext uri="{9D8B030D-6E8A-4147-A177-3AD203B41FA5}">
                      <a16:colId xmlns:a16="http://schemas.microsoft.com/office/drawing/2014/main" val="2117776272"/>
                    </a:ext>
                  </a:extLst>
                </a:gridCol>
                <a:gridCol w="69592">
                  <a:extLst>
                    <a:ext uri="{9D8B030D-6E8A-4147-A177-3AD203B41FA5}">
                      <a16:colId xmlns:a16="http://schemas.microsoft.com/office/drawing/2014/main" val="675490862"/>
                    </a:ext>
                  </a:extLst>
                </a:gridCol>
                <a:gridCol w="1486726">
                  <a:extLst>
                    <a:ext uri="{9D8B030D-6E8A-4147-A177-3AD203B41FA5}">
                      <a16:colId xmlns:a16="http://schemas.microsoft.com/office/drawing/2014/main" val="363069803"/>
                    </a:ext>
                  </a:extLst>
                </a:gridCol>
                <a:gridCol w="1486726">
                  <a:extLst>
                    <a:ext uri="{9D8B030D-6E8A-4147-A177-3AD203B41FA5}">
                      <a16:colId xmlns:a16="http://schemas.microsoft.com/office/drawing/2014/main" val="3623326660"/>
                    </a:ext>
                  </a:extLst>
                </a:gridCol>
                <a:gridCol w="1486726">
                  <a:extLst>
                    <a:ext uri="{9D8B030D-6E8A-4147-A177-3AD203B41FA5}">
                      <a16:colId xmlns:a16="http://schemas.microsoft.com/office/drawing/2014/main" val="586855432"/>
                    </a:ext>
                  </a:extLst>
                </a:gridCol>
                <a:gridCol w="208280">
                  <a:extLst>
                    <a:ext uri="{9D8B030D-6E8A-4147-A177-3AD203B41FA5}">
                      <a16:colId xmlns:a16="http://schemas.microsoft.com/office/drawing/2014/main" val="689954206"/>
                    </a:ext>
                  </a:extLst>
                </a:gridCol>
                <a:gridCol w="1640048">
                  <a:extLst>
                    <a:ext uri="{9D8B030D-6E8A-4147-A177-3AD203B41FA5}">
                      <a16:colId xmlns:a16="http://schemas.microsoft.com/office/drawing/2014/main" val="3499309324"/>
                    </a:ext>
                  </a:extLst>
                </a:gridCol>
                <a:gridCol w="1724025">
                  <a:extLst>
                    <a:ext uri="{9D8B030D-6E8A-4147-A177-3AD203B41FA5}">
                      <a16:colId xmlns:a16="http://schemas.microsoft.com/office/drawing/2014/main" val="3110715718"/>
                    </a:ext>
                  </a:extLst>
                </a:gridCol>
                <a:gridCol w="2313973">
                  <a:extLst>
                    <a:ext uri="{9D8B030D-6E8A-4147-A177-3AD203B41FA5}">
                      <a16:colId xmlns:a16="http://schemas.microsoft.com/office/drawing/2014/main" val="1315436847"/>
                    </a:ext>
                  </a:extLst>
                </a:gridCol>
              </a:tblGrid>
              <a:tr h="382862">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200" b="1">
                          <a:solidFill>
                            <a:schemeClr val="tx1"/>
                          </a:solidFill>
                        </a:rPr>
                        <a:t>Policy area</a:t>
                      </a:r>
                      <a:r>
                        <a:rPr lang="en-GB" sz="1200" b="1" baseline="30000">
                          <a:solidFill>
                            <a:schemeClr val="tx1"/>
                          </a:solidFill>
                        </a:rPr>
                        <a:t>1</a:t>
                      </a:r>
                    </a:p>
                  </a:txBody>
                  <a:tcPr marL="0" marR="0" marT="0" marB="0" anchor="ctr">
                    <a:lnT w="12700" cmpd="sng">
                      <a:noFill/>
                    </a:lnT>
                    <a:lnB w="12700" cap="flat" cmpd="sng" algn="ctr">
                      <a:solidFill>
                        <a:schemeClr val="tx1"/>
                      </a:solidFill>
                      <a:prstDash val="solid"/>
                      <a:round/>
                      <a:headEnd type="none" w="med" len="med"/>
                      <a:tailEnd type="none" w="med" len="med"/>
                    </a:lnB>
                    <a:noFill/>
                  </a:tcPr>
                </a:tc>
                <a:tc>
                  <a:txBody>
                    <a:bodyPr/>
                    <a:lstStyle/>
                    <a:p>
                      <a:endParaRPr lang="en-IN" sz="1200">
                        <a:solidFill>
                          <a:schemeClr val="tx1"/>
                        </a:solidFill>
                      </a:endParaRPr>
                    </a:p>
                  </a:txBody>
                  <a:tcPr marL="0" marR="0" marT="0" marB="0">
                    <a:lnT w="12700" cmpd="sng">
                      <a:noFill/>
                    </a:lnT>
                    <a:lnB w="12700" cap="flat" cmpd="sng" algn="ctr">
                      <a:noFill/>
                      <a:prstDash val="solid"/>
                      <a:round/>
                      <a:headEnd type="none" w="med" len="med"/>
                      <a:tailEnd type="none" w="med" len="med"/>
                    </a:lnB>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IN" sz="1200">
                          <a:solidFill>
                            <a:srgbClr val="9F3C1C"/>
                          </a:solidFill>
                        </a:rPr>
                        <a:t>Trump Presidency</a:t>
                      </a:r>
                    </a:p>
                  </a:txBody>
                  <a:tcPr anchor="ctr">
                    <a:lnR w="12700" cmpd="sng">
                      <a:noFill/>
                    </a:lnR>
                    <a:lnB w="38100" cap="flat" cmpd="sng" algn="ctr">
                      <a:solidFill>
                        <a:srgbClr val="9F3C1C"/>
                      </a:solidFill>
                      <a:prstDash val="solid"/>
                      <a:round/>
                      <a:headEnd type="none" w="med" len="med"/>
                      <a:tailEnd type="none" w="med" len="med"/>
                    </a:lnB>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IN" sz="1200">
                          <a:solidFill>
                            <a:srgbClr val="9F3C1C"/>
                          </a:solidFill>
                        </a:rPr>
                        <a:t>LNG Overbuild</a:t>
                      </a:r>
                      <a:r>
                        <a:rPr lang="en-IN" sz="1200" baseline="30000">
                          <a:solidFill>
                            <a:srgbClr val="9F3C1C"/>
                          </a:solidFill>
                        </a:rPr>
                        <a:t>2</a:t>
                      </a:r>
                    </a:p>
                  </a:txBody>
                  <a:tcPr anchor="ctr">
                    <a:lnL w="12700" cmpd="sng">
                      <a:noFill/>
                    </a:lnL>
                    <a:lnR w="12700" cmpd="sng">
                      <a:noFill/>
                    </a:lnR>
                    <a:lnB w="38100" cap="flat" cmpd="sng" algn="ctr">
                      <a:solidFill>
                        <a:srgbClr val="9F3C1C"/>
                      </a:solidFill>
                      <a:prstDash val="solid"/>
                      <a:round/>
                      <a:headEnd type="none" w="med" len="med"/>
                      <a:tailEnd type="none" w="med" len="med"/>
                    </a:lnB>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IN" sz="1200">
                          <a:solidFill>
                            <a:srgbClr val="9F3C1C"/>
                          </a:solidFill>
                        </a:rPr>
                        <a:t>Project 2025</a:t>
                      </a:r>
                    </a:p>
                  </a:txBody>
                  <a:tcPr anchor="ctr">
                    <a:lnL w="12700" cmpd="sng">
                      <a:noFill/>
                    </a:lnL>
                    <a:lnR w="12700" cmpd="sng">
                      <a:noFill/>
                    </a:lnR>
                    <a:lnB w="38100" cap="flat" cmpd="sng" algn="ctr">
                      <a:solidFill>
                        <a:srgbClr val="9F3C1C"/>
                      </a:solidFill>
                      <a:prstDash val="solid"/>
                      <a:round/>
                      <a:headEnd type="none" w="med" len="med"/>
                      <a:tailEnd type="none" w="med" len="med"/>
                    </a:lnB>
                    <a:no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lang="en-IN" sz="1200">
                        <a:solidFill>
                          <a:schemeClr val="tx1"/>
                        </a:solidFill>
                      </a:endParaRPr>
                    </a:p>
                  </a:txBody>
                  <a:tcPr anchor="ctr">
                    <a:lnL w="12700" cmpd="sng">
                      <a:noFill/>
                    </a:lnL>
                    <a:lnR w="12700" cmpd="sng">
                      <a:noFill/>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200">
                          <a:solidFill>
                            <a:srgbClr val="4C6C9C"/>
                          </a:solidFill>
                        </a:rPr>
                        <a:t>Harris Presidency</a:t>
                      </a:r>
                    </a:p>
                  </a:txBody>
                  <a:tcPr anchor="ctr">
                    <a:lnL w="12700" cmpd="sng">
                      <a:noFill/>
                    </a:lnL>
                    <a:lnR w="12700" cmpd="sng">
                      <a:noFill/>
                    </a:lnR>
                    <a:lnB w="38100" cap="flat" cmpd="sng" algn="ctr">
                      <a:solidFill>
                        <a:srgbClr val="4C6C9C"/>
                      </a:solidFill>
                      <a:prstDash val="solid"/>
                      <a:round/>
                      <a:headEnd type="none" w="med" len="med"/>
                      <a:tailEnd type="none" w="med" len="med"/>
                    </a:lnB>
                    <a:noFill/>
                  </a:tcPr>
                </a:tc>
                <a:tc>
                  <a:txBody>
                    <a:bodyPr/>
                    <a:lstStyle/>
                    <a:p>
                      <a:pPr algn="ctr"/>
                      <a:r>
                        <a:rPr lang="en-IN" sz="1200">
                          <a:solidFill>
                            <a:srgbClr val="4C6C9C"/>
                          </a:solidFill>
                        </a:rPr>
                        <a:t>Federal Leasing Ban</a:t>
                      </a:r>
                      <a:r>
                        <a:rPr lang="en-IN" sz="1200" baseline="30000">
                          <a:solidFill>
                            <a:srgbClr val="4C6C9C"/>
                          </a:solidFill>
                        </a:rPr>
                        <a:t>2</a:t>
                      </a:r>
                    </a:p>
                  </a:txBody>
                  <a:tcPr anchor="ctr">
                    <a:lnL w="12700" cmpd="sng">
                      <a:noFill/>
                    </a:lnL>
                    <a:lnR w="12700" cmpd="sng">
                      <a:noFill/>
                    </a:lnR>
                    <a:lnB w="38100" cap="flat" cmpd="sng" algn="ctr">
                      <a:solidFill>
                        <a:srgbClr val="4C6C9C"/>
                      </a:solidFill>
                      <a:prstDash val="solid"/>
                      <a:round/>
                      <a:headEnd type="none" w="med" len="med"/>
                      <a:tailEnd type="none" w="med" len="med"/>
                    </a:lnB>
                    <a:noFill/>
                  </a:tcPr>
                </a:tc>
                <a:tc>
                  <a:txBody>
                    <a:bodyPr/>
                    <a:lstStyle/>
                    <a:p>
                      <a:pPr algn="ctr"/>
                      <a:r>
                        <a:rPr lang="en-IN" sz="1200">
                          <a:solidFill>
                            <a:srgbClr val="4C6C9C"/>
                          </a:solidFill>
                        </a:rPr>
                        <a:t>Green New Deal</a:t>
                      </a:r>
                      <a:r>
                        <a:rPr lang="en-IN" sz="1200" baseline="30000">
                          <a:solidFill>
                            <a:srgbClr val="4C6C9C"/>
                          </a:solidFill>
                        </a:rPr>
                        <a:t>3</a:t>
                      </a:r>
                    </a:p>
                  </a:txBody>
                  <a:tcPr anchor="ctr">
                    <a:lnL w="12700" cmpd="sng">
                      <a:noFill/>
                    </a:lnL>
                    <a:lnB w="38100" cap="flat" cmpd="sng" algn="ctr">
                      <a:solidFill>
                        <a:srgbClr val="4C6C9C"/>
                      </a:solidFill>
                      <a:prstDash val="solid"/>
                      <a:round/>
                      <a:headEnd type="none" w="med" len="med"/>
                      <a:tailEnd type="none" w="med" len="med"/>
                    </a:lnB>
                    <a:noFill/>
                  </a:tcPr>
                </a:tc>
                <a:extLst>
                  <a:ext uri="{0D108BD9-81ED-4DB2-BD59-A6C34878D82A}">
                    <a16:rowId xmlns:a16="http://schemas.microsoft.com/office/drawing/2014/main" val="781869413"/>
                  </a:ext>
                </a:extLst>
              </a:tr>
              <a:tr h="1033990">
                <a:tc>
                  <a:txBody>
                    <a:bodyPr/>
                    <a:lstStyle/>
                    <a:p>
                      <a:pPr algn="ctr"/>
                      <a:endParaRPr lang="en-IN" sz="1200" b="1"/>
                    </a:p>
                    <a:p>
                      <a:pPr algn="ctr"/>
                      <a:r>
                        <a:rPr lang="en-IN" sz="1200" b="1"/>
                        <a:t>Subsidies</a:t>
                      </a:r>
                    </a:p>
                  </a:txBody>
                  <a:tcPr marL="18000" marR="18000" marT="18000" marB="18000">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IN" sz="1200"/>
                    </a:p>
                  </a:txBody>
                  <a:tcPr marL="18000" marR="18000" marT="18000" marB="180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
                      </a:pPr>
                      <a:r>
                        <a:rPr lang="en-IN" sz="1100">
                          <a:solidFill>
                            <a:schemeClr val="tx1"/>
                          </a:solidFill>
                        </a:rPr>
                        <a:t>Slower EV uptake.</a:t>
                      </a:r>
                    </a:p>
                    <a:p>
                      <a:pPr marL="171450" indent="-171450">
                        <a:buFont typeface="Wingdings" panose="05000000000000000000" pitchFamily="2" charset="2"/>
                        <a:buChar char="§"/>
                      </a:pPr>
                      <a:r>
                        <a:rPr lang="en-IN" sz="1100">
                          <a:solidFill>
                            <a:schemeClr val="tx1"/>
                          </a:solidFill>
                        </a:rPr>
                        <a:t>Delayed coal retirements.</a:t>
                      </a:r>
                    </a:p>
                  </a:txBody>
                  <a:tcPr marL="18000" marR="18000" marT="18000" marB="18000">
                    <a:lnL w="12700" cmpd="sng">
                      <a:noFill/>
                    </a:lnL>
                    <a:lnR w="12700" cmpd="sng">
                      <a:noFill/>
                    </a:lnR>
                    <a:lnT w="38100" cap="flat" cmpd="sng" algn="ctr">
                      <a:solidFill>
                        <a:srgbClr val="9F3C1C"/>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
                      </a:pPr>
                      <a:endParaRPr lang="en-IN" sz="1100">
                        <a:solidFill>
                          <a:schemeClr val="tx1"/>
                        </a:solidFill>
                      </a:endParaRPr>
                    </a:p>
                  </a:txBody>
                  <a:tcPr marL="18000" marR="18000" marT="18000" marB="18000">
                    <a:lnL w="12700" cmpd="sng">
                      <a:noFill/>
                    </a:lnL>
                    <a:lnR w="12700" cmpd="sng">
                      <a:noFill/>
                    </a:lnR>
                    <a:lnT w="38100" cap="flat" cmpd="sng" algn="ctr">
                      <a:solidFill>
                        <a:srgbClr val="9F3C1C"/>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
                      </a:pPr>
                      <a:r>
                        <a:rPr lang="en-IN" sz="1100" i="1">
                          <a:solidFill>
                            <a:schemeClr val="tx1"/>
                          </a:solidFill>
                        </a:rPr>
                        <a:t>As Trump Presidency</a:t>
                      </a:r>
                    </a:p>
                    <a:p>
                      <a:pPr marL="171450" indent="-171450">
                        <a:buFont typeface="Wingdings" panose="05000000000000000000" pitchFamily="2" charset="2"/>
                        <a:buChar char="§"/>
                      </a:pPr>
                      <a:r>
                        <a:rPr lang="en-IN" sz="1100" i="0">
                          <a:solidFill>
                            <a:schemeClr val="tx1"/>
                          </a:solidFill>
                        </a:rPr>
                        <a:t>Tax credit support for wind, solar, and batteries ends in 2025.</a:t>
                      </a:r>
                    </a:p>
                  </a:txBody>
                  <a:tcPr marL="18000" marR="18000" marT="18000" marB="18000">
                    <a:lnL w="12700" cmpd="sng">
                      <a:noFill/>
                    </a:lnL>
                    <a:lnR w="12700" cmpd="sng">
                      <a:noFill/>
                    </a:lnR>
                    <a:lnT w="38100" cap="flat" cmpd="sng" algn="ctr">
                      <a:solidFill>
                        <a:srgbClr val="9F3C1C"/>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IN" sz="1100">
                        <a:solidFill>
                          <a:schemeClr val="tx1"/>
                        </a:solidFill>
                      </a:endParaRPr>
                    </a:p>
                  </a:txBody>
                  <a:tcPr marL="18000" marR="18000" marT="18000" marB="18000">
                    <a:lnL w="12700" cmpd="sng">
                      <a:noFill/>
                    </a:lnL>
                    <a:lnR w="12700" cmpd="sng">
                      <a:noFill/>
                    </a:lnR>
                    <a:lnT w="38100" cap="flat" cmpd="sng" algn="ctr">
                      <a:no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IN" sz="1100">
                        <a:solidFill>
                          <a:schemeClr val="tx1"/>
                        </a:solidFill>
                      </a:endParaRPr>
                    </a:p>
                  </a:txBody>
                  <a:tcPr marL="18000" marR="18000" marT="18000" marB="18000">
                    <a:lnL w="12700" cmpd="sng">
                      <a:noFill/>
                    </a:lnL>
                    <a:lnR w="12700" cmpd="sng">
                      <a:noFill/>
                    </a:lnR>
                    <a:lnT w="38100" cap="flat" cmpd="sng" algn="ctr">
                      <a:solidFill>
                        <a:srgbClr val="4C6C9C"/>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IN" sz="1100">
                        <a:solidFill>
                          <a:schemeClr val="tx1"/>
                        </a:solidFill>
                      </a:endParaRPr>
                    </a:p>
                  </a:txBody>
                  <a:tcPr marL="18000" marR="18000" marT="18000" marB="18000">
                    <a:lnL w="12700" cmpd="sng">
                      <a:noFill/>
                    </a:lnL>
                    <a:lnR w="12700" cmpd="sng">
                      <a:noFill/>
                    </a:lnR>
                    <a:lnT w="38100" cap="flat" cmpd="sng" algn="ctr">
                      <a:solidFill>
                        <a:srgbClr val="4C6C9C"/>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IN" sz="1100">
                          <a:solidFill>
                            <a:schemeClr val="tx1"/>
                          </a:solidFill>
                        </a:rPr>
                        <a:t>Faster overall electrification.</a:t>
                      </a:r>
                    </a:p>
                    <a:p>
                      <a:pPr marL="171450" marR="0" lvl="0" indent="-17145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IN" sz="1100">
                          <a:solidFill>
                            <a:schemeClr val="tx1"/>
                          </a:solidFill>
                        </a:rPr>
                        <a:t>2 p.p. lower cost of capital for renewables (Green Bank).</a:t>
                      </a:r>
                    </a:p>
                    <a:p>
                      <a:pPr marL="171450" marR="0" lvl="0" indent="-17145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IN" sz="1100">
                          <a:solidFill>
                            <a:schemeClr val="tx1"/>
                          </a:solidFill>
                        </a:rPr>
                        <a:t>Tax credit support stays constant through horizon at 2024 levels.</a:t>
                      </a:r>
                    </a:p>
                  </a:txBody>
                  <a:tcPr marL="18000" marR="18000" marT="18000" marB="18000">
                    <a:lnL w="12700" cmpd="sng">
                      <a:noFill/>
                    </a:lnL>
                    <a:lnR w="12700" cmpd="sng">
                      <a:noFill/>
                    </a:lnR>
                    <a:lnT w="38100" cap="flat" cmpd="sng" algn="ctr">
                      <a:solidFill>
                        <a:srgbClr val="4C6C9C"/>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2127683"/>
                  </a:ext>
                </a:extLst>
              </a:tr>
              <a:tr h="1033990">
                <a:tc>
                  <a:txBody>
                    <a:bodyPr/>
                    <a:lstStyle/>
                    <a:p>
                      <a:pPr algn="ctr"/>
                      <a:endParaRPr lang="en-IN" sz="1200" b="1"/>
                    </a:p>
                    <a:p>
                      <a:pPr algn="ctr"/>
                      <a:r>
                        <a:rPr lang="en-IN" sz="1200" b="1"/>
                        <a:t>Tariffs</a:t>
                      </a:r>
                    </a:p>
                  </a:txBody>
                  <a:tcPr marL="18000" marR="18000" marT="18000" marB="18000">
                    <a:lnL w="12700" cmpd="sng">
                      <a:noFill/>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IN" sz="1200"/>
                    </a:p>
                  </a:txBody>
                  <a:tcPr marL="18000" marR="18000" marT="18000" marB="180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
                      </a:pPr>
                      <a:r>
                        <a:rPr lang="en-US" sz="1100" b="0" kern="1200">
                          <a:solidFill>
                            <a:schemeClr val="tx1"/>
                          </a:solidFill>
                          <a:effectLst/>
                          <a:latin typeface="+mn-lt"/>
                          <a:ea typeface="+mn-ea"/>
                          <a:cs typeface="+mn-cs"/>
                        </a:rPr>
                        <a:t>50% tariff on Chinese imports and 10% tariff across the board, with no retaliation tariffs.</a:t>
                      </a:r>
                      <a:endParaRPr lang="en-IN" sz="1100" b="0">
                        <a:solidFill>
                          <a:schemeClr val="tx1"/>
                        </a:solidFill>
                      </a:endParaRPr>
                    </a:p>
                  </a:txBody>
                  <a:tcPr marL="18000" marR="18000" marT="18000" marB="18000">
                    <a:lnL w="12700" cmpd="sng">
                      <a:noFill/>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
                      </a:pPr>
                      <a:r>
                        <a:rPr lang="en-IN" sz="1100" b="0" i="1">
                          <a:solidFill>
                            <a:schemeClr val="tx1"/>
                          </a:solidFill>
                        </a:rPr>
                        <a:t>As Trump Presidency</a:t>
                      </a:r>
                    </a:p>
                  </a:txBody>
                  <a:tcPr marL="18000" marR="18000" marT="18000" marB="18000">
                    <a:lnL w="12700" cmpd="sng">
                      <a:noFill/>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IN" sz="1100" i="1">
                          <a:solidFill>
                            <a:schemeClr val="tx1"/>
                          </a:solidFill>
                        </a:rPr>
                        <a:t>As Trump Presidency</a:t>
                      </a:r>
                    </a:p>
                    <a:p>
                      <a:pPr marL="171450" indent="-171450">
                        <a:buFont typeface="Wingdings" panose="05000000000000000000" pitchFamily="2" charset="2"/>
                        <a:buChar char="§"/>
                      </a:pPr>
                      <a:endParaRPr lang="en-IN" sz="1100" b="0">
                        <a:solidFill>
                          <a:schemeClr val="tx1"/>
                        </a:solidFill>
                      </a:endParaRPr>
                    </a:p>
                  </a:txBody>
                  <a:tcPr marL="18000" marR="18000" marT="18000" marB="18000">
                    <a:lnL w="12700" cmpd="sng">
                      <a:noFill/>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
                      </a:pPr>
                      <a:endParaRPr lang="en-IN" sz="1100" b="0">
                        <a:solidFill>
                          <a:schemeClr val="tx1"/>
                        </a:solidFill>
                      </a:endParaRPr>
                    </a:p>
                  </a:txBody>
                  <a:tcPr marL="18000" marR="18000" marT="18000" marB="18000">
                    <a:lnL w="12700" cmpd="sng">
                      <a:noFill/>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IN" sz="1100">
                        <a:solidFill>
                          <a:schemeClr val="tx1"/>
                        </a:solidFill>
                      </a:endParaRPr>
                    </a:p>
                  </a:txBody>
                  <a:tcPr marL="18000" marR="18000" marT="18000" marB="18000">
                    <a:lnL w="12700" cmpd="sng">
                      <a:noFill/>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IN" sz="1100">
                        <a:solidFill>
                          <a:schemeClr val="tx1"/>
                        </a:solidFill>
                      </a:endParaRPr>
                    </a:p>
                  </a:txBody>
                  <a:tcPr marL="18000" marR="18000" marT="18000" marB="18000">
                    <a:lnL w="12700" cmpd="sng">
                      <a:noFill/>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IN" sz="1100">
                        <a:solidFill>
                          <a:schemeClr val="tx1"/>
                        </a:solidFill>
                      </a:endParaRPr>
                    </a:p>
                  </a:txBody>
                  <a:tcPr marL="18000" marR="18000" marT="18000" marB="18000">
                    <a:lnL w="12700" cmpd="sng">
                      <a:noFill/>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2681841"/>
                  </a:ext>
                </a:extLst>
              </a:tr>
              <a:tr h="1157001">
                <a:tc>
                  <a:txBody>
                    <a:bodyPr/>
                    <a:lstStyle/>
                    <a:p>
                      <a:pPr algn="ctr"/>
                      <a:endParaRPr lang="en-IN" sz="1200" b="1"/>
                    </a:p>
                    <a:p>
                      <a:pPr algn="ctr"/>
                      <a:r>
                        <a:rPr lang="en-IN" sz="1200" b="1"/>
                        <a:t>Permitting</a:t>
                      </a:r>
                    </a:p>
                  </a:txBody>
                  <a:tcPr marL="18000" marR="18000" marT="18000" marB="18000">
                    <a:lnL w="12700" cmpd="sng">
                      <a:noFill/>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IN" sz="1200"/>
                    </a:p>
                  </a:txBody>
                  <a:tcPr marL="18000" marR="18000" marT="18000" marB="180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
                      </a:pPr>
                      <a:endParaRPr lang="en-IN" sz="1100">
                        <a:solidFill>
                          <a:schemeClr val="tx1"/>
                        </a:solidFill>
                      </a:endParaRPr>
                    </a:p>
                  </a:txBody>
                  <a:tcPr marL="18000" marR="18000" marT="18000" marB="18000">
                    <a:lnL w="12700" cmpd="sng">
                      <a:noFill/>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IN" sz="1100" b="0">
                          <a:solidFill>
                            <a:schemeClr val="tx1"/>
                          </a:solidFill>
                        </a:rPr>
                        <a:t>Expediting LNG terminal approvals and facilitating rapid expansion of 130mtpa (+54%) more capacity by 2031.</a:t>
                      </a:r>
                    </a:p>
                  </a:txBody>
                  <a:tcPr marL="18000" marR="18000" marT="18000" marB="18000">
                    <a:lnL w="12700" cmpd="sng">
                      <a:noFill/>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
                      </a:pPr>
                      <a:endParaRPr lang="en-IN" sz="1100" i="1">
                        <a:solidFill>
                          <a:schemeClr val="tx1"/>
                        </a:solidFill>
                      </a:endParaRPr>
                    </a:p>
                  </a:txBody>
                  <a:tcPr marL="18000" marR="18000" marT="18000" marB="18000">
                    <a:lnL w="12700" cmpd="sng">
                      <a:noFill/>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
                      </a:pPr>
                      <a:endParaRPr lang="en-IN" sz="1100">
                        <a:solidFill>
                          <a:schemeClr val="tx1"/>
                        </a:solidFill>
                      </a:endParaRPr>
                    </a:p>
                  </a:txBody>
                  <a:tcPr marL="18000" marR="18000" marT="18000" marB="18000">
                    <a:lnL w="12700" cmpd="sng">
                      <a:noFill/>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100" b="0"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o new LNG terminals built in the US apart from those that have reached FID or are under construction prior to Harris’ presidency.</a:t>
                      </a:r>
                      <a:endParaRPr lang="en-IN" sz="1100">
                        <a:solidFill>
                          <a:schemeClr val="tx1"/>
                        </a:solidFill>
                      </a:endParaRPr>
                    </a:p>
                  </a:txBody>
                  <a:tcPr marL="18000" marR="18000" marT="18000" marB="18000">
                    <a:lnL w="12700" cmpd="sng">
                      <a:noFill/>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
                      </a:pPr>
                      <a:r>
                        <a:rPr lang="en-IN" sz="1100">
                          <a:solidFill>
                            <a:schemeClr val="tx1"/>
                          </a:solidFill>
                        </a:rPr>
                        <a:t>As </a:t>
                      </a:r>
                      <a:r>
                        <a:rPr lang="en-IN" sz="1100" i="1">
                          <a:solidFill>
                            <a:schemeClr val="tx1"/>
                          </a:solidFill>
                        </a:rPr>
                        <a:t>Harris Presidency</a:t>
                      </a:r>
                    </a:p>
                    <a:p>
                      <a:pPr marL="171450" indent="-171450">
                        <a:buFont typeface="Wingdings" panose="05000000000000000000" pitchFamily="2" charset="2"/>
                        <a:buChar char="§"/>
                      </a:pPr>
                      <a:r>
                        <a:rPr lang="en-IN" sz="1100">
                          <a:solidFill>
                            <a:schemeClr val="tx1"/>
                          </a:solidFill>
                        </a:rPr>
                        <a:t>Additional ban on new oil and gas leases on federal territory.</a:t>
                      </a:r>
                    </a:p>
                  </a:txBody>
                  <a:tcPr marL="18000" marR="18000" marT="18000" marB="18000">
                    <a:lnL w="12700" cmpd="sng">
                      <a:noFill/>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
                      </a:pPr>
                      <a:r>
                        <a:rPr lang="en-IN" sz="1100" i="1">
                          <a:solidFill>
                            <a:schemeClr val="tx1"/>
                          </a:solidFill>
                        </a:rPr>
                        <a:t>As Harris Presidency</a:t>
                      </a:r>
                    </a:p>
                  </a:txBody>
                  <a:tcPr marL="18000" marR="18000" marT="18000" marB="18000">
                    <a:lnL w="12700" cmpd="sng">
                      <a:noFill/>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9457532"/>
                  </a:ext>
                </a:extLst>
              </a:tr>
              <a:tr h="1033990">
                <a:tc>
                  <a:txBody>
                    <a:bodyPr/>
                    <a:lstStyle/>
                    <a:p>
                      <a:pPr algn="ctr"/>
                      <a:endParaRPr lang="en-IN" sz="1200" b="1"/>
                    </a:p>
                    <a:p>
                      <a:pPr algn="ctr"/>
                      <a:r>
                        <a:rPr lang="en-IN" sz="1200" b="1"/>
                        <a:t>Other</a:t>
                      </a:r>
                    </a:p>
                  </a:txBody>
                  <a:tcPr marL="18000" marR="18000" marT="18000" marB="18000">
                    <a:lnL w="12700" cmpd="sng">
                      <a:noFill/>
                    </a:lnL>
                    <a:lnR w="12700" cmpd="sng">
                      <a:noFill/>
                    </a:lnR>
                    <a:lnT w="12700"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IN" sz="1200"/>
                    </a:p>
                  </a:txBody>
                  <a:tcPr marL="18000" marR="18000" marT="18000" marB="180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
                      </a:pPr>
                      <a:endParaRPr lang="en-IN" sz="1100">
                        <a:solidFill>
                          <a:schemeClr val="tx1"/>
                        </a:solidFill>
                      </a:endParaRPr>
                    </a:p>
                  </a:txBody>
                  <a:tcPr marL="18000" marR="18000" marT="18000" marB="18000">
                    <a:lnL w="12700" cmpd="sng">
                      <a:noFill/>
                    </a:lnL>
                    <a:lnR w="12700" cmpd="sng">
                      <a:noFill/>
                    </a:lnR>
                    <a:lnT w="12700"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685783"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IN" sz="1100" b="0">
                        <a:solidFill>
                          <a:schemeClr val="tx1"/>
                        </a:solidFill>
                      </a:endParaRPr>
                    </a:p>
                  </a:txBody>
                  <a:tcPr marL="18000" marR="18000" marT="18000" marB="18000">
                    <a:lnL w="12700" cmpd="sng">
                      <a:noFill/>
                    </a:lnL>
                    <a:lnR w="12700" cmpd="sng">
                      <a:noFill/>
                    </a:lnR>
                    <a:lnT w="12700"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
                      </a:pPr>
                      <a:endParaRPr lang="en-IN" sz="1100">
                        <a:solidFill>
                          <a:schemeClr val="tx1"/>
                        </a:solidFill>
                      </a:endParaRPr>
                    </a:p>
                  </a:txBody>
                  <a:tcPr marL="18000" marR="18000" marT="18000" marB="18000">
                    <a:lnL w="12700" cmpd="sng">
                      <a:noFill/>
                    </a:lnL>
                    <a:lnR w="12700" cmpd="sng">
                      <a:noFill/>
                    </a:lnR>
                    <a:lnT w="12700"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
                      </a:pPr>
                      <a:endParaRPr lang="en-IN" sz="1100">
                        <a:solidFill>
                          <a:schemeClr val="tx1"/>
                        </a:solidFill>
                      </a:endParaRPr>
                    </a:p>
                  </a:txBody>
                  <a:tcPr marL="18000" marR="18000" marT="18000" marB="18000">
                    <a:lnL w="12700" cmpd="sng">
                      <a:noFill/>
                    </a:lnL>
                    <a:lnR w="12700" cmpd="sng">
                      <a:noFill/>
                    </a:lnR>
                    <a:lnT w="12700"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
                      </a:pPr>
                      <a:endParaRPr lang="en-IN" sz="1100">
                        <a:solidFill>
                          <a:schemeClr val="tx1"/>
                        </a:solidFill>
                      </a:endParaRPr>
                    </a:p>
                  </a:txBody>
                  <a:tcPr marL="18000" marR="18000" marT="18000" marB="18000">
                    <a:lnL w="12700" cmpd="sng">
                      <a:noFill/>
                    </a:lnL>
                    <a:lnR w="12700" cmpd="sng">
                      <a:noFill/>
                    </a:lnR>
                    <a:lnT w="12700"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
                      </a:pPr>
                      <a:endParaRPr lang="en-IN" sz="1100">
                        <a:solidFill>
                          <a:schemeClr val="tx1"/>
                        </a:solidFill>
                      </a:endParaRPr>
                    </a:p>
                  </a:txBody>
                  <a:tcPr marL="18000" marR="18000" marT="18000" marB="18000">
                    <a:lnL w="12700" cmpd="sng">
                      <a:noFill/>
                    </a:lnL>
                    <a:lnR w="12700" cmpd="sng">
                      <a:noFill/>
                    </a:lnR>
                    <a:lnT w="12700"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
                      </a:pPr>
                      <a:r>
                        <a:rPr lang="en-IN" sz="1100" i="0">
                          <a:solidFill>
                            <a:schemeClr val="tx1"/>
                          </a:solidFill>
                        </a:rPr>
                        <a:t>Regions with carbon prices</a:t>
                      </a:r>
                      <a:r>
                        <a:rPr lang="en-IN" sz="1100" i="0" baseline="30000">
                          <a:solidFill>
                            <a:schemeClr val="tx1"/>
                          </a:solidFill>
                        </a:rPr>
                        <a:t>4</a:t>
                      </a:r>
                      <a:r>
                        <a:rPr lang="en-IN" sz="1100" i="0">
                          <a:solidFill>
                            <a:schemeClr val="tx1"/>
                          </a:solidFill>
                        </a:rPr>
                        <a:t> see those increase to their respective caps by 2050.</a:t>
                      </a:r>
                    </a:p>
                    <a:p>
                      <a:pPr marL="171450" indent="-171450">
                        <a:buFont typeface="Wingdings" panose="05000000000000000000" pitchFamily="2" charset="2"/>
                        <a:buChar char="§"/>
                      </a:pPr>
                      <a:r>
                        <a:rPr lang="en-IN" sz="1100" i="0">
                          <a:solidFill>
                            <a:schemeClr val="tx1"/>
                          </a:solidFill>
                        </a:rPr>
                        <a:t>Lower coal prices to reflect lower demand for coal due to faster coal plant retirements</a:t>
                      </a:r>
                    </a:p>
                  </a:txBody>
                  <a:tcPr marL="18000" marR="18000" marT="18000" marB="18000">
                    <a:lnL w="12700" cmpd="sng">
                      <a:noFill/>
                    </a:lnL>
                    <a:lnR w="12700" cmpd="sng">
                      <a:noFill/>
                    </a:lnR>
                    <a:lnT w="12700"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33340819"/>
                  </a:ext>
                </a:extLst>
              </a:tr>
            </a:tbl>
          </a:graphicData>
        </a:graphic>
      </p:graphicFrame>
      <p:pic>
        <p:nvPicPr>
          <p:cNvPr id="17" name="Graphic 16" descr="Money outline">
            <a:extLst>
              <a:ext uri="{FF2B5EF4-FFF2-40B4-BE49-F238E27FC236}">
                <a16:creationId xmlns:a16="http://schemas.microsoft.com/office/drawing/2014/main" id="{217660E7-BFBE-D8D4-50E0-A524E692376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15888" y="2520003"/>
            <a:ext cx="495145" cy="495145"/>
          </a:xfrm>
          <a:prstGeom prst="rect">
            <a:avLst/>
          </a:prstGeom>
        </p:spPr>
      </p:pic>
      <p:pic>
        <p:nvPicPr>
          <p:cNvPr id="19" name="Graphic 18" descr="Checklist outline">
            <a:extLst>
              <a:ext uri="{FF2B5EF4-FFF2-40B4-BE49-F238E27FC236}">
                <a16:creationId xmlns:a16="http://schemas.microsoft.com/office/drawing/2014/main" id="{B3C4CE8D-AE82-4B5E-08C9-19B862791B5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90366" y="4630250"/>
            <a:ext cx="520668" cy="520668"/>
          </a:xfrm>
          <a:prstGeom prst="rect">
            <a:avLst/>
          </a:prstGeom>
        </p:spPr>
      </p:pic>
      <p:pic>
        <p:nvPicPr>
          <p:cNvPr id="21" name="Graphic 20" descr="Freight outline">
            <a:extLst>
              <a:ext uri="{FF2B5EF4-FFF2-40B4-BE49-F238E27FC236}">
                <a16:creationId xmlns:a16="http://schemas.microsoft.com/office/drawing/2014/main" id="{6F159F7D-10A0-B5FB-97B5-01AA14237CF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15888" y="3504714"/>
            <a:ext cx="520668" cy="520668"/>
          </a:xfrm>
          <a:prstGeom prst="rect">
            <a:avLst/>
          </a:prstGeom>
        </p:spPr>
      </p:pic>
      <p:cxnSp>
        <p:nvCxnSpPr>
          <p:cNvPr id="7" name="Straight Arrow Connector 6">
            <a:extLst>
              <a:ext uri="{FF2B5EF4-FFF2-40B4-BE49-F238E27FC236}">
                <a16:creationId xmlns:a16="http://schemas.microsoft.com/office/drawing/2014/main" id="{9BED41F2-0E64-F7D8-D211-F6E5EB04688E}"/>
              </a:ext>
            </a:extLst>
          </p:cNvPr>
          <p:cNvCxnSpPr>
            <a:cxnSpLocks/>
          </p:cNvCxnSpPr>
          <p:nvPr/>
        </p:nvCxnSpPr>
        <p:spPr>
          <a:xfrm>
            <a:off x="3141246" y="1637054"/>
            <a:ext cx="2676525" cy="0"/>
          </a:xfrm>
          <a:prstGeom prst="straightConnector1">
            <a:avLst/>
          </a:prstGeom>
          <a:ln>
            <a:solidFill>
              <a:schemeClr val="accent5"/>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DDCFB1C0-09E2-17B0-362B-A3DFE900C4B3}"/>
              </a:ext>
            </a:extLst>
          </p:cNvPr>
          <p:cNvSpPr/>
          <p:nvPr/>
        </p:nvSpPr>
        <p:spPr>
          <a:xfrm>
            <a:off x="4022308" y="1534773"/>
            <a:ext cx="914400" cy="179478"/>
          </a:xfrm>
          <a:prstGeom prst="rect">
            <a:avLst/>
          </a:prstGeom>
          <a:solidFill>
            <a:schemeClr val="bg1"/>
          </a:solidFill>
          <a:ln w="6350">
            <a:solidFill>
              <a:schemeClr val="accent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IN" sz="1200" b="0" i="1" u="none" strike="noStrike" kern="1200" cap="none" spc="0" normalizeH="0" baseline="0" noProof="0">
                <a:ln>
                  <a:noFill/>
                </a:ln>
                <a:solidFill>
                  <a:srgbClr val="838383"/>
                </a:solidFill>
                <a:effectLst/>
                <a:uLnTx/>
                <a:uFillTx/>
                <a:latin typeface="Lato"/>
                <a:ea typeface="+mn-ea"/>
                <a:cs typeface="+mn-cs"/>
              </a:rPr>
              <a:t>Sensitivities</a:t>
            </a:r>
          </a:p>
        </p:txBody>
      </p:sp>
      <p:cxnSp>
        <p:nvCxnSpPr>
          <p:cNvPr id="13" name="Straight Arrow Connector 12">
            <a:extLst>
              <a:ext uri="{FF2B5EF4-FFF2-40B4-BE49-F238E27FC236}">
                <a16:creationId xmlns:a16="http://schemas.microsoft.com/office/drawing/2014/main" id="{AA5FFAB4-E8CA-B982-D11C-24B1107C05E5}"/>
              </a:ext>
            </a:extLst>
          </p:cNvPr>
          <p:cNvCxnSpPr>
            <a:cxnSpLocks/>
          </p:cNvCxnSpPr>
          <p:nvPr/>
        </p:nvCxnSpPr>
        <p:spPr>
          <a:xfrm>
            <a:off x="7934401" y="1637054"/>
            <a:ext cx="3807920" cy="0"/>
          </a:xfrm>
          <a:prstGeom prst="straightConnector1">
            <a:avLst/>
          </a:prstGeom>
          <a:ln>
            <a:solidFill>
              <a:schemeClr val="accent5"/>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08E6F7D3-45E4-D9F1-E89D-2AF5A36B76A4}"/>
              </a:ext>
            </a:extLst>
          </p:cNvPr>
          <p:cNvSpPr/>
          <p:nvPr/>
        </p:nvSpPr>
        <p:spPr>
          <a:xfrm>
            <a:off x="9381161" y="1534773"/>
            <a:ext cx="914400" cy="179478"/>
          </a:xfrm>
          <a:prstGeom prst="rect">
            <a:avLst/>
          </a:prstGeom>
          <a:solidFill>
            <a:schemeClr val="bg1"/>
          </a:solidFill>
          <a:ln w="6350">
            <a:solidFill>
              <a:schemeClr val="accent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IN" sz="1200" b="0" i="1" u="none" strike="noStrike" kern="1200" cap="none" spc="0" normalizeH="0" baseline="0" noProof="0">
                <a:ln>
                  <a:noFill/>
                </a:ln>
                <a:solidFill>
                  <a:srgbClr val="838383"/>
                </a:solidFill>
                <a:effectLst/>
                <a:uLnTx/>
                <a:uFillTx/>
                <a:latin typeface="Lato"/>
                <a:ea typeface="+mn-ea"/>
                <a:cs typeface="+mn-cs"/>
              </a:rPr>
              <a:t>Sensitivities</a:t>
            </a:r>
          </a:p>
        </p:txBody>
      </p:sp>
      <p:pic>
        <p:nvPicPr>
          <p:cNvPr id="27" name="Graphic 26" descr="Bar chart outline">
            <a:extLst>
              <a:ext uri="{FF2B5EF4-FFF2-40B4-BE49-F238E27FC236}">
                <a16:creationId xmlns:a16="http://schemas.microsoft.com/office/drawing/2014/main" id="{3B25A1C8-9ABE-52BF-0870-A7A319B1FF4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78469" y="5753103"/>
            <a:ext cx="573900" cy="573900"/>
          </a:xfrm>
          <a:prstGeom prst="rect">
            <a:avLst/>
          </a:prstGeom>
        </p:spPr>
      </p:pic>
      <p:sp>
        <p:nvSpPr>
          <p:cNvPr id="18" name="Text Placeholder 1">
            <a:extLst>
              <a:ext uri="{FF2B5EF4-FFF2-40B4-BE49-F238E27FC236}">
                <a16:creationId xmlns:a16="http://schemas.microsoft.com/office/drawing/2014/main" id="{12D0292D-6D0C-4169-9DA7-514AB339E74F}"/>
              </a:ext>
            </a:extLst>
          </p:cNvPr>
          <p:cNvSpPr>
            <a:spLocks noGrp="1"/>
          </p:cNvSpPr>
          <p:nvPr>
            <p:ph type="body" sz="quarter" idx="22"/>
          </p:nvPr>
        </p:nvSpPr>
        <p:spPr>
          <a:xfrm>
            <a:off x="381001" y="6716802"/>
            <a:ext cx="1500411" cy="111125"/>
          </a:xfrm>
        </p:spPr>
        <p:txBody>
          <a:bodyPr>
            <a:spAutoFit/>
          </a:bodyPr>
          <a:lstStyle/>
          <a:p>
            <a:r>
              <a:rPr lang="en-GB"/>
              <a:t>Sources: Aurora Energy Research</a:t>
            </a:r>
            <a:endParaRPr lang="en-US"/>
          </a:p>
        </p:txBody>
      </p:sp>
      <p:sp>
        <p:nvSpPr>
          <p:cNvPr id="2" name="Text Placeholder 2">
            <a:extLst>
              <a:ext uri="{FF2B5EF4-FFF2-40B4-BE49-F238E27FC236}">
                <a16:creationId xmlns:a16="http://schemas.microsoft.com/office/drawing/2014/main" id="{DC32683A-A364-9744-8E5F-5B6605DCD5C1}"/>
              </a:ext>
            </a:extLst>
          </p:cNvPr>
          <p:cNvSpPr txBox="1">
            <a:spLocks/>
          </p:cNvSpPr>
          <p:nvPr/>
        </p:nvSpPr>
        <p:spPr>
          <a:xfrm>
            <a:off x="388693" y="82904"/>
            <a:ext cx="1542410" cy="184666"/>
          </a:xfrm>
          <a:prstGeom prst="rect">
            <a:avLst/>
          </a:prstGeom>
        </p:spPr>
        <p:txBody>
          <a:bodyPr vert="horz" wrap="none" lIns="0" tIns="0" rIns="0" bIns="0"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3838" marR="0" lvl="0" indent="-223838" algn="l" defTabSz="685783" rtl="0" eaLnBrk="1" fontAlgn="auto" latinLnBrk="0" hangingPunct="1">
              <a:lnSpc>
                <a:spcPct val="100000"/>
              </a:lnSpc>
              <a:spcBef>
                <a:spcPts val="0"/>
              </a:spcBef>
              <a:spcAft>
                <a:spcPts val="0"/>
              </a:spcAft>
              <a:buClrTx/>
              <a:buSzTx/>
              <a:buFont typeface="Wingdings" panose="05000000000000000000" pitchFamily="2" charset="2"/>
              <a:buNone/>
              <a:tabLst>
                <a:tab pos="452438" algn="l"/>
              </a:tabLst>
              <a:defRPr/>
            </a:pPr>
            <a:r>
              <a:rPr kumimoji="0" lang="en-AU" sz="1200" b="0" i="0" u="none" strike="noStrike" kern="1200" cap="none" spc="0" normalizeH="0" baseline="0" noProof="0">
                <a:ln>
                  <a:noFill/>
                </a:ln>
                <a:solidFill>
                  <a:srgbClr val="838383"/>
                </a:solidFill>
                <a:effectLst/>
                <a:uLnTx/>
                <a:uFillTx/>
                <a:latin typeface="Lato" panose="020F0502020204030203" pitchFamily="34" charset="0"/>
                <a:ea typeface="+mn-ea"/>
                <a:cs typeface="+mn-cs"/>
                <a:sym typeface="Lato" panose="020F0502020204030203" pitchFamily="34" charset="0"/>
              </a:rPr>
              <a:t>	Executive summary</a:t>
            </a:r>
            <a:endParaRPr kumimoji="0" lang="en-GB" sz="1200" b="0" i="0" u="none" strike="noStrike" kern="1200" cap="none" spc="0" normalizeH="0" baseline="0" noProof="0">
              <a:ln>
                <a:noFill/>
              </a:ln>
              <a:solidFill>
                <a:srgbClr val="838383"/>
              </a:solidFill>
              <a:effectLst/>
              <a:uLnTx/>
              <a:uFillTx/>
              <a:latin typeface="Lato" panose="020F0502020204030203" pitchFamily="34" charset="0"/>
              <a:ea typeface="+mn-ea"/>
              <a:cs typeface="+mn-cs"/>
              <a:sym typeface="Lato" panose="020F0502020204030203" pitchFamily="34" charset="0"/>
            </a:endParaRPr>
          </a:p>
        </p:txBody>
      </p:sp>
      <p:sp>
        <p:nvSpPr>
          <p:cNvPr id="8" name="Oval 7">
            <a:extLst>
              <a:ext uri="{FF2B5EF4-FFF2-40B4-BE49-F238E27FC236}">
                <a16:creationId xmlns:a16="http://schemas.microsoft.com/office/drawing/2014/main" id="{F7767874-98E7-DAEA-AFAE-CF8BF73DF4BF}"/>
              </a:ext>
            </a:extLst>
          </p:cNvPr>
          <p:cNvSpPr/>
          <p:nvPr/>
        </p:nvSpPr>
        <p:spPr>
          <a:xfrm>
            <a:off x="388094" y="84467"/>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a:t>
            </a:r>
          </a:p>
        </p:txBody>
      </p:sp>
    </p:spTree>
    <p:extLst>
      <p:ext uri="{BB962C8B-B14F-4D97-AF65-F5344CB8AC3E}">
        <p14:creationId xmlns:p14="http://schemas.microsoft.com/office/powerpoint/2010/main" val="34539925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798016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83" imgH="384" progId="TCLayout.ActiveDocument.1">
                  <p:embed/>
                </p:oleObj>
              </mc:Choice>
              <mc:Fallback>
                <p:oleObj name="think-cell Slide" r:id="rId21" imgW="383" imgH="384" progId="TCLayout.ActiveDocument.1">
                  <p:embed/>
                  <p:pic>
                    <p:nvPicPr>
                      <p:cNvPr id="7" name="Object 6" hidden="1"/>
                      <p:cNvPicPr/>
                      <p:nvPr/>
                    </p:nvPicPr>
                    <p:blipFill>
                      <a:blip r:embed="rId22"/>
                      <a:stretch>
                        <a:fillRect/>
                      </a:stretch>
                    </p:blipFill>
                    <p:spPr>
                      <a:xfrm>
                        <a:off x="1588" y="1588"/>
                        <a:ext cx="1588" cy="1588"/>
                      </a:xfrm>
                      <a:prstGeom prst="rect">
                        <a:avLst/>
                      </a:prstGeom>
                    </p:spPr>
                  </p:pic>
                </p:oleObj>
              </mc:Fallback>
            </mc:AlternateContent>
          </a:graphicData>
        </a:graphic>
      </p:graphicFrame>
      <p:cxnSp>
        <p:nvCxnSpPr>
          <p:cNvPr id="2" name="Straight Connector 1">
            <a:extLst>
              <a:ext uri="{FF2B5EF4-FFF2-40B4-BE49-F238E27FC236}">
                <a16:creationId xmlns:a16="http://schemas.microsoft.com/office/drawing/2014/main" id="{3A06CF9C-85E8-8291-FBD3-8A65D5E0E187}"/>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6" name="Rectangle 5" hidden="1"/>
          <p:cNvSpPr/>
          <p:nvPr>
            <p:custDataLst>
              <p:tags r:id="rId2"/>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22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 name="Title 2"/>
          <p:cNvSpPr>
            <a:spLocks noGrp="1"/>
          </p:cNvSpPr>
          <p:nvPr>
            <p:ph type="title"/>
          </p:nvPr>
        </p:nvSpPr>
        <p:spPr>
          <a:xfrm>
            <a:off x="381598" y="411856"/>
            <a:ext cx="9733951" cy="609398"/>
          </a:xfrm>
        </p:spPr>
        <p:txBody>
          <a:bodyPr vert="horz"/>
          <a:lstStyle/>
          <a:p>
            <a:r>
              <a:rPr lang="en-GB"/>
              <a:t>Aurora forecasts that, while US natural gas flows will markedly shift under either presidential candidate, impacts on Henry Hub gas prices will be minimal</a:t>
            </a:r>
          </a:p>
        </p:txBody>
      </p:sp>
      <p:graphicFrame>
        <p:nvGraphicFramePr>
          <p:cNvPr id="9" name="Tabelle 7">
            <a:extLst>
              <a:ext uri="{FF2B5EF4-FFF2-40B4-BE49-F238E27FC236}">
                <a16:creationId xmlns:a16="http://schemas.microsoft.com/office/drawing/2014/main" id="{3123EFC3-86AA-4AC9-BFEB-F34E5A0D555D}"/>
              </a:ext>
            </a:extLst>
          </p:cNvPr>
          <p:cNvGraphicFramePr>
            <a:graphicFrameLocks noGrp="1"/>
          </p:cNvGraphicFramePr>
          <p:nvPr>
            <p:custDataLst>
              <p:tags r:id="rId3"/>
            </p:custDataLst>
            <p:extLst>
              <p:ext uri="{D42A27DB-BD31-4B8C-83A1-F6EECF244321}">
                <p14:modId xmlns:p14="http://schemas.microsoft.com/office/powerpoint/2010/main" val="2260679456"/>
              </p:ext>
            </p:extLst>
          </p:nvPr>
        </p:nvGraphicFramePr>
        <p:xfrm>
          <a:off x="380887" y="1689267"/>
          <a:ext cx="11442814" cy="4740944"/>
        </p:xfrm>
        <a:graphic>
          <a:graphicData uri="http://schemas.openxmlformats.org/drawingml/2006/table">
            <a:tbl>
              <a:tblPr firstRow="1" bandRow="1">
                <a:effectLst/>
                <a:tableStyleId>{5C22544A-7EE6-4342-B048-85BDC9FD1C3A}</a:tableStyleId>
              </a:tblPr>
              <a:tblGrid>
                <a:gridCol w="414719">
                  <a:extLst>
                    <a:ext uri="{9D8B030D-6E8A-4147-A177-3AD203B41FA5}">
                      <a16:colId xmlns:a16="http://schemas.microsoft.com/office/drawing/2014/main" val="2263021410"/>
                    </a:ext>
                  </a:extLst>
                </a:gridCol>
                <a:gridCol w="1285354">
                  <a:extLst>
                    <a:ext uri="{9D8B030D-6E8A-4147-A177-3AD203B41FA5}">
                      <a16:colId xmlns:a16="http://schemas.microsoft.com/office/drawing/2014/main" val="20000"/>
                    </a:ext>
                  </a:extLst>
                </a:gridCol>
                <a:gridCol w="482027">
                  <a:extLst>
                    <a:ext uri="{9D8B030D-6E8A-4147-A177-3AD203B41FA5}">
                      <a16:colId xmlns:a16="http://schemas.microsoft.com/office/drawing/2014/main" val="2133620686"/>
                    </a:ext>
                  </a:extLst>
                </a:gridCol>
                <a:gridCol w="4350792">
                  <a:extLst>
                    <a:ext uri="{9D8B030D-6E8A-4147-A177-3AD203B41FA5}">
                      <a16:colId xmlns:a16="http://schemas.microsoft.com/office/drawing/2014/main" val="20001"/>
                    </a:ext>
                  </a:extLst>
                </a:gridCol>
                <a:gridCol w="399733">
                  <a:extLst>
                    <a:ext uri="{9D8B030D-6E8A-4147-A177-3AD203B41FA5}">
                      <a16:colId xmlns:a16="http://schemas.microsoft.com/office/drawing/2014/main" val="3666761330"/>
                    </a:ext>
                  </a:extLst>
                </a:gridCol>
                <a:gridCol w="4510189">
                  <a:extLst>
                    <a:ext uri="{9D8B030D-6E8A-4147-A177-3AD203B41FA5}">
                      <a16:colId xmlns:a16="http://schemas.microsoft.com/office/drawing/2014/main" val="20002"/>
                    </a:ext>
                  </a:extLst>
                </a:gridCol>
              </a:tblGrid>
              <a:tr h="481859">
                <a:tc>
                  <a:txBody>
                    <a:bodyPr/>
                    <a:lstStyle/>
                    <a:p>
                      <a:pPr algn="ctr">
                        <a:spcBef>
                          <a:spcPts val="0"/>
                        </a:spcBef>
                      </a:pPr>
                      <a:endPar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72000" marR="54000" marT="72000" marB="36000">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spcBef>
                          <a:spcPts val="0"/>
                        </a:spcBef>
                      </a:pPr>
                      <a:r>
                        <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enario</a:t>
                      </a:r>
                    </a:p>
                  </a:txBody>
                  <a:tcPr marL="72000" marR="54000" marT="72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spcBef>
                          <a:spcPts val="0"/>
                        </a:spcBef>
                      </a:pPr>
                      <a:endPar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685783"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50% tariff on Chinese imports and 10% tariff on the rest of the world</a:t>
                      </a:r>
                      <a:r>
                        <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s per Trump’s proposal.</a:t>
                      </a:r>
                    </a:p>
                  </a:txBody>
                  <a:tcPr marL="0" marR="14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685783" rtl="0" eaLnBrk="1" fontAlgn="auto" latinLnBrk="0" hangingPunct="1">
                        <a:lnSpc>
                          <a:spcPct val="100000"/>
                        </a:lnSpc>
                        <a:spcBef>
                          <a:spcPts val="600"/>
                        </a:spcBef>
                        <a:spcAft>
                          <a:spcPts val="0"/>
                        </a:spcAft>
                        <a:buClrTx/>
                        <a:buSzTx/>
                        <a:buFont typeface="Wingdings" panose="05000000000000000000" pitchFamily="2" charset="2"/>
                        <a:buChar char="§"/>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14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685783"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o new build LNG terminals in the US </a:t>
                      </a:r>
                      <a:r>
                        <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yond existing and under construction terminals, due to stricter emissions criteria.</a:t>
                      </a:r>
                    </a:p>
                  </a:txBody>
                  <a:tcPr marL="0" marR="144000" marT="72000" marB="360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76177491"/>
                  </a:ext>
                </a:extLst>
              </a:tr>
              <a:tr h="295853">
                <a:tc>
                  <a:txBody>
                    <a:bodyPr/>
                    <a:lstStyle/>
                    <a:p>
                      <a:pPr algn="ctr" rtl="0">
                        <a:spcBef>
                          <a:spcPts val="0"/>
                        </a:spcBef>
                      </a:pPr>
                      <a:endPar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72000" marR="54000" marT="72000" marB="36000">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5">
                  <a:txBody>
                    <a:bodyPr/>
                    <a:lstStyle/>
                    <a:p>
                      <a:pPr marL="0" marR="0" lvl="0" indent="0" algn="ctr" defTabSz="685783"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200" b="1" i="1" u="none" strike="noStrike" kern="1200" cap="none" spc="0" normalizeH="0" baseline="0" noProof="0">
                          <a:ln>
                            <a:noFill/>
                          </a:ln>
                          <a:solidFill>
                            <a:schemeClr val="tx1"/>
                          </a:solidFill>
                          <a:effectLst/>
                          <a:uLnTx/>
                          <a:uFillTx/>
                          <a:latin typeface="Lato" panose="020F0502020204030203" pitchFamily="34" charset="0"/>
                          <a:sym typeface="Lato" panose="020F0502020204030203" pitchFamily="34" charset="0"/>
                        </a:rPr>
                        <a:t>Modelling outcomes</a:t>
                      </a:r>
                    </a:p>
                  </a:txBody>
                  <a:tcPr marL="72000" marR="54000" marT="72000" marB="36000" anchor="ctr">
                    <a:lnL w="2857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rtl="0">
                        <a:spcBef>
                          <a:spcPts val="0"/>
                        </a:spcBef>
                      </a:pPr>
                      <a:endPar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a:p>
                  </a:txBody>
                  <a:tcPr marL="0" marR="14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182880" marR="0" lvl="0" indent="-182880" algn="l" defTabSz="685783" rtl="0" eaLnBrk="1" fontAlgn="auto" latinLnBrk="0" hangingPunct="1">
                        <a:lnSpc>
                          <a:spcPct val="100000"/>
                        </a:lnSpc>
                        <a:spcBef>
                          <a:spcPts val="600"/>
                        </a:spcBef>
                        <a:spcAft>
                          <a:spcPts val="0"/>
                        </a:spcAft>
                        <a:buClrTx/>
                        <a:buSzTx/>
                        <a:buFont typeface="Wingdings" panose="05000000000000000000" pitchFamily="2" charset="2"/>
                        <a:buChar char="§"/>
                        <a:tabLst/>
                        <a:defRPr/>
                      </a:pPr>
                      <a:endParaRPr kumimoji="0" lang="en-GB" sz="1200" b="0"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14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171450" marR="0" lvl="0" indent="-171450" algn="l" defTabSz="685783" rtl="0" eaLnBrk="1" fontAlgn="auto" latinLnBrk="0" hangingPunct="1">
                        <a:lnSpc>
                          <a:spcPct val="100000"/>
                        </a:lnSpc>
                        <a:spcBef>
                          <a:spcPts val="600"/>
                        </a:spcBef>
                        <a:spcAft>
                          <a:spcPts val="0"/>
                        </a:spcAft>
                        <a:buClrTx/>
                        <a:buSzTx/>
                        <a:buFont typeface="Wingdings" panose="05000000000000000000" pitchFamily="2" charset="2"/>
                        <a:buChar char="§"/>
                        <a:tabLst/>
                        <a:defRPr/>
                      </a:pPr>
                      <a:endParaRPr kumimoji="0" lang="en-GB" sz="1200" b="0"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14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08593862"/>
                  </a:ext>
                </a:extLst>
              </a:tr>
              <a:tr h="931375">
                <a:tc>
                  <a:txBody>
                    <a:bodyPr/>
                    <a:lstStyle/>
                    <a:p>
                      <a:pPr algn="ctr" rtl="0">
                        <a:spcBef>
                          <a:spcPts val="0"/>
                        </a:spcBef>
                      </a:pPr>
                      <a:endPar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72000" marR="54000" marT="72000" marB="36000">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spcBef>
                          <a:spcPts val="0"/>
                        </a:spcBef>
                      </a:pPr>
                      <a:r>
                        <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as demand</a:t>
                      </a:r>
                    </a:p>
                  </a:txBody>
                  <a:tcPr marL="72000" marR="54000" marT="72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spcBef>
                          <a:spcPts val="0"/>
                        </a:spcBef>
                      </a:pPr>
                      <a:endPar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685783"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200" b="0"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rump tariffs encourage consumer switching and buildout of domestic industries, </a:t>
                      </a:r>
                      <a:r>
                        <a:rPr kumimoji="0" lang="en-GB" sz="1200" b="1"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creasing US gas demand </a:t>
                      </a:r>
                      <a:r>
                        <a:rPr kumimoji="0" lang="en-GB" sz="1200" b="1" i="0" u="none" strike="noStrike" kern="1200" cap="none" spc="0" normalizeH="0" baseline="0" noProof="0">
                          <a:ln>
                            <a:noFill/>
                          </a:ln>
                          <a:solidFill>
                            <a:schemeClr val="accent5"/>
                          </a:solidFill>
                          <a:effectLst/>
                          <a:highlight>
                            <a:srgbClr val="808080"/>
                          </a:highligh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XX</a:t>
                      </a:r>
                      <a:r>
                        <a:rPr kumimoji="0" lang="en-GB" sz="1200" b="1"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by 2040</a:t>
                      </a:r>
                      <a:r>
                        <a:rPr kumimoji="0" lang="en-GB" sz="1200" b="0"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p>
                    <a:p>
                      <a:pPr marL="0" marR="0" lvl="0" indent="0" algn="l" defTabSz="685783"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200" b="0"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rade flows from China to the US decrease, depressing Chinese gas demand growth.</a:t>
                      </a:r>
                    </a:p>
                  </a:txBody>
                  <a:tcPr marL="0" marR="14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880" marR="0" lvl="0" indent="-182880" algn="l" defTabSz="685783" rtl="0" eaLnBrk="1" fontAlgn="auto" latinLnBrk="0" hangingPunct="1">
                        <a:lnSpc>
                          <a:spcPct val="100000"/>
                        </a:lnSpc>
                        <a:spcBef>
                          <a:spcPts val="600"/>
                        </a:spcBef>
                        <a:spcAft>
                          <a:spcPts val="0"/>
                        </a:spcAft>
                        <a:buClrTx/>
                        <a:buSzTx/>
                        <a:buFont typeface="Wingdings" panose="05000000000000000000" pitchFamily="2" charset="2"/>
                        <a:buChar char="§"/>
                        <a:tabLst/>
                        <a:defRPr/>
                      </a:pPr>
                      <a:endParaRPr kumimoji="0" lang="en-GB" sz="1200" b="0"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14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rtl="0" eaLnBrk="1" fontAlgn="auto" latinLnBrk="0" hangingPunct="1">
                        <a:lnSpc>
                          <a:spcPct val="100000"/>
                        </a:lnSpc>
                        <a:spcBef>
                          <a:spcPts val="600"/>
                        </a:spcBef>
                        <a:spcAft>
                          <a:spcPts val="0"/>
                        </a:spcAft>
                        <a:buClrTx/>
                        <a:buSzTx/>
                        <a:buFont typeface="Wingdings" panose="05000000000000000000" pitchFamily="2" charset="2"/>
                        <a:buNone/>
                      </a:pPr>
                      <a:r>
                        <a:rPr lang="en-GB" sz="1200" b="0" i="0" u="none" strike="noStrike" kern="1200" cap="none" spc="0" normalizeH="0" baseline="0" noProof="0">
                          <a:ln>
                            <a:noFill/>
                          </a:ln>
                          <a:solidFill>
                            <a:schemeClr val="tx1"/>
                          </a:solidFill>
                          <a:effectLst/>
                          <a:uLnTx/>
                          <a:uFillTx/>
                          <a:latin typeface="Lato"/>
                          <a:ea typeface="Lato"/>
                          <a:cs typeface="Lato"/>
                        </a:rPr>
                        <a:t>No change from Central</a:t>
                      </a:r>
                      <a:endParaRPr kumimoji="0" lang="en-US">
                        <a:sym typeface="Lato" panose="020F0502020204030203" pitchFamily="34" charset="0"/>
                      </a:endParaRPr>
                    </a:p>
                  </a:txBody>
                  <a:tcPr marL="0" marR="144000" marT="72000" marB="360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28508652"/>
                  </a:ext>
                </a:extLst>
              </a:tr>
              <a:tr h="481859">
                <a:tc>
                  <a:txBody>
                    <a:bodyPr/>
                    <a:lstStyle/>
                    <a:p>
                      <a:pPr algn="ctr" rtl="0">
                        <a:spcBef>
                          <a:spcPts val="0"/>
                        </a:spcBef>
                      </a:pPr>
                      <a:endPar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72000" marR="54000" marT="72000" marB="36000">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spcBef>
                          <a:spcPts val="0"/>
                        </a:spcBef>
                      </a:pPr>
                      <a:r>
                        <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S LNG exports</a:t>
                      </a:r>
                    </a:p>
                  </a:txBody>
                  <a:tcPr marL="72000" marR="54000" marT="72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spcBef>
                          <a:spcPts val="0"/>
                        </a:spcBef>
                      </a:pPr>
                      <a:endPar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685783"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200" b="0"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rump tariffs </a:t>
                      </a:r>
                      <a:r>
                        <a:rPr kumimoji="0" lang="en-GB" sz="1200" b="1"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educe international demand for US LNG exports </a:t>
                      </a:r>
                      <a:r>
                        <a:rPr kumimoji="0" lang="en-GB" sz="1200" b="1" i="0" u="none" strike="noStrike" kern="1200" cap="none" spc="0" normalizeH="0" baseline="0" noProof="0">
                          <a:ln>
                            <a:noFill/>
                          </a:ln>
                          <a:solidFill>
                            <a:schemeClr val="accent5"/>
                          </a:solidFill>
                          <a:effectLst/>
                          <a:highlight>
                            <a:srgbClr val="808080"/>
                          </a:highligh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XX</a:t>
                      </a:r>
                      <a:r>
                        <a:rPr kumimoji="0" lang="en-GB" sz="1200" b="1"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by 2040</a:t>
                      </a:r>
                      <a:r>
                        <a:rPr kumimoji="0" lang="en-GB" sz="1200" b="0"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particularly from China.</a:t>
                      </a:r>
                    </a:p>
                  </a:txBody>
                  <a:tcPr marL="0" marR="14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685783" rtl="0" eaLnBrk="1" fontAlgn="auto" latinLnBrk="0" hangingPunct="1">
                        <a:lnSpc>
                          <a:spcPct val="100000"/>
                        </a:lnSpc>
                        <a:spcBef>
                          <a:spcPts val="600"/>
                        </a:spcBef>
                        <a:spcAft>
                          <a:spcPts val="0"/>
                        </a:spcAft>
                        <a:buClrTx/>
                        <a:buSzTx/>
                        <a:buFont typeface="Wingdings" panose="05000000000000000000" pitchFamily="2" charset="2"/>
                        <a:buNone/>
                        <a:tabLst/>
                        <a:defRPr/>
                      </a:pPr>
                      <a:endParaRPr kumimoji="0" lang="en-GB" sz="1200" b="0"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14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685783"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200" b="0"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straining LNG buildout </a:t>
                      </a:r>
                      <a:r>
                        <a:rPr kumimoji="0" lang="en-GB" sz="1200" b="1"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mits availability of US export volumes </a:t>
                      </a:r>
                      <a:r>
                        <a:rPr kumimoji="0" lang="en-GB" sz="1200" b="1" i="0" u="none" strike="noStrike" kern="1200" cap="none" spc="0" normalizeH="0" baseline="0" noProof="0">
                          <a:ln>
                            <a:noFill/>
                          </a:ln>
                          <a:solidFill>
                            <a:schemeClr val="accent5"/>
                          </a:solidFill>
                          <a:effectLst/>
                          <a:highlight>
                            <a:srgbClr val="808080"/>
                          </a:highligh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XX</a:t>
                      </a:r>
                      <a:r>
                        <a:rPr kumimoji="0" lang="en-GB" sz="1200" b="1"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by 2040</a:t>
                      </a:r>
                      <a:r>
                        <a:rPr kumimoji="0" lang="en-GB" sz="1200" b="0"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hindering Asia's coal to gas transition</a:t>
                      </a:r>
                    </a:p>
                  </a:txBody>
                  <a:tcPr marL="0" marR="144000" marT="72000" marB="360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95538039"/>
                  </a:ext>
                </a:extLst>
              </a:tr>
              <a:tr h="481859">
                <a:tc>
                  <a:txBody>
                    <a:bodyPr/>
                    <a:lstStyle/>
                    <a:p>
                      <a:pPr algn="ctr" rtl="0">
                        <a:spcBef>
                          <a:spcPts val="0"/>
                        </a:spcBef>
                      </a:pPr>
                      <a:endPar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72000" marR="54000" marT="72000" marB="36000">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spcBef>
                          <a:spcPts val="0"/>
                        </a:spcBef>
                      </a:pPr>
                      <a:r>
                        <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S gas production</a:t>
                      </a:r>
                    </a:p>
                  </a:txBody>
                  <a:tcPr marL="72000" marR="54000" marT="72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spcBef>
                          <a:spcPts val="0"/>
                        </a:spcBef>
                      </a:pPr>
                      <a:endPar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685783"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200" b="0"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o significant change from Central.</a:t>
                      </a:r>
                    </a:p>
                  </a:txBody>
                  <a:tcPr marL="0" marR="14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880" marR="0" lvl="0" indent="-182880" algn="l" defTabSz="685783" rtl="0" eaLnBrk="1" fontAlgn="auto" latinLnBrk="0" hangingPunct="1">
                        <a:lnSpc>
                          <a:spcPct val="100000"/>
                        </a:lnSpc>
                        <a:spcBef>
                          <a:spcPts val="600"/>
                        </a:spcBef>
                        <a:spcAft>
                          <a:spcPts val="0"/>
                        </a:spcAft>
                        <a:buClrTx/>
                        <a:buSzTx/>
                        <a:buFont typeface="Wingdings" panose="05000000000000000000" pitchFamily="2" charset="2"/>
                        <a:buChar char="§"/>
                        <a:tabLst/>
                        <a:defRPr/>
                      </a:pPr>
                      <a:endParaRPr kumimoji="0" lang="en-GB" sz="1200" b="0"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14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685783"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roduction is marginally lower </a:t>
                      </a:r>
                      <a:r>
                        <a:rPr kumimoji="0" lang="en-GB" sz="1200" b="0"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ue to lower international demand for US gas.</a:t>
                      </a:r>
                    </a:p>
                  </a:txBody>
                  <a:tcPr marL="0" marR="144000" marT="72000" marB="360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41542867"/>
                  </a:ext>
                </a:extLst>
              </a:tr>
              <a:tr h="481859">
                <a:tc>
                  <a:txBody>
                    <a:bodyPr/>
                    <a:lstStyle/>
                    <a:p>
                      <a:pPr algn="ctr" rtl="0">
                        <a:spcBef>
                          <a:spcPts val="0"/>
                        </a:spcBef>
                      </a:pPr>
                      <a:endPar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72000" marR="54000" marT="72000" marB="36000">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spcBef>
                          <a:spcPts val="0"/>
                        </a:spcBef>
                      </a:pPr>
                      <a:r>
                        <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ipeline flows</a:t>
                      </a:r>
                    </a:p>
                  </a:txBody>
                  <a:tcPr marL="72000" marR="54000" marT="72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spcBef>
                          <a:spcPts val="0"/>
                        </a:spcBef>
                      </a:pPr>
                      <a:endPar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685783"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et Canadian imports increase by </a:t>
                      </a:r>
                      <a:r>
                        <a:rPr kumimoji="0" lang="en-GB" sz="1200" b="1" i="0" u="none" strike="noStrike" kern="1200" cap="none" spc="0" normalizeH="0" baseline="0" noProof="0">
                          <a:ln>
                            <a:noFill/>
                          </a:ln>
                          <a:solidFill>
                            <a:schemeClr val="accent5"/>
                          </a:solidFill>
                          <a:effectLst/>
                          <a:highlight>
                            <a:srgbClr val="808080"/>
                          </a:highligh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XX</a:t>
                      </a:r>
                      <a:r>
                        <a:rPr kumimoji="0" lang="en-GB" sz="1200" b="1"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by 2040 </a:t>
                      </a:r>
                      <a:r>
                        <a:rPr kumimoji="0" lang="en-GB" sz="1200" b="0"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o supply additional domestic demand in the North.</a:t>
                      </a:r>
                    </a:p>
                  </a:txBody>
                  <a:tcPr marL="0" marR="14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880" marR="0" lvl="0" indent="-182880" algn="l" defTabSz="685783" rtl="0" eaLnBrk="1" fontAlgn="auto" latinLnBrk="0" hangingPunct="1">
                        <a:lnSpc>
                          <a:spcPct val="100000"/>
                        </a:lnSpc>
                        <a:spcBef>
                          <a:spcPts val="600"/>
                        </a:spcBef>
                        <a:spcAft>
                          <a:spcPts val="0"/>
                        </a:spcAft>
                        <a:buClrTx/>
                        <a:buSzTx/>
                        <a:buFont typeface="Wingdings" panose="05000000000000000000" pitchFamily="2" charset="2"/>
                        <a:buChar char="§"/>
                        <a:tabLst/>
                        <a:defRPr/>
                      </a:pPr>
                      <a:endParaRPr kumimoji="0" lang="en-GB" sz="1200" b="0"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14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685783"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et Canadian imports fall by </a:t>
                      </a:r>
                      <a:r>
                        <a:rPr kumimoji="0" lang="en-GB" sz="1200" b="1" i="0" u="none" strike="noStrike" kern="1200" cap="none" spc="0" normalizeH="0" baseline="0" noProof="0">
                          <a:ln>
                            <a:noFill/>
                          </a:ln>
                          <a:solidFill>
                            <a:schemeClr val="accent5"/>
                          </a:solidFill>
                          <a:effectLst/>
                          <a:highlight>
                            <a:srgbClr val="808080"/>
                          </a:highligh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XX</a:t>
                      </a:r>
                      <a:r>
                        <a:rPr kumimoji="0" lang="en-GB" sz="12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by 2040.</a:t>
                      </a:r>
                    </a:p>
                  </a:txBody>
                  <a:tcPr marL="0" marR="144000" marT="72000" marB="360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480932"/>
                  </a:ext>
                </a:extLst>
              </a:tr>
              <a:tr h="1313454">
                <a:tc>
                  <a:txBody>
                    <a:bodyPr/>
                    <a:lstStyle/>
                    <a:p>
                      <a:pPr algn="ctr" rtl="0">
                        <a:spcBef>
                          <a:spcPts val="0"/>
                        </a:spcBef>
                      </a:pPr>
                      <a:endPar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72000" marR="54000" marT="72000" marB="36000">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spcBef>
                          <a:spcPts val="0"/>
                        </a:spcBef>
                      </a:pPr>
                      <a:r>
                        <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enry Hub gas price</a:t>
                      </a:r>
                    </a:p>
                  </a:txBody>
                  <a:tcPr marL="72000" marR="54000" marT="72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spcBef>
                          <a:spcPts val="0"/>
                        </a:spcBef>
                      </a:pPr>
                      <a:endPar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685783" rtl="0" eaLnBrk="1" fontAlgn="auto" latinLnBrk="0" hangingPunct="1">
                        <a:lnSpc>
                          <a:spcPct val="100000"/>
                        </a:lnSpc>
                        <a:spcBef>
                          <a:spcPts val="600"/>
                        </a:spcBef>
                        <a:spcAft>
                          <a:spcPts val="0"/>
                        </a:spcAft>
                        <a:buClrTx/>
                        <a:buSzTx/>
                        <a:buFont typeface="Wingdings" panose="05000000000000000000" pitchFamily="2" charset="2"/>
                        <a:buNone/>
                        <a:tabLst/>
                        <a:defRPr/>
                      </a:pPr>
                      <a:endParaRPr kumimoji="0" lang="en-GB" sz="1200" b="0"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marL="0" marR="0" lvl="0" indent="0" algn="l" defTabSz="685783" rtl="0" eaLnBrk="1" fontAlgn="auto" latinLnBrk="0" hangingPunct="1">
                        <a:lnSpc>
                          <a:spcPct val="100000"/>
                        </a:lnSpc>
                        <a:spcBef>
                          <a:spcPts val="600"/>
                        </a:spcBef>
                        <a:spcAft>
                          <a:spcPts val="0"/>
                        </a:spcAft>
                        <a:buClrTx/>
                        <a:buSzTx/>
                        <a:buFont typeface="Wingdings" panose="05000000000000000000" pitchFamily="2" charset="2"/>
                        <a:buNone/>
                        <a:tabLst/>
                        <a:defRPr/>
                      </a:pPr>
                      <a:endParaRPr kumimoji="0" lang="en-GB" sz="1200" b="0"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marL="0" marR="0" lvl="0" indent="0" algn="l" defTabSz="685783" rtl="0" eaLnBrk="1" fontAlgn="auto" latinLnBrk="0" hangingPunct="1">
                        <a:lnSpc>
                          <a:spcPct val="100000"/>
                        </a:lnSpc>
                        <a:spcBef>
                          <a:spcPts val="600"/>
                        </a:spcBef>
                        <a:spcAft>
                          <a:spcPts val="0"/>
                        </a:spcAft>
                        <a:buClrTx/>
                        <a:buSzTx/>
                        <a:buFont typeface="Wingdings" panose="05000000000000000000" pitchFamily="2" charset="2"/>
                        <a:buNone/>
                        <a:tabLst/>
                        <a:defRPr/>
                      </a:pPr>
                      <a:endParaRPr kumimoji="0" lang="en-GB" sz="1200" b="0"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marL="0" marR="0" lvl="0" indent="0" algn="l" defTabSz="685783" rtl="0" eaLnBrk="1" fontAlgn="auto" latinLnBrk="0" hangingPunct="1">
                        <a:lnSpc>
                          <a:spcPct val="100000"/>
                        </a:lnSpc>
                        <a:spcBef>
                          <a:spcPts val="600"/>
                        </a:spcBef>
                        <a:spcAft>
                          <a:spcPts val="0"/>
                        </a:spcAft>
                        <a:buClrTx/>
                        <a:buSzTx/>
                        <a:buFont typeface="Wingdings" panose="05000000000000000000" pitchFamily="2" charset="2"/>
                        <a:buNone/>
                        <a:tabLst/>
                        <a:defRPr/>
                      </a:pPr>
                      <a:endParaRPr kumimoji="0" lang="en-GB" sz="1200" b="0"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marL="0" marR="0" lvl="0" indent="0" algn="l" defTabSz="685783" rtl="0" eaLnBrk="1" fontAlgn="auto" latinLnBrk="0" hangingPunct="1">
                        <a:lnSpc>
                          <a:spcPct val="100000"/>
                        </a:lnSpc>
                        <a:spcBef>
                          <a:spcPts val="600"/>
                        </a:spcBef>
                        <a:spcAft>
                          <a:spcPts val="0"/>
                        </a:spcAft>
                        <a:buClrTx/>
                        <a:buSzTx/>
                        <a:buFont typeface="Wingdings" panose="05000000000000000000" pitchFamily="2" charset="2"/>
                        <a:buNone/>
                        <a:tabLst/>
                        <a:defRPr/>
                      </a:pPr>
                      <a:endParaRPr kumimoji="0" lang="en-GB" sz="1200" b="0"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marL="0" marR="0" lvl="0" indent="0" algn="l" defTabSz="685783" rtl="0" eaLnBrk="1" fontAlgn="auto" latinLnBrk="0" hangingPunct="1">
                        <a:lnSpc>
                          <a:spcPct val="100000"/>
                        </a:lnSpc>
                        <a:spcBef>
                          <a:spcPts val="600"/>
                        </a:spcBef>
                        <a:spcAft>
                          <a:spcPts val="0"/>
                        </a:spcAft>
                        <a:buClrTx/>
                        <a:buSzTx/>
                        <a:buFont typeface="Wingdings" panose="05000000000000000000" pitchFamily="2" charset="2"/>
                        <a:buNone/>
                        <a:tabLst/>
                        <a:defRPr/>
                      </a:pPr>
                      <a:endParaRPr kumimoji="0" lang="en-GB" sz="1200" b="0"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14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880" marR="0" lvl="0" indent="-182880" algn="l" defTabSz="685783" rtl="0" eaLnBrk="1" fontAlgn="auto" latinLnBrk="0" hangingPunct="1">
                        <a:lnSpc>
                          <a:spcPct val="100000"/>
                        </a:lnSpc>
                        <a:spcBef>
                          <a:spcPts val="600"/>
                        </a:spcBef>
                        <a:spcAft>
                          <a:spcPts val="0"/>
                        </a:spcAft>
                        <a:buClrTx/>
                        <a:buSzTx/>
                        <a:buFont typeface="Wingdings" panose="05000000000000000000" pitchFamily="2" charset="2"/>
                        <a:buChar char="§"/>
                        <a:tabLst/>
                        <a:defRPr/>
                      </a:pPr>
                      <a:endParaRPr kumimoji="0" lang="en-GB" sz="1200" b="0"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14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685783" rtl="0" eaLnBrk="1" fontAlgn="auto" latinLnBrk="0" hangingPunct="1">
                        <a:lnSpc>
                          <a:spcPct val="100000"/>
                        </a:lnSpc>
                        <a:spcBef>
                          <a:spcPts val="600"/>
                        </a:spcBef>
                        <a:spcAft>
                          <a:spcPts val="0"/>
                        </a:spcAft>
                        <a:buClrTx/>
                        <a:buSzTx/>
                        <a:buFont typeface="Wingdings" panose="05000000000000000000" pitchFamily="2" charset="2"/>
                        <a:buNone/>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144000" marT="72000" marB="360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06532265"/>
                  </a:ext>
                </a:extLst>
              </a:tr>
            </a:tbl>
          </a:graphicData>
        </a:graphic>
      </p:graphicFrame>
      <p:sp>
        <p:nvSpPr>
          <p:cNvPr id="11" name="Rectangle: Top Corners Rounded 10">
            <a:extLst>
              <a:ext uri="{FF2B5EF4-FFF2-40B4-BE49-F238E27FC236}">
                <a16:creationId xmlns:a16="http://schemas.microsoft.com/office/drawing/2014/main" id="{2295E4F1-787F-13A9-1CE4-AEDDD8A613E3}"/>
              </a:ext>
            </a:extLst>
          </p:cNvPr>
          <p:cNvSpPr/>
          <p:nvPr/>
        </p:nvSpPr>
        <p:spPr>
          <a:xfrm>
            <a:off x="7069192" y="1342864"/>
            <a:ext cx="4667196" cy="260177"/>
          </a:xfrm>
          <a:prstGeom prst="round2SameRect">
            <a:avLst>
              <a:gd name="adj1" fmla="val 14972"/>
              <a:gd name="adj2" fmla="val 23706"/>
            </a:avLst>
          </a:prstGeom>
          <a:solidFill>
            <a:srgbClr val="4C6C9C"/>
          </a:solidFill>
          <a:ln w="28575">
            <a:solidFill>
              <a:srgbClr val="4C6C9C"/>
            </a:solidFill>
          </a:ln>
        </p:spPr>
        <p:txBody>
          <a:bodyPr vert="horz" wrap="square" lIns="0" tIns="0" rIns="0" bIns="0" rtlCol="0" anchor="ctr">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white"/>
                </a:solidFill>
                <a:effectLst/>
                <a:uLnTx/>
                <a:uFillTx/>
                <a:latin typeface="Lato"/>
                <a:ea typeface="+mn-ea"/>
                <a:cs typeface="+mn-cs"/>
              </a:rPr>
              <a:t>Harris Presidency</a:t>
            </a:r>
          </a:p>
        </p:txBody>
      </p:sp>
      <p:sp>
        <p:nvSpPr>
          <p:cNvPr id="12" name="Rectangle: Top Corners Rounded 11">
            <a:extLst>
              <a:ext uri="{FF2B5EF4-FFF2-40B4-BE49-F238E27FC236}">
                <a16:creationId xmlns:a16="http://schemas.microsoft.com/office/drawing/2014/main" id="{8D258BEB-ACB3-30C1-A193-157658836062}"/>
              </a:ext>
            </a:extLst>
          </p:cNvPr>
          <p:cNvSpPr/>
          <p:nvPr/>
        </p:nvSpPr>
        <p:spPr>
          <a:xfrm>
            <a:off x="2226365" y="1347411"/>
            <a:ext cx="4667196" cy="260177"/>
          </a:xfrm>
          <a:prstGeom prst="round2SameRect">
            <a:avLst>
              <a:gd name="adj1" fmla="val 14972"/>
              <a:gd name="adj2" fmla="val 23706"/>
            </a:avLst>
          </a:prstGeom>
          <a:solidFill>
            <a:srgbClr val="9F3C1C"/>
          </a:solidFill>
          <a:ln w="28575">
            <a:solidFill>
              <a:srgbClr val="9F3C1C"/>
            </a:solidFill>
          </a:ln>
        </p:spPr>
        <p:txBody>
          <a:bodyPr vert="horz" wrap="square" lIns="0" tIns="0" rIns="0" bIns="0" rtlCol="0" anchor="ctr">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white"/>
                </a:solidFill>
                <a:effectLst/>
                <a:uLnTx/>
                <a:uFillTx/>
                <a:latin typeface="Lato"/>
                <a:ea typeface="+mn-ea"/>
                <a:cs typeface="+mn-cs"/>
              </a:rPr>
              <a:t>Trump Presidency</a:t>
            </a:r>
          </a:p>
        </p:txBody>
      </p:sp>
      <p:sp>
        <p:nvSpPr>
          <p:cNvPr id="5" name="Text Placeholder 2">
            <a:extLst>
              <a:ext uri="{FF2B5EF4-FFF2-40B4-BE49-F238E27FC236}">
                <a16:creationId xmlns:a16="http://schemas.microsoft.com/office/drawing/2014/main" id="{05380998-1587-CB0A-E67C-91977FBC7E9A}"/>
              </a:ext>
            </a:extLst>
          </p:cNvPr>
          <p:cNvSpPr txBox="1">
            <a:spLocks/>
          </p:cNvSpPr>
          <p:nvPr/>
        </p:nvSpPr>
        <p:spPr>
          <a:xfrm>
            <a:off x="388693" y="82904"/>
            <a:ext cx="1542410" cy="184666"/>
          </a:xfrm>
          <a:prstGeom prst="rect">
            <a:avLst/>
          </a:prstGeom>
        </p:spPr>
        <p:txBody>
          <a:bodyPr vert="horz" wrap="none" lIns="0" tIns="0" rIns="0" bIns="0"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3838" marR="0" lvl="0" indent="-223838" algn="l" defTabSz="685783" rtl="0" eaLnBrk="1" fontAlgn="auto" latinLnBrk="0" hangingPunct="1">
              <a:lnSpc>
                <a:spcPct val="100000"/>
              </a:lnSpc>
              <a:spcBef>
                <a:spcPts val="0"/>
              </a:spcBef>
              <a:spcAft>
                <a:spcPts val="0"/>
              </a:spcAft>
              <a:buClrTx/>
              <a:buSzTx/>
              <a:buFont typeface="Wingdings" panose="05000000000000000000" pitchFamily="2" charset="2"/>
              <a:buNone/>
              <a:tabLst>
                <a:tab pos="452438" algn="l"/>
              </a:tabLst>
              <a:defRPr/>
            </a:pPr>
            <a:r>
              <a:rPr kumimoji="0" lang="en-AU" sz="1200" b="0" i="0" u="none" strike="noStrike" kern="1200" cap="none" spc="0" normalizeH="0" baseline="0" noProof="0">
                <a:ln>
                  <a:noFill/>
                </a:ln>
                <a:solidFill>
                  <a:srgbClr val="838383"/>
                </a:solidFill>
                <a:effectLst/>
                <a:uLnTx/>
                <a:uFillTx/>
                <a:latin typeface="Lato" panose="020F0502020204030203" pitchFamily="34" charset="0"/>
                <a:ea typeface="+mn-ea"/>
                <a:cs typeface="+mn-cs"/>
                <a:sym typeface="Lato" panose="020F0502020204030203" pitchFamily="34" charset="0"/>
              </a:rPr>
              <a:t>	Executive summary</a:t>
            </a:r>
            <a:endParaRPr kumimoji="0" lang="en-GB" sz="1200" b="0" i="0" u="none" strike="noStrike" kern="1200" cap="none" spc="0" normalizeH="0" baseline="0" noProof="0">
              <a:ln>
                <a:noFill/>
              </a:ln>
              <a:solidFill>
                <a:srgbClr val="838383"/>
              </a:solidFill>
              <a:effectLst/>
              <a:uLnTx/>
              <a:uFillTx/>
              <a:latin typeface="Lato" panose="020F0502020204030203" pitchFamily="34" charset="0"/>
              <a:ea typeface="+mn-ea"/>
              <a:cs typeface="+mn-cs"/>
              <a:sym typeface="Lato" panose="020F0502020204030203" pitchFamily="34" charset="0"/>
            </a:endParaRPr>
          </a:p>
        </p:txBody>
      </p:sp>
      <p:sp>
        <p:nvSpPr>
          <p:cNvPr id="8" name="Oval 7">
            <a:extLst>
              <a:ext uri="{FF2B5EF4-FFF2-40B4-BE49-F238E27FC236}">
                <a16:creationId xmlns:a16="http://schemas.microsoft.com/office/drawing/2014/main" id="{739F0855-7DC0-EC7F-D0DF-79C2EAA7BD87}"/>
              </a:ext>
            </a:extLst>
          </p:cNvPr>
          <p:cNvSpPr/>
          <p:nvPr/>
        </p:nvSpPr>
        <p:spPr>
          <a:xfrm>
            <a:off x="388094" y="84467"/>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a:t>
            </a:r>
          </a:p>
        </p:txBody>
      </p:sp>
      <p:cxnSp>
        <p:nvCxnSpPr>
          <p:cNvPr id="21" name="Straight Connector 20">
            <a:extLst>
              <a:ext uri="{FF2B5EF4-FFF2-40B4-BE49-F238E27FC236}">
                <a16:creationId xmlns:a16="http://schemas.microsoft.com/office/drawing/2014/main" id="{4FC93AF2-4355-5CFB-3F88-E399E2624299}"/>
              </a:ext>
            </a:extLst>
          </p:cNvPr>
          <p:cNvCxnSpPr/>
          <p:nvPr>
            <p:custDataLst>
              <p:tags r:id="rId4"/>
            </p:custDataLst>
          </p:nvPr>
        </p:nvCxnSpPr>
        <p:spPr bwMode="gray">
          <a:xfrm>
            <a:off x="2511425" y="6118225"/>
            <a:ext cx="6870700" cy="0"/>
          </a:xfrm>
          <a:prstGeom prst="line">
            <a:avLst/>
          </a:prstGeom>
          <a:ln w="3175" cap="flat" cmpd="sng" algn="ctr">
            <a:solidFill>
              <a:schemeClr val="accent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57" name="Chart 56">
            <a:extLst>
              <a:ext uri="{FF2B5EF4-FFF2-40B4-BE49-F238E27FC236}">
                <a16:creationId xmlns:a16="http://schemas.microsoft.com/office/drawing/2014/main" id="{4C5357FA-9A56-8538-FEAC-08E93B17B762}"/>
              </a:ext>
            </a:extLst>
          </p:cNvPr>
          <p:cNvGraphicFramePr/>
          <p:nvPr>
            <p:custDataLst>
              <p:tags r:id="rId5"/>
            </p:custDataLst>
            <p:extLst>
              <p:ext uri="{D42A27DB-BD31-4B8C-83A1-F6EECF244321}">
                <p14:modId xmlns:p14="http://schemas.microsoft.com/office/powerpoint/2010/main" val="1678216701"/>
              </p:ext>
            </p:extLst>
          </p:nvPr>
        </p:nvGraphicFramePr>
        <p:xfrm>
          <a:off x="2428875" y="5302250"/>
          <a:ext cx="7035800" cy="898525"/>
        </p:xfrm>
        <a:graphic>
          <a:graphicData uri="http://schemas.openxmlformats.org/drawingml/2006/chart">
            <c:chart xmlns:c="http://schemas.openxmlformats.org/drawingml/2006/chart" xmlns:r="http://schemas.openxmlformats.org/officeDocument/2006/relationships" r:id="rId23"/>
          </a:graphicData>
        </a:graphic>
      </p:graphicFrame>
      <p:sp>
        <p:nvSpPr>
          <p:cNvPr id="15" name="Text Placeholder 19">
            <a:extLst>
              <a:ext uri="{FF2B5EF4-FFF2-40B4-BE49-F238E27FC236}">
                <a16:creationId xmlns:a16="http://schemas.microsoft.com/office/drawing/2014/main" id="{651F6550-DEFB-FC3E-CCA9-19FE76DDF699}"/>
              </a:ext>
            </a:extLst>
          </p:cNvPr>
          <p:cNvSpPr>
            <a:spLocks noGrp="1"/>
          </p:cNvSpPr>
          <p:nvPr>
            <p:custDataLst>
              <p:tags r:id="rId6"/>
            </p:custDataLst>
          </p:nvPr>
        </p:nvSpPr>
        <p:spPr bwMode="auto">
          <a:xfrm>
            <a:off x="3268663" y="6169025"/>
            <a:ext cx="7762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8CEDF3E5-52B3-480D-B149-6A8DD6C212DA}" type="datetime'2025-''2''''''''''''''0''''''''''3''''''''''0'''''''''''''''''">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25-2030</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50" name="Text Placeholder 19">
            <a:extLst>
              <a:ext uri="{FF2B5EF4-FFF2-40B4-BE49-F238E27FC236}">
                <a16:creationId xmlns:a16="http://schemas.microsoft.com/office/drawing/2014/main" id="{1D54B02C-4E5F-56B7-B43B-7F40CB828003}"/>
              </a:ext>
            </a:extLst>
          </p:cNvPr>
          <p:cNvSpPr>
            <a:spLocks noGrp="1"/>
          </p:cNvSpPr>
          <p:nvPr>
            <p:custDataLst>
              <p:tags r:id="rId7"/>
            </p:custDataLst>
          </p:nvPr>
        </p:nvSpPr>
        <p:spPr bwMode="auto">
          <a:xfrm>
            <a:off x="5559425" y="6169025"/>
            <a:ext cx="7762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F3E997DA-449D-4601-82B1-4B068422806F}" type="datetime'2''''03''''''''''''''''1''''-''2035'''''''''''''''''''''''">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31-2035</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53" name="Text Placeholder 19">
            <a:extLst>
              <a:ext uri="{FF2B5EF4-FFF2-40B4-BE49-F238E27FC236}">
                <a16:creationId xmlns:a16="http://schemas.microsoft.com/office/drawing/2014/main" id="{074EF44E-3018-2880-5A39-67B6B0CF3310}"/>
              </a:ext>
            </a:extLst>
          </p:cNvPr>
          <p:cNvSpPr>
            <a:spLocks noGrp="1"/>
          </p:cNvSpPr>
          <p:nvPr>
            <p:custDataLst>
              <p:tags r:id="rId8"/>
            </p:custDataLst>
          </p:nvPr>
        </p:nvSpPr>
        <p:spPr bwMode="auto">
          <a:xfrm>
            <a:off x="7848600" y="6169025"/>
            <a:ext cx="7762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F9E126E2-3A07-41C7-9B12-4C61678B6E5A}" type="datetime'2''0''''3''6''-''''2''0''''''''''''''''40'">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36-2040</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45" name="Text Placeholder 19">
            <a:extLst>
              <a:ext uri="{FF2B5EF4-FFF2-40B4-BE49-F238E27FC236}">
                <a16:creationId xmlns:a16="http://schemas.microsoft.com/office/drawing/2014/main" id="{9F9869AF-B0F6-4E89-B216-4EC18C7334C2}"/>
              </a:ext>
            </a:extLst>
          </p:cNvPr>
          <p:cNvSpPr>
            <a:spLocks noGrp="1"/>
          </p:cNvSpPr>
          <p:nvPr>
            <p:custDataLst>
              <p:tags r:id="rId9"/>
            </p:custDataLst>
          </p:nvPr>
        </p:nvSpPr>
        <p:spPr bwMode="gray">
          <a:xfrm>
            <a:off x="3127375" y="5654675"/>
            <a:ext cx="24130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200" b="0" i="0" u="none" strike="noStrike" kern="1200" cap="none" spc="0" normalizeH="0" baseline="0" noProof="0">
                <a:ln>
                  <a:noFill/>
                </a:ln>
                <a:solidFill>
                  <a:srgbClr val="3C3C3B"/>
                </a:solidFill>
                <a:effectLst/>
                <a:uLnTx/>
                <a:uFillTx/>
                <a:latin typeface="Lato"/>
                <a:sym typeface="Lato" panose="020F0502020204030203" pitchFamily="34" charset="0"/>
              </a:rPr>
              <a:t>XX</a:t>
            </a:r>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29" name="Text Placeholder 19">
            <a:extLst>
              <a:ext uri="{FF2B5EF4-FFF2-40B4-BE49-F238E27FC236}">
                <a16:creationId xmlns:a16="http://schemas.microsoft.com/office/drawing/2014/main" id="{9F9869AF-B0F6-4E89-B216-4EC18C7334C2}"/>
              </a:ext>
            </a:extLst>
          </p:cNvPr>
          <p:cNvSpPr>
            <a:spLocks noGrp="1"/>
          </p:cNvSpPr>
          <p:nvPr>
            <p:custDataLst>
              <p:tags r:id="rId10"/>
            </p:custDataLst>
          </p:nvPr>
        </p:nvSpPr>
        <p:spPr bwMode="gray">
          <a:xfrm>
            <a:off x="3944938" y="5411789"/>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a:effectLst/>
              </a:rPr>
              <a:t>XX</a:t>
            </a:r>
            <a:endParaRPr lang="en-GB"/>
          </a:p>
        </p:txBody>
      </p:sp>
      <p:sp>
        <p:nvSpPr>
          <p:cNvPr id="34" name="Text Placeholder 19">
            <a:extLst>
              <a:ext uri="{FF2B5EF4-FFF2-40B4-BE49-F238E27FC236}">
                <a16:creationId xmlns:a16="http://schemas.microsoft.com/office/drawing/2014/main" id="{9F9869AF-B0F6-4E89-B216-4EC18C7334C2}"/>
              </a:ext>
            </a:extLst>
          </p:cNvPr>
          <p:cNvSpPr>
            <a:spLocks noGrp="1"/>
          </p:cNvSpPr>
          <p:nvPr>
            <p:custDataLst>
              <p:tags r:id="rId11"/>
            </p:custDataLst>
          </p:nvPr>
        </p:nvSpPr>
        <p:spPr bwMode="gray">
          <a:xfrm>
            <a:off x="5416550" y="5702301"/>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a:effectLst/>
              </a:rPr>
              <a:t>XX</a:t>
            </a:r>
            <a:endParaRPr lang="en-GB"/>
          </a:p>
        </p:txBody>
      </p:sp>
      <p:sp>
        <p:nvSpPr>
          <p:cNvPr id="42" name="Text Placeholder 19">
            <a:extLst>
              <a:ext uri="{FF2B5EF4-FFF2-40B4-BE49-F238E27FC236}">
                <a16:creationId xmlns:a16="http://schemas.microsoft.com/office/drawing/2014/main" id="{9F9869AF-B0F6-4E89-B216-4EC18C7334C2}"/>
              </a:ext>
            </a:extLst>
          </p:cNvPr>
          <p:cNvSpPr>
            <a:spLocks noGrp="1"/>
          </p:cNvSpPr>
          <p:nvPr>
            <p:custDataLst>
              <p:tags r:id="rId12"/>
            </p:custDataLst>
          </p:nvPr>
        </p:nvSpPr>
        <p:spPr bwMode="gray">
          <a:xfrm>
            <a:off x="6234113" y="5684839"/>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a:effectLst/>
              </a:rPr>
              <a:t>XX</a:t>
            </a:r>
            <a:endParaRPr lang="en-GB"/>
          </a:p>
        </p:txBody>
      </p:sp>
      <p:sp>
        <p:nvSpPr>
          <p:cNvPr id="47" name="Text Placeholder 19">
            <a:extLst>
              <a:ext uri="{FF2B5EF4-FFF2-40B4-BE49-F238E27FC236}">
                <a16:creationId xmlns:a16="http://schemas.microsoft.com/office/drawing/2014/main" id="{9F9869AF-B0F6-4E89-B216-4EC18C7334C2}"/>
              </a:ext>
            </a:extLst>
          </p:cNvPr>
          <p:cNvSpPr>
            <a:spLocks noGrp="1"/>
          </p:cNvSpPr>
          <p:nvPr>
            <p:custDataLst>
              <p:tags r:id="rId13"/>
            </p:custDataLst>
          </p:nvPr>
        </p:nvSpPr>
        <p:spPr bwMode="gray">
          <a:xfrm>
            <a:off x="7707313" y="5775326"/>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a:solidFill>
                  <a:srgbClr val="3C3C3B"/>
                </a:solidFill>
                <a:effectLst/>
              </a:rPr>
              <a:t>XX</a:t>
            </a:r>
            <a:endParaRPr lang="en-GB">
              <a:solidFill>
                <a:srgbClr val="3C3C3B"/>
              </a:solidFill>
            </a:endParaRPr>
          </a:p>
        </p:txBody>
      </p:sp>
      <p:sp>
        <p:nvSpPr>
          <p:cNvPr id="52" name="Text Placeholder 19">
            <a:extLst>
              <a:ext uri="{FF2B5EF4-FFF2-40B4-BE49-F238E27FC236}">
                <a16:creationId xmlns:a16="http://schemas.microsoft.com/office/drawing/2014/main" id="{9F9869AF-B0F6-4E89-B216-4EC18C7334C2}"/>
              </a:ext>
            </a:extLst>
          </p:cNvPr>
          <p:cNvSpPr>
            <a:spLocks noGrp="1"/>
          </p:cNvSpPr>
          <p:nvPr>
            <p:custDataLst>
              <p:tags r:id="rId14"/>
            </p:custDataLst>
          </p:nvPr>
        </p:nvSpPr>
        <p:spPr bwMode="gray">
          <a:xfrm>
            <a:off x="8524875" y="5713414"/>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a:solidFill>
                  <a:srgbClr val="3C3C3B"/>
                </a:solidFill>
                <a:effectLst/>
              </a:rPr>
              <a:t>XX</a:t>
            </a:r>
            <a:endParaRPr lang="en-GB">
              <a:solidFill>
                <a:srgbClr val="3C3C3B"/>
              </a:solidFill>
            </a:endParaRPr>
          </a:p>
        </p:txBody>
      </p:sp>
      <p:sp>
        <p:nvSpPr>
          <p:cNvPr id="41" name="Text Placeholder 1">
            <a:extLst>
              <a:ext uri="{FF2B5EF4-FFF2-40B4-BE49-F238E27FC236}">
                <a16:creationId xmlns:a16="http://schemas.microsoft.com/office/drawing/2014/main" id="{A937D807-6D39-FDBE-A8B3-AAEF43CD5088}"/>
              </a:ext>
            </a:extLst>
          </p:cNvPr>
          <p:cNvSpPr txBox="1">
            <a:spLocks/>
          </p:cNvSpPr>
          <p:nvPr/>
        </p:nvSpPr>
        <p:spPr>
          <a:xfrm>
            <a:off x="2181915" y="4856163"/>
            <a:ext cx="3124200" cy="369888"/>
          </a:xfrm>
          <a:prstGeom prst="rect">
            <a:avLst/>
          </a:prstGeom>
        </p:spPr>
        <p:txBody>
          <a:bodyPr vert="horz" wrap="non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600"/>
              </a:spcAft>
              <a:buClrTx/>
              <a:buSzTx/>
              <a:buFont typeface="Wingdings" panose="05000000000000000000" pitchFamily="2" charset="2"/>
              <a:buNone/>
              <a:tabLst>
                <a:tab pos="452438" algn="l"/>
              </a:tabLst>
              <a:defRPr/>
            </a:pPr>
            <a:r>
              <a:rPr kumimoji="0" lang="en-GB" sz="1200" b="1"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rPr>
              <a:t>Henry Hub wholesale price delta with Central</a:t>
            </a:r>
            <a:br>
              <a:rPr kumimoji="0" lang="en-GB" sz="1200" b="1" i="0" u="none" strike="noStrike" kern="1200" cap="none" spc="0" normalizeH="0" baseline="0" noProof="0">
                <a:ln>
                  <a:noFill/>
                </a:ln>
                <a:solidFill>
                  <a:srgbClr val="838383"/>
                </a:solidFill>
                <a:effectLst/>
                <a:uLnTx/>
                <a:uFillTx/>
                <a:latin typeface="Lato" panose="020F0502020204030203" pitchFamily="34" charset="0"/>
                <a:sym typeface="Lato" panose="020F0502020204030203" pitchFamily="34" charset="0"/>
              </a:rPr>
            </a:br>
            <a:r>
              <a:rPr kumimoji="0" lang="en-GB" sz="1200" b="0" i="0" u="none" strike="noStrike" kern="1200" cap="none" spc="0" normalizeH="0" baseline="0" noProof="0">
                <a:ln>
                  <a:noFill/>
                </a:ln>
                <a:solidFill>
                  <a:srgbClr val="838383"/>
                </a:solidFill>
                <a:effectLst/>
                <a:uLnTx/>
                <a:uFillTx/>
                <a:latin typeface="Lato" panose="020F0502020204030203" pitchFamily="34" charset="0"/>
                <a:sym typeface="Lato" panose="020F0502020204030203" pitchFamily="34" charset="0"/>
              </a:rPr>
              <a:t>$/MMBtu (real 2023)</a:t>
            </a:r>
            <a:endParaRPr kumimoji="0" lang="en-IN" sz="1200" b="0" i="0" u="none" strike="noStrike" kern="1200" cap="none" spc="0" normalizeH="0" baseline="0" noProof="0">
              <a:ln>
                <a:noFill/>
              </a:ln>
              <a:solidFill>
                <a:srgbClr val="838383"/>
              </a:solidFill>
              <a:effectLst/>
              <a:uLnTx/>
              <a:uFillTx/>
              <a:latin typeface="Lato" panose="020F0502020204030203" pitchFamily="34" charset="0"/>
              <a:sym typeface="Lato" panose="020F0502020204030203" pitchFamily="34" charset="0"/>
            </a:endParaRPr>
          </a:p>
        </p:txBody>
      </p:sp>
      <p:pic>
        <p:nvPicPr>
          <p:cNvPr id="90" name="Picture 89">
            <a:extLst>
              <a:ext uri="{FF2B5EF4-FFF2-40B4-BE49-F238E27FC236}">
                <a16:creationId xmlns:a16="http://schemas.microsoft.com/office/drawing/2014/main" id="{59FFDB02-BD69-C5B7-86E0-843E8FCE687D}"/>
              </a:ext>
            </a:extLst>
          </p:cNvPr>
          <p:cNvPicPr>
            <a:picLocks noChangeAspect="1"/>
          </p:cNvPicPr>
          <p:nvPr/>
        </p:nvPicPr>
        <p:blipFill>
          <a:blip r:embed="rId24"/>
          <a:stretch>
            <a:fillRect/>
          </a:stretch>
        </p:blipFill>
        <p:spPr>
          <a:xfrm>
            <a:off x="503764" y="3971294"/>
            <a:ext cx="324000" cy="319326"/>
          </a:xfrm>
          <a:prstGeom prst="rect">
            <a:avLst/>
          </a:prstGeom>
        </p:spPr>
      </p:pic>
      <p:pic>
        <p:nvPicPr>
          <p:cNvPr id="93" name="Picture 92">
            <a:extLst>
              <a:ext uri="{FF2B5EF4-FFF2-40B4-BE49-F238E27FC236}">
                <a16:creationId xmlns:a16="http://schemas.microsoft.com/office/drawing/2014/main" id="{F313332D-D4CB-17B1-05AC-9AC7658FFBA8}"/>
              </a:ext>
            </a:extLst>
          </p:cNvPr>
          <p:cNvPicPr>
            <a:picLocks noChangeAspect="1"/>
          </p:cNvPicPr>
          <p:nvPr/>
        </p:nvPicPr>
        <p:blipFill>
          <a:blip r:embed="rId25"/>
          <a:stretch>
            <a:fillRect/>
          </a:stretch>
        </p:blipFill>
        <p:spPr>
          <a:xfrm>
            <a:off x="500215" y="3506432"/>
            <a:ext cx="324000" cy="285805"/>
          </a:xfrm>
          <a:prstGeom prst="rect">
            <a:avLst/>
          </a:prstGeom>
        </p:spPr>
      </p:pic>
      <p:pic>
        <p:nvPicPr>
          <p:cNvPr id="150" name="Picture 149">
            <a:extLst>
              <a:ext uri="{FF2B5EF4-FFF2-40B4-BE49-F238E27FC236}">
                <a16:creationId xmlns:a16="http://schemas.microsoft.com/office/drawing/2014/main" id="{7D9C653E-05CD-A511-ECE2-C74D4B932EB3}"/>
              </a:ext>
            </a:extLst>
          </p:cNvPr>
          <p:cNvPicPr>
            <a:picLocks noChangeAspect="1"/>
          </p:cNvPicPr>
          <p:nvPr/>
        </p:nvPicPr>
        <p:blipFill>
          <a:blip r:embed="rId26"/>
          <a:stretch>
            <a:fillRect/>
          </a:stretch>
        </p:blipFill>
        <p:spPr>
          <a:xfrm>
            <a:off x="502476" y="4442969"/>
            <a:ext cx="325288" cy="324000"/>
          </a:xfrm>
          <a:prstGeom prst="rect">
            <a:avLst/>
          </a:prstGeom>
        </p:spPr>
      </p:pic>
      <p:pic>
        <p:nvPicPr>
          <p:cNvPr id="165" name="Picture 164">
            <a:extLst>
              <a:ext uri="{FF2B5EF4-FFF2-40B4-BE49-F238E27FC236}">
                <a16:creationId xmlns:a16="http://schemas.microsoft.com/office/drawing/2014/main" id="{16B35B44-5A23-4227-3AE8-40B0EEF7AA78}"/>
              </a:ext>
            </a:extLst>
          </p:cNvPr>
          <p:cNvPicPr>
            <a:picLocks noChangeAspect="1"/>
          </p:cNvPicPr>
          <p:nvPr/>
        </p:nvPicPr>
        <p:blipFill>
          <a:blip r:embed="rId27"/>
          <a:stretch>
            <a:fillRect/>
          </a:stretch>
        </p:blipFill>
        <p:spPr>
          <a:xfrm>
            <a:off x="502476" y="1798558"/>
            <a:ext cx="348951" cy="288000"/>
          </a:xfrm>
          <a:prstGeom prst="rect">
            <a:avLst/>
          </a:prstGeom>
        </p:spPr>
      </p:pic>
      <p:pic>
        <p:nvPicPr>
          <p:cNvPr id="167" name="Picture 166">
            <a:extLst>
              <a:ext uri="{FF2B5EF4-FFF2-40B4-BE49-F238E27FC236}">
                <a16:creationId xmlns:a16="http://schemas.microsoft.com/office/drawing/2014/main" id="{0B9EE277-0846-9ED0-9951-C915524008CC}"/>
              </a:ext>
            </a:extLst>
          </p:cNvPr>
          <p:cNvPicPr>
            <a:picLocks noChangeAspect="1"/>
          </p:cNvPicPr>
          <p:nvPr/>
        </p:nvPicPr>
        <p:blipFill>
          <a:blip r:embed="rId28"/>
          <a:stretch>
            <a:fillRect/>
          </a:stretch>
        </p:blipFill>
        <p:spPr>
          <a:xfrm>
            <a:off x="497265" y="5492544"/>
            <a:ext cx="335710" cy="324000"/>
          </a:xfrm>
          <a:prstGeom prst="rect">
            <a:avLst/>
          </a:prstGeom>
        </p:spPr>
      </p:pic>
      <p:pic>
        <p:nvPicPr>
          <p:cNvPr id="10" name="Graphic 9">
            <a:extLst>
              <a:ext uri="{FF2B5EF4-FFF2-40B4-BE49-F238E27FC236}">
                <a16:creationId xmlns:a16="http://schemas.microsoft.com/office/drawing/2014/main" id="{D153B30E-0D99-CD9A-0861-B59F926AF68B}"/>
              </a:ext>
            </a:extLst>
          </p:cNvPr>
          <p:cNvPicPr>
            <a:picLocks noChangeAspect="1"/>
          </p:cNvPicPr>
          <p:nvPr/>
        </p:nvPicPr>
        <p:blipFill rotWithShape="1">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rcRect b="21418"/>
          <a:stretch/>
        </p:blipFill>
        <p:spPr>
          <a:xfrm rot="16200000">
            <a:off x="2178740" y="3013241"/>
            <a:ext cx="256967" cy="252413"/>
          </a:xfrm>
          <a:prstGeom prst="rect">
            <a:avLst/>
          </a:prstGeom>
        </p:spPr>
      </p:pic>
      <p:pic>
        <p:nvPicPr>
          <p:cNvPr id="13" name="Graphic 12">
            <a:extLst>
              <a:ext uri="{FF2B5EF4-FFF2-40B4-BE49-F238E27FC236}">
                <a16:creationId xmlns:a16="http://schemas.microsoft.com/office/drawing/2014/main" id="{0B866E6E-D0E6-392C-0EDA-431B2CB36221}"/>
              </a:ext>
            </a:extLst>
          </p:cNvPr>
          <p:cNvPicPr>
            <a:picLocks noChangeAspect="1"/>
          </p:cNvPicPr>
          <p:nvPr/>
        </p:nvPicPr>
        <p:blipFill rotWithShape="1">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rcRect b="21418"/>
          <a:stretch/>
        </p:blipFill>
        <p:spPr>
          <a:xfrm rot="10800000" flipV="1">
            <a:off x="6985898" y="2824390"/>
            <a:ext cx="256967" cy="252413"/>
          </a:xfrm>
          <a:prstGeom prst="rect">
            <a:avLst/>
          </a:prstGeom>
        </p:spPr>
      </p:pic>
      <p:pic>
        <p:nvPicPr>
          <p:cNvPr id="14" name="Graphic 13">
            <a:extLst>
              <a:ext uri="{FF2B5EF4-FFF2-40B4-BE49-F238E27FC236}">
                <a16:creationId xmlns:a16="http://schemas.microsoft.com/office/drawing/2014/main" id="{2787FD39-BB73-5189-00D5-3CAD896100E5}"/>
              </a:ext>
            </a:extLst>
          </p:cNvPr>
          <p:cNvPicPr>
            <a:picLocks noChangeAspect="1"/>
          </p:cNvPicPr>
          <p:nvPr/>
        </p:nvPicPr>
        <p:blipFill rotWithShape="1">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rcRect b="21418"/>
          <a:stretch/>
        </p:blipFill>
        <p:spPr>
          <a:xfrm rot="5400000" flipV="1">
            <a:off x="2178740" y="2602079"/>
            <a:ext cx="256967" cy="252413"/>
          </a:xfrm>
          <a:prstGeom prst="rect">
            <a:avLst/>
          </a:prstGeom>
        </p:spPr>
      </p:pic>
      <p:pic>
        <p:nvPicPr>
          <p:cNvPr id="17" name="Graphic 16">
            <a:extLst>
              <a:ext uri="{FF2B5EF4-FFF2-40B4-BE49-F238E27FC236}">
                <a16:creationId xmlns:a16="http://schemas.microsoft.com/office/drawing/2014/main" id="{32D07AC0-3598-C1A2-53B6-E512AA128166}"/>
              </a:ext>
            </a:extLst>
          </p:cNvPr>
          <p:cNvPicPr>
            <a:picLocks noChangeAspect="1"/>
          </p:cNvPicPr>
          <p:nvPr/>
        </p:nvPicPr>
        <p:blipFill rotWithShape="1">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rcRect b="21418"/>
          <a:stretch/>
        </p:blipFill>
        <p:spPr>
          <a:xfrm rot="16200000">
            <a:off x="2178740" y="3523129"/>
            <a:ext cx="256967" cy="252413"/>
          </a:xfrm>
          <a:prstGeom prst="rect">
            <a:avLst/>
          </a:prstGeom>
        </p:spPr>
      </p:pic>
      <p:pic>
        <p:nvPicPr>
          <p:cNvPr id="18" name="Graphic 17">
            <a:extLst>
              <a:ext uri="{FF2B5EF4-FFF2-40B4-BE49-F238E27FC236}">
                <a16:creationId xmlns:a16="http://schemas.microsoft.com/office/drawing/2014/main" id="{BE0D3971-DEF6-FA34-035B-222D61AA684D}"/>
              </a:ext>
            </a:extLst>
          </p:cNvPr>
          <p:cNvPicPr>
            <a:picLocks noChangeAspect="1"/>
          </p:cNvPicPr>
          <p:nvPr/>
        </p:nvPicPr>
        <p:blipFill rotWithShape="1">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rcRect b="21418"/>
          <a:stretch/>
        </p:blipFill>
        <p:spPr>
          <a:xfrm rot="10800000" flipV="1">
            <a:off x="2178740" y="3999074"/>
            <a:ext cx="256967" cy="252413"/>
          </a:xfrm>
          <a:prstGeom prst="rect">
            <a:avLst/>
          </a:prstGeom>
        </p:spPr>
      </p:pic>
      <p:pic>
        <p:nvPicPr>
          <p:cNvPr id="19" name="Picture 4">
            <a:extLst>
              <a:ext uri="{FF2B5EF4-FFF2-40B4-BE49-F238E27FC236}">
                <a16:creationId xmlns:a16="http://schemas.microsoft.com/office/drawing/2014/main" id="{DDC76E39-1CE0-3B1C-3714-7679AD8521C4}"/>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t="72" b="72"/>
          <a:stretch/>
        </p:blipFill>
        <p:spPr bwMode="auto">
          <a:xfrm>
            <a:off x="2181915" y="1836560"/>
            <a:ext cx="257126" cy="223838"/>
          </a:xfrm>
          <a:prstGeom prst="rect">
            <a:avLst/>
          </a:prstGeom>
          <a:solidFill>
            <a:srgbClr val="9F3C1C"/>
          </a:solidFill>
        </p:spPr>
      </p:pic>
      <p:pic>
        <p:nvPicPr>
          <p:cNvPr id="22" name="Picture 2" descr="democrat Icon 26092">
            <a:extLst>
              <a:ext uri="{FF2B5EF4-FFF2-40B4-BE49-F238E27FC236}">
                <a16:creationId xmlns:a16="http://schemas.microsoft.com/office/drawing/2014/main" id="{8AD16FDB-2A57-46F3-232A-29850A65A5E6}"/>
              </a:ext>
            </a:extLst>
          </p:cNvPr>
          <p:cNvPicPr>
            <a:picLocks noChangeAspect="1" noChangeArrowheads="1"/>
          </p:cNvPicPr>
          <p:nvPr/>
        </p:nvPicPr>
        <p:blipFill rotWithShape="1">
          <a:blip r:embed="rId36">
            <a:extLst>
              <a:ext uri="{28A0092B-C50C-407E-A947-70E740481C1C}">
                <a14:useLocalDpi xmlns:a14="http://schemas.microsoft.com/office/drawing/2010/main" val="0"/>
              </a:ext>
            </a:extLst>
          </a:blip>
          <a:srcRect l="15128" t="20975" r="17222" b="19584"/>
          <a:stretch/>
        </p:blipFill>
        <p:spPr bwMode="auto">
          <a:xfrm>
            <a:off x="6988590" y="1835766"/>
            <a:ext cx="256552" cy="225425"/>
          </a:xfrm>
          <a:prstGeom prst="rect">
            <a:avLst/>
          </a:prstGeom>
          <a:noFill/>
          <a:extLst>
            <a:ext uri="{909E8E84-426E-40DD-AFC4-6F175D3DCCD1}">
              <a14:hiddenFill xmlns:a14="http://schemas.microsoft.com/office/drawing/2010/main">
                <a:solidFill>
                  <a:srgbClr val="FFFFFF"/>
                </a:solidFill>
              </a14:hiddenFill>
            </a:ext>
          </a:extLst>
        </p:spPr>
      </p:pic>
      <p:pic>
        <p:nvPicPr>
          <p:cNvPr id="23" name="Graphic 22">
            <a:extLst>
              <a:ext uri="{FF2B5EF4-FFF2-40B4-BE49-F238E27FC236}">
                <a16:creationId xmlns:a16="http://schemas.microsoft.com/office/drawing/2014/main" id="{315C5DBE-2535-BCBC-8E8D-DD96CC2F5C87}"/>
              </a:ext>
            </a:extLst>
          </p:cNvPr>
          <p:cNvPicPr>
            <a:picLocks noChangeAspect="1"/>
          </p:cNvPicPr>
          <p:nvPr/>
        </p:nvPicPr>
        <p:blipFill rotWithShape="1">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rcRect b="21418"/>
          <a:stretch/>
        </p:blipFill>
        <p:spPr>
          <a:xfrm rot="16200000">
            <a:off x="6988175" y="3515854"/>
            <a:ext cx="256967" cy="252413"/>
          </a:xfrm>
          <a:prstGeom prst="rect">
            <a:avLst/>
          </a:prstGeom>
        </p:spPr>
      </p:pic>
      <p:pic>
        <p:nvPicPr>
          <p:cNvPr id="36" name="Graphic 35">
            <a:extLst>
              <a:ext uri="{FF2B5EF4-FFF2-40B4-BE49-F238E27FC236}">
                <a16:creationId xmlns:a16="http://schemas.microsoft.com/office/drawing/2014/main" id="{D8E0B9A4-873F-3DCE-547E-00443AD2971C}"/>
              </a:ext>
            </a:extLst>
          </p:cNvPr>
          <p:cNvPicPr>
            <a:picLocks noChangeAspect="1"/>
          </p:cNvPicPr>
          <p:nvPr/>
        </p:nvPicPr>
        <p:blipFill rotWithShape="1">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rcRect b="21418"/>
          <a:stretch/>
        </p:blipFill>
        <p:spPr>
          <a:xfrm rot="16200000">
            <a:off x="6988175" y="3998433"/>
            <a:ext cx="256967" cy="252413"/>
          </a:xfrm>
          <a:prstGeom prst="rect">
            <a:avLst/>
          </a:prstGeom>
        </p:spPr>
      </p:pic>
      <p:pic>
        <p:nvPicPr>
          <p:cNvPr id="37" name="Graphic 36">
            <a:extLst>
              <a:ext uri="{FF2B5EF4-FFF2-40B4-BE49-F238E27FC236}">
                <a16:creationId xmlns:a16="http://schemas.microsoft.com/office/drawing/2014/main" id="{01FFD27C-5F7E-9FEB-13F9-C7BE3597E09A}"/>
              </a:ext>
            </a:extLst>
          </p:cNvPr>
          <p:cNvPicPr>
            <a:picLocks noChangeAspect="1"/>
          </p:cNvPicPr>
          <p:nvPr/>
        </p:nvPicPr>
        <p:blipFill rotWithShape="1">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rcRect b="21418"/>
          <a:stretch/>
        </p:blipFill>
        <p:spPr>
          <a:xfrm rot="16200000">
            <a:off x="6988175" y="4497914"/>
            <a:ext cx="256967" cy="252413"/>
          </a:xfrm>
          <a:prstGeom prst="rect">
            <a:avLst/>
          </a:prstGeom>
        </p:spPr>
      </p:pic>
      <p:pic>
        <p:nvPicPr>
          <p:cNvPr id="38" name="Graphic 37">
            <a:extLst>
              <a:ext uri="{FF2B5EF4-FFF2-40B4-BE49-F238E27FC236}">
                <a16:creationId xmlns:a16="http://schemas.microsoft.com/office/drawing/2014/main" id="{497645C4-929B-CB8F-1D03-27B4585D2B36}"/>
              </a:ext>
            </a:extLst>
          </p:cNvPr>
          <p:cNvPicPr>
            <a:picLocks noChangeAspect="1"/>
          </p:cNvPicPr>
          <p:nvPr/>
        </p:nvPicPr>
        <p:blipFill rotWithShape="1">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rcRect b="21418"/>
          <a:stretch/>
        </p:blipFill>
        <p:spPr>
          <a:xfrm rot="5400000" flipV="1">
            <a:off x="2178740" y="4488288"/>
            <a:ext cx="256967" cy="252413"/>
          </a:xfrm>
          <a:prstGeom prst="rect">
            <a:avLst/>
          </a:prstGeom>
        </p:spPr>
      </p:pic>
      <p:sp>
        <p:nvSpPr>
          <p:cNvPr id="85" name="Rectangle 84">
            <a:extLst>
              <a:ext uri="{FF2B5EF4-FFF2-40B4-BE49-F238E27FC236}">
                <a16:creationId xmlns:a16="http://schemas.microsoft.com/office/drawing/2014/main" id="{434F9C94-593D-6B7B-38B5-B7AD2CB409C8}"/>
              </a:ext>
            </a:extLst>
          </p:cNvPr>
          <p:cNvSpPr/>
          <p:nvPr>
            <p:custDataLst>
              <p:tags r:id="rId15"/>
            </p:custDataLst>
          </p:nvPr>
        </p:nvSpPr>
        <p:spPr bwMode="auto">
          <a:xfrm>
            <a:off x="9709150" y="6221413"/>
            <a:ext cx="179388" cy="133350"/>
          </a:xfrm>
          <a:prstGeom prst="rect">
            <a:avLst/>
          </a:prstGeom>
          <a:solidFill>
            <a:srgbClr val="4C6C9C"/>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86" name="Rectangle 85">
            <a:extLst>
              <a:ext uri="{FF2B5EF4-FFF2-40B4-BE49-F238E27FC236}">
                <a16:creationId xmlns:a16="http://schemas.microsoft.com/office/drawing/2014/main" id="{86D28794-08D8-8600-947F-193748006FEE}"/>
              </a:ext>
            </a:extLst>
          </p:cNvPr>
          <p:cNvSpPr/>
          <p:nvPr>
            <p:custDataLst>
              <p:tags r:id="rId16"/>
            </p:custDataLst>
          </p:nvPr>
        </p:nvSpPr>
        <p:spPr bwMode="auto">
          <a:xfrm>
            <a:off x="10390188" y="6221413"/>
            <a:ext cx="179388" cy="133350"/>
          </a:xfrm>
          <a:prstGeom prst="rect">
            <a:avLst/>
          </a:prstGeom>
          <a:solidFill>
            <a:srgbClr val="9F3C1C"/>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81" name="Text Placeholder 19">
            <a:extLst>
              <a:ext uri="{FF2B5EF4-FFF2-40B4-BE49-F238E27FC236}">
                <a16:creationId xmlns:a16="http://schemas.microsoft.com/office/drawing/2014/main" id="{9F9869AF-B0F6-4E89-B216-4EC18C7334C2}"/>
              </a:ext>
            </a:extLst>
          </p:cNvPr>
          <p:cNvSpPr>
            <a:spLocks noGrp="1"/>
          </p:cNvSpPr>
          <p:nvPr>
            <p:custDataLst>
              <p:tags r:id="rId17"/>
            </p:custDataLst>
          </p:nvPr>
        </p:nvSpPr>
        <p:spPr bwMode="auto">
          <a:xfrm>
            <a:off x="9939338" y="621665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B73DAC23-7392-43AB-BF14-2D1DAAEDB72B}" type="datetime'''''''''''Ha''''r''''''''''''''r''''''''i''''''''s'''''">
              <a:rPr kumimoji="0" lang="en-GB" altLang="en-US" sz="10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Harris</a:t>
            </a:fld>
            <a:endParaRPr kumimoji="0" lang="en-GB" sz="10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83" name="Text Placeholder 19">
            <a:extLst>
              <a:ext uri="{FF2B5EF4-FFF2-40B4-BE49-F238E27FC236}">
                <a16:creationId xmlns:a16="http://schemas.microsoft.com/office/drawing/2014/main" id="{9F9869AF-B0F6-4E89-B216-4EC18C7334C2}"/>
              </a:ext>
            </a:extLst>
          </p:cNvPr>
          <p:cNvSpPr>
            <a:spLocks noGrp="1"/>
          </p:cNvSpPr>
          <p:nvPr>
            <p:custDataLst>
              <p:tags r:id="rId18"/>
            </p:custDataLst>
          </p:nvPr>
        </p:nvSpPr>
        <p:spPr bwMode="auto">
          <a:xfrm>
            <a:off x="10620375" y="6216650"/>
            <a:ext cx="3698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075EE0A6-D487-4C05-A87C-8BB6C43E0169}" type="datetime'T''''''''''''''''''''r''''u''m''''''''''''''''''p'''''''">
              <a:rPr kumimoji="0" lang="en-GB" altLang="en-US" sz="10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Trump</a:t>
            </a:fld>
            <a:endParaRPr kumimoji="0" lang="en-GB" sz="10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175" name="TextBox 174">
            <a:extLst>
              <a:ext uri="{FF2B5EF4-FFF2-40B4-BE49-F238E27FC236}">
                <a16:creationId xmlns:a16="http://schemas.microsoft.com/office/drawing/2014/main" id="{F62E693E-1D2C-82F1-C198-335C51D9875D}"/>
              </a:ext>
            </a:extLst>
          </p:cNvPr>
          <p:cNvSpPr txBox="1"/>
          <p:nvPr/>
        </p:nvSpPr>
        <p:spPr>
          <a:xfrm>
            <a:off x="9718675" y="5289719"/>
            <a:ext cx="2017713" cy="73866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oth Trump and Harris scenarios are somewhat bearish, within </a:t>
            </a:r>
            <a:r>
              <a:rPr kumimoji="0" lang="en-GB" sz="1200" b="0" i="0" u="none" strike="noStrike" kern="1200" cap="none" spc="0" normalizeH="0" baseline="0" noProof="0">
                <a:ln>
                  <a:noFill/>
                </a:ln>
                <a:solidFill>
                  <a:schemeClr val="accent5"/>
                </a:solidFill>
                <a:effectLst/>
                <a:highlight>
                  <a:srgbClr val="808080"/>
                </a:highligh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XX</a:t>
            </a:r>
            <a:r>
              <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by 2040, on Henry Hub.</a:t>
            </a: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pic>
        <p:nvPicPr>
          <p:cNvPr id="176" name="Graphic 175">
            <a:extLst>
              <a:ext uri="{FF2B5EF4-FFF2-40B4-BE49-F238E27FC236}">
                <a16:creationId xmlns:a16="http://schemas.microsoft.com/office/drawing/2014/main" id="{F840C25D-26AD-8327-F937-58AD9DAF8287}"/>
              </a:ext>
            </a:extLst>
          </p:cNvPr>
          <p:cNvPicPr>
            <a:picLocks noChangeAspect="1"/>
          </p:cNvPicPr>
          <p:nvPr/>
        </p:nvPicPr>
        <p:blipFill rotWithShape="1">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rcRect b="21418"/>
          <a:stretch/>
        </p:blipFill>
        <p:spPr>
          <a:xfrm rot="16200000">
            <a:off x="9729098" y="4956905"/>
            <a:ext cx="256967" cy="252413"/>
          </a:xfrm>
          <a:prstGeom prst="rect">
            <a:avLst/>
          </a:prstGeom>
        </p:spPr>
      </p:pic>
      <p:pic>
        <p:nvPicPr>
          <p:cNvPr id="177" name="Picture 4">
            <a:extLst>
              <a:ext uri="{FF2B5EF4-FFF2-40B4-BE49-F238E27FC236}">
                <a16:creationId xmlns:a16="http://schemas.microsoft.com/office/drawing/2014/main" id="{ADE14421-6563-BF28-A8B1-8BD40C404B81}"/>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t="72" b="72"/>
          <a:stretch/>
        </p:blipFill>
        <p:spPr bwMode="auto">
          <a:xfrm>
            <a:off x="10923612" y="4956215"/>
            <a:ext cx="257126" cy="223838"/>
          </a:xfrm>
          <a:prstGeom prst="rect">
            <a:avLst/>
          </a:prstGeom>
          <a:noFill/>
          <a:extLst>
            <a:ext uri="{909E8E84-426E-40DD-AFC4-6F175D3DCCD1}">
              <a14:hiddenFill xmlns:a14="http://schemas.microsoft.com/office/drawing/2010/main">
                <a:solidFill>
                  <a:srgbClr val="FFFFFF"/>
                </a:solidFill>
              </a14:hiddenFill>
            </a:ext>
          </a:extLst>
        </p:spPr>
      </p:pic>
      <p:pic>
        <p:nvPicPr>
          <p:cNvPr id="182" name="Graphic 181">
            <a:extLst>
              <a:ext uri="{FF2B5EF4-FFF2-40B4-BE49-F238E27FC236}">
                <a16:creationId xmlns:a16="http://schemas.microsoft.com/office/drawing/2014/main" id="{FD78103A-34C6-E275-19B0-60A70F3568B2}"/>
              </a:ext>
            </a:extLst>
          </p:cNvPr>
          <p:cNvPicPr>
            <a:picLocks noChangeAspect="1"/>
          </p:cNvPicPr>
          <p:nvPr/>
        </p:nvPicPr>
        <p:blipFill rotWithShape="1">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rcRect b="21418"/>
          <a:stretch/>
        </p:blipFill>
        <p:spPr>
          <a:xfrm rot="16200000">
            <a:off x="10614129" y="4956905"/>
            <a:ext cx="256967" cy="252413"/>
          </a:xfrm>
          <a:prstGeom prst="rect">
            <a:avLst/>
          </a:prstGeom>
        </p:spPr>
      </p:pic>
      <p:pic>
        <p:nvPicPr>
          <p:cNvPr id="183" name="Picture 2" descr="democrat Icon 26092">
            <a:extLst>
              <a:ext uri="{FF2B5EF4-FFF2-40B4-BE49-F238E27FC236}">
                <a16:creationId xmlns:a16="http://schemas.microsoft.com/office/drawing/2014/main" id="{ADB05200-D404-A97A-709E-BC258BB75508}"/>
              </a:ext>
            </a:extLst>
          </p:cNvPr>
          <p:cNvPicPr>
            <a:picLocks noChangeAspect="1" noChangeArrowheads="1"/>
          </p:cNvPicPr>
          <p:nvPr/>
        </p:nvPicPr>
        <p:blipFill rotWithShape="1">
          <a:blip r:embed="rId36">
            <a:extLst>
              <a:ext uri="{28A0092B-C50C-407E-A947-70E740481C1C}">
                <a14:useLocalDpi xmlns:a14="http://schemas.microsoft.com/office/drawing/2010/main" val="0"/>
              </a:ext>
            </a:extLst>
          </a:blip>
          <a:srcRect l="15128" t="20975" r="17222" b="19584"/>
          <a:stretch/>
        </p:blipFill>
        <p:spPr bwMode="auto">
          <a:xfrm>
            <a:off x="10043545" y="4954628"/>
            <a:ext cx="256552" cy="22542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096F8C33-46CE-2030-BCD4-3D3D5B6136BE}"/>
              </a:ext>
            </a:extLst>
          </p:cNvPr>
          <p:cNvPicPr>
            <a:picLocks noChangeAspect="1"/>
          </p:cNvPicPr>
          <p:nvPr/>
        </p:nvPicPr>
        <p:blipFill>
          <a:blip r:embed="rId37"/>
          <a:stretch>
            <a:fillRect/>
          </a:stretch>
        </p:blipFill>
        <p:spPr>
          <a:xfrm>
            <a:off x="497265" y="2766165"/>
            <a:ext cx="348951" cy="376397"/>
          </a:xfrm>
          <a:prstGeom prst="rect">
            <a:avLst/>
          </a:prstGeom>
        </p:spPr>
      </p:pic>
      <p:sp>
        <p:nvSpPr>
          <p:cNvPr id="28" name="Text Placeholder 8">
            <a:extLst>
              <a:ext uri="{FF2B5EF4-FFF2-40B4-BE49-F238E27FC236}">
                <a16:creationId xmlns:a16="http://schemas.microsoft.com/office/drawing/2014/main" id="{98AC6FBD-68D4-9C87-29F8-47E16FB46C7A}"/>
              </a:ext>
            </a:extLst>
          </p:cNvPr>
          <p:cNvSpPr txBox="1">
            <a:spLocks/>
          </p:cNvSpPr>
          <p:nvPr/>
        </p:nvSpPr>
        <p:spPr>
          <a:xfrm>
            <a:off x="381001" y="6715169"/>
            <a:ext cx="1500411" cy="110800"/>
          </a:xfrm>
          <a:prstGeom prst="rect">
            <a:avLst/>
          </a:prstGeom>
        </p:spPr>
        <p:txBody>
          <a:bodyPr vert="horz" wrap="none" lIns="0" tIns="0" rIns="0" bIns="0" rtlCol="0" anchor="b" anchorCtr="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baseline="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ts val="0"/>
              </a:spcBef>
              <a:spcAft>
                <a:spcPts val="0"/>
              </a:spcAft>
              <a:buClrTx/>
              <a:buSzTx/>
              <a:buFont typeface="Wingdings" panose="05000000000000000000" pitchFamily="2" charset="2"/>
              <a:buNone/>
              <a:tabLst/>
              <a:defRPr/>
            </a:pPr>
            <a:r>
              <a:rPr kumimoji="0" lang="en-GB" sz="800" b="0"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rPr>
              <a:t>Sources: Aurora Energy Research</a:t>
            </a:r>
          </a:p>
        </p:txBody>
      </p:sp>
      <p:sp>
        <p:nvSpPr>
          <p:cNvPr id="58" name="Rectangle 57">
            <a:extLst>
              <a:ext uri="{FF2B5EF4-FFF2-40B4-BE49-F238E27FC236}">
                <a16:creationId xmlns:a16="http://schemas.microsoft.com/office/drawing/2014/main" id="{BF98DD8C-06E5-3671-4679-9549B45F5F82}"/>
              </a:ext>
            </a:extLst>
          </p:cNvPr>
          <p:cNvSpPr/>
          <p:nvPr/>
        </p:nvSpPr>
        <p:spPr>
          <a:xfrm>
            <a:off x="2366513" y="5302250"/>
            <a:ext cx="115197" cy="1028960"/>
          </a:xfrm>
          <a:prstGeom prst="rect">
            <a:avLst/>
          </a:prstGeom>
          <a:solidFill>
            <a:schemeClr val="accent5"/>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Tree>
    <p:extLst>
      <p:ext uri="{BB962C8B-B14F-4D97-AF65-F5344CB8AC3E}">
        <p14:creationId xmlns:p14="http://schemas.microsoft.com/office/powerpoint/2010/main" val="3639500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1558838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83" imgH="384" progId="TCLayout.ActiveDocument.1">
                  <p:embed/>
                </p:oleObj>
              </mc:Choice>
              <mc:Fallback>
                <p:oleObj name="think-cell Slide" r:id="rId20" imgW="383" imgH="384" progId="TCLayout.ActiveDocument.1">
                  <p:embed/>
                  <p:pic>
                    <p:nvPicPr>
                      <p:cNvPr id="7" name="Object 6" hidden="1"/>
                      <p:cNvPicPr/>
                      <p:nvPr/>
                    </p:nvPicPr>
                    <p:blipFill>
                      <a:blip r:embed="rId21"/>
                      <a:stretch>
                        <a:fillRect/>
                      </a:stretch>
                    </p:blipFill>
                    <p:spPr>
                      <a:xfrm>
                        <a:off x="1588" y="1588"/>
                        <a:ext cx="1588" cy="1588"/>
                      </a:xfrm>
                      <a:prstGeom prst="rect">
                        <a:avLst/>
                      </a:prstGeom>
                    </p:spPr>
                  </p:pic>
                </p:oleObj>
              </mc:Fallback>
            </mc:AlternateContent>
          </a:graphicData>
        </a:graphic>
      </p:graphicFrame>
      <p:cxnSp>
        <p:nvCxnSpPr>
          <p:cNvPr id="4" name="Straight Connector 3">
            <a:extLst>
              <a:ext uri="{FF2B5EF4-FFF2-40B4-BE49-F238E27FC236}">
                <a16:creationId xmlns:a16="http://schemas.microsoft.com/office/drawing/2014/main" id="{EBEEF9D8-0267-DEF7-A3A7-2F62FF117109}"/>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a:xfrm>
            <a:off x="381598" y="411856"/>
            <a:ext cx="9602189" cy="609398"/>
          </a:xfrm>
        </p:spPr>
        <p:txBody>
          <a:bodyPr vert="horz"/>
          <a:lstStyle/>
          <a:p>
            <a:r>
              <a:rPr lang="en-GB"/>
              <a:t>In the case of more extreme policies by either candidate, although there is slight upwards pressure on Henry Hub gas prices, impacts remain minimal</a:t>
            </a:r>
          </a:p>
        </p:txBody>
      </p:sp>
      <p:graphicFrame>
        <p:nvGraphicFramePr>
          <p:cNvPr id="9" name="Tabelle 7">
            <a:extLst>
              <a:ext uri="{FF2B5EF4-FFF2-40B4-BE49-F238E27FC236}">
                <a16:creationId xmlns:a16="http://schemas.microsoft.com/office/drawing/2014/main" id="{3123EFC3-86AA-4AC9-BFEB-F34E5A0D555D}"/>
              </a:ext>
            </a:extLst>
          </p:cNvPr>
          <p:cNvGraphicFramePr>
            <a:graphicFrameLocks noGrp="1"/>
          </p:cNvGraphicFramePr>
          <p:nvPr>
            <p:custDataLst>
              <p:tags r:id="rId2"/>
            </p:custDataLst>
            <p:extLst>
              <p:ext uri="{D42A27DB-BD31-4B8C-83A1-F6EECF244321}">
                <p14:modId xmlns:p14="http://schemas.microsoft.com/office/powerpoint/2010/main" val="2983482882"/>
              </p:ext>
            </p:extLst>
          </p:nvPr>
        </p:nvGraphicFramePr>
        <p:xfrm>
          <a:off x="380887" y="1689268"/>
          <a:ext cx="11442814" cy="4732908"/>
        </p:xfrm>
        <a:graphic>
          <a:graphicData uri="http://schemas.openxmlformats.org/drawingml/2006/table">
            <a:tbl>
              <a:tblPr firstRow="1" bandRow="1">
                <a:effectLst/>
                <a:tableStyleId>{5C22544A-7EE6-4342-B048-85BDC9FD1C3A}</a:tableStyleId>
              </a:tblPr>
              <a:tblGrid>
                <a:gridCol w="414719">
                  <a:extLst>
                    <a:ext uri="{9D8B030D-6E8A-4147-A177-3AD203B41FA5}">
                      <a16:colId xmlns:a16="http://schemas.microsoft.com/office/drawing/2014/main" val="2263021410"/>
                    </a:ext>
                  </a:extLst>
                </a:gridCol>
                <a:gridCol w="1285354">
                  <a:extLst>
                    <a:ext uri="{9D8B030D-6E8A-4147-A177-3AD203B41FA5}">
                      <a16:colId xmlns:a16="http://schemas.microsoft.com/office/drawing/2014/main" val="20000"/>
                    </a:ext>
                  </a:extLst>
                </a:gridCol>
                <a:gridCol w="482027">
                  <a:extLst>
                    <a:ext uri="{9D8B030D-6E8A-4147-A177-3AD203B41FA5}">
                      <a16:colId xmlns:a16="http://schemas.microsoft.com/office/drawing/2014/main" val="2133620686"/>
                    </a:ext>
                  </a:extLst>
                </a:gridCol>
                <a:gridCol w="4350792">
                  <a:extLst>
                    <a:ext uri="{9D8B030D-6E8A-4147-A177-3AD203B41FA5}">
                      <a16:colId xmlns:a16="http://schemas.microsoft.com/office/drawing/2014/main" val="20001"/>
                    </a:ext>
                  </a:extLst>
                </a:gridCol>
                <a:gridCol w="399733">
                  <a:extLst>
                    <a:ext uri="{9D8B030D-6E8A-4147-A177-3AD203B41FA5}">
                      <a16:colId xmlns:a16="http://schemas.microsoft.com/office/drawing/2014/main" val="3666761330"/>
                    </a:ext>
                  </a:extLst>
                </a:gridCol>
                <a:gridCol w="4510189">
                  <a:extLst>
                    <a:ext uri="{9D8B030D-6E8A-4147-A177-3AD203B41FA5}">
                      <a16:colId xmlns:a16="http://schemas.microsoft.com/office/drawing/2014/main" val="20002"/>
                    </a:ext>
                  </a:extLst>
                </a:gridCol>
              </a:tblGrid>
              <a:tr h="441533">
                <a:tc>
                  <a:txBody>
                    <a:bodyPr/>
                    <a:lstStyle/>
                    <a:p>
                      <a:pPr algn="ctr">
                        <a:spcBef>
                          <a:spcPts val="0"/>
                        </a:spcBef>
                      </a:pPr>
                      <a:endPar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72000" marR="54000" marT="72000" marB="36000">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spcBef>
                          <a:spcPts val="0"/>
                        </a:spcBef>
                      </a:pPr>
                      <a:r>
                        <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cenario</a:t>
                      </a:r>
                    </a:p>
                  </a:txBody>
                  <a:tcPr marL="72000" marR="54000" marT="72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spcBef>
                          <a:spcPts val="0"/>
                        </a:spcBef>
                      </a:pPr>
                      <a:endPar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685783"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rump Presidency + </a:t>
                      </a:r>
                      <a:r>
                        <a:rPr kumimoji="0" lang="en-GB" sz="12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pediting LNG terminal approvals </a:t>
                      </a:r>
                      <a:r>
                        <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nd facilitating </a:t>
                      </a:r>
                      <a:r>
                        <a:rPr kumimoji="0" lang="en-GB" sz="12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apid expansion of 54% more capacity by 2031</a:t>
                      </a:r>
                    </a:p>
                  </a:txBody>
                  <a:tcPr marL="0" marR="14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685783" rtl="0" eaLnBrk="1" fontAlgn="auto" latinLnBrk="0" hangingPunct="1">
                        <a:lnSpc>
                          <a:spcPct val="100000"/>
                        </a:lnSpc>
                        <a:spcBef>
                          <a:spcPts val="600"/>
                        </a:spcBef>
                        <a:spcAft>
                          <a:spcPts val="0"/>
                        </a:spcAft>
                        <a:buClrTx/>
                        <a:buSzTx/>
                        <a:buFont typeface="Wingdings" panose="05000000000000000000" pitchFamily="2" charset="2"/>
                        <a:buChar char="§"/>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14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685783"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rris Presidency + </a:t>
                      </a:r>
                      <a:r>
                        <a:rPr lang="en-IN" sz="1200" b="1">
                          <a:solidFill>
                            <a:schemeClr val="tx1"/>
                          </a:solidFill>
                        </a:rPr>
                        <a:t>ban on new oil and gas leases on federal territory</a:t>
                      </a:r>
                      <a:r>
                        <a:rPr lang="en-IN" sz="1200" b="0">
                          <a:solidFill>
                            <a:schemeClr val="tx1"/>
                          </a:solidFill>
                        </a:rPr>
                        <a:t>, which is currently 10% of US gas production.</a:t>
                      </a:r>
                      <a:endParaRPr kumimoji="0" lang="en-GB" sz="12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144000" marT="72000" marB="360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76177491"/>
                  </a:ext>
                </a:extLst>
              </a:tr>
              <a:tr h="271093">
                <a:tc>
                  <a:txBody>
                    <a:bodyPr/>
                    <a:lstStyle/>
                    <a:p>
                      <a:pPr algn="ctr" rtl="0">
                        <a:spcBef>
                          <a:spcPts val="0"/>
                        </a:spcBef>
                      </a:pPr>
                      <a:endPar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72000" marR="54000" marT="72000" marB="36000">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5">
                  <a:txBody>
                    <a:bodyPr/>
                    <a:lstStyle/>
                    <a:p>
                      <a:pPr marL="0" marR="0" lvl="0" indent="0" algn="ctr" defTabSz="685783"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200" b="1" i="1" u="none" strike="noStrike" kern="1200" cap="none" spc="0" normalizeH="0" baseline="0" noProof="0">
                          <a:ln>
                            <a:noFill/>
                          </a:ln>
                          <a:solidFill>
                            <a:schemeClr val="tx1"/>
                          </a:solidFill>
                          <a:effectLst/>
                          <a:uLnTx/>
                          <a:uFillTx/>
                          <a:latin typeface="Lato" panose="020F0502020204030203" pitchFamily="34" charset="0"/>
                          <a:sym typeface="Lato" panose="020F0502020204030203" pitchFamily="34" charset="0"/>
                        </a:rPr>
                        <a:t>Modelling outcomes</a:t>
                      </a:r>
                    </a:p>
                  </a:txBody>
                  <a:tcPr marL="72000" marR="54000" marT="72000" marB="36000" anchor="ctr">
                    <a:lnL w="2857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rtl="0">
                        <a:spcBef>
                          <a:spcPts val="0"/>
                        </a:spcBef>
                      </a:pPr>
                      <a:endPar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a:p>
                  </a:txBody>
                  <a:tcPr marL="0" marR="14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182880" marR="0" lvl="0" indent="-182880" algn="l" defTabSz="685783" rtl="0" eaLnBrk="1" fontAlgn="auto" latinLnBrk="0" hangingPunct="1">
                        <a:lnSpc>
                          <a:spcPct val="100000"/>
                        </a:lnSpc>
                        <a:spcBef>
                          <a:spcPts val="600"/>
                        </a:spcBef>
                        <a:spcAft>
                          <a:spcPts val="0"/>
                        </a:spcAft>
                        <a:buClrTx/>
                        <a:buSzTx/>
                        <a:buFont typeface="Wingdings" panose="05000000000000000000" pitchFamily="2" charset="2"/>
                        <a:buChar char="§"/>
                        <a:tabLst/>
                        <a:defRPr/>
                      </a:pPr>
                      <a:endParaRPr kumimoji="0" lang="en-GB" sz="1200" b="0"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14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171450" marR="0" lvl="0" indent="-171450" algn="l" defTabSz="685783" rtl="0" eaLnBrk="1" fontAlgn="auto" latinLnBrk="0" hangingPunct="1">
                        <a:lnSpc>
                          <a:spcPct val="100000"/>
                        </a:lnSpc>
                        <a:spcBef>
                          <a:spcPts val="600"/>
                        </a:spcBef>
                        <a:spcAft>
                          <a:spcPts val="0"/>
                        </a:spcAft>
                        <a:buClrTx/>
                        <a:buSzTx/>
                        <a:buFont typeface="Wingdings" panose="05000000000000000000" pitchFamily="2" charset="2"/>
                        <a:buChar char="§"/>
                        <a:tabLst/>
                        <a:defRPr/>
                      </a:pPr>
                      <a:endParaRPr kumimoji="0" lang="en-GB" sz="1200" b="0"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14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08593862"/>
                  </a:ext>
                </a:extLst>
              </a:tr>
              <a:tr h="412068">
                <a:tc>
                  <a:txBody>
                    <a:bodyPr/>
                    <a:lstStyle/>
                    <a:p>
                      <a:pPr algn="ctr" rtl="0">
                        <a:spcBef>
                          <a:spcPts val="0"/>
                        </a:spcBef>
                      </a:pPr>
                      <a:endPar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72000" marR="54000" marT="72000" marB="36000">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spcBef>
                          <a:spcPts val="0"/>
                        </a:spcBef>
                      </a:pPr>
                      <a:r>
                        <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as demand</a:t>
                      </a:r>
                    </a:p>
                  </a:txBody>
                  <a:tcPr marL="72000" marR="54000" marT="72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spcBef>
                          <a:spcPts val="0"/>
                        </a:spcBef>
                      </a:pPr>
                      <a:endPar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685783"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200" b="0"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rump tariffs increase US demand but reduce China demand.</a:t>
                      </a:r>
                    </a:p>
                  </a:txBody>
                  <a:tcPr marL="0" marR="14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880" marR="0" lvl="0" indent="-182880" algn="l" defTabSz="685783" rtl="0" eaLnBrk="1" fontAlgn="auto" latinLnBrk="0" hangingPunct="1">
                        <a:lnSpc>
                          <a:spcPct val="100000"/>
                        </a:lnSpc>
                        <a:spcBef>
                          <a:spcPts val="600"/>
                        </a:spcBef>
                        <a:spcAft>
                          <a:spcPts val="0"/>
                        </a:spcAft>
                        <a:buClrTx/>
                        <a:buSzTx/>
                        <a:buFont typeface="Wingdings" panose="05000000000000000000" pitchFamily="2" charset="2"/>
                        <a:buChar char="§"/>
                        <a:tabLst/>
                        <a:defRPr/>
                      </a:pPr>
                      <a:endParaRPr kumimoji="0" lang="en-GB" sz="1200" b="0"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14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rtl="0" eaLnBrk="1" fontAlgn="auto" latinLnBrk="0" hangingPunct="1">
                        <a:lnSpc>
                          <a:spcPct val="100000"/>
                        </a:lnSpc>
                        <a:spcBef>
                          <a:spcPts val="600"/>
                        </a:spcBef>
                        <a:spcAft>
                          <a:spcPts val="0"/>
                        </a:spcAft>
                        <a:buClrTx/>
                        <a:buSzTx/>
                        <a:buFont typeface="Wingdings" panose="05000000000000000000" pitchFamily="2" charset="2"/>
                        <a:buNone/>
                      </a:pPr>
                      <a:r>
                        <a:rPr lang="en-GB" sz="1200" b="0" i="0" u="none" strike="noStrike" kern="1200" cap="none" spc="0" normalizeH="0" baseline="0" noProof="0">
                          <a:ln>
                            <a:noFill/>
                          </a:ln>
                          <a:solidFill>
                            <a:schemeClr val="tx1"/>
                          </a:solidFill>
                          <a:effectLst/>
                          <a:uLnTx/>
                          <a:uFillTx/>
                          <a:latin typeface="Lato"/>
                          <a:ea typeface="Lato"/>
                          <a:cs typeface="Lato"/>
                        </a:rPr>
                        <a:t>No change from Central.</a:t>
                      </a:r>
                      <a:endParaRPr kumimoji="0" lang="en-US">
                        <a:sym typeface="Lato" panose="020F0502020204030203" pitchFamily="34" charset="0"/>
                      </a:endParaRPr>
                    </a:p>
                  </a:txBody>
                  <a:tcPr marL="0" marR="144000" marT="72000" marB="360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28508652"/>
                  </a:ext>
                </a:extLst>
              </a:tr>
              <a:tr h="782412">
                <a:tc>
                  <a:txBody>
                    <a:bodyPr/>
                    <a:lstStyle/>
                    <a:p>
                      <a:pPr algn="ctr" rtl="0">
                        <a:spcBef>
                          <a:spcPts val="0"/>
                        </a:spcBef>
                      </a:pPr>
                      <a:endPar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72000" marR="54000" marT="72000" marB="36000">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spcBef>
                          <a:spcPts val="0"/>
                        </a:spcBef>
                      </a:pPr>
                      <a:r>
                        <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S LNG exports</a:t>
                      </a:r>
                    </a:p>
                  </a:txBody>
                  <a:tcPr marL="72000" marR="54000" marT="72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spcBef>
                          <a:spcPts val="0"/>
                        </a:spcBef>
                      </a:pPr>
                      <a:endPar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685783"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200" b="0"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dditional US LNG supply displaces more expensive cargos, </a:t>
                      </a:r>
                      <a:r>
                        <a:rPr kumimoji="0" lang="en-GB" sz="1200" b="1"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creasing international demand for US LNG by </a:t>
                      </a:r>
                      <a:r>
                        <a:rPr kumimoji="0" lang="en-GB" sz="1200" b="1" i="0" u="none" strike="noStrike" kern="1200" cap="none" spc="0" normalizeH="0" baseline="0" noProof="0">
                          <a:ln>
                            <a:noFill/>
                          </a:ln>
                          <a:solidFill>
                            <a:schemeClr val="accent5"/>
                          </a:solidFill>
                          <a:effectLst/>
                          <a:highlight>
                            <a:srgbClr val="808080"/>
                          </a:highligh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XX</a:t>
                      </a:r>
                      <a:r>
                        <a:rPr kumimoji="0" lang="en-GB" sz="1200" b="1"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by 2030</a:t>
                      </a:r>
                      <a:r>
                        <a:rPr kumimoji="0" lang="en-GB" sz="1200" b="0"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By 2040, tariffs counteracts LNG overbuild, reducing the export increase to </a:t>
                      </a:r>
                      <a:r>
                        <a:rPr kumimoji="0" lang="en-GB" sz="1200" b="0" i="0" u="none" strike="noStrike" kern="1200" cap="none" spc="0" normalizeH="0" baseline="0" noProof="0">
                          <a:ln>
                            <a:noFill/>
                          </a:ln>
                          <a:solidFill>
                            <a:schemeClr val="accent5"/>
                          </a:solidFill>
                          <a:effectLst/>
                          <a:highlight>
                            <a:srgbClr val="808080"/>
                          </a:highligh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XX</a:t>
                      </a:r>
                      <a:r>
                        <a:rPr kumimoji="0" lang="en-GB" sz="1200" b="0"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p>
                  </a:txBody>
                  <a:tcPr marL="0" marR="14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685783" rtl="0" eaLnBrk="1" fontAlgn="auto" latinLnBrk="0" hangingPunct="1">
                        <a:lnSpc>
                          <a:spcPct val="100000"/>
                        </a:lnSpc>
                        <a:spcBef>
                          <a:spcPts val="600"/>
                        </a:spcBef>
                        <a:spcAft>
                          <a:spcPts val="0"/>
                        </a:spcAft>
                        <a:buClrTx/>
                        <a:buSzTx/>
                        <a:buFont typeface="Wingdings" panose="05000000000000000000" pitchFamily="2" charset="2"/>
                        <a:buNone/>
                        <a:tabLst/>
                        <a:defRPr/>
                      </a:pPr>
                      <a:endParaRPr kumimoji="0" lang="en-GB" sz="1200" b="0"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14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685783"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200" b="0"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straining LNG buildout and gas production on federal land </a:t>
                      </a:r>
                      <a:r>
                        <a:rPr kumimoji="0" lang="en-GB" sz="1200" b="1"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limits availability of US export volumes </a:t>
                      </a:r>
                      <a:r>
                        <a:rPr kumimoji="0" lang="en-GB" sz="1200" b="1" i="0" u="none" strike="noStrike" kern="1200" cap="none" spc="0" normalizeH="0" baseline="0" noProof="0">
                          <a:ln>
                            <a:noFill/>
                          </a:ln>
                          <a:solidFill>
                            <a:schemeClr val="accent5"/>
                          </a:solidFill>
                          <a:effectLst/>
                          <a:highlight>
                            <a:srgbClr val="808080"/>
                          </a:highligh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XX</a:t>
                      </a:r>
                      <a:r>
                        <a:rPr kumimoji="0" lang="en-GB" sz="1200" b="1"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by 2040</a:t>
                      </a:r>
                      <a:r>
                        <a:rPr kumimoji="0" lang="en-GB" sz="1200" b="0"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p>
                  </a:txBody>
                  <a:tcPr marL="0" marR="144000" marT="72000" marB="360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95538039"/>
                  </a:ext>
                </a:extLst>
              </a:tr>
              <a:tr h="611972">
                <a:tc>
                  <a:txBody>
                    <a:bodyPr/>
                    <a:lstStyle/>
                    <a:p>
                      <a:pPr algn="ctr" rtl="0">
                        <a:spcBef>
                          <a:spcPts val="0"/>
                        </a:spcBef>
                      </a:pPr>
                      <a:endPar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72000" marR="54000" marT="72000" marB="36000">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spcBef>
                          <a:spcPts val="0"/>
                        </a:spcBef>
                      </a:pPr>
                      <a:r>
                        <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S gas production</a:t>
                      </a:r>
                    </a:p>
                  </a:txBody>
                  <a:tcPr marL="72000" marR="54000" marT="72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spcBef>
                          <a:spcPts val="0"/>
                        </a:spcBef>
                      </a:pPr>
                      <a:endPar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685783"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roduction increases by</a:t>
                      </a:r>
                      <a:r>
                        <a:rPr kumimoji="0" lang="en-GB" sz="1200" b="1" i="0" u="none" strike="noStrike" kern="1200" cap="none" spc="0" normalizeH="0" baseline="0" noProof="0">
                          <a:ln>
                            <a:noFill/>
                          </a:ln>
                          <a:solidFill>
                            <a:schemeClr val="accent5"/>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kumimoji="0" lang="en-GB" sz="1200" b="1" i="0" u="none" strike="noStrike" kern="1200" cap="none" spc="0" normalizeH="0" baseline="0" noProof="0">
                          <a:ln>
                            <a:noFill/>
                          </a:ln>
                          <a:solidFill>
                            <a:schemeClr val="accent5"/>
                          </a:solidFill>
                          <a:effectLst/>
                          <a:highlight>
                            <a:srgbClr val="808080"/>
                          </a:highligh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XX</a:t>
                      </a:r>
                      <a:r>
                        <a:rPr kumimoji="0" lang="en-GB" sz="1200" b="1"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by 2030 </a:t>
                      </a:r>
                      <a:r>
                        <a:rPr kumimoji="0" lang="en-GB" sz="1200" b="0"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o meet higher domestic and international demand for LNG. </a:t>
                      </a:r>
                    </a:p>
                  </a:txBody>
                  <a:tcPr marL="0" marR="14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880" marR="0" lvl="0" indent="-182880" algn="l" defTabSz="685783" rtl="0" eaLnBrk="1" fontAlgn="auto" latinLnBrk="0" hangingPunct="1">
                        <a:lnSpc>
                          <a:spcPct val="100000"/>
                        </a:lnSpc>
                        <a:spcBef>
                          <a:spcPts val="600"/>
                        </a:spcBef>
                        <a:spcAft>
                          <a:spcPts val="0"/>
                        </a:spcAft>
                        <a:buClrTx/>
                        <a:buSzTx/>
                        <a:buFont typeface="Wingdings" panose="05000000000000000000" pitchFamily="2" charset="2"/>
                        <a:buChar char="§"/>
                        <a:tabLst/>
                        <a:defRPr/>
                      </a:pPr>
                      <a:endParaRPr kumimoji="0" lang="en-GB" sz="1200" b="0"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14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685783"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roduction decreases by </a:t>
                      </a:r>
                      <a:r>
                        <a:rPr kumimoji="0" lang="en-GB" sz="1200" b="1" i="0" u="none" strike="noStrike" kern="1200" cap="none" spc="0" normalizeH="0" baseline="0" noProof="0">
                          <a:ln>
                            <a:noFill/>
                          </a:ln>
                          <a:solidFill>
                            <a:schemeClr val="accent5"/>
                          </a:solidFill>
                          <a:effectLst/>
                          <a:highlight>
                            <a:srgbClr val="808080"/>
                          </a:highligh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XX</a:t>
                      </a:r>
                      <a:r>
                        <a:rPr kumimoji="0" lang="en-GB" sz="1200" b="1"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r>
                        <a:rPr kumimoji="0" lang="en-GB" sz="1200" b="0"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s higher Permian basin productivity counteracts loss of production from the Mountain region and the Gulf of Mexico.</a:t>
                      </a:r>
                    </a:p>
                  </a:txBody>
                  <a:tcPr marL="0" marR="144000" marT="72000" marB="360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41542867"/>
                  </a:ext>
                </a:extLst>
              </a:tr>
              <a:tr h="441533">
                <a:tc>
                  <a:txBody>
                    <a:bodyPr/>
                    <a:lstStyle/>
                    <a:p>
                      <a:pPr algn="ctr" rtl="0">
                        <a:spcBef>
                          <a:spcPts val="0"/>
                        </a:spcBef>
                      </a:pPr>
                      <a:endPar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72000" marR="54000" marT="72000" marB="36000">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spcBef>
                          <a:spcPts val="0"/>
                        </a:spcBef>
                      </a:pPr>
                      <a:r>
                        <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ipeline flows</a:t>
                      </a:r>
                    </a:p>
                  </a:txBody>
                  <a:tcPr marL="72000" marR="54000" marT="72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spcBef>
                          <a:spcPts val="0"/>
                        </a:spcBef>
                      </a:pPr>
                      <a:endPar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685783"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et Canadian imports increase by </a:t>
                      </a:r>
                      <a:r>
                        <a:rPr kumimoji="0" lang="en-GB" sz="1200" b="1" i="0" u="none" strike="noStrike" kern="1200" cap="none" spc="0" normalizeH="0" baseline="0" noProof="0">
                          <a:ln>
                            <a:noFill/>
                          </a:ln>
                          <a:solidFill>
                            <a:schemeClr val="accent5"/>
                          </a:solidFill>
                          <a:effectLst/>
                          <a:highlight>
                            <a:srgbClr val="808080"/>
                          </a:highligh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XX</a:t>
                      </a:r>
                      <a:r>
                        <a:rPr kumimoji="0" lang="en-GB" sz="1200" b="1"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by 2040 </a:t>
                      </a:r>
                      <a:r>
                        <a:rPr kumimoji="0" lang="en-GB" sz="1200" b="0"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o supply additional domestic demand in the North.</a:t>
                      </a:r>
                    </a:p>
                  </a:txBody>
                  <a:tcPr marL="0" marR="14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880" marR="0" lvl="0" indent="-182880" algn="l" defTabSz="685783" rtl="0" eaLnBrk="1" fontAlgn="auto" latinLnBrk="0" hangingPunct="1">
                        <a:lnSpc>
                          <a:spcPct val="100000"/>
                        </a:lnSpc>
                        <a:spcBef>
                          <a:spcPts val="600"/>
                        </a:spcBef>
                        <a:spcAft>
                          <a:spcPts val="0"/>
                        </a:spcAft>
                        <a:buClrTx/>
                        <a:buSzTx/>
                        <a:buFont typeface="Wingdings" panose="05000000000000000000" pitchFamily="2" charset="2"/>
                        <a:buChar char="§"/>
                        <a:tabLst/>
                        <a:defRPr/>
                      </a:pPr>
                      <a:endParaRPr kumimoji="0" lang="en-GB" sz="1200" b="0"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14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685783"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2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Net Canadian imports increase by </a:t>
                      </a:r>
                      <a:r>
                        <a:rPr kumimoji="0" lang="en-GB" sz="1200" b="1" i="0" u="none" strike="noStrike" kern="1200" cap="none" spc="0" normalizeH="0" baseline="0" noProof="0">
                          <a:ln>
                            <a:noFill/>
                          </a:ln>
                          <a:solidFill>
                            <a:schemeClr val="accent5"/>
                          </a:solidFill>
                          <a:effectLst/>
                          <a:highlight>
                            <a:srgbClr val="808080"/>
                          </a:highligh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XX</a:t>
                      </a:r>
                      <a:r>
                        <a:rPr kumimoji="0" lang="en-GB" sz="1200" b="1"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by 2040 </a:t>
                      </a:r>
                      <a:r>
                        <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o fill supply gap from the federal land ban the Mountain region.</a:t>
                      </a:r>
                    </a:p>
                  </a:txBody>
                  <a:tcPr marL="0" marR="144000" marT="72000" marB="360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480932"/>
                  </a:ext>
                </a:extLst>
              </a:tr>
              <a:tr h="1478374">
                <a:tc>
                  <a:txBody>
                    <a:bodyPr/>
                    <a:lstStyle/>
                    <a:p>
                      <a:pPr algn="ctr" rtl="0">
                        <a:spcBef>
                          <a:spcPts val="0"/>
                        </a:spcBef>
                      </a:pPr>
                      <a:endPar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72000" marR="54000" marT="72000" marB="36000">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spcBef>
                          <a:spcPts val="0"/>
                        </a:spcBef>
                      </a:pPr>
                      <a:r>
                        <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enry Hub gas price</a:t>
                      </a:r>
                    </a:p>
                  </a:txBody>
                  <a:tcPr marL="72000" marR="54000" marT="72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rtl="0">
                        <a:spcBef>
                          <a:spcPts val="0"/>
                        </a:spcBef>
                      </a:pPr>
                      <a:endPar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685783" rtl="0" eaLnBrk="1" fontAlgn="auto" latinLnBrk="0" hangingPunct="1">
                        <a:lnSpc>
                          <a:spcPct val="100000"/>
                        </a:lnSpc>
                        <a:spcBef>
                          <a:spcPts val="600"/>
                        </a:spcBef>
                        <a:spcAft>
                          <a:spcPts val="0"/>
                        </a:spcAft>
                        <a:buClrTx/>
                        <a:buSzTx/>
                        <a:buFont typeface="Wingdings" panose="05000000000000000000" pitchFamily="2" charset="2"/>
                        <a:buNone/>
                        <a:tabLst/>
                        <a:defRPr/>
                      </a:pPr>
                      <a:endParaRPr kumimoji="0" lang="en-GB" sz="1200" b="0"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marL="0" marR="0" lvl="0" indent="0" algn="l" defTabSz="685783" rtl="0" eaLnBrk="1" fontAlgn="auto" latinLnBrk="0" hangingPunct="1">
                        <a:lnSpc>
                          <a:spcPct val="100000"/>
                        </a:lnSpc>
                        <a:spcBef>
                          <a:spcPts val="600"/>
                        </a:spcBef>
                        <a:spcAft>
                          <a:spcPts val="0"/>
                        </a:spcAft>
                        <a:buClrTx/>
                        <a:buSzTx/>
                        <a:buFont typeface="Wingdings" panose="05000000000000000000" pitchFamily="2" charset="2"/>
                        <a:buNone/>
                        <a:tabLst/>
                        <a:defRPr/>
                      </a:pPr>
                      <a:endParaRPr kumimoji="0" lang="en-GB" sz="1200" b="0"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marL="0" marR="0" lvl="0" indent="0" algn="l" defTabSz="685783" rtl="0" eaLnBrk="1" fontAlgn="auto" latinLnBrk="0" hangingPunct="1">
                        <a:lnSpc>
                          <a:spcPct val="100000"/>
                        </a:lnSpc>
                        <a:spcBef>
                          <a:spcPts val="600"/>
                        </a:spcBef>
                        <a:spcAft>
                          <a:spcPts val="0"/>
                        </a:spcAft>
                        <a:buClrTx/>
                        <a:buSzTx/>
                        <a:buFont typeface="Wingdings" panose="05000000000000000000" pitchFamily="2" charset="2"/>
                        <a:buNone/>
                        <a:tabLst/>
                        <a:defRPr/>
                      </a:pPr>
                      <a:endParaRPr kumimoji="0" lang="en-GB" sz="1200" b="0"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marL="0" marR="0" lvl="0" indent="0" algn="l" defTabSz="685783" rtl="0" eaLnBrk="1" fontAlgn="auto" latinLnBrk="0" hangingPunct="1">
                        <a:lnSpc>
                          <a:spcPct val="100000"/>
                        </a:lnSpc>
                        <a:spcBef>
                          <a:spcPts val="600"/>
                        </a:spcBef>
                        <a:spcAft>
                          <a:spcPts val="0"/>
                        </a:spcAft>
                        <a:buClrTx/>
                        <a:buSzTx/>
                        <a:buFont typeface="Wingdings" panose="05000000000000000000" pitchFamily="2" charset="2"/>
                        <a:buNone/>
                        <a:tabLst/>
                        <a:defRPr/>
                      </a:pPr>
                      <a:endParaRPr kumimoji="0" lang="en-GB" sz="1200" b="0"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marL="0" marR="0" lvl="0" indent="0" algn="l" defTabSz="685783" rtl="0" eaLnBrk="1" fontAlgn="auto" latinLnBrk="0" hangingPunct="1">
                        <a:lnSpc>
                          <a:spcPct val="100000"/>
                        </a:lnSpc>
                        <a:spcBef>
                          <a:spcPts val="600"/>
                        </a:spcBef>
                        <a:spcAft>
                          <a:spcPts val="0"/>
                        </a:spcAft>
                        <a:buClrTx/>
                        <a:buSzTx/>
                        <a:buFont typeface="Wingdings" panose="05000000000000000000" pitchFamily="2" charset="2"/>
                        <a:buNone/>
                        <a:tabLst/>
                        <a:defRPr/>
                      </a:pPr>
                      <a:endParaRPr kumimoji="0" lang="en-GB" sz="1200" b="0"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marL="0" marR="0" lvl="0" indent="0" algn="l" defTabSz="685783" rtl="0" eaLnBrk="1" fontAlgn="auto" latinLnBrk="0" hangingPunct="1">
                        <a:lnSpc>
                          <a:spcPct val="100000"/>
                        </a:lnSpc>
                        <a:spcBef>
                          <a:spcPts val="600"/>
                        </a:spcBef>
                        <a:spcAft>
                          <a:spcPts val="0"/>
                        </a:spcAft>
                        <a:buClrTx/>
                        <a:buSzTx/>
                        <a:buFont typeface="Wingdings" panose="05000000000000000000" pitchFamily="2" charset="2"/>
                        <a:buNone/>
                        <a:tabLst/>
                        <a:defRPr/>
                      </a:pPr>
                      <a:endParaRPr kumimoji="0" lang="en-GB" sz="1200" b="0"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14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880" marR="0" lvl="0" indent="-182880" algn="l" defTabSz="685783" rtl="0" eaLnBrk="1" fontAlgn="auto" latinLnBrk="0" hangingPunct="1">
                        <a:lnSpc>
                          <a:spcPct val="100000"/>
                        </a:lnSpc>
                        <a:spcBef>
                          <a:spcPts val="600"/>
                        </a:spcBef>
                        <a:spcAft>
                          <a:spcPts val="0"/>
                        </a:spcAft>
                        <a:buClrTx/>
                        <a:buSzTx/>
                        <a:buFont typeface="Wingdings" panose="05000000000000000000" pitchFamily="2" charset="2"/>
                        <a:buChar char="§"/>
                        <a:tabLst/>
                        <a:defRPr/>
                      </a:pPr>
                      <a:endParaRPr kumimoji="0" lang="en-GB" sz="1200" b="0" i="0" u="none" strike="noStrike" kern="1200" cap="none" spc="0" normalizeH="0" baseline="0" noProof="0">
                        <a:ln>
                          <a:noFill/>
                        </a:ln>
                        <a:solidFill>
                          <a:schemeClr val="tx1"/>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14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685783" rtl="0" eaLnBrk="1" fontAlgn="auto" latinLnBrk="0" hangingPunct="1">
                        <a:lnSpc>
                          <a:spcPct val="100000"/>
                        </a:lnSpc>
                        <a:spcBef>
                          <a:spcPts val="600"/>
                        </a:spcBef>
                        <a:spcAft>
                          <a:spcPts val="0"/>
                        </a:spcAft>
                        <a:buClrTx/>
                        <a:buSzTx/>
                        <a:buFont typeface="Wingdings" panose="05000000000000000000" pitchFamily="2" charset="2"/>
                        <a:buNone/>
                        <a:tabLst/>
                        <a:defRPr/>
                      </a:pPr>
                      <a:endPar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txBody>
                  <a:tcPr marL="0" marR="144000" marT="72000" marB="360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06532265"/>
                  </a:ext>
                </a:extLst>
              </a:tr>
            </a:tbl>
          </a:graphicData>
        </a:graphic>
      </p:graphicFrame>
      <p:sp>
        <p:nvSpPr>
          <p:cNvPr id="11" name="Rectangle: Top Corners Rounded 10">
            <a:extLst>
              <a:ext uri="{FF2B5EF4-FFF2-40B4-BE49-F238E27FC236}">
                <a16:creationId xmlns:a16="http://schemas.microsoft.com/office/drawing/2014/main" id="{2295E4F1-787F-13A9-1CE4-AEDDD8A613E3}"/>
              </a:ext>
            </a:extLst>
          </p:cNvPr>
          <p:cNvSpPr/>
          <p:nvPr/>
        </p:nvSpPr>
        <p:spPr>
          <a:xfrm>
            <a:off x="7069192" y="1342864"/>
            <a:ext cx="4667196" cy="260177"/>
          </a:xfrm>
          <a:prstGeom prst="round2SameRect">
            <a:avLst>
              <a:gd name="adj1" fmla="val 14972"/>
              <a:gd name="adj2" fmla="val 23706"/>
            </a:avLst>
          </a:prstGeom>
          <a:solidFill>
            <a:srgbClr val="9DB1CF"/>
          </a:solidFill>
          <a:ln w="28575">
            <a:solidFill>
              <a:srgbClr val="9DB1CF"/>
            </a:solidFill>
          </a:ln>
        </p:spPr>
        <p:txBody>
          <a:bodyPr vert="horz" wrap="square" lIns="0" tIns="0" rIns="0" bIns="0" rtlCol="0" anchor="ctr">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white"/>
                </a:solidFill>
                <a:effectLst/>
                <a:uLnTx/>
                <a:uFillTx/>
                <a:latin typeface="Lato"/>
                <a:ea typeface="+mn-ea"/>
                <a:cs typeface="+mn-cs"/>
              </a:rPr>
              <a:t>Federal Leasing Ban</a:t>
            </a:r>
          </a:p>
        </p:txBody>
      </p:sp>
      <p:sp>
        <p:nvSpPr>
          <p:cNvPr id="12" name="Rectangle: Top Corners Rounded 11">
            <a:extLst>
              <a:ext uri="{FF2B5EF4-FFF2-40B4-BE49-F238E27FC236}">
                <a16:creationId xmlns:a16="http://schemas.microsoft.com/office/drawing/2014/main" id="{8D258BEB-ACB3-30C1-A193-157658836062}"/>
              </a:ext>
            </a:extLst>
          </p:cNvPr>
          <p:cNvSpPr/>
          <p:nvPr/>
        </p:nvSpPr>
        <p:spPr>
          <a:xfrm>
            <a:off x="2226365" y="1347411"/>
            <a:ext cx="4667196" cy="260177"/>
          </a:xfrm>
          <a:prstGeom prst="round2SameRect">
            <a:avLst>
              <a:gd name="adj1" fmla="val 14972"/>
              <a:gd name="adj2" fmla="val 23706"/>
            </a:avLst>
          </a:prstGeom>
          <a:solidFill>
            <a:srgbClr val="C8BD88"/>
          </a:solidFill>
          <a:ln w="28575">
            <a:solidFill>
              <a:srgbClr val="C8BD88"/>
            </a:solidFill>
          </a:ln>
        </p:spPr>
        <p:txBody>
          <a:bodyPr vert="horz" wrap="square" lIns="0" tIns="0" rIns="0" bIns="0" rtlCol="0" anchor="ctr">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white"/>
                </a:solidFill>
                <a:effectLst/>
                <a:uLnTx/>
                <a:uFillTx/>
                <a:latin typeface="Lato"/>
                <a:ea typeface="+mn-ea"/>
                <a:cs typeface="+mn-cs"/>
              </a:rPr>
              <a:t>LNG Overbuild</a:t>
            </a:r>
          </a:p>
        </p:txBody>
      </p:sp>
      <p:sp>
        <p:nvSpPr>
          <p:cNvPr id="5" name="Text Placeholder 2">
            <a:extLst>
              <a:ext uri="{FF2B5EF4-FFF2-40B4-BE49-F238E27FC236}">
                <a16:creationId xmlns:a16="http://schemas.microsoft.com/office/drawing/2014/main" id="{05380998-1587-CB0A-E67C-91977FBC7E9A}"/>
              </a:ext>
            </a:extLst>
          </p:cNvPr>
          <p:cNvSpPr txBox="1">
            <a:spLocks/>
          </p:cNvSpPr>
          <p:nvPr/>
        </p:nvSpPr>
        <p:spPr>
          <a:xfrm>
            <a:off x="388693" y="82904"/>
            <a:ext cx="1542410" cy="184666"/>
          </a:xfrm>
          <a:prstGeom prst="rect">
            <a:avLst/>
          </a:prstGeom>
        </p:spPr>
        <p:txBody>
          <a:bodyPr vert="horz" wrap="none" lIns="0" tIns="0" rIns="0" bIns="0"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3838" marR="0" lvl="0" indent="-223838" algn="l" defTabSz="685783" rtl="0" eaLnBrk="1" fontAlgn="auto" latinLnBrk="0" hangingPunct="1">
              <a:lnSpc>
                <a:spcPct val="100000"/>
              </a:lnSpc>
              <a:spcBef>
                <a:spcPts val="0"/>
              </a:spcBef>
              <a:spcAft>
                <a:spcPts val="0"/>
              </a:spcAft>
              <a:buClrTx/>
              <a:buSzTx/>
              <a:buFont typeface="Wingdings" panose="05000000000000000000" pitchFamily="2" charset="2"/>
              <a:buNone/>
              <a:tabLst>
                <a:tab pos="452438" algn="l"/>
              </a:tabLst>
              <a:defRPr/>
            </a:pPr>
            <a:r>
              <a:rPr kumimoji="0" lang="en-AU" sz="1200" b="0" i="0" u="none" strike="noStrike" kern="1200" cap="none" spc="0" normalizeH="0" baseline="0" noProof="0">
                <a:ln>
                  <a:noFill/>
                </a:ln>
                <a:solidFill>
                  <a:srgbClr val="838383"/>
                </a:solidFill>
                <a:effectLst/>
                <a:uLnTx/>
                <a:uFillTx/>
                <a:latin typeface="Lato" panose="020F0502020204030203" pitchFamily="34" charset="0"/>
                <a:ea typeface="+mn-ea"/>
                <a:cs typeface="+mn-cs"/>
                <a:sym typeface="Lato" panose="020F0502020204030203" pitchFamily="34" charset="0"/>
              </a:rPr>
              <a:t>	Executive summary</a:t>
            </a:r>
            <a:endParaRPr kumimoji="0" lang="en-GB" sz="1200" b="0" i="0" u="none" strike="noStrike" kern="1200" cap="none" spc="0" normalizeH="0" baseline="0" noProof="0">
              <a:ln>
                <a:noFill/>
              </a:ln>
              <a:solidFill>
                <a:srgbClr val="838383"/>
              </a:solidFill>
              <a:effectLst/>
              <a:uLnTx/>
              <a:uFillTx/>
              <a:latin typeface="Lato" panose="020F0502020204030203" pitchFamily="34" charset="0"/>
              <a:ea typeface="+mn-ea"/>
              <a:cs typeface="+mn-cs"/>
              <a:sym typeface="Lato" panose="020F0502020204030203" pitchFamily="34" charset="0"/>
            </a:endParaRPr>
          </a:p>
        </p:txBody>
      </p:sp>
      <p:sp>
        <p:nvSpPr>
          <p:cNvPr id="8" name="Oval 7">
            <a:extLst>
              <a:ext uri="{FF2B5EF4-FFF2-40B4-BE49-F238E27FC236}">
                <a16:creationId xmlns:a16="http://schemas.microsoft.com/office/drawing/2014/main" id="{739F0855-7DC0-EC7F-D0DF-79C2EAA7BD87}"/>
              </a:ext>
            </a:extLst>
          </p:cNvPr>
          <p:cNvSpPr/>
          <p:nvPr/>
        </p:nvSpPr>
        <p:spPr>
          <a:xfrm>
            <a:off x="388094" y="84467"/>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a:t>
            </a:r>
          </a:p>
        </p:txBody>
      </p:sp>
      <p:cxnSp>
        <p:nvCxnSpPr>
          <p:cNvPr id="27" name="Straight Connector 26">
            <a:extLst>
              <a:ext uri="{FF2B5EF4-FFF2-40B4-BE49-F238E27FC236}">
                <a16:creationId xmlns:a16="http://schemas.microsoft.com/office/drawing/2014/main" id="{28A75AC8-A100-741B-16B1-67C4A1840983}"/>
              </a:ext>
            </a:extLst>
          </p:cNvPr>
          <p:cNvCxnSpPr/>
          <p:nvPr>
            <p:custDataLst>
              <p:tags r:id="rId3"/>
            </p:custDataLst>
          </p:nvPr>
        </p:nvCxnSpPr>
        <p:spPr bwMode="gray">
          <a:xfrm>
            <a:off x="2549525" y="6149975"/>
            <a:ext cx="6705600" cy="0"/>
          </a:xfrm>
          <a:prstGeom prst="line">
            <a:avLst/>
          </a:prstGeom>
          <a:ln w="3175" cap="flat" cmpd="sng" algn="ctr">
            <a:solidFill>
              <a:schemeClr val="accent6"/>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62" name="Chart 61">
            <a:extLst>
              <a:ext uri="{FF2B5EF4-FFF2-40B4-BE49-F238E27FC236}">
                <a16:creationId xmlns:a16="http://schemas.microsoft.com/office/drawing/2014/main" id="{F80B1695-CD65-1EB7-BB1F-F81CA47C5AC2}"/>
              </a:ext>
            </a:extLst>
          </p:cNvPr>
          <p:cNvGraphicFramePr/>
          <p:nvPr>
            <p:custDataLst>
              <p:tags r:id="rId4"/>
            </p:custDataLst>
            <p:extLst>
              <p:ext uri="{D42A27DB-BD31-4B8C-83A1-F6EECF244321}">
                <p14:modId xmlns:p14="http://schemas.microsoft.com/office/powerpoint/2010/main" val="2754464091"/>
              </p:ext>
            </p:extLst>
          </p:nvPr>
        </p:nvGraphicFramePr>
        <p:xfrm>
          <a:off x="2466975" y="5334000"/>
          <a:ext cx="6870700" cy="898525"/>
        </p:xfrm>
        <a:graphic>
          <a:graphicData uri="http://schemas.openxmlformats.org/drawingml/2006/chart">
            <c:chart xmlns:c="http://schemas.openxmlformats.org/drawingml/2006/chart" xmlns:r="http://schemas.openxmlformats.org/officeDocument/2006/relationships" r:id="rId22"/>
          </a:graphicData>
        </a:graphic>
      </p:graphicFrame>
      <p:sp>
        <p:nvSpPr>
          <p:cNvPr id="15" name="Text Placeholder 19">
            <a:extLst>
              <a:ext uri="{FF2B5EF4-FFF2-40B4-BE49-F238E27FC236}">
                <a16:creationId xmlns:a16="http://schemas.microsoft.com/office/drawing/2014/main" id="{651F6550-DEFB-FC3E-CCA9-19FE76DDF699}"/>
              </a:ext>
            </a:extLst>
          </p:cNvPr>
          <p:cNvSpPr>
            <a:spLocks noGrp="1"/>
          </p:cNvSpPr>
          <p:nvPr>
            <p:custDataLst>
              <p:tags r:id="rId5"/>
            </p:custDataLst>
          </p:nvPr>
        </p:nvSpPr>
        <p:spPr bwMode="auto">
          <a:xfrm>
            <a:off x="3279775" y="6200775"/>
            <a:ext cx="7762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A12C0CE8-4A95-40C4-91B7-7A77E734416B}" type="datetime'2''''''0''2''''''''''''''''''5''-''''''''2''''''''03''''''''0'">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25-2030</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61" name="Text Placeholder 19">
            <a:extLst>
              <a:ext uri="{FF2B5EF4-FFF2-40B4-BE49-F238E27FC236}">
                <a16:creationId xmlns:a16="http://schemas.microsoft.com/office/drawing/2014/main" id="{E57C70DB-E800-551C-78F9-D1544E68959D}"/>
              </a:ext>
            </a:extLst>
          </p:cNvPr>
          <p:cNvSpPr>
            <a:spLocks noGrp="1"/>
          </p:cNvSpPr>
          <p:nvPr>
            <p:custDataLst>
              <p:tags r:id="rId6"/>
            </p:custDataLst>
          </p:nvPr>
        </p:nvSpPr>
        <p:spPr bwMode="auto">
          <a:xfrm>
            <a:off x="5514975" y="6200775"/>
            <a:ext cx="7762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4AACAE9E-C8BC-4D51-9FD5-4CF119313609}" type="datetime'20''''''''3''''''1''''''''''-''2''0''''''''''''''''3''''5'">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31-2035</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64" name="Text Placeholder 19">
            <a:extLst>
              <a:ext uri="{FF2B5EF4-FFF2-40B4-BE49-F238E27FC236}">
                <a16:creationId xmlns:a16="http://schemas.microsoft.com/office/drawing/2014/main" id="{83E23345-DB16-1A18-EE98-06445FED0876}"/>
              </a:ext>
            </a:extLst>
          </p:cNvPr>
          <p:cNvSpPr>
            <a:spLocks noGrp="1"/>
          </p:cNvSpPr>
          <p:nvPr>
            <p:custDataLst>
              <p:tags r:id="rId7"/>
            </p:custDataLst>
          </p:nvPr>
        </p:nvSpPr>
        <p:spPr bwMode="auto">
          <a:xfrm>
            <a:off x="7750175" y="6200775"/>
            <a:ext cx="7762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E06A6F0D-E136-44A4-80E8-D0FE0D79A6C9}" type="datetime'2''03''6''''-''''''''''2''0''''''4''''''''0'''''">
              <a:rPr kumimoji="0" lang="en-GB" altLang="en-US" sz="12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ct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2036-2040</a:t>
            </a:fld>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30" name="Text Placeholder 19">
            <a:extLst>
              <a:ext uri="{FF2B5EF4-FFF2-40B4-BE49-F238E27FC236}">
                <a16:creationId xmlns:a16="http://schemas.microsoft.com/office/drawing/2014/main" id="{9F9869AF-B0F6-4E89-B216-4EC18C7334C2}"/>
              </a:ext>
            </a:extLst>
          </p:cNvPr>
          <p:cNvSpPr>
            <a:spLocks noGrp="1"/>
          </p:cNvSpPr>
          <p:nvPr>
            <p:custDataLst>
              <p:tags r:id="rId8"/>
            </p:custDataLst>
          </p:nvPr>
        </p:nvSpPr>
        <p:spPr bwMode="gray">
          <a:xfrm>
            <a:off x="3146425" y="5391151"/>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a:solidFill>
                  <a:srgbClr val="3C3C3B"/>
                </a:solidFill>
                <a:effectLst/>
              </a:rPr>
              <a:t>XX</a:t>
            </a:r>
            <a:endParaRPr lang="en-GB">
              <a:solidFill>
                <a:srgbClr val="3C3C3B"/>
              </a:solidFill>
            </a:endParaRPr>
          </a:p>
        </p:txBody>
      </p:sp>
      <p:sp>
        <p:nvSpPr>
          <p:cNvPr id="34" name="Text Placeholder 19">
            <a:extLst>
              <a:ext uri="{FF2B5EF4-FFF2-40B4-BE49-F238E27FC236}">
                <a16:creationId xmlns:a16="http://schemas.microsoft.com/office/drawing/2014/main" id="{9F9869AF-B0F6-4E89-B216-4EC18C7334C2}"/>
              </a:ext>
            </a:extLst>
          </p:cNvPr>
          <p:cNvSpPr>
            <a:spLocks noGrp="1"/>
          </p:cNvSpPr>
          <p:nvPr>
            <p:custDataLst>
              <p:tags r:id="rId9"/>
            </p:custDataLst>
          </p:nvPr>
        </p:nvSpPr>
        <p:spPr bwMode="gray">
          <a:xfrm>
            <a:off x="3944937" y="5383214"/>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a:solidFill>
                  <a:srgbClr val="3C3C3B"/>
                </a:solidFill>
                <a:effectLst/>
              </a:rPr>
              <a:t>XX</a:t>
            </a:r>
            <a:endParaRPr lang="en-GB">
              <a:solidFill>
                <a:srgbClr val="3C3C3B"/>
              </a:solidFill>
            </a:endParaRPr>
          </a:p>
        </p:txBody>
      </p:sp>
      <p:sp>
        <p:nvSpPr>
          <p:cNvPr id="42" name="Text Placeholder 19">
            <a:extLst>
              <a:ext uri="{FF2B5EF4-FFF2-40B4-BE49-F238E27FC236}">
                <a16:creationId xmlns:a16="http://schemas.microsoft.com/office/drawing/2014/main" id="{9F9869AF-B0F6-4E89-B216-4EC18C7334C2}"/>
              </a:ext>
            </a:extLst>
          </p:cNvPr>
          <p:cNvSpPr>
            <a:spLocks noGrp="1"/>
          </p:cNvSpPr>
          <p:nvPr>
            <p:custDataLst>
              <p:tags r:id="rId10"/>
            </p:custDataLst>
          </p:nvPr>
        </p:nvSpPr>
        <p:spPr bwMode="gray">
          <a:xfrm>
            <a:off x="5381625" y="5283201"/>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a:solidFill>
                  <a:srgbClr val="3C3C3B"/>
                </a:solidFill>
                <a:effectLst/>
              </a:rPr>
              <a:t>XX</a:t>
            </a:r>
            <a:endParaRPr lang="en-GB">
              <a:solidFill>
                <a:srgbClr val="3C3C3B"/>
              </a:solidFill>
            </a:endParaRPr>
          </a:p>
        </p:txBody>
      </p:sp>
      <p:sp>
        <p:nvSpPr>
          <p:cNvPr id="46" name="Text Placeholder 19">
            <a:extLst>
              <a:ext uri="{FF2B5EF4-FFF2-40B4-BE49-F238E27FC236}">
                <a16:creationId xmlns:a16="http://schemas.microsoft.com/office/drawing/2014/main" id="{9F9869AF-B0F6-4E89-B216-4EC18C7334C2}"/>
              </a:ext>
            </a:extLst>
          </p:cNvPr>
          <p:cNvSpPr>
            <a:spLocks noGrp="1"/>
          </p:cNvSpPr>
          <p:nvPr>
            <p:custDataLst>
              <p:tags r:id="rId11"/>
            </p:custDataLst>
          </p:nvPr>
        </p:nvSpPr>
        <p:spPr bwMode="gray">
          <a:xfrm>
            <a:off x="6180138" y="5289551"/>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a:solidFill>
                  <a:srgbClr val="3C3C3B"/>
                </a:solidFill>
                <a:effectLst/>
              </a:rPr>
              <a:t>XX</a:t>
            </a:r>
            <a:endParaRPr lang="en-GB">
              <a:solidFill>
                <a:srgbClr val="3C3C3B"/>
              </a:solidFill>
            </a:endParaRPr>
          </a:p>
        </p:txBody>
      </p:sp>
      <p:sp>
        <p:nvSpPr>
          <p:cNvPr id="51" name="Text Placeholder 19">
            <a:extLst>
              <a:ext uri="{FF2B5EF4-FFF2-40B4-BE49-F238E27FC236}">
                <a16:creationId xmlns:a16="http://schemas.microsoft.com/office/drawing/2014/main" id="{9F9869AF-B0F6-4E89-B216-4EC18C7334C2}"/>
              </a:ext>
            </a:extLst>
          </p:cNvPr>
          <p:cNvSpPr>
            <a:spLocks noGrp="1"/>
          </p:cNvSpPr>
          <p:nvPr>
            <p:custDataLst>
              <p:tags r:id="rId12"/>
            </p:custDataLst>
          </p:nvPr>
        </p:nvSpPr>
        <p:spPr bwMode="gray">
          <a:xfrm>
            <a:off x="7616825" y="5289551"/>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a:solidFill>
                  <a:srgbClr val="3C3C3B"/>
                </a:solidFill>
                <a:effectLst/>
              </a:rPr>
              <a:t>XX</a:t>
            </a:r>
            <a:endParaRPr lang="en-GB">
              <a:solidFill>
                <a:srgbClr val="3C3C3B"/>
              </a:solidFill>
            </a:endParaRPr>
          </a:p>
        </p:txBody>
      </p:sp>
      <p:sp>
        <p:nvSpPr>
          <p:cNvPr id="55" name="Text Placeholder 19">
            <a:extLst>
              <a:ext uri="{FF2B5EF4-FFF2-40B4-BE49-F238E27FC236}">
                <a16:creationId xmlns:a16="http://schemas.microsoft.com/office/drawing/2014/main" id="{9F9869AF-B0F6-4E89-B216-4EC18C7334C2}"/>
              </a:ext>
            </a:extLst>
          </p:cNvPr>
          <p:cNvSpPr>
            <a:spLocks noGrp="1"/>
          </p:cNvSpPr>
          <p:nvPr>
            <p:custDataLst>
              <p:tags r:id="rId13"/>
            </p:custDataLst>
          </p:nvPr>
        </p:nvSpPr>
        <p:spPr bwMode="gray">
          <a:xfrm>
            <a:off x="8415338" y="5335589"/>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a:spcBef>
                <a:spcPct val="0"/>
              </a:spcBef>
              <a:spcAft>
                <a:spcPct val="0"/>
              </a:spcAft>
            </a:pPr>
            <a:r>
              <a:rPr lang="en-GB" altLang="en-US">
                <a:solidFill>
                  <a:srgbClr val="3C3C3B"/>
                </a:solidFill>
                <a:effectLst/>
              </a:rPr>
              <a:t>XX</a:t>
            </a:r>
            <a:endParaRPr lang="en-GB">
              <a:solidFill>
                <a:srgbClr val="3C3C3B"/>
              </a:solidFill>
            </a:endParaRPr>
          </a:p>
        </p:txBody>
      </p:sp>
      <p:sp>
        <p:nvSpPr>
          <p:cNvPr id="41" name="Text Placeholder 1">
            <a:extLst>
              <a:ext uri="{FF2B5EF4-FFF2-40B4-BE49-F238E27FC236}">
                <a16:creationId xmlns:a16="http://schemas.microsoft.com/office/drawing/2014/main" id="{A937D807-6D39-FDBE-A8B3-AAEF43CD5088}"/>
              </a:ext>
            </a:extLst>
          </p:cNvPr>
          <p:cNvSpPr txBox="1">
            <a:spLocks/>
          </p:cNvSpPr>
          <p:nvPr/>
        </p:nvSpPr>
        <p:spPr>
          <a:xfrm>
            <a:off x="2185988" y="4901727"/>
            <a:ext cx="3124200" cy="369888"/>
          </a:xfrm>
          <a:prstGeom prst="rect">
            <a:avLst/>
          </a:prstGeom>
        </p:spPr>
        <p:txBody>
          <a:bodyPr vert="horz" wrap="none" lIns="0" tIns="0" rIns="0" bIns="0" rtlCol="0" anchor="t" anchorCtr="0">
            <a:spAutoFit/>
          </a:bodyPr>
          <a:lstStyle>
            <a:lvl1pPr marL="223838" indent="-223838" algn="l" defTabSz="685783" rtl="0" eaLnBrk="1" latinLnBrk="0" hangingPunct="1">
              <a:lnSpc>
                <a:spcPct val="100000"/>
              </a:lnSpc>
              <a:spcBef>
                <a:spcPts val="0"/>
              </a:spcBef>
              <a:buFont typeface="Wingdings" panose="05000000000000000000" pitchFamily="2" charset="2"/>
              <a:buNone/>
              <a:tabLst>
                <a:tab pos="452438" algn="l"/>
              </a:tabLst>
              <a:defRPr sz="1200" kern="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0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0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600"/>
              </a:spcAft>
              <a:buClrTx/>
              <a:buSzTx/>
              <a:buFont typeface="Wingdings" panose="05000000000000000000" pitchFamily="2" charset="2"/>
              <a:buNone/>
              <a:tabLst>
                <a:tab pos="452438" algn="l"/>
              </a:tabLst>
              <a:defRPr/>
            </a:pPr>
            <a:r>
              <a:rPr kumimoji="0" lang="en-GB" sz="1200" b="1"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rPr>
              <a:t>Henry Hub wholesale price delta with Central</a:t>
            </a:r>
            <a:br>
              <a:rPr kumimoji="0" lang="en-GB" sz="1200" b="1" i="0" u="none" strike="noStrike" kern="1200" cap="none" spc="0" normalizeH="0" baseline="0" noProof="0">
                <a:ln>
                  <a:noFill/>
                </a:ln>
                <a:solidFill>
                  <a:srgbClr val="838383"/>
                </a:solidFill>
                <a:effectLst/>
                <a:uLnTx/>
                <a:uFillTx/>
                <a:latin typeface="Lato" panose="020F0502020204030203" pitchFamily="34" charset="0"/>
                <a:sym typeface="Lato" panose="020F0502020204030203" pitchFamily="34" charset="0"/>
              </a:rPr>
            </a:br>
            <a:r>
              <a:rPr kumimoji="0" lang="en-GB" sz="1200" b="0" i="0" u="none" strike="noStrike" kern="1200" cap="none" spc="0" normalizeH="0" baseline="0" noProof="0">
                <a:ln>
                  <a:noFill/>
                </a:ln>
                <a:solidFill>
                  <a:srgbClr val="838383"/>
                </a:solidFill>
                <a:effectLst/>
                <a:uLnTx/>
                <a:uFillTx/>
                <a:latin typeface="Lato" panose="020F0502020204030203" pitchFamily="34" charset="0"/>
                <a:sym typeface="Lato" panose="020F0502020204030203" pitchFamily="34" charset="0"/>
              </a:rPr>
              <a:t>$/MMBtu (real 2023)</a:t>
            </a:r>
            <a:endParaRPr kumimoji="0" lang="en-IN" sz="1200" b="0" i="0" u="none" strike="noStrike" kern="1200" cap="none" spc="0" normalizeH="0" baseline="0" noProof="0">
              <a:ln>
                <a:noFill/>
              </a:ln>
              <a:solidFill>
                <a:srgbClr val="838383"/>
              </a:solidFill>
              <a:effectLst/>
              <a:uLnTx/>
              <a:uFillTx/>
              <a:latin typeface="Lato" panose="020F0502020204030203" pitchFamily="34" charset="0"/>
              <a:sym typeface="Lato" panose="020F0502020204030203" pitchFamily="34" charset="0"/>
            </a:endParaRPr>
          </a:p>
        </p:txBody>
      </p:sp>
      <p:pic>
        <p:nvPicPr>
          <p:cNvPr id="90" name="Picture 89">
            <a:extLst>
              <a:ext uri="{FF2B5EF4-FFF2-40B4-BE49-F238E27FC236}">
                <a16:creationId xmlns:a16="http://schemas.microsoft.com/office/drawing/2014/main" id="{59FFDB02-BD69-C5B7-86E0-843E8FCE687D}"/>
              </a:ext>
            </a:extLst>
          </p:cNvPr>
          <p:cNvPicPr>
            <a:picLocks noChangeAspect="1"/>
          </p:cNvPicPr>
          <p:nvPr/>
        </p:nvPicPr>
        <p:blipFill>
          <a:blip r:embed="rId23"/>
          <a:stretch>
            <a:fillRect/>
          </a:stretch>
        </p:blipFill>
        <p:spPr>
          <a:xfrm>
            <a:off x="490051" y="3900398"/>
            <a:ext cx="324000" cy="319326"/>
          </a:xfrm>
          <a:prstGeom prst="rect">
            <a:avLst/>
          </a:prstGeom>
        </p:spPr>
      </p:pic>
      <p:pic>
        <p:nvPicPr>
          <p:cNvPr id="93" name="Picture 92">
            <a:extLst>
              <a:ext uri="{FF2B5EF4-FFF2-40B4-BE49-F238E27FC236}">
                <a16:creationId xmlns:a16="http://schemas.microsoft.com/office/drawing/2014/main" id="{F313332D-D4CB-17B1-05AC-9AC7658FFBA8}"/>
              </a:ext>
            </a:extLst>
          </p:cNvPr>
          <p:cNvPicPr>
            <a:picLocks noChangeAspect="1"/>
          </p:cNvPicPr>
          <p:nvPr/>
        </p:nvPicPr>
        <p:blipFill>
          <a:blip r:embed="rId24"/>
          <a:stretch>
            <a:fillRect/>
          </a:stretch>
        </p:blipFill>
        <p:spPr>
          <a:xfrm>
            <a:off x="508269" y="3121022"/>
            <a:ext cx="324000" cy="285805"/>
          </a:xfrm>
          <a:prstGeom prst="rect">
            <a:avLst/>
          </a:prstGeom>
        </p:spPr>
      </p:pic>
      <p:pic>
        <p:nvPicPr>
          <p:cNvPr id="150" name="Picture 149">
            <a:extLst>
              <a:ext uri="{FF2B5EF4-FFF2-40B4-BE49-F238E27FC236}">
                <a16:creationId xmlns:a16="http://schemas.microsoft.com/office/drawing/2014/main" id="{7D9C653E-05CD-A511-ECE2-C74D4B932EB3}"/>
              </a:ext>
            </a:extLst>
          </p:cNvPr>
          <p:cNvPicPr>
            <a:picLocks noChangeAspect="1"/>
          </p:cNvPicPr>
          <p:nvPr/>
        </p:nvPicPr>
        <p:blipFill>
          <a:blip r:embed="rId25"/>
          <a:stretch>
            <a:fillRect/>
          </a:stretch>
        </p:blipFill>
        <p:spPr>
          <a:xfrm>
            <a:off x="506981" y="4456605"/>
            <a:ext cx="325288" cy="324000"/>
          </a:xfrm>
          <a:prstGeom prst="rect">
            <a:avLst/>
          </a:prstGeom>
        </p:spPr>
      </p:pic>
      <p:pic>
        <p:nvPicPr>
          <p:cNvPr id="165" name="Picture 164">
            <a:extLst>
              <a:ext uri="{FF2B5EF4-FFF2-40B4-BE49-F238E27FC236}">
                <a16:creationId xmlns:a16="http://schemas.microsoft.com/office/drawing/2014/main" id="{16B35B44-5A23-4227-3AE8-40B0EEF7AA78}"/>
              </a:ext>
            </a:extLst>
          </p:cNvPr>
          <p:cNvPicPr>
            <a:picLocks noChangeAspect="1"/>
          </p:cNvPicPr>
          <p:nvPr/>
        </p:nvPicPr>
        <p:blipFill>
          <a:blip r:embed="rId26"/>
          <a:stretch>
            <a:fillRect/>
          </a:stretch>
        </p:blipFill>
        <p:spPr>
          <a:xfrm>
            <a:off x="506981" y="1804811"/>
            <a:ext cx="348951" cy="288000"/>
          </a:xfrm>
          <a:prstGeom prst="rect">
            <a:avLst/>
          </a:prstGeom>
        </p:spPr>
      </p:pic>
      <p:pic>
        <p:nvPicPr>
          <p:cNvPr id="167" name="Picture 166">
            <a:extLst>
              <a:ext uri="{FF2B5EF4-FFF2-40B4-BE49-F238E27FC236}">
                <a16:creationId xmlns:a16="http://schemas.microsoft.com/office/drawing/2014/main" id="{0B9EE277-0846-9ED0-9951-C915524008CC}"/>
              </a:ext>
            </a:extLst>
          </p:cNvPr>
          <p:cNvPicPr>
            <a:picLocks noChangeAspect="1"/>
          </p:cNvPicPr>
          <p:nvPr/>
        </p:nvPicPr>
        <p:blipFill>
          <a:blip r:embed="rId27"/>
          <a:stretch>
            <a:fillRect/>
          </a:stretch>
        </p:blipFill>
        <p:spPr>
          <a:xfrm>
            <a:off x="502237" y="5467351"/>
            <a:ext cx="335710" cy="324000"/>
          </a:xfrm>
          <a:prstGeom prst="rect">
            <a:avLst/>
          </a:prstGeom>
        </p:spPr>
      </p:pic>
      <p:pic>
        <p:nvPicPr>
          <p:cNvPr id="13" name="Graphic 12">
            <a:extLst>
              <a:ext uri="{FF2B5EF4-FFF2-40B4-BE49-F238E27FC236}">
                <a16:creationId xmlns:a16="http://schemas.microsoft.com/office/drawing/2014/main" id="{0B866E6E-D0E6-392C-0EDA-431B2CB36221}"/>
              </a:ext>
            </a:extLst>
          </p:cNvPr>
          <p:cNvPicPr>
            <a:picLocks noChangeAspect="1"/>
          </p:cNvPicPr>
          <p:nvPr/>
        </p:nvPicPr>
        <p:blipFill rotWithShape="1">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rcRect b="21418"/>
          <a:stretch/>
        </p:blipFill>
        <p:spPr>
          <a:xfrm rot="10800000" flipV="1">
            <a:off x="6988175" y="2549298"/>
            <a:ext cx="256967" cy="252413"/>
          </a:xfrm>
          <a:prstGeom prst="rect">
            <a:avLst/>
          </a:prstGeom>
        </p:spPr>
      </p:pic>
      <p:pic>
        <p:nvPicPr>
          <p:cNvPr id="19" name="Picture 4">
            <a:extLst>
              <a:ext uri="{FF2B5EF4-FFF2-40B4-BE49-F238E27FC236}">
                <a16:creationId xmlns:a16="http://schemas.microsoft.com/office/drawing/2014/main" id="{DDC76E39-1CE0-3B1C-3714-7679AD8521C4}"/>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t="72" b="72"/>
          <a:stretch/>
        </p:blipFill>
        <p:spPr bwMode="auto">
          <a:xfrm>
            <a:off x="2181915" y="1836560"/>
            <a:ext cx="257126" cy="223838"/>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democrat Icon 26092">
            <a:extLst>
              <a:ext uri="{FF2B5EF4-FFF2-40B4-BE49-F238E27FC236}">
                <a16:creationId xmlns:a16="http://schemas.microsoft.com/office/drawing/2014/main" id="{8AD16FDB-2A57-46F3-232A-29850A65A5E6}"/>
              </a:ext>
            </a:extLst>
          </p:cNvPr>
          <p:cNvPicPr>
            <a:picLocks noChangeAspect="1" noChangeArrowheads="1"/>
          </p:cNvPicPr>
          <p:nvPr/>
        </p:nvPicPr>
        <p:blipFill rotWithShape="1">
          <a:blip r:embed="rId31">
            <a:extLst>
              <a:ext uri="{28A0092B-C50C-407E-A947-70E740481C1C}">
                <a14:useLocalDpi xmlns:a14="http://schemas.microsoft.com/office/drawing/2010/main" val="0"/>
              </a:ext>
            </a:extLst>
          </a:blip>
          <a:srcRect l="15128" t="20975" r="17222" b="19584"/>
          <a:stretch/>
        </p:blipFill>
        <p:spPr bwMode="auto">
          <a:xfrm>
            <a:off x="6978965" y="1835766"/>
            <a:ext cx="256552" cy="225425"/>
          </a:xfrm>
          <a:prstGeom prst="rect">
            <a:avLst/>
          </a:prstGeom>
          <a:noFill/>
          <a:extLst>
            <a:ext uri="{909E8E84-426E-40DD-AFC4-6F175D3DCCD1}">
              <a14:hiddenFill xmlns:a14="http://schemas.microsoft.com/office/drawing/2010/main">
                <a:solidFill>
                  <a:srgbClr val="FFFFFF"/>
                </a:solidFill>
              </a14:hiddenFill>
            </a:ext>
          </a:extLst>
        </p:spPr>
      </p:pic>
      <p:pic>
        <p:nvPicPr>
          <p:cNvPr id="23" name="Graphic 22">
            <a:extLst>
              <a:ext uri="{FF2B5EF4-FFF2-40B4-BE49-F238E27FC236}">
                <a16:creationId xmlns:a16="http://schemas.microsoft.com/office/drawing/2014/main" id="{315C5DBE-2535-BCBC-8E8D-DD96CC2F5C87}"/>
              </a:ext>
            </a:extLst>
          </p:cNvPr>
          <p:cNvPicPr>
            <a:picLocks noChangeAspect="1"/>
          </p:cNvPicPr>
          <p:nvPr/>
        </p:nvPicPr>
        <p:blipFill rotWithShape="1">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rcRect b="21418"/>
          <a:stretch/>
        </p:blipFill>
        <p:spPr>
          <a:xfrm rot="16200000">
            <a:off x="6988175" y="3160254"/>
            <a:ext cx="256967" cy="252413"/>
          </a:xfrm>
          <a:prstGeom prst="rect">
            <a:avLst/>
          </a:prstGeom>
        </p:spPr>
      </p:pic>
      <p:pic>
        <p:nvPicPr>
          <p:cNvPr id="36" name="Graphic 35">
            <a:extLst>
              <a:ext uri="{FF2B5EF4-FFF2-40B4-BE49-F238E27FC236}">
                <a16:creationId xmlns:a16="http://schemas.microsoft.com/office/drawing/2014/main" id="{D8E0B9A4-873F-3DCE-547E-00443AD2971C}"/>
              </a:ext>
            </a:extLst>
          </p:cNvPr>
          <p:cNvPicPr>
            <a:picLocks noChangeAspect="1"/>
          </p:cNvPicPr>
          <p:nvPr/>
        </p:nvPicPr>
        <p:blipFill rotWithShape="1">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rcRect b="21418"/>
          <a:stretch/>
        </p:blipFill>
        <p:spPr>
          <a:xfrm rot="16200000">
            <a:off x="6976687" y="3936694"/>
            <a:ext cx="256967" cy="252413"/>
          </a:xfrm>
          <a:prstGeom prst="rect">
            <a:avLst/>
          </a:prstGeom>
        </p:spPr>
      </p:pic>
      <p:pic>
        <p:nvPicPr>
          <p:cNvPr id="38" name="Graphic 37">
            <a:extLst>
              <a:ext uri="{FF2B5EF4-FFF2-40B4-BE49-F238E27FC236}">
                <a16:creationId xmlns:a16="http://schemas.microsoft.com/office/drawing/2014/main" id="{497645C4-929B-CB8F-1D03-27B4585D2B36}"/>
              </a:ext>
            </a:extLst>
          </p:cNvPr>
          <p:cNvPicPr>
            <a:picLocks noChangeAspect="1"/>
          </p:cNvPicPr>
          <p:nvPr/>
        </p:nvPicPr>
        <p:blipFill rotWithShape="1">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rcRect b="21418"/>
          <a:stretch/>
        </p:blipFill>
        <p:spPr>
          <a:xfrm rot="5400000" flipV="1">
            <a:off x="2175324" y="4488288"/>
            <a:ext cx="256967" cy="252413"/>
          </a:xfrm>
          <a:prstGeom prst="rect">
            <a:avLst/>
          </a:prstGeom>
        </p:spPr>
      </p:pic>
      <p:sp>
        <p:nvSpPr>
          <p:cNvPr id="85" name="Rectangle 84">
            <a:extLst>
              <a:ext uri="{FF2B5EF4-FFF2-40B4-BE49-F238E27FC236}">
                <a16:creationId xmlns:a16="http://schemas.microsoft.com/office/drawing/2014/main" id="{434F9C94-593D-6B7B-38B5-B7AD2CB409C8}"/>
              </a:ext>
            </a:extLst>
          </p:cNvPr>
          <p:cNvSpPr/>
          <p:nvPr>
            <p:custDataLst>
              <p:tags r:id="rId14"/>
            </p:custDataLst>
          </p:nvPr>
        </p:nvSpPr>
        <p:spPr bwMode="auto">
          <a:xfrm>
            <a:off x="9863138" y="5986463"/>
            <a:ext cx="179388" cy="133350"/>
          </a:xfrm>
          <a:prstGeom prst="rect">
            <a:avLst/>
          </a:prstGeom>
          <a:solidFill>
            <a:srgbClr val="9DB1CF"/>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86" name="Rectangle 85">
            <a:extLst>
              <a:ext uri="{FF2B5EF4-FFF2-40B4-BE49-F238E27FC236}">
                <a16:creationId xmlns:a16="http://schemas.microsoft.com/office/drawing/2014/main" id="{86D28794-08D8-8600-947F-193748006FEE}"/>
              </a:ext>
            </a:extLst>
          </p:cNvPr>
          <p:cNvSpPr/>
          <p:nvPr>
            <p:custDataLst>
              <p:tags r:id="rId15"/>
            </p:custDataLst>
          </p:nvPr>
        </p:nvSpPr>
        <p:spPr bwMode="auto">
          <a:xfrm>
            <a:off x="9863138" y="6189663"/>
            <a:ext cx="179388" cy="133350"/>
          </a:xfrm>
          <a:prstGeom prst="rect">
            <a:avLst/>
          </a:prstGeom>
          <a:solidFill>
            <a:srgbClr val="C8BD88"/>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81" name="Text Placeholder 19">
            <a:extLst>
              <a:ext uri="{FF2B5EF4-FFF2-40B4-BE49-F238E27FC236}">
                <a16:creationId xmlns:a16="http://schemas.microsoft.com/office/drawing/2014/main" id="{9F9869AF-B0F6-4E89-B216-4EC18C7334C2}"/>
              </a:ext>
            </a:extLst>
          </p:cNvPr>
          <p:cNvSpPr>
            <a:spLocks noGrp="1"/>
          </p:cNvSpPr>
          <p:nvPr>
            <p:custDataLst>
              <p:tags r:id="rId16"/>
            </p:custDataLst>
          </p:nvPr>
        </p:nvSpPr>
        <p:spPr bwMode="auto">
          <a:xfrm>
            <a:off x="10093325" y="5981700"/>
            <a:ext cx="11080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EA7F77AA-91D5-4A2A-BBB2-AC25EF578185}" type="datetime'''Fe''''''deral'''' ''''''L''''easi''''''n''g'' ''''''Ba''''n'">
              <a:rPr kumimoji="0" lang="en-GB" altLang="en-US" sz="10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Federal Leasing Ban</a:t>
            </a:fld>
            <a:endParaRPr kumimoji="0" lang="en-GB" sz="10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83" name="Text Placeholder 19">
            <a:extLst>
              <a:ext uri="{FF2B5EF4-FFF2-40B4-BE49-F238E27FC236}">
                <a16:creationId xmlns:a16="http://schemas.microsoft.com/office/drawing/2014/main" id="{9F9869AF-B0F6-4E89-B216-4EC18C7334C2}"/>
              </a:ext>
            </a:extLst>
          </p:cNvPr>
          <p:cNvSpPr>
            <a:spLocks noGrp="1"/>
          </p:cNvSpPr>
          <p:nvPr>
            <p:custDataLst>
              <p:tags r:id="rId17"/>
            </p:custDataLst>
          </p:nvPr>
        </p:nvSpPr>
        <p:spPr bwMode="auto">
          <a:xfrm>
            <a:off x="10093325" y="6184900"/>
            <a:ext cx="8382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20AEE58A-B9BE-410D-BB74-8A5F3E4661F2}" type="datetime'''L''N''G Ov''''''''er''''b''''''''''''''u''''''i''l''''d'''">
              <a:rPr kumimoji="0" lang="en-GB" altLang="en-US" sz="1000" b="0" i="0" u="none" strike="noStrike" kern="1200" cap="none" spc="0" normalizeH="0" baseline="0" noProof="0" smtClean="0">
                <a:ln>
                  <a:noFill/>
                </a:ln>
                <a:solidFill>
                  <a:srgbClr val="3C3C3B"/>
                </a:solidFill>
                <a:effectLst/>
                <a:uLnTx/>
                <a:uFillTx/>
                <a:latin typeface="Lato"/>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LNG Overbuild</a:t>
            </a:fld>
            <a:endParaRPr kumimoji="0" lang="en-GB" sz="10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175" name="TextBox 174">
            <a:extLst>
              <a:ext uri="{FF2B5EF4-FFF2-40B4-BE49-F238E27FC236}">
                <a16:creationId xmlns:a16="http://schemas.microsoft.com/office/drawing/2014/main" id="{F62E693E-1D2C-82F1-C198-335C51D9875D}"/>
              </a:ext>
            </a:extLst>
          </p:cNvPr>
          <p:cNvSpPr txBox="1"/>
          <p:nvPr/>
        </p:nvSpPr>
        <p:spPr>
          <a:xfrm>
            <a:off x="9614575" y="5300666"/>
            <a:ext cx="2163763"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oth gas sensitivities lead to slight upward pressure on Henry Hub, within </a:t>
            </a:r>
            <a:r>
              <a:rPr kumimoji="0" lang="en-GB" sz="1200" b="0" i="0" u="none" strike="noStrike" kern="1200" cap="none" spc="0" normalizeH="0" baseline="0" noProof="0">
                <a:ln>
                  <a:noFill/>
                </a:ln>
                <a:solidFill>
                  <a:schemeClr val="accent5"/>
                </a:solidFill>
                <a:effectLst/>
                <a:highlight>
                  <a:srgbClr val="808080"/>
                </a:highligh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X</a:t>
            </a:r>
            <a:r>
              <a:rPr kumimoji="0" lang="en-GB" sz="1200" b="0" i="0" u="none" strike="noStrike" kern="1200" cap="none" spc="0" normalizeH="0" baseline="0" noProof="0">
                <a:ln>
                  <a:noFill/>
                </a:ln>
                <a:solidFill>
                  <a:srgbClr val="3C3C3B"/>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by 2035.</a:t>
            </a:r>
            <a:endParaRPr kumimoji="0" lang="en-GB" sz="1200" b="0" i="0" u="none" strike="noStrike" kern="1200" cap="none" spc="0" normalizeH="0" baseline="0" noProof="0">
              <a:ln>
                <a:noFill/>
              </a:ln>
              <a:solidFill>
                <a:srgbClr val="3C3C3B"/>
              </a:solidFill>
              <a:effectLst/>
              <a:uLnTx/>
              <a:uFillTx/>
              <a:latin typeface="Lato"/>
              <a:ea typeface="+mn-ea"/>
              <a:cs typeface="+mn-cs"/>
            </a:endParaRPr>
          </a:p>
        </p:txBody>
      </p:sp>
      <p:pic>
        <p:nvPicPr>
          <p:cNvPr id="177" name="Picture 4">
            <a:extLst>
              <a:ext uri="{FF2B5EF4-FFF2-40B4-BE49-F238E27FC236}">
                <a16:creationId xmlns:a16="http://schemas.microsoft.com/office/drawing/2014/main" id="{ADE14421-6563-BF28-A8B1-8BD40C404B81}"/>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t="72" b="72"/>
          <a:stretch/>
        </p:blipFill>
        <p:spPr bwMode="auto">
          <a:xfrm>
            <a:off x="10911562" y="4967291"/>
            <a:ext cx="257126" cy="223838"/>
          </a:xfrm>
          <a:prstGeom prst="rect">
            <a:avLst/>
          </a:prstGeom>
          <a:noFill/>
          <a:extLst>
            <a:ext uri="{909E8E84-426E-40DD-AFC4-6F175D3DCCD1}">
              <a14:hiddenFill xmlns:a14="http://schemas.microsoft.com/office/drawing/2010/main">
                <a:solidFill>
                  <a:srgbClr val="FFFFFF"/>
                </a:solidFill>
              </a14:hiddenFill>
            </a:ext>
          </a:extLst>
        </p:spPr>
      </p:pic>
      <p:pic>
        <p:nvPicPr>
          <p:cNvPr id="183" name="Picture 2" descr="democrat Icon 26092">
            <a:extLst>
              <a:ext uri="{FF2B5EF4-FFF2-40B4-BE49-F238E27FC236}">
                <a16:creationId xmlns:a16="http://schemas.microsoft.com/office/drawing/2014/main" id="{ADB05200-D404-A97A-709E-BC258BB75508}"/>
              </a:ext>
            </a:extLst>
          </p:cNvPr>
          <p:cNvPicPr>
            <a:picLocks noChangeAspect="1" noChangeArrowheads="1"/>
          </p:cNvPicPr>
          <p:nvPr/>
        </p:nvPicPr>
        <p:blipFill rotWithShape="1">
          <a:blip r:embed="rId31">
            <a:extLst>
              <a:ext uri="{28A0092B-C50C-407E-A947-70E740481C1C}">
                <a14:useLocalDpi xmlns:a14="http://schemas.microsoft.com/office/drawing/2010/main" val="0"/>
              </a:ext>
            </a:extLst>
          </a:blip>
          <a:srcRect l="15128" t="20975" r="17222" b="19584"/>
          <a:stretch/>
        </p:blipFill>
        <p:spPr bwMode="auto">
          <a:xfrm>
            <a:off x="10032087" y="4965703"/>
            <a:ext cx="254746" cy="223838"/>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096F8C33-46CE-2030-BCD4-3D3D5B6136BE}"/>
              </a:ext>
            </a:extLst>
          </p:cNvPr>
          <p:cNvPicPr>
            <a:picLocks noChangeAspect="1"/>
          </p:cNvPicPr>
          <p:nvPr/>
        </p:nvPicPr>
        <p:blipFill>
          <a:blip r:embed="rId36"/>
          <a:stretch>
            <a:fillRect/>
          </a:stretch>
        </p:blipFill>
        <p:spPr>
          <a:xfrm>
            <a:off x="508269" y="2468055"/>
            <a:ext cx="348951" cy="376397"/>
          </a:xfrm>
          <a:prstGeom prst="rect">
            <a:avLst/>
          </a:prstGeom>
        </p:spPr>
      </p:pic>
      <p:pic>
        <p:nvPicPr>
          <p:cNvPr id="87" name="Graphic 86">
            <a:extLst>
              <a:ext uri="{FF2B5EF4-FFF2-40B4-BE49-F238E27FC236}">
                <a16:creationId xmlns:a16="http://schemas.microsoft.com/office/drawing/2014/main" id="{9333A4B0-1E79-36E6-3521-B95BA4A5B0A0}"/>
              </a:ext>
            </a:extLst>
          </p:cNvPr>
          <p:cNvPicPr>
            <a:picLocks noChangeAspect="1"/>
          </p:cNvPicPr>
          <p:nvPr/>
        </p:nvPicPr>
        <p:blipFill rotWithShape="1">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rcRect b="21418"/>
          <a:stretch/>
        </p:blipFill>
        <p:spPr>
          <a:xfrm rot="5400000" flipV="1">
            <a:off x="9714587" y="4968878"/>
            <a:ext cx="256967" cy="252413"/>
          </a:xfrm>
          <a:prstGeom prst="rect">
            <a:avLst/>
          </a:prstGeom>
        </p:spPr>
      </p:pic>
      <p:pic>
        <p:nvPicPr>
          <p:cNvPr id="88" name="Graphic 87">
            <a:extLst>
              <a:ext uri="{FF2B5EF4-FFF2-40B4-BE49-F238E27FC236}">
                <a16:creationId xmlns:a16="http://schemas.microsoft.com/office/drawing/2014/main" id="{E4E57811-E038-BECB-6723-0F6B62DA2498}"/>
              </a:ext>
            </a:extLst>
          </p:cNvPr>
          <p:cNvPicPr>
            <a:picLocks noChangeAspect="1"/>
          </p:cNvPicPr>
          <p:nvPr/>
        </p:nvPicPr>
        <p:blipFill rotWithShape="1">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rcRect b="21418"/>
          <a:stretch/>
        </p:blipFill>
        <p:spPr>
          <a:xfrm rot="5400000" flipV="1">
            <a:off x="10589300" y="4967291"/>
            <a:ext cx="256967" cy="252413"/>
          </a:xfrm>
          <a:prstGeom prst="rect">
            <a:avLst/>
          </a:prstGeom>
        </p:spPr>
      </p:pic>
      <p:pic>
        <p:nvPicPr>
          <p:cNvPr id="25" name="Graphic 24">
            <a:extLst>
              <a:ext uri="{FF2B5EF4-FFF2-40B4-BE49-F238E27FC236}">
                <a16:creationId xmlns:a16="http://schemas.microsoft.com/office/drawing/2014/main" id="{3B4D8176-2FDC-B6BB-BB2F-4655AC22EEBC}"/>
              </a:ext>
            </a:extLst>
          </p:cNvPr>
          <p:cNvPicPr>
            <a:picLocks noChangeAspect="1"/>
          </p:cNvPicPr>
          <p:nvPr/>
        </p:nvPicPr>
        <p:blipFill rotWithShape="1">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rcRect b="21418"/>
          <a:stretch/>
        </p:blipFill>
        <p:spPr>
          <a:xfrm rot="5400000" flipV="1">
            <a:off x="2175323" y="3159003"/>
            <a:ext cx="256967" cy="252413"/>
          </a:xfrm>
          <a:prstGeom prst="rect">
            <a:avLst/>
          </a:prstGeom>
        </p:spPr>
      </p:pic>
      <p:pic>
        <p:nvPicPr>
          <p:cNvPr id="26" name="Graphic 25">
            <a:extLst>
              <a:ext uri="{FF2B5EF4-FFF2-40B4-BE49-F238E27FC236}">
                <a16:creationId xmlns:a16="http://schemas.microsoft.com/office/drawing/2014/main" id="{0C8CD6AD-6DA9-DFC7-DDF3-831B00BFB89E}"/>
              </a:ext>
            </a:extLst>
          </p:cNvPr>
          <p:cNvPicPr>
            <a:picLocks noChangeAspect="1"/>
          </p:cNvPicPr>
          <p:nvPr/>
        </p:nvPicPr>
        <p:blipFill rotWithShape="1">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rcRect b="21418"/>
          <a:stretch/>
        </p:blipFill>
        <p:spPr>
          <a:xfrm rot="5400000" flipV="1">
            <a:off x="2175323" y="3947912"/>
            <a:ext cx="256967" cy="252413"/>
          </a:xfrm>
          <a:prstGeom prst="rect">
            <a:avLst/>
          </a:prstGeom>
        </p:spPr>
      </p:pic>
      <p:pic>
        <p:nvPicPr>
          <p:cNvPr id="28" name="Graphic 27">
            <a:extLst>
              <a:ext uri="{FF2B5EF4-FFF2-40B4-BE49-F238E27FC236}">
                <a16:creationId xmlns:a16="http://schemas.microsoft.com/office/drawing/2014/main" id="{3912891A-9C12-4BA8-EB5E-83E381260FD1}"/>
              </a:ext>
            </a:extLst>
          </p:cNvPr>
          <p:cNvPicPr>
            <a:picLocks noChangeAspect="1"/>
          </p:cNvPicPr>
          <p:nvPr/>
        </p:nvPicPr>
        <p:blipFill rotWithShape="1">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rcRect b="21418"/>
          <a:stretch/>
        </p:blipFill>
        <p:spPr>
          <a:xfrm rot="5400000" flipV="1">
            <a:off x="6976686" y="4488287"/>
            <a:ext cx="256967" cy="252413"/>
          </a:xfrm>
          <a:prstGeom prst="rect">
            <a:avLst/>
          </a:prstGeom>
        </p:spPr>
      </p:pic>
      <p:sp>
        <p:nvSpPr>
          <p:cNvPr id="17" name="Text Placeholder 8">
            <a:extLst>
              <a:ext uri="{FF2B5EF4-FFF2-40B4-BE49-F238E27FC236}">
                <a16:creationId xmlns:a16="http://schemas.microsoft.com/office/drawing/2014/main" id="{1174CC08-E359-0B3B-7C8D-E345846EE04C}"/>
              </a:ext>
            </a:extLst>
          </p:cNvPr>
          <p:cNvSpPr txBox="1">
            <a:spLocks/>
          </p:cNvSpPr>
          <p:nvPr/>
        </p:nvSpPr>
        <p:spPr>
          <a:xfrm>
            <a:off x="381001" y="6715169"/>
            <a:ext cx="1500411" cy="110800"/>
          </a:xfrm>
          <a:prstGeom prst="rect">
            <a:avLst/>
          </a:prstGeom>
        </p:spPr>
        <p:txBody>
          <a:bodyPr vert="horz" wrap="none" lIns="0" tIns="0" rIns="0" bIns="0" rtlCol="0" anchor="b" anchorCtr="0">
            <a:spAutoFit/>
          </a:bodyPr>
          <a:lstStyle>
            <a:lvl1pPr marL="0" indent="0" algn="l" defTabSz="685783" rtl="0" eaLnBrk="1" latinLnBrk="0" hangingPunct="1">
              <a:lnSpc>
                <a:spcPct val="90000"/>
              </a:lnSpc>
              <a:spcBef>
                <a:spcPts val="0"/>
              </a:spcBef>
              <a:buFont typeface="Wingdings" panose="05000000000000000000" pitchFamily="2" charset="2"/>
              <a:buNone/>
              <a:defRPr sz="800" kern="1200" baseline="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ts val="0"/>
              </a:spcBef>
              <a:spcAft>
                <a:spcPts val="0"/>
              </a:spcAft>
              <a:buClrTx/>
              <a:buSzTx/>
              <a:buFont typeface="Wingdings" panose="05000000000000000000" pitchFamily="2" charset="2"/>
              <a:buNone/>
              <a:tabLst/>
              <a:defRPr/>
            </a:pPr>
            <a:r>
              <a:rPr kumimoji="0" lang="en-GB" sz="800" b="0" i="0" u="none" strike="noStrike" kern="1200" cap="none" spc="0" normalizeH="0" baseline="0" noProof="0">
                <a:ln>
                  <a:noFill/>
                </a:ln>
                <a:solidFill>
                  <a:srgbClr val="3C3C3B"/>
                </a:solidFill>
                <a:effectLst/>
                <a:uLnTx/>
                <a:uFillTx/>
                <a:latin typeface="Lato" panose="020F0502020204030203" pitchFamily="34" charset="0"/>
                <a:sym typeface="Lato" panose="020F0502020204030203" pitchFamily="34" charset="0"/>
              </a:rPr>
              <a:t>Sources: Aurora Energy Research</a:t>
            </a:r>
          </a:p>
        </p:txBody>
      </p:sp>
      <p:pic>
        <p:nvPicPr>
          <p:cNvPr id="2" name="Graphic 1">
            <a:extLst>
              <a:ext uri="{FF2B5EF4-FFF2-40B4-BE49-F238E27FC236}">
                <a16:creationId xmlns:a16="http://schemas.microsoft.com/office/drawing/2014/main" id="{B3736A1C-FC87-ECFC-9952-8EA013D671DD}"/>
              </a:ext>
            </a:extLst>
          </p:cNvPr>
          <p:cNvPicPr>
            <a:picLocks noChangeAspect="1"/>
          </p:cNvPicPr>
          <p:nvPr/>
        </p:nvPicPr>
        <p:blipFill rotWithShape="1">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rcRect b="21418"/>
          <a:stretch/>
        </p:blipFill>
        <p:spPr>
          <a:xfrm rot="5400000" flipV="1">
            <a:off x="2175323" y="2549297"/>
            <a:ext cx="256967" cy="252413"/>
          </a:xfrm>
          <a:prstGeom prst="rect">
            <a:avLst/>
          </a:prstGeom>
        </p:spPr>
      </p:pic>
      <p:sp>
        <p:nvSpPr>
          <p:cNvPr id="21" name="Rectangle 20">
            <a:extLst>
              <a:ext uri="{FF2B5EF4-FFF2-40B4-BE49-F238E27FC236}">
                <a16:creationId xmlns:a16="http://schemas.microsoft.com/office/drawing/2014/main" id="{9459DD10-A60F-9A41-5A0A-268D7AC27216}"/>
              </a:ext>
            </a:extLst>
          </p:cNvPr>
          <p:cNvSpPr/>
          <p:nvPr/>
        </p:nvSpPr>
        <p:spPr>
          <a:xfrm>
            <a:off x="2366513" y="5302250"/>
            <a:ext cx="115197" cy="1028960"/>
          </a:xfrm>
          <a:prstGeom prst="rect">
            <a:avLst/>
          </a:prstGeom>
          <a:solidFill>
            <a:schemeClr val="accent5"/>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Tree>
    <p:extLst>
      <p:ext uri="{BB962C8B-B14F-4D97-AF65-F5344CB8AC3E}">
        <p14:creationId xmlns:p14="http://schemas.microsoft.com/office/powerpoint/2010/main" val="36800742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think-cell data - do not delete" hidden="1">
            <a:extLst>
              <a:ext uri="{FF2B5EF4-FFF2-40B4-BE49-F238E27FC236}">
                <a16:creationId xmlns:a16="http://schemas.microsoft.com/office/drawing/2014/main" id="{FAD03549-E93B-6416-7980-204A3C0E3A29}"/>
              </a:ext>
            </a:extLst>
          </p:cNvPr>
          <p:cNvGraphicFramePr>
            <a:graphicFrameLocks noChangeAspect="1"/>
          </p:cNvGraphicFramePr>
          <p:nvPr>
            <p:custDataLst>
              <p:tags r:id="rId1"/>
            </p:custDataLst>
            <p:extLst>
              <p:ext uri="{D42A27DB-BD31-4B8C-83A1-F6EECF244321}">
                <p14:modId xmlns:p14="http://schemas.microsoft.com/office/powerpoint/2010/main" val="2600797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306" imgH="306" progId="TCLayout.ActiveDocument.1">
                  <p:embed/>
                </p:oleObj>
              </mc:Choice>
              <mc:Fallback>
                <p:oleObj name="think-cell Slide" r:id="rId38" imgW="306" imgH="306" progId="TCLayout.ActiveDocument.1">
                  <p:embed/>
                  <p:pic>
                    <p:nvPicPr>
                      <p:cNvPr id="54" name="think-cell data - do not delete" hidden="1">
                        <a:extLst>
                          <a:ext uri="{FF2B5EF4-FFF2-40B4-BE49-F238E27FC236}">
                            <a16:creationId xmlns:a16="http://schemas.microsoft.com/office/drawing/2014/main" id="{FAD03549-E93B-6416-7980-204A3C0E3A29}"/>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cxnSp>
        <p:nvCxnSpPr>
          <p:cNvPr id="5" name="Straight Connector 4">
            <a:extLst>
              <a:ext uri="{FF2B5EF4-FFF2-40B4-BE49-F238E27FC236}">
                <a16:creationId xmlns:a16="http://schemas.microsoft.com/office/drawing/2014/main" id="{EB41F8FF-82CE-EF7C-E83A-3D33695AF1B7}"/>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F3FAD4D7-7081-11E5-7F38-F53C157A83FF}"/>
              </a:ext>
            </a:extLst>
          </p:cNvPr>
          <p:cNvSpPr>
            <a:spLocks noGrp="1"/>
          </p:cNvSpPr>
          <p:nvPr>
            <p:ph type="body" sz="quarter" idx="22"/>
          </p:nvPr>
        </p:nvSpPr>
        <p:spPr>
          <a:xfrm>
            <a:off x="381001" y="6715169"/>
            <a:ext cx="1734449" cy="110800"/>
          </a:xfrm>
        </p:spPr>
        <p:txBody>
          <a:bodyPr/>
          <a:lstStyle/>
          <a:p>
            <a:r>
              <a:rPr lang="en-GB"/>
              <a:t>Sources: Aurora Energy Research, EPA</a:t>
            </a:r>
          </a:p>
        </p:txBody>
      </p:sp>
      <p:sp>
        <p:nvSpPr>
          <p:cNvPr id="6" name="Text Placeholder 5">
            <a:extLst>
              <a:ext uri="{FF2B5EF4-FFF2-40B4-BE49-F238E27FC236}">
                <a16:creationId xmlns:a16="http://schemas.microsoft.com/office/drawing/2014/main" id="{722D76F3-0958-3A54-3612-DE4725F37EAC}"/>
              </a:ext>
            </a:extLst>
          </p:cNvPr>
          <p:cNvSpPr>
            <a:spLocks noGrp="1"/>
          </p:cNvSpPr>
          <p:nvPr>
            <p:ph type="body" sz="quarter" idx="28"/>
          </p:nvPr>
        </p:nvSpPr>
        <p:spPr>
          <a:xfrm>
            <a:off x="9500714" y="1273843"/>
            <a:ext cx="2335686" cy="5396349"/>
          </a:xfrm>
        </p:spPr>
        <p:txBody>
          <a:bodyPr/>
          <a:lstStyle/>
          <a:p>
            <a:pPr marL="171450" indent="-171450">
              <a:buFont typeface="Wingdings" panose="05000000000000000000" pitchFamily="2" charset="2"/>
              <a:buChar char="§"/>
            </a:pPr>
            <a:r>
              <a:rPr lang="en-GB"/>
              <a:t>Slower EV uptake and coal subsidies depress renewables buildout slightly under the baseline Trump scenario.</a:t>
            </a:r>
          </a:p>
          <a:p>
            <a:pPr marL="171450" indent="-171450">
              <a:buFont typeface="Wingdings" panose="05000000000000000000" pitchFamily="2" charset="2"/>
              <a:buChar char="§"/>
            </a:pPr>
            <a:r>
              <a:rPr lang="en-GB"/>
              <a:t>A Harris Presidency is represented as a continuation of Biden-era energy policy and so closely tracks Aurora Central.</a:t>
            </a:r>
          </a:p>
          <a:p>
            <a:pPr marL="171450" indent="-171450">
              <a:buFont typeface="Wingdings" panose="05000000000000000000" pitchFamily="2" charset="2"/>
              <a:buChar char="§"/>
            </a:pPr>
            <a:r>
              <a:rPr lang="en-GB"/>
              <a:t>The removal of renewables tax credits in the Project 2025 sensitivity sees </a:t>
            </a:r>
            <a:r>
              <a:rPr lang="en-GB">
                <a:solidFill>
                  <a:schemeClr val="accent5"/>
                </a:solidFill>
                <a:highlight>
                  <a:srgbClr val="808080"/>
                </a:highlight>
              </a:rPr>
              <a:t>XXX</a:t>
            </a:r>
            <a:r>
              <a:rPr lang="en-GB"/>
              <a:t>GW less of renewables buildout by 2040 – </a:t>
            </a:r>
            <a:r>
              <a:rPr lang="en-GB">
                <a:solidFill>
                  <a:schemeClr val="accent5"/>
                </a:solidFill>
                <a:highlight>
                  <a:srgbClr val="808080"/>
                </a:highlight>
              </a:rPr>
              <a:t>XX</a:t>
            </a:r>
            <a:r>
              <a:rPr lang="en-GB"/>
              <a:t>% less than in Aurora Central.</a:t>
            </a:r>
          </a:p>
          <a:p>
            <a:pPr marL="171450" indent="-171450">
              <a:buFont typeface="Wingdings" panose="05000000000000000000" pitchFamily="2" charset="2"/>
              <a:buChar char="§"/>
            </a:pPr>
            <a:r>
              <a:rPr lang="en-GB"/>
              <a:t>Maintenance of tax credits and higher carbon prices in the Green New Deal sensitivity spurs buildout of </a:t>
            </a:r>
            <a:r>
              <a:rPr lang="en-GB">
                <a:solidFill>
                  <a:schemeClr val="accent5"/>
                </a:solidFill>
                <a:highlight>
                  <a:srgbClr val="808080"/>
                </a:highlight>
              </a:rPr>
              <a:t>XXX</a:t>
            </a:r>
            <a:r>
              <a:rPr lang="en-GB"/>
              <a:t>GW more renewables, </a:t>
            </a:r>
            <a:r>
              <a:rPr lang="en-GB">
                <a:solidFill>
                  <a:schemeClr val="accent5"/>
                </a:solidFill>
                <a:highlight>
                  <a:srgbClr val="808080"/>
                </a:highlight>
              </a:rPr>
              <a:t>XX</a:t>
            </a:r>
            <a:r>
              <a:rPr lang="en-GB"/>
              <a:t>% more than in Aurora Central.</a:t>
            </a:r>
          </a:p>
          <a:p>
            <a:pPr marL="171450" indent="-171450">
              <a:buFont typeface="Wingdings" panose="05000000000000000000" pitchFamily="2" charset="2"/>
              <a:buChar char="§"/>
            </a:pPr>
            <a:r>
              <a:rPr lang="en-GB"/>
              <a:t>Thermal subsidies and delayed retirements raise emissions in the Trump Presidency scenario and Project 2025 sensitivity, with 2025-40 total emissions reaching </a:t>
            </a:r>
            <a:r>
              <a:rPr lang="en-GB">
                <a:solidFill>
                  <a:schemeClr val="accent5"/>
                </a:solidFill>
                <a:highlight>
                  <a:srgbClr val="808080"/>
                </a:highlight>
              </a:rPr>
              <a:t>XX</a:t>
            </a:r>
            <a:r>
              <a:rPr lang="en-GB"/>
              <a:t>% and </a:t>
            </a:r>
            <a:r>
              <a:rPr lang="en-GB">
                <a:solidFill>
                  <a:schemeClr val="accent5"/>
                </a:solidFill>
                <a:highlight>
                  <a:srgbClr val="808080"/>
                </a:highlight>
              </a:rPr>
              <a:t>XXX</a:t>
            </a:r>
            <a:r>
              <a:rPr lang="en-GB"/>
              <a:t>% of 2022’s power sector levels, respectively.</a:t>
            </a:r>
          </a:p>
        </p:txBody>
      </p:sp>
      <p:sp>
        <p:nvSpPr>
          <p:cNvPr id="7" name="Title 6">
            <a:extLst>
              <a:ext uri="{FF2B5EF4-FFF2-40B4-BE49-F238E27FC236}">
                <a16:creationId xmlns:a16="http://schemas.microsoft.com/office/drawing/2014/main" id="{25C8E4E4-3222-8C70-08CE-201A380A0010}"/>
              </a:ext>
            </a:extLst>
          </p:cNvPr>
          <p:cNvSpPr>
            <a:spLocks noGrp="1"/>
          </p:cNvSpPr>
          <p:nvPr>
            <p:ph type="title"/>
          </p:nvPr>
        </p:nvSpPr>
        <p:spPr/>
        <p:txBody>
          <a:bodyPr vert="horz"/>
          <a:lstStyle/>
          <a:p>
            <a:r>
              <a:rPr lang="en-GB"/>
              <a:t>Control of the presidency has little impact on the energy transition, but ending renewables tax credits cuts buildout by 2040 by </a:t>
            </a:r>
            <a:r>
              <a:rPr lang="en-GB">
                <a:solidFill>
                  <a:schemeClr val="accent5"/>
                </a:solidFill>
                <a:highlight>
                  <a:srgbClr val="808080"/>
                </a:highlight>
              </a:rPr>
              <a:t>XXX</a:t>
            </a:r>
            <a:r>
              <a:rPr lang="en-GB"/>
              <a:t> GW</a:t>
            </a:r>
          </a:p>
        </p:txBody>
      </p:sp>
      <p:sp>
        <p:nvSpPr>
          <p:cNvPr id="8" name="Text Placeholder 7">
            <a:extLst>
              <a:ext uri="{FF2B5EF4-FFF2-40B4-BE49-F238E27FC236}">
                <a16:creationId xmlns:a16="http://schemas.microsoft.com/office/drawing/2014/main" id="{35F5DC02-97C4-4386-B232-00DF18F6458E}"/>
              </a:ext>
            </a:extLst>
          </p:cNvPr>
          <p:cNvSpPr>
            <a:spLocks noGrp="1"/>
          </p:cNvSpPr>
          <p:nvPr>
            <p:ph type="body" sz="quarter" idx="29"/>
          </p:nvPr>
        </p:nvSpPr>
        <p:spPr>
          <a:xfrm>
            <a:off x="1563688" y="1277288"/>
            <a:ext cx="3448050" cy="738664"/>
          </a:xfrm>
        </p:spPr>
        <p:txBody>
          <a:bodyPr/>
          <a:lstStyle/>
          <a:p>
            <a:r>
              <a:rPr lang="en-GB"/>
              <a:t>Installed capacity delta with Central across US ISO regions in 2040</a:t>
            </a:r>
            <a:r>
              <a:rPr lang="en-GB" b="0" baseline="30000"/>
              <a:t>1</a:t>
            </a:r>
          </a:p>
          <a:p>
            <a:r>
              <a:rPr lang="en-GB" b="0">
                <a:solidFill>
                  <a:schemeClr val="accent5"/>
                </a:solidFill>
              </a:rPr>
              <a:t>GW</a:t>
            </a:r>
          </a:p>
          <a:p>
            <a:endParaRPr lang="en-GB"/>
          </a:p>
        </p:txBody>
      </p:sp>
      <p:sp>
        <p:nvSpPr>
          <p:cNvPr id="9" name="Text Placeholder 8">
            <a:extLst>
              <a:ext uri="{FF2B5EF4-FFF2-40B4-BE49-F238E27FC236}">
                <a16:creationId xmlns:a16="http://schemas.microsoft.com/office/drawing/2014/main" id="{8436A83F-008F-F9F3-28BA-E3C4D55C82F2}"/>
              </a:ext>
            </a:extLst>
          </p:cNvPr>
          <p:cNvSpPr>
            <a:spLocks noGrp="1"/>
          </p:cNvSpPr>
          <p:nvPr>
            <p:ph type="body" sz="quarter" idx="36"/>
          </p:nvPr>
        </p:nvSpPr>
        <p:spPr>
          <a:xfrm>
            <a:off x="5689600" y="1268129"/>
            <a:ext cx="3293074" cy="923330"/>
          </a:xfrm>
        </p:spPr>
        <p:txBody>
          <a:bodyPr/>
          <a:lstStyle/>
          <a:p>
            <a:r>
              <a:rPr lang="en-GB" b="1"/>
              <a:t>Cumulative emissions delta with Central,</a:t>
            </a:r>
          </a:p>
          <a:p>
            <a:r>
              <a:rPr lang="en-GB" b="1"/>
              <a:t>2025-2040</a:t>
            </a:r>
            <a:r>
              <a:rPr lang="en-GB" b="1" baseline="30000"/>
              <a:t>1</a:t>
            </a:r>
          </a:p>
          <a:p>
            <a:r>
              <a:rPr lang="en-GB" b="0">
                <a:solidFill>
                  <a:schemeClr val="accent5"/>
                </a:solidFill>
              </a:rPr>
              <a:t>Million metric tons CO</a:t>
            </a:r>
            <a:r>
              <a:rPr lang="en-GB" b="0" baseline="-25000">
                <a:solidFill>
                  <a:schemeClr val="accent5"/>
                </a:solidFill>
              </a:rPr>
              <a:t>2</a:t>
            </a:r>
            <a:r>
              <a:rPr lang="en-GB" b="0">
                <a:solidFill>
                  <a:schemeClr val="accent5"/>
                </a:solidFill>
              </a:rPr>
              <a:t>e</a:t>
            </a:r>
          </a:p>
          <a:p>
            <a:endParaRPr lang="en-GB"/>
          </a:p>
          <a:p>
            <a:endParaRPr lang="en-GB"/>
          </a:p>
        </p:txBody>
      </p:sp>
      <p:sp>
        <p:nvSpPr>
          <p:cNvPr id="10" name="Text Placeholder 9">
            <a:extLst>
              <a:ext uri="{FF2B5EF4-FFF2-40B4-BE49-F238E27FC236}">
                <a16:creationId xmlns:a16="http://schemas.microsoft.com/office/drawing/2014/main" id="{FB3BC6AB-CD1C-BD45-E35A-04E1F389067D}"/>
              </a:ext>
            </a:extLst>
          </p:cNvPr>
          <p:cNvSpPr>
            <a:spLocks noGrp="1"/>
          </p:cNvSpPr>
          <p:nvPr>
            <p:ph type="body" sz="quarter" idx="32"/>
          </p:nvPr>
        </p:nvSpPr>
        <p:spPr/>
        <p:txBody>
          <a:bodyPr/>
          <a:lstStyle/>
          <a:p>
            <a:r>
              <a:rPr lang="en-GB"/>
              <a:t>1) Sum across CAISO, ERCOT, ISO-NE, MISO, NYISO, and PJM. Excludes SPP as well as WECC, and SERC non-ISO regions.</a:t>
            </a:r>
          </a:p>
        </p:txBody>
      </p:sp>
      <p:graphicFrame>
        <p:nvGraphicFramePr>
          <p:cNvPr id="108" name="Chart 107">
            <a:extLst>
              <a:ext uri="{FF2B5EF4-FFF2-40B4-BE49-F238E27FC236}">
                <a16:creationId xmlns:a16="http://schemas.microsoft.com/office/drawing/2014/main" id="{7FE42DE2-5395-FC87-5DAB-C8F9DE04D701}"/>
              </a:ext>
            </a:extLst>
          </p:cNvPr>
          <p:cNvGraphicFramePr/>
          <p:nvPr>
            <p:custDataLst>
              <p:tags r:id="rId2"/>
            </p:custDataLst>
            <p:extLst>
              <p:ext uri="{D42A27DB-BD31-4B8C-83A1-F6EECF244321}">
                <p14:modId xmlns:p14="http://schemas.microsoft.com/office/powerpoint/2010/main" val="1911558568"/>
              </p:ext>
            </p:extLst>
          </p:nvPr>
        </p:nvGraphicFramePr>
        <p:xfrm>
          <a:off x="1511300" y="1990725"/>
          <a:ext cx="3562350" cy="3938588"/>
        </p:xfrm>
        <a:graphic>
          <a:graphicData uri="http://schemas.openxmlformats.org/drawingml/2006/chart">
            <c:chart xmlns:c="http://schemas.openxmlformats.org/drawingml/2006/chart" xmlns:r="http://schemas.openxmlformats.org/officeDocument/2006/relationships" r:id="rId40"/>
          </a:graphicData>
        </a:graphic>
      </p:graphicFrame>
      <p:sp>
        <p:nvSpPr>
          <p:cNvPr id="20" name="Text Placeholder 19">
            <a:extLst>
              <a:ext uri="{FF2B5EF4-FFF2-40B4-BE49-F238E27FC236}">
                <a16:creationId xmlns:a16="http://schemas.microsoft.com/office/drawing/2014/main" id="{F565D4BE-B79F-BA1A-E4B5-454A5E7F728A}"/>
              </a:ext>
            </a:extLst>
          </p:cNvPr>
          <p:cNvSpPr>
            <a:spLocks noGrp="1"/>
          </p:cNvSpPr>
          <p:nvPr>
            <p:custDataLst>
              <p:tags r:id="rId3"/>
            </p:custDataLst>
          </p:nvPr>
        </p:nvSpPr>
        <p:spPr bwMode="gray">
          <a:xfrm>
            <a:off x="2613025" y="2454275"/>
            <a:ext cx="241300" cy="182563"/>
          </a:xfrm>
          <a:prstGeom prst="rect">
            <a:avLst/>
          </a:prstGeom>
          <a:noFill/>
          <a:ln>
            <a:noFill/>
          </a:ln>
          <a:effec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rPr>
              <a:t>XX</a:t>
            </a:r>
          </a:p>
        </p:txBody>
      </p:sp>
      <p:sp>
        <p:nvSpPr>
          <p:cNvPr id="21" name="Text Placeholder 19">
            <a:extLst>
              <a:ext uri="{FF2B5EF4-FFF2-40B4-BE49-F238E27FC236}">
                <a16:creationId xmlns:a16="http://schemas.microsoft.com/office/drawing/2014/main" id="{07CD7DD1-072E-C3C7-7C3D-9FE45E8E8CF0}"/>
              </a:ext>
            </a:extLst>
          </p:cNvPr>
          <p:cNvSpPr>
            <a:spLocks noGrp="1"/>
          </p:cNvSpPr>
          <p:nvPr>
            <p:custDataLst>
              <p:tags r:id="rId4"/>
            </p:custDataLst>
          </p:nvPr>
        </p:nvSpPr>
        <p:spPr bwMode="gray">
          <a:xfrm>
            <a:off x="1798638" y="3397250"/>
            <a:ext cx="241300" cy="182563"/>
          </a:xfrm>
          <a:prstGeom prst="rect">
            <a:avLst/>
          </a:prstGeom>
          <a:noFill/>
          <a:ln>
            <a:noFill/>
          </a:ln>
          <a:effec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200" b="0" i="0" u="none" strike="noStrike" kern="1200" cap="none" spc="0" normalizeH="0" baseline="0" noProof="0">
                <a:ln>
                  <a:noFill/>
                </a:ln>
                <a:solidFill>
                  <a:srgbClr val="3C3C3B"/>
                </a:solidFill>
                <a:effectLst/>
                <a:uLnTx/>
                <a:uFillTx/>
                <a:latin typeface="Lato"/>
                <a:sym typeface="Lato" panose="020F0502020204030203" pitchFamily="34" charset="0"/>
              </a:rPr>
              <a:t>XX</a:t>
            </a:r>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22" name="Text Placeholder 19">
            <a:extLst>
              <a:ext uri="{FF2B5EF4-FFF2-40B4-BE49-F238E27FC236}">
                <a16:creationId xmlns:a16="http://schemas.microsoft.com/office/drawing/2014/main" id="{34F6BAF7-15A8-5D81-9D4E-D19527B41E5A}"/>
              </a:ext>
            </a:extLst>
          </p:cNvPr>
          <p:cNvSpPr>
            <a:spLocks noGrp="1"/>
          </p:cNvSpPr>
          <p:nvPr>
            <p:custDataLst>
              <p:tags r:id="rId5"/>
            </p:custDataLst>
          </p:nvPr>
        </p:nvSpPr>
        <p:spPr bwMode="gray">
          <a:xfrm>
            <a:off x="3074988" y="4341813"/>
            <a:ext cx="24130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lang="en-GB">
                <a:solidFill>
                  <a:srgbClr val="3C3C3B"/>
                </a:solidFill>
                <a:latin typeface="Lato"/>
              </a:rPr>
              <a:t>XX</a:t>
            </a:r>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23" name="Text Placeholder 19">
            <a:extLst>
              <a:ext uri="{FF2B5EF4-FFF2-40B4-BE49-F238E27FC236}">
                <a16:creationId xmlns:a16="http://schemas.microsoft.com/office/drawing/2014/main" id="{01A6D15A-48BE-3987-DF4F-9B3D2A3C654D}"/>
              </a:ext>
            </a:extLst>
          </p:cNvPr>
          <p:cNvSpPr>
            <a:spLocks noGrp="1"/>
          </p:cNvSpPr>
          <p:nvPr>
            <p:custDataLst>
              <p:tags r:id="rId6"/>
            </p:custDataLst>
          </p:nvPr>
        </p:nvSpPr>
        <p:spPr bwMode="gray">
          <a:xfrm>
            <a:off x="4535488" y="5284788"/>
            <a:ext cx="24130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200" b="0" i="0" u="none" strike="noStrike" kern="1200" cap="none" spc="0" normalizeH="0" baseline="0" noProof="0">
                <a:ln>
                  <a:noFill/>
                </a:ln>
                <a:solidFill>
                  <a:srgbClr val="3C3C3B"/>
                </a:solidFill>
                <a:effectLst/>
                <a:uLnTx/>
                <a:uFillTx/>
                <a:latin typeface="Lato"/>
                <a:sym typeface="Lato" panose="020F0502020204030203" pitchFamily="34" charset="0"/>
              </a:rPr>
              <a:t>XX</a:t>
            </a:r>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24" name="Rectangle 23">
            <a:extLst>
              <a:ext uri="{FF2B5EF4-FFF2-40B4-BE49-F238E27FC236}">
                <a16:creationId xmlns:a16="http://schemas.microsoft.com/office/drawing/2014/main" id="{86E386FC-0F56-3608-12D6-320C7C387FCE}"/>
              </a:ext>
            </a:extLst>
          </p:cNvPr>
          <p:cNvSpPr/>
          <p:nvPr>
            <p:custDataLst>
              <p:tags r:id="rId7"/>
            </p:custDataLst>
          </p:nvPr>
        </p:nvSpPr>
        <p:spPr bwMode="auto">
          <a:xfrm>
            <a:off x="1595438" y="5892800"/>
            <a:ext cx="142875" cy="106363"/>
          </a:xfrm>
          <a:prstGeom prst="rect">
            <a:avLst/>
          </a:prstGeom>
          <a:solidFill>
            <a:srgbClr val="A6B727"/>
          </a:solidFill>
          <a:ln w="9525"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25" name="Rectangle 24">
            <a:extLst>
              <a:ext uri="{FF2B5EF4-FFF2-40B4-BE49-F238E27FC236}">
                <a16:creationId xmlns:a16="http://schemas.microsoft.com/office/drawing/2014/main" id="{0AE1FA6D-9085-4F63-BB9C-D011F5AA9D78}"/>
              </a:ext>
            </a:extLst>
          </p:cNvPr>
          <p:cNvSpPr/>
          <p:nvPr>
            <p:custDataLst>
              <p:tags r:id="rId8"/>
            </p:custDataLst>
          </p:nvPr>
        </p:nvSpPr>
        <p:spPr bwMode="auto">
          <a:xfrm>
            <a:off x="1595438" y="6065838"/>
            <a:ext cx="142875" cy="106363"/>
          </a:xfrm>
          <a:prstGeom prst="rect">
            <a:avLst/>
          </a:prstGeom>
          <a:solidFill>
            <a:srgbClr val="969696"/>
          </a:solidFill>
          <a:ln w="9525"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26" name="Rectangle 25">
            <a:extLst>
              <a:ext uri="{FF2B5EF4-FFF2-40B4-BE49-F238E27FC236}">
                <a16:creationId xmlns:a16="http://schemas.microsoft.com/office/drawing/2014/main" id="{DB4B1DBC-3109-FAF6-39EB-C3B609CCECEB}"/>
              </a:ext>
            </a:extLst>
          </p:cNvPr>
          <p:cNvSpPr/>
          <p:nvPr>
            <p:custDataLst>
              <p:tags r:id="rId9"/>
            </p:custDataLst>
          </p:nvPr>
        </p:nvSpPr>
        <p:spPr bwMode="auto">
          <a:xfrm>
            <a:off x="1595438" y="6238875"/>
            <a:ext cx="142875" cy="106363"/>
          </a:xfrm>
          <a:prstGeom prst="rect">
            <a:avLst/>
          </a:prstGeom>
          <a:solidFill>
            <a:srgbClr val="657D1A"/>
          </a:solidFill>
          <a:ln w="9525"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27" name="Rectangle 26">
            <a:extLst>
              <a:ext uri="{FF2B5EF4-FFF2-40B4-BE49-F238E27FC236}">
                <a16:creationId xmlns:a16="http://schemas.microsoft.com/office/drawing/2014/main" id="{BC448135-B0F6-DF50-41D8-06DA49C2A674}"/>
              </a:ext>
            </a:extLst>
          </p:cNvPr>
          <p:cNvSpPr/>
          <p:nvPr>
            <p:custDataLst>
              <p:tags r:id="rId10"/>
            </p:custDataLst>
          </p:nvPr>
        </p:nvSpPr>
        <p:spPr bwMode="auto">
          <a:xfrm>
            <a:off x="2532063" y="5892800"/>
            <a:ext cx="142875" cy="106363"/>
          </a:xfrm>
          <a:prstGeom prst="rect">
            <a:avLst/>
          </a:prstGeom>
          <a:solidFill>
            <a:srgbClr val="9DB1CF"/>
          </a:solidFill>
          <a:ln w="9525"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28" name="Rectangle 27">
            <a:extLst>
              <a:ext uri="{FF2B5EF4-FFF2-40B4-BE49-F238E27FC236}">
                <a16:creationId xmlns:a16="http://schemas.microsoft.com/office/drawing/2014/main" id="{1BB00A1A-0F51-A811-A4E8-DCCD8B9B123C}"/>
              </a:ext>
            </a:extLst>
          </p:cNvPr>
          <p:cNvSpPr/>
          <p:nvPr>
            <p:custDataLst>
              <p:tags r:id="rId11"/>
            </p:custDataLst>
          </p:nvPr>
        </p:nvSpPr>
        <p:spPr bwMode="auto">
          <a:xfrm>
            <a:off x="2532063" y="6065838"/>
            <a:ext cx="142875" cy="106363"/>
          </a:xfrm>
          <a:prstGeom prst="rect">
            <a:avLst/>
          </a:prstGeom>
          <a:solidFill>
            <a:srgbClr val="6F8DB9"/>
          </a:solidFill>
          <a:ln w="9525"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29" name="Rectangle 28">
            <a:extLst>
              <a:ext uri="{FF2B5EF4-FFF2-40B4-BE49-F238E27FC236}">
                <a16:creationId xmlns:a16="http://schemas.microsoft.com/office/drawing/2014/main" id="{BE66688E-2A3E-301C-B704-D3460FD20EDB}"/>
              </a:ext>
            </a:extLst>
          </p:cNvPr>
          <p:cNvSpPr/>
          <p:nvPr>
            <p:custDataLst>
              <p:tags r:id="rId12"/>
            </p:custDataLst>
          </p:nvPr>
        </p:nvSpPr>
        <p:spPr bwMode="auto">
          <a:xfrm>
            <a:off x="2532063" y="6238875"/>
            <a:ext cx="142875" cy="106363"/>
          </a:xfrm>
          <a:prstGeom prst="rect">
            <a:avLst/>
          </a:prstGeom>
          <a:solidFill>
            <a:srgbClr val="9F3C1C"/>
          </a:solidFill>
          <a:ln w="9525"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30" name="Rectangle 29">
            <a:extLst>
              <a:ext uri="{FF2B5EF4-FFF2-40B4-BE49-F238E27FC236}">
                <a16:creationId xmlns:a16="http://schemas.microsoft.com/office/drawing/2014/main" id="{B214703E-8637-EA9B-D5D4-9776E086FAC7}"/>
              </a:ext>
            </a:extLst>
          </p:cNvPr>
          <p:cNvSpPr/>
          <p:nvPr>
            <p:custDataLst>
              <p:tags r:id="rId13"/>
            </p:custDataLst>
          </p:nvPr>
        </p:nvSpPr>
        <p:spPr bwMode="auto">
          <a:xfrm>
            <a:off x="3468688" y="5892800"/>
            <a:ext cx="142875" cy="106363"/>
          </a:xfrm>
          <a:prstGeom prst="rect">
            <a:avLst/>
          </a:prstGeom>
          <a:solidFill>
            <a:srgbClr val="4C6C9C"/>
          </a:solidFill>
          <a:ln w="9525"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31" name="Rectangle 30">
            <a:extLst>
              <a:ext uri="{FF2B5EF4-FFF2-40B4-BE49-F238E27FC236}">
                <a16:creationId xmlns:a16="http://schemas.microsoft.com/office/drawing/2014/main" id="{73EBE538-7139-3C3B-B403-27381D594807}"/>
              </a:ext>
            </a:extLst>
          </p:cNvPr>
          <p:cNvSpPr/>
          <p:nvPr>
            <p:custDataLst>
              <p:tags r:id="rId14"/>
            </p:custDataLst>
          </p:nvPr>
        </p:nvSpPr>
        <p:spPr bwMode="auto">
          <a:xfrm>
            <a:off x="3468688" y="6065838"/>
            <a:ext cx="142875" cy="106363"/>
          </a:xfrm>
          <a:prstGeom prst="rect">
            <a:avLst/>
          </a:prstGeom>
          <a:solidFill>
            <a:srgbClr val="A6964E"/>
          </a:solidFill>
          <a:ln w="9525"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32" name="Rectangle 31">
            <a:extLst>
              <a:ext uri="{FF2B5EF4-FFF2-40B4-BE49-F238E27FC236}">
                <a16:creationId xmlns:a16="http://schemas.microsoft.com/office/drawing/2014/main" id="{321845D2-FECF-01EA-0461-4E49C6B72870}"/>
              </a:ext>
            </a:extLst>
          </p:cNvPr>
          <p:cNvSpPr/>
          <p:nvPr>
            <p:custDataLst>
              <p:tags r:id="rId15"/>
            </p:custDataLst>
          </p:nvPr>
        </p:nvSpPr>
        <p:spPr bwMode="auto">
          <a:xfrm>
            <a:off x="3468688" y="6238875"/>
            <a:ext cx="142875" cy="106363"/>
          </a:xfrm>
          <a:prstGeom prst="rect">
            <a:avLst/>
          </a:prstGeom>
          <a:solidFill>
            <a:srgbClr val="C0C0C0"/>
          </a:solidFill>
          <a:ln w="9525"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33" name="Rectangle 32">
            <a:extLst>
              <a:ext uri="{FF2B5EF4-FFF2-40B4-BE49-F238E27FC236}">
                <a16:creationId xmlns:a16="http://schemas.microsoft.com/office/drawing/2014/main" id="{A0B03CEA-7BDF-F0B0-3252-FC8428762DE8}"/>
              </a:ext>
            </a:extLst>
          </p:cNvPr>
          <p:cNvSpPr/>
          <p:nvPr>
            <p:custDataLst>
              <p:tags r:id="rId16"/>
            </p:custDataLst>
          </p:nvPr>
        </p:nvSpPr>
        <p:spPr bwMode="auto">
          <a:xfrm>
            <a:off x="4518025" y="5892800"/>
            <a:ext cx="142875" cy="106363"/>
          </a:xfrm>
          <a:prstGeom prst="rect">
            <a:avLst/>
          </a:prstGeom>
          <a:solidFill>
            <a:srgbClr val="5A5A5A"/>
          </a:solidFill>
          <a:ln w="6350"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34" name="Rectangle 33">
            <a:extLst>
              <a:ext uri="{FF2B5EF4-FFF2-40B4-BE49-F238E27FC236}">
                <a16:creationId xmlns:a16="http://schemas.microsoft.com/office/drawing/2014/main" id="{F5D36684-E4A7-E729-B096-A18882256A8B}"/>
              </a:ext>
            </a:extLst>
          </p:cNvPr>
          <p:cNvSpPr/>
          <p:nvPr>
            <p:custDataLst>
              <p:tags r:id="rId17"/>
            </p:custDataLst>
          </p:nvPr>
        </p:nvSpPr>
        <p:spPr bwMode="auto">
          <a:xfrm>
            <a:off x="4518025" y="6065838"/>
            <a:ext cx="142875" cy="106363"/>
          </a:xfrm>
          <a:prstGeom prst="rect">
            <a:avLst/>
          </a:prstGeom>
          <a:solidFill>
            <a:srgbClr val="441A0D"/>
          </a:solidFill>
          <a:ln w="6350"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35" name="Rectangle 34">
            <a:extLst>
              <a:ext uri="{FF2B5EF4-FFF2-40B4-BE49-F238E27FC236}">
                <a16:creationId xmlns:a16="http://schemas.microsoft.com/office/drawing/2014/main" id="{2392863D-24A8-AA57-F1E3-E2E8FE88F8A5}"/>
              </a:ext>
            </a:extLst>
          </p:cNvPr>
          <p:cNvSpPr/>
          <p:nvPr>
            <p:custDataLst>
              <p:tags r:id="rId18"/>
            </p:custDataLst>
          </p:nvPr>
        </p:nvSpPr>
        <p:spPr bwMode="auto">
          <a:xfrm>
            <a:off x="4518025" y="6238875"/>
            <a:ext cx="142875" cy="106363"/>
          </a:xfrm>
          <a:prstGeom prst="rect">
            <a:avLst/>
          </a:prstGeom>
          <a:solidFill>
            <a:srgbClr val="E9E261"/>
          </a:solidFill>
          <a:ln w="9525" cap="flat" cmpd="sng" algn="ctr">
            <a:no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36" name="Text Placeholder 19">
            <a:extLst>
              <a:ext uri="{FF2B5EF4-FFF2-40B4-BE49-F238E27FC236}">
                <a16:creationId xmlns:a16="http://schemas.microsoft.com/office/drawing/2014/main" id="{8BDC9273-590E-883A-ACD3-B4DC4738011C}"/>
              </a:ext>
            </a:extLst>
          </p:cNvPr>
          <p:cNvSpPr>
            <a:spLocks noGrp="1"/>
          </p:cNvSpPr>
          <p:nvPr>
            <p:custDataLst>
              <p:tags r:id="rId19"/>
            </p:custDataLst>
          </p:nvPr>
        </p:nvSpPr>
        <p:spPr bwMode="auto">
          <a:xfrm>
            <a:off x="1789113" y="5888038"/>
            <a:ext cx="3794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F0C324D4-DDDE-4E59-9577-7290CE0F7428}" type="datetime'''''''S''o''''l''''''''ar'' PV'''''''''''''">
              <a:rPr kumimoji="0" lang="en-GB" altLang="en-US" sz="8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Solar PV</a:t>
            </a:fld>
            <a:endParaRPr kumimoji="0" lang="en-GB" sz="8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37" name="Text Placeholder 19">
            <a:extLst>
              <a:ext uri="{FF2B5EF4-FFF2-40B4-BE49-F238E27FC236}">
                <a16:creationId xmlns:a16="http://schemas.microsoft.com/office/drawing/2014/main" id="{7894A7E6-676E-1B07-7C3B-CCFD234E3691}"/>
              </a:ext>
            </a:extLst>
          </p:cNvPr>
          <p:cNvSpPr>
            <a:spLocks noGrp="1"/>
          </p:cNvSpPr>
          <p:nvPr>
            <p:custDataLst>
              <p:tags r:id="rId20"/>
            </p:custDataLst>
          </p:nvPr>
        </p:nvSpPr>
        <p:spPr bwMode="auto">
          <a:xfrm>
            <a:off x="1789113" y="6061075"/>
            <a:ext cx="6413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E4081ECE-FCD0-44A4-BF16-F3164105769F}" type="datetime'''Ot''''''her'''' ''''''t''''h''''''''er''''''''m''''''a''''l'">
              <a:rPr kumimoji="0" lang="en-GB" altLang="en-US" sz="8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Other thermal</a:t>
            </a:fld>
            <a:endParaRPr kumimoji="0" lang="en-GB" sz="8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38" name="Text Placeholder 19">
            <a:extLst>
              <a:ext uri="{FF2B5EF4-FFF2-40B4-BE49-F238E27FC236}">
                <a16:creationId xmlns:a16="http://schemas.microsoft.com/office/drawing/2014/main" id="{B21FC310-786B-BC9F-C9B3-C10B32AC0D78}"/>
              </a:ext>
            </a:extLst>
          </p:cNvPr>
          <p:cNvSpPr>
            <a:spLocks noGrp="1"/>
          </p:cNvSpPr>
          <p:nvPr>
            <p:custDataLst>
              <p:tags r:id="rId21"/>
            </p:custDataLst>
          </p:nvPr>
        </p:nvSpPr>
        <p:spPr bwMode="auto">
          <a:xfrm>
            <a:off x="1789113" y="6234113"/>
            <a:ext cx="4683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4DCD17A9-3430-4E78-AC16-B669C3DBCC42}" type="datetime'''O''''t''h''''e''r'' ''R''E''S'''">
              <a:rPr kumimoji="0" lang="en-GB" altLang="en-US" sz="8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Other RES</a:t>
            </a:fld>
            <a:endParaRPr kumimoji="0" lang="en-GB" sz="8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39" name="Text Placeholder 19">
            <a:extLst>
              <a:ext uri="{FF2B5EF4-FFF2-40B4-BE49-F238E27FC236}">
                <a16:creationId xmlns:a16="http://schemas.microsoft.com/office/drawing/2014/main" id="{FDFA0542-004E-3231-2DFD-09D15A7F8EED}"/>
              </a:ext>
            </a:extLst>
          </p:cNvPr>
          <p:cNvSpPr>
            <a:spLocks noGrp="1"/>
          </p:cNvSpPr>
          <p:nvPr>
            <p:custDataLst>
              <p:tags r:id="rId22"/>
            </p:custDataLst>
          </p:nvPr>
        </p:nvSpPr>
        <p:spPr bwMode="auto">
          <a:xfrm>
            <a:off x="2725738" y="5888038"/>
            <a:ext cx="6286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779A3FB7-52D2-40C6-9530-2C11D0F3A9B2}" type="datetime'''O''''''''''ns''ho''r''e'' ''w''''''''''i''''''nd'''">
              <a:rPr kumimoji="0" lang="en-GB" altLang="en-US" sz="8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Onshore wind</a:t>
            </a:fld>
            <a:endParaRPr kumimoji="0" lang="en-GB" sz="8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40" name="Text Placeholder 19">
            <a:extLst>
              <a:ext uri="{FF2B5EF4-FFF2-40B4-BE49-F238E27FC236}">
                <a16:creationId xmlns:a16="http://schemas.microsoft.com/office/drawing/2014/main" id="{C2F5BC24-64A3-B707-CD6D-261C22E0053A}"/>
              </a:ext>
            </a:extLst>
          </p:cNvPr>
          <p:cNvSpPr>
            <a:spLocks noGrp="1"/>
          </p:cNvSpPr>
          <p:nvPr>
            <p:custDataLst>
              <p:tags r:id="rId23"/>
            </p:custDataLst>
          </p:nvPr>
        </p:nvSpPr>
        <p:spPr bwMode="auto">
          <a:xfrm>
            <a:off x="2725738" y="6061075"/>
            <a:ext cx="6413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181191F6-21B4-4FE9-9C08-2BBB6469FC73}" type="datetime'''Off''''sh''''''o''''re ''''''w''''''''''i''''''n''''''''d'">
              <a:rPr kumimoji="0" lang="en-GB" altLang="en-US" sz="8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Offshore wind</a:t>
            </a:fld>
            <a:endParaRPr kumimoji="0" lang="en-GB" sz="8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41" name="Text Placeholder 19">
            <a:extLst>
              <a:ext uri="{FF2B5EF4-FFF2-40B4-BE49-F238E27FC236}">
                <a16:creationId xmlns:a16="http://schemas.microsoft.com/office/drawing/2014/main" id="{D044657B-170E-AB8A-F821-C3CFCD902B1D}"/>
              </a:ext>
            </a:extLst>
          </p:cNvPr>
          <p:cNvSpPr>
            <a:spLocks noGrp="1"/>
          </p:cNvSpPr>
          <p:nvPr>
            <p:custDataLst>
              <p:tags r:id="rId24"/>
            </p:custDataLst>
          </p:nvPr>
        </p:nvSpPr>
        <p:spPr bwMode="auto">
          <a:xfrm>
            <a:off x="2725738" y="6234113"/>
            <a:ext cx="3524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1388EC95-8903-40A6-A763-9ABDBC5402B3}" type="datetime'''Nu''''''''''''''''''''c''''''''''''''''''''''l''e''a''r'">
              <a:rPr kumimoji="0" lang="en-GB" altLang="en-US" sz="8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Nuclear</a:t>
            </a:fld>
            <a:endParaRPr kumimoji="0" lang="en-GB" sz="8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42" name="Text Placeholder 19">
            <a:extLst>
              <a:ext uri="{FF2B5EF4-FFF2-40B4-BE49-F238E27FC236}">
                <a16:creationId xmlns:a16="http://schemas.microsoft.com/office/drawing/2014/main" id="{C55D5F7B-8CAC-92AC-9593-EA0F8602D7B4}"/>
              </a:ext>
            </a:extLst>
          </p:cNvPr>
          <p:cNvSpPr>
            <a:spLocks noGrp="1"/>
          </p:cNvSpPr>
          <p:nvPr>
            <p:custDataLst>
              <p:tags r:id="rId25"/>
            </p:custDataLst>
          </p:nvPr>
        </p:nvSpPr>
        <p:spPr bwMode="auto">
          <a:xfrm>
            <a:off x="3662363" y="5888038"/>
            <a:ext cx="2841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6CB267A6-BD2D-401C-9DCA-43613794169A}" type="datetime'''''''''''''''''''H''''''''''''''''''''''y''''d''''r''''''o'''">
              <a:rPr kumimoji="0" lang="en-GB" altLang="en-US" sz="8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Hydro</a:t>
            </a:fld>
            <a:endParaRPr kumimoji="0" lang="en-GB" sz="8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43" name="Text Placeholder 19">
            <a:extLst>
              <a:ext uri="{FF2B5EF4-FFF2-40B4-BE49-F238E27FC236}">
                <a16:creationId xmlns:a16="http://schemas.microsoft.com/office/drawing/2014/main" id="{B8077DD9-A7C7-CE69-4E99-74AF59DCD390}"/>
              </a:ext>
            </a:extLst>
          </p:cNvPr>
          <p:cNvSpPr>
            <a:spLocks noGrp="1"/>
          </p:cNvSpPr>
          <p:nvPr>
            <p:custDataLst>
              <p:tags r:id="rId26"/>
            </p:custDataLst>
          </p:nvPr>
        </p:nvSpPr>
        <p:spPr bwMode="auto">
          <a:xfrm>
            <a:off x="3662363" y="6061075"/>
            <a:ext cx="5381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78491CDA-D3D0-4536-8299-15166A787E01}" type="datetime'G''a''''s'''' ''''''''pea''ki''''''''ng'''''''''''''''''''">
              <a:rPr kumimoji="0" lang="en-GB" altLang="en-US" sz="8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Gas peaking</a:t>
            </a:fld>
            <a:endParaRPr kumimoji="0" lang="en-GB" sz="8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44" name="Text Placeholder 19">
            <a:extLst>
              <a:ext uri="{FF2B5EF4-FFF2-40B4-BE49-F238E27FC236}">
                <a16:creationId xmlns:a16="http://schemas.microsoft.com/office/drawing/2014/main" id="{AF961F64-0CBC-9A35-AEE6-A8632762AE2E}"/>
              </a:ext>
            </a:extLst>
          </p:cNvPr>
          <p:cNvSpPr>
            <a:spLocks noGrp="1"/>
          </p:cNvSpPr>
          <p:nvPr>
            <p:custDataLst>
              <p:tags r:id="rId27"/>
            </p:custDataLst>
          </p:nvPr>
        </p:nvSpPr>
        <p:spPr bwMode="auto">
          <a:xfrm>
            <a:off x="3662363" y="6234113"/>
            <a:ext cx="7540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A6E55D4C-4099-4A7A-AD9F-C10E005B63DB}" type="datetime'''G''''''''as'''' ''''''C''CGT'' ''''''''+'' CCS'''''''''">
              <a:rPr kumimoji="0" lang="en-GB" altLang="en-US" sz="8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Gas CCGT + CCS</a:t>
            </a:fld>
            <a:endParaRPr kumimoji="0" lang="en-GB" sz="8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45" name="Text Placeholder 19">
            <a:extLst>
              <a:ext uri="{FF2B5EF4-FFF2-40B4-BE49-F238E27FC236}">
                <a16:creationId xmlns:a16="http://schemas.microsoft.com/office/drawing/2014/main" id="{1F183816-A8EF-4D52-B886-5D4A181D5616}"/>
              </a:ext>
            </a:extLst>
          </p:cNvPr>
          <p:cNvSpPr>
            <a:spLocks noGrp="1"/>
          </p:cNvSpPr>
          <p:nvPr>
            <p:custDataLst>
              <p:tags r:id="rId28"/>
            </p:custDataLst>
          </p:nvPr>
        </p:nvSpPr>
        <p:spPr bwMode="auto">
          <a:xfrm>
            <a:off x="4711700" y="5888038"/>
            <a:ext cx="4635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FB0D5AE9-2466-46FB-AC2D-7948C7D0CEB2}" type="datetime'G''''''''''''''as ''C''''''''''''''''''''C''''''''''''GT'''">
              <a:rPr kumimoji="0" lang="en-GB" altLang="en-US" sz="8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Gas CCGT</a:t>
            </a:fld>
            <a:endParaRPr kumimoji="0" lang="en-GB" sz="8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46" name="Text Placeholder 19">
            <a:extLst>
              <a:ext uri="{FF2B5EF4-FFF2-40B4-BE49-F238E27FC236}">
                <a16:creationId xmlns:a16="http://schemas.microsoft.com/office/drawing/2014/main" id="{DF67DCC1-BA12-EABB-C59B-473253E88B86}"/>
              </a:ext>
            </a:extLst>
          </p:cNvPr>
          <p:cNvSpPr>
            <a:spLocks noGrp="1"/>
          </p:cNvSpPr>
          <p:nvPr>
            <p:custDataLst>
              <p:tags r:id="rId29"/>
            </p:custDataLst>
          </p:nvPr>
        </p:nvSpPr>
        <p:spPr bwMode="auto">
          <a:xfrm>
            <a:off x="4711700" y="6061075"/>
            <a:ext cx="2032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B5606767-BB19-4B13-AEC1-336771D40FE4}" type="datetime'''C''''o''''''''''''''a''''''''''''''''''''l'''''">
              <a:rPr kumimoji="0" lang="en-GB" altLang="en-US" sz="8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Coal</a:t>
            </a:fld>
            <a:endParaRPr kumimoji="0" lang="en-GB" sz="8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47" name="Text Placeholder 19">
            <a:extLst>
              <a:ext uri="{FF2B5EF4-FFF2-40B4-BE49-F238E27FC236}">
                <a16:creationId xmlns:a16="http://schemas.microsoft.com/office/drawing/2014/main" id="{DEADCD51-D1F7-FBB0-D706-E0DAC69E0202}"/>
              </a:ext>
            </a:extLst>
          </p:cNvPr>
          <p:cNvSpPr>
            <a:spLocks noGrp="1"/>
          </p:cNvSpPr>
          <p:nvPr>
            <p:custDataLst>
              <p:tags r:id="rId30"/>
            </p:custDataLst>
          </p:nvPr>
        </p:nvSpPr>
        <p:spPr bwMode="auto">
          <a:xfrm>
            <a:off x="4711700" y="6234113"/>
            <a:ext cx="3397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D4F56AA6-40CD-4D87-996F-66ACBDFFF33D}" type="datetime'Bat''''''''''''''''''''''''''t''''''''''''ery'''''''">
              <a:rPr kumimoji="0" lang="en-GB" altLang="en-US" sz="8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Battery</a:t>
            </a:fld>
            <a:endParaRPr kumimoji="0" lang="en-GB" sz="8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48" name="Rectangle: Rounded Corners 47">
            <a:extLst>
              <a:ext uri="{FF2B5EF4-FFF2-40B4-BE49-F238E27FC236}">
                <a16:creationId xmlns:a16="http://schemas.microsoft.com/office/drawing/2014/main" id="{3BDD469C-0A45-BF01-C1BB-455D11C84CD7}"/>
              </a:ext>
            </a:extLst>
          </p:cNvPr>
          <p:cNvSpPr/>
          <p:nvPr/>
        </p:nvSpPr>
        <p:spPr>
          <a:xfrm>
            <a:off x="392435" y="2320131"/>
            <a:ext cx="967261" cy="450850"/>
          </a:xfrm>
          <a:prstGeom prst="roundRect">
            <a:avLst/>
          </a:prstGeom>
          <a:solidFill>
            <a:srgbClr val="9F3C1C"/>
          </a:solidFill>
          <a:ln w="6350">
            <a:solidFill>
              <a:srgbClr val="9F3C1C"/>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200" b="1" i="0" u="none" strike="noStrike" kern="1200" cap="none" spc="0" normalizeH="0" baseline="0" noProof="0">
                <a:ln>
                  <a:noFill/>
                </a:ln>
                <a:solidFill>
                  <a:prstClr val="white"/>
                </a:solidFill>
                <a:effectLst/>
                <a:uLnTx/>
                <a:uFillTx/>
                <a:latin typeface="Lato"/>
                <a:ea typeface="+mn-ea"/>
                <a:cs typeface="+mn-cs"/>
              </a:rPr>
              <a:t>Trump Presidency</a:t>
            </a:r>
          </a:p>
        </p:txBody>
      </p:sp>
      <p:sp>
        <p:nvSpPr>
          <p:cNvPr id="49" name="Rectangle: Rounded Corners 48">
            <a:extLst>
              <a:ext uri="{FF2B5EF4-FFF2-40B4-BE49-F238E27FC236}">
                <a16:creationId xmlns:a16="http://schemas.microsoft.com/office/drawing/2014/main" id="{9E919883-AB6D-BC60-9392-C8DFE0AA9195}"/>
              </a:ext>
            </a:extLst>
          </p:cNvPr>
          <p:cNvSpPr/>
          <p:nvPr/>
        </p:nvSpPr>
        <p:spPr>
          <a:xfrm>
            <a:off x="396082" y="3264328"/>
            <a:ext cx="967261" cy="452438"/>
          </a:xfrm>
          <a:prstGeom prst="roundRect">
            <a:avLst/>
          </a:prstGeom>
          <a:solidFill>
            <a:srgbClr val="9F3C1C"/>
          </a:solidFill>
          <a:ln w="6350">
            <a:solidFill>
              <a:srgbClr val="9F3C1C"/>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200" b="1" i="0" u="none" strike="noStrike" kern="1200" cap="none" spc="0" normalizeH="0" baseline="0" noProof="0">
                <a:ln>
                  <a:noFill/>
                </a:ln>
                <a:solidFill>
                  <a:prstClr val="white"/>
                </a:solidFill>
                <a:effectLst/>
                <a:uLnTx/>
                <a:uFillTx/>
                <a:latin typeface="Lato"/>
                <a:ea typeface="+mn-ea"/>
                <a:cs typeface="+mn-cs"/>
              </a:rPr>
              <a:t>Project 2025</a:t>
            </a:r>
          </a:p>
        </p:txBody>
      </p:sp>
      <p:sp>
        <p:nvSpPr>
          <p:cNvPr id="50" name="Rectangle: Rounded Corners 49">
            <a:extLst>
              <a:ext uri="{FF2B5EF4-FFF2-40B4-BE49-F238E27FC236}">
                <a16:creationId xmlns:a16="http://schemas.microsoft.com/office/drawing/2014/main" id="{06780B4B-DB89-6B81-80B2-F5BB833A9EF8}"/>
              </a:ext>
            </a:extLst>
          </p:cNvPr>
          <p:cNvSpPr/>
          <p:nvPr/>
        </p:nvSpPr>
        <p:spPr>
          <a:xfrm>
            <a:off x="389258" y="4206875"/>
            <a:ext cx="967261" cy="452438"/>
          </a:xfrm>
          <a:prstGeom prst="roundRect">
            <a:avLst/>
          </a:prstGeom>
          <a:solidFill>
            <a:srgbClr val="4C6C9C"/>
          </a:solidFill>
          <a:ln w="6350">
            <a:solidFill>
              <a:srgbClr val="4C6C9C"/>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200" b="1" i="0" u="none" strike="noStrike" kern="1200" cap="none" spc="0" normalizeH="0" baseline="0" noProof="0">
                <a:ln>
                  <a:noFill/>
                </a:ln>
                <a:solidFill>
                  <a:prstClr val="white"/>
                </a:solidFill>
                <a:effectLst/>
                <a:uLnTx/>
                <a:uFillTx/>
                <a:latin typeface="Lato"/>
                <a:ea typeface="+mn-ea"/>
                <a:cs typeface="+mn-cs"/>
              </a:rPr>
              <a:t>Harris Presidency</a:t>
            </a:r>
          </a:p>
        </p:txBody>
      </p:sp>
      <p:sp>
        <p:nvSpPr>
          <p:cNvPr id="51" name="Rectangle: Rounded Corners 50">
            <a:extLst>
              <a:ext uri="{FF2B5EF4-FFF2-40B4-BE49-F238E27FC236}">
                <a16:creationId xmlns:a16="http://schemas.microsoft.com/office/drawing/2014/main" id="{C5258AFC-A243-C68D-0128-2DB7A0D4EA7E}"/>
              </a:ext>
            </a:extLst>
          </p:cNvPr>
          <p:cNvSpPr/>
          <p:nvPr/>
        </p:nvSpPr>
        <p:spPr>
          <a:xfrm>
            <a:off x="391083" y="5149422"/>
            <a:ext cx="967261" cy="450850"/>
          </a:xfrm>
          <a:prstGeom prst="roundRect">
            <a:avLst/>
          </a:prstGeom>
          <a:solidFill>
            <a:srgbClr val="4C6C9C"/>
          </a:solidFill>
          <a:ln w="6350">
            <a:solidFill>
              <a:srgbClr val="4C6C9C"/>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200" b="1" i="0" u="none" strike="noStrike" kern="1200" cap="none" spc="0" normalizeH="0" baseline="0" noProof="0">
                <a:ln>
                  <a:noFill/>
                </a:ln>
                <a:solidFill>
                  <a:prstClr val="white"/>
                </a:solidFill>
                <a:effectLst/>
                <a:uLnTx/>
                <a:uFillTx/>
                <a:latin typeface="Lato"/>
                <a:ea typeface="+mn-ea"/>
                <a:cs typeface="+mn-cs"/>
              </a:rPr>
              <a:t>Green  New Deal</a:t>
            </a:r>
          </a:p>
        </p:txBody>
      </p:sp>
      <p:graphicFrame>
        <p:nvGraphicFramePr>
          <p:cNvPr id="147" name="Chart 146">
            <a:extLst>
              <a:ext uri="{FF2B5EF4-FFF2-40B4-BE49-F238E27FC236}">
                <a16:creationId xmlns:a16="http://schemas.microsoft.com/office/drawing/2014/main" id="{2C7503EC-198A-B8E2-8D03-7D663CC921C1}"/>
              </a:ext>
            </a:extLst>
          </p:cNvPr>
          <p:cNvGraphicFramePr/>
          <p:nvPr>
            <p:custDataLst>
              <p:tags r:id="rId31"/>
            </p:custDataLst>
            <p:extLst>
              <p:ext uri="{D42A27DB-BD31-4B8C-83A1-F6EECF244321}">
                <p14:modId xmlns:p14="http://schemas.microsoft.com/office/powerpoint/2010/main" val="3626003194"/>
              </p:ext>
            </p:extLst>
          </p:nvPr>
        </p:nvGraphicFramePr>
        <p:xfrm>
          <a:off x="5605463" y="1990725"/>
          <a:ext cx="3459162" cy="3938588"/>
        </p:xfrm>
        <a:graphic>
          <a:graphicData uri="http://schemas.openxmlformats.org/drawingml/2006/chart">
            <c:chart xmlns:c="http://schemas.openxmlformats.org/drawingml/2006/chart" xmlns:r="http://schemas.openxmlformats.org/officeDocument/2006/relationships" r:id="rId41"/>
          </a:graphicData>
        </a:graphic>
      </p:graphicFrame>
      <p:sp>
        <p:nvSpPr>
          <p:cNvPr id="109" name="Text Placeholder 19">
            <a:extLst>
              <a:ext uri="{FF2B5EF4-FFF2-40B4-BE49-F238E27FC236}">
                <a16:creationId xmlns:a16="http://schemas.microsoft.com/office/drawing/2014/main" id="{9F9869AF-B0F6-4E89-B216-4EC18C7334C2}"/>
              </a:ext>
            </a:extLst>
          </p:cNvPr>
          <p:cNvSpPr>
            <a:spLocks noGrp="1"/>
          </p:cNvSpPr>
          <p:nvPr>
            <p:custDataLst>
              <p:tags r:id="rId32"/>
            </p:custDataLst>
          </p:nvPr>
        </p:nvSpPr>
        <p:spPr bwMode="gray">
          <a:xfrm>
            <a:off x="5694363" y="5284789"/>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r>
              <a:rPr lang="en-GB" altLang="en-US">
                <a:solidFill>
                  <a:srgbClr val="3C3C3B"/>
                </a:solidFill>
                <a:effectLst/>
              </a:rPr>
              <a:t>XX</a:t>
            </a:r>
            <a:endParaRPr lang="en-GB">
              <a:solidFill>
                <a:srgbClr val="3C3C3B"/>
              </a:solidFill>
            </a:endParaRPr>
          </a:p>
        </p:txBody>
      </p:sp>
      <p:sp>
        <p:nvSpPr>
          <p:cNvPr id="114" name="Text Placeholder 19">
            <a:extLst>
              <a:ext uri="{FF2B5EF4-FFF2-40B4-BE49-F238E27FC236}">
                <a16:creationId xmlns:a16="http://schemas.microsoft.com/office/drawing/2014/main" id="{9F9869AF-B0F6-4E89-B216-4EC18C7334C2}"/>
              </a:ext>
            </a:extLst>
          </p:cNvPr>
          <p:cNvSpPr>
            <a:spLocks noGrp="1"/>
          </p:cNvSpPr>
          <p:nvPr>
            <p:custDataLst>
              <p:tags r:id="rId33"/>
            </p:custDataLst>
          </p:nvPr>
        </p:nvSpPr>
        <p:spPr bwMode="gray">
          <a:xfrm>
            <a:off x="7183438" y="4341814"/>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r>
              <a:rPr lang="en-GB" altLang="en-US">
                <a:effectLst/>
              </a:rPr>
              <a:t>XX</a:t>
            </a:r>
            <a:endParaRPr lang="en-GB"/>
          </a:p>
        </p:txBody>
      </p:sp>
      <p:sp>
        <p:nvSpPr>
          <p:cNvPr id="119" name="Text Placeholder 19">
            <a:extLst>
              <a:ext uri="{FF2B5EF4-FFF2-40B4-BE49-F238E27FC236}">
                <a16:creationId xmlns:a16="http://schemas.microsoft.com/office/drawing/2014/main" id="{9F9869AF-B0F6-4E89-B216-4EC18C7334C2}"/>
              </a:ext>
            </a:extLst>
          </p:cNvPr>
          <p:cNvSpPr>
            <a:spLocks noGrp="1"/>
          </p:cNvSpPr>
          <p:nvPr>
            <p:custDataLst>
              <p:tags r:id="rId34"/>
            </p:custDataLst>
          </p:nvPr>
        </p:nvSpPr>
        <p:spPr bwMode="gray">
          <a:xfrm>
            <a:off x="8523288" y="3397251"/>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r>
              <a:rPr lang="en-GB" altLang="en-US">
                <a:solidFill>
                  <a:srgbClr val="3C3C3B"/>
                </a:solidFill>
                <a:effectLst/>
              </a:rPr>
              <a:t>XX</a:t>
            </a:r>
            <a:endParaRPr lang="en-GB">
              <a:solidFill>
                <a:srgbClr val="3C3C3B"/>
              </a:solidFill>
            </a:endParaRPr>
          </a:p>
        </p:txBody>
      </p:sp>
      <p:sp>
        <p:nvSpPr>
          <p:cNvPr id="124" name="Text Placeholder 19">
            <a:extLst>
              <a:ext uri="{FF2B5EF4-FFF2-40B4-BE49-F238E27FC236}">
                <a16:creationId xmlns:a16="http://schemas.microsoft.com/office/drawing/2014/main" id="{9F9869AF-B0F6-4E89-B216-4EC18C7334C2}"/>
              </a:ext>
            </a:extLst>
          </p:cNvPr>
          <p:cNvSpPr>
            <a:spLocks noGrp="1"/>
          </p:cNvSpPr>
          <p:nvPr>
            <p:custDataLst>
              <p:tags r:id="rId35"/>
            </p:custDataLst>
          </p:nvPr>
        </p:nvSpPr>
        <p:spPr bwMode="gray">
          <a:xfrm>
            <a:off x="7807325" y="2454276"/>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r>
              <a:rPr lang="en-GB" altLang="en-US">
                <a:solidFill>
                  <a:srgbClr val="3C3C3B"/>
                </a:solidFill>
                <a:effectLst/>
              </a:rPr>
              <a:t>XX</a:t>
            </a:r>
            <a:endParaRPr lang="en-GB">
              <a:solidFill>
                <a:srgbClr val="3C3C3B"/>
              </a:solidFill>
            </a:endParaRPr>
          </a:p>
        </p:txBody>
      </p:sp>
      <p:sp>
        <p:nvSpPr>
          <p:cNvPr id="2" name="Text Placeholder 2">
            <a:extLst>
              <a:ext uri="{FF2B5EF4-FFF2-40B4-BE49-F238E27FC236}">
                <a16:creationId xmlns:a16="http://schemas.microsoft.com/office/drawing/2014/main" id="{1AD6AF36-EB5B-F785-793D-CF54200EFFB1}"/>
              </a:ext>
            </a:extLst>
          </p:cNvPr>
          <p:cNvSpPr txBox="1">
            <a:spLocks/>
          </p:cNvSpPr>
          <p:nvPr/>
        </p:nvSpPr>
        <p:spPr>
          <a:xfrm>
            <a:off x="388693" y="82904"/>
            <a:ext cx="1542410" cy="184666"/>
          </a:xfrm>
          <a:prstGeom prst="rect">
            <a:avLst/>
          </a:prstGeom>
        </p:spPr>
        <p:txBody>
          <a:bodyPr vert="horz" wrap="none" lIns="0" tIns="0" rIns="0" bIns="0"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3838" marR="0" lvl="0" indent="-223838" algn="l" defTabSz="685783" rtl="0" eaLnBrk="1" fontAlgn="auto" latinLnBrk="0" hangingPunct="1">
              <a:lnSpc>
                <a:spcPct val="100000"/>
              </a:lnSpc>
              <a:spcBef>
                <a:spcPts val="0"/>
              </a:spcBef>
              <a:spcAft>
                <a:spcPts val="0"/>
              </a:spcAft>
              <a:buClrTx/>
              <a:buSzTx/>
              <a:buFont typeface="Wingdings" panose="05000000000000000000" pitchFamily="2" charset="2"/>
              <a:buNone/>
              <a:tabLst>
                <a:tab pos="452438" algn="l"/>
              </a:tabLst>
              <a:defRPr/>
            </a:pPr>
            <a:r>
              <a:rPr kumimoji="0" lang="en-AU" sz="1200" b="0" i="0" u="none" strike="noStrike" kern="1200" cap="none" spc="0" normalizeH="0" baseline="0" noProof="0">
                <a:ln>
                  <a:noFill/>
                </a:ln>
                <a:solidFill>
                  <a:srgbClr val="838383"/>
                </a:solidFill>
                <a:effectLst/>
                <a:uLnTx/>
                <a:uFillTx/>
                <a:latin typeface="Lato" panose="020F0502020204030203" pitchFamily="34" charset="0"/>
                <a:ea typeface="+mn-ea"/>
                <a:cs typeface="+mn-cs"/>
                <a:sym typeface="Lato" panose="020F0502020204030203" pitchFamily="34" charset="0"/>
              </a:rPr>
              <a:t>	Executive summary</a:t>
            </a:r>
            <a:endParaRPr kumimoji="0" lang="en-GB" sz="1200" b="0" i="0" u="none" strike="noStrike" kern="1200" cap="none" spc="0" normalizeH="0" baseline="0" noProof="0">
              <a:ln>
                <a:noFill/>
              </a:ln>
              <a:solidFill>
                <a:srgbClr val="838383"/>
              </a:solidFill>
              <a:effectLst/>
              <a:uLnTx/>
              <a:uFillTx/>
              <a:latin typeface="Lato" panose="020F0502020204030203" pitchFamily="34" charset="0"/>
              <a:ea typeface="+mn-ea"/>
              <a:cs typeface="+mn-cs"/>
              <a:sym typeface="Lato" panose="020F0502020204030203" pitchFamily="34" charset="0"/>
            </a:endParaRPr>
          </a:p>
        </p:txBody>
      </p:sp>
      <p:sp>
        <p:nvSpPr>
          <p:cNvPr id="3" name="Oval 2">
            <a:extLst>
              <a:ext uri="{FF2B5EF4-FFF2-40B4-BE49-F238E27FC236}">
                <a16:creationId xmlns:a16="http://schemas.microsoft.com/office/drawing/2014/main" id="{83EE417F-2364-8CDB-A68E-0C8C4FFBA9EC}"/>
              </a:ext>
            </a:extLst>
          </p:cNvPr>
          <p:cNvSpPr/>
          <p:nvPr/>
        </p:nvSpPr>
        <p:spPr>
          <a:xfrm>
            <a:off x="388094" y="84467"/>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a:t>
            </a:r>
          </a:p>
        </p:txBody>
      </p:sp>
      <p:sp>
        <p:nvSpPr>
          <p:cNvPr id="148" name="Rectangle 147">
            <a:extLst>
              <a:ext uri="{FF2B5EF4-FFF2-40B4-BE49-F238E27FC236}">
                <a16:creationId xmlns:a16="http://schemas.microsoft.com/office/drawing/2014/main" id="{754FC970-A567-AF68-7DF7-88D928B7604F}"/>
              </a:ext>
            </a:extLst>
          </p:cNvPr>
          <p:cNvSpPr/>
          <p:nvPr/>
        </p:nvSpPr>
        <p:spPr>
          <a:xfrm>
            <a:off x="1511300" y="1920701"/>
            <a:ext cx="7251066" cy="110800"/>
          </a:xfrm>
          <a:prstGeom prst="rect">
            <a:avLst/>
          </a:prstGeom>
          <a:solidFill>
            <a:schemeClr val="accent5"/>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Tree>
    <p:extLst>
      <p:ext uri="{BB962C8B-B14F-4D97-AF65-F5344CB8AC3E}">
        <p14:creationId xmlns:p14="http://schemas.microsoft.com/office/powerpoint/2010/main" val="27786624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4E5644C9-A542-0369-4D5D-F269BFEEB860}"/>
              </a:ext>
            </a:extLst>
          </p:cNvPr>
          <p:cNvGraphicFramePr>
            <a:graphicFrameLocks noChangeAspect="1"/>
          </p:cNvGraphicFramePr>
          <p:nvPr>
            <p:custDataLst>
              <p:tags r:id="rId1"/>
            </p:custDataLst>
            <p:extLst>
              <p:ext uri="{D42A27DB-BD31-4B8C-83A1-F6EECF244321}">
                <p14:modId xmlns:p14="http://schemas.microsoft.com/office/powerpoint/2010/main" val="459489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3" imgW="306" imgH="306" progId="TCLayout.ActiveDocument.1">
                  <p:embed/>
                </p:oleObj>
              </mc:Choice>
              <mc:Fallback>
                <p:oleObj name="think-cell Slide" r:id="rId103" imgW="306" imgH="306" progId="TCLayout.ActiveDocument.1">
                  <p:embed/>
                  <p:pic>
                    <p:nvPicPr>
                      <p:cNvPr id="15" name="think-cell data - do not delete" hidden="1">
                        <a:extLst>
                          <a:ext uri="{FF2B5EF4-FFF2-40B4-BE49-F238E27FC236}">
                            <a16:creationId xmlns:a16="http://schemas.microsoft.com/office/drawing/2014/main" id="{4E5644C9-A542-0369-4D5D-F269BFEEB860}"/>
                          </a:ext>
                        </a:extLst>
                      </p:cNvPr>
                      <p:cNvPicPr/>
                      <p:nvPr/>
                    </p:nvPicPr>
                    <p:blipFill>
                      <a:blip r:embed="rId104"/>
                      <a:stretch>
                        <a:fillRect/>
                      </a:stretch>
                    </p:blipFill>
                    <p:spPr>
                      <a:xfrm>
                        <a:off x="1588" y="1588"/>
                        <a:ext cx="1588" cy="1588"/>
                      </a:xfrm>
                      <a:prstGeom prst="rect">
                        <a:avLst/>
                      </a:prstGeom>
                    </p:spPr>
                  </p:pic>
                </p:oleObj>
              </mc:Fallback>
            </mc:AlternateContent>
          </a:graphicData>
        </a:graphic>
      </p:graphicFrame>
      <p:cxnSp>
        <p:nvCxnSpPr>
          <p:cNvPr id="9" name="Straight Connector 8">
            <a:extLst>
              <a:ext uri="{FF2B5EF4-FFF2-40B4-BE49-F238E27FC236}">
                <a16:creationId xmlns:a16="http://schemas.microsoft.com/office/drawing/2014/main" id="{2DA02679-9E79-2912-578D-F21B6BB484CF}"/>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1C9A25AD-923E-788B-17FA-A2743CC6938E}"/>
              </a:ext>
            </a:extLst>
          </p:cNvPr>
          <p:cNvSpPr>
            <a:spLocks noGrp="1"/>
          </p:cNvSpPr>
          <p:nvPr>
            <p:ph type="body" sz="quarter" idx="28"/>
          </p:nvPr>
        </p:nvSpPr>
        <p:spPr>
          <a:xfrm>
            <a:off x="9500714" y="1263129"/>
            <a:ext cx="2335686" cy="5396349"/>
          </a:xfrm>
        </p:spPr>
        <p:txBody>
          <a:bodyPr/>
          <a:lstStyle/>
          <a:p>
            <a:pPr marL="171450" indent="-171450">
              <a:buFont typeface="Wingdings" panose="05000000000000000000" pitchFamily="2" charset="2"/>
              <a:buChar char="§"/>
            </a:pPr>
            <a:r>
              <a:rPr lang="en-GB"/>
              <a:t>Despite promises to “unleash American energy” through increased fossil-fuel drilling, prices under a Trump presidency see little change.</a:t>
            </a:r>
          </a:p>
          <a:p>
            <a:pPr marL="171450" indent="-171450">
              <a:buFont typeface="Wingdings" panose="05000000000000000000" pitchFamily="2" charset="2"/>
              <a:buChar char="§"/>
            </a:pPr>
            <a:r>
              <a:rPr lang="en-GB"/>
              <a:t>The Project 2025 scenario’s elimination of tax credits for renewables sees power prices rise across the country, with ERCOT particularly vulnerable due to its lack of a capacity market and its scarcity adder.</a:t>
            </a:r>
          </a:p>
          <a:p>
            <a:pPr marL="171450" indent="-171450">
              <a:buFont typeface="Wingdings" panose="05000000000000000000" pitchFamily="2" charset="2"/>
              <a:buChar char="§"/>
            </a:pPr>
            <a:r>
              <a:rPr lang="en-GB"/>
              <a:t>GWAs rise disproportionately as reduced buildout limits solar and wind cannibalisation.</a:t>
            </a:r>
          </a:p>
          <a:p>
            <a:pPr marL="171450" indent="-171450">
              <a:buFont typeface="Wingdings" panose="05000000000000000000" pitchFamily="2" charset="2"/>
              <a:buChar char="§"/>
            </a:pPr>
            <a:r>
              <a:rPr lang="en-GB"/>
              <a:t>The Green New Deal scenario sees higher EV demand and faster electrification raise prices in CAISO, but continued support for renewables and higher carbon prices decrease power prices across other ISOs. </a:t>
            </a:r>
          </a:p>
          <a:p>
            <a:pPr marL="171450" indent="-171450">
              <a:buFont typeface="Wingdings" panose="05000000000000000000" pitchFamily="2" charset="2"/>
              <a:buChar char="§"/>
            </a:pPr>
            <a:r>
              <a:rPr lang="en-GB"/>
              <a:t>PJM is the only exception, as the expansion of RGGI to encompass the entire ISO forces earlier coal retirements.</a:t>
            </a:r>
          </a:p>
        </p:txBody>
      </p:sp>
      <p:sp>
        <p:nvSpPr>
          <p:cNvPr id="3" name="Text Placeholder 2">
            <a:extLst>
              <a:ext uri="{FF2B5EF4-FFF2-40B4-BE49-F238E27FC236}">
                <a16:creationId xmlns:a16="http://schemas.microsoft.com/office/drawing/2014/main" id="{557B0943-DD3D-0B08-EC0E-F0B1D4269B68}"/>
              </a:ext>
            </a:extLst>
          </p:cNvPr>
          <p:cNvSpPr>
            <a:spLocks noGrp="1"/>
          </p:cNvSpPr>
          <p:nvPr>
            <p:ph type="body" sz="quarter" idx="29"/>
          </p:nvPr>
        </p:nvSpPr>
        <p:spPr>
          <a:xfrm>
            <a:off x="381000" y="1268129"/>
            <a:ext cx="8601074" cy="411446"/>
          </a:xfrm>
        </p:spPr>
        <p:txBody>
          <a:bodyPr/>
          <a:lstStyle/>
          <a:p>
            <a:r>
              <a:rPr lang="en-GB" b="1">
                <a:solidFill>
                  <a:schemeClr val="tx1"/>
                </a:solidFill>
              </a:rPr>
              <a:t>Price deltas with Central by US ISO (2025-2040 average)</a:t>
            </a:r>
            <a:br>
              <a:rPr lang="en-GB" b="1"/>
            </a:br>
            <a:r>
              <a:rPr lang="en-GB" b="0">
                <a:solidFill>
                  <a:schemeClr val="accent6"/>
                </a:solidFill>
              </a:rPr>
              <a:t>$/MWh (2023 real)</a:t>
            </a:r>
            <a:endParaRPr lang="en-IN" b="0">
              <a:solidFill>
                <a:schemeClr val="accent6"/>
              </a:solidFill>
            </a:endParaRPr>
          </a:p>
          <a:p>
            <a:endParaRPr lang="en-GB"/>
          </a:p>
        </p:txBody>
      </p:sp>
      <p:sp>
        <p:nvSpPr>
          <p:cNvPr id="6" name="Text Placeholder 5">
            <a:extLst>
              <a:ext uri="{FF2B5EF4-FFF2-40B4-BE49-F238E27FC236}">
                <a16:creationId xmlns:a16="http://schemas.microsoft.com/office/drawing/2014/main" id="{F4D7A616-B0B6-03CE-E83D-94E1D6B0A8DA}"/>
              </a:ext>
            </a:extLst>
          </p:cNvPr>
          <p:cNvSpPr>
            <a:spLocks noGrp="1"/>
          </p:cNvSpPr>
          <p:nvPr>
            <p:ph type="body" sz="quarter" idx="22"/>
          </p:nvPr>
        </p:nvSpPr>
        <p:spPr>
          <a:xfrm>
            <a:off x="381001" y="6715169"/>
            <a:ext cx="1500411" cy="110800"/>
          </a:xfrm>
        </p:spPr>
        <p:txBody>
          <a:bodyPr/>
          <a:lstStyle/>
          <a:p>
            <a:r>
              <a:rPr lang="en-GB"/>
              <a:t>Sources: Aurora Energy Research</a:t>
            </a:r>
          </a:p>
        </p:txBody>
      </p:sp>
      <p:sp>
        <p:nvSpPr>
          <p:cNvPr id="7" name="Title 6">
            <a:extLst>
              <a:ext uri="{FF2B5EF4-FFF2-40B4-BE49-F238E27FC236}">
                <a16:creationId xmlns:a16="http://schemas.microsoft.com/office/drawing/2014/main" id="{1BDCA2F7-8E89-B7A3-F6D4-9922362A4A56}"/>
              </a:ext>
            </a:extLst>
          </p:cNvPr>
          <p:cNvSpPr>
            <a:spLocks noGrp="1"/>
          </p:cNvSpPr>
          <p:nvPr>
            <p:ph type="title"/>
          </p:nvPr>
        </p:nvSpPr>
        <p:spPr/>
        <p:txBody>
          <a:bodyPr vert="horz"/>
          <a:lstStyle/>
          <a:p>
            <a:r>
              <a:rPr lang="en-GB"/>
              <a:t>Lower prices in a Trump presidency are primarily due to reduced EV demand, not generation changes</a:t>
            </a:r>
          </a:p>
        </p:txBody>
      </p:sp>
      <p:sp>
        <p:nvSpPr>
          <p:cNvPr id="8" name="Text Placeholder 7">
            <a:extLst>
              <a:ext uri="{FF2B5EF4-FFF2-40B4-BE49-F238E27FC236}">
                <a16:creationId xmlns:a16="http://schemas.microsoft.com/office/drawing/2014/main" id="{E21FE390-9098-9704-9490-586705BDD43D}"/>
              </a:ext>
            </a:extLst>
          </p:cNvPr>
          <p:cNvSpPr>
            <a:spLocks noGrp="1"/>
          </p:cNvSpPr>
          <p:nvPr>
            <p:ph type="body" sz="quarter" idx="32"/>
          </p:nvPr>
        </p:nvSpPr>
        <p:spPr/>
        <p:txBody>
          <a:bodyPr/>
          <a:lstStyle/>
          <a:p>
            <a:endParaRPr lang="en-GB"/>
          </a:p>
        </p:txBody>
      </p:sp>
      <p:sp>
        <p:nvSpPr>
          <p:cNvPr id="242" name="Rectangle 241">
            <a:extLst>
              <a:ext uri="{FF2B5EF4-FFF2-40B4-BE49-F238E27FC236}">
                <a16:creationId xmlns:a16="http://schemas.microsoft.com/office/drawing/2014/main" id="{E79C8B20-52D6-AE1B-B5F4-F2E7DB1A9ABF}"/>
              </a:ext>
            </a:extLst>
          </p:cNvPr>
          <p:cNvSpPr/>
          <p:nvPr/>
        </p:nvSpPr>
        <p:spPr>
          <a:xfrm>
            <a:off x="1433765" y="1679575"/>
            <a:ext cx="2377440" cy="4335463"/>
          </a:xfrm>
          <a:prstGeom prst="rect">
            <a:avLst/>
          </a:prstGeom>
          <a:solidFill>
            <a:schemeClr val="bg1">
              <a:lumMod val="95000"/>
            </a:scheme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ATC prices</a:t>
            </a:r>
          </a:p>
        </p:txBody>
      </p:sp>
      <p:sp>
        <p:nvSpPr>
          <p:cNvPr id="243" name="Rectangle 242">
            <a:extLst>
              <a:ext uri="{FF2B5EF4-FFF2-40B4-BE49-F238E27FC236}">
                <a16:creationId xmlns:a16="http://schemas.microsoft.com/office/drawing/2014/main" id="{46D8282B-EE0A-5999-10AC-394F7395B823}"/>
              </a:ext>
            </a:extLst>
          </p:cNvPr>
          <p:cNvSpPr/>
          <p:nvPr/>
        </p:nvSpPr>
        <p:spPr>
          <a:xfrm>
            <a:off x="4109762" y="1679575"/>
            <a:ext cx="2377440" cy="4335463"/>
          </a:xfrm>
          <a:prstGeom prst="rect">
            <a:avLst/>
          </a:prstGeom>
          <a:solidFill>
            <a:srgbClr val="A6B727">
              <a:alpha val="20000"/>
            </a:srgb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Solar GWAs</a:t>
            </a:r>
          </a:p>
        </p:txBody>
      </p:sp>
      <p:sp>
        <p:nvSpPr>
          <p:cNvPr id="244" name="Rectangle 243">
            <a:extLst>
              <a:ext uri="{FF2B5EF4-FFF2-40B4-BE49-F238E27FC236}">
                <a16:creationId xmlns:a16="http://schemas.microsoft.com/office/drawing/2014/main" id="{10D958ED-364A-9C8E-2806-D2C04BED1D8F}"/>
              </a:ext>
            </a:extLst>
          </p:cNvPr>
          <p:cNvSpPr/>
          <p:nvPr/>
        </p:nvSpPr>
        <p:spPr>
          <a:xfrm>
            <a:off x="6785759" y="1679575"/>
            <a:ext cx="2377440" cy="4335463"/>
          </a:xfrm>
          <a:prstGeom prst="rect">
            <a:avLst/>
          </a:prstGeom>
          <a:solidFill>
            <a:srgbClr val="9DB1CF">
              <a:alpha val="20000"/>
            </a:srgbClr>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200" b="1" i="0" u="none" strike="noStrike" kern="1200" cap="none" spc="0" normalizeH="0" baseline="0" noProof="0">
                <a:ln>
                  <a:noFill/>
                </a:ln>
                <a:solidFill>
                  <a:srgbClr val="3C3C3B"/>
                </a:solidFill>
                <a:effectLst/>
                <a:uLnTx/>
                <a:uFillTx/>
                <a:latin typeface="Lato"/>
                <a:ea typeface="+mn-ea"/>
                <a:cs typeface="+mn-cs"/>
              </a:rPr>
              <a:t>Onshore wind GWAs</a:t>
            </a:r>
          </a:p>
        </p:txBody>
      </p:sp>
      <p:graphicFrame>
        <p:nvGraphicFramePr>
          <p:cNvPr id="647" name="Chart 646">
            <a:extLst>
              <a:ext uri="{FF2B5EF4-FFF2-40B4-BE49-F238E27FC236}">
                <a16:creationId xmlns:a16="http://schemas.microsoft.com/office/drawing/2014/main" id="{5D2D17E0-24A9-2773-A219-AFA9BC714479}"/>
              </a:ext>
            </a:extLst>
          </p:cNvPr>
          <p:cNvGraphicFramePr/>
          <p:nvPr>
            <p:custDataLst>
              <p:tags r:id="rId2"/>
            </p:custDataLst>
            <p:extLst>
              <p:ext uri="{D42A27DB-BD31-4B8C-83A1-F6EECF244321}">
                <p14:modId xmlns:p14="http://schemas.microsoft.com/office/powerpoint/2010/main" val="3847017714"/>
              </p:ext>
            </p:extLst>
          </p:nvPr>
        </p:nvGraphicFramePr>
        <p:xfrm>
          <a:off x="1479550" y="2322513"/>
          <a:ext cx="2289175" cy="3732212"/>
        </p:xfrm>
        <a:graphic>
          <a:graphicData uri="http://schemas.openxmlformats.org/drawingml/2006/chart">
            <c:chart xmlns:c="http://schemas.openxmlformats.org/drawingml/2006/chart" xmlns:r="http://schemas.openxmlformats.org/officeDocument/2006/relationships" r:id="rId105"/>
          </a:graphicData>
        </a:graphic>
      </p:graphicFrame>
      <p:cxnSp>
        <p:nvCxnSpPr>
          <p:cNvPr id="129" name="Straight Connector 128">
            <a:extLst>
              <a:ext uri="{FF2B5EF4-FFF2-40B4-BE49-F238E27FC236}">
                <a16:creationId xmlns:a16="http://schemas.microsoft.com/office/drawing/2014/main" id="{43267033-1DE5-A6A9-CCD7-40B566E40484}"/>
              </a:ext>
            </a:extLst>
          </p:cNvPr>
          <p:cNvCxnSpPr/>
          <p:nvPr>
            <p:custDataLst>
              <p:tags r:id="rId3"/>
            </p:custDataLst>
          </p:nvPr>
        </p:nvCxnSpPr>
        <p:spPr bwMode="auto">
          <a:xfrm>
            <a:off x="2022475" y="2990850"/>
            <a:ext cx="384175"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4" name="Straight Connector 203">
            <a:extLst>
              <a:ext uri="{FF2B5EF4-FFF2-40B4-BE49-F238E27FC236}">
                <a16:creationId xmlns:a16="http://schemas.microsoft.com/office/drawing/2014/main" id="{54083769-2D93-8786-4E30-823A5DEE6286}"/>
              </a:ext>
            </a:extLst>
          </p:cNvPr>
          <p:cNvCxnSpPr/>
          <p:nvPr>
            <p:custDataLst>
              <p:tags r:id="rId4"/>
            </p:custDataLst>
          </p:nvPr>
        </p:nvCxnSpPr>
        <p:spPr bwMode="auto">
          <a:xfrm>
            <a:off x="2173288" y="4492625"/>
            <a:ext cx="293687"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5" name="Straight Connector 204">
            <a:extLst>
              <a:ext uri="{FF2B5EF4-FFF2-40B4-BE49-F238E27FC236}">
                <a16:creationId xmlns:a16="http://schemas.microsoft.com/office/drawing/2014/main" id="{39F87D23-1758-AA06-ACCF-E39A035596BE}"/>
              </a:ext>
            </a:extLst>
          </p:cNvPr>
          <p:cNvCxnSpPr/>
          <p:nvPr>
            <p:custDataLst>
              <p:tags r:id="rId5"/>
            </p:custDataLst>
          </p:nvPr>
        </p:nvCxnSpPr>
        <p:spPr bwMode="auto">
          <a:xfrm>
            <a:off x="2176463" y="4681538"/>
            <a:ext cx="288925"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Text Placeholder 19">
            <a:extLst>
              <a:ext uri="{FF2B5EF4-FFF2-40B4-BE49-F238E27FC236}">
                <a16:creationId xmlns:a16="http://schemas.microsoft.com/office/drawing/2014/main" id="{9F9869AF-B0F6-4E89-B216-4EC18C7334C2}"/>
              </a:ext>
            </a:extLst>
          </p:cNvPr>
          <p:cNvSpPr>
            <a:spLocks noGrp="1"/>
          </p:cNvSpPr>
          <p:nvPr>
            <p:custDataLst>
              <p:tags r:id="rId6"/>
            </p:custDataLst>
          </p:nvPr>
        </p:nvSpPr>
        <p:spPr bwMode="gray">
          <a:xfrm>
            <a:off x="2076450" y="2828925"/>
            <a:ext cx="24130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200" b="0" i="0" u="none" strike="noStrike" kern="1200" cap="none" spc="0" normalizeH="0" baseline="0" noProof="0">
                <a:ln>
                  <a:noFill/>
                </a:ln>
                <a:solidFill>
                  <a:srgbClr val="3C3C3B"/>
                </a:solidFill>
                <a:effectLst/>
                <a:uLnTx/>
                <a:uFillTx/>
                <a:latin typeface="Lato"/>
                <a:sym typeface="Lato" panose="020F0502020204030203" pitchFamily="34" charset="0"/>
              </a:rPr>
              <a:t>XX</a:t>
            </a:r>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20" name="Text Placeholder 19">
            <a:extLst>
              <a:ext uri="{FF2B5EF4-FFF2-40B4-BE49-F238E27FC236}">
                <a16:creationId xmlns:a16="http://schemas.microsoft.com/office/drawing/2014/main" id="{9F9869AF-B0F6-4E89-B216-4EC18C7334C2}"/>
              </a:ext>
            </a:extLst>
          </p:cNvPr>
          <p:cNvSpPr>
            <a:spLocks noGrp="1"/>
          </p:cNvSpPr>
          <p:nvPr>
            <p:custDataLst>
              <p:tags r:id="rId7"/>
            </p:custDataLst>
          </p:nvPr>
        </p:nvSpPr>
        <p:spPr bwMode="gray">
          <a:xfrm>
            <a:off x="2041525" y="3036888"/>
            <a:ext cx="24130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200" b="0" i="0" u="none" strike="noStrike" kern="1200" cap="none" spc="0" normalizeH="0" baseline="0" noProof="0">
                <a:ln>
                  <a:noFill/>
                </a:ln>
                <a:solidFill>
                  <a:srgbClr val="3C3C3B"/>
                </a:solidFill>
                <a:effectLst/>
                <a:uLnTx/>
                <a:uFillTx/>
                <a:latin typeface="Lato"/>
                <a:sym typeface="Lato" panose="020F0502020204030203" pitchFamily="34" charset="0"/>
              </a:rPr>
              <a:t>XX</a:t>
            </a:r>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useBgFill="1">
        <p:nvSpPr>
          <p:cNvPr id="51" name="Text Placeholder 19">
            <a:extLst>
              <a:ext uri="{FF2B5EF4-FFF2-40B4-BE49-F238E27FC236}">
                <a16:creationId xmlns:a16="http://schemas.microsoft.com/office/drawing/2014/main" id="{9F9869AF-B0F6-4E89-B216-4EC18C7334C2}"/>
              </a:ext>
            </a:extLst>
          </p:cNvPr>
          <p:cNvSpPr>
            <a:spLocks noGrp="1"/>
          </p:cNvSpPr>
          <p:nvPr>
            <p:custDataLst>
              <p:tags r:id="rId8"/>
            </p:custDataLst>
          </p:nvPr>
        </p:nvSpPr>
        <p:spPr bwMode="gray">
          <a:xfrm>
            <a:off x="2811463" y="3544888"/>
            <a:ext cx="241300" cy="182563"/>
          </a:xfrm>
          <a:prstGeom prst="rect">
            <a:avLst/>
          </a:prstGeom>
          <a:ln>
            <a:noFill/>
          </a:ln>
          <a:effec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lang="en-GB">
                <a:solidFill>
                  <a:srgbClr val="3C3C3B"/>
                </a:solidFill>
                <a:latin typeface="Lato"/>
              </a:rPr>
              <a:t>XX</a:t>
            </a:r>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21" name="Text Placeholder 19">
            <a:extLst>
              <a:ext uri="{FF2B5EF4-FFF2-40B4-BE49-F238E27FC236}">
                <a16:creationId xmlns:a16="http://schemas.microsoft.com/office/drawing/2014/main" id="{9F9869AF-B0F6-4E89-B216-4EC18C7334C2}"/>
              </a:ext>
            </a:extLst>
          </p:cNvPr>
          <p:cNvSpPr>
            <a:spLocks noGrp="1"/>
          </p:cNvSpPr>
          <p:nvPr>
            <p:custDataLst>
              <p:tags r:id="rId9"/>
            </p:custDataLst>
          </p:nvPr>
        </p:nvSpPr>
        <p:spPr bwMode="gray">
          <a:xfrm>
            <a:off x="2713038" y="3835400"/>
            <a:ext cx="24130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lang="en-GB">
                <a:solidFill>
                  <a:srgbClr val="3C3C3B"/>
                </a:solidFill>
                <a:latin typeface="Lato"/>
              </a:rPr>
              <a:t>XX</a:t>
            </a:r>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22" name="Text Placeholder 19">
            <a:extLst>
              <a:ext uri="{FF2B5EF4-FFF2-40B4-BE49-F238E27FC236}">
                <a16:creationId xmlns:a16="http://schemas.microsoft.com/office/drawing/2014/main" id="{9F9869AF-B0F6-4E89-B216-4EC18C7334C2}"/>
              </a:ext>
            </a:extLst>
          </p:cNvPr>
          <p:cNvSpPr>
            <a:spLocks noGrp="1"/>
          </p:cNvSpPr>
          <p:nvPr>
            <p:custDataLst>
              <p:tags r:id="rId10"/>
            </p:custDataLst>
          </p:nvPr>
        </p:nvSpPr>
        <p:spPr bwMode="gray">
          <a:xfrm>
            <a:off x="2205038" y="3886201"/>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lang="en-GB">
                <a:solidFill>
                  <a:srgbClr val="3C3C3B"/>
                </a:solidFill>
                <a:latin typeface="Lato"/>
              </a:rPr>
              <a:t>XX</a:t>
            </a:r>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97" name="Text Placeholder 19">
            <a:extLst>
              <a:ext uri="{FF2B5EF4-FFF2-40B4-BE49-F238E27FC236}">
                <a16:creationId xmlns:a16="http://schemas.microsoft.com/office/drawing/2014/main" id="{9F9869AF-B0F6-4E89-B216-4EC18C7334C2}"/>
              </a:ext>
            </a:extLst>
          </p:cNvPr>
          <p:cNvSpPr>
            <a:spLocks noGrp="1"/>
          </p:cNvSpPr>
          <p:nvPr>
            <p:custDataLst>
              <p:tags r:id="rId11"/>
            </p:custDataLst>
          </p:nvPr>
        </p:nvSpPr>
        <p:spPr bwMode="gray">
          <a:xfrm>
            <a:off x="2092325" y="5524500"/>
            <a:ext cx="24130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200" b="0" i="0" u="none" strike="noStrike" kern="1200" cap="none" spc="0" normalizeH="0" baseline="0" noProof="0">
                <a:ln>
                  <a:noFill/>
                </a:ln>
                <a:solidFill>
                  <a:srgbClr val="3C3C3B"/>
                </a:solidFill>
                <a:effectLst/>
                <a:uLnTx/>
                <a:uFillTx/>
                <a:latin typeface="Lato"/>
                <a:sym typeface="Lato" panose="020F0502020204030203" pitchFamily="34" charset="0"/>
              </a:rPr>
              <a:t>XX</a:t>
            </a:r>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57" name="Text Placeholder 19">
            <a:extLst>
              <a:ext uri="{FF2B5EF4-FFF2-40B4-BE49-F238E27FC236}">
                <a16:creationId xmlns:a16="http://schemas.microsoft.com/office/drawing/2014/main" id="{9F9869AF-B0F6-4E89-B216-4EC18C7334C2}"/>
              </a:ext>
            </a:extLst>
          </p:cNvPr>
          <p:cNvSpPr>
            <a:spLocks noGrp="1"/>
          </p:cNvSpPr>
          <p:nvPr>
            <p:custDataLst>
              <p:tags r:id="rId12"/>
            </p:custDataLst>
          </p:nvPr>
        </p:nvSpPr>
        <p:spPr bwMode="gray">
          <a:xfrm>
            <a:off x="3659188" y="5668964"/>
            <a:ext cx="24130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200" b="0" i="0" u="none" strike="noStrike" kern="1200" cap="none" spc="0" normalizeH="0" baseline="0" noProof="0">
                <a:ln>
                  <a:noFill/>
                </a:ln>
                <a:solidFill>
                  <a:srgbClr val="3C3C3B"/>
                </a:solidFill>
                <a:effectLst/>
                <a:uLnTx/>
                <a:uFillTx/>
                <a:latin typeface="Lato"/>
                <a:sym typeface="Lato" panose="020F0502020204030203" pitchFamily="34" charset="0"/>
              </a:rPr>
              <a:t>XX</a:t>
            </a:r>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72" name="Text Placeholder 19">
            <a:extLst>
              <a:ext uri="{FF2B5EF4-FFF2-40B4-BE49-F238E27FC236}">
                <a16:creationId xmlns:a16="http://schemas.microsoft.com/office/drawing/2014/main" id="{9F9869AF-B0F6-4E89-B216-4EC18C7334C2}"/>
              </a:ext>
            </a:extLst>
          </p:cNvPr>
          <p:cNvSpPr>
            <a:spLocks noGrp="1"/>
          </p:cNvSpPr>
          <p:nvPr>
            <p:custDataLst>
              <p:tags r:id="rId13"/>
            </p:custDataLst>
          </p:nvPr>
        </p:nvSpPr>
        <p:spPr bwMode="gray">
          <a:xfrm>
            <a:off x="1843088" y="2481263"/>
            <a:ext cx="24130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r>
              <a:rPr lang="en-GB" altLang="en-US">
                <a:effectLst/>
              </a:rPr>
              <a:t>XX</a:t>
            </a:r>
            <a:endParaRPr lang="en-GB"/>
          </a:p>
        </p:txBody>
      </p:sp>
      <p:sp>
        <p:nvSpPr>
          <p:cNvPr id="81" name="Text Placeholder 19">
            <a:extLst>
              <a:ext uri="{FF2B5EF4-FFF2-40B4-BE49-F238E27FC236}">
                <a16:creationId xmlns:a16="http://schemas.microsoft.com/office/drawing/2014/main" id="{9F9869AF-B0F6-4E89-B216-4EC18C7334C2}"/>
              </a:ext>
            </a:extLst>
          </p:cNvPr>
          <p:cNvSpPr>
            <a:spLocks noGrp="1"/>
          </p:cNvSpPr>
          <p:nvPr>
            <p:custDataLst>
              <p:tags r:id="rId14"/>
            </p:custDataLst>
          </p:nvPr>
        </p:nvSpPr>
        <p:spPr bwMode="gray">
          <a:xfrm>
            <a:off x="1843088" y="2617788"/>
            <a:ext cx="24130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r>
              <a:rPr lang="en-GB" altLang="en-US">
                <a:effectLst/>
              </a:rPr>
              <a:t>XX</a:t>
            </a:r>
            <a:endParaRPr lang="en-GB"/>
          </a:p>
        </p:txBody>
      </p:sp>
      <p:sp>
        <p:nvSpPr>
          <p:cNvPr id="96" name="Text Placeholder 19">
            <a:extLst>
              <a:ext uri="{FF2B5EF4-FFF2-40B4-BE49-F238E27FC236}">
                <a16:creationId xmlns:a16="http://schemas.microsoft.com/office/drawing/2014/main" id="{9F9869AF-B0F6-4E89-B216-4EC18C7334C2}"/>
              </a:ext>
            </a:extLst>
          </p:cNvPr>
          <p:cNvSpPr>
            <a:spLocks noGrp="1"/>
          </p:cNvSpPr>
          <p:nvPr>
            <p:custDataLst>
              <p:tags r:id="rId15"/>
            </p:custDataLst>
          </p:nvPr>
        </p:nvSpPr>
        <p:spPr bwMode="gray">
          <a:xfrm>
            <a:off x="1781175" y="2943225"/>
            <a:ext cx="24130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r>
              <a:rPr lang="en-GB" altLang="en-US">
                <a:effectLst/>
              </a:rPr>
              <a:t>XX</a:t>
            </a:r>
            <a:endParaRPr lang="en-GB"/>
          </a:p>
        </p:txBody>
      </p:sp>
      <p:sp>
        <p:nvSpPr>
          <p:cNvPr id="105" name="Text Placeholder 19">
            <a:extLst>
              <a:ext uri="{FF2B5EF4-FFF2-40B4-BE49-F238E27FC236}">
                <a16:creationId xmlns:a16="http://schemas.microsoft.com/office/drawing/2014/main" id="{9F9869AF-B0F6-4E89-B216-4EC18C7334C2}"/>
              </a:ext>
            </a:extLst>
          </p:cNvPr>
          <p:cNvSpPr>
            <a:spLocks noGrp="1"/>
          </p:cNvSpPr>
          <p:nvPr>
            <p:custDataLst>
              <p:tags r:id="rId16"/>
            </p:custDataLst>
          </p:nvPr>
        </p:nvSpPr>
        <p:spPr bwMode="gray">
          <a:xfrm>
            <a:off x="1816100" y="2754313"/>
            <a:ext cx="24130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r>
              <a:rPr lang="en-GB" altLang="en-US">
                <a:effectLst/>
              </a:rPr>
              <a:t>XX</a:t>
            </a:r>
            <a:endParaRPr lang="en-GB"/>
          </a:p>
        </p:txBody>
      </p:sp>
      <p:sp>
        <p:nvSpPr>
          <p:cNvPr id="132" name="Text Placeholder 19">
            <a:extLst>
              <a:ext uri="{FF2B5EF4-FFF2-40B4-BE49-F238E27FC236}">
                <a16:creationId xmlns:a16="http://schemas.microsoft.com/office/drawing/2014/main" id="{9F9869AF-B0F6-4E89-B216-4EC18C7334C2}"/>
              </a:ext>
            </a:extLst>
          </p:cNvPr>
          <p:cNvSpPr>
            <a:spLocks noGrp="1"/>
          </p:cNvSpPr>
          <p:nvPr>
            <p:custDataLst>
              <p:tags r:id="rId17"/>
            </p:custDataLst>
          </p:nvPr>
        </p:nvSpPr>
        <p:spPr bwMode="gray">
          <a:xfrm>
            <a:off x="2578100" y="3373438"/>
            <a:ext cx="24130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r>
              <a:rPr lang="en-GB" altLang="en-US">
                <a:effectLst/>
              </a:rPr>
              <a:t>XX</a:t>
            </a:r>
            <a:endParaRPr lang="en-GB"/>
          </a:p>
        </p:txBody>
      </p:sp>
      <p:sp>
        <p:nvSpPr>
          <p:cNvPr id="141" name="Text Placeholder 19">
            <a:extLst>
              <a:ext uri="{FF2B5EF4-FFF2-40B4-BE49-F238E27FC236}">
                <a16:creationId xmlns:a16="http://schemas.microsoft.com/office/drawing/2014/main" id="{9F9869AF-B0F6-4E89-B216-4EC18C7334C2}"/>
              </a:ext>
            </a:extLst>
          </p:cNvPr>
          <p:cNvSpPr>
            <a:spLocks noGrp="1"/>
          </p:cNvSpPr>
          <p:nvPr>
            <p:custDataLst>
              <p:tags r:id="rId18"/>
            </p:custDataLst>
          </p:nvPr>
        </p:nvSpPr>
        <p:spPr bwMode="gray">
          <a:xfrm>
            <a:off x="3432175" y="3509964"/>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r>
              <a:rPr lang="en-GB" altLang="en-US">
                <a:effectLst/>
              </a:rPr>
              <a:t>XX</a:t>
            </a:r>
            <a:endParaRPr lang="en-GB"/>
          </a:p>
        </p:txBody>
      </p:sp>
      <p:sp>
        <p:nvSpPr>
          <p:cNvPr id="162" name="Text Placeholder 19">
            <a:extLst>
              <a:ext uri="{FF2B5EF4-FFF2-40B4-BE49-F238E27FC236}">
                <a16:creationId xmlns:a16="http://schemas.microsoft.com/office/drawing/2014/main" id="{9F9869AF-B0F6-4E89-B216-4EC18C7334C2}"/>
              </a:ext>
            </a:extLst>
          </p:cNvPr>
          <p:cNvSpPr>
            <a:spLocks noGrp="1"/>
          </p:cNvSpPr>
          <p:nvPr>
            <p:custDataLst>
              <p:tags r:id="rId19"/>
            </p:custDataLst>
          </p:nvPr>
        </p:nvSpPr>
        <p:spPr bwMode="gray">
          <a:xfrm>
            <a:off x="2811463" y="3703638"/>
            <a:ext cx="24130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r>
              <a:rPr lang="en-GB" altLang="en-US">
                <a:effectLst/>
              </a:rPr>
              <a:t>XX</a:t>
            </a:r>
            <a:endParaRPr lang="en-GB"/>
          </a:p>
        </p:txBody>
      </p:sp>
      <p:sp>
        <p:nvSpPr>
          <p:cNvPr id="167" name="Text Placeholder 19">
            <a:extLst>
              <a:ext uri="{FF2B5EF4-FFF2-40B4-BE49-F238E27FC236}">
                <a16:creationId xmlns:a16="http://schemas.microsoft.com/office/drawing/2014/main" id="{9F9869AF-B0F6-4E89-B216-4EC18C7334C2}"/>
              </a:ext>
            </a:extLst>
          </p:cNvPr>
          <p:cNvSpPr>
            <a:spLocks noGrp="1"/>
          </p:cNvSpPr>
          <p:nvPr>
            <p:custDataLst>
              <p:tags r:id="rId20"/>
            </p:custDataLst>
          </p:nvPr>
        </p:nvSpPr>
        <p:spPr bwMode="gray">
          <a:xfrm>
            <a:off x="2192338" y="4265614"/>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r>
              <a:rPr lang="en-GB" altLang="en-US">
                <a:effectLst/>
              </a:rPr>
              <a:t>XX</a:t>
            </a:r>
            <a:endParaRPr lang="en-GB"/>
          </a:p>
        </p:txBody>
      </p:sp>
      <p:sp>
        <p:nvSpPr>
          <p:cNvPr id="170" name="Text Placeholder 19">
            <a:extLst>
              <a:ext uri="{FF2B5EF4-FFF2-40B4-BE49-F238E27FC236}">
                <a16:creationId xmlns:a16="http://schemas.microsoft.com/office/drawing/2014/main" id="{9F9869AF-B0F6-4E89-B216-4EC18C7334C2}"/>
              </a:ext>
            </a:extLst>
          </p:cNvPr>
          <p:cNvSpPr>
            <a:spLocks noGrp="1"/>
          </p:cNvSpPr>
          <p:nvPr>
            <p:custDataLst>
              <p:tags r:id="rId21"/>
            </p:custDataLst>
          </p:nvPr>
        </p:nvSpPr>
        <p:spPr bwMode="gray">
          <a:xfrm>
            <a:off x="2189163" y="4684713"/>
            <a:ext cx="24130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r>
              <a:rPr lang="en-GB" altLang="en-US">
                <a:effectLst/>
              </a:rPr>
              <a:t>XX</a:t>
            </a:r>
            <a:endParaRPr lang="en-GB"/>
          </a:p>
        </p:txBody>
      </p:sp>
      <p:sp>
        <p:nvSpPr>
          <p:cNvPr id="180" name="Text Placeholder 19">
            <a:extLst>
              <a:ext uri="{FF2B5EF4-FFF2-40B4-BE49-F238E27FC236}">
                <a16:creationId xmlns:a16="http://schemas.microsoft.com/office/drawing/2014/main" id="{9F9869AF-B0F6-4E89-B216-4EC18C7334C2}"/>
              </a:ext>
            </a:extLst>
          </p:cNvPr>
          <p:cNvSpPr>
            <a:spLocks noGrp="1"/>
          </p:cNvSpPr>
          <p:nvPr>
            <p:custDataLst>
              <p:tags r:id="rId22"/>
            </p:custDataLst>
          </p:nvPr>
        </p:nvSpPr>
        <p:spPr bwMode="gray">
          <a:xfrm>
            <a:off x="2195513" y="4473575"/>
            <a:ext cx="24130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r>
              <a:rPr lang="en-GB" altLang="en-US">
                <a:effectLst/>
              </a:rPr>
              <a:t>XX</a:t>
            </a:r>
            <a:endParaRPr lang="en-GB"/>
          </a:p>
        </p:txBody>
      </p:sp>
      <p:sp>
        <p:nvSpPr>
          <p:cNvPr id="191" name="Text Placeholder 19">
            <a:extLst>
              <a:ext uri="{FF2B5EF4-FFF2-40B4-BE49-F238E27FC236}">
                <a16:creationId xmlns:a16="http://schemas.microsoft.com/office/drawing/2014/main" id="{9F9869AF-B0F6-4E89-B216-4EC18C7334C2}"/>
              </a:ext>
            </a:extLst>
          </p:cNvPr>
          <p:cNvSpPr>
            <a:spLocks noGrp="1"/>
          </p:cNvSpPr>
          <p:nvPr>
            <p:custDataLst>
              <p:tags r:id="rId23"/>
            </p:custDataLst>
          </p:nvPr>
        </p:nvSpPr>
        <p:spPr bwMode="gray">
          <a:xfrm>
            <a:off x="1931988" y="4359275"/>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r>
              <a:rPr lang="en-GB" altLang="en-US">
                <a:effectLst/>
              </a:rPr>
              <a:t>XX</a:t>
            </a:r>
            <a:endParaRPr lang="en-GB"/>
          </a:p>
        </p:txBody>
      </p:sp>
      <p:sp>
        <p:nvSpPr>
          <p:cNvPr id="199" name="Text Placeholder 19">
            <a:extLst>
              <a:ext uri="{FF2B5EF4-FFF2-40B4-BE49-F238E27FC236}">
                <a16:creationId xmlns:a16="http://schemas.microsoft.com/office/drawing/2014/main" id="{9F9869AF-B0F6-4E89-B216-4EC18C7334C2}"/>
              </a:ext>
            </a:extLst>
          </p:cNvPr>
          <p:cNvSpPr>
            <a:spLocks noGrp="1"/>
          </p:cNvSpPr>
          <p:nvPr>
            <p:custDataLst>
              <p:tags r:id="rId24"/>
            </p:custDataLst>
          </p:nvPr>
        </p:nvSpPr>
        <p:spPr bwMode="gray">
          <a:xfrm>
            <a:off x="2189163" y="4821239"/>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r>
              <a:rPr lang="en-GB" altLang="en-US">
                <a:effectLst/>
              </a:rPr>
              <a:t>XX</a:t>
            </a:r>
            <a:endParaRPr lang="en-GB"/>
          </a:p>
        </p:txBody>
      </p:sp>
      <p:sp>
        <p:nvSpPr>
          <p:cNvPr id="212" name="Text Placeholder 19">
            <a:extLst>
              <a:ext uri="{FF2B5EF4-FFF2-40B4-BE49-F238E27FC236}">
                <a16:creationId xmlns:a16="http://schemas.microsoft.com/office/drawing/2014/main" id="{9F9869AF-B0F6-4E89-B216-4EC18C7334C2}"/>
              </a:ext>
            </a:extLst>
          </p:cNvPr>
          <p:cNvSpPr>
            <a:spLocks noGrp="1"/>
          </p:cNvSpPr>
          <p:nvPr>
            <p:custDataLst>
              <p:tags r:id="rId25"/>
            </p:custDataLst>
          </p:nvPr>
        </p:nvSpPr>
        <p:spPr bwMode="gray">
          <a:xfrm>
            <a:off x="1935163" y="4548188"/>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r>
              <a:rPr lang="en-GB" altLang="en-US">
                <a:effectLst/>
              </a:rPr>
              <a:t>XX</a:t>
            </a:r>
            <a:endParaRPr lang="en-GB"/>
          </a:p>
        </p:txBody>
      </p:sp>
      <p:sp>
        <p:nvSpPr>
          <p:cNvPr id="219" name="Text Placeholder 19">
            <a:extLst>
              <a:ext uri="{FF2B5EF4-FFF2-40B4-BE49-F238E27FC236}">
                <a16:creationId xmlns:a16="http://schemas.microsoft.com/office/drawing/2014/main" id="{9F9869AF-B0F6-4E89-B216-4EC18C7334C2}"/>
              </a:ext>
            </a:extLst>
          </p:cNvPr>
          <p:cNvSpPr>
            <a:spLocks noGrp="1"/>
          </p:cNvSpPr>
          <p:nvPr>
            <p:custDataLst>
              <p:tags r:id="rId26"/>
            </p:custDataLst>
          </p:nvPr>
        </p:nvSpPr>
        <p:spPr bwMode="gray">
          <a:xfrm>
            <a:off x="1604963" y="5249864"/>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r>
              <a:rPr lang="en-GB" altLang="en-US">
                <a:effectLst/>
              </a:rPr>
              <a:t>XX</a:t>
            </a:r>
            <a:endParaRPr lang="en-GB"/>
          </a:p>
        </p:txBody>
      </p:sp>
      <p:sp>
        <p:nvSpPr>
          <p:cNvPr id="224" name="Text Placeholder 19">
            <a:extLst>
              <a:ext uri="{FF2B5EF4-FFF2-40B4-BE49-F238E27FC236}">
                <a16:creationId xmlns:a16="http://schemas.microsoft.com/office/drawing/2014/main" id="{9F9869AF-B0F6-4E89-B216-4EC18C7334C2}"/>
              </a:ext>
            </a:extLst>
          </p:cNvPr>
          <p:cNvSpPr>
            <a:spLocks noGrp="1"/>
          </p:cNvSpPr>
          <p:nvPr>
            <p:custDataLst>
              <p:tags r:id="rId27"/>
            </p:custDataLst>
          </p:nvPr>
        </p:nvSpPr>
        <p:spPr bwMode="gray">
          <a:xfrm>
            <a:off x="3089275" y="5199064"/>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r>
              <a:rPr lang="en-GB" altLang="en-US">
                <a:effectLst/>
              </a:rPr>
              <a:t>XX</a:t>
            </a:r>
            <a:endParaRPr lang="en-GB"/>
          </a:p>
        </p:txBody>
      </p:sp>
      <p:sp>
        <p:nvSpPr>
          <p:cNvPr id="230" name="Text Placeholder 19">
            <a:extLst>
              <a:ext uri="{FF2B5EF4-FFF2-40B4-BE49-F238E27FC236}">
                <a16:creationId xmlns:a16="http://schemas.microsoft.com/office/drawing/2014/main" id="{9F9869AF-B0F6-4E89-B216-4EC18C7334C2}"/>
              </a:ext>
            </a:extLst>
          </p:cNvPr>
          <p:cNvSpPr>
            <a:spLocks noGrp="1"/>
          </p:cNvSpPr>
          <p:nvPr>
            <p:custDataLst>
              <p:tags r:id="rId28"/>
            </p:custDataLst>
          </p:nvPr>
        </p:nvSpPr>
        <p:spPr bwMode="gray">
          <a:xfrm>
            <a:off x="1497013" y="5387975"/>
            <a:ext cx="24130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r>
              <a:rPr lang="en-GB" altLang="en-US">
                <a:effectLst/>
              </a:rPr>
              <a:t>XX</a:t>
            </a:r>
            <a:endParaRPr lang="en-GB"/>
          </a:p>
        </p:txBody>
      </p:sp>
      <p:sp>
        <p:nvSpPr>
          <p:cNvPr id="239" name="Text Placeholder 19">
            <a:extLst>
              <a:ext uri="{FF2B5EF4-FFF2-40B4-BE49-F238E27FC236}">
                <a16:creationId xmlns:a16="http://schemas.microsoft.com/office/drawing/2014/main" id="{9F9869AF-B0F6-4E89-B216-4EC18C7334C2}"/>
              </a:ext>
            </a:extLst>
          </p:cNvPr>
          <p:cNvSpPr>
            <a:spLocks noGrp="1"/>
          </p:cNvSpPr>
          <p:nvPr>
            <p:custDataLst>
              <p:tags r:id="rId29"/>
            </p:custDataLst>
          </p:nvPr>
        </p:nvSpPr>
        <p:spPr bwMode="gray">
          <a:xfrm>
            <a:off x="2501900" y="5532439"/>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r>
              <a:rPr lang="en-GB" altLang="en-US">
                <a:effectLst/>
              </a:rPr>
              <a:t>XX</a:t>
            </a:r>
            <a:endParaRPr lang="en-GB"/>
          </a:p>
        </p:txBody>
      </p:sp>
      <p:sp>
        <p:nvSpPr>
          <p:cNvPr id="28" name="Rectangle 27">
            <a:extLst>
              <a:ext uri="{FF2B5EF4-FFF2-40B4-BE49-F238E27FC236}">
                <a16:creationId xmlns:a16="http://schemas.microsoft.com/office/drawing/2014/main" id="{1E9E3C7C-8129-71C3-F489-54835C561F79}"/>
              </a:ext>
            </a:extLst>
          </p:cNvPr>
          <p:cNvSpPr/>
          <p:nvPr>
            <p:custDataLst>
              <p:tags r:id="rId30"/>
            </p:custDataLst>
          </p:nvPr>
        </p:nvSpPr>
        <p:spPr bwMode="auto">
          <a:xfrm>
            <a:off x="1484313" y="6165850"/>
            <a:ext cx="179388" cy="133350"/>
          </a:xfrm>
          <a:prstGeom prst="rect">
            <a:avLst/>
          </a:prstGeom>
          <a:solidFill>
            <a:srgbClr val="9DB1CF"/>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32" name="Rectangle 31">
            <a:extLst>
              <a:ext uri="{FF2B5EF4-FFF2-40B4-BE49-F238E27FC236}">
                <a16:creationId xmlns:a16="http://schemas.microsoft.com/office/drawing/2014/main" id="{8CE4AFE0-DF3F-C09D-E22B-3D31E73F8ECF}"/>
              </a:ext>
            </a:extLst>
          </p:cNvPr>
          <p:cNvSpPr/>
          <p:nvPr>
            <p:custDataLst>
              <p:tags r:id="rId31"/>
            </p:custDataLst>
          </p:nvPr>
        </p:nvSpPr>
        <p:spPr bwMode="auto">
          <a:xfrm>
            <a:off x="2197100" y="6165850"/>
            <a:ext cx="179388" cy="133350"/>
          </a:xfrm>
          <a:prstGeom prst="rect">
            <a:avLst/>
          </a:prstGeom>
          <a:solidFill>
            <a:schemeClr val="tx1"/>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39" name="Rectangle 38">
            <a:extLst>
              <a:ext uri="{FF2B5EF4-FFF2-40B4-BE49-F238E27FC236}">
                <a16:creationId xmlns:a16="http://schemas.microsoft.com/office/drawing/2014/main" id="{3138F2E8-D6F7-4FEA-1ED6-F83E07C93251}"/>
              </a:ext>
            </a:extLst>
          </p:cNvPr>
          <p:cNvSpPr/>
          <p:nvPr>
            <p:custDataLst>
              <p:tags r:id="rId32"/>
            </p:custDataLst>
          </p:nvPr>
        </p:nvSpPr>
        <p:spPr bwMode="auto">
          <a:xfrm>
            <a:off x="2947988" y="6165850"/>
            <a:ext cx="179388" cy="133350"/>
          </a:xfrm>
          <a:prstGeom prst="rect">
            <a:avLst/>
          </a:prstGeom>
          <a:solidFill>
            <a:srgbClr val="E1C4E1"/>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40" name="Rectangle 39">
            <a:extLst>
              <a:ext uri="{FF2B5EF4-FFF2-40B4-BE49-F238E27FC236}">
                <a16:creationId xmlns:a16="http://schemas.microsoft.com/office/drawing/2014/main" id="{4318FD40-90B2-BB4F-E3FD-993714296A2E}"/>
              </a:ext>
            </a:extLst>
          </p:cNvPr>
          <p:cNvSpPr/>
          <p:nvPr>
            <p:custDataLst>
              <p:tags r:id="rId33"/>
            </p:custDataLst>
          </p:nvPr>
        </p:nvSpPr>
        <p:spPr bwMode="auto">
          <a:xfrm>
            <a:off x="3700463" y="6165850"/>
            <a:ext cx="179388" cy="133350"/>
          </a:xfrm>
          <a:prstGeom prst="rect">
            <a:avLst/>
          </a:prstGeom>
          <a:solidFill>
            <a:srgbClr val="CFDE63"/>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41" name="Rectangle 40">
            <a:extLst>
              <a:ext uri="{FF2B5EF4-FFF2-40B4-BE49-F238E27FC236}">
                <a16:creationId xmlns:a16="http://schemas.microsoft.com/office/drawing/2014/main" id="{D58AF833-5A4B-AA8D-5E08-1DDA802F621F}"/>
              </a:ext>
            </a:extLst>
          </p:cNvPr>
          <p:cNvSpPr/>
          <p:nvPr>
            <p:custDataLst>
              <p:tags r:id="rId34"/>
            </p:custDataLst>
          </p:nvPr>
        </p:nvSpPr>
        <p:spPr bwMode="auto">
          <a:xfrm>
            <a:off x="4357688" y="6165850"/>
            <a:ext cx="179388" cy="133350"/>
          </a:xfrm>
          <a:prstGeom prst="rect">
            <a:avLst/>
          </a:prstGeom>
          <a:solidFill>
            <a:schemeClr val="accent6"/>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42" name="Rectangle 41">
            <a:extLst>
              <a:ext uri="{FF2B5EF4-FFF2-40B4-BE49-F238E27FC236}">
                <a16:creationId xmlns:a16="http://schemas.microsoft.com/office/drawing/2014/main" id="{68C40247-3A71-8302-21E0-5B2352256070}"/>
              </a:ext>
            </a:extLst>
          </p:cNvPr>
          <p:cNvSpPr/>
          <p:nvPr>
            <p:custDataLst>
              <p:tags r:id="rId35"/>
            </p:custDataLst>
          </p:nvPr>
        </p:nvSpPr>
        <p:spPr bwMode="auto">
          <a:xfrm>
            <a:off x="5072063" y="6165850"/>
            <a:ext cx="179388" cy="133350"/>
          </a:xfrm>
          <a:prstGeom prst="rect">
            <a:avLst/>
          </a:prstGeom>
          <a:solidFill>
            <a:schemeClr val="accent1"/>
          </a:solidFill>
          <a:ln w="9525" cap="flat" cmpd="sng" algn="ctr">
            <a:solidFill>
              <a:schemeClr val="bg1"/>
            </a:solidFill>
            <a:prstDash val="solid"/>
            <a:miter lim="800000"/>
            <a:headEnd type="none" w="med" len="med"/>
            <a:tailEnd type="none" w="med" len="med"/>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3C3C3B"/>
              </a:solidFill>
              <a:effectLst/>
              <a:uLnTx/>
              <a:uFillTx/>
              <a:latin typeface="Lato"/>
              <a:ea typeface="+mn-ea"/>
              <a:cs typeface="+mn-cs"/>
            </a:endParaRPr>
          </a:p>
        </p:txBody>
      </p:sp>
      <p:sp>
        <p:nvSpPr>
          <p:cNvPr id="25" name="Text Placeholder 19">
            <a:extLst>
              <a:ext uri="{FF2B5EF4-FFF2-40B4-BE49-F238E27FC236}">
                <a16:creationId xmlns:a16="http://schemas.microsoft.com/office/drawing/2014/main" id="{9F9869AF-B0F6-4E89-B216-4EC18C7334C2}"/>
              </a:ext>
            </a:extLst>
          </p:cNvPr>
          <p:cNvSpPr>
            <a:spLocks noGrp="1"/>
          </p:cNvSpPr>
          <p:nvPr>
            <p:custDataLst>
              <p:tags r:id="rId36"/>
            </p:custDataLst>
          </p:nvPr>
        </p:nvSpPr>
        <p:spPr bwMode="auto">
          <a:xfrm>
            <a:off x="1714500" y="6161088"/>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63D37A3B-18D2-40EF-A170-17E610CC99BC}" type="datetime'''''''''''C''''''''''''''''''A''''''I''''''S''O'''''''''''">
              <a:rPr kumimoji="0" lang="en-GB" altLang="en-US" sz="10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CAISO</a:t>
            </a:fld>
            <a:endParaRPr kumimoji="0" lang="en-GB" sz="10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29" name="Text Placeholder 19">
            <a:extLst>
              <a:ext uri="{FF2B5EF4-FFF2-40B4-BE49-F238E27FC236}">
                <a16:creationId xmlns:a16="http://schemas.microsoft.com/office/drawing/2014/main" id="{320493DD-3C21-8B33-59F9-B02A303F47E1}"/>
              </a:ext>
            </a:extLst>
          </p:cNvPr>
          <p:cNvSpPr>
            <a:spLocks noGrp="1"/>
          </p:cNvSpPr>
          <p:nvPr>
            <p:custDataLst>
              <p:tags r:id="rId37"/>
            </p:custDataLst>
          </p:nvPr>
        </p:nvSpPr>
        <p:spPr bwMode="auto">
          <a:xfrm>
            <a:off x="2427288" y="6161088"/>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C07BADD2-F916-4F52-9686-65FA86CA3FBC}" type="datetime'E''''R''C''''''''''''''O''''''''''''''''''''T'''''''">
              <a:rPr kumimoji="0" lang="en-GB" altLang="en-US" sz="10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ERCOT</a:t>
            </a:fld>
            <a:endParaRPr kumimoji="0" lang="en-GB" sz="10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33" name="Text Placeholder 19">
            <a:extLst>
              <a:ext uri="{FF2B5EF4-FFF2-40B4-BE49-F238E27FC236}">
                <a16:creationId xmlns:a16="http://schemas.microsoft.com/office/drawing/2014/main" id="{E8B44F85-AE63-ABEC-60AC-5587EA452054}"/>
              </a:ext>
            </a:extLst>
          </p:cNvPr>
          <p:cNvSpPr>
            <a:spLocks noGrp="1"/>
          </p:cNvSpPr>
          <p:nvPr>
            <p:custDataLst>
              <p:tags r:id="rId38"/>
            </p:custDataLst>
          </p:nvPr>
        </p:nvSpPr>
        <p:spPr bwMode="auto">
          <a:xfrm>
            <a:off x="3178175" y="6161088"/>
            <a:ext cx="4206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92DE98C2-0D28-43F9-8472-060F9D4BC40A}" type="datetime'I''''''''''''''''''''''''''''''''SO''''-''''N''''E'''''''">
              <a:rPr kumimoji="0" lang="en-GB" altLang="en-US" sz="10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ISO-NE</a:t>
            </a:fld>
            <a:endParaRPr kumimoji="0" lang="en-GB" sz="10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34" name="Text Placeholder 19">
            <a:extLst>
              <a:ext uri="{FF2B5EF4-FFF2-40B4-BE49-F238E27FC236}">
                <a16:creationId xmlns:a16="http://schemas.microsoft.com/office/drawing/2014/main" id="{29A54523-17E1-0932-404C-41C7577920B4}"/>
              </a:ext>
            </a:extLst>
          </p:cNvPr>
          <p:cNvSpPr>
            <a:spLocks noGrp="1"/>
          </p:cNvSpPr>
          <p:nvPr>
            <p:custDataLst>
              <p:tags r:id="rId39"/>
            </p:custDataLst>
          </p:nvPr>
        </p:nvSpPr>
        <p:spPr bwMode="auto">
          <a:xfrm>
            <a:off x="3930650" y="6161088"/>
            <a:ext cx="3254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ECE38DAD-9BF8-4365-878C-3290337269E3}" type="datetime'''''''''''''''''''''''M''''''I''''''''''''''''''S''''O'''">
              <a:rPr kumimoji="0" lang="en-GB" altLang="en-US" sz="10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MISO</a:t>
            </a:fld>
            <a:endParaRPr kumimoji="0" lang="en-GB" sz="10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35" name="Text Placeholder 19">
            <a:extLst>
              <a:ext uri="{FF2B5EF4-FFF2-40B4-BE49-F238E27FC236}">
                <a16:creationId xmlns:a16="http://schemas.microsoft.com/office/drawing/2014/main" id="{FCBE6AFA-1DC0-46D8-7777-A6234AF29A5E}"/>
              </a:ext>
            </a:extLst>
          </p:cNvPr>
          <p:cNvSpPr>
            <a:spLocks noGrp="1"/>
          </p:cNvSpPr>
          <p:nvPr>
            <p:custDataLst>
              <p:tags r:id="rId40"/>
            </p:custDataLst>
          </p:nvPr>
        </p:nvSpPr>
        <p:spPr bwMode="auto">
          <a:xfrm>
            <a:off x="4587875" y="6161088"/>
            <a:ext cx="3825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1A862120-CC90-4457-89BE-FD5B22E017B7}" type="datetime'N''''''''''Y''''''''''I''''''''''S''''''''''''''''''''O'''''">
              <a:rPr kumimoji="0" lang="en-GB" altLang="en-US" sz="10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NYISO</a:t>
            </a:fld>
            <a:endParaRPr kumimoji="0" lang="en-GB" sz="10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36" name="Text Placeholder 19">
            <a:extLst>
              <a:ext uri="{FF2B5EF4-FFF2-40B4-BE49-F238E27FC236}">
                <a16:creationId xmlns:a16="http://schemas.microsoft.com/office/drawing/2014/main" id="{3F98DAC7-4B64-BDA3-81E8-BDA3D1247A98}"/>
              </a:ext>
            </a:extLst>
          </p:cNvPr>
          <p:cNvSpPr>
            <a:spLocks noGrp="1"/>
          </p:cNvSpPr>
          <p:nvPr>
            <p:custDataLst>
              <p:tags r:id="rId41"/>
            </p:custDataLst>
          </p:nvPr>
        </p:nvSpPr>
        <p:spPr bwMode="auto">
          <a:xfrm>
            <a:off x="5302250" y="6161088"/>
            <a:ext cx="252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fld id="{DF125747-12F7-4F74-9F4C-FE210F2CF8F7}" type="datetime'''''''''''''''''''PJ''''''''''''''''M'''''''''''''''''''''''''">
              <a:rPr kumimoji="0" lang="en-GB" altLang="en-US" sz="1000" b="0" i="0" u="none" strike="noStrike" kern="1200" cap="none" spc="0" normalizeH="0" baseline="0" noProof="0" smtClean="0">
                <a:ln>
                  <a:noFill/>
                </a:ln>
                <a:solidFill>
                  <a:srgbClr val="3C3C3B"/>
                </a:solidFill>
                <a:effectLst/>
                <a:uLnTx/>
                <a:uFillTx/>
                <a:latin typeface="Lato"/>
                <a:ea typeface="+mn-ea"/>
                <a:cs typeface="+mn-cs"/>
                <a:sym typeface="Lato" panose="020F0502020204030203" pitchFamily="34" charset="0"/>
              </a:rPr>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t>PJM</a:t>
            </a:fld>
            <a:endParaRPr kumimoji="0" lang="en-GB" sz="1000" b="0" i="0" u="none" strike="noStrike" kern="1200" cap="none" spc="0" normalizeH="0" baseline="0" noProof="0">
              <a:ln>
                <a:noFill/>
              </a:ln>
              <a:solidFill>
                <a:srgbClr val="3C3C3B"/>
              </a:solidFill>
              <a:effectLst/>
              <a:uLnTx/>
              <a:uFillTx/>
              <a:latin typeface="Lato"/>
              <a:ea typeface="+mn-ea"/>
              <a:cs typeface="+mn-cs"/>
              <a:sym typeface="Lato" panose="020F0502020204030203" pitchFamily="34" charset="0"/>
            </a:endParaRPr>
          </a:p>
        </p:txBody>
      </p:sp>
      <p:sp>
        <p:nvSpPr>
          <p:cNvPr id="134" name="Rectangle: Rounded Corners 133">
            <a:extLst>
              <a:ext uri="{FF2B5EF4-FFF2-40B4-BE49-F238E27FC236}">
                <a16:creationId xmlns:a16="http://schemas.microsoft.com/office/drawing/2014/main" id="{78FDADA8-A9B4-FA46-06E3-042B31FC9F68}"/>
              </a:ext>
            </a:extLst>
          </p:cNvPr>
          <p:cNvSpPr/>
          <p:nvPr/>
        </p:nvSpPr>
        <p:spPr>
          <a:xfrm>
            <a:off x="392435" y="2547938"/>
            <a:ext cx="967261" cy="452438"/>
          </a:xfrm>
          <a:prstGeom prst="roundRect">
            <a:avLst/>
          </a:prstGeom>
          <a:solidFill>
            <a:srgbClr val="9F3C1C"/>
          </a:solidFill>
          <a:ln w="6350">
            <a:solidFill>
              <a:srgbClr val="9F3C1C"/>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200" b="1" i="0" u="none" strike="noStrike" kern="1200" cap="none" spc="0" normalizeH="0" baseline="0" noProof="0">
                <a:ln>
                  <a:noFill/>
                </a:ln>
                <a:solidFill>
                  <a:prstClr val="white"/>
                </a:solidFill>
                <a:effectLst/>
                <a:uLnTx/>
                <a:uFillTx/>
                <a:latin typeface="Lato"/>
                <a:ea typeface="+mn-ea"/>
                <a:cs typeface="+mn-cs"/>
              </a:rPr>
              <a:t>Trump Presidency</a:t>
            </a:r>
          </a:p>
        </p:txBody>
      </p:sp>
      <p:sp>
        <p:nvSpPr>
          <p:cNvPr id="135" name="Rectangle: Rounded Corners 134">
            <a:extLst>
              <a:ext uri="{FF2B5EF4-FFF2-40B4-BE49-F238E27FC236}">
                <a16:creationId xmlns:a16="http://schemas.microsoft.com/office/drawing/2014/main" id="{47E5ADB1-172F-5033-CD72-C3BCD36B1B4E}"/>
              </a:ext>
            </a:extLst>
          </p:cNvPr>
          <p:cNvSpPr/>
          <p:nvPr/>
        </p:nvSpPr>
        <p:spPr>
          <a:xfrm>
            <a:off x="396082" y="3492500"/>
            <a:ext cx="967261" cy="452438"/>
          </a:xfrm>
          <a:prstGeom prst="roundRect">
            <a:avLst/>
          </a:prstGeom>
          <a:solidFill>
            <a:srgbClr val="9F3C1C"/>
          </a:solidFill>
          <a:ln w="6350">
            <a:solidFill>
              <a:srgbClr val="9F3C1C"/>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200" b="1" i="0" u="none" strike="noStrike" kern="1200" cap="none" spc="0" normalizeH="0" baseline="0" noProof="0">
                <a:ln>
                  <a:noFill/>
                </a:ln>
                <a:solidFill>
                  <a:prstClr val="white"/>
                </a:solidFill>
                <a:effectLst/>
                <a:uLnTx/>
                <a:uFillTx/>
                <a:latin typeface="Lato"/>
                <a:ea typeface="+mn-ea"/>
                <a:cs typeface="+mn-cs"/>
              </a:rPr>
              <a:t>Project 2025</a:t>
            </a:r>
          </a:p>
        </p:txBody>
      </p:sp>
      <p:sp>
        <p:nvSpPr>
          <p:cNvPr id="136" name="Rectangle: Rounded Corners 135">
            <a:extLst>
              <a:ext uri="{FF2B5EF4-FFF2-40B4-BE49-F238E27FC236}">
                <a16:creationId xmlns:a16="http://schemas.microsoft.com/office/drawing/2014/main" id="{1F59EBB9-7F1F-8E3C-4E41-AB24B47ECBB1}"/>
              </a:ext>
            </a:extLst>
          </p:cNvPr>
          <p:cNvSpPr/>
          <p:nvPr/>
        </p:nvSpPr>
        <p:spPr>
          <a:xfrm>
            <a:off x="389258" y="4435475"/>
            <a:ext cx="967261" cy="452438"/>
          </a:xfrm>
          <a:prstGeom prst="roundRect">
            <a:avLst/>
          </a:prstGeom>
          <a:solidFill>
            <a:srgbClr val="4C6C9C"/>
          </a:solidFill>
          <a:ln w="6350">
            <a:solidFill>
              <a:srgbClr val="4C6C9C"/>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200" b="1" i="0" u="none" strike="noStrike" kern="1200" cap="none" spc="0" normalizeH="0" baseline="0" noProof="0">
                <a:ln>
                  <a:noFill/>
                </a:ln>
                <a:solidFill>
                  <a:prstClr val="white"/>
                </a:solidFill>
                <a:effectLst/>
                <a:uLnTx/>
                <a:uFillTx/>
                <a:latin typeface="Lato"/>
                <a:ea typeface="+mn-ea"/>
                <a:cs typeface="+mn-cs"/>
              </a:rPr>
              <a:t>Harris Presidency</a:t>
            </a:r>
          </a:p>
        </p:txBody>
      </p:sp>
      <p:sp>
        <p:nvSpPr>
          <p:cNvPr id="137" name="Rectangle: Rounded Corners 136">
            <a:extLst>
              <a:ext uri="{FF2B5EF4-FFF2-40B4-BE49-F238E27FC236}">
                <a16:creationId xmlns:a16="http://schemas.microsoft.com/office/drawing/2014/main" id="{B3205A10-0DBD-1F17-7A60-8EECFBDCD1FC}"/>
              </a:ext>
            </a:extLst>
          </p:cNvPr>
          <p:cNvSpPr/>
          <p:nvPr/>
        </p:nvSpPr>
        <p:spPr>
          <a:xfrm>
            <a:off x="391083" y="5378450"/>
            <a:ext cx="967261" cy="450850"/>
          </a:xfrm>
          <a:prstGeom prst="roundRect">
            <a:avLst/>
          </a:prstGeom>
          <a:solidFill>
            <a:srgbClr val="4C6C9C"/>
          </a:solidFill>
          <a:ln w="6350">
            <a:solidFill>
              <a:srgbClr val="4C6C9C"/>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200" b="1" i="0" u="none" strike="noStrike" kern="1200" cap="none" spc="0" normalizeH="0" baseline="0" noProof="0">
                <a:ln>
                  <a:noFill/>
                </a:ln>
                <a:solidFill>
                  <a:prstClr val="white"/>
                </a:solidFill>
                <a:effectLst/>
                <a:uLnTx/>
                <a:uFillTx/>
                <a:latin typeface="Lato"/>
                <a:ea typeface="+mn-ea"/>
                <a:cs typeface="+mn-cs"/>
              </a:rPr>
              <a:t>Green  New Deal</a:t>
            </a:r>
          </a:p>
        </p:txBody>
      </p:sp>
      <p:graphicFrame>
        <p:nvGraphicFramePr>
          <p:cNvPr id="649" name="Chart 648">
            <a:extLst>
              <a:ext uri="{FF2B5EF4-FFF2-40B4-BE49-F238E27FC236}">
                <a16:creationId xmlns:a16="http://schemas.microsoft.com/office/drawing/2014/main" id="{4D66A451-0BB5-4DCE-E5E8-BD7A2E0A446B}"/>
              </a:ext>
            </a:extLst>
          </p:cNvPr>
          <p:cNvGraphicFramePr/>
          <p:nvPr>
            <p:custDataLst>
              <p:tags r:id="rId42"/>
            </p:custDataLst>
            <p:extLst>
              <p:ext uri="{D42A27DB-BD31-4B8C-83A1-F6EECF244321}">
                <p14:modId xmlns:p14="http://schemas.microsoft.com/office/powerpoint/2010/main" val="2152657558"/>
              </p:ext>
            </p:extLst>
          </p:nvPr>
        </p:nvGraphicFramePr>
        <p:xfrm>
          <a:off x="4113213" y="2322513"/>
          <a:ext cx="2336800" cy="3732212"/>
        </p:xfrm>
        <a:graphic>
          <a:graphicData uri="http://schemas.openxmlformats.org/drawingml/2006/chart">
            <c:chart xmlns:c="http://schemas.openxmlformats.org/drawingml/2006/chart" xmlns:r="http://schemas.openxmlformats.org/officeDocument/2006/relationships" r:id="rId106"/>
          </a:graphicData>
        </a:graphic>
      </p:graphicFrame>
      <p:cxnSp>
        <p:nvCxnSpPr>
          <p:cNvPr id="261" name="Straight Connector 260">
            <a:extLst>
              <a:ext uri="{FF2B5EF4-FFF2-40B4-BE49-F238E27FC236}">
                <a16:creationId xmlns:a16="http://schemas.microsoft.com/office/drawing/2014/main" id="{2969CCFD-3F95-7F9D-1C80-88302B7DA26D}"/>
              </a:ext>
            </a:extLst>
          </p:cNvPr>
          <p:cNvCxnSpPr/>
          <p:nvPr>
            <p:custDataLst>
              <p:tags r:id="rId43"/>
            </p:custDataLst>
          </p:nvPr>
        </p:nvCxnSpPr>
        <p:spPr bwMode="auto">
          <a:xfrm>
            <a:off x="4756150" y="2708275"/>
            <a:ext cx="460375"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2" name="Straight Connector 261">
            <a:extLst>
              <a:ext uri="{FF2B5EF4-FFF2-40B4-BE49-F238E27FC236}">
                <a16:creationId xmlns:a16="http://schemas.microsoft.com/office/drawing/2014/main" id="{821F304C-F005-0B8C-16FC-C898E8F315A9}"/>
              </a:ext>
            </a:extLst>
          </p:cNvPr>
          <p:cNvCxnSpPr/>
          <p:nvPr>
            <p:custDataLst>
              <p:tags r:id="rId44"/>
            </p:custDataLst>
          </p:nvPr>
        </p:nvCxnSpPr>
        <p:spPr bwMode="auto">
          <a:xfrm>
            <a:off x="4619625" y="2897188"/>
            <a:ext cx="657225"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3" name="Straight Connector 262">
            <a:extLst>
              <a:ext uri="{FF2B5EF4-FFF2-40B4-BE49-F238E27FC236}">
                <a16:creationId xmlns:a16="http://schemas.microsoft.com/office/drawing/2014/main" id="{F9CAD44F-E193-FE0D-2743-0C3375A76CA5}"/>
              </a:ext>
            </a:extLst>
          </p:cNvPr>
          <p:cNvCxnSpPr/>
          <p:nvPr>
            <p:custDataLst>
              <p:tags r:id="rId45"/>
            </p:custDataLst>
          </p:nvPr>
        </p:nvCxnSpPr>
        <p:spPr bwMode="auto">
          <a:xfrm>
            <a:off x="4879974" y="2990850"/>
            <a:ext cx="368300"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0" name="Straight Connector 339">
            <a:extLst>
              <a:ext uri="{FF2B5EF4-FFF2-40B4-BE49-F238E27FC236}">
                <a16:creationId xmlns:a16="http://schemas.microsoft.com/office/drawing/2014/main" id="{7CDFA5C2-40FF-690E-38FF-9ADAAA38D3AC}"/>
              </a:ext>
            </a:extLst>
          </p:cNvPr>
          <p:cNvCxnSpPr/>
          <p:nvPr>
            <p:custDataLst>
              <p:tags r:id="rId46"/>
            </p:custDataLst>
          </p:nvPr>
        </p:nvCxnSpPr>
        <p:spPr bwMode="auto">
          <a:xfrm>
            <a:off x="4987925" y="4775200"/>
            <a:ext cx="292100"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1" name="Straight Connector 350">
            <a:extLst>
              <a:ext uri="{FF2B5EF4-FFF2-40B4-BE49-F238E27FC236}">
                <a16:creationId xmlns:a16="http://schemas.microsoft.com/office/drawing/2014/main" id="{56240070-ABF0-E959-C9BA-31526597F783}"/>
              </a:ext>
            </a:extLst>
          </p:cNvPr>
          <p:cNvCxnSpPr/>
          <p:nvPr>
            <p:custDataLst>
              <p:tags r:id="rId47"/>
            </p:custDataLst>
          </p:nvPr>
        </p:nvCxnSpPr>
        <p:spPr bwMode="auto">
          <a:xfrm>
            <a:off x="4992688" y="4587875"/>
            <a:ext cx="287337"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7" name="Straight Connector 356">
            <a:extLst>
              <a:ext uri="{FF2B5EF4-FFF2-40B4-BE49-F238E27FC236}">
                <a16:creationId xmlns:a16="http://schemas.microsoft.com/office/drawing/2014/main" id="{61C0CD1A-C26F-E126-A5B7-92AA0F19C062}"/>
              </a:ext>
            </a:extLst>
          </p:cNvPr>
          <p:cNvCxnSpPr/>
          <p:nvPr>
            <p:custDataLst>
              <p:tags r:id="rId48"/>
            </p:custDataLst>
          </p:nvPr>
        </p:nvCxnSpPr>
        <p:spPr bwMode="auto">
          <a:xfrm>
            <a:off x="4991100" y="4492625"/>
            <a:ext cx="287338"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4" name="Text Placeholder 19">
            <a:extLst>
              <a:ext uri="{FF2B5EF4-FFF2-40B4-BE49-F238E27FC236}">
                <a16:creationId xmlns:a16="http://schemas.microsoft.com/office/drawing/2014/main" id="{9F9869AF-B0F6-4E89-B216-4EC18C7334C2}"/>
              </a:ext>
            </a:extLst>
          </p:cNvPr>
          <p:cNvSpPr>
            <a:spLocks noGrp="1"/>
          </p:cNvSpPr>
          <p:nvPr>
            <p:custDataLst>
              <p:tags r:id="rId49"/>
            </p:custDataLst>
          </p:nvPr>
        </p:nvSpPr>
        <p:spPr bwMode="gray">
          <a:xfrm>
            <a:off x="4378325" y="2714625"/>
            <a:ext cx="241300" cy="3651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endParaRPr kumimoji="0" lang="en-GB" altLang="en-US" sz="1200" b="0" i="0" u="none" strike="noStrike" kern="1200" cap="none" spc="0" normalizeH="0" baseline="0" noProof="0">
              <a:ln>
                <a:noFill/>
              </a:ln>
              <a:solidFill>
                <a:srgbClr val="3C3C3B"/>
              </a:solidFill>
              <a:effectLst/>
              <a:uLnTx/>
              <a:uFillTx/>
              <a:latin typeface="Lato"/>
              <a:sym typeface="Lato" panose="020F0502020204030203" pitchFamily="34" charset="0"/>
            </a:endParaRPr>
          </a:p>
          <a:p>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rPr>
              <a:t>XX</a:t>
            </a:r>
          </a:p>
        </p:txBody>
      </p:sp>
      <p:sp>
        <p:nvSpPr>
          <p:cNvPr id="195" name="Text Placeholder 19">
            <a:extLst>
              <a:ext uri="{FF2B5EF4-FFF2-40B4-BE49-F238E27FC236}">
                <a16:creationId xmlns:a16="http://schemas.microsoft.com/office/drawing/2014/main" id="{9F9869AF-B0F6-4E89-B216-4EC18C7334C2}"/>
              </a:ext>
            </a:extLst>
          </p:cNvPr>
          <p:cNvSpPr>
            <a:spLocks noGrp="1"/>
          </p:cNvSpPr>
          <p:nvPr>
            <p:custDataLst>
              <p:tags r:id="rId50"/>
            </p:custDataLst>
          </p:nvPr>
        </p:nvSpPr>
        <p:spPr bwMode="gray">
          <a:xfrm>
            <a:off x="6334125" y="3509963"/>
            <a:ext cx="24130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lang="en-GB">
                <a:solidFill>
                  <a:srgbClr val="3C3C3B"/>
                </a:solidFill>
                <a:latin typeface="Lato"/>
              </a:rPr>
              <a:t>XX</a:t>
            </a:r>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85" name="Text Placeholder 19">
            <a:extLst>
              <a:ext uri="{FF2B5EF4-FFF2-40B4-BE49-F238E27FC236}">
                <a16:creationId xmlns:a16="http://schemas.microsoft.com/office/drawing/2014/main" id="{9F9869AF-B0F6-4E89-B216-4EC18C7334C2}"/>
              </a:ext>
            </a:extLst>
          </p:cNvPr>
          <p:cNvSpPr>
            <a:spLocks noGrp="1"/>
          </p:cNvSpPr>
          <p:nvPr>
            <p:custDataLst>
              <p:tags r:id="rId51"/>
            </p:custDataLst>
          </p:nvPr>
        </p:nvSpPr>
        <p:spPr bwMode="gray">
          <a:xfrm>
            <a:off x="6007100" y="3698875"/>
            <a:ext cx="24130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lang="en-GB">
                <a:solidFill>
                  <a:srgbClr val="3C3C3B"/>
                </a:solidFill>
                <a:latin typeface="Lato"/>
              </a:rPr>
              <a:t>XX</a:t>
            </a:r>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86" name="Text Placeholder 19">
            <a:extLst>
              <a:ext uri="{FF2B5EF4-FFF2-40B4-BE49-F238E27FC236}">
                <a16:creationId xmlns:a16="http://schemas.microsoft.com/office/drawing/2014/main" id="{9F9869AF-B0F6-4E89-B216-4EC18C7334C2}"/>
              </a:ext>
            </a:extLst>
          </p:cNvPr>
          <p:cNvSpPr>
            <a:spLocks noGrp="1"/>
          </p:cNvSpPr>
          <p:nvPr>
            <p:custDataLst>
              <p:tags r:id="rId52"/>
            </p:custDataLst>
          </p:nvPr>
        </p:nvSpPr>
        <p:spPr bwMode="gray">
          <a:xfrm>
            <a:off x="4510088" y="5249863"/>
            <a:ext cx="24130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200" b="0" i="0" u="none" strike="noStrike" kern="1200" cap="none" spc="0" normalizeH="0" baseline="0" noProof="0">
                <a:ln>
                  <a:noFill/>
                </a:ln>
                <a:solidFill>
                  <a:srgbClr val="3C3C3B"/>
                </a:solidFill>
                <a:effectLst/>
                <a:uLnTx/>
                <a:uFillTx/>
                <a:latin typeface="Lato"/>
                <a:sym typeface="Lato" panose="020F0502020204030203" pitchFamily="34" charset="0"/>
              </a:rPr>
              <a:t>XX</a:t>
            </a:r>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useBgFill="1">
        <p:nvSpPr>
          <p:cNvPr id="71" name="Text Placeholder 19">
            <a:extLst>
              <a:ext uri="{FF2B5EF4-FFF2-40B4-BE49-F238E27FC236}">
                <a16:creationId xmlns:a16="http://schemas.microsoft.com/office/drawing/2014/main" id="{9F9869AF-B0F6-4E89-B216-4EC18C7334C2}"/>
              </a:ext>
            </a:extLst>
          </p:cNvPr>
          <p:cNvSpPr>
            <a:spLocks noGrp="1"/>
          </p:cNvSpPr>
          <p:nvPr>
            <p:custDataLst>
              <p:tags r:id="rId53"/>
            </p:custDataLst>
          </p:nvPr>
        </p:nvSpPr>
        <p:spPr bwMode="gray">
          <a:xfrm>
            <a:off x="4629150" y="5446713"/>
            <a:ext cx="241300" cy="182563"/>
          </a:xfrm>
          <a:prstGeom prst="rect">
            <a:avLst/>
          </a:prstGeom>
          <a:ln>
            <a:noFill/>
          </a:ln>
          <a:effec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200" b="0" i="0" u="none" strike="noStrike" kern="1200" cap="none" spc="0" normalizeH="0" baseline="0" noProof="0">
                <a:ln>
                  <a:noFill/>
                </a:ln>
                <a:solidFill>
                  <a:srgbClr val="3C3C3B"/>
                </a:solidFill>
                <a:effectLst/>
                <a:uLnTx/>
                <a:uFillTx/>
                <a:latin typeface="Lato"/>
                <a:sym typeface="Lato" panose="020F0502020204030203" pitchFamily="34" charset="0"/>
              </a:rPr>
              <a:t>XX</a:t>
            </a:r>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254" name="Text Placeholder 19">
            <a:extLst>
              <a:ext uri="{FF2B5EF4-FFF2-40B4-BE49-F238E27FC236}">
                <a16:creationId xmlns:a16="http://schemas.microsoft.com/office/drawing/2014/main" id="{9F9869AF-B0F6-4E89-B216-4EC18C7334C2}"/>
              </a:ext>
            </a:extLst>
          </p:cNvPr>
          <p:cNvSpPr>
            <a:spLocks noGrp="1"/>
          </p:cNvSpPr>
          <p:nvPr>
            <p:custDataLst>
              <p:tags r:id="rId54"/>
            </p:custDataLst>
          </p:nvPr>
        </p:nvSpPr>
        <p:spPr bwMode="gray">
          <a:xfrm>
            <a:off x="4775200" y="2481264"/>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r>
              <a:rPr lang="en-GB" altLang="en-US">
                <a:effectLst/>
              </a:rPr>
              <a:t>XX</a:t>
            </a:r>
            <a:endParaRPr lang="en-GB"/>
          </a:p>
        </p:txBody>
      </p:sp>
      <p:sp>
        <p:nvSpPr>
          <p:cNvPr id="268" name="Text Placeholder 19">
            <a:extLst>
              <a:ext uri="{FF2B5EF4-FFF2-40B4-BE49-F238E27FC236}">
                <a16:creationId xmlns:a16="http://schemas.microsoft.com/office/drawing/2014/main" id="{9F9869AF-B0F6-4E89-B216-4EC18C7334C2}"/>
              </a:ext>
            </a:extLst>
          </p:cNvPr>
          <p:cNvSpPr>
            <a:spLocks noGrp="1"/>
          </p:cNvSpPr>
          <p:nvPr>
            <p:custDataLst>
              <p:tags r:id="rId55"/>
            </p:custDataLst>
          </p:nvPr>
        </p:nvSpPr>
        <p:spPr bwMode="gray">
          <a:xfrm>
            <a:off x="4843463" y="2689225"/>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r>
              <a:rPr lang="en-GB" altLang="en-US">
                <a:effectLst/>
              </a:rPr>
              <a:t>XX</a:t>
            </a:r>
            <a:endParaRPr lang="en-GB"/>
          </a:p>
        </p:txBody>
      </p:sp>
      <p:sp>
        <p:nvSpPr>
          <p:cNvPr id="273" name="Text Placeholder 19">
            <a:extLst>
              <a:ext uri="{FF2B5EF4-FFF2-40B4-BE49-F238E27FC236}">
                <a16:creationId xmlns:a16="http://schemas.microsoft.com/office/drawing/2014/main" id="{9F9869AF-B0F6-4E89-B216-4EC18C7334C2}"/>
              </a:ext>
            </a:extLst>
          </p:cNvPr>
          <p:cNvSpPr>
            <a:spLocks noGrp="1"/>
          </p:cNvSpPr>
          <p:nvPr>
            <p:custDataLst>
              <p:tags r:id="rId56"/>
            </p:custDataLst>
          </p:nvPr>
        </p:nvSpPr>
        <p:spPr bwMode="gray">
          <a:xfrm>
            <a:off x="4514850" y="2574925"/>
            <a:ext cx="24130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r>
              <a:rPr lang="en-GB" altLang="en-US">
                <a:effectLst/>
              </a:rPr>
              <a:t>XX</a:t>
            </a:r>
            <a:endParaRPr lang="en-GB"/>
          </a:p>
        </p:txBody>
      </p:sp>
      <p:sp>
        <p:nvSpPr>
          <p:cNvPr id="278" name="Text Placeholder 19">
            <a:extLst>
              <a:ext uri="{FF2B5EF4-FFF2-40B4-BE49-F238E27FC236}">
                <a16:creationId xmlns:a16="http://schemas.microsoft.com/office/drawing/2014/main" id="{9F9869AF-B0F6-4E89-B216-4EC18C7334C2}"/>
              </a:ext>
            </a:extLst>
          </p:cNvPr>
          <p:cNvSpPr>
            <a:spLocks noGrp="1"/>
          </p:cNvSpPr>
          <p:nvPr>
            <p:custDataLst>
              <p:tags r:id="rId57"/>
            </p:custDataLst>
          </p:nvPr>
        </p:nvSpPr>
        <p:spPr bwMode="gray">
          <a:xfrm>
            <a:off x="4638675" y="2943225"/>
            <a:ext cx="24130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r>
              <a:rPr lang="en-GB" altLang="en-US">
                <a:effectLst/>
              </a:rPr>
              <a:t>XX</a:t>
            </a:r>
            <a:endParaRPr lang="en-GB"/>
          </a:p>
        </p:txBody>
      </p:sp>
      <p:sp>
        <p:nvSpPr>
          <p:cNvPr id="291" name="Text Placeholder 19">
            <a:extLst>
              <a:ext uri="{FF2B5EF4-FFF2-40B4-BE49-F238E27FC236}">
                <a16:creationId xmlns:a16="http://schemas.microsoft.com/office/drawing/2014/main" id="{9F9869AF-B0F6-4E89-B216-4EC18C7334C2}"/>
              </a:ext>
            </a:extLst>
          </p:cNvPr>
          <p:cNvSpPr>
            <a:spLocks noGrp="1"/>
          </p:cNvSpPr>
          <p:nvPr>
            <p:custDataLst>
              <p:tags r:id="rId58"/>
            </p:custDataLst>
          </p:nvPr>
        </p:nvSpPr>
        <p:spPr bwMode="gray">
          <a:xfrm>
            <a:off x="4899025" y="3036889"/>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r>
              <a:rPr lang="en-GB" altLang="en-US">
                <a:effectLst/>
              </a:rPr>
              <a:t>XX</a:t>
            </a:r>
            <a:endParaRPr lang="en-GB"/>
          </a:p>
        </p:txBody>
      </p:sp>
      <p:sp>
        <p:nvSpPr>
          <p:cNvPr id="296" name="Text Placeholder 19">
            <a:extLst>
              <a:ext uri="{FF2B5EF4-FFF2-40B4-BE49-F238E27FC236}">
                <a16:creationId xmlns:a16="http://schemas.microsoft.com/office/drawing/2014/main" id="{9F9869AF-B0F6-4E89-B216-4EC18C7334C2}"/>
              </a:ext>
            </a:extLst>
          </p:cNvPr>
          <p:cNvSpPr>
            <a:spLocks noGrp="1"/>
          </p:cNvSpPr>
          <p:nvPr>
            <p:custDataLst>
              <p:tags r:id="rId59"/>
            </p:custDataLst>
          </p:nvPr>
        </p:nvSpPr>
        <p:spPr bwMode="gray">
          <a:xfrm>
            <a:off x="5391150" y="3373439"/>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r>
              <a:rPr lang="en-GB" altLang="en-US">
                <a:effectLst/>
              </a:rPr>
              <a:t>XX</a:t>
            </a:r>
            <a:endParaRPr lang="en-GB"/>
          </a:p>
        </p:txBody>
      </p:sp>
      <p:sp useBgFill="1">
        <p:nvSpPr>
          <p:cNvPr id="307" name="Text Placeholder 19">
            <a:extLst>
              <a:ext uri="{FF2B5EF4-FFF2-40B4-BE49-F238E27FC236}">
                <a16:creationId xmlns:a16="http://schemas.microsoft.com/office/drawing/2014/main" id="{9F9869AF-B0F6-4E89-B216-4EC18C7334C2}"/>
              </a:ext>
            </a:extLst>
          </p:cNvPr>
          <p:cNvSpPr>
            <a:spLocks noGrp="1"/>
          </p:cNvSpPr>
          <p:nvPr>
            <p:custDataLst>
              <p:tags r:id="rId60"/>
            </p:custDataLst>
          </p:nvPr>
        </p:nvSpPr>
        <p:spPr bwMode="gray">
          <a:xfrm>
            <a:off x="5957888" y="3535363"/>
            <a:ext cx="241300" cy="182563"/>
          </a:xfrm>
          <a:prstGeom prst="rect">
            <a:avLst/>
          </a:prstGeom>
          <a:ln>
            <a:noFill/>
          </a:ln>
          <a:effec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r>
              <a:rPr lang="en-GB" altLang="en-US">
                <a:effectLst/>
              </a:rPr>
              <a:t>XX</a:t>
            </a:r>
            <a:endParaRPr lang="en-GB"/>
          </a:p>
        </p:txBody>
      </p:sp>
      <p:sp>
        <p:nvSpPr>
          <p:cNvPr id="316" name="Text Placeholder 19">
            <a:extLst>
              <a:ext uri="{FF2B5EF4-FFF2-40B4-BE49-F238E27FC236}">
                <a16:creationId xmlns:a16="http://schemas.microsoft.com/office/drawing/2014/main" id="{9F9869AF-B0F6-4E89-B216-4EC18C7334C2}"/>
              </a:ext>
            </a:extLst>
          </p:cNvPr>
          <p:cNvSpPr>
            <a:spLocks noGrp="1"/>
          </p:cNvSpPr>
          <p:nvPr>
            <p:custDataLst>
              <p:tags r:id="rId61"/>
            </p:custDataLst>
          </p:nvPr>
        </p:nvSpPr>
        <p:spPr bwMode="gray">
          <a:xfrm>
            <a:off x="5467350" y="3929064"/>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r>
              <a:rPr lang="en-GB" altLang="en-US">
                <a:effectLst/>
              </a:rPr>
              <a:t>XX</a:t>
            </a:r>
            <a:endParaRPr lang="en-GB"/>
          </a:p>
        </p:txBody>
      </p:sp>
      <p:sp>
        <p:nvSpPr>
          <p:cNvPr id="321" name="Text Placeholder 19">
            <a:extLst>
              <a:ext uri="{FF2B5EF4-FFF2-40B4-BE49-F238E27FC236}">
                <a16:creationId xmlns:a16="http://schemas.microsoft.com/office/drawing/2014/main" id="{9F9869AF-B0F6-4E89-B216-4EC18C7334C2}"/>
              </a:ext>
            </a:extLst>
          </p:cNvPr>
          <p:cNvSpPr>
            <a:spLocks noGrp="1"/>
          </p:cNvSpPr>
          <p:nvPr>
            <p:custDataLst>
              <p:tags r:id="rId62"/>
            </p:custDataLst>
          </p:nvPr>
        </p:nvSpPr>
        <p:spPr bwMode="gray">
          <a:xfrm>
            <a:off x="6007100" y="3835401"/>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r>
              <a:rPr lang="en-GB" altLang="en-US">
                <a:effectLst/>
              </a:rPr>
              <a:t>XX</a:t>
            </a:r>
            <a:endParaRPr lang="en-GB"/>
          </a:p>
        </p:txBody>
      </p:sp>
      <p:sp>
        <p:nvSpPr>
          <p:cNvPr id="326" name="Text Placeholder 19">
            <a:extLst>
              <a:ext uri="{FF2B5EF4-FFF2-40B4-BE49-F238E27FC236}">
                <a16:creationId xmlns:a16="http://schemas.microsoft.com/office/drawing/2014/main" id="{9F9869AF-B0F6-4E89-B216-4EC18C7334C2}"/>
              </a:ext>
            </a:extLst>
          </p:cNvPr>
          <p:cNvSpPr>
            <a:spLocks noGrp="1"/>
          </p:cNvSpPr>
          <p:nvPr>
            <p:custDataLst>
              <p:tags r:id="rId63"/>
            </p:custDataLst>
          </p:nvPr>
        </p:nvSpPr>
        <p:spPr bwMode="gray">
          <a:xfrm>
            <a:off x="5010150" y="4265614"/>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r>
              <a:rPr lang="en-GB" altLang="en-US">
                <a:effectLst/>
              </a:rPr>
              <a:t>XX</a:t>
            </a:r>
            <a:endParaRPr lang="en-GB"/>
          </a:p>
        </p:txBody>
      </p:sp>
      <p:sp>
        <p:nvSpPr>
          <p:cNvPr id="331" name="Text Placeholder 19">
            <a:extLst>
              <a:ext uri="{FF2B5EF4-FFF2-40B4-BE49-F238E27FC236}">
                <a16:creationId xmlns:a16="http://schemas.microsoft.com/office/drawing/2014/main" id="{9F9869AF-B0F6-4E89-B216-4EC18C7334C2}"/>
              </a:ext>
            </a:extLst>
          </p:cNvPr>
          <p:cNvSpPr>
            <a:spLocks noGrp="1"/>
          </p:cNvSpPr>
          <p:nvPr>
            <p:custDataLst>
              <p:tags r:id="rId64"/>
            </p:custDataLst>
          </p:nvPr>
        </p:nvSpPr>
        <p:spPr bwMode="gray">
          <a:xfrm>
            <a:off x="4751388" y="4497388"/>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r>
              <a:rPr lang="en-GB" altLang="en-US">
                <a:effectLst/>
              </a:rPr>
              <a:t>XX</a:t>
            </a:r>
            <a:endParaRPr lang="en-GB"/>
          </a:p>
        </p:txBody>
      </p:sp>
      <p:sp>
        <p:nvSpPr>
          <p:cNvPr id="336" name="Text Placeholder 19">
            <a:extLst>
              <a:ext uri="{FF2B5EF4-FFF2-40B4-BE49-F238E27FC236}">
                <a16:creationId xmlns:a16="http://schemas.microsoft.com/office/drawing/2014/main" id="{9F9869AF-B0F6-4E89-B216-4EC18C7334C2}"/>
              </a:ext>
            </a:extLst>
          </p:cNvPr>
          <p:cNvSpPr>
            <a:spLocks noGrp="1"/>
          </p:cNvSpPr>
          <p:nvPr>
            <p:custDataLst>
              <p:tags r:id="rId65"/>
            </p:custDataLst>
          </p:nvPr>
        </p:nvSpPr>
        <p:spPr bwMode="gray">
          <a:xfrm>
            <a:off x="5006975" y="4821239"/>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r>
              <a:rPr lang="en-GB" altLang="en-US">
                <a:effectLst/>
              </a:rPr>
              <a:t>XX</a:t>
            </a:r>
            <a:endParaRPr lang="en-GB"/>
          </a:p>
        </p:txBody>
      </p:sp>
      <p:sp>
        <p:nvSpPr>
          <p:cNvPr id="343" name="Text Placeholder 19">
            <a:extLst>
              <a:ext uri="{FF2B5EF4-FFF2-40B4-BE49-F238E27FC236}">
                <a16:creationId xmlns:a16="http://schemas.microsoft.com/office/drawing/2014/main" id="{9F9869AF-B0F6-4E89-B216-4EC18C7334C2}"/>
              </a:ext>
            </a:extLst>
          </p:cNvPr>
          <p:cNvSpPr>
            <a:spLocks noGrp="1"/>
          </p:cNvSpPr>
          <p:nvPr>
            <p:custDataLst>
              <p:tags r:id="rId66"/>
            </p:custDataLst>
          </p:nvPr>
        </p:nvSpPr>
        <p:spPr bwMode="gray">
          <a:xfrm>
            <a:off x="4749800" y="4359275"/>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r>
              <a:rPr lang="en-GB" altLang="en-US">
                <a:effectLst/>
              </a:rPr>
              <a:t>XX</a:t>
            </a:r>
            <a:endParaRPr lang="en-GB"/>
          </a:p>
        </p:txBody>
      </p:sp>
      <p:sp>
        <p:nvSpPr>
          <p:cNvPr id="348" name="Text Placeholder 19">
            <a:extLst>
              <a:ext uri="{FF2B5EF4-FFF2-40B4-BE49-F238E27FC236}">
                <a16:creationId xmlns:a16="http://schemas.microsoft.com/office/drawing/2014/main" id="{9F9869AF-B0F6-4E89-B216-4EC18C7334C2}"/>
              </a:ext>
            </a:extLst>
          </p:cNvPr>
          <p:cNvSpPr>
            <a:spLocks noGrp="1"/>
          </p:cNvSpPr>
          <p:nvPr>
            <p:custDataLst>
              <p:tags r:id="rId67"/>
            </p:custDataLst>
          </p:nvPr>
        </p:nvSpPr>
        <p:spPr bwMode="gray">
          <a:xfrm>
            <a:off x="5011738" y="4613276"/>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r>
              <a:rPr lang="en-GB" altLang="en-US">
                <a:effectLst/>
              </a:rPr>
              <a:t>XX</a:t>
            </a:r>
            <a:endParaRPr lang="en-GB"/>
          </a:p>
        </p:txBody>
      </p:sp>
      <p:sp>
        <p:nvSpPr>
          <p:cNvPr id="354" name="Text Placeholder 19">
            <a:extLst>
              <a:ext uri="{FF2B5EF4-FFF2-40B4-BE49-F238E27FC236}">
                <a16:creationId xmlns:a16="http://schemas.microsoft.com/office/drawing/2014/main" id="{9F9869AF-B0F6-4E89-B216-4EC18C7334C2}"/>
              </a:ext>
            </a:extLst>
          </p:cNvPr>
          <p:cNvSpPr>
            <a:spLocks noGrp="1"/>
          </p:cNvSpPr>
          <p:nvPr>
            <p:custDataLst>
              <p:tags r:id="rId68"/>
            </p:custDataLst>
          </p:nvPr>
        </p:nvSpPr>
        <p:spPr bwMode="gray">
          <a:xfrm>
            <a:off x="4746625" y="4727576"/>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r>
              <a:rPr lang="en-GB" altLang="en-US">
                <a:effectLst/>
              </a:rPr>
              <a:t>XX</a:t>
            </a:r>
            <a:endParaRPr lang="en-GB"/>
          </a:p>
        </p:txBody>
      </p:sp>
      <p:sp>
        <p:nvSpPr>
          <p:cNvPr id="360" name="Text Placeholder 19">
            <a:extLst>
              <a:ext uri="{FF2B5EF4-FFF2-40B4-BE49-F238E27FC236}">
                <a16:creationId xmlns:a16="http://schemas.microsoft.com/office/drawing/2014/main" id="{9F9869AF-B0F6-4E89-B216-4EC18C7334C2}"/>
              </a:ext>
            </a:extLst>
          </p:cNvPr>
          <p:cNvSpPr>
            <a:spLocks noGrp="1"/>
          </p:cNvSpPr>
          <p:nvPr>
            <p:custDataLst>
              <p:tags r:id="rId69"/>
            </p:custDataLst>
          </p:nvPr>
        </p:nvSpPr>
        <p:spPr bwMode="gray">
          <a:xfrm>
            <a:off x="5927725" y="5199064"/>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r>
              <a:rPr lang="en-GB" altLang="en-US">
                <a:effectLst/>
              </a:rPr>
              <a:t>XX</a:t>
            </a:r>
            <a:endParaRPr lang="en-GB"/>
          </a:p>
        </p:txBody>
      </p:sp>
      <p:sp>
        <p:nvSpPr>
          <p:cNvPr id="369" name="Text Placeholder 19">
            <a:extLst>
              <a:ext uri="{FF2B5EF4-FFF2-40B4-BE49-F238E27FC236}">
                <a16:creationId xmlns:a16="http://schemas.microsoft.com/office/drawing/2014/main" id="{9F9869AF-B0F6-4E89-B216-4EC18C7334C2}"/>
              </a:ext>
            </a:extLst>
          </p:cNvPr>
          <p:cNvSpPr>
            <a:spLocks noGrp="1"/>
          </p:cNvSpPr>
          <p:nvPr>
            <p:custDataLst>
              <p:tags r:id="rId70"/>
            </p:custDataLst>
          </p:nvPr>
        </p:nvSpPr>
        <p:spPr bwMode="gray">
          <a:xfrm>
            <a:off x="4140200" y="5387976"/>
            <a:ext cx="24130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r>
              <a:rPr lang="en-GB" altLang="en-US">
                <a:effectLst/>
              </a:rPr>
              <a:t>XX</a:t>
            </a:r>
            <a:endParaRPr lang="en-GB"/>
          </a:p>
        </p:txBody>
      </p:sp>
      <p:sp>
        <p:nvSpPr>
          <p:cNvPr id="378" name="Text Placeholder 19">
            <a:extLst>
              <a:ext uri="{FF2B5EF4-FFF2-40B4-BE49-F238E27FC236}">
                <a16:creationId xmlns:a16="http://schemas.microsoft.com/office/drawing/2014/main" id="{9F9869AF-B0F6-4E89-B216-4EC18C7334C2}"/>
              </a:ext>
            </a:extLst>
          </p:cNvPr>
          <p:cNvSpPr>
            <a:spLocks noGrp="1"/>
          </p:cNvSpPr>
          <p:nvPr>
            <p:custDataLst>
              <p:tags r:id="rId71"/>
            </p:custDataLst>
          </p:nvPr>
        </p:nvSpPr>
        <p:spPr bwMode="gray">
          <a:xfrm>
            <a:off x="4852988" y="5618164"/>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r>
              <a:rPr lang="en-GB" altLang="en-US">
                <a:effectLst/>
              </a:rPr>
              <a:t>XX</a:t>
            </a:r>
            <a:endParaRPr lang="en-GB"/>
          </a:p>
        </p:txBody>
      </p:sp>
      <p:sp>
        <p:nvSpPr>
          <p:cNvPr id="383" name="Text Placeholder 19">
            <a:extLst>
              <a:ext uri="{FF2B5EF4-FFF2-40B4-BE49-F238E27FC236}">
                <a16:creationId xmlns:a16="http://schemas.microsoft.com/office/drawing/2014/main" id="{9F9869AF-B0F6-4E89-B216-4EC18C7334C2}"/>
              </a:ext>
            </a:extLst>
          </p:cNvPr>
          <p:cNvSpPr>
            <a:spLocks noGrp="1"/>
          </p:cNvSpPr>
          <p:nvPr>
            <p:custDataLst>
              <p:tags r:id="rId72"/>
            </p:custDataLst>
          </p:nvPr>
        </p:nvSpPr>
        <p:spPr bwMode="gray">
          <a:xfrm>
            <a:off x="5905500" y="5668964"/>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r>
              <a:rPr lang="en-GB" altLang="en-US">
                <a:effectLst/>
              </a:rPr>
              <a:t>XX</a:t>
            </a:r>
            <a:endParaRPr lang="en-GB"/>
          </a:p>
        </p:txBody>
      </p:sp>
      <p:graphicFrame>
        <p:nvGraphicFramePr>
          <p:cNvPr id="658" name="Chart 657">
            <a:extLst>
              <a:ext uri="{FF2B5EF4-FFF2-40B4-BE49-F238E27FC236}">
                <a16:creationId xmlns:a16="http://schemas.microsoft.com/office/drawing/2014/main" id="{706A9DCE-BE09-6166-F4B3-6C6F812F6274}"/>
              </a:ext>
            </a:extLst>
          </p:cNvPr>
          <p:cNvGraphicFramePr/>
          <p:nvPr>
            <p:custDataLst>
              <p:tags r:id="rId73"/>
            </p:custDataLst>
            <p:extLst>
              <p:ext uri="{D42A27DB-BD31-4B8C-83A1-F6EECF244321}">
                <p14:modId xmlns:p14="http://schemas.microsoft.com/office/powerpoint/2010/main" val="832938912"/>
              </p:ext>
            </p:extLst>
          </p:nvPr>
        </p:nvGraphicFramePr>
        <p:xfrm>
          <a:off x="6799263" y="2322513"/>
          <a:ext cx="2346325" cy="3732212"/>
        </p:xfrm>
        <a:graphic>
          <a:graphicData uri="http://schemas.openxmlformats.org/drawingml/2006/chart">
            <c:chart xmlns:c="http://schemas.openxmlformats.org/drawingml/2006/chart" xmlns:r="http://schemas.openxmlformats.org/officeDocument/2006/relationships" r:id="rId107"/>
          </a:graphicData>
        </a:graphic>
      </p:graphicFrame>
      <p:cxnSp>
        <p:nvCxnSpPr>
          <p:cNvPr id="102" name="Straight Connector 101">
            <a:extLst>
              <a:ext uri="{FF2B5EF4-FFF2-40B4-BE49-F238E27FC236}">
                <a16:creationId xmlns:a16="http://schemas.microsoft.com/office/drawing/2014/main" id="{CA3AF861-A1DC-3B39-678D-2D31C8686445}"/>
              </a:ext>
            </a:extLst>
          </p:cNvPr>
          <p:cNvCxnSpPr/>
          <p:nvPr>
            <p:custDataLst>
              <p:tags r:id="rId74"/>
            </p:custDataLst>
          </p:nvPr>
        </p:nvCxnSpPr>
        <p:spPr bwMode="auto">
          <a:xfrm>
            <a:off x="7426325" y="2990850"/>
            <a:ext cx="379413"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5" name="Straight Connector 464">
            <a:extLst>
              <a:ext uri="{FF2B5EF4-FFF2-40B4-BE49-F238E27FC236}">
                <a16:creationId xmlns:a16="http://schemas.microsoft.com/office/drawing/2014/main" id="{DD3B83C4-B685-D87C-5952-8EC2A1C7A470}"/>
              </a:ext>
            </a:extLst>
          </p:cNvPr>
          <p:cNvCxnSpPr/>
          <p:nvPr>
            <p:custDataLst>
              <p:tags r:id="rId75"/>
            </p:custDataLst>
          </p:nvPr>
        </p:nvCxnSpPr>
        <p:spPr bwMode="auto">
          <a:xfrm>
            <a:off x="7556500" y="4492625"/>
            <a:ext cx="292100"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8" name="Straight Connector 637">
            <a:extLst>
              <a:ext uri="{FF2B5EF4-FFF2-40B4-BE49-F238E27FC236}">
                <a16:creationId xmlns:a16="http://schemas.microsoft.com/office/drawing/2014/main" id="{DCD1908C-D98F-EBFD-D8E5-2055FA8BB0C7}"/>
              </a:ext>
            </a:extLst>
          </p:cNvPr>
          <p:cNvCxnSpPr/>
          <p:nvPr>
            <p:custDataLst>
              <p:tags r:id="rId76"/>
            </p:custDataLst>
          </p:nvPr>
        </p:nvCxnSpPr>
        <p:spPr bwMode="auto">
          <a:xfrm>
            <a:off x="7559675" y="4681538"/>
            <a:ext cx="290513"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6" name="Text Placeholder 19">
            <a:extLst>
              <a:ext uri="{FF2B5EF4-FFF2-40B4-BE49-F238E27FC236}">
                <a16:creationId xmlns:a16="http://schemas.microsoft.com/office/drawing/2014/main" id="{9F9869AF-B0F6-4E89-B216-4EC18C7334C2}"/>
              </a:ext>
            </a:extLst>
          </p:cNvPr>
          <p:cNvSpPr>
            <a:spLocks noGrp="1"/>
          </p:cNvSpPr>
          <p:nvPr>
            <p:custDataLst>
              <p:tags r:id="rId77"/>
            </p:custDataLst>
          </p:nvPr>
        </p:nvSpPr>
        <p:spPr bwMode="gray">
          <a:xfrm>
            <a:off x="7283450" y="2481263"/>
            <a:ext cx="24130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200" b="0" i="0" u="none" strike="noStrike" kern="1200" cap="none" spc="0" normalizeH="0" baseline="0" noProof="0">
                <a:ln>
                  <a:noFill/>
                </a:ln>
                <a:solidFill>
                  <a:srgbClr val="3C3C3B"/>
                </a:solidFill>
                <a:effectLst/>
                <a:uLnTx/>
                <a:uFillTx/>
                <a:latin typeface="Lato"/>
                <a:sym typeface="Lato" panose="020F0502020204030203" pitchFamily="34" charset="0"/>
              </a:rPr>
              <a:t>XX</a:t>
            </a:r>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107" name="Text Placeholder 19">
            <a:extLst>
              <a:ext uri="{FF2B5EF4-FFF2-40B4-BE49-F238E27FC236}">
                <a16:creationId xmlns:a16="http://schemas.microsoft.com/office/drawing/2014/main" id="{9F9869AF-B0F6-4E89-B216-4EC18C7334C2}"/>
              </a:ext>
            </a:extLst>
          </p:cNvPr>
          <p:cNvSpPr>
            <a:spLocks noGrp="1"/>
          </p:cNvSpPr>
          <p:nvPr>
            <p:custDataLst>
              <p:tags r:id="rId78"/>
            </p:custDataLst>
          </p:nvPr>
        </p:nvSpPr>
        <p:spPr bwMode="gray">
          <a:xfrm>
            <a:off x="7283450" y="2617788"/>
            <a:ext cx="24130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200" b="0" i="0" u="none" strike="noStrike" kern="1200" cap="none" spc="0" normalizeH="0" baseline="0" noProof="0">
                <a:ln>
                  <a:noFill/>
                </a:ln>
                <a:solidFill>
                  <a:srgbClr val="3C3C3B"/>
                </a:solidFill>
                <a:effectLst/>
                <a:uLnTx/>
                <a:uFillTx/>
                <a:latin typeface="Lato"/>
                <a:sym typeface="Lato" panose="020F0502020204030203" pitchFamily="34" charset="0"/>
              </a:rPr>
              <a:t>XX</a:t>
            </a:r>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109" name="Text Placeholder 19">
            <a:extLst>
              <a:ext uri="{FF2B5EF4-FFF2-40B4-BE49-F238E27FC236}">
                <a16:creationId xmlns:a16="http://schemas.microsoft.com/office/drawing/2014/main" id="{9F9869AF-B0F6-4E89-B216-4EC18C7334C2}"/>
              </a:ext>
            </a:extLst>
          </p:cNvPr>
          <p:cNvSpPr>
            <a:spLocks noGrp="1"/>
          </p:cNvSpPr>
          <p:nvPr>
            <p:custDataLst>
              <p:tags r:id="rId79"/>
            </p:custDataLst>
          </p:nvPr>
        </p:nvSpPr>
        <p:spPr bwMode="gray">
          <a:xfrm>
            <a:off x="7185025" y="2943225"/>
            <a:ext cx="24130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200" b="0" i="0" u="none" strike="noStrike" kern="1200" cap="none" spc="0" normalizeH="0" baseline="0" noProof="0">
                <a:ln>
                  <a:noFill/>
                </a:ln>
                <a:solidFill>
                  <a:srgbClr val="3C3C3B"/>
                </a:solidFill>
                <a:effectLst/>
                <a:uLnTx/>
                <a:uFillTx/>
                <a:latin typeface="Lato"/>
                <a:sym typeface="Lato" panose="020F0502020204030203" pitchFamily="34" charset="0"/>
              </a:rPr>
              <a:t>XX</a:t>
            </a:r>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110" name="Text Placeholder 19">
            <a:extLst>
              <a:ext uri="{FF2B5EF4-FFF2-40B4-BE49-F238E27FC236}">
                <a16:creationId xmlns:a16="http://schemas.microsoft.com/office/drawing/2014/main" id="{9F9869AF-B0F6-4E89-B216-4EC18C7334C2}"/>
              </a:ext>
            </a:extLst>
          </p:cNvPr>
          <p:cNvSpPr>
            <a:spLocks noGrp="1"/>
          </p:cNvSpPr>
          <p:nvPr>
            <p:custDataLst>
              <p:tags r:id="rId80"/>
            </p:custDataLst>
          </p:nvPr>
        </p:nvSpPr>
        <p:spPr bwMode="gray">
          <a:xfrm>
            <a:off x="7445375" y="3036888"/>
            <a:ext cx="24130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200" b="0" i="0" u="none" strike="noStrike" kern="1200" cap="none" spc="0" normalizeH="0" baseline="0" noProof="0">
                <a:ln>
                  <a:noFill/>
                </a:ln>
                <a:solidFill>
                  <a:srgbClr val="3C3C3B"/>
                </a:solidFill>
                <a:effectLst/>
                <a:uLnTx/>
                <a:uFillTx/>
                <a:latin typeface="Lato"/>
                <a:sym typeface="Lato" panose="020F0502020204030203" pitchFamily="34" charset="0"/>
              </a:rPr>
              <a:t>XX</a:t>
            </a:r>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useBgFill="1">
        <p:nvSpPr>
          <p:cNvPr id="208" name="Text Placeholder 19">
            <a:extLst>
              <a:ext uri="{FF2B5EF4-FFF2-40B4-BE49-F238E27FC236}">
                <a16:creationId xmlns:a16="http://schemas.microsoft.com/office/drawing/2014/main" id="{A95FCD81-3791-25AF-A3DF-08869EA2193E}"/>
              </a:ext>
            </a:extLst>
          </p:cNvPr>
          <p:cNvSpPr>
            <a:spLocks noGrp="1"/>
          </p:cNvSpPr>
          <p:nvPr>
            <p:custDataLst>
              <p:tags r:id="rId81"/>
            </p:custDataLst>
          </p:nvPr>
        </p:nvSpPr>
        <p:spPr bwMode="gray">
          <a:xfrm>
            <a:off x="8159750" y="3544888"/>
            <a:ext cx="241300" cy="182563"/>
          </a:xfrm>
          <a:prstGeom prst="rect">
            <a:avLst/>
          </a:prstGeom>
          <a:ln>
            <a:noFill/>
          </a:ln>
          <a:effec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200" b="0" i="0" u="none" strike="noStrike" kern="1200" cap="none" spc="0" normalizeH="0" baseline="0" noProof="0">
                <a:ln>
                  <a:noFill/>
                </a:ln>
                <a:solidFill>
                  <a:srgbClr val="3C3C3B"/>
                </a:solidFill>
                <a:effectLst/>
                <a:uLnTx/>
                <a:uFillTx/>
                <a:latin typeface="Lato"/>
                <a:sym typeface="Lato" panose="020F0502020204030203" pitchFamily="34" charset="0"/>
              </a:rPr>
              <a:t>XX</a:t>
            </a:r>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111" name="Text Placeholder 19">
            <a:extLst>
              <a:ext uri="{FF2B5EF4-FFF2-40B4-BE49-F238E27FC236}">
                <a16:creationId xmlns:a16="http://schemas.microsoft.com/office/drawing/2014/main" id="{9F9869AF-B0F6-4E89-B216-4EC18C7334C2}"/>
              </a:ext>
            </a:extLst>
          </p:cNvPr>
          <p:cNvSpPr>
            <a:spLocks noGrp="1"/>
          </p:cNvSpPr>
          <p:nvPr>
            <p:custDataLst>
              <p:tags r:id="rId82"/>
            </p:custDataLst>
          </p:nvPr>
        </p:nvSpPr>
        <p:spPr bwMode="gray">
          <a:xfrm>
            <a:off x="8288338" y="3703638"/>
            <a:ext cx="24130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200" b="0" i="0" u="none" strike="noStrike" kern="1200" cap="none" spc="0" normalizeH="0" baseline="0" noProof="0">
                <a:ln>
                  <a:noFill/>
                </a:ln>
                <a:solidFill>
                  <a:srgbClr val="3C3C3B"/>
                </a:solidFill>
                <a:effectLst/>
                <a:uLnTx/>
                <a:uFillTx/>
                <a:latin typeface="Lato"/>
                <a:sym typeface="Lato" panose="020F0502020204030203" pitchFamily="34" charset="0"/>
              </a:rPr>
              <a:t>XX</a:t>
            </a:r>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112" name="Text Placeholder 19">
            <a:extLst>
              <a:ext uri="{FF2B5EF4-FFF2-40B4-BE49-F238E27FC236}">
                <a16:creationId xmlns:a16="http://schemas.microsoft.com/office/drawing/2014/main" id="{9F9869AF-B0F6-4E89-B216-4EC18C7334C2}"/>
              </a:ext>
            </a:extLst>
          </p:cNvPr>
          <p:cNvSpPr>
            <a:spLocks noGrp="1"/>
          </p:cNvSpPr>
          <p:nvPr>
            <p:custDataLst>
              <p:tags r:id="rId83"/>
            </p:custDataLst>
          </p:nvPr>
        </p:nvSpPr>
        <p:spPr bwMode="gray">
          <a:xfrm>
            <a:off x="7515225" y="3886201"/>
            <a:ext cx="24130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200" b="0" i="0" u="none" strike="noStrike" kern="1200" cap="none" spc="0" normalizeH="0" baseline="0" noProof="0">
                <a:ln>
                  <a:noFill/>
                </a:ln>
                <a:solidFill>
                  <a:srgbClr val="3C3C3B"/>
                </a:solidFill>
                <a:effectLst/>
                <a:uLnTx/>
                <a:uFillTx/>
                <a:latin typeface="Lato"/>
                <a:sym typeface="Lato" panose="020F0502020204030203" pitchFamily="34" charset="0"/>
              </a:rPr>
              <a:t>XX</a:t>
            </a:r>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229" name="Text Placeholder 19">
            <a:extLst>
              <a:ext uri="{FF2B5EF4-FFF2-40B4-BE49-F238E27FC236}">
                <a16:creationId xmlns:a16="http://schemas.microsoft.com/office/drawing/2014/main" id="{9F9869AF-B0F6-4E89-B216-4EC18C7334C2}"/>
              </a:ext>
            </a:extLst>
          </p:cNvPr>
          <p:cNvSpPr>
            <a:spLocks noGrp="1"/>
          </p:cNvSpPr>
          <p:nvPr>
            <p:custDataLst>
              <p:tags r:id="rId84"/>
            </p:custDataLst>
          </p:nvPr>
        </p:nvSpPr>
        <p:spPr bwMode="gray">
          <a:xfrm>
            <a:off x="7318375" y="4548188"/>
            <a:ext cx="24130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200" b="0" i="0" u="none" strike="noStrike" kern="1200" cap="none" spc="0" normalizeH="0" baseline="0" noProof="0">
                <a:ln>
                  <a:noFill/>
                </a:ln>
                <a:solidFill>
                  <a:srgbClr val="3C3C3B"/>
                </a:solidFill>
                <a:effectLst/>
                <a:uLnTx/>
                <a:uFillTx/>
                <a:latin typeface="Lato"/>
                <a:sym typeface="Lato" panose="020F0502020204030203" pitchFamily="34" charset="0"/>
              </a:rPr>
              <a:t>XX</a:t>
            </a:r>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101" name="Text Placeholder 19">
            <a:extLst>
              <a:ext uri="{FF2B5EF4-FFF2-40B4-BE49-F238E27FC236}">
                <a16:creationId xmlns:a16="http://schemas.microsoft.com/office/drawing/2014/main" id="{9F9869AF-B0F6-4E89-B216-4EC18C7334C2}"/>
              </a:ext>
            </a:extLst>
          </p:cNvPr>
          <p:cNvSpPr>
            <a:spLocks noGrp="1"/>
          </p:cNvSpPr>
          <p:nvPr>
            <p:custDataLst>
              <p:tags r:id="rId85"/>
            </p:custDataLst>
          </p:nvPr>
        </p:nvSpPr>
        <p:spPr bwMode="gray">
          <a:xfrm>
            <a:off x="6757988" y="5387975"/>
            <a:ext cx="24130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200" b="0" i="0" u="none" strike="noStrike" kern="1200" cap="none" spc="0" normalizeH="0" baseline="0" noProof="0">
                <a:ln>
                  <a:noFill/>
                </a:ln>
                <a:solidFill>
                  <a:srgbClr val="3C3C3B"/>
                </a:solidFill>
                <a:effectLst/>
                <a:uLnTx/>
                <a:uFillTx/>
                <a:latin typeface="Lato"/>
                <a:sym typeface="Lato" panose="020F0502020204030203" pitchFamily="34" charset="0"/>
              </a:rPr>
              <a:t>XX</a:t>
            </a:r>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useBgFill="1">
        <p:nvSpPr>
          <p:cNvPr id="209" name="Text Placeholder 19">
            <a:extLst>
              <a:ext uri="{FF2B5EF4-FFF2-40B4-BE49-F238E27FC236}">
                <a16:creationId xmlns:a16="http://schemas.microsoft.com/office/drawing/2014/main" id="{B30D0ABE-42BD-C143-87E3-3C9A18E69433}"/>
              </a:ext>
            </a:extLst>
          </p:cNvPr>
          <p:cNvSpPr>
            <a:spLocks noGrp="1"/>
          </p:cNvSpPr>
          <p:nvPr>
            <p:custDataLst>
              <p:tags r:id="rId86"/>
            </p:custDataLst>
          </p:nvPr>
        </p:nvSpPr>
        <p:spPr bwMode="gray">
          <a:xfrm>
            <a:off x="7419975" y="5411788"/>
            <a:ext cx="241300" cy="182563"/>
          </a:xfrm>
          <a:prstGeom prst="rect">
            <a:avLst/>
          </a:prstGeom>
          <a:ln>
            <a:noFill/>
          </a:ln>
          <a:effec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200" b="0" i="0" u="none" strike="noStrike" kern="1200" cap="none" spc="0" normalizeH="0" baseline="0" noProof="0">
                <a:ln>
                  <a:noFill/>
                </a:ln>
                <a:solidFill>
                  <a:srgbClr val="3C3C3B"/>
                </a:solidFill>
                <a:effectLst/>
                <a:uLnTx/>
                <a:uFillTx/>
                <a:latin typeface="Lato"/>
                <a:sym typeface="Lato" panose="020F0502020204030203" pitchFamily="34" charset="0"/>
              </a:rPr>
              <a:t>XX</a:t>
            </a:r>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114" name="Text Placeholder 19">
            <a:extLst>
              <a:ext uri="{FF2B5EF4-FFF2-40B4-BE49-F238E27FC236}">
                <a16:creationId xmlns:a16="http://schemas.microsoft.com/office/drawing/2014/main" id="{9F9869AF-B0F6-4E89-B216-4EC18C7334C2}"/>
              </a:ext>
            </a:extLst>
          </p:cNvPr>
          <p:cNvSpPr>
            <a:spLocks noGrp="1"/>
          </p:cNvSpPr>
          <p:nvPr>
            <p:custDataLst>
              <p:tags r:id="rId87"/>
            </p:custDataLst>
          </p:nvPr>
        </p:nvSpPr>
        <p:spPr bwMode="gray">
          <a:xfrm>
            <a:off x="8724900" y="5668964"/>
            <a:ext cx="24130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ct val="0"/>
              </a:spcBef>
              <a:spcAft>
                <a:spcPct val="0"/>
              </a:spcAft>
              <a:buClrTx/>
              <a:buSzTx/>
              <a:buFont typeface="Wingdings" panose="05000000000000000000" pitchFamily="2" charset="2"/>
              <a:buNone/>
              <a:tabLst/>
              <a:defRPr/>
            </a:pPr>
            <a:r>
              <a:rPr lang="en-GB">
                <a:solidFill>
                  <a:srgbClr val="3C3C3B"/>
                </a:solidFill>
                <a:latin typeface="Lato"/>
              </a:rPr>
              <a:t>XX</a:t>
            </a:r>
            <a:endParaRPr kumimoji="0" lang="en-GB" sz="1200" b="0" i="0" u="none" strike="noStrike" kern="1200" cap="none" spc="0" normalizeH="0" baseline="0" noProof="0">
              <a:ln>
                <a:noFill/>
              </a:ln>
              <a:solidFill>
                <a:srgbClr val="3C3C3B"/>
              </a:solidFill>
              <a:effectLst/>
              <a:uLnTx/>
              <a:uFillTx/>
              <a:latin typeface="Lato"/>
              <a:sym typeface="Lato" panose="020F0502020204030203" pitchFamily="34" charset="0"/>
            </a:endParaRPr>
          </a:p>
        </p:txBody>
      </p:sp>
      <p:sp>
        <p:nvSpPr>
          <p:cNvPr id="400" name="Text Placeholder 19">
            <a:extLst>
              <a:ext uri="{FF2B5EF4-FFF2-40B4-BE49-F238E27FC236}">
                <a16:creationId xmlns:a16="http://schemas.microsoft.com/office/drawing/2014/main" id="{9F9869AF-B0F6-4E89-B216-4EC18C7334C2}"/>
              </a:ext>
            </a:extLst>
          </p:cNvPr>
          <p:cNvSpPr>
            <a:spLocks noGrp="1"/>
          </p:cNvSpPr>
          <p:nvPr>
            <p:custDataLst>
              <p:tags r:id="rId88"/>
            </p:custDataLst>
          </p:nvPr>
        </p:nvSpPr>
        <p:spPr bwMode="gray">
          <a:xfrm>
            <a:off x="7234238" y="2754313"/>
            <a:ext cx="24130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r>
              <a:rPr lang="en-GB" altLang="en-US">
                <a:effectLst/>
              </a:rPr>
              <a:t>XX</a:t>
            </a:r>
            <a:endParaRPr lang="en-GB"/>
          </a:p>
        </p:txBody>
      </p:sp>
      <p:sp>
        <p:nvSpPr>
          <p:cNvPr id="405" name="Text Placeholder 19">
            <a:extLst>
              <a:ext uri="{FF2B5EF4-FFF2-40B4-BE49-F238E27FC236}">
                <a16:creationId xmlns:a16="http://schemas.microsoft.com/office/drawing/2014/main" id="{9F9869AF-B0F6-4E89-B216-4EC18C7334C2}"/>
              </a:ext>
            </a:extLst>
          </p:cNvPr>
          <p:cNvSpPr>
            <a:spLocks noGrp="1"/>
          </p:cNvSpPr>
          <p:nvPr>
            <p:custDataLst>
              <p:tags r:id="rId89"/>
            </p:custDataLst>
          </p:nvPr>
        </p:nvSpPr>
        <p:spPr bwMode="gray">
          <a:xfrm>
            <a:off x="7494588" y="2828925"/>
            <a:ext cx="24130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r>
              <a:rPr lang="en-GB" altLang="en-US">
                <a:effectLst/>
              </a:rPr>
              <a:t>XX</a:t>
            </a:r>
            <a:endParaRPr lang="en-GB"/>
          </a:p>
        </p:txBody>
      </p:sp>
      <p:sp>
        <p:nvSpPr>
          <p:cNvPr id="418" name="Text Placeholder 19">
            <a:extLst>
              <a:ext uri="{FF2B5EF4-FFF2-40B4-BE49-F238E27FC236}">
                <a16:creationId xmlns:a16="http://schemas.microsoft.com/office/drawing/2014/main" id="{9F9869AF-B0F6-4E89-B216-4EC18C7334C2}"/>
              </a:ext>
            </a:extLst>
          </p:cNvPr>
          <p:cNvSpPr>
            <a:spLocks noGrp="1"/>
          </p:cNvSpPr>
          <p:nvPr>
            <p:custDataLst>
              <p:tags r:id="rId90"/>
            </p:custDataLst>
          </p:nvPr>
        </p:nvSpPr>
        <p:spPr bwMode="gray">
          <a:xfrm>
            <a:off x="8132763" y="3373438"/>
            <a:ext cx="24130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r>
              <a:rPr lang="en-GB" altLang="en-US">
                <a:effectLst/>
              </a:rPr>
              <a:t>XX</a:t>
            </a:r>
            <a:endParaRPr lang="en-GB"/>
          </a:p>
        </p:txBody>
      </p:sp>
      <p:sp>
        <p:nvSpPr>
          <p:cNvPr id="423" name="Text Placeholder 19">
            <a:extLst>
              <a:ext uri="{FF2B5EF4-FFF2-40B4-BE49-F238E27FC236}">
                <a16:creationId xmlns:a16="http://schemas.microsoft.com/office/drawing/2014/main" id="{9F9869AF-B0F6-4E89-B216-4EC18C7334C2}"/>
              </a:ext>
            </a:extLst>
          </p:cNvPr>
          <p:cNvSpPr>
            <a:spLocks noGrp="1"/>
          </p:cNvSpPr>
          <p:nvPr>
            <p:custDataLst>
              <p:tags r:id="rId91"/>
            </p:custDataLst>
          </p:nvPr>
        </p:nvSpPr>
        <p:spPr bwMode="gray">
          <a:xfrm>
            <a:off x="8866188" y="3509964"/>
            <a:ext cx="24130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r>
              <a:rPr lang="en-GB" altLang="en-US">
                <a:effectLst/>
              </a:rPr>
              <a:t>XX</a:t>
            </a:r>
            <a:endParaRPr lang="en-GB"/>
          </a:p>
        </p:txBody>
      </p:sp>
      <p:sp>
        <p:nvSpPr>
          <p:cNvPr id="448" name="Text Placeholder 19">
            <a:extLst>
              <a:ext uri="{FF2B5EF4-FFF2-40B4-BE49-F238E27FC236}">
                <a16:creationId xmlns:a16="http://schemas.microsoft.com/office/drawing/2014/main" id="{9F9869AF-B0F6-4E89-B216-4EC18C7334C2}"/>
              </a:ext>
            </a:extLst>
          </p:cNvPr>
          <p:cNvSpPr>
            <a:spLocks noGrp="1"/>
          </p:cNvSpPr>
          <p:nvPr>
            <p:custDataLst>
              <p:tags r:id="rId92"/>
            </p:custDataLst>
          </p:nvPr>
        </p:nvSpPr>
        <p:spPr bwMode="gray">
          <a:xfrm>
            <a:off x="8153400" y="3835400"/>
            <a:ext cx="24130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r>
              <a:rPr lang="en-GB" altLang="en-US">
                <a:effectLst/>
              </a:rPr>
              <a:t>XX</a:t>
            </a:r>
            <a:endParaRPr lang="en-GB"/>
          </a:p>
        </p:txBody>
      </p:sp>
      <p:sp>
        <p:nvSpPr>
          <p:cNvPr id="453" name="Text Placeholder 19">
            <a:extLst>
              <a:ext uri="{FF2B5EF4-FFF2-40B4-BE49-F238E27FC236}">
                <a16:creationId xmlns:a16="http://schemas.microsoft.com/office/drawing/2014/main" id="{9F9869AF-B0F6-4E89-B216-4EC18C7334C2}"/>
              </a:ext>
            </a:extLst>
          </p:cNvPr>
          <p:cNvSpPr>
            <a:spLocks noGrp="1"/>
          </p:cNvSpPr>
          <p:nvPr>
            <p:custDataLst>
              <p:tags r:id="rId93"/>
            </p:custDataLst>
          </p:nvPr>
        </p:nvSpPr>
        <p:spPr bwMode="gray">
          <a:xfrm>
            <a:off x="7575550" y="4265613"/>
            <a:ext cx="24130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r>
              <a:rPr lang="en-GB" altLang="en-US">
                <a:effectLst/>
              </a:rPr>
              <a:t>XX</a:t>
            </a:r>
            <a:endParaRPr lang="en-GB"/>
          </a:p>
        </p:txBody>
      </p:sp>
      <p:sp>
        <p:nvSpPr>
          <p:cNvPr id="456" name="Text Placeholder 19">
            <a:extLst>
              <a:ext uri="{FF2B5EF4-FFF2-40B4-BE49-F238E27FC236}">
                <a16:creationId xmlns:a16="http://schemas.microsoft.com/office/drawing/2014/main" id="{9F9869AF-B0F6-4E89-B216-4EC18C7334C2}"/>
              </a:ext>
            </a:extLst>
          </p:cNvPr>
          <p:cNvSpPr>
            <a:spLocks noGrp="1"/>
          </p:cNvSpPr>
          <p:nvPr>
            <p:custDataLst>
              <p:tags r:id="rId94"/>
            </p:custDataLst>
          </p:nvPr>
        </p:nvSpPr>
        <p:spPr bwMode="gray">
          <a:xfrm>
            <a:off x="7578725" y="4473575"/>
            <a:ext cx="24130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r>
              <a:rPr lang="en-GB" altLang="en-US">
                <a:effectLst/>
              </a:rPr>
              <a:t>XX</a:t>
            </a:r>
            <a:endParaRPr lang="en-GB"/>
          </a:p>
        </p:txBody>
      </p:sp>
      <p:sp>
        <p:nvSpPr>
          <p:cNvPr id="457" name="Text Placeholder 19">
            <a:extLst>
              <a:ext uri="{FF2B5EF4-FFF2-40B4-BE49-F238E27FC236}">
                <a16:creationId xmlns:a16="http://schemas.microsoft.com/office/drawing/2014/main" id="{9F9869AF-B0F6-4E89-B216-4EC18C7334C2}"/>
              </a:ext>
            </a:extLst>
          </p:cNvPr>
          <p:cNvSpPr>
            <a:spLocks noGrp="1"/>
          </p:cNvSpPr>
          <p:nvPr>
            <p:custDataLst>
              <p:tags r:id="rId95"/>
            </p:custDataLst>
          </p:nvPr>
        </p:nvSpPr>
        <p:spPr bwMode="gray">
          <a:xfrm>
            <a:off x="7572375" y="4684713"/>
            <a:ext cx="24130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r>
              <a:rPr lang="en-GB" altLang="en-US">
                <a:effectLst/>
              </a:rPr>
              <a:t>XX</a:t>
            </a:r>
            <a:endParaRPr lang="en-GB"/>
          </a:p>
        </p:txBody>
      </p:sp>
      <p:sp>
        <p:nvSpPr>
          <p:cNvPr id="462" name="Text Placeholder 19">
            <a:extLst>
              <a:ext uri="{FF2B5EF4-FFF2-40B4-BE49-F238E27FC236}">
                <a16:creationId xmlns:a16="http://schemas.microsoft.com/office/drawing/2014/main" id="{9F9869AF-B0F6-4E89-B216-4EC18C7334C2}"/>
              </a:ext>
            </a:extLst>
          </p:cNvPr>
          <p:cNvSpPr>
            <a:spLocks noGrp="1"/>
          </p:cNvSpPr>
          <p:nvPr>
            <p:custDataLst>
              <p:tags r:id="rId96"/>
            </p:custDataLst>
          </p:nvPr>
        </p:nvSpPr>
        <p:spPr bwMode="gray">
          <a:xfrm>
            <a:off x="7315200" y="4359275"/>
            <a:ext cx="24130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r>
              <a:rPr lang="en-GB" altLang="en-US">
                <a:solidFill>
                  <a:srgbClr val="3C3C3B"/>
                </a:solidFill>
                <a:effectLst/>
              </a:rPr>
              <a:t>XX</a:t>
            </a:r>
            <a:endParaRPr lang="en-GB">
              <a:solidFill>
                <a:srgbClr val="3C3C3B"/>
              </a:solidFill>
            </a:endParaRPr>
          </a:p>
        </p:txBody>
      </p:sp>
      <p:sp>
        <p:nvSpPr>
          <p:cNvPr id="488" name="Text Placeholder 19">
            <a:extLst>
              <a:ext uri="{FF2B5EF4-FFF2-40B4-BE49-F238E27FC236}">
                <a16:creationId xmlns:a16="http://schemas.microsoft.com/office/drawing/2014/main" id="{9F9869AF-B0F6-4E89-B216-4EC18C7334C2}"/>
              </a:ext>
            </a:extLst>
          </p:cNvPr>
          <p:cNvSpPr>
            <a:spLocks noGrp="1"/>
          </p:cNvSpPr>
          <p:nvPr>
            <p:custDataLst>
              <p:tags r:id="rId97"/>
            </p:custDataLst>
          </p:nvPr>
        </p:nvSpPr>
        <p:spPr bwMode="gray">
          <a:xfrm>
            <a:off x="7572375" y="4821238"/>
            <a:ext cx="24130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r>
              <a:rPr lang="en-GB" altLang="en-US">
                <a:effectLst/>
              </a:rPr>
              <a:t>XX</a:t>
            </a:r>
            <a:endParaRPr lang="en-GB"/>
          </a:p>
        </p:txBody>
      </p:sp>
      <p:sp>
        <p:nvSpPr>
          <p:cNvPr id="495" name="Text Placeholder 19">
            <a:extLst>
              <a:ext uri="{FF2B5EF4-FFF2-40B4-BE49-F238E27FC236}">
                <a16:creationId xmlns:a16="http://schemas.microsoft.com/office/drawing/2014/main" id="{9F9869AF-B0F6-4E89-B216-4EC18C7334C2}"/>
              </a:ext>
            </a:extLst>
          </p:cNvPr>
          <p:cNvSpPr>
            <a:spLocks noGrp="1"/>
          </p:cNvSpPr>
          <p:nvPr>
            <p:custDataLst>
              <p:tags r:id="rId98"/>
            </p:custDataLst>
          </p:nvPr>
        </p:nvSpPr>
        <p:spPr bwMode="gray">
          <a:xfrm>
            <a:off x="8350250" y="5199064"/>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spcBef>
                <a:spcPct val="0"/>
              </a:spcBef>
              <a:spcAft>
                <a:spcPct val="0"/>
              </a:spcAft>
            </a:pPr>
            <a:r>
              <a:rPr lang="en-GB"/>
              <a:t>XX</a:t>
            </a:r>
          </a:p>
        </p:txBody>
      </p:sp>
      <p:sp>
        <p:nvSpPr>
          <p:cNvPr id="504" name="Text Placeholder 19">
            <a:extLst>
              <a:ext uri="{FF2B5EF4-FFF2-40B4-BE49-F238E27FC236}">
                <a16:creationId xmlns:a16="http://schemas.microsoft.com/office/drawing/2014/main" id="{9F9869AF-B0F6-4E89-B216-4EC18C7334C2}"/>
              </a:ext>
            </a:extLst>
          </p:cNvPr>
          <p:cNvSpPr>
            <a:spLocks noGrp="1"/>
          </p:cNvSpPr>
          <p:nvPr>
            <p:custDataLst>
              <p:tags r:id="rId99"/>
            </p:custDataLst>
          </p:nvPr>
        </p:nvSpPr>
        <p:spPr bwMode="gray">
          <a:xfrm>
            <a:off x="6873875" y="5249863"/>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r>
              <a:rPr lang="en-GB" altLang="en-US">
                <a:effectLst/>
              </a:rPr>
              <a:t>XX</a:t>
            </a:r>
            <a:endParaRPr lang="en-GB"/>
          </a:p>
        </p:txBody>
      </p:sp>
      <p:sp>
        <p:nvSpPr>
          <p:cNvPr id="517" name="Text Placeholder 19">
            <a:extLst>
              <a:ext uri="{FF2B5EF4-FFF2-40B4-BE49-F238E27FC236}">
                <a16:creationId xmlns:a16="http://schemas.microsoft.com/office/drawing/2014/main" id="{9F9869AF-B0F6-4E89-B216-4EC18C7334C2}"/>
              </a:ext>
            </a:extLst>
          </p:cNvPr>
          <p:cNvSpPr>
            <a:spLocks noGrp="1"/>
          </p:cNvSpPr>
          <p:nvPr>
            <p:custDataLst>
              <p:tags r:id="rId100"/>
            </p:custDataLst>
          </p:nvPr>
        </p:nvSpPr>
        <p:spPr bwMode="gray">
          <a:xfrm>
            <a:off x="7307263" y="5575300"/>
            <a:ext cx="24130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r">
              <a:spcBef>
                <a:spcPct val="0"/>
              </a:spcBef>
              <a:spcAft>
                <a:spcPct val="0"/>
              </a:spcAft>
            </a:pPr>
            <a:r>
              <a:rPr lang="en-GB" altLang="en-US">
                <a:effectLst/>
              </a:rPr>
              <a:t>XX</a:t>
            </a:r>
            <a:endParaRPr lang="en-GB"/>
          </a:p>
        </p:txBody>
      </p:sp>
      <p:sp>
        <p:nvSpPr>
          <p:cNvPr id="2" name="Text Placeholder 2">
            <a:extLst>
              <a:ext uri="{FF2B5EF4-FFF2-40B4-BE49-F238E27FC236}">
                <a16:creationId xmlns:a16="http://schemas.microsoft.com/office/drawing/2014/main" id="{DD61AC4A-D8D6-EB80-E57E-4D3DB0A4B662}"/>
              </a:ext>
            </a:extLst>
          </p:cNvPr>
          <p:cNvSpPr txBox="1">
            <a:spLocks/>
          </p:cNvSpPr>
          <p:nvPr/>
        </p:nvSpPr>
        <p:spPr>
          <a:xfrm>
            <a:off x="388693" y="82904"/>
            <a:ext cx="1542410" cy="184666"/>
          </a:xfrm>
          <a:prstGeom prst="rect">
            <a:avLst/>
          </a:prstGeom>
        </p:spPr>
        <p:txBody>
          <a:bodyPr vert="horz" wrap="none" lIns="0" tIns="0" rIns="0" bIns="0"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3838" marR="0" lvl="0" indent="-223838" algn="l" defTabSz="685783" rtl="0" eaLnBrk="1" fontAlgn="auto" latinLnBrk="0" hangingPunct="1">
              <a:lnSpc>
                <a:spcPct val="100000"/>
              </a:lnSpc>
              <a:spcBef>
                <a:spcPts val="0"/>
              </a:spcBef>
              <a:spcAft>
                <a:spcPts val="0"/>
              </a:spcAft>
              <a:buClrTx/>
              <a:buSzTx/>
              <a:buFont typeface="Wingdings" panose="05000000000000000000" pitchFamily="2" charset="2"/>
              <a:buNone/>
              <a:tabLst>
                <a:tab pos="452438" algn="l"/>
              </a:tabLst>
              <a:defRPr/>
            </a:pPr>
            <a:r>
              <a:rPr kumimoji="0" lang="en-AU" sz="1200" b="0" i="0" u="none" strike="noStrike" kern="1200" cap="none" spc="0" normalizeH="0" baseline="0" noProof="0">
                <a:ln>
                  <a:noFill/>
                </a:ln>
                <a:solidFill>
                  <a:srgbClr val="838383"/>
                </a:solidFill>
                <a:effectLst/>
                <a:uLnTx/>
                <a:uFillTx/>
                <a:latin typeface="Lato" panose="020F0502020204030203" pitchFamily="34" charset="0"/>
                <a:ea typeface="+mn-ea"/>
                <a:cs typeface="+mn-cs"/>
                <a:sym typeface="Lato" panose="020F0502020204030203" pitchFamily="34" charset="0"/>
              </a:rPr>
              <a:t>	Executive summary</a:t>
            </a:r>
            <a:endParaRPr kumimoji="0" lang="en-GB" sz="1200" b="0" i="0" u="none" strike="noStrike" kern="1200" cap="none" spc="0" normalizeH="0" baseline="0" noProof="0">
              <a:ln>
                <a:noFill/>
              </a:ln>
              <a:solidFill>
                <a:srgbClr val="838383"/>
              </a:solidFill>
              <a:effectLst/>
              <a:uLnTx/>
              <a:uFillTx/>
              <a:latin typeface="Lato" panose="020F0502020204030203" pitchFamily="34" charset="0"/>
              <a:ea typeface="+mn-ea"/>
              <a:cs typeface="+mn-cs"/>
              <a:sym typeface="Lato" panose="020F0502020204030203" pitchFamily="34" charset="0"/>
            </a:endParaRPr>
          </a:p>
        </p:txBody>
      </p:sp>
      <p:sp>
        <p:nvSpPr>
          <p:cNvPr id="4" name="Oval 3">
            <a:extLst>
              <a:ext uri="{FF2B5EF4-FFF2-40B4-BE49-F238E27FC236}">
                <a16:creationId xmlns:a16="http://schemas.microsoft.com/office/drawing/2014/main" id="{CEC8A4FC-9495-E60B-0F29-D4A923C31208}"/>
              </a:ext>
            </a:extLst>
          </p:cNvPr>
          <p:cNvSpPr/>
          <p:nvPr/>
        </p:nvSpPr>
        <p:spPr>
          <a:xfrm>
            <a:off x="388094" y="84467"/>
            <a:ext cx="180494" cy="181541"/>
          </a:xfrm>
          <a:prstGeom prst="ellipse">
            <a:avLst/>
          </a:prstGeom>
          <a:noFill/>
          <a:ln w="6350">
            <a:solidFill>
              <a:schemeClr val="accent5"/>
            </a:solidFill>
          </a:ln>
        </p:spPr>
        <p:style>
          <a:lnRef idx="2">
            <a:schemeClr val="accent1"/>
          </a:lnRef>
          <a:fillRef idx="1">
            <a:schemeClr val="lt1"/>
          </a:fillRef>
          <a:effectRef idx="0">
            <a:schemeClr val="accent1"/>
          </a:effectRef>
          <a:fontRef idx="minor">
            <a:schemeClr val="dk1"/>
          </a:fontRef>
        </p:style>
        <p:txBody>
          <a:bodyPr wrap="none" tIns="90000" bIns="9000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GB" sz="1000" b="1" i="0" u="none" strike="noStrike" kern="1200" cap="none" spc="0" normalizeH="0" baseline="0" noProof="0">
                <a:ln>
                  <a:noFill/>
                </a:ln>
                <a:solidFill>
                  <a:srgbClr val="838383"/>
                </a:solidFill>
                <a:effectLst/>
                <a:uLnTx/>
                <a:uFillTx/>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a:t>
            </a:r>
          </a:p>
        </p:txBody>
      </p:sp>
      <p:sp>
        <p:nvSpPr>
          <p:cNvPr id="660" name="Rectangle 659">
            <a:extLst>
              <a:ext uri="{FF2B5EF4-FFF2-40B4-BE49-F238E27FC236}">
                <a16:creationId xmlns:a16="http://schemas.microsoft.com/office/drawing/2014/main" id="{E35025F5-A2D9-1694-B0C7-4624723419EF}"/>
              </a:ext>
            </a:extLst>
          </p:cNvPr>
          <p:cNvSpPr/>
          <p:nvPr/>
        </p:nvSpPr>
        <p:spPr>
          <a:xfrm>
            <a:off x="1433766" y="2157985"/>
            <a:ext cx="2377440" cy="151463"/>
          </a:xfrm>
          <a:prstGeom prst="rect">
            <a:avLst/>
          </a:prstGeom>
          <a:solidFill>
            <a:schemeClr val="accent5"/>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661" name="Rectangle 660">
            <a:extLst>
              <a:ext uri="{FF2B5EF4-FFF2-40B4-BE49-F238E27FC236}">
                <a16:creationId xmlns:a16="http://schemas.microsoft.com/office/drawing/2014/main" id="{3B22F9D6-EE23-F3D8-06E1-DEE45576BF5F}"/>
              </a:ext>
            </a:extLst>
          </p:cNvPr>
          <p:cNvSpPr/>
          <p:nvPr/>
        </p:nvSpPr>
        <p:spPr>
          <a:xfrm>
            <a:off x="4105858" y="2154241"/>
            <a:ext cx="2377440" cy="154882"/>
          </a:xfrm>
          <a:prstGeom prst="rect">
            <a:avLst/>
          </a:prstGeom>
          <a:solidFill>
            <a:schemeClr val="accent5"/>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662" name="Rectangle 661">
            <a:extLst>
              <a:ext uri="{FF2B5EF4-FFF2-40B4-BE49-F238E27FC236}">
                <a16:creationId xmlns:a16="http://schemas.microsoft.com/office/drawing/2014/main" id="{B34D45ED-D44A-4063-2274-89CFEC077DC0}"/>
              </a:ext>
            </a:extLst>
          </p:cNvPr>
          <p:cNvSpPr/>
          <p:nvPr/>
        </p:nvSpPr>
        <p:spPr>
          <a:xfrm>
            <a:off x="6785759" y="2154241"/>
            <a:ext cx="2377440" cy="154881"/>
          </a:xfrm>
          <a:prstGeom prst="rect">
            <a:avLst/>
          </a:prstGeom>
          <a:solidFill>
            <a:schemeClr val="accent5"/>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Tree>
    <p:extLst>
      <p:ext uri="{BB962C8B-B14F-4D97-AF65-F5344CB8AC3E}">
        <p14:creationId xmlns:p14="http://schemas.microsoft.com/office/powerpoint/2010/main" val="28073762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00C632F-2A25-73F8-80DF-9F32472BFE26}"/>
              </a:ext>
            </a:extLst>
          </p:cNvPr>
          <p:cNvSpPr>
            <a:spLocks noGrp="1"/>
          </p:cNvSpPr>
          <p:nvPr>
            <p:ph type="body" sz="quarter" idx="28"/>
          </p:nvPr>
        </p:nvSpPr>
        <p:spPr>
          <a:xfrm>
            <a:off x="-14514" y="4368513"/>
            <a:ext cx="12192000" cy="355799"/>
          </a:xfrm>
        </p:spPr>
        <p:txBody>
          <a:bodyPr/>
          <a:lstStyle/>
          <a:p>
            <a:endParaRPr lang="en-GB"/>
          </a:p>
        </p:txBody>
      </p:sp>
      <p:sp>
        <p:nvSpPr>
          <p:cNvPr id="3" name="Text Placeholder 2">
            <a:extLst>
              <a:ext uri="{FF2B5EF4-FFF2-40B4-BE49-F238E27FC236}">
                <a16:creationId xmlns:a16="http://schemas.microsoft.com/office/drawing/2014/main" id="{5505AC6E-26B2-0C52-EB36-DAECC7719C68}"/>
              </a:ext>
            </a:extLst>
          </p:cNvPr>
          <p:cNvSpPr>
            <a:spLocks noGrp="1"/>
          </p:cNvSpPr>
          <p:nvPr>
            <p:ph type="body" sz="quarter" idx="27"/>
          </p:nvPr>
        </p:nvSpPr>
        <p:spPr>
          <a:xfrm>
            <a:off x="381000" y="1348181"/>
            <a:ext cx="11428411" cy="3354765"/>
          </a:xfrm>
        </p:spPr>
        <p:txBody>
          <a:bodyPr/>
          <a:lstStyle/>
          <a:p>
            <a:r>
              <a:rPr lang="en-GB"/>
              <a:t>Executive summary</a:t>
            </a:r>
          </a:p>
          <a:p>
            <a:r>
              <a:rPr lang="en-GB"/>
              <a:t>Historic market and policy activity</a:t>
            </a:r>
          </a:p>
          <a:p>
            <a:r>
              <a:rPr lang="en-GB"/>
              <a:t>2024 campaign landscape</a:t>
            </a:r>
          </a:p>
          <a:p>
            <a:r>
              <a:rPr lang="en-GB"/>
              <a:t>Modelled scenarios</a:t>
            </a:r>
          </a:p>
          <a:p>
            <a:pPr lvl="1"/>
            <a:r>
              <a:rPr lang="en-GB"/>
              <a:t>Scenario overview</a:t>
            </a:r>
          </a:p>
          <a:p>
            <a:pPr lvl="1"/>
            <a:r>
              <a:rPr lang="en-GB"/>
              <a:t>Trump scenario and sensitivities</a:t>
            </a:r>
          </a:p>
          <a:p>
            <a:pPr lvl="1"/>
            <a:r>
              <a:rPr lang="en-GB"/>
              <a:t>Harris scenario and sensitivities</a:t>
            </a:r>
          </a:p>
          <a:p>
            <a:r>
              <a:rPr lang="en-GB"/>
              <a:t>Appendix</a:t>
            </a:r>
          </a:p>
        </p:txBody>
      </p:sp>
      <p:grpSp>
        <p:nvGrpSpPr>
          <p:cNvPr id="4" name="Group 3">
            <a:extLst>
              <a:ext uri="{FF2B5EF4-FFF2-40B4-BE49-F238E27FC236}">
                <a16:creationId xmlns:a16="http://schemas.microsoft.com/office/drawing/2014/main" id="{BED9DF23-FE05-4199-996F-C4C901486996}"/>
              </a:ext>
            </a:extLst>
          </p:cNvPr>
          <p:cNvGrpSpPr/>
          <p:nvPr/>
        </p:nvGrpSpPr>
        <p:grpSpPr>
          <a:xfrm>
            <a:off x="0" y="6172200"/>
            <a:ext cx="12192000" cy="685800"/>
            <a:chOff x="0" y="6172200"/>
            <a:chExt cx="12192000" cy="685800"/>
          </a:xfrm>
        </p:grpSpPr>
        <p:sp>
          <p:nvSpPr>
            <p:cNvPr id="5" name="Rectangle 4">
              <a:extLst>
                <a:ext uri="{FF2B5EF4-FFF2-40B4-BE49-F238E27FC236}">
                  <a16:creationId xmlns:a16="http://schemas.microsoft.com/office/drawing/2014/main" id="{1E2C69CB-AA35-C2E5-6A5E-B1418A9EC30E}"/>
                </a:ext>
              </a:extLst>
            </p:cNvPr>
            <p:cNvSpPr/>
            <p:nvPr/>
          </p:nvSpPr>
          <p:spPr>
            <a:xfrm>
              <a:off x="0" y="6172200"/>
              <a:ext cx="12192000" cy="685800"/>
            </a:xfrm>
            <a:prstGeom prst="rect">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ot="0" spcFirstLastPara="0" vert="horz" wrap="square" lIns="98708" tIns="97154" rIns="98708" bIns="9715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R="0" lvl="0" algn="ctr" defTabSz="987095" rtl="0" eaLnBrk="1" fontAlgn="auto" latinLnBrk="0" hangingPunct="1">
                <a:lnSpc>
                  <a:spcPct val="100000"/>
                </a:lnSpc>
                <a:spcBef>
                  <a:spcPts val="0"/>
                </a:spcBef>
                <a:spcAft>
                  <a:spcPts val="1080"/>
                </a:spcAft>
                <a:buClrTx/>
                <a:buSzTx/>
                <a:tabLst/>
                <a:defRPr/>
              </a:pPr>
              <a:endParaRPr lang="en-GB" sz="1511" b="0" i="0" u="none" strike="noStrike" kern="1200" cap="none" spc="0" normalizeH="0" baseline="0" noProof="0">
                <a:ln>
                  <a:noFill/>
                </a:ln>
                <a:solidFill>
                  <a:srgbClr val="000000"/>
                </a:solidFill>
                <a:effectLst/>
                <a:highlight>
                  <a:srgbClr val="00FFFF"/>
                </a:highlight>
                <a:uLnTx/>
                <a:uFillTx/>
                <a:latin typeface="Lato" panose="020F0502020204030203" pitchFamily="34" charset="0"/>
                <a:ea typeface="Lato" panose="020F0502020204030203" pitchFamily="34" charset="0"/>
                <a:cs typeface="Lato" panose="020F0502020204030203" pitchFamily="34" charset="0"/>
              </a:endParaRPr>
            </a:p>
          </p:txBody>
        </p:sp>
        <p:sp>
          <p:nvSpPr>
            <p:cNvPr id="6" name="TextBox 57">
              <a:extLst>
                <a:ext uri="{FF2B5EF4-FFF2-40B4-BE49-F238E27FC236}">
                  <a16:creationId xmlns:a16="http://schemas.microsoft.com/office/drawing/2014/main" id="{834D2050-E64E-1B8A-984C-6A8F054E1171}"/>
                </a:ext>
              </a:extLst>
            </p:cNvPr>
            <p:cNvSpPr txBox="1"/>
            <p:nvPr/>
          </p:nvSpPr>
          <p:spPr>
            <a:xfrm>
              <a:off x="381000" y="6299656"/>
              <a:ext cx="5358960" cy="430887"/>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tabLst>
                  <a:tab pos="363538" algn="l"/>
                </a:tabLst>
                <a:defRPr/>
              </a:pPr>
              <a:r>
                <a:rPr lang="en-GB" sz="1400" kern="0">
                  <a:latin typeface="Lato"/>
                  <a:ea typeface="Lato"/>
                  <a:cs typeface="Lato"/>
                  <a:sym typeface="Lato" panose="020F0502020204030203" pitchFamily="34" charset="0"/>
                </a:rPr>
                <a:t>For more information, please contact </a:t>
              </a:r>
              <a:endParaRPr lang="en-GB" sz="1400" kern="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tabLst>
                  <a:tab pos="363538" algn="l"/>
                </a:tabLst>
                <a:defRPr/>
              </a:pPr>
              <a:r>
                <a:rPr lang="en-GB" sz="1400" b="1" kern="0">
                  <a:ea typeface="+mn-lt"/>
                  <a:cs typeface="+mn-lt"/>
                  <a:sym typeface="Lato" panose="020F0502020204030203" pitchFamily="34" charset="0"/>
                </a:rPr>
                <a:t>Kyndal Mayes</a:t>
              </a:r>
              <a:r>
                <a:rPr lang="en-GB" sz="1400" kern="0">
                  <a:latin typeface="Lato"/>
                  <a:ea typeface="Lato"/>
                  <a:cs typeface="Lato"/>
                  <a:sym typeface="Lato" panose="020F0502020204030203" pitchFamily="34" charset="0"/>
                </a:rPr>
                <a:t>,</a:t>
              </a:r>
              <a:r>
                <a:rPr lang="en-GB" sz="1400" b="1" kern="0">
                  <a:latin typeface="Lato"/>
                  <a:ea typeface="Lato"/>
                  <a:cs typeface="Lato"/>
                  <a:sym typeface="Lato" panose="020F0502020204030203" pitchFamily="34" charset="0"/>
                </a:rPr>
                <a:t> Commercial Associate</a:t>
              </a:r>
              <a:endParaRPr lang="en-GB" sz="1400" b="1" kern="0">
                <a:latin typeface="Lato"/>
                <a:ea typeface="Lato"/>
                <a:cs typeface="Lato"/>
              </a:endParaRPr>
            </a:p>
          </p:txBody>
        </p:sp>
        <p:sp>
          <p:nvSpPr>
            <p:cNvPr id="7" name="TextBox 58">
              <a:extLst>
                <a:ext uri="{FF2B5EF4-FFF2-40B4-BE49-F238E27FC236}">
                  <a16:creationId xmlns:a16="http://schemas.microsoft.com/office/drawing/2014/main" id="{AA42794B-32A3-7BC6-BC76-2B3C34DA1772}"/>
                </a:ext>
              </a:extLst>
            </p:cNvPr>
            <p:cNvSpPr txBox="1"/>
            <p:nvPr/>
          </p:nvSpPr>
          <p:spPr>
            <a:xfrm>
              <a:off x="6452042" y="6299655"/>
              <a:ext cx="4173738" cy="430887"/>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 typeface="Wingdings" panose="05000000000000000000" pitchFamily="2" charset="2"/>
                <a:buChar char="*"/>
                <a:tabLst>
                  <a:tab pos="352425" algn="l"/>
                </a:tabLst>
                <a:defRPr/>
              </a:pPr>
              <a:r>
                <a:rPr lang="en-GB" sz="1400" kern="0">
                  <a:latin typeface="Lato"/>
                  <a:ea typeface="Lato"/>
                  <a:cs typeface="Lato"/>
                  <a:sym typeface="Lato" panose="020F0502020204030203" pitchFamily="34" charset="0"/>
                </a:rPr>
                <a:t> 	</a:t>
              </a:r>
              <a:r>
                <a:rPr lang="en-GB" sz="1400">
                  <a:latin typeface="Lato"/>
                  <a:ea typeface="Lato"/>
                  <a:cs typeface="Lato"/>
                  <a:sym typeface="Lato" panose="020F0502020204030203" pitchFamily="34" charset="0"/>
                </a:rPr>
                <a:t> </a:t>
              </a:r>
              <a:r>
                <a:rPr lang="en-GB" sz="1400" b="1">
                  <a:ea typeface="+mn-lt"/>
                  <a:cs typeface="+mn-lt"/>
                  <a:sym typeface="Lato" panose="020F0502020204030203" pitchFamily="34" charset="0"/>
                </a:rPr>
                <a:t>kyndal.mayes@auroraer.com</a:t>
              </a:r>
              <a:r>
                <a:rPr lang="en-GB" sz="1400">
                  <a:latin typeface="Lato"/>
                  <a:ea typeface="Lato"/>
                  <a:cs typeface="Lato"/>
                  <a:sym typeface="Lato" panose="020F0502020204030203" pitchFamily="34" charset="0"/>
                </a:rPr>
                <a:t> </a:t>
              </a:r>
              <a:endParaRPr lang="en-GB" sz="1400" kern="0">
                <a:latin typeface="Lato" panose="020F0502020204030203" pitchFamily="34" charset="0"/>
                <a:ea typeface="Lato" panose="020F0502020204030203" pitchFamily="34" charset="0"/>
                <a:cs typeface="Lato" panose="020F0502020204030203" pitchFamily="34" charset="0"/>
              </a:endParaRPr>
            </a:p>
            <a:p>
              <a:pPr marL="0" lvl="1">
                <a:buFont typeface="Wingdings" panose="05000000000000000000" pitchFamily="2" charset="2"/>
                <a:buChar char="("/>
                <a:tabLst>
                  <a:tab pos="352425" algn="l"/>
                </a:tabLst>
                <a:defRPr/>
              </a:pPr>
              <a:r>
                <a:rPr lang="en-GB" sz="1400" b="1" kern="0">
                  <a:latin typeface="Lato"/>
                  <a:ea typeface="Lato"/>
                  <a:cs typeface="Lato"/>
                  <a:sym typeface="Lato" panose="020F0502020204030203" pitchFamily="34" charset="0"/>
                </a:rPr>
                <a:t> 	</a:t>
              </a:r>
              <a:r>
                <a:rPr lang="en-GB" sz="1400" b="1">
                  <a:latin typeface="Lato"/>
                  <a:ea typeface="Lato"/>
                  <a:cs typeface="Lato"/>
                  <a:sym typeface="Lato" panose="020F0502020204030203" pitchFamily="34" charset="0"/>
                </a:rPr>
                <a:t> +1 (972) 824-2016</a:t>
              </a:r>
              <a:endParaRPr lang="en-GB" sz="1400" b="1" kern="0">
                <a:latin typeface="Lato"/>
                <a:ea typeface="Lato"/>
                <a:cs typeface="Lato"/>
                <a:sym typeface="Lato" panose="020F0502020204030203" pitchFamily="34" charset="0"/>
              </a:endParaRPr>
            </a:p>
          </p:txBody>
        </p:sp>
      </p:grpSp>
    </p:spTree>
    <p:extLst>
      <p:ext uri="{BB962C8B-B14F-4D97-AF65-F5344CB8AC3E}">
        <p14:creationId xmlns:p14="http://schemas.microsoft.com/office/powerpoint/2010/main" val="22692569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t9eaAeqUR.6WndFBtFf_a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JSV1enFVFwSXMifrgSZ5b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ZrmHzLweBmMXQUsWtjFb4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waej_Nv4u8vVQjnU3wDPl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waej_Nv4u8vVQjnU3wDPl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qMNVGzi_cTJdoEQ9aLe0N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QqsB5fApLUWD8eGubXh94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j6raj3snbdA7AHzB2GGYE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MEeVepKA4Xap09wgWNSdG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nNxy_0RKxIkK.b7F3Mol1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8JBlLCeCYTsTqHwn_vsNc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gAkW3cOU80.jBiHfXEAza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zsPXTY3PTCjRUV2Sl5MSC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8ehz3QZz7H9W.lXR7rq1g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vcu_DPax2MtIb8xMenqRe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9Clm246XQyt8kbshCCiXo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eahHAj1BFRbkh0nMkDnHK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byLXN46v8UIkal1Jvkxyq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n7WMWwYS0eSlCVzECc_hO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YM_cFsvHBZof1o_owIfeU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tVDrFL_95izlq3upRo2kA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R35HbeS9BOKPf0xnRpjne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QqsB5fApLUWD8eGubXh94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Q80rF4iMtwlgrRfywMz8D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MEeVepKA4Xap09wgWNSdG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nNxy_0RKxIkK.b7F3Mol1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l5nDWIfTcJ2JfnXShXxRH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Ay6jQ2xIbRSuQptsnp7.E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zsPXTY3PTCjRUV2Sl5MSC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8ehz3QZz7H9W.lXR7rq1g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RNKzibJSv21cvCH5neeOr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CKvblrNtXbaubuWVN2xg7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TyLcs1OE1Tn84LeMXbTnO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gWTuGU6QThmZq16pp._mV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n7WMWwYS0eSlCVzECc_hO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YM_cFsvHBZof1o_owIfeU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tVDrFL_95izlq3upRo2kA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R35HbeS9BOKPf0xnRpjne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FPiilrWR0lG42K3R7xyx5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ArNygJ2DxDEPxmcpheWW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WxWIXbR8UqNzjyldH.rD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YqmDdn14cFL1dwUlM6eRd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BiqFLaE3T6ffgcDhK.LdC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SV1enFVFwSXMifrgSZ5b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rEDKsP9mpYLSycWaT6.nc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f2Rg1ucEaCBQFBxDiSt1x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AAPTzYxw9nIfJID6nFxJ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k0ePrwydWMB3YOhu3j6ff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1b7QNqkzRV3SLldAxW2BB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NTj3EQZF8i3teY0CLonCZ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Ru3nClKd5zwl1YgHyGuwq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fDsLoTyqE5twzxUccuT9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mx2lRf_NT9EEr2XTvGbvZ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5Cc6oPYkdA0fmJr38IHp8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Z7xD0XGKm_ZdoPHk6B6dh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PaVQvmG6pJiwr7HZkRqoy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C7BFR4LGIeme4UbgFprf2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QBHHkySmohMUb1I9Z4nbt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70G3MqX9sYg5r0P315Lp8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jnRiQWupzjPzi7vmxB52K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WCk9QpZ5sc55nGFBXiPQS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Pd12B_2W8_E05qUEwb30s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3KUkcbemfeNnm5Yz20CfD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I8cWGx7X8wGScuqPALCnm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sKzOI6PNfK9K3jaXrRD5C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_7cQlD8ByzM35cmDZJpm4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_flghHgiTsY3dcrwAJMqQ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i8wqDg0th5KDrSjv1k7En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AoPR_oHUS8jto3DK7UCYS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idsEkfsbSLKyJeJmhq358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1jKVBb9KaJmgOTSEiGB9Q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ojmnBunlOZa17uOyfL_kC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8q2DNb7.MXR1CQZG.8iuE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Ec2ahBs_pz32vwW6B5Oh4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a8VRH4Hsgv2_uMEyYVu4g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iR2T5knOiYpqhyBa839vu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gE4OsmWbHz6JAaT3SUZmO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wKor7xhpjvbbJcYgCpXct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KQBkppkXrZA6dlOtkHsg_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enNJnKNQd_ZIsHDHZsyHZ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i0Px5wq.RoKNPQGviD5p0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JAIY.MIiH.Jsr.dRQeBi6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koUi7uHYs8G8SuOVYPoTd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Bg7gDirpsQ4GgMX0G.gRR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8pZhoIXF7Dj_MxaOObnh.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pVeaQFi3V7DPJ7uUAXygS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w0vRd1WjpQkF7EwTRyS0X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Qsj8QtTDexnMGtfGcZZ4c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xnqnr0L8pHPfs9FWWbbMA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ey2Q_FXUNVbhw.RD6evbf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1raAP3e44SaS3RRC3Mj2e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8pRlCm.zl8UN8N1YaXBD0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M3qxaEv1fQJexBlB9b0kP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iLw4W1v2nfaV.9D.t1CPb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WMNdZ8Xht98VJfQWXP2vp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RLr5nZHgknxV9tCu82_cX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dWp7J5Bq3qDgcbJ1HN5QB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iuiACAKEvbtkwpE85ze2V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QjtUCpgFBkwnNMfU4xmRY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xc0M.Jn7XQ9ZTmGfMG9MA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Q3lyFEO6lXjD5o8u9p01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YtZKYsjKxMpOkDGR7tYES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qQabVi9e3PK3pRzqseHV8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fjlWaGrU_dH91Je_Z1.oX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IliES9iDuSHGdttDwzctz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dy8dVWdZJaurcafSidizl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SP_A9ry5s_Ur0qw1EjYYh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gpQ_l25g7jvQvtfK0XYGk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tc5KgVwQcN7.uWE9gmiFm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1cWU4vQL5a48TW2IvcJH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stfOm83_gie1zJmSQ1KN7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cbX66rLPUlVL.xSUl.Yn9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3x2tc6grwqlVfYd7oVPvd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_cQQgadZrC8uIkGheaxDC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ebBMCIw7K_FppUpvSZVFn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897WiUXsNGphK770hj1FB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QA.4mkHgwfPTJO.imS67B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OAl8qXO8f21K26y8p8Yqv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AR5SJiOYnhn0.h9mJZLUK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IzalCRMUXmmv9WeRvi_cD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v7YCnFuy.aiHl.SV5em.s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oYMf.V8dhb9B0cFHWBd7R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TN93QeoH3lF3tyUfqwZhF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29ixWZZybnx4m07KllPl9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t6Rc_WolZmIoiZn1xyUui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RICuphvMxzmIM6ObZyARo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rMW.e2iY_DLIV4PHS2nbl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gMOq9lwvWpHSRXjSZX3CK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9vzMlbKgD7VOJUaKK4VxT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4J6eayjknj50RSP8FpsM5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6z04OckWDxIYLQvP7RWoa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wPuuC5ynm_BqOT2kXSqQC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RwZ_P9p82RUoJPhy6rIqv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zYrSjgM43m8T_6sjynRMX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nrhI5NAlVzArL3KlI7v9I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Ig.xneNR5fJpfGNbxWTJF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KJc1_amGxDDHkiGiwrTF4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dKgvBgpiPnmrLtOWmHqME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icsqrYTEeq.2H3VT9M__e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QgEZ8lHUdkQXW8Mi0LBKS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DR2YqhanjpYaKxnJex1O9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fasSeJYRywUZRGKv2ALqf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ulhHuMDd2LsOJgAiq3Vq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oIOo7uhfm2voQeh_hCWTJ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_vBsautJ8zQmwFS9uPr7a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gvwbvDPO0_.KTqz0.6SAz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UCDARw1hM2niAMUi9cvkv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0AXaPsOJKB2uvM86DMExi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9_o0A4suhkAfjfiCe9I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AbB_Ve9UbOphU0Qw0nxhl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Wq.K1pwJm6hV20uCJh8PJ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RRLEIuZhQjKbky63msbsS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Fnb_NzLu5xAYigK.DYYRq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Cw6nF0XVAE3Rcp6163Pev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NJDMFkq0RIqKRFE0vsizf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RHzSMqwCYmKL1zFHG3RR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K29pn36qsfgjPu485yFjy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xf1f549DQnBB02mN0oWG6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9M.AgBMWtV22uv2eWu4mt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5zFX7T0Ez9.IvHQgjcVQV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r78DO1YJalZHtLbf8pIQ_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e.zNF9A08gQxatbCiKMyX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dI6ljvUl8hR4JNWsvZGi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jpB3_.IwDo8QAYAxtYGPM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6ehc0NP3j.dpeoGmEdae6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pQxz6f8M82C2R3uh8iFC4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NCfDbjs59l_BkhSKbbaJ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f6T65M3_nZs14e.a0QRms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Tuzko3on3A98442jaerQ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qly6e8IBdXY7OWvlNbOC.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RYS3iGEmzRnjnuqNOiERs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fenXp3lU3L.S7YwVxR52P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6OZDJAZX7u680wQX5h1Iv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8s5ZfXKy1U.Y_1jt7pp_3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R2i05pLALU6E.dFr1VMx6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E1TfhnpNcES1lhdsJlVJl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_VjE6wtKDUmQPy5GprAV6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wO0VlweHP0a1UG1sDx0zT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cNnNDvPTOUOTuSjKyPF1K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w08W2EsbT0uaK3B5XZfBU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b9Q5sF5gYkWTOCldDE1.3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s8vgPhbxq0uvuII7BkHM9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4dkQ0CTLC0i_VAmRmVDaT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dzYmNs0czkqKyUO0P84ZG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daxDDqaVHkubE92d.0ZVb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SyH5o5pS3UyGUwbev6mjP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Y3MJmZZ690yEcjC5bzReV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QUBqWOPO_U6q8rdosrcfB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0vG.wCPKX0uCxYYQ8vP_E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Z7BE5TNPkmUHRK1D0o1_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fKmmQd0Tn0y7HCQc5Ddey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lqrm5sXM0ONEl6ysHqY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yrr81ISNQESC2FL104haD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wangBTF32E6KSLzC1Vhg6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0ZkfC3BYGUGKskeIUZ89A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7lafau_zE0.pukp.Jn47F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yr.OeDSxhUaer_B0miFqE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6P79L.WDUuqohmeURrau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fxCf5tvEOvfZ9nKTPQG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1oTLDx4lUGXkH9Df1Tsz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CtmyrOIq7E67Q02qLTW3R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GLG0FsLx1EmZMZftZlcau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RYLpw6I.Q0e6_Fg_ux0l7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5cWmtquQjkO3x2LU619MG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enEBErmYZEOl8tNPi7yXi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EDMCLRklEkCGOineH2arE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B2UAvd6jSka1It3EwQmW5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FL39KvisvUSXON6ntUX0f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jb5RXjOoBka58qB.jphDs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2Y5j5mc5_ECk.yTN0xX1r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g_MwCb3U.YEequfLgvT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ez25EoDFsFyo2ev_5gwvA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uVdhYJoh_aMWowuMAoRbN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L1HbUGtUWhGjjWy6q45v9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EyxDvKHRGOzCQ5tRTKsky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EOXmOhwMWu55d7T6.rVhY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UWT06AVuIVxT7Ka_AUgAG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C6HW7DjBYUE53Ak3wvNOg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_KdvuQAqX32rmB329JAdz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rEzspfmAjisGwcvm9zTqZ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rjDRFX5r73qabMm4GmmDQ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q32DJQEIdgnhVwe79OB3a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spHlFuuc45H1jpLkE4rkz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y47mkcjPP_zw9mPM77.Cv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4PeXnhydqVZ_pa9XO5boj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YBpCUblhjOgUChoAVTinR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KyH2e_R0tfcv5LoOTONzD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XxGiM_EkJT6RnOPnXU7Qv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PnSFngIeNsTGIBX5Wzy_Q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7Oh3OutQdkMeDssQzVfgl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Pyjd1D08fhB_rwJ_RELso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AU.e0JiRjNtbrDWSQZzOg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Zu8PfHWTrix4xe.egI6Q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tkKC6wV16HShK128UZu3o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YACNZKUTIE_D7sn6egnVE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PKLRot5VXjgJsFxm.nq_n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0qLc5jqE0ubL56rYwmmmY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mCUBaSBfhdazz0DCnQWs1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Wnx7IQ_wz.TtvBdpvyIV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ZrmHzLweBmMXQUsWtjFb4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SCiM_kMQj4CvguxyltmO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iaV3B3V7Cc4dMIjH9Xgfv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DDqaA6Qnko0XEaFMyqsEm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OS5yqS_Z9kriMzZYDIXwh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4UTaSsq17XVaB45kECiTB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qPC70EijYLZjzVe.45jpH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ytmBb3D8W5DLVwjo759YG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ne_jOHR2h.HkYaERH37US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2c6en9vuXU1G_LhZI_qN4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tDt8Db3wpuhxdGIoZocoH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FC9lQ_ne5ep1s082koyEz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8OgCwHhYFW7_WLT44UYX_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xUZ4uVc5iYXHQgKnNS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iqjx2foyrWFLzihxh037u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FNJklbPBL7VA.SeVkfbia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K4PJB5eRYpyes8sk9hP4.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K0NzzdyZfFsx7EI88kpLf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Mey8OO42_Q2xbh_HekW4C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AaSPwsN28DF0Fb5Sq5Hzw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mlFT2lZ6PLp3nuLXeZ3Bt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ZO.INtE_wHF8grFKM8wYu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4JxBCL4dkvLj8CB_poUXV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xqemmMaJpLW97.fljkS6X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xDl3i2RVh6m.gdgqjGJyBg"/>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9XPDuz9MdJE374i9pNa35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pSviOVy.HTGZbOfIMY0uz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E8OGULlbLYRu3iN8xUlzm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W_TPWDrOUrMIhvTik_USD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dwu4Hnwg.ouylwv6U90aP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JlZCJQpdUMxhc8P6o8Khj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t9eaAeqUR.6WndFBtFf_a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JSV1enFVFwSXMifrgSZ5b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ZrmHzLweBmMXQUsWtjFb4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urora 2021.1">
  <a:themeElements>
    <a:clrScheme name="AURORA Refresh">
      <a:dk1>
        <a:srgbClr val="3C3C3B"/>
      </a:dk1>
      <a:lt1>
        <a:sysClr val="window" lastClr="FFFFFF"/>
      </a:lt1>
      <a:dk2>
        <a:srgbClr val="3C3C3B"/>
      </a:dk2>
      <a:lt2>
        <a:srgbClr val="E7E7E7"/>
      </a:lt2>
      <a:accent1>
        <a:srgbClr val="F59E00"/>
      </a:accent1>
      <a:accent2>
        <a:srgbClr val="FFCC00"/>
      </a:accent2>
      <a:accent3>
        <a:srgbClr val="FFE680"/>
      </a:accent3>
      <a:accent4>
        <a:srgbClr val="FFF2BF"/>
      </a:accent4>
      <a:accent5>
        <a:srgbClr val="838383"/>
      </a:accent5>
      <a:accent6>
        <a:srgbClr val="B1B1B0"/>
      </a:accent6>
      <a:hlink>
        <a:srgbClr val="3C3C3B"/>
      </a:hlink>
      <a:folHlink>
        <a:srgbClr val="3C3C3B"/>
      </a:folHlink>
    </a:clrScheme>
    <a:fontScheme name="Custom 4">
      <a:majorFont>
        <a:latin typeface="Lato"/>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6350">
          <a:solidFill>
            <a:schemeClr val="tx1"/>
          </a:solid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spcBef>
            <a:spcPts val="600"/>
          </a:spcBef>
          <a:defRPr sz="1200" dirty="0" err="1" smtClean="0">
            <a:solidFill>
              <a:schemeClr val="tx1"/>
            </a:solidFill>
          </a:defRPr>
        </a:defPPr>
      </a:lstStyle>
      <a:style>
        <a:lnRef idx="2">
          <a:schemeClr val="accent1"/>
        </a:lnRef>
        <a:fillRef idx="1">
          <a:schemeClr val="lt1"/>
        </a:fillRef>
        <a:effectRef idx="0">
          <a:schemeClr val="accent1"/>
        </a:effectRef>
        <a:fontRef idx="minor">
          <a:schemeClr val="dk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0" indent="0" algn="l">
          <a:spcBef>
            <a:spcPts val="600"/>
          </a:spcBef>
          <a:buFont typeface="Wingdings" panose="05000000000000000000" pitchFamily="2" charset="2"/>
          <a:buNone/>
          <a:defRPr sz="1200" dirty="0" err="1" smtClean="0"/>
        </a:defPPr>
      </a:lstStyle>
    </a:txDef>
  </a:objectDefaults>
  <a:extraClrSchemeLst/>
  <a:custClrLst>
    <a:custClr name="Interconnectors">
      <a:srgbClr val="DF5327"/>
    </a:custClr>
    <a:custClr name="Hydrogen Electrolysers">
      <a:srgbClr val="B97800"/>
    </a:custClr>
    <a:custClr name="DSR">
      <a:srgbClr val="F59E00"/>
    </a:custClr>
    <a:custClr name="Battery Storage">
      <a:srgbClr val="E9E261"/>
    </a:custClr>
    <a:custClr name="Hydrogen Peakers">
      <a:srgbClr val="C8BD88"/>
    </a:custClr>
    <a:custClr name="Peaking/Gas Peakers">
      <a:srgbClr val="A6964E"/>
    </a:custClr>
    <a:custClr name="OCGT">
      <a:srgbClr val="736835"/>
    </a:custClr>
    <a:custClr name="Oil">
      <a:srgbClr val="4D4524"/>
    </a:custClr>
    <a:custClr name="Pumped Storage">
      <a:srgbClr val="4E5F6E"/>
    </a:custClr>
    <a:custClr name="Hydro">
      <a:srgbClr val="4C6C9C"/>
    </a:custClr>
    <a:custClr name="Offshore Wind">
      <a:srgbClr val="6F8DB9"/>
    </a:custClr>
    <a:custClr name="Onshore Wind">
      <a:srgbClr val="9DB1CF"/>
    </a:custClr>
    <a:custClr name="Solar (rooftop)">
      <a:srgbClr val="CFDE63"/>
    </a:custClr>
    <a:custClr name="Solar (ground mount)">
      <a:srgbClr val="A6B727"/>
    </a:custClr>
    <a:custClr name="Other RES/Biomass">
      <a:srgbClr val="657D1A"/>
    </a:custClr>
    <a:custClr name="BECCS">
      <a:srgbClr val="9DA464"/>
    </a:custClr>
    <a:custClr name="Hydrogen CCGT">
      <a:srgbClr val="E1C4E1"/>
    </a:custClr>
    <a:custClr name="CCS">
      <a:srgbClr val="C0C0C0"/>
    </a:custClr>
    <a:custClr name="CHP">
      <a:srgbClr val="969696"/>
    </a:custClr>
    <a:custClr name="CCGT">
      <a:srgbClr val="5A5A5A"/>
    </a:custClr>
    <a:custClr name="Coal">
      <a:srgbClr val="441A0D"/>
    </a:custClr>
    <a:custClr name="Lignite/Peat">
      <a:srgbClr val="5E2411"/>
    </a:custClr>
    <a:custClr name="Nuclear">
      <a:srgbClr val="9F3C1C"/>
    </a:custClr>
  </a:custClrLst>
  <a:extLst>
    <a:ext uri="{05A4C25C-085E-4340-85A3-A5531E510DB2}">
      <thm15:themeFamily xmlns:thm15="http://schemas.microsoft.com/office/thememl/2012/main" name="Aurora_PPTX template_202102.potx" id="{09F6EF8E-88FD-468B-A71B-D2E0ED64FB0E}" vid="{1701CA6A-2963-4B76-BB77-652B94016C1E}"/>
    </a:ext>
  </a:extLst>
</a:theme>
</file>

<file path=ppt/theme/theme2.xml><?xml version="1.0" encoding="utf-8"?>
<a:theme xmlns:a="http://schemas.openxmlformats.org/drawingml/2006/main" name="1_Aurora 2021.1">
  <a:themeElements>
    <a:clrScheme name="AURORA Refresh">
      <a:dk1>
        <a:srgbClr val="3C3C3B"/>
      </a:dk1>
      <a:lt1>
        <a:sysClr val="window" lastClr="FFFFFF"/>
      </a:lt1>
      <a:dk2>
        <a:srgbClr val="3C3C3B"/>
      </a:dk2>
      <a:lt2>
        <a:srgbClr val="E7E7E7"/>
      </a:lt2>
      <a:accent1>
        <a:srgbClr val="F59E00"/>
      </a:accent1>
      <a:accent2>
        <a:srgbClr val="FFCC00"/>
      </a:accent2>
      <a:accent3>
        <a:srgbClr val="FFE680"/>
      </a:accent3>
      <a:accent4>
        <a:srgbClr val="FFF2BF"/>
      </a:accent4>
      <a:accent5>
        <a:srgbClr val="838383"/>
      </a:accent5>
      <a:accent6>
        <a:srgbClr val="B1B1B0"/>
      </a:accent6>
      <a:hlink>
        <a:srgbClr val="3C3C3B"/>
      </a:hlink>
      <a:folHlink>
        <a:srgbClr val="3C3C3B"/>
      </a:folHlink>
    </a:clrScheme>
    <a:fontScheme name="Custom 4">
      <a:majorFont>
        <a:latin typeface="Lato"/>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6350">
          <a:solidFill>
            <a:schemeClr val="tx1"/>
          </a:solid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spcBef>
            <a:spcPts val="600"/>
          </a:spcBef>
          <a:defRPr sz="1200" dirty="0" err="1" smtClean="0">
            <a:solidFill>
              <a:schemeClr val="tx1"/>
            </a:solidFill>
          </a:defRPr>
        </a:defPPr>
      </a:lstStyle>
      <a:style>
        <a:lnRef idx="2">
          <a:schemeClr val="accent1"/>
        </a:lnRef>
        <a:fillRef idx="1">
          <a:schemeClr val="lt1"/>
        </a:fillRef>
        <a:effectRef idx="0">
          <a:schemeClr val="accent1"/>
        </a:effectRef>
        <a:fontRef idx="minor">
          <a:schemeClr val="dk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0" indent="0" algn="l">
          <a:spcBef>
            <a:spcPts val="600"/>
          </a:spcBef>
          <a:buFont typeface="Wingdings" panose="05000000000000000000" pitchFamily="2" charset="2"/>
          <a:buNone/>
          <a:defRPr sz="1200" dirty="0" err="1" smtClean="0"/>
        </a:defPPr>
      </a:lstStyle>
    </a:txDef>
  </a:objectDefaults>
  <a:extraClrSchemeLst/>
  <a:custClrLst>
    <a:custClr name="Interconnectors">
      <a:srgbClr val="DF5327"/>
    </a:custClr>
    <a:custClr name="Hydrogen Electrolysers">
      <a:srgbClr val="B97800"/>
    </a:custClr>
    <a:custClr name="DSR">
      <a:srgbClr val="F59E00"/>
    </a:custClr>
    <a:custClr name="Battery Storage">
      <a:srgbClr val="E9E261"/>
    </a:custClr>
    <a:custClr name="Hydrogen Peakers">
      <a:srgbClr val="C8BD88"/>
    </a:custClr>
    <a:custClr name="Peaking/Gas Peakers">
      <a:srgbClr val="A6964E"/>
    </a:custClr>
    <a:custClr name="OCGT">
      <a:srgbClr val="736835"/>
    </a:custClr>
    <a:custClr name="Oil">
      <a:srgbClr val="4D4524"/>
    </a:custClr>
    <a:custClr name="Pumped Storage">
      <a:srgbClr val="4E5F6E"/>
    </a:custClr>
    <a:custClr name="Hydro">
      <a:srgbClr val="4C6C9C"/>
    </a:custClr>
    <a:custClr name="Offshore Wind">
      <a:srgbClr val="6F8DB9"/>
    </a:custClr>
    <a:custClr name="Onshore Wind">
      <a:srgbClr val="9DB1CF"/>
    </a:custClr>
    <a:custClr name="Solar (rooftop)">
      <a:srgbClr val="CFDE63"/>
    </a:custClr>
    <a:custClr name="Solar (ground mount)">
      <a:srgbClr val="A6B727"/>
    </a:custClr>
    <a:custClr name="Other RES/Biomass">
      <a:srgbClr val="657D1A"/>
    </a:custClr>
    <a:custClr name="BECCS">
      <a:srgbClr val="9DA464"/>
    </a:custClr>
    <a:custClr name="Hydrogen CCGT">
      <a:srgbClr val="E1C4E1"/>
    </a:custClr>
    <a:custClr name="CCS">
      <a:srgbClr val="C0C0C0"/>
    </a:custClr>
    <a:custClr name="CHP">
      <a:srgbClr val="969696"/>
    </a:custClr>
    <a:custClr name="CCGT">
      <a:srgbClr val="5A5A5A"/>
    </a:custClr>
    <a:custClr name="Coal">
      <a:srgbClr val="441A0D"/>
    </a:custClr>
    <a:custClr name="Lignite/Peat">
      <a:srgbClr val="5E2411"/>
    </a:custClr>
    <a:custClr name="Nuclear">
      <a:srgbClr val="9F3C1C"/>
    </a:custClr>
  </a:custClrLst>
  <a:extLst>
    <a:ext uri="{05A4C25C-085E-4340-85A3-A5531E510DB2}">
      <thm15:themeFamily xmlns:thm15="http://schemas.microsoft.com/office/thememl/2012/main" name="Aurora_PPTX template_202102.potx" id="{09F6EF8E-88FD-468B-A71B-D2E0ED64FB0E}" vid="{1701CA6A-2963-4B76-BB77-652B94016C1E}"/>
    </a:ext>
  </a:extLst>
</a:theme>
</file>

<file path=ppt/theme/theme3.xml><?xml version="1.0" encoding="utf-8"?>
<a:theme xmlns:a="http://schemas.openxmlformats.org/drawingml/2006/main" name="2_Aurora 2021.1">
  <a:themeElements>
    <a:clrScheme name="AURORA Refresh">
      <a:dk1>
        <a:srgbClr val="3C3C3B"/>
      </a:dk1>
      <a:lt1>
        <a:sysClr val="window" lastClr="FFFFFF"/>
      </a:lt1>
      <a:dk2>
        <a:srgbClr val="3C3C3B"/>
      </a:dk2>
      <a:lt2>
        <a:srgbClr val="E7E7E7"/>
      </a:lt2>
      <a:accent1>
        <a:srgbClr val="F59E00"/>
      </a:accent1>
      <a:accent2>
        <a:srgbClr val="FFCC00"/>
      </a:accent2>
      <a:accent3>
        <a:srgbClr val="FFE680"/>
      </a:accent3>
      <a:accent4>
        <a:srgbClr val="FFF2BF"/>
      </a:accent4>
      <a:accent5>
        <a:srgbClr val="838383"/>
      </a:accent5>
      <a:accent6>
        <a:srgbClr val="B1B1B0"/>
      </a:accent6>
      <a:hlink>
        <a:srgbClr val="3C3C3B"/>
      </a:hlink>
      <a:folHlink>
        <a:srgbClr val="3C3C3B"/>
      </a:folHlink>
    </a:clrScheme>
    <a:fontScheme name="Custom 4">
      <a:majorFont>
        <a:latin typeface="Lato"/>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6350">
          <a:solidFill>
            <a:schemeClr val="tx1"/>
          </a:solid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spcBef>
            <a:spcPts val="600"/>
          </a:spcBef>
          <a:defRPr sz="1200" dirty="0" err="1" smtClean="0">
            <a:solidFill>
              <a:schemeClr val="tx1"/>
            </a:solidFill>
          </a:defRPr>
        </a:defPPr>
      </a:lstStyle>
      <a:style>
        <a:lnRef idx="2">
          <a:schemeClr val="accent1"/>
        </a:lnRef>
        <a:fillRef idx="1">
          <a:schemeClr val="lt1"/>
        </a:fillRef>
        <a:effectRef idx="0">
          <a:schemeClr val="accent1"/>
        </a:effectRef>
        <a:fontRef idx="minor">
          <a:schemeClr val="dk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0" indent="0" algn="l">
          <a:spcBef>
            <a:spcPts val="600"/>
          </a:spcBef>
          <a:buFont typeface="Wingdings" panose="05000000000000000000" pitchFamily="2" charset="2"/>
          <a:buNone/>
          <a:defRPr sz="1200" dirty="0" err="1" smtClean="0"/>
        </a:defPPr>
      </a:lstStyle>
    </a:txDef>
  </a:objectDefaults>
  <a:extraClrSchemeLst/>
  <a:custClrLst>
    <a:custClr name="Interconnectors">
      <a:srgbClr val="DF5327"/>
    </a:custClr>
    <a:custClr name="Hydrogen Electrolysers">
      <a:srgbClr val="B97800"/>
    </a:custClr>
    <a:custClr name="DSR">
      <a:srgbClr val="F59E00"/>
    </a:custClr>
    <a:custClr name="Battery Storage">
      <a:srgbClr val="E9E261"/>
    </a:custClr>
    <a:custClr name="Hydrogen Peakers">
      <a:srgbClr val="C8BD88"/>
    </a:custClr>
    <a:custClr name="Peaking/Gas Peakers">
      <a:srgbClr val="A6964E"/>
    </a:custClr>
    <a:custClr name="OCGT">
      <a:srgbClr val="736835"/>
    </a:custClr>
    <a:custClr name="Oil">
      <a:srgbClr val="4D4524"/>
    </a:custClr>
    <a:custClr name="Pumped Storage">
      <a:srgbClr val="4E5F6E"/>
    </a:custClr>
    <a:custClr name="Hydro">
      <a:srgbClr val="4C6C9C"/>
    </a:custClr>
    <a:custClr name="Offshore Wind">
      <a:srgbClr val="6F8DB9"/>
    </a:custClr>
    <a:custClr name="Onshore Wind">
      <a:srgbClr val="9DB1CF"/>
    </a:custClr>
    <a:custClr name="Solar (rooftop)">
      <a:srgbClr val="CFDE63"/>
    </a:custClr>
    <a:custClr name="Solar (ground mount)">
      <a:srgbClr val="A6B727"/>
    </a:custClr>
    <a:custClr name="Other RES/Biomass">
      <a:srgbClr val="657D1A"/>
    </a:custClr>
    <a:custClr name="BECCS">
      <a:srgbClr val="9DA464"/>
    </a:custClr>
    <a:custClr name="Hydrogen CCGT">
      <a:srgbClr val="E1C4E1"/>
    </a:custClr>
    <a:custClr name="CCS">
      <a:srgbClr val="C0C0C0"/>
    </a:custClr>
    <a:custClr name="CHP">
      <a:srgbClr val="969696"/>
    </a:custClr>
    <a:custClr name="CCGT">
      <a:srgbClr val="5A5A5A"/>
    </a:custClr>
    <a:custClr name="Coal">
      <a:srgbClr val="441A0D"/>
    </a:custClr>
    <a:custClr name="Lignite/Peat">
      <a:srgbClr val="5E2411"/>
    </a:custClr>
    <a:custClr name="Nuclear">
      <a:srgbClr val="9F3C1C"/>
    </a:custClr>
  </a:custClrLst>
  <a:extLst>
    <a:ext uri="{05A4C25C-085E-4340-85A3-A5531E510DB2}">
      <thm15:themeFamily xmlns:thm15="http://schemas.microsoft.com/office/thememl/2012/main" name="Aurora_PPTX template_202101.potx" id="{5D5BFD02-F9FA-4BA5-BA27-604541B5B858}" vid="{5C18CB8E-C98A-4066-AB41-40EA38A06882}"/>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16</Slides>
  <Notes>15</Notes>
  <HiddenSlides>0</HiddenSlides>
  <ScaleCrop>false</ScaleCrop>
  <HeadingPairs>
    <vt:vector size="4" baseType="variant">
      <vt:variant>
        <vt:lpstr>Theme</vt:lpstr>
      </vt:variant>
      <vt:variant>
        <vt:i4>3</vt:i4>
      </vt:variant>
      <vt:variant>
        <vt:lpstr>Slide Titles</vt:lpstr>
      </vt:variant>
      <vt:variant>
        <vt:i4>16</vt:i4>
      </vt:variant>
    </vt:vector>
  </HeadingPairs>
  <TitlesOfParts>
    <vt:vector size="19" baseType="lpstr">
      <vt:lpstr>Aurora 2021.1</vt:lpstr>
      <vt:lpstr>1_Aurora 2021.1</vt:lpstr>
      <vt:lpstr>2_Aurora 2021.1</vt:lpstr>
      <vt:lpstr>US election: implications for gas and power markets</vt:lpstr>
      <vt:lpstr>PowerPoint Presentation</vt:lpstr>
      <vt:lpstr>PowerPoint Presentation</vt:lpstr>
      <vt:lpstr>We modelled a range of scenarios to reflect various outcomes under a Trump or Harris election in November</vt:lpstr>
      <vt:lpstr>Aurora forecasts that, while US natural gas flows will markedly shift under either presidential candidate, impacts on Henry Hub gas prices will be minimal</vt:lpstr>
      <vt:lpstr>In the case of more extreme policies by either candidate, although there is slight upwards pressure on Henry Hub gas prices, impacts remain minimal</vt:lpstr>
      <vt:lpstr>Control of the presidency has little impact on the energy transition, but ending renewables tax credits cuts buildout by 2040 by XXX GW</vt:lpstr>
      <vt:lpstr>Lower prices in a Trump presidency are primarily due to reduced EV demand, not generation changes</vt:lpstr>
      <vt:lpstr>PowerPoint Presentation</vt:lpstr>
      <vt:lpstr>Aurora provides market leading forecasts &amp; data-driven intelligence for the global energy transition</vt:lpstr>
      <vt:lpstr>Our market leading models underpin a comprehensive range of seamlessly integrated services​ to best suit your needs ​</vt:lpstr>
      <vt:lpstr>Unique, proprietary, in-house modelling capabilities underpin Aurora’s superior analysis</vt:lpstr>
      <vt:lpstr>The Waste Emissions Charge will target methane reductions from most oil and gas facilities in the US until state-wide EPA regulations are implemented</vt:lpstr>
      <vt:lpstr>The natural gas distribution system avoids the WEC, while only a subset of emissions from facilities that are applicable will be subject to the WEC</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Kyndal Mayes</dc:creator>
  <cp:revision>1</cp:revision>
  <dcterms:created xsi:type="dcterms:W3CDTF">2024-09-27T15:39:09Z</dcterms:created>
  <dcterms:modified xsi:type="dcterms:W3CDTF">2024-09-27T21:04:30Z</dcterms:modified>
</cp:coreProperties>
</file>